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heme/themeOverride2.xml" ContentType="application/vnd.openxmlformats-officedocument.themeOverrid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9.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1.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2.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6.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8.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9.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20.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21.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22.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23.xml" ContentType="application/vnd.openxmlformats-officedocument.theme+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4.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5.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6.xml" ContentType="application/vnd.openxmlformats-officedocument.theme+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theme/theme28.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heme/theme29.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theme/theme30.xml" ContentType="application/vnd.openxmlformats-officedocument.theme+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1.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theme/theme32.xml" ContentType="application/vnd.openxmlformats-officedocument.theme+xml"/>
  <Override PartName="/ppt/tags/tag35.xml" ContentType="application/vnd.openxmlformats-officedocument.presentationml.tags+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theme/theme33.xml" ContentType="application/vnd.openxmlformats-officedocument.theme+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theme/theme34.xml" ContentType="application/vnd.openxmlformats-officedocument.theme+xml"/>
  <Override PartName="/ppt/tags/tag36.xml" ContentType="application/vnd.openxmlformats-officedocument.presentationml.tags+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theme/theme35.xml" ContentType="application/vnd.openxmlformats-officedocument.theme+xml"/>
  <Override PartName="/ppt/tags/tag37.xml" ContentType="application/vnd.openxmlformats-officedocument.presentationml.tags+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theme/theme36.xml" ContentType="application/vnd.openxmlformats-officedocument.theme+xml"/>
  <Override PartName="/ppt/tags/tag38.xml" ContentType="application/vnd.openxmlformats-officedocument.presentationml.tags+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theme/theme37.xml" ContentType="application/vnd.openxmlformats-officedocument.theme+xml"/>
  <Override PartName="/ppt/theme/theme3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 id="2147483660" r:id="rId3"/>
    <p:sldMasterId id="2147483698" r:id="rId4"/>
    <p:sldMasterId id="2147483736" r:id="rId5"/>
    <p:sldMasterId id="2147483774" r:id="rId6"/>
    <p:sldMasterId id="2147483784" r:id="rId7"/>
    <p:sldMasterId id="2147483794" r:id="rId8"/>
    <p:sldMasterId id="2147483798" r:id="rId9"/>
    <p:sldMasterId id="2147483813" r:id="rId10"/>
    <p:sldMasterId id="2147483828" r:id="rId11"/>
    <p:sldMasterId id="2147483843" r:id="rId12"/>
    <p:sldMasterId id="2147483867" r:id="rId13"/>
    <p:sldMasterId id="2147483890" r:id="rId14"/>
    <p:sldMasterId id="2147483912" r:id="rId15"/>
    <p:sldMasterId id="2147483934" r:id="rId16"/>
    <p:sldMasterId id="2147483957" r:id="rId17"/>
    <p:sldMasterId id="2147483978" r:id="rId18"/>
    <p:sldMasterId id="2147484001" r:id="rId19"/>
    <p:sldMasterId id="2147484024" r:id="rId20"/>
    <p:sldMasterId id="2147484046" r:id="rId21"/>
    <p:sldMasterId id="2147484068" r:id="rId22"/>
    <p:sldMasterId id="2147484090" r:id="rId23"/>
    <p:sldMasterId id="2147484121" r:id="rId24"/>
    <p:sldMasterId id="2147484152" r:id="rId25"/>
    <p:sldMasterId id="2147484177" r:id="rId26"/>
    <p:sldMasterId id="2147484203" r:id="rId27"/>
    <p:sldMasterId id="2147484228" r:id="rId28"/>
    <p:sldMasterId id="2147484257" r:id="rId29"/>
    <p:sldMasterId id="2147484286" r:id="rId30"/>
    <p:sldMasterId id="2147484315" r:id="rId31"/>
    <p:sldMasterId id="2147484340" r:id="rId32"/>
    <p:sldMasterId id="2147484379" r:id="rId33"/>
    <p:sldMasterId id="2147484409" r:id="rId34"/>
    <p:sldMasterId id="2147484433" r:id="rId35"/>
    <p:sldMasterId id="2147484463" r:id="rId36"/>
    <p:sldMasterId id="2147484493" r:id="rId37"/>
    <p:sldMasterId id="2147484523" r:id="rId38"/>
  </p:sldMasterIdLst>
  <p:notesMasterIdLst>
    <p:notesMasterId r:id="rId80"/>
  </p:notesMasterIdLst>
  <p:sldIdLst>
    <p:sldId id="256" r:id="rId39"/>
    <p:sldId id="257" r:id="rId40"/>
    <p:sldId id="258" r:id="rId41"/>
    <p:sldId id="259" r:id="rId42"/>
    <p:sldId id="260" r:id="rId43"/>
    <p:sldId id="261" r:id="rId44"/>
    <p:sldId id="262" r:id="rId45"/>
    <p:sldId id="263" r:id="rId46"/>
    <p:sldId id="264" r:id="rId47"/>
    <p:sldId id="265" r:id="rId48"/>
    <p:sldId id="266" r:id="rId49"/>
    <p:sldId id="267" r:id="rId50"/>
    <p:sldId id="268" r:id="rId51"/>
    <p:sldId id="269" r:id="rId52"/>
    <p:sldId id="270" r:id="rId53"/>
    <p:sldId id="271" r:id="rId54"/>
    <p:sldId id="272" r:id="rId55"/>
    <p:sldId id="273" r:id="rId56"/>
    <p:sldId id="274" r:id="rId57"/>
    <p:sldId id="275" r:id="rId58"/>
    <p:sldId id="276" r:id="rId59"/>
    <p:sldId id="277" r:id="rId60"/>
    <p:sldId id="278" r:id="rId61"/>
    <p:sldId id="279" r:id="rId62"/>
    <p:sldId id="280" r:id="rId63"/>
    <p:sldId id="281" r:id="rId64"/>
    <p:sldId id="282" r:id="rId65"/>
    <p:sldId id="283" r:id="rId66"/>
    <p:sldId id="284" r:id="rId67"/>
    <p:sldId id="285" r:id="rId68"/>
    <p:sldId id="286" r:id="rId69"/>
    <p:sldId id="287" r:id="rId70"/>
    <p:sldId id="288" r:id="rId71"/>
    <p:sldId id="289" r:id="rId72"/>
    <p:sldId id="290" r:id="rId73"/>
    <p:sldId id="291" r:id="rId74"/>
    <p:sldId id="292" r:id="rId75"/>
    <p:sldId id="293" r:id="rId76"/>
    <p:sldId id="294" r:id="rId77"/>
    <p:sldId id="295" r:id="rId78"/>
    <p:sldId id="296"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326"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5.xml"/><Relationship Id="rId21" Type="http://schemas.openxmlformats.org/officeDocument/2006/relationships/slideMaster" Target="slideMasters/slideMaster20.xml"/><Relationship Id="rId42" Type="http://schemas.openxmlformats.org/officeDocument/2006/relationships/slide" Target="slides/slide4.xml"/><Relationship Id="rId47" Type="http://schemas.openxmlformats.org/officeDocument/2006/relationships/slide" Target="slides/slide9.xml"/><Relationship Id="rId63" Type="http://schemas.openxmlformats.org/officeDocument/2006/relationships/slide" Target="slides/slide25.xml"/><Relationship Id="rId68" Type="http://schemas.openxmlformats.org/officeDocument/2006/relationships/slide" Target="slides/slide30.xml"/><Relationship Id="rId84" Type="http://schemas.openxmlformats.org/officeDocument/2006/relationships/tableStyles" Target="tableStyles.xml"/><Relationship Id="rId16" Type="http://schemas.openxmlformats.org/officeDocument/2006/relationships/slideMaster" Target="slideMasters/slideMaster15.xml"/><Relationship Id="rId11" Type="http://schemas.openxmlformats.org/officeDocument/2006/relationships/slideMaster" Target="slideMasters/slideMaster10.xml"/><Relationship Id="rId32" Type="http://schemas.openxmlformats.org/officeDocument/2006/relationships/slideMaster" Target="slideMasters/slideMaster31.xml"/><Relationship Id="rId37" Type="http://schemas.openxmlformats.org/officeDocument/2006/relationships/slideMaster" Target="slideMasters/slideMaster36.xml"/><Relationship Id="rId53" Type="http://schemas.openxmlformats.org/officeDocument/2006/relationships/slide" Target="slides/slide15.xml"/><Relationship Id="rId58" Type="http://schemas.openxmlformats.org/officeDocument/2006/relationships/slide" Target="slides/slide20.xml"/><Relationship Id="rId74" Type="http://schemas.openxmlformats.org/officeDocument/2006/relationships/slide" Target="slides/slide36.xml"/><Relationship Id="rId79" Type="http://schemas.openxmlformats.org/officeDocument/2006/relationships/slide" Target="slides/slide41.xml"/><Relationship Id="rId5" Type="http://schemas.openxmlformats.org/officeDocument/2006/relationships/slideMaster" Target="slideMasters/slideMaster4.xml"/><Relationship Id="rId61" Type="http://schemas.openxmlformats.org/officeDocument/2006/relationships/slide" Target="slides/slide23.xml"/><Relationship Id="rId82" Type="http://schemas.openxmlformats.org/officeDocument/2006/relationships/viewProps" Target="viewProps.xml"/><Relationship Id="rId19" Type="http://schemas.openxmlformats.org/officeDocument/2006/relationships/slideMaster" Target="slideMasters/slideMaster18.xml"/><Relationship Id="rId14" Type="http://schemas.openxmlformats.org/officeDocument/2006/relationships/slideMaster" Target="slideMasters/slideMaster13.xml"/><Relationship Id="rId22" Type="http://schemas.openxmlformats.org/officeDocument/2006/relationships/slideMaster" Target="slideMasters/slideMaster21.xml"/><Relationship Id="rId27" Type="http://schemas.openxmlformats.org/officeDocument/2006/relationships/slideMaster" Target="slideMasters/slideMaster26.xml"/><Relationship Id="rId30" Type="http://schemas.openxmlformats.org/officeDocument/2006/relationships/slideMaster" Target="slideMasters/slideMaster29.xml"/><Relationship Id="rId35" Type="http://schemas.openxmlformats.org/officeDocument/2006/relationships/slideMaster" Target="slideMasters/slideMaster34.xml"/><Relationship Id="rId43" Type="http://schemas.openxmlformats.org/officeDocument/2006/relationships/slide" Target="slides/slide5.xml"/><Relationship Id="rId48" Type="http://schemas.openxmlformats.org/officeDocument/2006/relationships/slide" Target="slides/slide10.xml"/><Relationship Id="rId56" Type="http://schemas.openxmlformats.org/officeDocument/2006/relationships/slide" Target="slides/slide18.xml"/><Relationship Id="rId64" Type="http://schemas.openxmlformats.org/officeDocument/2006/relationships/slide" Target="slides/slide26.xml"/><Relationship Id="rId69" Type="http://schemas.openxmlformats.org/officeDocument/2006/relationships/slide" Target="slides/slide31.xml"/><Relationship Id="rId77" Type="http://schemas.openxmlformats.org/officeDocument/2006/relationships/slide" Target="slides/slide39.xml"/><Relationship Id="rId8" Type="http://schemas.openxmlformats.org/officeDocument/2006/relationships/slideMaster" Target="slideMasters/slideMaster7.xml"/><Relationship Id="rId51" Type="http://schemas.openxmlformats.org/officeDocument/2006/relationships/slide" Target="slides/slide13.xml"/><Relationship Id="rId72" Type="http://schemas.openxmlformats.org/officeDocument/2006/relationships/slide" Target="slides/slide34.xml"/><Relationship Id="rId80" Type="http://schemas.openxmlformats.org/officeDocument/2006/relationships/notesMaster" Target="notesMasters/notesMaster1.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Master" Target="slideMasters/slideMaster24.xml"/><Relationship Id="rId33" Type="http://schemas.openxmlformats.org/officeDocument/2006/relationships/slideMaster" Target="slideMasters/slideMaster32.xml"/><Relationship Id="rId38" Type="http://schemas.openxmlformats.org/officeDocument/2006/relationships/slideMaster" Target="slideMasters/slideMaster37.xml"/><Relationship Id="rId46" Type="http://schemas.openxmlformats.org/officeDocument/2006/relationships/slide" Target="slides/slide8.xml"/><Relationship Id="rId59" Type="http://schemas.openxmlformats.org/officeDocument/2006/relationships/slide" Target="slides/slide21.xml"/><Relationship Id="rId67" Type="http://schemas.openxmlformats.org/officeDocument/2006/relationships/slide" Target="slides/slide29.xml"/><Relationship Id="rId20" Type="http://schemas.openxmlformats.org/officeDocument/2006/relationships/slideMaster" Target="slideMasters/slideMaster19.xml"/><Relationship Id="rId41" Type="http://schemas.openxmlformats.org/officeDocument/2006/relationships/slide" Target="slides/slide3.xml"/><Relationship Id="rId54" Type="http://schemas.openxmlformats.org/officeDocument/2006/relationships/slide" Target="slides/slide16.xml"/><Relationship Id="rId62" Type="http://schemas.openxmlformats.org/officeDocument/2006/relationships/slide" Target="slides/slide24.xml"/><Relationship Id="rId70" Type="http://schemas.openxmlformats.org/officeDocument/2006/relationships/slide" Target="slides/slide32.xml"/><Relationship Id="rId75" Type="http://schemas.openxmlformats.org/officeDocument/2006/relationships/slide" Target="slides/slide37.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Master" Target="slideMasters/slideMaster14.xml"/><Relationship Id="rId23" Type="http://schemas.openxmlformats.org/officeDocument/2006/relationships/slideMaster" Target="slideMasters/slideMaster22.xml"/><Relationship Id="rId28" Type="http://schemas.openxmlformats.org/officeDocument/2006/relationships/slideMaster" Target="slideMasters/slideMaster27.xml"/><Relationship Id="rId36" Type="http://schemas.openxmlformats.org/officeDocument/2006/relationships/slideMaster" Target="slideMasters/slideMaster35.xml"/><Relationship Id="rId49" Type="http://schemas.openxmlformats.org/officeDocument/2006/relationships/slide" Target="slides/slide11.xml"/><Relationship Id="rId57" Type="http://schemas.openxmlformats.org/officeDocument/2006/relationships/slide" Target="slides/slide19.xml"/><Relationship Id="rId10" Type="http://schemas.openxmlformats.org/officeDocument/2006/relationships/slideMaster" Target="slideMasters/slideMaster9.xml"/><Relationship Id="rId31" Type="http://schemas.openxmlformats.org/officeDocument/2006/relationships/slideMaster" Target="slideMasters/slideMaster30.xml"/><Relationship Id="rId44" Type="http://schemas.openxmlformats.org/officeDocument/2006/relationships/slide" Target="slides/slide6.xml"/><Relationship Id="rId52" Type="http://schemas.openxmlformats.org/officeDocument/2006/relationships/slide" Target="slides/slide14.xml"/><Relationship Id="rId60" Type="http://schemas.openxmlformats.org/officeDocument/2006/relationships/slide" Target="slides/slide22.xml"/><Relationship Id="rId65" Type="http://schemas.openxmlformats.org/officeDocument/2006/relationships/slide" Target="slides/slide27.xml"/><Relationship Id="rId73" Type="http://schemas.openxmlformats.org/officeDocument/2006/relationships/slide" Target="slides/slide35.xml"/><Relationship Id="rId78" Type="http://schemas.openxmlformats.org/officeDocument/2006/relationships/slide" Target="slides/slide40.xml"/><Relationship Id="rId81"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3" Type="http://schemas.openxmlformats.org/officeDocument/2006/relationships/slideMaster" Target="slideMasters/slideMaster12.xml"/><Relationship Id="rId18" Type="http://schemas.openxmlformats.org/officeDocument/2006/relationships/slideMaster" Target="slideMasters/slideMaster17.xml"/><Relationship Id="rId39" Type="http://schemas.openxmlformats.org/officeDocument/2006/relationships/slide" Target="slides/slide1.xml"/><Relationship Id="rId34" Type="http://schemas.openxmlformats.org/officeDocument/2006/relationships/slideMaster" Target="slideMasters/slideMaster33.xml"/><Relationship Id="rId50" Type="http://schemas.openxmlformats.org/officeDocument/2006/relationships/slide" Target="slides/slide12.xml"/><Relationship Id="rId55" Type="http://schemas.openxmlformats.org/officeDocument/2006/relationships/slide" Target="slides/slide17.xml"/><Relationship Id="rId76" Type="http://schemas.openxmlformats.org/officeDocument/2006/relationships/slide" Target="slides/slide38.xml"/><Relationship Id="rId7" Type="http://schemas.openxmlformats.org/officeDocument/2006/relationships/slideMaster" Target="slideMasters/slideMaster6.xml"/><Relationship Id="rId71" Type="http://schemas.openxmlformats.org/officeDocument/2006/relationships/slide" Target="slides/slide33.xml"/><Relationship Id="rId2" Type="http://schemas.openxmlformats.org/officeDocument/2006/relationships/slideMaster" Target="slideMasters/slideMaster1.xml"/><Relationship Id="rId29" Type="http://schemas.openxmlformats.org/officeDocument/2006/relationships/slideMaster" Target="slideMasters/slideMaster28.xml"/><Relationship Id="rId24" Type="http://schemas.openxmlformats.org/officeDocument/2006/relationships/slideMaster" Target="slideMasters/slideMaster23.xml"/><Relationship Id="rId40" Type="http://schemas.openxmlformats.org/officeDocument/2006/relationships/slide" Target="slides/slide2.xml"/><Relationship Id="rId45" Type="http://schemas.openxmlformats.org/officeDocument/2006/relationships/slide" Target="slides/slide7.xml"/><Relationship Id="rId66"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3DDECD-41A6-4FDC-B464-53A91ED5850D}" type="datetimeFigureOut">
              <a:rPr lang="en-US" smtClean="0"/>
              <a:t>05-May-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82843F-DDFA-418D-BF83-BC7A3D6C4D26}" type="slidenum">
              <a:rPr lang="en-US" smtClean="0"/>
              <a:t>‹#›</a:t>
            </a:fld>
            <a:endParaRPr lang="en-US"/>
          </a:p>
        </p:txBody>
      </p:sp>
    </p:spTree>
    <p:extLst>
      <p:ext uri="{BB962C8B-B14F-4D97-AF65-F5344CB8AC3E}">
        <p14:creationId xmlns:p14="http://schemas.microsoft.com/office/powerpoint/2010/main" val="37549444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documentation/articles/iot-hub-sdks-summary/"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s://azure.microsoft.com/en-us/documentation/articles/web-sites-create-web-jobs/" TargetMode="External"/><Relationship Id="rId4" Type="http://schemas.openxmlformats.org/officeDocument/2006/relationships/hyperlink" Target="https://azure.microsoft.com/en-us/documentation/articles/event-hubs-programming-guide/#event-processor-host"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B9DB5D-DBF1-412B-809F-48116569071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4139425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19AA67-496E-4F43-9E6C-0B247F265BCD}"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May-17 12:01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Tech Ready 15</a:t>
            </a:r>
          </a:p>
        </p:txBody>
      </p:sp>
    </p:spTree>
    <p:extLst>
      <p:ext uri="{BB962C8B-B14F-4D97-AF65-F5344CB8AC3E}">
        <p14:creationId xmlns:p14="http://schemas.microsoft.com/office/powerpoint/2010/main" val="1290952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A4F2D-4EFF-4AD4-9494-DBEEEF16AFAB}"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5-May-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610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1517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6945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01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74983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105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8A5BF4-F3F4-49B9-8867-1D88401DF9C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4592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1444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833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3F5624-4212-4C85-9B33-A70F7D9B18D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31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86AAD-F3BD-4EDD-9F72-66E98356D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0478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p:txBody>
          <a:bodyPr/>
          <a:lstStyle/>
          <a:p>
            <a:r>
              <a:rPr lang="en-US" b="1" dirty="0"/>
              <a:t>Key</a:t>
            </a:r>
            <a:r>
              <a:rPr lang="en-US" b="1" baseline="0" dirty="0"/>
              <a:t> points: </a:t>
            </a:r>
            <a:r>
              <a:rPr lang="en-US" b="0" baseline="0" dirty="0"/>
              <a:t>Provide an overview of the future roadmap of SQL Server reporting and Power BI beyond SQL Server 2016</a:t>
            </a:r>
            <a:endParaRPr lang="en-US" b="1" baseline="0" dirty="0"/>
          </a:p>
          <a:p>
            <a:r>
              <a:rPr lang="en-US" b="1" dirty="0"/>
              <a:t>Talk track:</a:t>
            </a:r>
            <a:endParaRPr lang="en-US" b="1" baseline="0" dirty="0"/>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Before we dive into what’s new and exciting in SQL Server Reporting Services and Analysis Services in 2016, let’s take a look at what our future vision for SQL Server reporting and Power BI is. After general availability of SQL Server 2016 we will continue to deliver on our vision to provide a set of client tools that can be used to create paginated and mobile reports that then can be managed both in the cloud using the Power BI service and on-premises for customers, who are not yet ready to move to the cloud.</a:t>
            </a:r>
          </a:p>
          <a:p>
            <a:r>
              <a:rPr lang="en-US" sz="1100" b="0" baseline="0" dirty="0"/>
              <a:t>Our vision is to deliver a set of tools that enable you to analyze and author reports. Tools that you are already familiar with, such as Excel, Power BI Desktop, SQL Server Mobile Report Publisher, Report Builder and SQL Server Data Tools.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You can choose the tool that best fits your needs and expertise and then deliver and manage these reports either in the cloud using Power BI or on-premises. </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Then you can access these reports and analyze your data in the cloud using Power BI, business users who require mobile access to their data can consume all reports using the same mobile apps (Power BI apps) on major mobile platforms.</a:t>
            </a:r>
          </a:p>
          <a:p>
            <a:pPr marL="0" marR="0" indent="0" algn="l" defTabSz="931863" rtl="0" eaLnBrk="0" fontAlgn="base" latinLnBrk="0" hangingPunct="0">
              <a:lnSpc>
                <a:spcPct val="100000"/>
              </a:lnSpc>
              <a:spcBef>
                <a:spcPct val="30000"/>
              </a:spcBef>
              <a:spcAft>
                <a:spcPct val="0"/>
              </a:spcAft>
              <a:buClrTx/>
              <a:buSzTx/>
              <a:buFontTx/>
              <a:buNone/>
              <a:tabLst/>
              <a:defRPr/>
            </a:pPr>
            <a:r>
              <a:rPr lang="en-US" sz="1100" b="0" baseline="0" dirty="0"/>
              <a:t>Reports can also be viewed on the Web portal and we plan to continue to enable organizations to embed BI content into SharePoint pages.</a:t>
            </a:r>
          </a:p>
          <a:p>
            <a:r>
              <a:rPr lang="en-US" sz="1100" b="0" baseline="0" dirty="0"/>
              <a:t>This means that no mater which tool you use to create reports you can consume them either from the cloud or on-premises. Enabling organizations to create a report once and then business users can consume these reports to gain new insights in the cloud, on-premises or if required both.</a:t>
            </a:r>
          </a:p>
          <a:p>
            <a:r>
              <a:rPr lang="en-US" sz="1100" b="0" baseline="0" dirty="0"/>
              <a:t>Now let’s take a look into how we execute on this vision in SQL Server 2016 Reporting Services.</a:t>
            </a:r>
            <a:endParaRPr lang="en-US" sz="1100" b="1"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8"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05-May-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10" name="Header Placeholder 3"/>
          <p:cNvSpPr>
            <a:spLocks noGrp="1"/>
          </p:cNvSpPr>
          <p:nvPr>
            <p:ph type="hdr" sz="quarter"/>
          </p:nvPr>
        </p:nvSpPr>
        <p:spPr>
          <a:xfrm>
            <a:off x="0" y="0"/>
            <a:ext cx="3038475"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Future vision for SQL Server BI and Power BI</a:t>
            </a:r>
          </a:p>
        </p:txBody>
      </p:sp>
    </p:spTree>
    <p:extLst>
      <p:ext uri="{BB962C8B-B14F-4D97-AF65-F5344CB8AC3E}">
        <p14:creationId xmlns:p14="http://schemas.microsoft.com/office/powerpoint/2010/main" val="1557212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684213"/>
            <a:ext cx="5575300" cy="3136900"/>
          </a:xfrm>
        </p:spPr>
      </p:sp>
      <p:sp>
        <p:nvSpPr>
          <p:cNvPr id="3" name="Notes Placeholder 2"/>
          <p:cNvSpPr>
            <a:spLocks noGrp="1"/>
          </p:cNvSpPr>
          <p:nvPr>
            <p:ph type="body" idx="1"/>
          </p:nvPr>
        </p:nvSpPr>
        <p:spPr>
          <a:xfrm>
            <a:off x="701674" y="3982248"/>
            <a:ext cx="5882005" cy="3660775"/>
          </a:xfrm>
        </p:spPr>
        <p:txBody>
          <a:bodyPr/>
          <a:lstStyle/>
          <a:p>
            <a:r>
              <a:rPr lang="en-US" b="1" baseline="0" dirty="0"/>
              <a:t>Key points: </a:t>
            </a:r>
            <a:r>
              <a:rPr lang="en-US" b="0" baseline="0" dirty="0"/>
              <a:t>Roadmap slide for SQL Server 2016 BI – SQL Server Reporting Services for paginated and mobile reporting.</a:t>
            </a:r>
          </a:p>
          <a:p>
            <a:r>
              <a:rPr lang="en-US" b="1" baseline="0" dirty="0"/>
              <a:t>Talk track:</a:t>
            </a:r>
          </a:p>
          <a:p>
            <a:pPr marL="171450" indent="-171450">
              <a:spcBef>
                <a:spcPts val="200"/>
              </a:spcBef>
              <a:buFont typeface="Arial" panose="020B0604020202020204" pitchFamily="34" charset="0"/>
              <a:buChar char="•"/>
            </a:pPr>
            <a:r>
              <a:rPr lang="en-US" sz="1100" b="0" baseline="0" dirty="0"/>
              <a:t>Today, customers who have a qualifying SQL Server 2008+ Enterprise Edition license and active Software Assurance can download Datazen Server (http://www.microsoft.com/sqlmobilebi) and use it as long as they have active Software assurance.</a:t>
            </a:r>
          </a:p>
          <a:p>
            <a:pPr marL="171450" indent="-171450">
              <a:spcBef>
                <a:spcPts val="200"/>
              </a:spcBef>
              <a:buFont typeface="Arial" panose="020B0604020202020204" pitchFamily="34" charset="0"/>
              <a:buChar char="•"/>
            </a:pPr>
            <a:r>
              <a:rPr lang="en-US" sz="1100" b="0" baseline="0" dirty="0"/>
              <a:t>In SQL Server 2016 we provide a better integrated experience and enable both mobile and paginated reporting with SQL Server Reporting Services (native mode).</a:t>
            </a:r>
          </a:p>
          <a:p>
            <a:pPr marL="171450" indent="-171450">
              <a:spcBef>
                <a:spcPts val="200"/>
              </a:spcBef>
              <a:buFont typeface="Arial" panose="020B0604020202020204" pitchFamily="34" charset="0"/>
              <a:buChar char="•"/>
            </a:pPr>
            <a:r>
              <a:rPr lang="en-US" sz="1100" b="0" baseline="0" dirty="0"/>
              <a:t>Datazen is expected to be available as a component of SQL Server Reporting Services in SQL Server 2016 enabling IT organizations to create and manage paginated reports as well as mobile reports for customers who need a mobile reporting solution that is implemented on-premises. SQL Server Reporting Services Report Server can run in one of two deployment modes, native mode and SharePoint Mode. Mobile reports will only be supported in native mode. </a:t>
            </a:r>
          </a:p>
          <a:p>
            <a:pPr marL="171450" indent="-171450">
              <a:spcBef>
                <a:spcPts val="200"/>
              </a:spcBef>
              <a:buFont typeface="Arial" panose="020B0604020202020204" pitchFamily="34" charset="0"/>
              <a:buChar char="•"/>
            </a:pPr>
            <a:r>
              <a:rPr lang="en-US" sz="1100" b="0" baseline="0" dirty="0"/>
              <a:t>What changes are expected for paginated reports in SQL Server 2016?</a:t>
            </a:r>
          </a:p>
          <a:p>
            <a:pPr marL="388712" lvl="1" indent="-171450">
              <a:spcBef>
                <a:spcPts val="200"/>
              </a:spcBef>
              <a:buFont typeface="Arial" panose="020B0604020202020204" pitchFamily="34" charset="0"/>
              <a:buChar char="•"/>
            </a:pPr>
            <a:r>
              <a:rPr lang="en-US" sz="1100" b="0" baseline="0" dirty="0"/>
              <a:t>IT can use a modernized version of SQL Server Report Builder and Report Designer to create paginated reports and manage them in SQL Server Reporting Services. </a:t>
            </a:r>
            <a:br>
              <a:rPr lang="en-US" sz="1100" b="0" baseline="0" dirty="0"/>
            </a:br>
            <a:r>
              <a:rPr lang="en-US" sz="1100" b="0" baseline="0" dirty="0"/>
              <a:t>SQL Server 2016 Reporting Services (native mode) allows you to access paginated reports in a new web portal experience, export paginated reports to Word, Excel, PPT, PDF and pin report items to Power BI dashboards enabling business users to get access to relevant information in one singe place.</a:t>
            </a:r>
          </a:p>
          <a:p>
            <a:pPr marL="388712" lvl="1" indent="-171450">
              <a:spcBef>
                <a:spcPts val="200"/>
              </a:spcBef>
              <a:buFont typeface="Arial" panose="020B0604020202020204" pitchFamily="34" charset="0"/>
              <a:buChar char="•"/>
            </a:pPr>
            <a:r>
              <a:rPr lang="en-US" sz="1100" b="0" baseline="0" dirty="0"/>
              <a:t>Mobile reports are created in SQL Server Mobile Report Publisher (previously Datazen Publisher) based on data sources that are set up in SQL Server Reporting Services 2016. These mobile reports can be consumed from Power BI apps and on a new web portal, enabling business users to get access to mobile and paginated reports from one single place.</a:t>
            </a:r>
          </a:p>
          <a:p>
            <a:pPr marL="171450" lvl="0" indent="-171450">
              <a:spcBef>
                <a:spcPts val="200"/>
              </a:spcBef>
              <a:buFont typeface="Arial" panose="020B0604020202020204" pitchFamily="34" charset="0"/>
              <a:buChar char="•"/>
            </a:pPr>
            <a:r>
              <a:rPr lang="en-US" sz="1100" b="0" baseline="0" dirty="0"/>
              <a:t>SQL Server Reporting Services in integrated mode will continue to support SQL Server Reporting Services 2016 for paginated reports.</a:t>
            </a:r>
          </a:p>
          <a:p>
            <a:pPr marL="0" indent="0">
              <a:buFont typeface="Arial" panose="020B0604020202020204" pitchFamily="34" charset="0"/>
              <a:buNone/>
            </a:pPr>
            <a:endParaRPr lang="en-US" b="0" baseline="0" dirty="0"/>
          </a:p>
          <a:p>
            <a:endParaRPr lang="en-US" b="1" baseline="0" dirty="0"/>
          </a:p>
          <a:p>
            <a:endParaRPr lang="en-US" b="0" baseline="0" dirty="0"/>
          </a:p>
          <a:p>
            <a:endParaRPr lang="en-US" b="0" baseline="0" dirty="0"/>
          </a:p>
          <a:p>
            <a:endParaRPr lang="en-US" b="0" baseline="0" dirty="0"/>
          </a:p>
          <a:p>
            <a:endParaRPr lang="en-US" b="0" baseline="0" dirty="0"/>
          </a:p>
          <a:p>
            <a:endParaRPr lang="en-US" b="0" baseline="0"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7"/>
          <p:cNvSpPr>
            <a:spLocks noGrp="1"/>
          </p:cNvSpPr>
          <p:nvPr>
            <p:ph type="ftr" sz="quarter" idx="4"/>
          </p:nvPr>
        </p:nvSpPr>
        <p:spPr>
          <a:xfrm>
            <a:off x="0" y="8759190"/>
            <a:ext cx="5986526" cy="358930"/>
          </a:xfrm>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05-May-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
        <p:nvSpPr>
          <p:cNvPr id="7" name="Header Placeholder 3"/>
          <p:cNvSpPr>
            <a:spLocks noGrp="1"/>
          </p:cNvSpPr>
          <p:nvPr>
            <p:ph type="hdr" sz="quarter"/>
          </p:nvPr>
        </p:nvSpPr>
        <p:spPr>
          <a:xfrm>
            <a:off x="0" y="0"/>
            <a:ext cx="3038475" cy="466725"/>
          </a:xfr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QL Server 2016 reporting capabilities</a:t>
            </a:r>
          </a:p>
        </p:txBody>
      </p:sp>
    </p:spTree>
    <p:extLst>
      <p:ext uri="{BB962C8B-B14F-4D97-AF65-F5344CB8AC3E}">
        <p14:creationId xmlns:p14="http://schemas.microsoft.com/office/powerpoint/2010/main" val="3914913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4213"/>
            <a:ext cx="5578475" cy="3136900"/>
          </a:xfrm>
        </p:spPr>
      </p:sp>
      <p:sp>
        <p:nvSpPr>
          <p:cNvPr id="3" name="Notes Placeholder 2"/>
          <p:cNvSpPr>
            <a:spLocks noGrp="1"/>
          </p:cNvSpPr>
          <p:nvPr>
            <p:ph type="body" idx="1"/>
          </p:nvPr>
        </p:nvSpPr>
        <p:spPr>
          <a:xfrm>
            <a:off x="701675" y="3927661"/>
            <a:ext cx="6081262" cy="3660775"/>
          </a:xfrm>
        </p:spPr>
        <p:txBody>
          <a:bodyPr/>
          <a:lstStyle/>
          <a:p>
            <a:pPr marL="0" marR="0" indent="0" algn="l" defTabSz="931863" rtl="0" eaLnBrk="0" fontAlgn="base" latinLnBrk="0" hangingPunct="0">
              <a:lnSpc>
                <a:spcPct val="100000"/>
              </a:lnSpc>
              <a:spcBef>
                <a:spcPct val="30000"/>
              </a:spcBef>
              <a:spcAft>
                <a:spcPct val="0"/>
              </a:spcAft>
              <a:buClrTx/>
              <a:buSzTx/>
              <a:buFontTx/>
              <a:buNone/>
              <a:tabLst/>
              <a:defRPr/>
            </a:pPr>
            <a:r>
              <a:rPr lang="en-US" sz="1200" b="1" dirty="0"/>
              <a:t>Key Points:</a:t>
            </a:r>
          </a:p>
          <a:p>
            <a:r>
              <a:rPr lang="en-US" sz="1200" kern="1200" dirty="0">
                <a:solidFill>
                  <a:schemeClr val="tx1"/>
                </a:solidFill>
                <a:effectLst/>
                <a:latin typeface="+mn-lt"/>
                <a:ea typeface="MS PGothic" panose="020B0600070205080204" pitchFamily="34" charset="-128"/>
                <a:cs typeface="ＭＳ Ｐゴシック" charset="0"/>
              </a:rPr>
              <a:t>SQL Server Reporting Services offers a single, on-premises solution for deploying and managing reports – both traditional, paginated reports and responsive mobile reports.</a:t>
            </a:r>
          </a:p>
          <a:p>
            <a:r>
              <a:rPr lang="en-US" sz="1200" b="1" kern="1200" dirty="0">
                <a:solidFill>
                  <a:schemeClr val="tx1"/>
                </a:solidFill>
                <a:effectLst/>
                <a:latin typeface="+mn-lt"/>
                <a:ea typeface="MS PGothic" panose="020B0600070205080204" pitchFamily="34" charset="-128"/>
                <a:cs typeface="ＭＳ Ｐゴシック" charset="0"/>
              </a:rPr>
              <a:t>Talk track:</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Design</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 Builder enables report authors to design paginated reports and publish them to a report server.</a:t>
            </a: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obile Report Publisher enables report authors to design mobile reports and publish them to a report server.</a:t>
            </a:r>
          </a:p>
          <a:p>
            <a:pPr marL="365760" lvl="1" indent="-171450">
              <a:spcBef>
                <a:spcPts val="0"/>
              </a:spcBef>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SQL Server Data Tools (SSDT) integrates into Visual Studio 2015 and enables developers to design paginated reports within the Visual Studio integrated development environment and take advantage of projects, source control, build, and deployment.</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Viewing</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odern browsers (Microsoft Edge, Microsoft Internet Explorer, Google Chrome, Mozilla Firefox, Apple Safari) provide users with access to their reports across platforms and devic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Power BI Mobile apps are available for all major mobile platforms – Windows, iOS, and Android – and enable users to view KPIs and mobile reports on their phones and tablet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Custom Apps</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Third-party and custom apps can embed reports (both paginated and mobile) using HTML5 technology.</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ASP.NET web apps can embed the Report Viewer control for paginated report viewing.</a:t>
            </a:r>
          </a:p>
          <a:p>
            <a:pPr marL="457200" lvl="2" indent="-91440">
              <a:spcBef>
                <a:spcPts val="0"/>
              </a:spcBef>
              <a:buFont typeface="Arial" panose="020B0604020202020204" pitchFamily="34" charset="0"/>
              <a:buChar char="•"/>
            </a:pPr>
            <a:r>
              <a:rPr lang="en-US" kern="1200" dirty="0">
                <a:solidFill>
                  <a:schemeClr val="tx1"/>
                </a:solidFill>
                <a:effectLst/>
                <a:latin typeface="+mn-lt"/>
                <a:ea typeface="MS PGothic" panose="020B0600070205080204" pitchFamily="34" charset="-128"/>
                <a:cs typeface="ＭＳ Ｐゴシック" charset="0"/>
              </a:rPr>
              <a:t>Apps can further integrate with Reporting Services using APIs and web services.</a:t>
            </a:r>
          </a:p>
          <a:p>
            <a:pPr marL="171450" indent="-171450">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Server</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 brand-new web portal built on HTML5 enables users to browse, search, view, and manage reports (both paginated and mobile) using modern browser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same web APIs that serve the web portal, Power BI Mobile apps, and report design apps also enable third-party and custom apps to integrate with Reporting Services and report server content.</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n enterprise-scale processing and rendering engine connects to and queries various types of data sources; processes data (filtering, sorting, grouping, aggregation); evaluates expressions and custom code; and renders paginated reports to various format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A scheduling and delivery agent refreshes datasets and executes reports on a schedule, and delivers paginated reports to users via email and other mean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The report server database, built on the SQL Server Database Engine, stores and manages the catalog of content, including data sources, datasets, paginated reports, mobile reports, and KPIs. The database can be on the report server or on a different server running SQL Server.</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Multiple report servers can operate in a scale-out configuration for additional scale and availability.</a:t>
            </a:r>
          </a:p>
          <a:p>
            <a:pPr marL="171450" indent="-171450">
              <a:spcBef>
                <a:spcPts val="0"/>
              </a:spcBef>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Data Sources</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ing Services provides native data source connectors for SQL Server, SQL Server Analysis Services, Oracle Database, Oracle </a:t>
            </a:r>
            <a:r>
              <a:rPr lang="en-US" sz="1200" kern="1200" dirty="0" err="1">
                <a:solidFill>
                  <a:schemeClr val="tx1"/>
                </a:solidFill>
                <a:effectLst/>
                <a:latin typeface="+mn-lt"/>
                <a:ea typeface="MS PGothic" panose="020B0600070205080204" pitchFamily="34" charset="-128"/>
                <a:cs typeface="ＭＳ Ｐゴシック" charset="0"/>
              </a:rPr>
              <a:t>Essbase</a:t>
            </a:r>
            <a:r>
              <a:rPr lang="en-US" sz="1200" kern="1200" dirty="0">
                <a:solidFill>
                  <a:schemeClr val="tx1"/>
                </a:solidFill>
                <a:effectLst/>
                <a:latin typeface="+mn-lt"/>
                <a:ea typeface="MS PGothic" panose="020B0600070205080204" pitchFamily="34" charset="-128"/>
                <a:cs typeface="ＭＳ Ｐゴシック" charset="0"/>
              </a:rPr>
              <a:t>, SAP BW, Teradata, SharePoint lists, and XML.</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It also provides generic connectors based on standard ODBC and OLE DB protocols for access to many more data source typ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evelopers can create custom data processing extensions for connectivity to other, proprietary data sources.</a:t>
            </a:r>
          </a:p>
          <a:p>
            <a:pPr marL="171450" indent="-171450">
              <a:spcBef>
                <a:spcPts val="0"/>
              </a:spcBef>
              <a:buFont typeface="Arial" panose="020B0604020202020204" pitchFamily="34" charset="0"/>
              <a:buChar char="•"/>
            </a:pPr>
            <a:r>
              <a:rPr lang="en-US" sz="1200" b="1" kern="1200" dirty="0">
                <a:solidFill>
                  <a:schemeClr val="tx1"/>
                </a:solidFill>
                <a:effectLst/>
                <a:latin typeface="+mn-lt"/>
                <a:ea typeface="MS PGothic" panose="020B0600070205080204" pitchFamily="34" charset="-128"/>
                <a:cs typeface="ＭＳ Ｐゴシック" charset="0"/>
              </a:rPr>
              <a:t>Report Delivery Destinations</a:t>
            </a:r>
            <a:endParaRPr lang="en-US" sz="1200" kern="1200" dirty="0">
              <a:solidFill>
                <a:schemeClr val="tx1"/>
              </a:solidFill>
              <a:effectLst/>
              <a:latin typeface="+mn-lt"/>
              <a:ea typeface="MS PGothic" panose="020B0600070205080204" pitchFamily="34" charset="-128"/>
              <a:cs typeface="ＭＳ Ｐゴシック" charset="0"/>
            </a:endParaRP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Reporting Services can deliver paginated reports on a schedule to email, file shares, and SharePoint libraries.</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Power BI users can pin items from Reporting Services paginated reports (charts, gauges, maps, images) to their Power BI dashboards. The report server updates their dashboard tiles on a schedule so the data is up-to-date.</a:t>
            </a:r>
          </a:p>
          <a:p>
            <a:pPr marL="365760" lvl="1" indent="-171450" algn="l" defTabSz="931863" rtl="0" eaLnBrk="0" fontAlgn="base" hangingPunct="0">
              <a:spcBef>
                <a:spcPts val="0"/>
              </a:spcBef>
              <a:spcAft>
                <a:spcPct val="0"/>
              </a:spcAft>
              <a:buFont typeface="Arial" panose="020B0604020202020204" pitchFamily="34" charset="0"/>
              <a:buChar char="•"/>
            </a:pPr>
            <a:r>
              <a:rPr lang="en-US" sz="1200" kern="1200" dirty="0">
                <a:solidFill>
                  <a:schemeClr val="tx1"/>
                </a:solidFill>
                <a:effectLst/>
                <a:latin typeface="+mn-lt"/>
                <a:ea typeface="MS PGothic" panose="020B0600070205080204" pitchFamily="34" charset="-128"/>
                <a:cs typeface="ＭＳ Ｐゴシック" charset="0"/>
              </a:rPr>
              <a:t>Developers can create custom delivery extensions to deliver reports to other destinations.</a:t>
            </a:r>
          </a:p>
          <a:p>
            <a:pPr marL="194310" lvl="1" indent="0" algn="l" defTabSz="931863" rtl="0" eaLnBrk="0" fontAlgn="base" hangingPunct="0">
              <a:spcBef>
                <a:spcPts val="0"/>
              </a:spcBef>
              <a:spcAft>
                <a:spcPct val="0"/>
              </a:spcAft>
              <a:buFont typeface="Arial" panose="020B0604020202020204" pitchFamily="34" charset="0"/>
              <a:buNone/>
            </a:pPr>
            <a:endParaRPr lang="en-US" sz="1200" kern="1200" dirty="0">
              <a:solidFill>
                <a:schemeClr val="tx1"/>
              </a:solidFill>
              <a:effectLst/>
              <a:latin typeface="+mn-lt"/>
              <a:ea typeface="MS PGothic" panose="020B0600070205080204" pitchFamily="34" charset="-128"/>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Date Placeholder 5"/>
          <p:cNvSpPr>
            <a:spLocks noGrp="1"/>
          </p:cNvSpPr>
          <p:nvPr>
            <p:ph type="dt" sz="quarter" idx="1"/>
          </p:nvPr>
        </p:nvSpPr>
        <p:spPr bwMode="auto">
          <a:xfrm>
            <a:off x="3970338" y="0"/>
            <a:ext cx="3038475"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50008" indent="-288465" eaLnBrk="0" hangingPunct="0">
              <a:defRPr sz="2400">
                <a:solidFill>
                  <a:schemeClr val="tx1"/>
                </a:solidFill>
                <a:latin typeface="Segoe UI" charset="0"/>
                <a:ea typeface="MS PGothic" charset="0"/>
                <a:cs typeface="MS PGothic" charset="0"/>
              </a:defRPr>
            </a:lvl2pPr>
            <a:lvl3pPr marL="1153859" indent="-230772" eaLnBrk="0" hangingPunct="0">
              <a:defRPr sz="2400">
                <a:solidFill>
                  <a:schemeClr val="tx1"/>
                </a:solidFill>
                <a:latin typeface="Segoe UI" charset="0"/>
                <a:ea typeface="MS PGothic" charset="0"/>
                <a:cs typeface="MS PGothic" charset="0"/>
              </a:defRPr>
            </a:lvl3pPr>
            <a:lvl4pPr marL="1615402" indent="-230772" eaLnBrk="0" hangingPunct="0">
              <a:defRPr sz="2400">
                <a:solidFill>
                  <a:schemeClr val="tx1"/>
                </a:solidFill>
                <a:latin typeface="Segoe UI" charset="0"/>
                <a:ea typeface="MS PGothic" charset="0"/>
                <a:cs typeface="MS PGothic" charset="0"/>
              </a:defRPr>
            </a:lvl4pPr>
            <a:lvl5pPr marL="2076945" indent="-230772" eaLnBrk="0" hangingPunct="0">
              <a:defRPr sz="2400">
                <a:solidFill>
                  <a:schemeClr val="tx1"/>
                </a:solidFill>
                <a:latin typeface="Segoe UI" charset="0"/>
                <a:ea typeface="MS PGothic" charset="0"/>
                <a:cs typeface="MS PGothic" charset="0"/>
              </a:defRPr>
            </a:lvl5pPr>
            <a:lvl6pPr marL="253848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6pPr>
            <a:lvl7pPr marL="3000032"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7pPr>
            <a:lvl8pPr marL="3461576"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8pPr>
            <a:lvl9pPr marL="3923119" indent="-230772" defTabSz="940716"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97F7ABFF-3F27-5745-A684-F5A219B3CB2E}" type="datetime1">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31863" rtl="0" eaLnBrk="1" fontAlgn="base" latinLnBrk="0" hangingPunct="1">
                <a:lnSpc>
                  <a:spcPct val="100000"/>
                </a:lnSpc>
                <a:spcBef>
                  <a:spcPct val="0"/>
                </a:spcBef>
                <a:spcAft>
                  <a:spcPct val="0"/>
                </a:spcAft>
                <a:buClrTx/>
                <a:buSzTx/>
                <a:buFontTx/>
                <a:buNone/>
                <a:tabLst/>
                <a:defRPr/>
              </a:pPr>
              <a:t>05-May-17</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Tree>
    <p:extLst>
      <p:ext uri="{BB962C8B-B14F-4D97-AF65-F5344CB8AC3E}">
        <p14:creationId xmlns:p14="http://schemas.microsoft.com/office/powerpoint/2010/main" val="3551682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6256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C2D322-474A-446D-9BD6-85AF011F6E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6822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8085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Build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5-May-17 12:0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84646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zure IoT Suite packages together multiple Azure services with custom extensions as </a:t>
            </a:r>
            <a:r>
              <a:rPr lang="en-US" i="1" dirty="0"/>
              <a:t>preconfigured solutions</a:t>
            </a:r>
            <a:r>
              <a:rPr lang="en-US" dirty="0"/>
              <a:t>. These preconfigured solutions are base implementations of common IoT solution patterns that help to reduce the time you take to deliver your IoT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Using the </a:t>
            </a:r>
            <a:r>
              <a:rPr lang="en-US" dirty="0">
                <a:hlinkClick r:id="rId3"/>
              </a:rPr>
              <a:t>IoT software development kits</a:t>
            </a:r>
            <a:r>
              <a:rPr lang="en-US" dirty="0"/>
              <a:t>, you can customize and extend these solutions to meet your own requirements.</a:t>
            </a:r>
          </a:p>
          <a:p>
            <a:pPr marL="0" indent="0">
              <a:buFont typeface="Arial" panose="020B0604020202020204" pitchFamily="34" charset="0"/>
              <a:buNone/>
            </a:pPr>
            <a:r>
              <a:rPr lang="en-US" dirty="0"/>
              <a:t>RM is addressing common</a:t>
            </a:r>
            <a:r>
              <a:rPr lang="en-US" baseline="0" dirty="0"/>
              <a:t> IoT features like: data ingestion, device identity, command and control, rules and actions. For PM </a:t>
            </a:r>
            <a:r>
              <a:rPr lang="en-US" dirty="0"/>
              <a:t>is adding one extra feature, predictive analytics. For example, analyzing aircraft engine telemetry to determine when engine maintenance is due.</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Out of the box we have f</a:t>
            </a:r>
            <a:r>
              <a:rPr lang="en-US" dirty="0"/>
              <a:t>our simulated devices are pre-provisioned in the solution that simulate a cooling device. These simulated devices have a built in temperature and humidity model that emits telemetry. When a device first connects to IoT Hub, device information message sent to the IoT hub enumerates the list of commands that the device can respond to: Ping Device, Start Telemetry,</a:t>
            </a:r>
            <a:r>
              <a:rPr lang="en-US" baseline="0" dirty="0"/>
              <a:t> Stop Telemetry, Change Set Point Temp, </a:t>
            </a:r>
            <a:r>
              <a:rPr lang="en-US" baseline="0" dirty="0" err="1"/>
              <a:t>etc</a:t>
            </a:r>
            <a:endParaRPr lang="en-US" baseline="0" dirty="0"/>
          </a:p>
          <a:p>
            <a:pPr marL="171450" indent="-171450">
              <a:buFontTx/>
              <a:buChar char="-"/>
            </a:pPr>
            <a:endParaRPr lang="en-US" baseline="0" dirty="0"/>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a:t>
            </a:r>
            <a:r>
              <a:rPr lang="en-US" dirty="0"/>
              <a:t>to filter the telemetry stream from the devices: </a:t>
            </a:r>
          </a:p>
          <a:p>
            <a:pPr marL="388712" lvl="1" indent="-171450">
              <a:buFontTx/>
              <a:buChar char="-"/>
            </a:pPr>
            <a:r>
              <a:rPr lang="en-US" dirty="0" err="1"/>
              <a:t>DeviceInfo</a:t>
            </a:r>
            <a:r>
              <a:rPr lang="en-US" dirty="0"/>
              <a:t> (device registration specific messages)</a:t>
            </a:r>
            <a:r>
              <a:rPr lang="en-US" baseline="0" dirty="0"/>
              <a:t> – sends it to Event Hub for delivery to other backend services</a:t>
            </a:r>
            <a:endParaRPr lang="en-US" dirty="0"/>
          </a:p>
          <a:p>
            <a:pPr marL="388712" lvl="1" indent="-171450">
              <a:buFontTx/>
              <a:buChar char="-"/>
            </a:pPr>
            <a:r>
              <a:rPr lang="en-US" dirty="0"/>
              <a:t>Telemetry – sends raw data to storage</a:t>
            </a:r>
            <a:r>
              <a:rPr lang="en-US" baseline="0" dirty="0"/>
              <a:t> blobs for cold path and calculates averages </a:t>
            </a:r>
          </a:p>
          <a:p>
            <a:pPr marL="388712" lvl="1" indent="-171450">
              <a:buFontTx/>
              <a:buChar char="-"/>
            </a:pPr>
            <a:r>
              <a:rPr lang="en-US" baseline="0" dirty="0"/>
              <a:t>Rules - </a:t>
            </a:r>
            <a:r>
              <a:rPr lang="en-US" dirty="0"/>
              <a:t>filters the telemetry stream for values that exceed any rule thresholds and outputs the data to an Event hub</a:t>
            </a:r>
            <a:endParaRPr lang="en-US" baseline="0" dirty="0"/>
          </a:p>
          <a:p>
            <a:pPr marL="171450" indent="-171450">
              <a:buFontTx/>
              <a:buChar char="-"/>
            </a:pPr>
            <a:endParaRPr lang="en-US" baseline="0" dirty="0"/>
          </a:p>
          <a:p>
            <a:pPr marL="171450" indent="-171450">
              <a:buFontTx/>
              <a:buChar char="-"/>
            </a:pPr>
            <a:r>
              <a:rPr lang="en-US" dirty="0"/>
              <a:t>The solution uses an </a:t>
            </a:r>
            <a:r>
              <a:rPr lang="en-US" dirty="0" err="1">
                <a:hlinkClick r:id="rId4"/>
              </a:rPr>
              <a:t>EventPocessorHost</a:t>
            </a:r>
            <a:r>
              <a:rPr lang="en-US" dirty="0"/>
              <a:t> instance, running in a </a:t>
            </a:r>
            <a:r>
              <a:rPr lang="en-US" dirty="0" err="1">
                <a:hlinkClick r:id="rId5"/>
              </a:rPr>
              <a:t>WebJob</a:t>
            </a:r>
            <a:r>
              <a:rPr lang="en-US" dirty="0"/>
              <a:t>, to read the messages from these Event hubs. The </a:t>
            </a:r>
            <a:r>
              <a:rPr lang="en-US" b="1" dirty="0" err="1"/>
              <a:t>EventProcessorHost</a:t>
            </a:r>
            <a:r>
              <a:rPr lang="en-US" dirty="0"/>
              <a:t> uses the </a:t>
            </a:r>
            <a:r>
              <a:rPr lang="en-US" b="1" dirty="0" err="1"/>
              <a:t>DeviceInfo</a:t>
            </a:r>
            <a:r>
              <a:rPr lang="en-US" dirty="0"/>
              <a:t> data to update the device data in the </a:t>
            </a:r>
            <a:r>
              <a:rPr lang="en-US" dirty="0" err="1"/>
              <a:t>DocumentDB</a:t>
            </a:r>
            <a:r>
              <a:rPr lang="en-US" dirty="0"/>
              <a:t> database, and uses the </a:t>
            </a:r>
            <a:r>
              <a:rPr lang="en-US" b="1" dirty="0"/>
              <a:t>Rules</a:t>
            </a:r>
            <a:r>
              <a:rPr lang="en-US" dirty="0"/>
              <a:t> data to invoke the Logic app and update the alerts display in the solution portal</a:t>
            </a:r>
          </a:p>
          <a:p>
            <a:pPr marL="0" indent="0">
              <a:buFontTx/>
              <a:buNone/>
            </a:pPr>
            <a:endParaRPr lang="en-US" i="0" baseline="0" dirty="0"/>
          </a:p>
          <a:p>
            <a:pPr marL="0" indent="0">
              <a:buFontTx/>
              <a:buNone/>
            </a:pPr>
            <a:r>
              <a:rPr lang="en-US" i="0" baseline="0" dirty="0"/>
              <a:t>    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baseline="0" dirty="0"/>
              <a:t>https://azure.microsoft.com/en-us/documentation/articles/iot-suite-what-are-preconfigured-solutions/</a:t>
            </a:r>
          </a:p>
          <a:p>
            <a:pPr marL="171450" indent="-171450">
              <a:buFontTx/>
              <a:buChar char="-"/>
            </a:pPr>
            <a:endParaRPr lang="en-US" baseline="0" dirty="0"/>
          </a:p>
          <a:p>
            <a:pPr marL="171450" indent="-171450">
              <a:buFontTx/>
              <a:buChar char="-"/>
            </a:pPr>
            <a:endParaRPr lang="en-US" dirty="0"/>
          </a:p>
          <a:p>
            <a:pPr marL="342900" lvl="1" indent="-342900">
              <a:spcBef>
                <a:spcPts val="1836"/>
              </a:spcBef>
              <a:spcAft>
                <a:spcPts val="0"/>
              </a:spcAft>
              <a:buFont typeface="Wingdings" panose="05000000000000000000" pitchFamily="2" charset="2"/>
              <a:buChar char="§"/>
            </a:pPr>
            <a:r>
              <a:rPr lang="en-US" sz="2800">
                <a:gradFill>
                  <a:gsLst>
                    <a:gs pos="1250">
                      <a:schemeClr val="tx1"/>
                    </a:gs>
                    <a:gs pos="99000">
                      <a:schemeClr val="tx1"/>
                    </a:gs>
                  </a:gsLst>
                  <a:lin ang="5400000" scaled="0"/>
                </a:gradFill>
              </a:rPr>
              <a:t>Remote </a:t>
            </a:r>
            <a:r>
              <a:rPr lang="en-US" sz="2800" dirty="0">
                <a:gradFill>
                  <a:gsLst>
                    <a:gs pos="1250">
                      <a:schemeClr val="tx1"/>
                    </a:gs>
                    <a:gs pos="99000">
                      <a:schemeClr val="tx1"/>
                    </a:gs>
                  </a:gsLst>
                  <a:lin ang="5400000" scaled="0"/>
                </a:gradFill>
              </a:rPr>
              <a:t>Monitoring and Predictive Maintenance Preconfigured solutions</a:t>
            </a:r>
          </a:p>
          <a:p>
            <a:pPr marL="342900" indent="-342900">
              <a:buFont typeface="Wingdings" panose="05000000000000000000" pitchFamily="2" charset="2"/>
              <a:buChar char="§"/>
            </a:pPr>
            <a:r>
              <a:rPr lang="en-US" sz="2800"/>
              <a:t>IoT </a:t>
            </a:r>
            <a:r>
              <a:rPr lang="en-US" sz="2800" dirty="0"/>
              <a:t>Suite support for multiple Azure environments (Azure Germany Cloud, Azure Cloud, China Cloud)</a:t>
            </a:r>
          </a:p>
          <a:p>
            <a:pPr marL="342900" indent="-342900">
              <a:buFont typeface="Wingdings" panose="05000000000000000000" pitchFamily="2" charset="2"/>
              <a:buChar char="§"/>
            </a:pPr>
            <a:r>
              <a:rPr lang="en-US" sz="2800"/>
              <a:t>IoT </a:t>
            </a:r>
            <a:r>
              <a:rPr lang="en-US" sz="2800" dirty="0"/>
              <a:t>Suite localization in 16 languages</a:t>
            </a:r>
          </a:p>
          <a:p>
            <a:pPr marL="342900" indent="-342900">
              <a:buFont typeface="Wingdings" panose="05000000000000000000" pitchFamily="2" charset="2"/>
              <a:buChar char="§"/>
            </a:pPr>
            <a:r>
              <a:rPr lang="en-US" sz="2800"/>
              <a:t>Dynamic </a:t>
            </a:r>
            <a:r>
              <a:rPr lang="en-US" sz="2800" dirty="0"/>
              <a:t>telemetry in solution dashboard </a:t>
            </a:r>
          </a:p>
          <a:p>
            <a:pPr marL="342900" indent="-342900">
              <a:buFont typeface="Wingdings" panose="05000000000000000000" pitchFamily="2" charset="2"/>
              <a:buChar char="§"/>
            </a:pPr>
            <a:r>
              <a:rPr lang="en-US" sz="2800"/>
              <a:t>Moved </a:t>
            </a:r>
            <a:r>
              <a:rPr lang="en-US" sz="2800" dirty="0"/>
              <a:t>AAD </a:t>
            </a:r>
            <a:r>
              <a:rPr lang="en-US" sz="2800" dirty="0" err="1"/>
              <a:t>auth</a:t>
            </a:r>
            <a:r>
              <a:rPr lang="en-US" sz="2800" dirty="0"/>
              <a:t> model to </a:t>
            </a:r>
            <a:r>
              <a:rPr lang="en-US" sz="2800" dirty="0" err="1"/>
              <a:t>OpenIDConnect</a:t>
            </a:r>
            <a:endParaRPr lang="en-US" sz="2800" dirty="0"/>
          </a:p>
          <a:p>
            <a:pPr marL="342900" indent="-342900">
              <a:buFont typeface="Wingdings" panose="05000000000000000000" pitchFamily="2" charset="2"/>
              <a:buChar char="§"/>
            </a:pPr>
            <a:r>
              <a:rPr lang="en-US" sz="2800"/>
              <a:t>Azure </a:t>
            </a:r>
            <a:r>
              <a:rPr lang="en-US" sz="2800" dirty="0"/>
              <a:t>IoT reference architecture publicly available</a:t>
            </a:r>
          </a:p>
          <a:p>
            <a:pPr marL="342900" indent="-342900">
              <a:buFont typeface="Wingdings" panose="05000000000000000000" pitchFamily="2" charset="2"/>
              <a:buChar char="§"/>
            </a:pPr>
            <a:r>
              <a:rPr lang="en-US" sz="2800"/>
              <a:t>Device </a:t>
            </a:r>
            <a:r>
              <a:rPr lang="en-US" sz="2800" dirty="0"/>
              <a:t>Management User Experience Sample open in </a:t>
            </a:r>
            <a:r>
              <a:rPr lang="en-US" sz="2800" dirty="0" err="1"/>
              <a:t>github</a:t>
            </a:r>
            <a:r>
              <a:rPr lang="en-US" sz="2800" dirty="0"/>
              <a:t>, cross platform</a:t>
            </a:r>
          </a:p>
          <a:p>
            <a:pPr marL="171450" indent="-171450">
              <a:buFontTx/>
              <a:buChar char="-"/>
            </a:pPr>
            <a:endParaRPr lang="en-US" b="1" dirty="0"/>
          </a:p>
          <a:p>
            <a:pPr marL="171450" indent="-171450">
              <a:buFontTx/>
              <a:buChar char="-"/>
            </a:pPr>
            <a:endParaRPr lang="en-US" dirty="0"/>
          </a:p>
          <a:p>
            <a:pPr marL="342900" lvl="1" indent="-342900">
              <a:spcBef>
                <a:spcPts val="1836"/>
              </a:spcBef>
              <a:spcAft>
                <a:spcPts val="0"/>
              </a:spcAft>
              <a:buFont typeface="Wingdings" panose="05000000000000000000" pitchFamily="2" charset="2"/>
              <a:buChar char="§"/>
            </a:pPr>
            <a:r>
              <a:rPr lang="en-US" sz="2800">
                <a:cs typeface="Segoe UI Light" panose="020B0502040204020203" pitchFamily="34" charset="0"/>
              </a:rPr>
              <a:t>Evaluating </a:t>
            </a:r>
            <a:r>
              <a:rPr lang="en-US" sz="2800" dirty="0">
                <a:cs typeface="Segoe UI Light" panose="020B0502040204020203" pitchFamily="34" charset="0"/>
              </a:rPr>
              <a:t>“Factory Insights” and “Smart Workspace” Pre-Configured Solutions</a:t>
            </a:r>
          </a:p>
          <a:p>
            <a:pPr marL="342900" lvl="1" indent="-342900">
              <a:spcBef>
                <a:spcPts val="1836"/>
              </a:spcBef>
              <a:spcAft>
                <a:spcPts val="0"/>
              </a:spcAft>
              <a:buFont typeface="Wingdings" panose="05000000000000000000" pitchFamily="2" charset="2"/>
              <a:buChar char="§"/>
            </a:pPr>
            <a:r>
              <a:rPr lang="en-US" sz="2800"/>
              <a:t>IoT </a:t>
            </a:r>
            <a:r>
              <a:rPr lang="en-US" sz="2800" dirty="0"/>
              <a:t>Reference Architecture with HA/DR</a:t>
            </a:r>
          </a:p>
          <a:p>
            <a:pPr marL="342900" lvl="1" indent="-342900">
              <a:spcBef>
                <a:spcPts val="1836"/>
              </a:spcBef>
              <a:spcAft>
                <a:spcPts val="0"/>
              </a:spcAft>
              <a:buFont typeface="Wingdings" panose="05000000000000000000" pitchFamily="2" charset="2"/>
              <a:buChar char="§"/>
            </a:pPr>
            <a:r>
              <a:rPr lang="en-US" sz="2800"/>
              <a:t>Service </a:t>
            </a:r>
            <a:r>
              <a:rPr lang="en-US" sz="2800" dirty="0"/>
              <a:t>health improvements: Deployment reliability &amp; Data collection &amp; metrics</a:t>
            </a:r>
          </a:p>
          <a:p>
            <a:pPr marL="342900" lvl="1" indent="-342900">
              <a:spcBef>
                <a:spcPts val="1836"/>
              </a:spcBef>
              <a:spcAft>
                <a:spcPts val="0"/>
              </a:spcAft>
              <a:buFont typeface="Wingdings" panose="05000000000000000000" pitchFamily="2" charset="2"/>
              <a:buChar char="§"/>
            </a:pPr>
            <a:r>
              <a:rPr lang="en-US" sz="2800"/>
              <a:t>Improve </a:t>
            </a:r>
            <a:r>
              <a:rPr lang="en-US" sz="2800" dirty="0"/>
              <a:t>Solution Deployment </a:t>
            </a:r>
          </a:p>
          <a:p>
            <a:pPr marL="799924" lvl="3" indent="-342900">
              <a:spcBef>
                <a:spcPts val="1836"/>
              </a:spcBef>
              <a:buFont typeface="Wingdings" panose="05000000000000000000" pitchFamily="2" charset="2"/>
              <a:buChar char="§"/>
            </a:pPr>
            <a:r>
              <a:rPr lang="en-US" sz="1400"/>
              <a:t>Bing </a:t>
            </a:r>
            <a:r>
              <a:rPr lang="en-US" sz="1400" dirty="0"/>
              <a:t>maps regions and free key limit</a:t>
            </a:r>
          </a:p>
          <a:p>
            <a:pPr marL="799924" lvl="3" indent="-342900">
              <a:spcBef>
                <a:spcPts val="1836"/>
              </a:spcBef>
              <a:buFont typeface="Wingdings" panose="05000000000000000000" pitchFamily="2" charset="2"/>
              <a:buChar char="§"/>
            </a:pPr>
            <a:r>
              <a:rPr lang="en-US" sz="1400"/>
              <a:t>Azure </a:t>
            </a:r>
            <a:r>
              <a:rPr lang="en-US" sz="1400" dirty="0"/>
              <a:t>websites name conflicts</a:t>
            </a:r>
          </a:p>
          <a:p>
            <a:pPr marL="342900" lvl="1" indent="-342900">
              <a:spcBef>
                <a:spcPts val="1836"/>
              </a:spcBef>
              <a:spcAft>
                <a:spcPts val="0"/>
              </a:spcAft>
              <a:buFont typeface="Wingdings" panose="05000000000000000000" pitchFamily="2" charset="2"/>
              <a:buChar char="§"/>
            </a:pPr>
            <a:r>
              <a:rPr lang="en-US" sz="2800"/>
              <a:t>Remote </a:t>
            </a:r>
            <a:r>
              <a:rPr lang="en-US" sz="2800" dirty="0"/>
              <a:t>Monitoring Pre-Configured Solution refresh</a:t>
            </a:r>
          </a:p>
          <a:p>
            <a:pPr marL="914400" lvl="1" indent="-457200">
              <a:buFont typeface="Arial" charset="0"/>
              <a:buChar char="•"/>
            </a:pPr>
            <a:r>
              <a:rPr lang="en-US" sz="1400"/>
              <a:t>Integrate </a:t>
            </a:r>
            <a:r>
              <a:rPr lang="en-US" sz="1400" dirty="0"/>
              <a:t>Device Management capability</a:t>
            </a:r>
          </a:p>
          <a:p>
            <a:pPr marL="914400" lvl="1" indent="-457200">
              <a:buFont typeface="Arial" charset="0"/>
              <a:buChar char="•"/>
            </a:pPr>
            <a:r>
              <a:rPr lang="en-US" sz="1400"/>
              <a:t>Logic </a:t>
            </a:r>
            <a:r>
              <a:rPr lang="en-US" sz="1400" dirty="0"/>
              <a:t>App configuration</a:t>
            </a:r>
          </a:p>
          <a:p>
            <a:pPr marL="914400" lvl="1" indent="-457200">
              <a:buFont typeface="Arial" charset="0"/>
              <a:buChar char="•"/>
            </a:pPr>
            <a:endParaRPr lang="en-US" dirty="0"/>
          </a:p>
          <a:p>
            <a:pPr marL="457200" lvl="1"/>
            <a:endParaRPr lang="en-US" dirty="0"/>
          </a:p>
          <a:p>
            <a:pPr lvl="1">
              <a:spcBef>
                <a:spcPts val="1836"/>
              </a:spcBef>
              <a:spcAft>
                <a:spcPts val="0"/>
              </a:spcAft>
            </a:pPr>
            <a:endParaRPr lang="en-US" dirty="0"/>
          </a:p>
          <a:p>
            <a:pPr marL="342900" lvl="1" indent="-342900">
              <a:spcBef>
                <a:spcPts val="1836"/>
              </a:spcBef>
              <a:spcAft>
                <a:spcPts val="0"/>
              </a:spcAft>
              <a:buFont typeface="Wingdings" panose="05000000000000000000" pitchFamily="2" charset="2"/>
              <a:buChar char="§"/>
            </a:pPr>
            <a:endParaRPr lang="en-US" dirty="0"/>
          </a:p>
          <a:p>
            <a:pPr marL="342900" lvl="1" indent="-342900">
              <a:spcBef>
                <a:spcPts val="1836"/>
              </a:spcBef>
              <a:spcAft>
                <a:spcPts val="0"/>
              </a:spcAft>
              <a:buFont typeface="Wingdings" panose="05000000000000000000" pitchFamily="2" charset="2"/>
              <a:buChar char="§"/>
            </a:pPr>
            <a:endParaRPr lang="en-US" dirty="0">
              <a:cs typeface="Segoe UI Light" panose="020B0502040204020203" pitchFamily="34" charset="0"/>
            </a:endParaRPr>
          </a:p>
          <a:p>
            <a:pPr marL="342900" lvl="1" indent="-342900">
              <a:spcBef>
                <a:spcPts val="1836"/>
              </a:spcBef>
              <a:spcAft>
                <a:spcPts val="0"/>
              </a:spcAft>
              <a:buFont typeface="Wingdings" panose="05000000000000000000" pitchFamily="2" charset="2"/>
              <a:buChar char="§"/>
            </a:pPr>
            <a:endParaRPr lang="en-US" dirty="0">
              <a:gradFill>
                <a:gsLst>
                  <a:gs pos="1250">
                    <a:schemeClr val="tx1"/>
                  </a:gs>
                  <a:gs pos="99000">
                    <a:schemeClr val="tx1"/>
                  </a:gs>
                </a:gsLst>
                <a:lin ang="5400000" scaled="0"/>
              </a:gradFill>
            </a:endParaRP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7101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oT Hub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GW and CGW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endParaRPr lang="en-US" baseline="0" dirty="0"/>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a:t>
            </a:r>
            <a:r>
              <a:rPr lang="en-US" baseline="0" dirty="0" err="1"/>
              <a:t>mgmt</a:t>
            </a:r>
            <a:r>
              <a:rPr lang="en-US" baseline="0" dirty="0"/>
              <a:t> endpoint that is used by your solution’s device provisioning and </a:t>
            </a:r>
            <a:r>
              <a:rPr lang="en-US" baseline="0" dirty="0" err="1"/>
              <a:t>mgmt</a:t>
            </a:r>
            <a:r>
              <a:rPr lang="en-US" baseline="0" dirty="0"/>
              <a: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997152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D55269-7644-44F4-812F-4C5E39B4A11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97312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is diagram shows you different ways of connecting your devices to Azure</a:t>
            </a:r>
            <a:r>
              <a:rPr lang="en-US" baseline="0" dirty="0"/>
              <a:t> IoT Hub</a:t>
            </a:r>
          </a:p>
          <a:p>
            <a:pPr marL="171450" indent="-171450">
              <a:buFontTx/>
              <a:buChar char="-"/>
            </a:pPr>
            <a:r>
              <a:rPr lang="en-US" baseline="0" dirty="0"/>
              <a:t>Via custom protocols and in this case you need a protocol adapter, we offer our open source protocol gateway as an example </a:t>
            </a:r>
          </a:p>
          <a:p>
            <a:pPr marL="171450" indent="-171450">
              <a:buFontTx/>
              <a:buChar char="-"/>
            </a:pPr>
            <a:r>
              <a:rPr lang="en-US" baseline="0" dirty="0"/>
              <a:t>Direct connectivity via AMQP, AMQP over Web Sockets, MQTT, HTTP</a:t>
            </a:r>
          </a:p>
          <a:p>
            <a:pPr marL="171450" indent="-171450">
              <a:buFontTx/>
              <a:buChar char="-"/>
            </a:pPr>
            <a:r>
              <a:rPr lang="en-US" baseline="0" dirty="0"/>
              <a:t>Connectivity via FG when you are isolating your devices from the cloud or non-IP capable devices or constrained devices (</a:t>
            </a:r>
            <a:r>
              <a:rPr lang="en-US" baseline="0" dirty="0" err="1"/>
              <a:t>CoAP</a:t>
            </a:r>
            <a:r>
              <a:rPr lang="en-US" baseline="0" dirty="0"/>
              <a:t>, AllJoyn, OPC, </a:t>
            </a:r>
            <a:r>
              <a:rPr lang="en-US" baseline="0" dirty="0" err="1"/>
              <a:t>etc</a:t>
            </a:r>
            <a:r>
              <a:rPr lang="en-US" baseline="0" dirty="0"/>
              <a:t>)</a:t>
            </a:r>
          </a:p>
          <a:p>
            <a:pPr marL="171450" indent="-171450">
              <a:buFontTx/>
              <a:buChar char="-"/>
            </a:pPr>
            <a:endParaRPr lang="en-US" baseline="0" dirty="0"/>
          </a:p>
          <a:p>
            <a:pPr marL="0" indent="0">
              <a:buFontTx/>
              <a:buNone/>
            </a:pPr>
            <a:r>
              <a:rPr lang="en-US" baseline="0" dirty="0"/>
              <a:t>In this diagram, you can see in blue background our open source code that we offer to help you connect your devices to the Azure IoT Hub and in light gray where is your code running </a:t>
            </a:r>
          </a:p>
          <a:p>
            <a:pPr marL="171450" indent="-171450">
              <a:buFontTx/>
              <a:buChar char="-"/>
            </a:pPr>
            <a:endParaRPr lang="en-US" baseline="0" dirty="0"/>
          </a:p>
          <a:p>
            <a:r>
              <a:rPr lang="en-US" dirty="0"/>
              <a:t>-</a:t>
            </a:r>
            <a:r>
              <a:rPr lang="en-US" baseline="0" dirty="0"/>
              <a:t> </a:t>
            </a:r>
            <a:r>
              <a:rPr lang="en-US" dirty="0"/>
              <a:t>Device SDKs enable you to connect client devices to Azure IoT Hub. </a:t>
            </a:r>
          </a:p>
          <a:p>
            <a:pPr marL="0" indent="0">
              <a:buFontTx/>
              <a:buNone/>
            </a:pPr>
            <a:r>
              <a:rPr lang="en-US" dirty="0"/>
              <a:t>- Service SDKs enable you to manage your IoT Hub service instances</a:t>
            </a:r>
          </a:p>
          <a:p>
            <a:r>
              <a:rPr lang="en-US" sz="900" dirty="0">
                <a:solidFill>
                  <a:schemeClr val="bg1"/>
                </a:solidFill>
              </a:rPr>
              <a:t>	- Create/remove/update/list device identities in your IoT hub </a:t>
            </a:r>
          </a:p>
          <a:p>
            <a:r>
              <a:rPr lang="en-US" sz="900" dirty="0">
                <a:solidFill>
                  <a:schemeClr val="bg1"/>
                </a:solidFill>
              </a:rPr>
              <a:t>	- Send messages to your devices and get feedback when they're delivered</a:t>
            </a:r>
          </a:p>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5-May-17 12:01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2667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is the reference architecture for the Remote Monitoring preconfigured solution showing the various products and services that are provisioned when the solution is activat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Reference Architecture for Remote Monitoring solution. </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r>
              <a:rPr lang="en-US" i="0" baseline="0" dirty="0"/>
              <a:t>Document DB stores all the metadata and device properties for each connected device. </a:t>
            </a:r>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a:t>
            </a: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0199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n-ea"/>
                <a:cs typeface="+mn-cs"/>
              </a:rPr>
              <a:t>With Azure </a:t>
            </a:r>
            <a:r>
              <a:rPr lang="en-US" sz="900" kern="1200" dirty="0" err="1">
                <a:solidFill>
                  <a:schemeClr val="tx1"/>
                </a:solidFill>
                <a:effectLst/>
                <a:latin typeface="Segoe UI Light" pitchFamily="34" charset="0"/>
                <a:ea typeface="+mn-ea"/>
                <a:cs typeface="+mn-cs"/>
              </a:rPr>
              <a:t>IoT</a:t>
            </a:r>
            <a:r>
              <a:rPr lang="en-US" sz="900" kern="1200" dirty="0">
                <a:solidFill>
                  <a:schemeClr val="tx1"/>
                </a:solidFill>
                <a:effectLst/>
                <a:latin typeface="Segoe UI Light" pitchFamily="34" charset="0"/>
                <a:ea typeface="+mn-ea"/>
                <a:cs typeface="+mn-cs"/>
              </a:rPr>
              <a:t> Suite we give</a:t>
            </a:r>
            <a:r>
              <a:rPr lang="en-US" sz="900" kern="1200" baseline="0" dirty="0">
                <a:solidFill>
                  <a:schemeClr val="tx1"/>
                </a:solidFill>
                <a:effectLst/>
                <a:latin typeface="Segoe UI Light" pitchFamily="34" charset="0"/>
                <a:ea typeface="+mn-ea"/>
                <a:cs typeface="+mn-cs"/>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n-ea"/>
                <a:cs typeface="+mn-cs"/>
              </a:rPr>
              <a:t>IoT</a:t>
            </a:r>
            <a:r>
              <a:rPr lang="en-US" sz="900" kern="1200" baseline="0" dirty="0">
                <a:solidFill>
                  <a:schemeClr val="tx1"/>
                </a:solidFill>
                <a:effectLst/>
                <a:latin typeface="Segoe UI Light" pitchFamily="34" charset="0"/>
                <a:ea typeface="+mn-ea"/>
                <a:cs typeface="+mn-cs"/>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n-ea"/>
                <a:cs typeface="+mn-cs"/>
              </a:rPr>
              <a:t>Device connectivity and management: Connect to millions of devices simultaneously. E</a:t>
            </a:r>
            <a:r>
              <a:rPr lang="en-US" sz="900" b="0" i="0" kern="1200" dirty="0">
                <a:solidFill>
                  <a:schemeClr val="tx1"/>
                </a:solidFill>
                <a:effectLst/>
                <a:latin typeface="Segoe UI Light" pitchFamily="34" charset="0"/>
                <a:ea typeface="+mn-ea"/>
                <a:cs typeface="+mn-cs"/>
              </a:rPr>
              <a:t>nhance security of your </a:t>
            </a:r>
            <a:r>
              <a:rPr lang="en-US" sz="900" b="0" i="0" kern="1200" dirty="0" err="1">
                <a:solidFill>
                  <a:schemeClr val="tx1"/>
                </a:solidFill>
                <a:effectLst/>
                <a:latin typeface="Segoe UI Light" pitchFamily="34" charset="0"/>
                <a:ea typeface="+mn-ea"/>
                <a:cs typeface="+mn-cs"/>
              </a:rPr>
              <a:t>IoT</a:t>
            </a:r>
            <a:r>
              <a:rPr lang="en-US" sz="900" b="0" i="0" kern="1200" dirty="0">
                <a:solidFill>
                  <a:schemeClr val="tx1"/>
                </a:solidFill>
                <a:effectLst/>
                <a:latin typeface="Segoe UI Light" pitchFamily="34" charset="0"/>
                <a:ea typeface="+mn-ea"/>
                <a:cs typeface="+mn-cs"/>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n-ea"/>
                <a:cs typeface="+mn-cs"/>
              </a:rPr>
              <a:t>Data Ingestion &amp; Command &amp; Control: </a:t>
            </a:r>
            <a:r>
              <a:rPr lang="en-US" sz="900" b="0" i="0" kern="1200" dirty="0">
                <a:solidFill>
                  <a:schemeClr val="tx1"/>
                </a:solidFill>
                <a:effectLst/>
                <a:latin typeface="Segoe UI Light" pitchFamily="34" charset="0"/>
                <a:ea typeface="+mn-ea"/>
                <a:cs typeface="+mn-cs"/>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n-ea"/>
                <a:cs typeface="+mn-cs"/>
              </a:rPr>
              <a:t>Workflow automation: </a:t>
            </a:r>
            <a:r>
              <a:rPr lang="en-US" sz="900" kern="1200" dirty="0">
                <a:solidFill>
                  <a:schemeClr val="tx1"/>
                </a:solidFill>
                <a:effectLst/>
                <a:latin typeface="Segoe UI Light" pitchFamily="34" charset="0"/>
                <a:ea typeface="+mn-ea"/>
                <a:cs typeface="+mn-cs"/>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n-ea"/>
                <a:cs typeface="+mn-cs"/>
              </a:rPr>
              <a:t> </a:t>
            </a:r>
            <a:r>
              <a:rPr lang="en-US" sz="900" b="0" kern="1200" baseline="0" dirty="0">
                <a:solidFill>
                  <a:schemeClr val="tx1"/>
                </a:solidFill>
                <a:effectLst/>
                <a:latin typeface="Segoe UI Light" pitchFamily="34" charset="0"/>
                <a:ea typeface="+mn-ea"/>
                <a:cs typeface="+mn-cs"/>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n-ea"/>
                <a:cs typeface="+mn-cs"/>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n-ea"/>
                <a:cs typeface="+mn-cs"/>
              </a:rPr>
              <a:t>Preconfigured solutions: One of the biggest value we can provide is helping you develop </a:t>
            </a:r>
            <a:r>
              <a:rPr lang="en-US" sz="900" kern="1200" baseline="0" dirty="0" err="1">
                <a:solidFill>
                  <a:schemeClr val="tx1"/>
                </a:solidFill>
                <a:effectLst/>
                <a:latin typeface="Segoe UI Light" pitchFamily="34" charset="0"/>
                <a:ea typeface="+mn-ea"/>
                <a:cs typeface="+mn-cs"/>
              </a:rPr>
              <a:t>IoT</a:t>
            </a:r>
            <a:r>
              <a:rPr lang="en-US" sz="900" kern="1200" baseline="0" dirty="0">
                <a:solidFill>
                  <a:schemeClr val="tx1"/>
                </a:solidFill>
                <a:effectLst/>
                <a:latin typeface="Segoe UI Light" pitchFamily="34" charset="0"/>
                <a:ea typeface="+mn-ea"/>
                <a:cs typeface="+mn-cs"/>
              </a:rPr>
              <a:t> solutions faster. This will not only allow you to do more </a:t>
            </a:r>
            <a:r>
              <a:rPr lang="en-US" sz="900" kern="1200" baseline="0" dirty="0" err="1">
                <a:solidFill>
                  <a:schemeClr val="tx1"/>
                </a:solidFill>
                <a:effectLst/>
                <a:latin typeface="Segoe UI Light" pitchFamily="34" charset="0"/>
                <a:ea typeface="+mn-ea"/>
                <a:cs typeface="+mn-cs"/>
              </a:rPr>
              <a:t>PoCs</a:t>
            </a:r>
            <a:r>
              <a:rPr lang="en-US" sz="900" kern="1200" baseline="0" dirty="0">
                <a:solidFill>
                  <a:schemeClr val="tx1"/>
                </a:solidFill>
                <a:effectLst/>
                <a:latin typeface="Segoe UI Light" pitchFamily="34" charset="0"/>
                <a:ea typeface="+mn-ea"/>
                <a:cs typeface="+mn-cs"/>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n-ea"/>
                <a:cs typeface="+mn-cs"/>
              </a:rPr>
              <a:t>IoT</a:t>
            </a:r>
            <a:r>
              <a:rPr lang="en-US" sz="900" kern="1200" baseline="0" dirty="0">
                <a:solidFill>
                  <a:schemeClr val="tx1"/>
                </a:solidFill>
                <a:effectLst/>
                <a:latin typeface="Segoe UI Light" pitchFamily="34" charset="0"/>
                <a:ea typeface="+mn-ea"/>
                <a:cs typeface="+mn-cs"/>
              </a:rPr>
              <a:t> scenario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42957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Microsoft Azure </a:t>
            </a:r>
            <a:r>
              <a:rPr lang="en-US" baseline="0" dirty="0" err="1"/>
              <a:t>IoT</a:t>
            </a:r>
            <a:r>
              <a:rPr lang="en-US" baseline="0" dirty="0"/>
              <a:t> Suite offers a solution to three key pillar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scale with efficiency</a:t>
            </a:r>
          </a:p>
          <a:p>
            <a:pPr marL="685800" lvl="1" indent="-228600">
              <a:buFont typeface="Arial" panose="020B0604020202020204" pitchFamily="34" charset="0"/>
              <a:buAutoNum type="alphaLcParenR"/>
            </a:pPr>
            <a:r>
              <a:rPr lang="en-US" baseline="0" dirty="0"/>
              <a:t>Preconfigured solutions offer quick start-up provisioning to the most common </a:t>
            </a:r>
            <a:r>
              <a:rPr lang="en-US" baseline="0" dirty="0" err="1"/>
              <a:t>IoT</a:t>
            </a:r>
            <a:r>
              <a:rPr lang="en-US" baseline="0" dirty="0"/>
              <a: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and act on new data</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21728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5-May-17 12:0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838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05-May-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6487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a:t>
            </a:r>
            <a:r>
              <a:rPr lang="en-US" baseline="0" dirty="0"/>
              <a:t> move relational data to data lake? Offload processing to refine data to free-up EDW, use low-cost storage for raw data saving space on EDW, help if ETL jobs on EDW taking too long.  So can actually use a data lake for small data – move EDW to Hadoop, refine it, move it back to EDW.  Cons: rewriting all current ETL to Hadoop, re-training</a:t>
            </a:r>
          </a:p>
          <a:p>
            <a:endParaRPr lang="en-US" baseline="0" dirty="0"/>
          </a:p>
          <a:p>
            <a:r>
              <a:rPr lang="en-US" sz="1200" kern="1200" dirty="0">
                <a:solidFill>
                  <a:schemeClr val="tx1"/>
                </a:solidFill>
                <a:effectLst/>
                <a:latin typeface="+mn-lt"/>
                <a:ea typeface="+mn-ea"/>
                <a:cs typeface="+mn-cs"/>
              </a:rPr>
              <a:t>I believe APS should be used for staging (i.e. “ELT”) in most cases, but there are some good use cases for using a Hadoop Data Lake:</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 Wanting to offload the data refinement to Hadoop, so the processing and space on the EDW is reduced</a:t>
            </a:r>
          </a:p>
          <a:p>
            <a:pPr lvl="0"/>
            <a:r>
              <a:rPr lang="en-US" sz="1200" kern="1200" dirty="0">
                <a:solidFill>
                  <a:schemeClr val="tx1"/>
                </a:solidFill>
                <a:effectLst/>
                <a:latin typeface="+mn-lt"/>
                <a:ea typeface="+mn-ea"/>
                <a:cs typeface="+mn-cs"/>
              </a:rPr>
              <a:t>- Wanting to use some Hadoop technologies/tools to refine/filter data that are not available for APS</a:t>
            </a:r>
          </a:p>
          <a:p>
            <a:pPr lvl="0"/>
            <a:r>
              <a:rPr lang="en-US" sz="1200" kern="1200" dirty="0">
                <a:solidFill>
                  <a:schemeClr val="tx1"/>
                </a:solidFill>
                <a:effectLst/>
                <a:latin typeface="+mn-lt"/>
                <a:ea typeface="+mn-ea"/>
                <a:cs typeface="+mn-cs"/>
              </a:rPr>
              <a:t>- Landing zone for unstructured data, as it can ingest large files quickly and provide data redundancy</a:t>
            </a:r>
          </a:p>
          <a:p>
            <a:pPr lvl="0"/>
            <a:r>
              <a:rPr lang="en-US" sz="1200" kern="1200" dirty="0">
                <a:solidFill>
                  <a:schemeClr val="tx1"/>
                </a:solidFill>
                <a:effectLst/>
                <a:latin typeface="+mn-lt"/>
                <a:ea typeface="+mn-ea"/>
                <a:cs typeface="+mn-cs"/>
              </a:rPr>
              <a:t>- ELT jobs on EDW are taking too long, so offload some of them to the Hadoop data lake</a:t>
            </a:r>
          </a:p>
          <a:p>
            <a:pPr lvl="0"/>
            <a:r>
              <a:rPr lang="en-US" sz="1200" kern="1200" dirty="0">
                <a:solidFill>
                  <a:schemeClr val="tx1"/>
                </a:solidFill>
                <a:effectLst/>
                <a:latin typeface="+mn-lt"/>
                <a:ea typeface="+mn-ea"/>
                <a:cs typeface="+mn-cs"/>
              </a:rPr>
              <a:t>- There may be cases when you want to move EDW data to Hadoop, refine it, and move it back to EDW (offload processing, need to use Hadoop tools)</a:t>
            </a:r>
          </a:p>
          <a:p>
            <a:pPr lvl="0"/>
            <a:r>
              <a:rPr lang="en-US" sz="1200" kern="1200" dirty="0">
                <a:solidFill>
                  <a:schemeClr val="tx1"/>
                </a:solidFill>
                <a:effectLst/>
                <a:latin typeface="+mn-lt"/>
                <a:ea typeface="+mn-ea"/>
                <a:cs typeface="+mn-cs"/>
              </a:rPr>
              <a:t>- The data lake is a good place for data that you “might” use down the road.  You can land it in the data lake and have users use SQL via </a:t>
            </a:r>
            <a:r>
              <a:rPr lang="en-US" sz="1200" kern="1200" dirty="0" err="1">
                <a:solidFill>
                  <a:schemeClr val="tx1"/>
                </a:solidFill>
                <a:effectLst/>
                <a:latin typeface="+mn-lt"/>
                <a:ea typeface="+mn-ea"/>
                <a:cs typeface="+mn-cs"/>
              </a:rPr>
              <a:t>Polybase</a:t>
            </a:r>
            <a:r>
              <a:rPr lang="en-US" sz="1200" kern="1200" dirty="0">
                <a:solidFill>
                  <a:schemeClr val="tx1"/>
                </a:solidFill>
                <a:effectLst/>
                <a:latin typeface="+mn-lt"/>
                <a:ea typeface="+mn-ea"/>
                <a:cs typeface="+mn-cs"/>
              </a:rPr>
              <a:t> to look at the data and determine if it has valu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65AC4-17B0-4E19-8496-B264E70A18D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8706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6881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DLA allows you to compute on data anywhere and a join data from multiple cloud 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7668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7EAB13D-A6F2-4015-84F7-614A48C87750}" type="datetime8">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May-17 12:01 PM</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3811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EE42C6D-4819-4BF2-A6ED-DBB6B89153C6}"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May-17 12:01 PM</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Tech Ready 15</a:t>
            </a:r>
          </a:p>
        </p:txBody>
      </p:sp>
    </p:spTree>
    <p:extLst>
      <p:ext uri="{BB962C8B-B14F-4D97-AF65-F5344CB8AC3E}">
        <p14:creationId xmlns:p14="http://schemas.microsoft.com/office/powerpoint/2010/main" val="1709695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6.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3.xml"/><Relationship Id="rId4" Type="http://schemas.microsoft.com/office/2007/relationships/hdphoto" Target="../media/hdphoto2.wdp"/></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4.xml"/><Relationship Id="rId4" Type="http://schemas.microsoft.com/office/2007/relationships/hdphoto" Target="../media/hdphoto2.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Master" Target="../slideMasters/slideMaster26.xml"/><Relationship Id="rId5" Type="http://schemas.openxmlformats.org/officeDocument/2006/relationships/image" Target="../media/image63.png"/><Relationship Id="rId4" Type="http://schemas.microsoft.com/office/2007/relationships/hdphoto" Target="../media/hdphoto4.wdp"/></Relationships>
</file>

<file path=ppt/slideLayouts/_rels/slideLayout5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2.png"/><Relationship Id="rId1" Type="http://schemas.openxmlformats.org/officeDocument/2006/relationships/slideMaster" Target="../slideMasters/slideMaster26.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2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6.xml"/><Relationship Id="rId1" Type="http://schemas.openxmlformats.org/officeDocument/2006/relationships/tags" Target="../tags/tag5.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xml"/><Relationship Id="rId1" Type="http://schemas.openxmlformats.org/officeDocument/2006/relationships/tags" Target="../tags/tag7.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xml"/><Relationship Id="rId1" Type="http://schemas.openxmlformats.org/officeDocument/2006/relationships/tags" Target="../tags/tag9.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xml"/><Relationship Id="rId1" Type="http://schemas.openxmlformats.org/officeDocument/2006/relationships/tags" Target="../tags/tag11.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xml"/><Relationship Id="rId1" Type="http://schemas.openxmlformats.org/officeDocument/2006/relationships/tags" Target="../tags/tag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6.xml"/><Relationship Id="rId1" Type="http://schemas.openxmlformats.org/officeDocument/2006/relationships/tags" Target="../tags/tag15.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8.xml"/><Relationship Id="rId1" Type="http://schemas.openxmlformats.org/officeDocument/2006/relationships/tags" Target="../tags/tag17.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0.xml"/><Relationship Id="rId1" Type="http://schemas.openxmlformats.org/officeDocument/2006/relationships/tags" Target="../tags/tag19.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2.xml"/><Relationship Id="rId1" Type="http://schemas.openxmlformats.org/officeDocument/2006/relationships/tags" Target="../tags/tag21.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4.xml"/><Relationship Id="rId1" Type="http://schemas.openxmlformats.org/officeDocument/2006/relationships/tags" Target="../tags/tag2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tags" Target="../tags/tag25.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8.xml"/><Relationship Id="rId1" Type="http://schemas.openxmlformats.org/officeDocument/2006/relationships/tags" Target="../tags/tag27.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0.xml"/><Relationship Id="rId1" Type="http://schemas.openxmlformats.org/officeDocument/2006/relationships/tags" Target="../tags/tag29.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2.xml"/><Relationship Id="rId1" Type="http://schemas.openxmlformats.org/officeDocument/2006/relationships/tags" Target="../tags/tag31.xml"/></Relationships>
</file>

<file path=ppt/slideLayouts/_rels/slideLayout62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34.xml"/><Relationship Id="rId1" Type="http://schemas.openxmlformats.org/officeDocument/2006/relationships/tags" Target="../tags/tag33.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5.emf"/><Relationship Id="rId1" Type="http://schemas.openxmlformats.org/officeDocument/2006/relationships/slideMaster" Target="../slideMasters/slideMaster2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2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g"/><Relationship Id="rId1" Type="http://schemas.openxmlformats.org/officeDocument/2006/relationships/slideMaster" Target="../slideMasters/slideMaster30.xml"/><Relationship Id="rId5" Type="http://schemas.openxmlformats.org/officeDocument/2006/relationships/image" Target="../media/image63.png"/><Relationship Id="rId4" Type="http://schemas.microsoft.com/office/2007/relationships/hdphoto" Target="../media/hdphoto4.wdp"/></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2.png"/><Relationship Id="rId1" Type="http://schemas.openxmlformats.org/officeDocument/2006/relationships/slideMaster" Target="../slideMasters/slideMaster30.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3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3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2.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35.xml"/><Relationship Id="rId1" Type="http://schemas.openxmlformats.org/officeDocument/2006/relationships/vmlDrawing" Target="../drawings/vmlDrawing5.vml"/><Relationship Id="rId5" Type="http://schemas.openxmlformats.org/officeDocument/2006/relationships/image" Target="../media/image77.emf"/><Relationship Id="rId4" Type="http://schemas.openxmlformats.org/officeDocument/2006/relationships/oleObject" Target="../embeddings/oleObject5.bin"/></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3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77.emf"/><Relationship Id="rId4" Type="http://schemas.openxmlformats.org/officeDocument/2006/relationships/oleObject" Target="../embeddings/oleObject6.bin"/></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5.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5.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3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7.xml"/><Relationship Id="rId1" Type="http://schemas.openxmlformats.org/officeDocument/2006/relationships/vmlDrawing" Target="../drawings/vmlDrawing7.vml"/><Relationship Id="rId5" Type="http://schemas.openxmlformats.org/officeDocument/2006/relationships/image" Target="../media/image77.emf"/><Relationship Id="rId4" Type="http://schemas.openxmlformats.org/officeDocument/2006/relationships/oleObject" Target="../embeddings/oleObject6.bin"/></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6.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36.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3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77.emf"/><Relationship Id="rId4" Type="http://schemas.openxmlformats.org/officeDocument/2006/relationships/oleObject" Target="../embeddings/oleObject6.bin"/></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1.jpg"/><Relationship Id="rId1" Type="http://schemas.openxmlformats.org/officeDocument/2006/relationships/slideMaster" Target="../slideMasters/slideMaster37.xml"/><Relationship Id="rId5" Type="http://schemas.openxmlformats.org/officeDocument/2006/relationships/image" Target="../media/image63.png"/><Relationship Id="rId4" Type="http://schemas.microsoft.com/office/2007/relationships/hdphoto" Target="../media/hdphoto4.wdp"/></Relationships>
</file>

<file path=ppt/slideLayouts/_rels/slideLayout84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8.png"/><Relationship Id="rId1" Type="http://schemas.openxmlformats.org/officeDocument/2006/relationships/slideMaster" Target="../slideMasters/slideMaster37.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Master" Target="../slideMasters/slideMaster37.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7.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7.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05-May-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7773976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05-May-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7348579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64203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87395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33710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0580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81369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626224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609271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5954019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422600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9587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05-May-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10885738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471644"/>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1112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4302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9217824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35511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0802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15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983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694908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80452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783351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252475981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079409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793040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23573410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Tree>
    <p:extLst>
      <p:ext uri="{BB962C8B-B14F-4D97-AF65-F5344CB8AC3E}">
        <p14:creationId xmlns:p14="http://schemas.microsoft.com/office/powerpoint/2010/main" val="427914784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1460940245"/>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0349544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8926251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760839804"/>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23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780190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69143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marL="0" marR="0" lvl="0" indent="0" algn="r" defTabSz="913505" rtl="0" eaLnBrk="1" fontAlgn="base" latinLnBrk="0" hangingPunct="1">
              <a:lnSpc>
                <a:spcPct val="90000"/>
              </a:lnSpc>
              <a:spcBef>
                <a:spcPct val="0"/>
              </a:spcBef>
              <a:spcAft>
                <a:spcPct val="0"/>
              </a:spcAft>
              <a:buClrTx/>
              <a:buSzTx/>
              <a:buFontTx/>
              <a:buNone/>
              <a:tabLst/>
              <a:defRPr/>
            </a:pPr>
            <a:fld id="{D501E86F-28C2-E848-8F25-5B1F772CA3AD}" type="slidenum">
              <a:rPr kumimoji="0" lang="en-US" sz="882" b="0" i="0" u="none" strike="noStrike" kern="1200" cap="none" spc="0" normalizeH="0" baseline="0" noProof="0">
                <a:ln>
                  <a:noFill/>
                </a:ln>
                <a:solidFill>
                  <a:srgbClr val="D2D2D2"/>
                </a:solidFill>
                <a:effectLst/>
                <a:uLnTx/>
                <a:uFillTx/>
                <a:latin typeface="Segoe UI"/>
                <a:ea typeface="+mn-ea"/>
                <a:cs typeface="+mn-cs"/>
              </a:rPr>
              <a:pPr marL="0" marR="0" lvl="0" indent="0" algn="r" defTabSz="913505" rtl="0" eaLnBrk="1" fontAlgn="base" latinLnBrk="0" hangingPunct="1">
                <a:lnSpc>
                  <a:spcPct val="9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D2D2D2"/>
              </a:solidFill>
              <a:effectLst/>
              <a:uLnTx/>
              <a:uFillTx/>
              <a:latin typeface="Segoe UI"/>
              <a:ea typeface="+mn-ea"/>
              <a:cs typeface="+mn-cs"/>
            </a:endParaRPr>
          </a:p>
        </p:txBody>
      </p:sp>
    </p:spTree>
    <p:extLst>
      <p:ext uri="{BB962C8B-B14F-4D97-AF65-F5344CB8AC3E}">
        <p14:creationId xmlns:p14="http://schemas.microsoft.com/office/powerpoint/2010/main" val="937917050"/>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5034" y="323266"/>
            <a:ext cx="1576535" cy="580001"/>
          </a:xfrm>
          <a:prstGeom prst="rect">
            <a:avLst/>
          </a:prstGeom>
        </p:spPr>
      </p:pic>
    </p:spTree>
    <p:extLst>
      <p:ext uri="{BB962C8B-B14F-4D97-AF65-F5344CB8AC3E}">
        <p14:creationId xmlns:p14="http://schemas.microsoft.com/office/powerpoint/2010/main" val="41240276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8" name="Picture 17"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r="-20"/>
          <a:stretch/>
        </p:blipFill>
        <p:spPr>
          <a:xfrm>
            <a:off x="0" y="0"/>
            <a:ext cx="12280393" cy="6858000"/>
          </a:xfrm>
          <a:prstGeom prst="rect">
            <a:avLst/>
          </a:prstGeom>
        </p:spPr>
      </p:pic>
      <p:sp>
        <p:nvSpPr>
          <p:cNvPr id="16" name="Rectangle 15"/>
          <p:cNvSpPr/>
          <p:nvPr userDrawn="1"/>
        </p:nvSpPr>
        <p:spPr bwMode="auto">
          <a:xfrm>
            <a:off x="269239" y="291068"/>
            <a:ext cx="6278085" cy="627897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Click to edit Master subtitle style</a:t>
            </a:r>
            <a:endParaRPr lang="en-US" dirty="0"/>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marL="0" marR="0" lvl="0" indent="0" algn="l" defTabSz="913505"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S PGothic" charset="0"/>
              <a:cs typeface="+mn-cs"/>
            </a:endParaRPr>
          </a:p>
        </p:txBody>
      </p:sp>
    </p:spTree>
    <p:extLst>
      <p:ext uri="{BB962C8B-B14F-4D97-AF65-F5344CB8AC3E}">
        <p14:creationId xmlns:p14="http://schemas.microsoft.com/office/powerpoint/2010/main" val="160016355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191999" cy="6858000"/>
          </a:xfrm>
          <a:prstGeom prst="rect">
            <a:avLst/>
          </a:prstGeom>
        </p:spPr>
      </p:pic>
    </p:spTree>
    <p:extLst>
      <p:ext uri="{BB962C8B-B14F-4D97-AF65-F5344CB8AC3E}">
        <p14:creationId xmlns:p14="http://schemas.microsoft.com/office/powerpoint/2010/main" val="1165914342"/>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54487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14367" rtl="0" eaLnBrk="1" fontAlgn="base" latinLnBrk="0" hangingPunct="1">
              <a:lnSpc>
                <a:spcPct val="100000"/>
              </a:lnSpc>
              <a:spcBef>
                <a:spcPct val="0"/>
              </a:spcBef>
              <a:spcAft>
                <a:spcPct val="0"/>
              </a:spcAft>
              <a:buClrTx/>
              <a:buSzTx/>
              <a:buFontTx/>
              <a:buNone/>
              <a:tabLst/>
              <a:defRPr/>
            </a:pPr>
            <a:r>
              <a:rPr kumimoji="0" lang="en-US" sz="882"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marL="0" marR="0" lvl="0" indent="0" algn="r" defTabSz="913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882" b="0" i="0" u="none" strike="noStrike" kern="1200" cap="none" spc="0" normalizeH="0" baseline="0" noProof="0">
                <a:ln>
                  <a:noFill/>
                </a:ln>
                <a:solidFill>
                  <a:srgbClr val="000000"/>
                </a:solidFill>
                <a:effectLst/>
                <a:uLnTx/>
                <a:uFillTx/>
                <a:latin typeface="Segoe UI"/>
                <a:ea typeface="+mn-ea"/>
                <a:cs typeface="+mn-cs"/>
              </a:rPr>
              <a:pPr marL="0" marR="0" lvl="0" indent="0" algn="r" defTabSz="913505" rtl="0" eaLnBrk="1" fontAlgn="base" latinLnBrk="0" hangingPunct="1">
                <a:lnSpc>
                  <a:spcPct val="10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29427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9701022"/>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9646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3454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991708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Slide Number Placeholder 7"/>
          <p:cNvSpPr>
            <a:spLocks noGrp="1"/>
          </p:cNvSpPr>
          <p:nvPr>
            <p:ph type="sldNum" sz="quarter" idx="10"/>
          </p:nvPr>
        </p:nvSpPr>
        <p:spPr/>
        <p:txBody>
          <a:bodyPr/>
          <a:lstStyle>
            <a:lvl1pPr defTabSz="913505" fontAlgn="base">
              <a:lnSpc>
                <a:spcPct val="90000"/>
              </a:lnSpc>
              <a:spcBef>
                <a:spcPct val="0"/>
              </a:spcBef>
              <a:spcAft>
                <a:spcPct val="0"/>
              </a:spcAft>
              <a:defRPr>
                <a:solidFill>
                  <a:srgbClr val="D2D2D2"/>
                </a:solidFill>
              </a:defRPr>
            </a:lvl1pPr>
          </a:lstStyle>
          <a:p>
            <a:pPr marL="0" marR="0" lvl="0" indent="0" algn="r" defTabSz="913505" rtl="0" eaLnBrk="1" fontAlgn="base" latinLnBrk="0" hangingPunct="1">
              <a:lnSpc>
                <a:spcPct val="90000"/>
              </a:lnSpc>
              <a:spcBef>
                <a:spcPct val="0"/>
              </a:spcBef>
              <a:spcAft>
                <a:spcPct val="0"/>
              </a:spcAft>
              <a:buClrTx/>
              <a:buSzTx/>
              <a:buFontTx/>
              <a:buNone/>
              <a:tabLst/>
              <a:defRPr/>
            </a:pPr>
            <a:fld id="{D501E86F-28C2-E848-8F25-5B1F772CA3AD}" type="slidenum">
              <a:rPr kumimoji="0" lang="en-US" sz="882" b="0" i="0" u="none" strike="noStrike" kern="1200" cap="none" spc="0" normalizeH="0" baseline="0" noProof="0">
                <a:ln>
                  <a:noFill/>
                </a:ln>
                <a:solidFill>
                  <a:srgbClr val="D2D2D2"/>
                </a:solidFill>
                <a:effectLst/>
                <a:uLnTx/>
                <a:uFillTx/>
                <a:latin typeface="Segoe UI"/>
                <a:ea typeface="+mn-ea"/>
                <a:cs typeface="+mn-cs"/>
              </a:rPr>
              <a:pPr marL="0" marR="0" lvl="0" indent="0" algn="r" defTabSz="913505" rtl="0" eaLnBrk="1" fontAlgn="base" latinLnBrk="0" hangingPunct="1">
                <a:lnSpc>
                  <a:spcPct val="90000"/>
                </a:lnSpc>
                <a:spcBef>
                  <a:spcPct val="0"/>
                </a:spcBef>
                <a:spcAft>
                  <a:spcPct val="0"/>
                </a:spcAft>
                <a:buClrTx/>
                <a:buSzTx/>
                <a:buFontTx/>
                <a:buNone/>
                <a:tabLst/>
                <a:defRPr/>
              </a:pPr>
              <a:t>‹#›</a:t>
            </a:fld>
            <a:endParaRPr kumimoji="0" lang="en-US" sz="882" b="0" i="0" u="none" strike="noStrike" kern="1200" cap="none" spc="0" normalizeH="0" baseline="0" noProof="0" dirty="0">
              <a:ln>
                <a:noFill/>
              </a:ln>
              <a:solidFill>
                <a:srgbClr val="D2D2D2"/>
              </a:solidFill>
              <a:effectLst/>
              <a:uLnTx/>
              <a:uFillTx/>
              <a:latin typeface="Segoe UI"/>
              <a:ea typeface="+mn-ea"/>
              <a:cs typeface="+mn-cs"/>
            </a:endParaRPr>
          </a:p>
        </p:txBody>
      </p:sp>
    </p:spTree>
    <p:extLst>
      <p:ext uri="{BB962C8B-B14F-4D97-AF65-F5344CB8AC3E}">
        <p14:creationId xmlns:p14="http://schemas.microsoft.com/office/powerpoint/2010/main" val="2870092957"/>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Highlight Slide">
    <p:spTree>
      <p:nvGrpSpPr>
        <p:cNvPr id="1" name="Shape 31"/>
        <p:cNvGrpSpPr/>
        <p:nvPr/>
      </p:nvGrpSpPr>
      <p:grpSpPr>
        <a:xfrm>
          <a:off x="0" y="0"/>
          <a:ext cx="0" cy="0"/>
          <a:chOff x="0" y="0"/>
          <a:chExt cx="0" cy="0"/>
        </a:xfrm>
      </p:grpSpPr>
    </p:spTree>
    <p:extLst>
      <p:ext uri="{BB962C8B-B14F-4D97-AF65-F5344CB8AC3E}">
        <p14:creationId xmlns:p14="http://schemas.microsoft.com/office/powerpoint/2010/main" val="6537216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Content only">
    <p:spTree>
      <p:nvGrpSpPr>
        <p:cNvPr id="1" name="Shape 32"/>
        <p:cNvGrpSpPr/>
        <p:nvPr/>
      </p:nvGrpSpPr>
      <p:grpSpPr>
        <a:xfrm>
          <a:off x="0" y="0"/>
          <a:ext cx="0" cy="0"/>
          <a:chOff x="0" y="0"/>
          <a:chExt cx="0" cy="0"/>
        </a:xfrm>
      </p:grpSpPr>
      <p:sp>
        <p:nvSpPr>
          <p:cNvPr id="33" name="Shape 33"/>
          <p:cNvSpPr txBox="1">
            <a:spLocks noGrp="1"/>
          </p:cNvSpPr>
          <p:nvPr>
            <p:ph type="body" idx="1"/>
          </p:nvPr>
        </p:nvSpPr>
        <p:spPr>
          <a:xfrm>
            <a:off x="609599" y="1160462"/>
            <a:ext cx="10994359" cy="4706938"/>
          </a:xfrm>
          <a:prstGeom prst="rect">
            <a:avLst/>
          </a:prstGeom>
          <a:noFill/>
          <a:ln>
            <a:noFill/>
          </a:ln>
        </p:spPr>
        <p:txBody>
          <a:bodyPr lIns="91425" tIns="91425" rIns="91425" bIns="91425" anchor="t" anchorCtr="0"/>
          <a:lstStyle>
            <a:lvl1pPr marL="0" indent="0" rtl="0">
              <a:lnSpc>
                <a:spcPct val="125000"/>
              </a:lnSpc>
              <a:spcBef>
                <a:spcPts val="0"/>
              </a:spcBef>
              <a:buClr>
                <a:srgbClr val="404040"/>
              </a:buClr>
              <a:buFont typeface="Calibri"/>
              <a:buNone/>
              <a:defRPr/>
            </a:lvl1pPr>
            <a:lvl2pPr marL="358775" indent="-193675" rtl="0">
              <a:lnSpc>
                <a:spcPct val="125000"/>
              </a:lnSpc>
              <a:spcBef>
                <a:spcPts val="0"/>
              </a:spcBef>
              <a:defRPr/>
            </a:lvl2pPr>
            <a:lvl3pPr marL="534988" indent="-179387" rtl="0">
              <a:lnSpc>
                <a:spcPct val="125000"/>
              </a:lnSpc>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4" name="Shape 34"/>
          <p:cNvSpPr txBox="1">
            <a:spLocks noGrp="1"/>
          </p:cNvSpPr>
          <p:nvPr>
            <p:ph type="title"/>
          </p:nvPr>
        </p:nvSpPr>
        <p:spPr>
          <a:xfrm>
            <a:off x="609601" y="357448"/>
            <a:ext cx="10994359" cy="480751"/>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extLst>
      <p:ext uri="{BB962C8B-B14F-4D97-AF65-F5344CB8AC3E}">
        <p14:creationId xmlns:p14="http://schemas.microsoft.com/office/powerpoint/2010/main" val="32637563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Full image (black logo)">
    <p:spTree>
      <p:nvGrpSpPr>
        <p:cNvPr id="1" name="Shape 43"/>
        <p:cNvGrpSpPr/>
        <p:nvPr/>
      </p:nvGrpSpPr>
      <p:grpSpPr>
        <a:xfrm>
          <a:off x="0" y="0"/>
          <a:ext cx="0" cy="0"/>
          <a:chOff x="0" y="0"/>
          <a:chExt cx="0" cy="0"/>
        </a:xfrm>
      </p:grpSpPr>
    </p:spTree>
    <p:extLst>
      <p:ext uri="{BB962C8B-B14F-4D97-AF65-F5344CB8AC3E}">
        <p14:creationId xmlns:p14="http://schemas.microsoft.com/office/powerpoint/2010/main" val="6470066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39601259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189500296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pPr defTabSz="914367"/>
            <a:endParaRPr lang="en-US" dirty="0">
              <a:solidFill>
                <a:srgbClr val="505050"/>
              </a:solidFill>
            </a:endParaRPr>
          </a:p>
        </p:txBody>
      </p:sp>
    </p:spTree>
    <p:extLst>
      <p:ext uri="{BB962C8B-B14F-4D97-AF65-F5344CB8AC3E}">
        <p14:creationId xmlns:p14="http://schemas.microsoft.com/office/powerpoint/2010/main" val="356369018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79177321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defTabSz="914367"/>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3120385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pPr defTabSz="914367"/>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022761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348070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4923611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346532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404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59023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9926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marL="0" marR="0" lvl="0" indent="0" algn="ctr" defTabSz="108789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309054072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81182735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402046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1693244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24322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5983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55725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72822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12593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683108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0025072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607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endParaRPr lang="en-US" sz="1765">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DECA0C21-8883-4FA0-94AA-352652A18E35}"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79914826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20756791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093555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9" y="6481588"/>
            <a:ext cx="898127" cy="191293"/>
          </a:xfrm>
          <a:prstGeom prst="rect">
            <a:avLst/>
          </a:prstGeom>
        </p:spPr>
      </p:pic>
    </p:spTree>
    <p:extLst>
      <p:ext uri="{BB962C8B-B14F-4D97-AF65-F5344CB8AC3E}">
        <p14:creationId xmlns:p14="http://schemas.microsoft.com/office/powerpoint/2010/main" val="3992728642"/>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57624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511062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865607727"/>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00919" y="584201"/>
            <a:ext cx="1185605" cy="269455"/>
          </a:xfrm>
          <a:prstGeom prst="rect">
            <a:avLst/>
          </a:prstGeom>
        </p:spPr>
      </p:pic>
    </p:spTree>
    <p:extLst>
      <p:ext uri="{BB962C8B-B14F-4D97-AF65-F5344CB8AC3E}">
        <p14:creationId xmlns:p14="http://schemas.microsoft.com/office/powerpoint/2010/main" val="3424463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86571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6152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561868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657822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56555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2925276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83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endParaRPr lang="en-US" sz="1765">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DECA0C21-8883-4FA0-94AA-352652A18E35}" type="slidenum">
              <a:rPr lang="en-US" sz="1765" smtClean="0">
                <a:solidFill>
                  <a:srgbClr val="505050"/>
                </a:solidFill>
              </a:rPr>
              <a:pPr defTabSz="914367"/>
              <a:t>‹#›</a:t>
            </a:fld>
            <a:endParaRPr lang="en-US" sz="1765">
              <a:solidFill>
                <a:srgbClr val="505050"/>
              </a:solidFill>
            </a:endParaRPr>
          </a:p>
        </p:txBody>
      </p:sp>
    </p:spTree>
    <p:extLst>
      <p:ext uri="{BB962C8B-B14F-4D97-AF65-F5344CB8AC3E}">
        <p14:creationId xmlns:p14="http://schemas.microsoft.com/office/powerpoint/2010/main" val="198334415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388838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dirty="0"/>
              <a:t>Title</a:t>
            </a:r>
          </a:p>
        </p:txBody>
      </p:sp>
    </p:spTree>
    <p:extLst>
      <p:ext uri="{BB962C8B-B14F-4D97-AF65-F5344CB8AC3E}">
        <p14:creationId xmlns:p14="http://schemas.microsoft.com/office/powerpoint/2010/main" val="412190165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137372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9" y="6481588"/>
            <a:ext cx="898127" cy="191293"/>
          </a:xfrm>
          <a:prstGeom prst="rect">
            <a:avLst/>
          </a:prstGeom>
        </p:spPr>
      </p:pic>
    </p:spTree>
    <p:extLst>
      <p:ext uri="{BB962C8B-B14F-4D97-AF65-F5344CB8AC3E}">
        <p14:creationId xmlns:p14="http://schemas.microsoft.com/office/powerpoint/2010/main" val="3324228086"/>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08325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6" y="6629336"/>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lang="en-US" smtClean="0"/>
              <a:pPr>
                <a:defRPr/>
              </a:pPr>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9238" y="6476788"/>
            <a:ext cx="898127" cy="196093"/>
          </a:xfrm>
          <a:prstGeom prst="rect">
            <a:avLst/>
          </a:prstGeom>
        </p:spPr>
      </p:pic>
      <p:sp>
        <p:nvSpPr>
          <p:cNvPr id="8" name="Text Placeholder 5"/>
          <p:cNvSpPr>
            <a:spLocks noGrp="1"/>
          </p:cNvSpPr>
          <p:nvPr>
            <p:ph type="body" sz="quarter" idx="13"/>
          </p:nvPr>
        </p:nvSpPr>
        <p:spPr>
          <a:xfrm>
            <a:off x="269241" y="1279456"/>
            <a:ext cx="10816237" cy="572464"/>
          </a:xfrm>
          <a:prstGeom prst="rect">
            <a:avLst/>
          </a:prstGeom>
        </p:spPr>
        <p:txBody>
          <a:bodyPr lIns="192024"/>
          <a:lstStyle>
            <a:lvl1pPr marL="0" indent="0">
              <a:buNone/>
              <a:defRPr lang="en-US" sz="2800"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470634122"/>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00919" y="584201"/>
            <a:ext cx="1185605" cy="269455"/>
          </a:xfrm>
          <a:prstGeom prst="rect">
            <a:avLst/>
          </a:prstGeom>
        </p:spPr>
      </p:pic>
    </p:spTree>
    <p:extLst>
      <p:ext uri="{BB962C8B-B14F-4D97-AF65-F5344CB8AC3E}">
        <p14:creationId xmlns:p14="http://schemas.microsoft.com/office/powerpoint/2010/main" val="978636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47961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97430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491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12954601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08299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1968098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445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2313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834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90084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514028" y="6437191"/>
            <a:ext cx="6855722" cy="45265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oadmap is for general information purposes only and subject to change</a:t>
            </a:r>
          </a:p>
        </p:txBody>
      </p:sp>
    </p:spTree>
    <p:extLst>
      <p:ext uri="{BB962C8B-B14F-4D97-AF65-F5344CB8AC3E}">
        <p14:creationId xmlns:p14="http://schemas.microsoft.com/office/powerpoint/2010/main" val="977705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427705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17767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3305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4301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7D4DD5-9E2A-45C5-B985-3D892F553B24}" type="datetimeFigureOut">
              <a:rPr lang="en-US" smtClean="0"/>
              <a:t>05-May-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012532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0222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301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1246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065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349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095257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7851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6068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87DE6118-2437-4B30-8E3C-4D2BE6020583}" type="datetimeFigureOut">
              <a:rPr lang="en-US" sz="1765" smtClean="0">
                <a:solidFill>
                  <a:srgbClr val="505050"/>
                </a:solidFill>
              </a:rPr>
              <a:pPr defTabSz="914367"/>
              <a:t>05-May-17</a:t>
            </a:fld>
            <a:endParaRPr lang="en-US" sz="1765" dirty="0">
              <a:solidFill>
                <a:srgbClr val="505050"/>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505050"/>
              </a:solidFill>
            </a:endParaRPr>
          </a:p>
        </p:txBody>
      </p:sp>
      <p:sp>
        <p:nvSpPr>
          <p:cNvPr id="4" name="Slide Number Placeholder 3"/>
          <p:cNvSpPr>
            <a:spLocks noGrp="1"/>
          </p:cNvSpPr>
          <p:nvPr>
            <p:ph type="sldNum" sz="quarter" idx="12"/>
          </p:nvPr>
        </p:nvSpPr>
        <p:spPr/>
        <p:txBody>
          <a:bodyPr/>
          <a:lstStyle/>
          <a:p>
            <a:pPr defTabSz="914367"/>
            <a:fld id="{69E57DC2-970A-4B3E-BB1C-7A09969E49DF}" type="slidenum">
              <a:rPr lang="en-US" sz="1765" smtClean="0">
                <a:solidFill>
                  <a:srgbClr val="505050"/>
                </a:solidFill>
              </a:rPr>
              <a:pPr defTabSz="914367"/>
              <a:t>‹#›</a:t>
            </a:fld>
            <a:endParaRPr lang="en-US" sz="1765" dirty="0">
              <a:solidFill>
                <a:srgbClr val="505050"/>
              </a:solidFill>
            </a:endParaRPr>
          </a:p>
        </p:txBody>
      </p:sp>
    </p:spTree>
    <p:extLst>
      <p:ext uri="{BB962C8B-B14F-4D97-AF65-F5344CB8AC3E}">
        <p14:creationId xmlns:p14="http://schemas.microsoft.com/office/powerpoint/2010/main" val="15998479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983650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7739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689299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9731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1644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6727343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69453243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4303933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1282588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17393346"/>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7234629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10956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08919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504364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879378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09317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200544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6654774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51827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148725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30491004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137894446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24319960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46114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27343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1018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4089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238108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639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949485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0375478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8984688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41472516"/>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85621473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825577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039461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4710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582925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92239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65823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42189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470448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950446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23332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213817064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2" name="Group 1"/>
          <p:cNvGrpSpPr/>
          <p:nvPr userDrawn="1"/>
        </p:nvGrpSpPr>
        <p:grpSpPr>
          <a:xfrm>
            <a:off x="269239" y="6023124"/>
            <a:ext cx="11653522" cy="571587"/>
            <a:chOff x="269239" y="6171616"/>
            <a:chExt cx="11653522" cy="571587"/>
          </a:xfrm>
        </p:grpSpPr>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40836336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647644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90997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2234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8345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328218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988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658231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3016205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0308507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920699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243469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52283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138181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7267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409466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67462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33643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51807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97980145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43399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82027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365648889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21039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2" name="Group 1"/>
          <p:cNvGrpSpPr/>
          <p:nvPr userDrawn="1"/>
        </p:nvGrpSpPr>
        <p:grpSpPr>
          <a:xfrm>
            <a:off x="269239" y="6023124"/>
            <a:ext cx="11653522" cy="571587"/>
            <a:chOff x="269239" y="6171616"/>
            <a:chExt cx="11653522" cy="571587"/>
          </a:xfrm>
        </p:grpSpPr>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12131583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34402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60523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1330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26042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0918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7199914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3232148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9600215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347934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15880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9434832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4108207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779296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034660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500903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04318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45151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90171694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097841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518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28039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39783436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7251789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6" name="Group 5"/>
          <p:cNvGrpSpPr/>
          <p:nvPr userDrawn="1"/>
        </p:nvGrpSpPr>
        <p:grpSpPr>
          <a:xfrm>
            <a:off x="269239" y="6026766"/>
            <a:ext cx="11653522" cy="571587"/>
            <a:chOff x="269239" y="6171616"/>
            <a:chExt cx="11653522" cy="571587"/>
          </a:xfrm>
        </p:grpSpPr>
        <p:sp>
          <p:nvSpPr>
            <p:cNvPr id="7"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8" name="Rectangle 7"/>
            <p:cNvSpPr/>
            <p:nvPr/>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281934669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99530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46104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8588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spTree>
    <p:extLst>
      <p:ext uri="{BB962C8B-B14F-4D97-AF65-F5344CB8AC3E}">
        <p14:creationId xmlns:p14="http://schemas.microsoft.com/office/powerpoint/2010/main" val="201314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511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9511231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601761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4F7D4DD5-9E2A-45C5-B985-3D892F553B24}" type="datetimeFigureOut">
              <a:rPr lang="en-US" smtClean="0"/>
              <a:t>05-May-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358218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0708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23374682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7022995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7735287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266505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0716499"/>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7743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17004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66568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25557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440740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8711982"/>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004492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46677757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7"/>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910043286"/>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266041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4513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pic>
        <p:nvPicPr>
          <p:cNvPr id="25" name="Picture 24"/>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65333" y="1123839"/>
            <a:ext cx="1828049" cy="255197"/>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3619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421597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5094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881265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7669487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7703250"/>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547247111"/>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9047409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1906105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2089704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1326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867595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85273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04652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93942659"/>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465420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3262434"/>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144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77817332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136580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392881289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486488"/>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59433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7895020"/>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564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66702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614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0020148"/>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21883619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5520093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4111730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8443555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4193763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0043494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57105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75698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760625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435772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361150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611070"/>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37756649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616257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779404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0529829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grpSp>
        <p:nvGrpSpPr>
          <p:cNvPr id="4" name="Group 3"/>
          <p:cNvGrpSpPr/>
          <p:nvPr userDrawn="1"/>
        </p:nvGrpSpPr>
        <p:grpSpPr>
          <a:xfrm>
            <a:off x="269239" y="6016343"/>
            <a:ext cx="11653522" cy="571587"/>
            <a:chOff x="269239" y="6171616"/>
            <a:chExt cx="11653522" cy="571587"/>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grpSp>
    </p:spTree>
    <p:extLst>
      <p:ext uri="{BB962C8B-B14F-4D97-AF65-F5344CB8AC3E}">
        <p14:creationId xmlns:p14="http://schemas.microsoft.com/office/powerpoint/2010/main" val="21593590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999961305"/>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7250673"/>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1810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3318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5248587"/>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17380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2422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2360799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90431202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1348764"/>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50904920"/>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4248060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35825325"/>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8281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068105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5677172"/>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661839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1844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87692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9394786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84108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88633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3479197119"/>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758088651"/>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950903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9877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768679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79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14168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443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3383147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1897497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31159472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9648059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773774"/>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14173145"/>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3844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2901871"/>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894977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5927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5912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93275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7634902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4735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004085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130192128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68216857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58454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F7D4DD5-9E2A-45C5-B985-3D892F553B24}" type="datetimeFigureOut">
              <a:rPr lang="en-US" smtClean="0"/>
              <a:t>05-May-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283920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235666"/>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7907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p:cNvSpPr/>
          <p:nvPr userDrawn="1"/>
        </p:nvSpPr>
        <p:spPr bwMode="auto">
          <a:xfrm>
            <a:off x="0" y="0"/>
            <a:ext cx="1219199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0639" y="464847"/>
            <a:ext cx="1648360" cy="353153"/>
          </a:xfrm>
          <a:prstGeom prst="rect">
            <a:avLst/>
          </a:prstGeom>
        </p:spPr>
      </p:pic>
      <p:sp>
        <p:nvSpPr>
          <p:cNvPr id="11" name="Rectangle 10"/>
          <p:cNvSpPr/>
          <p:nvPr userDrawn="1"/>
        </p:nvSpPr>
        <p:spPr bwMode="auto">
          <a:xfrm>
            <a:off x="9908498" y="6100996"/>
            <a:ext cx="1938727" cy="75700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511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2743" y="1123839"/>
            <a:ext cx="1840639" cy="256954"/>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0203" y="445566"/>
            <a:ext cx="1618440" cy="346741"/>
          </a:xfrm>
          <a:prstGeom prst="rect">
            <a:avLst/>
          </a:prstGeom>
        </p:spPr>
      </p:pic>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Tree>
    <p:extLst>
      <p:ext uri="{BB962C8B-B14F-4D97-AF65-F5344CB8AC3E}">
        <p14:creationId xmlns:p14="http://schemas.microsoft.com/office/powerpoint/2010/main" val="266233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2" name="Text Placeholder 6"/>
          <p:cNvSpPr>
            <a:spLocks noGrp="1"/>
          </p:cNvSpPr>
          <p:nvPr>
            <p:ph type="body" sz="quarter" idx="12" hasCustomPrompt="1"/>
          </p:nvPr>
        </p:nvSpPr>
        <p:spPr>
          <a:xfrm>
            <a:off x="298997" y="4193538"/>
            <a:ext cx="5869669" cy="1019980"/>
          </a:xfrm>
        </p:spPr>
        <p:txBody>
          <a:bodyPr/>
          <a:lstStyle>
            <a:lvl1pPr marL="0" indent="0">
              <a:buNone/>
              <a:defRPr sz="2353">
                <a:solidFill>
                  <a:schemeClr val="tx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70444" y="3090887"/>
            <a:ext cx="6540561" cy="815160"/>
          </a:xfrm>
        </p:spPr>
        <p:txBody>
          <a:bodyPr anchor="b"/>
          <a:lstStyle>
            <a:lvl1pPr marL="0" indent="0">
              <a:buNone/>
              <a:defRPr lang="en-US" sz="4313" kern="1200" spc="0" baseline="0" dirty="0">
                <a:solidFill>
                  <a:schemeClr val="tx1"/>
                </a:solidFill>
                <a:latin typeface="+mj-lt"/>
                <a:ea typeface="+mn-ea"/>
                <a:cs typeface="+mn-cs"/>
              </a:defRPr>
            </a:lvl1pPr>
            <a:lvl5pPr>
              <a:defRPr/>
            </a:lvl5pPr>
          </a:lstStyle>
          <a:p>
            <a:pPr marL="0" marR="0" lvl="0" indent="0" algn="l" defTabSz="914367" rtl="0" eaLnBrk="1" fontAlgn="auto" latinLnBrk="0" hangingPunct="1">
              <a:lnSpc>
                <a:spcPct val="95000"/>
              </a:lnSpc>
              <a:spcBef>
                <a:spcPts val="0"/>
              </a:spcBef>
              <a:spcAft>
                <a:spcPts val="1176"/>
              </a:spcAft>
              <a:buClrTx/>
              <a:buSzPct val="90000"/>
              <a:buFont typeface="Arial" pitchFamily="34" charset="0"/>
              <a:buNone/>
              <a:tabLst/>
            </a:pPr>
            <a:r>
              <a:rPr lang="en-US" dirty="0"/>
              <a:t>Presentation Title Here</a:t>
            </a:r>
          </a:p>
        </p:txBody>
      </p:sp>
      <p:sp>
        <p:nvSpPr>
          <p:cNvPr id="2" name="Rectangle 1"/>
          <p:cNvSpPr/>
          <p:nvPr userDrawn="1"/>
        </p:nvSpPr>
        <p:spPr bwMode="auto">
          <a:xfrm>
            <a:off x="10333038" y="6515100"/>
            <a:ext cx="1858962" cy="3429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4722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320635"/>
          </a:xfrm>
        </p:spPr>
        <p:txBody>
          <a:bodyPr/>
          <a:lstStyle>
            <a:lvl1pPr marL="0" indent="0">
              <a:buNone/>
              <a:defRPr>
                <a:solidFill>
                  <a:schemeClr val="tx2"/>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1338641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5980" y="1189176"/>
            <a:ext cx="11653523" cy="2320635"/>
          </a:xfrm>
        </p:spPr>
        <p:txBody>
          <a:bodyPr/>
          <a:lstStyle>
            <a:lvl1pPr marL="0" indent="0">
              <a:buNone/>
              <a:defRPr>
                <a:solidFill>
                  <a:schemeClr val="tx1"/>
                </a:solidFill>
              </a:defRPr>
            </a:lvl1pPr>
            <a:lvl2pPr marL="0" indent="0">
              <a:buFontTx/>
              <a:buNone/>
              <a:defRPr sz="1800">
                <a:solidFill>
                  <a:schemeClr val="tx1"/>
                </a:solidFill>
              </a:defRPr>
            </a:lvl2pPr>
            <a:lvl3pPr marL="224097" indent="0">
              <a:buNone/>
              <a:defRPr sz="1800">
                <a:solidFill>
                  <a:schemeClr val="tx1"/>
                </a:solidFill>
              </a:defRPr>
            </a:lvl3pPr>
            <a:lvl4pPr marL="448193" indent="0">
              <a:buNone/>
              <a:defRPr sz="1800">
                <a:solidFill>
                  <a:schemeClr val="tx1"/>
                </a:solidFill>
              </a:defRPr>
            </a:lvl4pPr>
            <a:lvl5pPr marL="672290" indent="0">
              <a:buNone/>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7018034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505910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5980" y="1189176"/>
            <a:ext cx="11653523" cy="2320635"/>
          </a:xfrm>
        </p:spPr>
        <p:txBody>
          <a:bodyPr>
            <a:spAutoFit/>
          </a:bodyPr>
          <a:lstStyle>
            <a:lvl1pPr>
              <a:defRPr sz="28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9100734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5982"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262158"/>
          </a:xfrm>
        </p:spPr>
        <p:txBody>
          <a:bodyPr wrap="square">
            <a:spAutoFit/>
          </a:bodyPr>
          <a:lstStyle>
            <a:lvl1pPr marL="281677" indent="-281677">
              <a:spcBef>
                <a:spcPts val="1200"/>
              </a:spcBef>
              <a:buClr>
                <a:schemeClr val="tx2"/>
              </a:buClr>
              <a:buFont typeface="Arial" pitchFamily="34" charset="0"/>
              <a:buChar char="•"/>
              <a:defRPr sz="2800">
                <a:solidFill>
                  <a:schemeClr val="tx2"/>
                </a:solidFill>
              </a:defRPr>
            </a:lvl1pPr>
            <a:lvl2pPr marL="520702" indent="-228601">
              <a:defRPr sz="1800">
                <a:solidFill>
                  <a:schemeClr val="tx1"/>
                </a:solidFill>
              </a:defRPr>
            </a:lvl2pPr>
            <a:lvl3pPr marL="685803" indent="-165101">
              <a:tabLst/>
              <a:defRPr sz="1800">
                <a:solidFill>
                  <a:schemeClr val="tx1"/>
                </a:solidFill>
              </a:defRPr>
            </a:lvl3pPr>
            <a:lvl4pPr marL="863603" indent="-177801">
              <a:defRPr sz="1800">
                <a:solidFill>
                  <a:schemeClr val="tx1"/>
                </a:solidFill>
              </a:defRPr>
            </a:lvl4pPr>
            <a:lvl5pPr marL="1028704" indent="-165101">
              <a:tabLst/>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290834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7518795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6865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3 section white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7320598" cy="899665"/>
          </a:xfrm>
        </p:spPr>
        <p:txBody>
          <a:bodyPr/>
          <a:lstStyle>
            <a:lvl1pPr>
              <a:defRPr>
                <a:solidFill>
                  <a:schemeClr val="bg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Text Placeholder 5"/>
          <p:cNvSpPr>
            <a:spLocks noGrp="1"/>
          </p:cNvSpPr>
          <p:nvPr>
            <p:ph type="body" sz="quarter" idx="10"/>
          </p:nvPr>
        </p:nvSpPr>
        <p:spPr>
          <a:xfrm>
            <a:off x="265981" y="1189176"/>
            <a:ext cx="7323858" cy="5052136"/>
          </a:xfrm>
        </p:spPr>
        <p:txBody>
          <a:bodyPr/>
          <a:lstStyle>
            <a:lvl1pPr marL="0" indent="0">
              <a:buNone/>
              <a:defRPr>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800">
                <a:solidFill>
                  <a:schemeClr val="bg1"/>
                </a:solidFill>
              </a:defRPr>
            </a:lvl4pPr>
            <a:lvl5pPr marL="672290" indent="0">
              <a:buNone/>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9215942"/>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13" name="Rectangle 6"/>
          <p:cNvSpPr/>
          <p:nvPr userDrawn="1"/>
        </p:nvSpPr>
        <p:spPr bwMode="auto">
          <a:xfrm>
            <a:off x="1" y="0"/>
            <a:ext cx="9009380" cy="6858000"/>
          </a:xfrm>
          <a:custGeom>
            <a:avLst/>
            <a:gdLst>
              <a:gd name="connsiteX0" fmla="*/ 0 w 9190037"/>
              <a:gd name="connsiteY0" fmla="*/ 0 h 6994525"/>
              <a:gd name="connsiteX1" fmla="*/ 9190037 w 9190037"/>
              <a:gd name="connsiteY1" fmla="*/ 0 h 6994525"/>
              <a:gd name="connsiteX2" fmla="*/ 9190037 w 9190037"/>
              <a:gd name="connsiteY2" fmla="*/ 6994525 h 6994525"/>
              <a:gd name="connsiteX3" fmla="*/ 0 w 9190037"/>
              <a:gd name="connsiteY3" fmla="*/ 6994525 h 6994525"/>
              <a:gd name="connsiteX4" fmla="*/ 0 w 9190037"/>
              <a:gd name="connsiteY4" fmla="*/ 0 h 6994525"/>
              <a:gd name="connsiteX0" fmla="*/ 0 w 9190037"/>
              <a:gd name="connsiteY0" fmla="*/ 0 h 7010854"/>
              <a:gd name="connsiteX1" fmla="*/ 9190037 w 9190037"/>
              <a:gd name="connsiteY1" fmla="*/ 0 h 7010854"/>
              <a:gd name="connsiteX2" fmla="*/ 5287508 w 9190037"/>
              <a:gd name="connsiteY2" fmla="*/ 7010854 h 7010854"/>
              <a:gd name="connsiteX3" fmla="*/ 0 w 9190037"/>
              <a:gd name="connsiteY3" fmla="*/ 6994525 h 7010854"/>
              <a:gd name="connsiteX4" fmla="*/ 0 w 9190037"/>
              <a:gd name="connsiteY4" fmla="*/ 0 h 7010854"/>
              <a:gd name="connsiteX0" fmla="*/ 0 w 9190037"/>
              <a:gd name="connsiteY0" fmla="*/ 0 h 6994525"/>
              <a:gd name="connsiteX1" fmla="*/ 9190037 w 9190037"/>
              <a:gd name="connsiteY1" fmla="*/ 0 h 6994525"/>
              <a:gd name="connsiteX2" fmla="*/ 7050994 w 9190037"/>
              <a:gd name="connsiteY2" fmla="*/ 6994525 h 6994525"/>
              <a:gd name="connsiteX3" fmla="*/ 0 w 9190037"/>
              <a:gd name="connsiteY3" fmla="*/ 6994525 h 6994525"/>
              <a:gd name="connsiteX4" fmla="*/ 0 w 9190037"/>
              <a:gd name="connsiteY4" fmla="*/ 0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0037" h="6994525">
                <a:moveTo>
                  <a:pt x="0" y="0"/>
                </a:moveTo>
                <a:lnTo>
                  <a:pt x="9190037" y="0"/>
                </a:lnTo>
                <a:lnTo>
                  <a:pt x="7050994" y="6994525"/>
                </a:lnTo>
                <a:lnTo>
                  <a:pt x="0" y="6994525"/>
                </a:lnTo>
                <a:lnTo>
                  <a:pt x="0"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39" y="2084172"/>
            <a:ext cx="7171398"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723751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7320802"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509705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7246100"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4762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754103"/>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265334"/>
            <a:ext cx="4449288" cy="592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71" tIns="146296" rIns="182871" bIns="146296" rtlCol="0" anchor="t" anchorCtr="0"/>
          <a:lstStyle/>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2647"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3326850"/>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22236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33930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Copyright Microsoft Corporation. All rights reserved. </a:t>
            </a:r>
          </a:p>
        </p:txBody>
      </p:sp>
      <p:sp>
        <p:nvSpPr>
          <p:cNvPr id="6" name="Rectangle 5"/>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lumMod val="65000"/>
                  </a:srgbClr>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1627554601"/>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6"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Copyright Microsoft Corporation. All rights reserved. </a:t>
            </a:r>
          </a:p>
        </p:txBody>
      </p:sp>
      <p:sp>
        <p:nvSpPr>
          <p:cNvPr id="7" name="Rectangle 6"/>
          <p:cNvSpPr/>
          <p:nvPr userDrawn="1"/>
        </p:nvSpPr>
        <p:spPr>
          <a:xfrm>
            <a:off x="354175" y="6439787"/>
            <a:ext cx="9035714" cy="3034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 2017 Microsoft. Distributed under Creative Commons Attribution-Noncommercial-No Derivative Works 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rgbClr val="FFFFFF"/>
                </a:solidFill>
                <a:effectLst/>
                <a:uLnTx/>
                <a:uFillTx/>
                <a:latin typeface="Segoe UI"/>
                <a:ea typeface="+mn-ea"/>
                <a:cs typeface="Segoe UI" pitchFamily="34" charset="0"/>
              </a:rPr>
              <a:t>CONFIDENTIAL.  Distribution Only to Partners Under Nondisclosure. Microsoft makes no warranties, express or implied.</a:t>
            </a:r>
          </a:p>
        </p:txBody>
      </p:sp>
    </p:spTree>
    <p:extLst>
      <p:ext uri="{BB962C8B-B14F-4D97-AF65-F5344CB8AC3E}">
        <p14:creationId xmlns:p14="http://schemas.microsoft.com/office/powerpoint/2010/main" val="9852200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281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97253" y="1197321"/>
            <a:ext cx="11653522" cy="2404346"/>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958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8068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59628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Walkin No tile">
    <p:bg>
      <p:bgPr>
        <a:solidFill>
          <a:srgbClr val="FF8C0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6" name="Freeform 30"/>
          <p:cNvSpPr>
            <a:spLocks noEditPoints="1"/>
          </p:cNvSpPr>
          <p:nvPr userDrawn="1"/>
        </p:nvSpPr>
        <p:spPr bwMode="auto">
          <a:xfrm>
            <a:off x="11546" y="0"/>
            <a:ext cx="12172020" cy="6854887"/>
          </a:xfrm>
          <a:custGeom>
            <a:avLst/>
            <a:gdLst>
              <a:gd name="T0" fmla="*/ 97 w 3869"/>
              <a:gd name="T1" fmla="*/ 947 h 2177"/>
              <a:gd name="T2" fmla="*/ 1388 w 3869"/>
              <a:gd name="T3" fmla="*/ 916 h 2177"/>
              <a:gd name="T4" fmla="*/ 1296 w 3869"/>
              <a:gd name="T5" fmla="*/ 810 h 2177"/>
              <a:gd name="T6" fmla="*/ 1534 w 3869"/>
              <a:gd name="T7" fmla="*/ 844 h 2177"/>
              <a:gd name="T8" fmla="*/ 273 w 3869"/>
              <a:gd name="T9" fmla="*/ 836 h 2177"/>
              <a:gd name="T10" fmla="*/ 478 w 3869"/>
              <a:gd name="T11" fmla="*/ 671 h 2177"/>
              <a:gd name="T12" fmla="*/ 129 w 3869"/>
              <a:gd name="T13" fmla="*/ 515 h 2177"/>
              <a:gd name="T14" fmla="*/ 489 w 3869"/>
              <a:gd name="T15" fmla="*/ 518 h 2177"/>
              <a:gd name="T16" fmla="*/ 1256 w 3869"/>
              <a:gd name="T17" fmla="*/ 452 h 2177"/>
              <a:gd name="T18" fmla="*/ 1134 w 3869"/>
              <a:gd name="T19" fmla="*/ 302 h 2177"/>
              <a:gd name="T20" fmla="*/ 748 w 3869"/>
              <a:gd name="T21" fmla="*/ 413 h 2177"/>
              <a:gd name="T22" fmla="*/ 1621 w 3869"/>
              <a:gd name="T23" fmla="*/ 266 h 2177"/>
              <a:gd name="T24" fmla="*/ 1181 w 3869"/>
              <a:gd name="T25" fmla="*/ 126 h 2177"/>
              <a:gd name="T26" fmla="*/ 750 w 3869"/>
              <a:gd name="T27" fmla="*/ 261 h 2177"/>
              <a:gd name="T28" fmla="*/ 807 w 3869"/>
              <a:gd name="T29" fmla="*/ 7 h 2177"/>
              <a:gd name="T30" fmla="*/ 2432 w 3869"/>
              <a:gd name="T31" fmla="*/ 1026 h 2177"/>
              <a:gd name="T32" fmla="*/ 2045 w 3869"/>
              <a:gd name="T33" fmla="*/ 925 h 2177"/>
              <a:gd name="T34" fmla="*/ 2410 w 3869"/>
              <a:gd name="T35" fmla="*/ 935 h 2177"/>
              <a:gd name="T36" fmla="*/ 3534 w 3869"/>
              <a:gd name="T37" fmla="*/ 833 h 2177"/>
              <a:gd name="T38" fmla="*/ 3077 w 3869"/>
              <a:gd name="T39" fmla="*/ 705 h 2177"/>
              <a:gd name="T40" fmla="*/ 2678 w 3869"/>
              <a:gd name="T41" fmla="*/ 837 h 2177"/>
              <a:gd name="T42" fmla="*/ 2671 w 3869"/>
              <a:gd name="T43" fmla="*/ 606 h 2177"/>
              <a:gd name="T44" fmla="*/ 2601 w 3869"/>
              <a:gd name="T45" fmla="*/ 601 h 2177"/>
              <a:gd name="T46" fmla="*/ 2339 w 3869"/>
              <a:gd name="T47" fmla="*/ 502 h 2177"/>
              <a:gd name="T48" fmla="*/ 3734 w 3869"/>
              <a:gd name="T49" fmla="*/ 394 h 2177"/>
              <a:gd name="T50" fmla="*/ 3412 w 3869"/>
              <a:gd name="T51" fmla="*/ 371 h 2177"/>
              <a:gd name="T52" fmla="*/ 2304 w 3869"/>
              <a:gd name="T53" fmla="*/ 394 h 2177"/>
              <a:gd name="T54" fmla="*/ 3763 w 3869"/>
              <a:gd name="T55" fmla="*/ 268 h 2177"/>
              <a:gd name="T56" fmla="*/ 3209 w 3869"/>
              <a:gd name="T57" fmla="*/ 178 h 2177"/>
              <a:gd name="T58" fmla="*/ 2340 w 3869"/>
              <a:gd name="T59" fmla="*/ 225 h 2177"/>
              <a:gd name="T60" fmla="*/ 3196 w 3869"/>
              <a:gd name="T61" fmla="*/ 40 h 2177"/>
              <a:gd name="T62" fmla="*/ 205 w 3869"/>
              <a:gd name="T63" fmla="*/ 2104 h 2177"/>
              <a:gd name="T64" fmla="*/ 95 w 3869"/>
              <a:gd name="T65" fmla="*/ 2064 h 2177"/>
              <a:gd name="T66" fmla="*/ 180 w 3869"/>
              <a:gd name="T67" fmla="*/ 2030 h 2177"/>
              <a:gd name="T68" fmla="*/ 1394 w 3869"/>
              <a:gd name="T69" fmla="*/ 1918 h 2177"/>
              <a:gd name="T70" fmla="*/ 1532 w 3869"/>
              <a:gd name="T71" fmla="*/ 1965 h 2177"/>
              <a:gd name="T72" fmla="*/ 579 w 3869"/>
              <a:gd name="T73" fmla="*/ 1907 h 2177"/>
              <a:gd name="T74" fmla="*/ 329 w 3869"/>
              <a:gd name="T75" fmla="*/ 1729 h 2177"/>
              <a:gd name="T76" fmla="*/ 1762 w 3869"/>
              <a:gd name="T77" fmla="*/ 1751 h 2177"/>
              <a:gd name="T78" fmla="*/ 515 w 3869"/>
              <a:gd name="T79" fmla="*/ 1602 h 2177"/>
              <a:gd name="T80" fmla="*/ 1625 w 3869"/>
              <a:gd name="T81" fmla="*/ 1492 h 2177"/>
              <a:gd name="T82" fmla="*/ 1347 w 3869"/>
              <a:gd name="T83" fmla="*/ 1470 h 2177"/>
              <a:gd name="T84" fmla="*/ 875 w 3869"/>
              <a:gd name="T85" fmla="*/ 1566 h 2177"/>
              <a:gd name="T86" fmla="*/ 1648 w 3869"/>
              <a:gd name="T87" fmla="*/ 1342 h 2177"/>
              <a:gd name="T88" fmla="*/ 1329 w 3869"/>
              <a:gd name="T89" fmla="*/ 1243 h 2177"/>
              <a:gd name="T90" fmla="*/ 783 w 3869"/>
              <a:gd name="T91" fmla="*/ 1380 h 2177"/>
              <a:gd name="T92" fmla="*/ 886 w 3869"/>
              <a:gd name="T93" fmla="*/ 1114 h 2177"/>
              <a:gd name="T94" fmla="*/ 2279 w 3869"/>
              <a:gd name="T95" fmla="*/ 2162 h 2177"/>
              <a:gd name="T96" fmla="*/ 3721 w 3869"/>
              <a:gd name="T97" fmla="*/ 2123 h 2177"/>
              <a:gd name="T98" fmla="*/ 2516 w 3869"/>
              <a:gd name="T99" fmla="*/ 2009 h 2177"/>
              <a:gd name="T100" fmla="*/ 3582 w 3869"/>
              <a:gd name="T101" fmla="*/ 1926 h 2177"/>
              <a:gd name="T102" fmla="*/ 3278 w 3869"/>
              <a:gd name="T103" fmla="*/ 1829 h 2177"/>
              <a:gd name="T104" fmla="*/ 2871 w 3869"/>
              <a:gd name="T105" fmla="*/ 1903 h 2177"/>
              <a:gd name="T106" fmla="*/ 2696 w 3869"/>
              <a:gd name="T107" fmla="*/ 1757 h 2177"/>
              <a:gd name="T108" fmla="*/ 2612 w 3869"/>
              <a:gd name="T109" fmla="*/ 1716 h 2177"/>
              <a:gd name="T110" fmla="*/ 2342 w 3869"/>
              <a:gd name="T111" fmla="*/ 1621 h 2177"/>
              <a:gd name="T112" fmla="*/ 3773 w 3869"/>
              <a:gd name="T113" fmla="*/ 1518 h 2177"/>
              <a:gd name="T114" fmla="*/ 3169 w 3869"/>
              <a:gd name="T115" fmla="*/ 1468 h 2177"/>
              <a:gd name="T116" fmla="*/ 2542 w 3869"/>
              <a:gd name="T117" fmla="*/ 1405 h 2177"/>
              <a:gd name="T118" fmla="*/ 3788 w 3869"/>
              <a:gd name="T119" fmla="*/ 1315 h 2177"/>
              <a:gd name="T120" fmla="*/ 3185 w 3869"/>
              <a:gd name="T121" fmla="*/ 1221 h 2177"/>
              <a:gd name="T122" fmla="*/ 2612 w 3869"/>
              <a:gd name="T123" fmla="*/ 1284 h 2177"/>
              <a:gd name="T124" fmla="*/ 2924 w 3869"/>
              <a:gd name="T125" fmla="*/ 1143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9" h="2177">
                <a:moveTo>
                  <a:pt x="89" y="1078"/>
                </a:moveTo>
                <a:cubicBezTo>
                  <a:pt x="81" y="1078"/>
                  <a:pt x="75" y="1075"/>
                  <a:pt x="70" y="1069"/>
                </a:cubicBezTo>
                <a:cubicBezTo>
                  <a:pt x="67" y="1063"/>
                  <a:pt x="65" y="1054"/>
                  <a:pt x="65" y="1042"/>
                </a:cubicBezTo>
                <a:cubicBezTo>
                  <a:pt x="65" y="1028"/>
                  <a:pt x="67" y="1019"/>
                  <a:pt x="71" y="1012"/>
                </a:cubicBezTo>
                <a:cubicBezTo>
                  <a:pt x="76" y="1006"/>
                  <a:pt x="82" y="1002"/>
                  <a:pt x="91" y="1002"/>
                </a:cubicBezTo>
                <a:cubicBezTo>
                  <a:pt x="107" y="1002"/>
                  <a:pt x="115" y="1015"/>
                  <a:pt x="115" y="1040"/>
                </a:cubicBezTo>
                <a:cubicBezTo>
                  <a:pt x="115" y="1052"/>
                  <a:pt x="113" y="1062"/>
                  <a:pt x="108" y="1068"/>
                </a:cubicBezTo>
                <a:cubicBezTo>
                  <a:pt x="103" y="1075"/>
                  <a:pt x="97" y="1078"/>
                  <a:pt x="89" y="1078"/>
                </a:cubicBezTo>
                <a:close/>
                <a:moveTo>
                  <a:pt x="90" y="1012"/>
                </a:moveTo>
                <a:cubicBezTo>
                  <a:pt x="81" y="1012"/>
                  <a:pt x="76" y="1022"/>
                  <a:pt x="76" y="1042"/>
                </a:cubicBezTo>
                <a:cubicBezTo>
                  <a:pt x="76" y="1060"/>
                  <a:pt x="81" y="1068"/>
                  <a:pt x="89" y="1068"/>
                </a:cubicBezTo>
                <a:cubicBezTo>
                  <a:pt x="98" y="1068"/>
                  <a:pt x="103" y="1060"/>
                  <a:pt x="103" y="1041"/>
                </a:cubicBezTo>
                <a:cubicBezTo>
                  <a:pt x="103" y="1021"/>
                  <a:pt x="98" y="1012"/>
                  <a:pt x="90" y="1012"/>
                </a:cubicBezTo>
                <a:close/>
                <a:moveTo>
                  <a:pt x="163" y="1005"/>
                </a:moveTo>
                <a:cubicBezTo>
                  <a:pt x="163" y="1005"/>
                  <a:pt x="163" y="1005"/>
                  <a:pt x="163" y="1005"/>
                </a:cubicBezTo>
                <a:cubicBezTo>
                  <a:pt x="157" y="1005"/>
                  <a:pt x="157" y="1005"/>
                  <a:pt x="157" y="1005"/>
                </a:cubicBezTo>
                <a:cubicBezTo>
                  <a:pt x="155" y="1006"/>
                  <a:pt x="154" y="1007"/>
                  <a:pt x="152" y="1008"/>
                </a:cubicBezTo>
                <a:cubicBezTo>
                  <a:pt x="150" y="1010"/>
                  <a:pt x="148" y="1010"/>
                  <a:pt x="147" y="1011"/>
                </a:cubicBezTo>
                <a:cubicBezTo>
                  <a:pt x="144" y="1012"/>
                  <a:pt x="143" y="1013"/>
                  <a:pt x="142" y="1013"/>
                </a:cubicBezTo>
                <a:cubicBezTo>
                  <a:pt x="139" y="1014"/>
                  <a:pt x="138" y="1015"/>
                  <a:pt x="136" y="1015"/>
                </a:cubicBezTo>
                <a:cubicBezTo>
                  <a:pt x="136" y="1015"/>
                  <a:pt x="136" y="1015"/>
                  <a:pt x="136" y="1026"/>
                </a:cubicBezTo>
                <a:cubicBezTo>
                  <a:pt x="139" y="1025"/>
                  <a:pt x="142" y="1023"/>
                  <a:pt x="144" y="1023"/>
                </a:cubicBezTo>
                <a:cubicBezTo>
                  <a:pt x="147" y="1022"/>
                  <a:pt x="149" y="1021"/>
                  <a:pt x="151" y="1019"/>
                </a:cubicBezTo>
                <a:cubicBezTo>
                  <a:pt x="151" y="1019"/>
                  <a:pt x="151" y="1019"/>
                  <a:pt x="151" y="1078"/>
                </a:cubicBezTo>
                <a:cubicBezTo>
                  <a:pt x="151" y="1078"/>
                  <a:pt x="151" y="1078"/>
                  <a:pt x="163" y="1078"/>
                </a:cubicBezTo>
                <a:cubicBezTo>
                  <a:pt x="163" y="1078"/>
                  <a:pt x="163" y="1078"/>
                  <a:pt x="163" y="1005"/>
                </a:cubicBezTo>
                <a:close/>
                <a:moveTo>
                  <a:pt x="210" y="1005"/>
                </a:moveTo>
                <a:cubicBezTo>
                  <a:pt x="210" y="1005"/>
                  <a:pt x="210" y="1005"/>
                  <a:pt x="210" y="1005"/>
                </a:cubicBezTo>
                <a:cubicBezTo>
                  <a:pt x="205" y="1005"/>
                  <a:pt x="205" y="1005"/>
                  <a:pt x="205" y="1005"/>
                </a:cubicBezTo>
                <a:cubicBezTo>
                  <a:pt x="202" y="1006"/>
                  <a:pt x="201" y="1007"/>
                  <a:pt x="199" y="1008"/>
                </a:cubicBezTo>
                <a:cubicBezTo>
                  <a:pt x="197" y="1010"/>
                  <a:pt x="195" y="1010"/>
                  <a:pt x="194" y="1011"/>
                </a:cubicBezTo>
                <a:cubicBezTo>
                  <a:pt x="192" y="1013"/>
                  <a:pt x="190" y="1013"/>
                  <a:pt x="189" y="1014"/>
                </a:cubicBezTo>
                <a:cubicBezTo>
                  <a:pt x="187" y="1015"/>
                  <a:pt x="185" y="1015"/>
                  <a:pt x="183" y="1015"/>
                </a:cubicBezTo>
                <a:cubicBezTo>
                  <a:pt x="183" y="1015"/>
                  <a:pt x="183" y="1015"/>
                  <a:pt x="183" y="1026"/>
                </a:cubicBezTo>
                <a:cubicBezTo>
                  <a:pt x="186" y="1025"/>
                  <a:pt x="189" y="1024"/>
                  <a:pt x="191" y="1023"/>
                </a:cubicBezTo>
                <a:cubicBezTo>
                  <a:pt x="194" y="1022"/>
                  <a:pt x="196" y="1021"/>
                  <a:pt x="198" y="1019"/>
                </a:cubicBezTo>
                <a:cubicBezTo>
                  <a:pt x="198" y="1019"/>
                  <a:pt x="198" y="1019"/>
                  <a:pt x="198" y="1078"/>
                </a:cubicBezTo>
                <a:cubicBezTo>
                  <a:pt x="198" y="1078"/>
                  <a:pt x="198" y="1078"/>
                  <a:pt x="210" y="1078"/>
                </a:cubicBezTo>
                <a:cubicBezTo>
                  <a:pt x="210" y="1078"/>
                  <a:pt x="210" y="1078"/>
                  <a:pt x="210" y="1005"/>
                </a:cubicBezTo>
                <a:close/>
                <a:moveTo>
                  <a:pt x="256" y="1005"/>
                </a:moveTo>
                <a:cubicBezTo>
                  <a:pt x="256" y="1005"/>
                  <a:pt x="256" y="1005"/>
                  <a:pt x="256" y="1005"/>
                </a:cubicBezTo>
                <a:cubicBezTo>
                  <a:pt x="252" y="1005"/>
                  <a:pt x="252" y="1005"/>
                  <a:pt x="252" y="1005"/>
                </a:cubicBezTo>
                <a:cubicBezTo>
                  <a:pt x="250" y="1006"/>
                  <a:pt x="248" y="1007"/>
                  <a:pt x="246" y="1008"/>
                </a:cubicBezTo>
                <a:cubicBezTo>
                  <a:pt x="245" y="1010"/>
                  <a:pt x="242" y="1010"/>
                  <a:pt x="241" y="1011"/>
                </a:cubicBezTo>
                <a:cubicBezTo>
                  <a:pt x="239" y="1013"/>
                  <a:pt x="237" y="1013"/>
                  <a:pt x="235" y="1014"/>
                </a:cubicBezTo>
                <a:cubicBezTo>
                  <a:pt x="234" y="1015"/>
                  <a:pt x="232" y="1015"/>
                  <a:pt x="230" y="1015"/>
                </a:cubicBezTo>
                <a:cubicBezTo>
                  <a:pt x="230" y="1015"/>
                  <a:pt x="230" y="1015"/>
                  <a:pt x="230" y="1026"/>
                </a:cubicBezTo>
                <a:cubicBezTo>
                  <a:pt x="233" y="1025"/>
                  <a:pt x="236" y="1024"/>
                  <a:pt x="238" y="1023"/>
                </a:cubicBezTo>
                <a:cubicBezTo>
                  <a:pt x="240" y="1022"/>
                  <a:pt x="243" y="1021"/>
                  <a:pt x="245" y="1019"/>
                </a:cubicBezTo>
                <a:cubicBezTo>
                  <a:pt x="245" y="1019"/>
                  <a:pt x="245" y="1019"/>
                  <a:pt x="245" y="1078"/>
                </a:cubicBezTo>
                <a:cubicBezTo>
                  <a:pt x="245" y="1078"/>
                  <a:pt x="245" y="1078"/>
                  <a:pt x="256" y="1078"/>
                </a:cubicBezTo>
                <a:cubicBezTo>
                  <a:pt x="256" y="1078"/>
                  <a:pt x="256" y="1078"/>
                  <a:pt x="256" y="1005"/>
                </a:cubicBezTo>
                <a:close/>
                <a:moveTo>
                  <a:pt x="304" y="1005"/>
                </a:moveTo>
                <a:cubicBezTo>
                  <a:pt x="304" y="1005"/>
                  <a:pt x="304" y="1005"/>
                  <a:pt x="304" y="1005"/>
                </a:cubicBezTo>
                <a:cubicBezTo>
                  <a:pt x="299" y="1005"/>
                  <a:pt x="299" y="1005"/>
                  <a:pt x="299" y="1005"/>
                </a:cubicBezTo>
                <a:cubicBezTo>
                  <a:pt x="296" y="1006"/>
                  <a:pt x="295" y="1007"/>
                  <a:pt x="293" y="1008"/>
                </a:cubicBezTo>
                <a:cubicBezTo>
                  <a:pt x="291" y="1010"/>
                  <a:pt x="290" y="1010"/>
                  <a:pt x="288" y="1011"/>
                </a:cubicBezTo>
                <a:cubicBezTo>
                  <a:pt x="286" y="1013"/>
                  <a:pt x="284" y="1013"/>
                  <a:pt x="283" y="1014"/>
                </a:cubicBezTo>
                <a:cubicBezTo>
                  <a:pt x="280" y="1015"/>
                  <a:pt x="279" y="1015"/>
                  <a:pt x="277" y="1015"/>
                </a:cubicBezTo>
                <a:cubicBezTo>
                  <a:pt x="277" y="1015"/>
                  <a:pt x="277" y="1015"/>
                  <a:pt x="277" y="1026"/>
                </a:cubicBezTo>
                <a:cubicBezTo>
                  <a:pt x="280" y="1025"/>
                  <a:pt x="283" y="1024"/>
                  <a:pt x="285" y="1023"/>
                </a:cubicBezTo>
                <a:cubicBezTo>
                  <a:pt x="288" y="1022"/>
                  <a:pt x="290" y="1021"/>
                  <a:pt x="292" y="1019"/>
                </a:cubicBezTo>
                <a:cubicBezTo>
                  <a:pt x="292" y="1019"/>
                  <a:pt x="292" y="1019"/>
                  <a:pt x="292" y="1078"/>
                </a:cubicBezTo>
                <a:cubicBezTo>
                  <a:pt x="292" y="1078"/>
                  <a:pt x="292" y="1078"/>
                  <a:pt x="304" y="1078"/>
                </a:cubicBezTo>
                <a:cubicBezTo>
                  <a:pt x="304" y="1078"/>
                  <a:pt x="304" y="1078"/>
                  <a:pt x="304" y="1005"/>
                </a:cubicBezTo>
                <a:close/>
                <a:moveTo>
                  <a:pt x="427" y="1005"/>
                </a:moveTo>
                <a:cubicBezTo>
                  <a:pt x="427" y="1005"/>
                  <a:pt x="427" y="1005"/>
                  <a:pt x="427" y="1005"/>
                </a:cubicBezTo>
                <a:cubicBezTo>
                  <a:pt x="421" y="1005"/>
                  <a:pt x="421" y="1005"/>
                  <a:pt x="421" y="1005"/>
                </a:cubicBezTo>
                <a:cubicBezTo>
                  <a:pt x="419" y="1006"/>
                  <a:pt x="418" y="1007"/>
                  <a:pt x="416" y="1008"/>
                </a:cubicBezTo>
                <a:cubicBezTo>
                  <a:pt x="414" y="1010"/>
                  <a:pt x="413" y="1010"/>
                  <a:pt x="411" y="1011"/>
                </a:cubicBezTo>
                <a:cubicBezTo>
                  <a:pt x="409" y="1013"/>
                  <a:pt x="407" y="1013"/>
                  <a:pt x="406" y="1014"/>
                </a:cubicBezTo>
                <a:cubicBezTo>
                  <a:pt x="403" y="1015"/>
                  <a:pt x="402" y="1015"/>
                  <a:pt x="400" y="1015"/>
                </a:cubicBezTo>
                <a:cubicBezTo>
                  <a:pt x="400" y="1015"/>
                  <a:pt x="400" y="1015"/>
                  <a:pt x="400" y="1026"/>
                </a:cubicBezTo>
                <a:cubicBezTo>
                  <a:pt x="403" y="1025"/>
                  <a:pt x="406" y="1024"/>
                  <a:pt x="408" y="1023"/>
                </a:cubicBezTo>
                <a:cubicBezTo>
                  <a:pt x="411" y="1022"/>
                  <a:pt x="413" y="1021"/>
                  <a:pt x="415" y="1019"/>
                </a:cubicBezTo>
                <a:cubicBezTo>
                  <a:pt x="415" y="1019"/>
                  <a:pt x="415" y="1019"/>
                  <a:pt x="415" y="1078"/>
                </a:cubicBezTo>
                <a:cubicBezTo>
                  <a:pt x="415" y="1078"/>
                  <a:pt x="415" y="1078"/>
                  <a:pt x="427" y="1078"/>
                </a:cubicBezTo>
                <a:cubicBezTo>
                  <a:pt x="427" y="1078"/>
                  <a:pt x="427" y="1078"/>
                  <a:pt x="427" y="1005"/>
                </a:cubicBezTo>
                <a:close/>
                <a:moveTo>
                  <a:pt x="474" y="1005"/>
                </a:moveTo>
                <a:cubicBezTo>
                  <a:pt x="474" y="1005"/>
                  <a:pt x="474" y="1005"/>
                  <a:pt x="474" y="1005"/>
                </a:cubicBezTo>
                <a:cubicBezTo>
                  <a:pt x="469" y="1005"/>
                  <a:pt x="469" y="1005"/>
                  <a:pt x="469" y="1005"/>
                </a:cubicBezTo>
                <a:cubicBezTo>
                  <a:pt x="467" y="1006"/>
                  <a:pt x="465" y="1007"/>
                  <a:pt x="463" y="1008"/>
                </a:cubicBezTo>
                <a:cubicBezTo>
                  <a:pt x="462" y="1010"/>
                  <a:pt x="460" y="1010"/>
                  <a:pt x="458" y="1011"/>
                </a:cubicBezTo>
                <a:cubicBezTo>
                  <a:pt x="457" y="1013"/>
                  <a:pt x="454" y="1013"/>
                  <a:pt x="453" y="1014"/>
                </a:cubicBezTo>
                <a:cubicBezTo>
                  <a:pt x="451" y="1015"/>
                  <a:pt x="449" y="1015"/>
                  <a:pt x="447" y="1015"/>
                </a:cubicBezTo>
                <a:cubicBezTo>
                  <a:pt x="447" y="1015"/>
                  <a:pt x="447" y="1015"/>
                  <a:pt x="447" y="1026"/>
                </a:cubicBezTo>
                <a:cubicBezTo>
                  <a:pt x="450" y="1025"/>
                  <a:pt x="453" y="1024"/>
                  <a:pt x="455" y="1023"/>
                </a:cubicBezTo>
                <a:cubicBezTo>
                  <a:pt x="458" y="1022"/>
                  <a:pt x="460" y="1021"/>
                  <a:pt x="462" y="1019"/>
                </a:cubicBezTo>
                <a:cubicBezTo>
                  <a:pt x="462" y="1019"/>
                  <a:pt x="462" y="1019"/>
                  <a:pt x="462" y="1078"/>
                </a:cubicBezTo>
                <a:cubicBezTo>
                  <a:pt x="462" y="1078"/>
                  <a:pt x="462" y="1078"/>
                  <a:pt x="474" y="1078"/>
                </a:cubicBezTo>
                <a:cubicBezTo>
                  <a:pt x="474" y="1078"/>
                  <a:pt x="474" y="1078"/>
                  <a:pt x="474" y="1005"/>
                </a:cubicBezTo>
                <a:close/>
                <a:moveTo>
                  <a:pt x="522" y="1005"/>
                </a:moveTo>
                <a:cubicBezTo>
                  <a:pt x="522" y="1005"/>
                  <a:pt x="522" y="1005"/>
                  <a:pt x="522" y="1005"/>
                </a:cubicBezTo>
                <a:cubicBezTo>
                  <a:pt x="517" y="1005"/>
                  <a:pt x="517" y="1005"/>
                  <a:pt x="517" y="1005"/>
                </a:cubicBezTo>
                <a:cubicBezTo>
                  <a:pt x="515" y="1006"/>
                  <a:pt x="513" y="1007"/>
                  <a:pt x="511" y="1008"/>
                </a:cubicBezTo>
                <a:cubicBezTo>
                  <a:pt x="509" y="1010"/>
                  <a:pt x="508" y="1010"/>
                  <a:pt x="506" y="1011"/>
                </a:cubicBezTo>
                <a:cubicBezTo>
                  <a:pt x="504" y="1013"/>
                  <a:pt x="502" y="1013"/>
                  <a:pt x="501" y="1014"/>
                </a:cubicBezTo>
                <a:cubicBezTo>
                  <a:pt x="498" y="1015"/>
                  <a:pt x="497" y="1015"/>
                  <a:pt x="495" y="1015"/>
                </a:cubicBezTo>
                <a:cubicBezTo>
                  <a:pt x="495" y="1015"/>
                  <a:pt x="495" y="1015"/>
                  <a:pt x="495" y="1026"/>
                </a:cubicBezTo>
                <a:cubicBezTo>
                  <a:pt x="498" y="1025"/>
                  <a:pt x="501" y="1024"/>
                  <a:pt x="503" y="1023"/>
                </a:cubicBezTo>
                <a:cubicBezTo>
                  <a:pt x="506" y="1022"/>
                  <a:pt x="508" y="1021"/>
                  <a:pt x="510" y="1019"/>
                </a:cubicBezTo>
                <a:cubicBezTo>
                  <a:pt x="510" y="1019"/>
                  <a:pt x="510" y="1019"/>
                  <a:pt x="510" y="1078"/>
                </a:cubicBezTo>
                <a:cubicBezTo>
                  <a:pt x="510" y="1078"/>
                  <a:pt x="510" y="1078"/>
                  <a:pt x="522" y="1078"/>
                </a:cubicBezTo>
                <a:cubicBezTo>
                  <a:pt x="522" y="1078"/>
                  <a:pt x="522" y="1078"/>
                  <a:pt x="522" y="1005"/>
                </a:cubicBezTo>
                <a:close/>
                <a:moveTo>
                  <a:pt x="568" y="1005"/>
                </a:moveTo>
                <a:cubicBezTo>
                  <a:pt x="568" y="1005"/>
                  <a:pt x="568" y="1005"/>
                  <a:pt x="568" y="1005"/>
                </a:cubicBezTo>
                <a:cubicBezTo>
                  <a:pt x="564" y="1005"/>
                  <a:pt x="564" y="1005"/>
                  <a:pt x="564" y="1005"/>
                </a:cubicBezTo>
                <a:cubicBezTo>
                  <a:pt x="562" y="1006"/>
                  <a:pt x="560" y="1007"/>
                  <a:pt x="558" y="1008"/>
                </a:cubicBezTo>
                <a:cubicBezTo>
                  <a:pt x="557" y="1010"/>
                  <a:pt x="554" y="1010"/>
                  <a:pt x="553" y="1011"/>
                </a:cubicBezTo>
                <a:cubicBezTo>
                  <a:pt x="551" y="1012"/>
                  <a:pt x="549" y="1013"/>
                  <a:pt x="547" y="1013"/>
                </a:cubicBezTo>
                <a:cubicBezTo>
                  <a:pt x="546" y="1014"/>
                  <a:pt x="544" y="1015"/>
                  <a:pt x="542" y="1015"/>
                </a:cubicBezTo>
                <a:cubicBezTo>
                  <a:pt x="542" y="1015"/>
                  <a:pt x="542" y="1015"/>
                  <a:pt x="542" y="1026"/>
                </a:cubicBezTo>
                <a:cubicBezTo>
                  <a:pt x="545" y="1025"/>
                  <a:pt x="548" y="1023"/>
                  <a:pt x="550" y="1023"/>
                </a:cubicBezTo>
                <a:cubicBezTo>
                  <a:pt x="552" y="1022"/>
                  <a:pt x="555" y="1021"/>
                  <a:pt x="557" y="1019"/>
                </a:cubicBezTo>
                <a:cubicBezTo>
                  <a:pt x="557" y="1019"/>
                  <a:pt x="557" y="1019"/>
                  <a:pt x="557" y="1078"/>
                </a:cubicBezTo>
                <a:cubicBezTo>
                  <a:pt x="557" y="1078"/>
                  <a:pt x="557" y="1078"/>
                  <a:pt x="568" y="1078"/>
                </a:cubicBezTo>
                <a:cubicBezTo>
                  <a:pt x="568" y="1078"/>
                  <a:pt x="568" y="1078"/>
                  <a:pt x="568" y="1005"/>
                </a:cubicBezTo>
                <a:close/>
                <a:moveTo>
                  <a:pt x="325" y="1037"/>
                </a:moveTo>
                <a:cubicBezTo>
                  <a:pt x="325" y="1037"/>
                  <a:pt x="325" y="1037"/>
                  <a:pt x="325" y="1037"/>
                </a:cubicBezTo>
                <a:cubicBezTo>
                  <a:pt x="324" y="1045"/>
                  <a:pt x="324" y="1045"/>
                  <a:pt x="324" y="1045"/>
                </a:cubicBezTo>
                <a:cubicBezTo>
                  <a:pt x="331" y="1046"/>
                  <a:pt x="331" y="1049"/>
                  <a:pt x="331" y="1051"/>
                </a:cubicBezTo>
                <a:cubicBezTo>
                  <a:pt x="331" y="1053"/>
                  <a:pt x="331" y="1056"/>
                  <a:pt x="331" y="1058"/>
                </a:cubicBezTo>
                <a:cubicBezTo>
                  <a:pt x="331" y="1061"/>
                  <a:pt x="330" y="1063"/>
                  <a:pt x="330" y="1065"/>
                </a:cubicBezTo>
                <a:cubicBezTo>
                  <a:pt x="330" y="1075"/>
                  <a:pt x="336" y="1078"/>
                  <a:pt x="345" y="1078"/>
                </a:cubicBezTo>
                <a:cubicBezTo>
                  <a:pt x="345" y="1078"/>
                  <a:pt x="345" y="1078"/>
                  <a:pt x="348" y="1078"/>
                </a:cubicBezTo>
                <a:cubicBezTo>
                  <a:pt x="348" y="1078"/>
                  <a:pt x="348" y="1078"/>
                  <a:pt x="348" y="1069"/>
                </a:cubicBezTo>
                <a:cubicBezTo>
                  <a:pt x="348" y="1069"/>
                  <a:pt x="348" y="1069"/>
                  <a:pt x="347" y="1069"/>
                </a:cubicBezTo>
                <a:cubicBezTo>
                  <a:pt x="343" y="1069"/>
                  <a:pt x="342" y="1066"/>
                  <a:pt x="342" y="1063"/>
                </a:cubicBezTo>
                <a:cubicBezTo>
                  <a:pt x="342" y="1062"/>
                  <a:pt x="342" y="1060"/>
                  <a:pt x="342" y="1058"/>
                </a:cubicBezTo>
                <a:cubicBezTo>
                  <a:pt x="342" y="1057"/>
                  <a:pt x="343" y="1055"/>
                  <a:pt x="343" y="1052"/>
                </a:cubicBezTo>
                <a:cubicBezTo>
                  <a:pt x="343" y="1045"/>
                  <a:pt x="340" y="1042"/>
                  <a:pt x="334" y="1041"/>
                </a:cubicBezTo>
                <a:cubicBezTo>
                  <a:pt x="334" y="1041"/>
                  <a:pt x="334" y="1041"/>
                  <a:pt x="334" y="1041"/>
                </a:cubicBezTo>
                <a:cubicBezTo>
                  <a:pt x="340" y="1040"/>
                  <a:pt x="343" y="1037"/>
                  <a:pt x="343" y="1030"/>
                </a:cubicBezTo>
                <a:cubicBezTo>
                  <a:pt x="343" y="1027"/>
                  <a:pt x="342" y="1026"/>
                  <a:pt x="342" y="1024"/>
                </a:cubicBezTo>
                <a:cubicBezTo>
                  <a:pt x="342" y="1022"/>
                  <a:pt x="342" y="1020"/>
                  <a:pt x="342" y="1019"/>
                </a:cubicBezTo>
                <a:cubicBezTo>
                  <a:pt x="342" y="1016"/>
                  <a:pt x="343" y="1013"/>
                  <a:pt x="347" y="1013"/>
                </a:cubicBezTo>
                <a:cubicBezTo>
                  <a:pt x="347" y="1013"/>
                  <a:pt x="347" y="1013"/>
                  <a:pt x="348" y="1013"/>
                </a:cubicBezTo>
                <a:cubicBezTo>
                  <a:pt x="348" y="1013"/>
                  <a:pt x="348" y="1013"/>
                  <a:pt x="348" y="1004"/>
                </a:cubicBezTo>
                <a:cubicBezTo>
                  <a:pt x="348" y="1004"/>
                  <a:pt x="348" y="1004"/>
                  <a:pt x="345" y="1004"/>
                </a:cubicBezTo>
                <a:cubicBezTo>
                  <a:pt x="336" y="1004"/>
                  <a:pt x="330" y="1008"/>
                  <a:pt x="330" y="1017"/>
                </a:cubicBezTo>
                <a:cubicBezTo>
                  <a:pt x="330" y="1019"/>
                  <a:pt x="331" y="1022"/>
                  <a:pt x="331" y="1024"/>
                </a:cubicBezTo>
                <a:cubicBezTo>
                  <a:pt x="331" y="1026"/>
                  <a:pt x="331" y="1029"/>
                  <a:pt x="331" y="1031"/>
                </a:cubicBezTo>
                <a:cubicBezTo>
                  <a:pt x="331" y="1033"/>
                  <a:pt x="331" y="1037"/>
                  <a:pt x="325" y="1037"/>
                </a:cubicBezTo>
                <a:close/>
                <a:moveTo>
                  <a:pt x="379" y="1045"/>
                </a:moveTo>
                <a:cubicBezTo>
                  <a:pt x="379" y="1045"/>
                  <a:pt x="379" y="1045"/>
                  <a:pt x="379" y="1045"/>
                </a:cubicBezTo>
                <a:cubicBezTo>
                  <a:pt x="379" y="1037"/>
                  <a:pt x="379" y="1037"/>
                  <a:pt x="379" y="1037"/>
                </a:cubicBezTo>
                <a:cubicBezTo>
                  <a:pt x="373" y="1037"/>
                  <a:pt x="372" y="1033"/>
                  <a:pt x="372" y="1031"/>
                </a:cubicBezTo>
                <a:cubicBezTo>
                  <a:pt x="372" y="1029"/>
                  <a:pt x="372" y="1026"/>
                  <a:pt x="373" y="1024"/>
                </a:cubicBezTo>
                <a:cubicBezTo>
                  <a:pt x="373" y="1022"/>
                  <a:pt x="373" y="1019"/>
                  <a:pt x="373" y="1017"/>
                </a:cubicBezTo>
                <a:cubicBezTo>
                  <a:pt x="373" y="1008"/>
                  <a:pt x="368" y="1004"/>
                  <a:pt x="359" y="1004"/>
                </a:cubicBezTo>
                <a:cubicBezTo>
                  <a:pt x="359" y="1004"/>
                  <a:pt x="359" y="1004"/>
                  <a:pt x="355" y="1004"/>
                </a:cubicBezTo>
                <a:cubicBezTo>
                  <a:pt x="355" y="1004"/>
                  <a:pt x="355" y="1004"/>
                  <a:pt x="355" y="1013"/>
                </a:cubicBezTo>
                <a:cubicBezTo>
                  <a:pt x="355" y="1013"/>
                  <a:pt x="355" y="1013"/>
                  <a:pt x="357" y="1013"/>
                </a:cubicBezTo>
                <a:cubicBezTo>
                  <a:pt x="360" y="1013"/>
                  <a:pt x="362" y="1016"/>
                  <a:pt x="362" y="1019"/>
                </a:cubicBezTo>
                <a:cubicBezTo>
                  <a:pt x="362" y="1020"/>
                  <a:pt x="361" y="1022"/>
                  <a:pt x="361" y="1024"/>
                </a:cubicBezTo>
                <a:cubicBezTo>
                  <a:pt x="361" y="1026"/>
                  <a:pt x="361" y="1027"/>
                  <a:pt x="361" y="1030"/>
                </a:cubicBezTo>
                <a:cubicBezTo>
                  <a:pt x="361" y="1037"/>
                  <a:pt x="364" y="1040"/>
                  <a:pt x="369" y="1041"/>
                </a:cubicBezTo>
                <a:cubicBezTo>
                  <a:pt x="369" y="1041"/>
                  <a:pt x="369" y="1041"/>
                  <a:pt x="369" y="1041"/>
                </a:cubicBezTo>
                <a:cubicBezTo>
                  <a:pt x="364" y="1042"/>
                  <a:pt x="361" y="1045"/>
                  <a:pt x="361" y="1052"/>
                </a:cubicBezTo>
                <a:cubicBezTo>
                  <a:pt x="361" y="1055"/>
                  <a:pt x="361" y="1057"/>
                  <a:pt x="361" y="1058"/>
                </a:cubicBezTo>
                <a:cubicBezTo>
                  <a:pt x="361" y="1060"/>
                  <a:pt x="362" y="1062"/>
                  <a:pt x="362" y="1063"/>
                </a:cubicBezTo>
                <a:cubicBezTo>
                  <a:pt x="362" y="1066"/>
                  <a:pt x="361" y="1069"/>
                  <a:pt x="357" y="1069"/>
                </a:cubicBezTo>
                <a:cubicBezTo>
                  <a:pt x="357" y="1069"/>
                  <a:pt x="357" y="1069"/>
                  <a:pt x="355" y="1069"/>
                </a:cubicBezTo>
                <a:cubicBezTo>
                  <a:pt x="355" y="1069"/>
                  <a:pt x="355" y="1069"/>
                  <a:pt x="355" y="1078"/>
                </a:cubicBezTo>
                <a:cubicBezTo>
                  <a:pt x="355" y="1078"/>
                  <a:pt x="355" y="1078"/>
                  <a:pt x="359" y="1078"/>
                </a:cubicBezTo>
                <a:cubicBezTo>
                  <a:pt x="368" y="1078"/>
                  <a:pt x="373" y="1075"/>
                  <a:pt x="373" y="1065"/>
                </a:cubicBezTo>
                <a:cubicBezTo>
                  <a:pt x="373" y="1063"/>
                  <a:pt x="373" y="1061"/>
                  <a:pt x="373" y="1058"/>
                </a:cubicBezTo>
                <a:cubicBezTo>
                  <a:pt x="372" y="1056"/>
                  <a:pt x="372" y="1053"/>
                  <a:pt x="372" y="1051"/>
                </a:cubicBezTo>
                <a:cubicBezTo>
                  <a:pt x="372" y="1049"/>
                  <a:pt x="373" y="1046"/>
                  <a:pt x="379" y="1045"/>
                </a:cubicBezTo>
                <a:close/>
                <a:moveTo>
                  <a:pt x="706" y="1037"/>
                </a:moveTo>
                <a:cubicBezTo>
                  <a:pt x="706" y="1037"/>
                  <a:pt x="706" y="1037"/>
                  <a:pt x="706" y="1037"/>
                </a:cubicBezTo>
                <a:cubicBezTo>
                  <a:pt x="706" y="1045"/>
                  <a:pt x="706" y="1045"/>
                  <a:pt x="706" y="1045"/>
                </a:cubicBezTo>
                <a:cubicBezTo>
                  <a:pt x="712" y="1046"/>
                  <a:pt x="713" y="1049"/>
                  <a:pt x="713" y="1051"/>
                </a:cubicBezTo>
                <a:cubicBezTo>
                  <a:pt x="713" y="1053"/>
                  <a:pt x="713" y="1056"/>
                  <a:pt x="713" y="1058"/>
                </a:cubicBezTo>
                <a:cubicBezTo>
                  <a:pt x="712" y="1061"/>
                  <a:pt x="712" y="1063"/>
                  <a:pt x="712" y="1065"/>
                </a:cubicBezTo>
                <a:cubicBezTo>
                  <a:pt x="712" y="1075"/>
                  <a:pt x="718" y="1078"/>
                  <a:pt x="726" y="1078"/>
                </a:cubicBezTo>
                <a:cubicBezTo>
                  <a:pt x="726" y="1078"/>
                  <a:pt x="726" y="1078"/>
                  <a:pt x="730" y="1078"/>
                </a:cubicBezTo>
                <a:cubicBezTo>
                  <a:pt x="730" y="1078"/>
                  <a:pt x="730" y="1078"/>
                  <a:pt x="730" y="1069"/>
                </a:cubicBezTo>
                <a:cubicBezTo>
                  <a:pt x="730" y="1069"/>
                  <a:pt x="730" y="1069"/>
                  <a:pt x="728" y="1069"/>
                </a:cubicBezTo>
                <a:cubicBezTo>
                  <a:pt x="725" y="1069"/>
                  <a:pt x="724" y="1066"/>
                  <a:pt x="724" y="1063"/>
                </a:cubicBezTo>
                <a:cubicBezTo>
                  <a:pt x="724" y="1062"/>
                  <a:pt x="724" y="1060"/>
                  <a:pt x="724" y="1058"/>
                </a:cubicBezTo>
                <a:cubicBezTo>
                  <a:pt x="724" y="1057"/>
                  <a:pt x="724" y="1055"/>
                  <a:pt x="724" y="1052"/>
                </a:cubicBezTo>
                <a:cubicBezTo>
                  <a:pt x="724" y="1045"/>
                  <a:pt x="721" y="1042"/>
                  <a:pt x="716" y="1041"/>
                </a:cubicBezTo>
                <a:cubicBezTo>
                  <a:pt x="716" y="1041"/>
                  <a:pt x="716" y="1041"/>
                  <a:pt x="716" y="1041"/>
                </a:cubicBezTo>
                <a:cubicBezTo>
                  <a:pt x="721" y="1040"/>
                  <a:pt x="724" y="1037"/>
                  <a:pt x="724" y="1030"/>
                </a:cubicBezTo>
                <a:cubicBezTo>
                  <a:pt x="724" y="1027"/>
                  <a:pt x="724" y="1026"/>
                  <a:pt x="724" y="1024"/>
                </a:cubicBezTo>
                <a:cubicBezTo>
                  <a:pt x="724" y="1022"/>
                  <a:pt x="724" y="1020"/>
                  <a:pt x="724" y="1019"/>
                </a:cubicBezTo>
                <a:cubicBezTo>
                  <a:pt x="724" y="1016"/>
                  <a:pt x="725" y="1013"/>
                  <a:pt x="728" y="1013"/>
                </a:cubicBezTo>
                <a:cubicBezTo>
                  <a:pt x="728" y="1013"/>
                  <a:pt x="728" y="1013"/>
                  <a:pt x="730" y="1013"/>
                </a:cubicBezTo>
                <a:cubicBezTo>
                  <a:pt x="730" y="1013"/>
                  <a:pt x="730" y="1013"/>
                  <a:pt x="730" y="1004"/>
                </a:cubicBezTo>
                <a:cubicBezTo>
                  <a:pt x="730" y="1004"/>
                  <a:pt x="730" y="1004"/>
                  <a:pt x="726" y="1004"/>
                </a:cubicBezTo>
                <a:cubicBezTo>
                  <a:pt x="717" y="1004"/>
                  <a:pt x="712" y="1008"/>
                  <a:pt x="712" y="1017"/>
                </a:cubicBezTo>
                <a:cubicBezTo>
                  <a:pt x="712" y="1019"/>
                  <a:pt x="712" y="1022"/>
                  <a:pt x="712" y="1024"/>
                </a:cubicBezTo>
                <a:cubicBezTo>
                  <a:pt x="713" y="1026"/>
                  <a:pt x="713" y="1029"/>
                  <a:pt x="713" y="1031"/>
                </a:cubicBezTo>
                <a:cubicBezTo>
                  <a:pt x="713" y="1033"/>
                  <a:pt x="712" y="1037"/>
                  <a:pt x="706" y="1037"/>
                </a:cubicBezTo>
                <a:close/>
                <a:moveTo>
                  <a:pt x="761" y="1045"/>
                </a:moveTo>
                <a:cubicBezTo>
                  <a:pt x="761" y="1045"/>
                  <a:pt x="761" y="1045"/>
                  <a:pt x="761" y="1045"/>
                </a:cubicBezTo>
                <a:cubicBezTo>
                  <a:pt x="761" y="1037"/>
                  <a:pt x="761" y="1037"/>
                  <a:pt x="761" y="1037"/>
                </a:cubicBezTo>
                <a:cubicBezTo>
                  <a:pt x="754" y="1037"/>
                  <a:pt x="754" y="1033"/>
                  <a:pt x="754" y="1031"/>
                </a:cubicBezTo>
                <a:cubicBezTo>
                  <a:pt x="754" y="1029"/>
                  <a:pt x="754" y="1026"/>
                  <a:pt x="754" y="1024"/>
                </a:cubicBezTo>
                <a:cubicBezTo>
                  <a:pt x="755" y="1022"/>
                  <a:pt x="755" y="1019"/>
                  <a:pt x="755" y="1017"/>
                </a:cubicBezTo>
                <a:cubicBezTo>
                  <a:pt x="755" y="1008"/>
                  <a:pt x="750" y="1004"/>
                  <a:pt x="740" y="1004"/>
                </a:cubicBezTo>
                <a:cubicBezTo>
                  <a:pt x="740" y="1004"/>
                  <a:pt x="740" y="1004"/>
                  <a:pt x="737" y="1004"/>
                </a:cubicBezTo>
                <a:cubicBezTo>
                  <a:pt x="737" y="1004"/>
                  <a:pt x="737" y="1004"/>
                  <a:pt x="737" y="1013"/>
                </a:cubicBezTo>
                <a:cubicBezTo>
                  <a:pt x="737" y="1013"/>
                  <a:pt x="737" y="1013"/>
                  <a:pt x="738" y="1013"/>
                </a:cubicBezTo>
                <a:cubicBezTo>
                  <a:pt x="742" y="1013"/>
                  <a:pt x="743" y="1016"/>
                  <a:pt x="743" y="1019"/>
                </a:cubicBezTo>
                <a:cubicBezTo>
                  <a:pt x="743" y="1020"/>
                  <a:pt x="743" y="1022"/>
                  <a:pt x="743" y="1024"/>
                </a:cubicBezTo>
                <a:cubicBezTo>
                  <a:pt x="743" y="1026"/>
                  <a:pt x="743" y="1027"/>
                  <a:pt x="743" y="1030"/>
                </a:cubicBezTo>
                <a:cubicBezTo>
                  <a:pt x="743" y="1037"/>
                  <a:pt x="745" y="1040"/>
                  <a:pt x="751" y="1041"/>
                </a:cubicBezTo>
                <a:cubicBezTo>
                  <a:pt x="751" y="1041"/>
                  <a:pt x="751" y="1041"/>
                  <a:pt x="751" y="1041"/>
                </a:cubicBezTo>
                <a:cubicBezTo>
                  <a:pt x="745" y="1042"/>
                  <a:pt x="743" y="1045"/>
                  <a:pt x="743" y="1052"/>
                </a:cubicBezTo>
                <a:cubicBezTo>
                  <a:pt x="743" y="1055"/>
                  <a:pt x="743" y="1057"/>
                  <a:pt x="743" y="1058"/>
                </a:cubicBezTo>
                <a:cubicBezTo>
                  <a:pt x="743" y="1060"/>
                  <a:pt x="743" y="1062"/>
                  <a:pt x="743" y="1063"/>
                </a:cubicBezTo>
                <a:cubicBezTo>
                  <a:pt x="743" y="1066"/>
                  <a:pt x="742" y="1069"/>
                  <a:pt x="738" y="1069"/>
                </a:cubicBezTo>
                <a:cubicBezTo>
                  <a:pt x="738" y="1069"/>
                  <a:pt x="738" y="1069"/>
                  <a:pt x="737" y="1069"/>
                </a:cubicBezTo>
                <a:cubicBezTo>
                  <a:pt x="737" y="1069"/>
                  <a:pt x="737" y="1069"/>
                  <a:pt x="737" y="1078"/>
                </a:cubicBezTo>
                <a:cubicBezTo>
                  <a:pt x="737" y="1078"/>
                  <a:pt x="737" y="1078"/>
                  <a:pt x="740" y="1078"/>
                </a:cubicBezTo>
                <a:cubicBezTo>
                  <a:pt x="749" y="1078"/>
                  <a:pt x="755" y="1075"/>
                  <a:pt x="755" y="1065"/>
                </a:cubicBezTo>
                <a:cubicBezTo>
                  <a:pt x="755" y="1063"/>
                  <a:pt x="755" y="1061"/>
                  <a:pt x="754" y="1058"/>
                </a:cubicBezTo>
                <a:cubicBezTo>
                  <a:pt x="754" y="1056"/>
                  <a:pt x="754" y="1053"/>
                  <a:pt x="754" y="1051"/>
                </a:cubicBezTo>
                <a:cubicBezTo>
                  <a:pt x="754" y="1049"/>
                  <a:pt x="754" y="1046"/>
                  <a:pt x="761" y="1045"/>
                </a:cubicBezTo>
                <a:close/>
                <a:moveTo>
                  <a:pt x="808" y="1005"/>
                </a:moveTo>
                <a:cubicBezTo>
                  <a:pt x="808" y="1005"/>
                  <a:pt x="808" y="1005"/>
                  <a:pt x="808" y="1005"/>
                </a:cubicBezTo>
                <a:cubicBezTo>
                  <a:pt x="803" y="1005"/>
                  <a:pt x="803" y="1005"/>
                  <a:pt x="803" y="1005"/>
                </a:cubicBezTo>
                <a:cubicBezTo>
                  <a:pt x="801" y="1006"/>
                  <a:pt x="799" y="1007"/>
                  <a:pt x="797" y="1008"/>
                </a:cubicBezTo>
                <a:cubicBezTo>
                  <a:pt x="796" y="1010"/>
                  <a:pt x="794" y="1010"/>
                  <a:pt x="792" y="1011"/>
                </a:cubicBezTo>
                <a:cubicBezTo>
                  <a:pt x="790" y="1012"/>
                  <a:pt x="789" y="1013"/>
                  <a:pt x="787" y="1013"/>
                </a:cubicBezTo>
                <a:cubicBezTo>
                  <a:pt x="785" y="1014"/>
                  <a:pt x="783" y="1015"/>
                  <a:pt x="781" y="1015"/>
                </a:cubicBezTo>
                <a:cubicBezTo>
                  <a:pt x="781" y="1015"/>
                  <a:pt x="781" y="1015"/>
                  <a:pt x="781" y="1026"/>
                </a:cubicBezTo>
                <a:cubicBezTo>
                  <a:pt x="784" y="1025"/>
                  <a:pt x="787" y="1023"/>
                  <a:pt x="789" y="1023"/>
                </a:cubicBezTo>
                <a:cubicBezTo>
                  <a:pt x="792" y="1022"/>
                  <a:pt x="794" y="1021"/>
                  <a:pt x="797" y="1019"/>
                </a:cubicBezTo>
                <a:cubicBezTo>
                  <a:pt x="797" y="1019"/>
                  <a:pt x="797" y="1019"/>
                  <a:pt x="797" y="1078"/>
                </a:cubicBezTo>
                <a:cubicBezTo>
                  <a:pt x="797" y="1078"/>
                  <a:pt x="797" y="1078"/>
                  <a:pt x="808" y="1078"/>
                </a:cubicBezTo>
                <a:cubicBezTo>
                  <a:pt x="808" y="1078"/>
                  <a:pt x="808" y="1078"/>
                  <a:pt x="808" y="1005"/>
                </a:cubicBezTo>
                <a:close/>
                <a:moveTo>
                  <a:pt x="855" y="1005"/>
                </a:moveTo>
                <a:cubicBezTo>
                  <a:pt x="855" y="1005"/>
                  <a:pt x="855" y="1005"/>
                  <a:pt x="855" y="1005"/>
                </a:cubicBezTo>
                <a:cubicBezTo>
                  <a:pt x="850" y="1005"/>
                  <a:pt x="850" y="1005"/>
                  <a:pt x="850" y="1005"/>
                </a:cubicBezTo>
                <a:cubicBezTo>
                  <a:pt x="848" y="1006"/>
                  <a:pt x="847" y="1007"/>
                  <a:pt x="845" y="1008"/>
                </a:cubicBezTo>
                <a:cubicBezTo>
                  <a:pt x="843" y="1010"/>
                  <a:pt x="841" y="1010"/>
                  <a:pt x="840" y="1011"/>
                </a:cubicBezTo>
                <a:cubicBezTo>
                  <a:pt x="838" y="1013"/>
                  <a:pt x="836" y="1013"/>
                  <a:pt x="835" y="1014"/>
                </a:cubicBezTo>
                <a:cubicBezTo>
                  <a:pt x="832" y="1015"/>
                  <a:pt x="831" y="1015"/>
                  <a:pt x="829" y="1015"/>
                </a:cubicBezTo>
                <a:cubicBezTo>
                  <a:pt x="829" y="1015"/>
                  <a:pt x="829" y="1015"/>
                  <a:pt x="829" y="1026"/>
                </a:cubicBezTo>
                <a:cubicBezTo>
                  <a:pt x="832" y="1025"/>
                  <a:pt x="835" y="1024"/>
                  <a:pt x="837" y="1023"/>
                </a:cubicBezTo>
                <a:cubicBezTo>
                  <a:pt x="840" y="1022"/>
                  <a:pt x="842" y="1021"/>
                  <a:pt x="844" y="1019"/>
                </a:cubicBezTo>
                <a:cubicBezTo>
                  <a:pt x="844" y="1019"/>
                  <a:pt x="844" y="1019"/>
                  <a:pt x="844" y="1078"/>
                </a:cubicBezTo>
                <a:cubicBezTo>
                  <a:pt x="844" y="1078"/>
                  <a:pt x="844" y="1078"/>
                  <a:pt x="855" y="1078"/>
                </a:cubicBezTo>
                <a:cubicBezTo>
                  <a:pt x="855" y="1078"/>
                  <a:pt x="855" y="1078"/>
                  <a:pt x="855" y="1005"/>
                </a:cubicBezTo>
                <a:close/>
                <a:moveTo>
                  <a:pt x="902" y="1005"/>
                </a:moveTo>
                <a:cubicBezTo>
                  <a:pt x="902" y="1005"/>
                  <a:pt x="902" y="1005"/>
                  <a:pt x="902" y="1005"/>
                </a:cubicBezTo>
                <a:cubicBezTo>
                  <a:pt x="897" y="1005"/>
                  <a:pt x="897" y="1005"/>
                  <a:pt x="897" y="1005"/>
                </a:cubicBezTo>
                <a:cubicBezTo>
                  <a:pt x="895" y="1006"/>
                  <a:pt x="894" y="1007"/>
                  <a:pt x="892" y="1008"/>
                </a:cubicBezTo>
                <a:cubicBezTo>
                  <a:pt x="890" y="1010"/>
                  <a:pt x="888" y="1010"/>
                  <a:pt x="887" y="1011"/>
                </a:cubicBezTo>
                <a:cubicBezTo>
                  <a:pt x="884" y="1013"/>
                  <a:pt x="883" y="1013"/>
                  <a:pt x="881" y="1014"/>
                </a:cubicBezTo>
                <a:cubicBezTo>
                  <a:pt x="879" y="1015"/>
                  <a:pt x="877" y="1015"/>
                  <a:pt x="876" y="1015"/>
                </a:cubicBezTo>
                <a:cubicBezTo>
                  <a:pt x="876" y="1015"/>
                  <a:pt x="876" y="1015"/>
                  <a:pt x="876" y="1026"/>
                </a:cubicBezTo>
                <a:cubicBezTo>
                  <a:pt x="879" y="1025"/>
                  <a:pt x="882" y="1024"/>
                  <a:pt x="884" y="1023"/>
                </a:cubicBezTo>
                <a:cubicBezTo>
                  <a:pt x="886" y="1022"/>
                  <a:pt x="889" y="1021"/>
                  <a:pt x="890" y="1019"/>
                </a:cubicBezTo>
                <a:cubicBezTo>
                  <a:pt x="890" y="1019"/>
                  <a:pt x="890" y="1019"/>
                  <a:pt x="890" y="1078"/>
                </a:cubicBezTo>
                <a:cubicBezTo>
                  <a:pt x="890" y="1078"/>
                  <a:pt x="890" y="1078"/>
                  <a:pt x="902" y="1078"/>
                </a:cubicBezTo>
                <a:cubicBezTo>
                  <a:pt x="902" y="1078"/>
                  <a:pt x="902" y="1078"/>
                  <a:pt x="902" y="1005"/>
                </a:cubicBezTo>
                <a:close/>
                <a:moveTo>
                  <a:pt x="1025" y="1005"/>
                </a:moveTo>
                <a:cubicBezTo>
                  <a:pt x="1025" y="1005"/>
                  <a:pt x="1025" y="1005"/>
                  <a:pt x="1025" y="1005"/>
                </a:cubicBezTo>
                <a:cubicBezTo>
                  <a:pt x="1020" y="1005"/>
                  <a:pt x="1020" y="1005"/>
                  <a:pt x="1020" y="1005"/>
                </a:cubicBezTo>
                <a:cubicBezTo>
                  <a:pt x="1018" y="1006"/>
                  <a:pt x="1016" y="1007"/>
                  <a:pt x="1014" y="1008"/>
                </a:cubicBezTo>
                <a:cubicBezTo>
                  <a:pt x="1013" y="1010"/>
                  <a:pt x="1011" y="1010"/>
                  <a:pt x="1009" y="1011"/>
                </a:cubicBezTo>
                <a:cubicBezTo>
                  <a:pt x="1007" y="1013"/>
                  <a:pt x="1005" y="1013"/>
                  <a:pt x="1004" y="1014"/>
                </a:cubicBezTo>
                <a:cubicBezTo>
                  <a:pt x="1001" y="1015"/>
                  <a:pt x="1000" y="1015"/>
                  <a:pt x="998" y="1015"/>
                </a:cubicBezTo>
                <a:cubicBezTo>
                  <a:pt x="998" y="1015"/>
                  <a:pt x="998" y="1015"/>
                  <a:pt x="998" y="1026"/>
                </a:cubicBezTo>
                <a:cubicBezTo>
                  <a:pt x="1001" y="1025"/>
                  <a:pt x="1004" y="1024"/>
                  <a:pt x="1007" y="1023"/>
                </a:cubicBezTo>
                <a:cubicBezTo>
                  <a:pt x="1009" y="1022"/>
                  <a:pt x="1011" y="1021"/>
                  <a:pt x="1013" y="1019"/>
                </a:cubicBezTo>
                <a:cubicBezTo>
                  <a:pt x="1013" y="1019"/>
                  <a:pt x="1013" y="1019"/>
                  <a:pt x="1013" y="1078"/>
                </a:cubicBezTo>
                <a:cubicBezTo>
                  <a:pt x="1013" y="1078"/>
                  <a:pt x="1013" y="1078"/>
                  <a:pt x="1025" y="1078"/>
                </a:cubicBezTo>
                <a:cubicBezTo>
                  <a:pt x="1025" y="1078"/>
                  <a:pt x="1025" y="1078"/>
                  <a:pt x="1025" y="1005"/>
                </a:cubicBezTo>
                <a:close/>
                <a:moveTo>
                  <a:pt x="1073" y="1005"/>
                </a:moveTo>
                <a:cubicBezTo>
                  <a:pt x="1073" y="1005"/>
                  <a:pt x="1073" y="1005"/>
                  <a:pt x="1073" y="1005"/>
                </a:cubicBezTo>
                <a:cubicBezTo>
                  <a:pt x="1067" y="1005"/>
                  <a:pt x="1067" y="1005"/>
                  <a:pt x="1067" y="1005"/>
                </a:cubicBezTo>
                <a:cubicBezTo>
                  <a:pt x="1065" y="1006"/>
                  <a:pt x="1064" y="1007"/>
                  <a:pt x="1062" y="1008"/>
                </a:cubicBezTo>
                <a:cubicBezTo>
                  <a:pt x="1060" y="1010"/>
                  <a:pt x="1058" y="1010"/>
                  <a:pt x="1056" y="1011"/>
                </a:cubicBezTo>
                <a:cubicBezTo>
                  <a:pt x="1055" y="1013"/>
                  <a:pt x="1053" y="1013"/>
                  <a:pt x="1051" y="1014"/>
                </a:cubicBezTo>
                <a:cubicBezTo>
                  <a:pt x="1049" y="1015"/>
                  <a:pt x="1048" y="1015"/>
                  <a:pt x="1045" y="1015"/>
                </a:cubicBezTo>
                <a:cubicBezTo>
                  <a:pt x="1045" y="1015"/>
                  <a:pt x="1045" y="1015"/>
                  <a:pt x="1045" y="1026"/>
                </a:cubicBezTo>
                <a:cubicBezTo>
                  <a:pt x="1048" y="1025"/>
                  <a:pt x="1051" y="1024"/>
                  <a:pt x="1053" y="1023"/>
                </a:cubicBezTo>
                <a:cubicBezTo>
                  <a:pt x="1056" y="1022"/>
                  <a:pt x="1059" y="1021"/>
                  <a:pt x="1061" y="1019"/>
                </a:cubicBezTo>
                <a:cubicBezTo>
                  <a:pt x="1061" y="1019"/>
                  <a:pt x="1061" y="1019"/>
                  <a:pt x="1061" y="1078"/>
                </a:cubicBezTo>
                <a:cubicBezTo>
                  <a:pt x="1061" y="1078"/>
                  <a:pt x="1061" y="1078"/>
                  <a:pt x="1073" y="1078"/>
                </a:cubicBezTo>
                <a:cubicBezTo>
                  <a:pt x="1073" y="1078"/>
                  <a:pt x="1073" y="1078"/>
                  <a:pt x="1073" y="1005"/>
                </a:cubicBezTo>
                <a:close/>
                <a:moveTo>
                  <a:pt x="1119" y="1005"/>
                </a:moveTo>
                <a:cubicBezTo>
                  <a:pt x="1119" y="1005"/>
                  <a:pt x="1119" y="1005"/>
                  <a:pt x="1119" y="1005"/>
                </a:cubicBezTo>
                <a:cubicBezTo>
                  <a:pt x="1114" y="1005"/>
                  <a:pt x="1114" y="1005"/>
                  <a:pt x="1114" y="1005"/>
                </a:cubicBezTo>
                <a:cubicBezTo>
                  <a:pt x="1112" y="1006"/>
                  <a:pt x="1111" y="1007"/>
                  <a:pt x="1109" y="1008"/>
                </a:cubicBezTo>
                <a:cubicBezTo>
                  <a:pt x="1107" y="1010"/>
                  <a:pt x="1105" y="1010"/>
                  <a:pt x="1104" y="1011"/>
                </a:cubicBezTo>
                <a:cubicBezTo>
                  <a:pt x="1101" y="1012"/>
                  <a:pt x="1100" y="1013"/>
                  <a:pt x="1098" y="1013"/>
                </a:cubicBezTo>
                <a:cubicBezTo>
                  <a:pt x="1096" y="1014"/>
                  <a:pt x="1094" y="1015"/>
                  <a:pt x="1093" y="1015"/>
                </a:cubicBezTo>
                <a:cubicBezTo>
                  <a:pt x="1093" y="1015"/>
                  <a:pt x="1093" y="1015"/>
                  <a:pt x="1093" y="1026"/>
                </a:cubicBezTo>
                <a:cubicBezTo>
                  <a:pt x="1096" y="1025"/>
                  <a:pt x="1099" y="1023"/>
                  <a:pt x="1101" y="1023"/>
                </a:cubicBezTo>
                <a:cubicBezTo>
                  <a:pt x="1103" y="1022"/>
                  <a:pt x="1106" y="1021"/>
                  <a:pt x="1107" y="1019"/>
                </a:cubicBezTo>
                <a:cubicBezTo>
                  <a:pt x="1107" y="1019"/>
                  <a:pt x="1107" y="1019"/>
                  <a:pt x="1107" y="1078"/>
                </a:cubicBezTo>
                <a:cubicBezTo>
                  <a:pt x="1107" y="1078"/>
                  <a:pt x="1107" y="1078"/>
                  <a:pt x="1119" y="1078"/>
                </a:cubicBezTo>
                <a:cubicBezTo>
                  <a:pt x="1119" y="1078"/>
                  <a:pt x="1119" y="1078"/>
                  <a:pt x="1119" y="1005"/>
                </a:cubicBezTo>
                <a:close/>
                <a:moveTo>
                  <a:pt x="1163" y="1078"/>
                </a:moveTo>
                <a:cubicBezTo>
                  <a:pt x="1156" y="1078"/>
                  <a:pt x="1150" y="1075"/>
                  <a:pt x="1145" y="1069"/>
                </a:cubicBezTo>
                <a:cubicBezTo>
                  <a:pt x="1142" y="1063"/>
                  <a:pt x="1139" y="1054"/>
                  <a:pt x="1139" y="1042"/>
                </a:cubicBezTo>
                <a:cubicBezTo>
                  <a:pt x="1139" y="1028"/>
                  <a:pt x="1142" y="1019"/>
                  <a:pt x="1146" y="1012"/>
                </a:cubicBezTo>
                <a:cubicBezTo>
                  <a:pt x="1150" y="1006"/>
                  <a:pt x="1157" y="1002"/>
                  <a:pt x="1166" y="1002"/>
                </a:cubicBezTo>
                <a:cubicBezTo>
                  <a:pt x="1182" y="1002"/>
                  <a:pt x="1190" y="1015"/>
                  <a:pt x="1190" y="1040"/>
                </a:cubicBezTo>
                <a:cubicBezTo>
                  <a:pt x="1190" y="1052"/>
                  <a:pt x="1188" y="1062"/>
                  <a:pt x="1182" y="1068"/>
                </a:cubicBezTo>
                <a:cubicBezTo>
                  <a:pt x="1178" y="1075"/>
                  <a:pt x="1172" y="1078"/>
                  <a:pt x="1163" y="1078"/>
                </a:cubicBezTo>
                <a:close/>
                <a:moveTo>
                  <a:pt x="1165" y="1012"/>
                </a:moveTo>
                <a:cubicBezTo>
                  <a:pt x="1155" y="1012"/>
                  <a:pt x="1151" y="1022"/>
                  <a:pt x="1151" y="1042"/>
                </a:cubicBezTo>
                <a:cubicBezTo>
                  <a:pt x="1151" y="1060"/>
                  <a:pt x="1155" y="1068"/>
                  <a:pt x="1164" y="1068"/>
                </a:cubicBezTo>
                <a:cubicBezTo>
                  <a:pt x="1173" y="1068"/>
                  <a:pt x="1177" y="1060"/>
                  <a:pt x="1177" y="1041"/>
                </a:cubicBezTo>
                <a:cubicBezTo>
                  <a:pt x="1177" y="1021"/>
                  <a:pt x="1173" y="1012"/>
                  <a:pt x="1165" y="1012"/>
                </a:cubicBezTo>
                <a:close/>
                <a:moveTo>
                  <a:pt x="1235" y="1078"/>
                </a:moveTo>
                <a:cubicBezTo>
                  <a:pt x="1227" y="1078"/>
                  <a:pt x="1221" y="1075"/>
                  <a:pt x="1217" y="1069"/>
                </a:cubicBezTo>
                <a:cubicBezTo>
                  <a:pt x="1213" y="1063"/>
                  <a:pt x="1210" y="1054"/>
                  <a:pt x="1210" y="1042"/>
                </a:cubicBezTo>
                <a:cubicBezTo>
                  <a:pt x="1210" y="1028"/>
                  <a:pt x="1213" y="1019"/>
                  <a:pt x="1217" y="1012"/>
                </a:cubicBezTo>
                <a:cubicBezTo>
                  <a:pt x="1221" y="1006"/>
                  <a:pt x="1228" y="1002"/>
                  <a:pt x="1237" y="1002"/>
                </a:cubicBezTo>
                <a:cubicBezTo>
                  <a:pt x="1253" y="1002"/>
                  <a:pt x="1261" y="1015"/>
                  <a:pt x="1261" y="1040"/>
                </a:cubicBezTo>
                <a:cubicBezTo>
                  <a:pt x="1261" y="1052"/>
                  <a:pt x="1259" y="1062"/>
                  <a:pt x="1254" y="1068"/>
                </a:cubicBezTo>
                <a:cubicBezTo>
                  <a:pt x="1249" y="1075"/>
                  <a:pt x="1243" y="1078"/>
                  <a:pt x="1235" y="1078"/>
                </a:cubicBezTo>
                <a:close/>
                <a:moveTo>
                  <a:pt x="1236" y="1012"/>
                </a:moveTo>
                <a:cubicBezTo>
                  <a:pt x="1227" y="1012"/>
                  <a:pt x="1222" y="1022"/>
                  <a:pt x="1222" y="1042"/>
                </a:cubicBezTo>
                <a:cubicBezTo>
                  <a:pt x="1222" y="1060"/>
                  <a:pt x="1226" y="1068"/>
                  <a:pt x="1235" y="1068"/>
                </a:cubicBezTo>
                <a:cubicBezTo>
                  <a:pt x="1244" y="1068"/>
                  <a:pt x="1248" y="1060"/>
                  <a:pt x="1248" y="1041"/>
                </a:cubicBezTo>
                <a:cubicBezTo>
                  <a:pt x="1248" y="1021"/>
                  <a:pt x="1244" y="1012"/>
                  <a:pt x="1236" y="1012"/>
                </a:cubicBezTo>
                <a:close/>
                <a:moveTo>
                  <a:pt x="923" y="1037"/>
                </a:moveTo>
                <a:cubicBezTo>
                  <a:pt x="923" y="1037"/>
                  <a:pt x="923" y="1037"/>
                  <a:pt x="923" y="1037"/>
                </a:cubicBezTo>
                <a:cubicBezTo>
                  <a:pt x="922" y="1045"/>
                  <a:pt x="922" y="1045"/>
                  <a:pt x="922" y="1045"/>
                </a:cubicBezTo>
                <a:cubicBezTo>
                  <a:pt x="929" y="1046"/>
                  <a:pt x="929" y="1049"/>
                  <a:pt x="929" y="1051"/>
                </a:cubicBezTo>
                <a:cubicBezTo>
                  <a:pt x="929" y="1053"/>
                  <a:pt x="929" y="1056"/>
                  <a:pt x="929" y="1058"/>
                </a:cubicBezTo>
                <a:cubicBezTo>
                  <a:pt x="929" y="1061"/>
                  <a:pt x="928" y="1063"/>
                  <a:pt x="928" y="1065"/>
                </a:cubicBezTo>
                <a:cubicBezTo>
                  <a:pt x="928" y="1075"/>
                  <a:pt x="934" y="1078"/>
                  <a:pt x="943" y="1078"/>
                </a:cubicBezTo>
                <a:cubicBezTo>
                  <a:pt x="943" y="1078"/>
                  <a:pt x="943" y="1078"/>
                  <a:pt x="946" y="1078"/>
                </a:cubicBezTo>
                <a:cubicBezTo>
                  <a:pt x="946" y="1078"/>
                  <a:pt x="946" y="1078"/>
                  <a:pt x="946" y="1069"/>
                </a:cubicBezTo>
                <a:cubicBezTo>
                  <a:pt x="946" y="1069"/>
                  <a:pt x="946" y="1069"/>
                  <a:pt x="945" y="1069"/>
                </a:cubicBezTo>
                <a:cubicBezTo>
                  <a:pt x="941" y="1069"/>
                  <a:pt x="940" y="1066"/>
                  <a:pt x="940" y="1063"/>
                </a:cubicBezTo>
                <a:cubicBezTo>
                  <a:pt x="940" y="1062"/>
                  <a:pt x="940" y="1060"/>
                  <a:pt x="941" y="1058"/>
                </a:cubicBezTo>
                <a:cubicBezTo>
                  <a:pt x="941" y="1057"/>
                  <a:pt x="941" y="1055"/>
                  <a:pt x="941" y="1052"/>
                </a:cubicBezTo>
                <a:cubicBezTo>
                  <a:pt x="941" y="1045"/>
                  <a:pt x="938" y="1042"/>
                  <a:pt x="932" y="1041"/>
                </a:cubicBezTo>
                <a:cubicBezTo>
                  <a:pt x="932" y="1041"/>
                  <a:pt x="932" y="1041"/>
                  <a:pt x="932" y="1041"/>
                </a:cubicBezTo>
                <a:cubicBezTo>
                  <a:pt x="938" y="1040"/>
                  <a:pt x="941" y="1037"/>
                  <a:pt x="941" y="1030"/>
                </a:cubicBezTo>
                <a:cubicBezTo>
                  <a:pt x="941" y="1027"/>
                  <a:pt x="941" y="1026"/>
                  <a:pt x="941" y="1024"/>
                </a:cubicBezTo>
                <a:cubicBezTo>
                  <a:pt x="940" y="1022"/>
                  <a:pt x="940" y="1020"/>
                  <a:pt x="940" y="1019"/>
                </a:cubicBezTo>
                <a:cubicBezTo>
                  <a:pt x="940" y="1016"/>
                  <a:pt x="941" y="1013"/>
                  <a:pt x="945" y="1013"/>
                </a:cubicBezTo>
                <a:cubicBezTo>
                  <a:pt x="945" y="1013"/>
                  <a:pt x="945" y="1013"/>
                  <a:pt x="946" y="1013"/>
                </a:cubicBezTo>
                <a:cubicBezTo>
                  <a:pt x="946" y="1013"/>
                  <a:pt x="946" y="1013"/>
                  <a:pt x="946" y="1004"/>
                </a:cubicBezTo>
                <a:cubicBezTo>
                  <a:pt x="946" y="1004"/>
                  <a:pt x="946" y="1004"/>
                  <a:pt x="943" y="1004"/>
                </a:cubicBezTo>
                <a:cubicBezTo>
                  <a:pt x="934" y="1004"/>
                  <a:pt x="928" y="1008"/>
                  <a:pt x="928" y="1017"/>
                </a:cubicBezTo>
                <a:cubicBezTo>
                  <a:pt x="928" y="1019"/>
                  <a:pt x="929" y="1022"/>
                  <a:pt x="929" y="1024"/>
                </a:cubicBezTo>
                <a:cubicBezTo>
                  <a:pt x="929" y="1026"/>
                  <a:pt x="929" y="1029"/>
                  <a:pt x="929" y="1031"/>
                </a:cubicBezTo>
                <a:cubicBezTo>
                  <a:pt x="929" y="1033"/>
                  <a:pt x="929" y="1037"/>
                  <a:pt x="923" y="1037"/>
                </a:cubicBezTo>
                <a:close/>
                <a:moveTo>
                  <a:pt x="978" y="1045"/>
                </a:moveTo>
                <a:cubicBezTo>
                  <a:pt x="978" y="1045"/>
                  <a:pt x="978" y="1045"/>
                  <a:pt x="978" y="1045"/>
                </a:cubicBezTo>
                <a:cubicBezTo>
                  <a:pt x="978" y="1037"/>
                  <a:pt x="978" y="1037"/>
                  <a:pt x="978" y="1037"/>
                </a:cubicBezTo>
                <a:cubicBezTo>
                  <a:pt x="971" y="1037"/>
                  <a:pt x="971" y="1033"/>
                  <a:pt x="971" y="1031"/>
                </a:cubicBezTo>
                <a:cubicBezTo>
                  <a:pt x="971" y="1029"/>
                  <a:pt x="971" y="1026"/>
                  <a:pt x="971" y="1024"/>
                </a:cubicBezTo>
                <a:cubicBezTo>
                  <a:pt x="972" y="1022"/>
                  <a:pt x="972" y="1019"/>
                  <a:pt x="972" y="1017"/>
                </a:cubicBezTo>
                <a:cubicBezTo>
                  <a:pt x="972" y="1008"/>
                  <a:pt x="966" y="1004"/>
                  <a:pt x="957" y="1004"/>
                </a:cubicBezTo>
                <a:cubicBezTo>
                  <a:pt x="957" y="1004"/>
                  <a:pt x="957" y="1004"/>
                  <a:pt x="953" y="1004"/>
                </a:cubicBezTo>
                <a:cubicBezTo>
                  <a:pt x="953" y="1004"/>
                  <a:pt x="953" y="1004"/>
                  <a:pt x="953" y="1013"/>
                </a:cubicBezTo>
                <a:cubicBezTo>
                  <a:pt x="953" y="1013"/>
                  <a:pt x="953" y="1013"/>
                  <a:pt x="955" y="1013"/>
                </a:cubicBezTo>
                <a:cubicBezTo>
                  <a:pt x="958" y="1013"/>
                  <a:pt x="960" y="1016"/>
                  <a:pt x="960" y="1019"/>
                </a:cubicBezTo>
                <a:cubicBezTo>
                  <a:pt x="960" y="1020"/>
                  <a:pt x="960" y="1022"/>
                  <a:pt x="960" y="1024"/>
                </a:cubicBezTo>
                <a:cubicBezTo>
                  <a:pt x="959" y="1026"/>
                  <a:pt x="959" y="1027"/>
                  <a:pt x="959" y="1030"/>
                </a:cubicBezTo>
                <a:cubicBezTo>
                  <a:pt x="959" y="1037"/>
                  <a:pt x="962" y="1040"/>
                  <a:pt x="968" y="1041"/>
                </a:cubicBezTo>
                <a:cubicBezTo>
                  <a:pt x="968" y="1041"/>
                  <a:pt x="968" y="1041"/>
                  <a:pt x="968" y="1041"/>
                </a:cubicBezTo>
                <a:cubicBezTo>
                  <a:pt x="962" y="1042"/>
                  <a:pt x="959" y="1045"/>
                  <a:pt x="959" y="1052"/>
                </a:cubicBezTo>
                <a:cubicBezTo>
                  <a:pt x="959" y="1055"/>
                  <a:pt x="959" y="1057"/>
                  <a:pt x="960" y="1058"/>
                </a:cubicBezTo>
                <a:cubicBezTo>
                  <a:pt x="960" y="1060"/>
                  <a:pt x="960" y="1062"/>
                  <a:pt x="960" y="1063"/>
                </a:cubicBezTo>
                <a:cubicBezTo>
                  <a:pt x="960" y="1066"/>
                  <a:pt x="959" y="1069"/>
                  <a:pt x="955" y="1069"/>
                </a:cubicBezTo>
                <a:cubicBezTo>
                  <a:pt x="955" y="1069"/>
                  <a:pt x="955" y="1069"/>
                  <a:pt x="953" y="1069"/>
                </a:cubicBezTo>
                <a:cubicBezTo>
                  <a:pt x="953" y="1069"/>
                  <a:pt x="953" y="1069"/>
                  <a:pt x="953" y="1078"/>
                </a:cubicBezTo>
                <a:cubicBezTo>
                  <a:pt x="953" y="1078"/>
                  <a:pt x="953" y="1078"/>
                  <a:pt x="957" y="1078"/>
                </a:cubicBezTo>
                <a:cubicBezTo>
                  <a:pt x="966" y="1078"/>
                  <a:pt x="972" y="1075"/>
                  <a:pt x="972" y="1065"/>
                </a:cubicBezTo>
                <a:cubicBezTo>
                  <a:pt x="972" y="1063"/>
                  <a:pt x="972" y="1061"/>
                  <a:pt x="971" y="1058"/>
                </a:cubicBezTo>
                <a:cubicBezTo>
                  <a:pt x="971" y="1056"/>
                  <a:pt x="971" y="1053"/>
                  <a:pt x="971" y="1051"/>
                </a:cubicBezTo>
                <a:cubicBezTo>
                  <a:pt x="971" y="1049"/>
                  <a:pt x="971" y="1046"/>
                  <a:pt x="978" y="1045"/>
                </a:cubicBezTo>
                <a:close/>
                <a:moveTo>
                  <a:pt x="1447" y="1078"/>
                </a:moveTo>
                <a:cubicBezTo>
                  <a:pt x="1440" y="1078"/>
                  <a:pt x="1434" y="1075"/>
                  <a:pt x="1429" y="1068"/>
                </a:cubicBezTo>
                <a:cubicBezTo>
                  <a:pt x="1425" y="1063"/>
                  <a:pt x="1423" y="1053"/>
                  <a:pt x="1423" y="1042"/>
                </a:cubicBezTo>
                <a:cubicBezTo>
                  <a:pt x="1423" y="1028"/>
                  <a:pt x="1425" y="1019"/>
                  <a:pt x="1429" y="1012"/>
                </a:cubicBezTo>
                <a:cubicBezTo>
                  <a:pt x="1434" y="1005"/>
                  <a:pt x="1440" y="1002"/>
                  <a:pt x="1449" y="1002"/>
                </a:cubicBezTo>
                <a:cubicBezTo>
                  <a:pt x="1465" y="1002"/>
                  <a:pt x="1473" y="1015"/>
                  <a:pt x="1473" y="1039"/>
                </a:cubicBezTo>
                <a:cubicBezTo>
                  <a:pt x="1473" y="1052"/>
                  <a:pt x="1471" y="1062"/>
                  <a:pt x="1467" y="1068"/>
                </a:cubicBezTo>
                <a:cubicBezTo>
                  <a:pt x="1462" y="1075"/>
                  <a:pt x="1456" y="1078"/>
                  <a:pt x="1447" y="1078"/>
                </a:cubicBezTo>
                <a:close/>
                <a:moveTo>
                  <a:pt x="1448" y="1012"/>
                </a:moveTo>
                <a:cubicBezTo>
                  <a:pt x="1440" y="1012"/>
                  <a:pt x="1435" y="1021"/>
                  <a:pt x="1435" y="1041"/>
                </a:cubicBezTo>
                <a:cubicBezTo>
                  <a:pt x="1435" y="1059"/>
                  <a:pt x="1440" y="1068"/>
                  <a:pt x="1448" y="1068"/>
                </a:cubicBezTo>
                <a:cubicBezTo>
                  <a:pt x="1456" y="1068"/>
                  <a:pt x="1461" y="1059"/>
                  <a:pt x="1461" y="1041"/>
                </a:cubicBezTo>
                <a:cubicBezTo>
                  <a:pt x="1461" y="1021"/>
                  <a:pt x="1457" y="1012"/>
                  <a:pt x="1448" y="1012"/>
                </a:cubicBezTo>
                <a:close/>
                <a:moveTo>
                  <a:pt x="1565" y="1078"/>
                </a:moveTo>
                <a:cubicBezTo>
                  <a:pt x="1557" y="1078"/>
                  <a:pt x="1552" y="1075"/>
                  <a:pt x="1547" y="1068"/>
                </a:cubicBezTo>
                <a:cubicBezTo>
                  <a:pt x="1543" y="1063"/>
                  <a:pt x="1541" y="1053"/>
                  <a:pt x="1541" y="1042"/>
                </a:cubicBezTo>
                <a:cubicBezTo>
                  <a:pt x="1541" y="1028"/>
                  <a:pt x="1543" y="1019"/>
                  <a:pt x="1547" y="1012"/>
                </a:cubicBezTo>
                <a:cubicBezTo>
                  <a:pt x="1552" y="1005"/>
                  <a:pt x="1558" y="1002"/>
                  <a:pt x="1567" y="1002"/>
                </a:cubicBezTo>
                <a:cubicBezTo>
                  <a:pt x="1583" y="1002"/>
                  <a:pt x="1591" y="1015"/>
                  <a:pt x="1591" y="1039"/>
                </a:cubicBezTo>
                <a:cubicBezTo>
                  <a:pt x="1591" y="1052"/>
                  <a:pt x="1589" y="1062"/>
                  <a:pt x="1584" y="1068"/>
                </a:cubicBezTo>
                <a:cubicBezTo>
                  <a:pt x="1579" y="1075"/>
                  <a:pt x="1574" y="1078"/>
                  <a:pt x="1565" y="1078"/>
                </a:cubicBezTo>
                <a:close/>
                <a:moveTo>
                  <a:pt x="1566" y="1012"/>
                </a:moveTo>
                <a:cubicBezTo>
                  <a:pt x="1557" y="1012"/>
                  <a:pt x="1553" y="1021"/>
                  <a:pt x="1553" y="1041"/>
                </a:cubicBezTo>
                <a:cubicBezTo>
                  <a:pt x="1553" y="1059"/>
                  <a:pt x="1557" y="1068"/>
                  <a:pt x="1566" y="1068"/>
                </a:cubicBezTo>
                <a:cubicBezTo>
                  <a:pt x="1574" y="1068"/>
                  <a:pt x="1579" y="1059"/>
                  <a:pt x="1579" y="1041"/>
                </a:cubicBezTo>
                <a:cubicBezTo>
                  <a:pt x="1579" y="1021"/>
                  <a:pt x="1575" y="1012"/>
                  <a:pt x="1566" y="1012"/>
                </a:cubicBezTo>
                <a:close/>
                <a:moveTo>
                  <a:pt x="1520" y="1005"/>
                </a:moveTo>
                <a:cubicBezTo>
                  <a:pt x="1520" y="1005"/>
                  <a:pt x="1520" y="1005"/>
                  <a:pt x="1520" y="1005"/>
                </a:cubicBezTo>
                <a:cubicBezTo>
                  <a:pt x="1515" y="1005"/>
                  <a:pt x="1515" y="1005"/>
                  <a:pt x="1515" y="1005"/>
                </a:cubicBezTo>
                <a:cubicBezTo>
                  <a:pt x="1513" y="1006"/>
                  <a:pt x="1512" y="1007"/>
                  <a:pt x="1510" y="1008"/>
                </a:cubicBezTo>
                <a:cubicBezTo>
                  <a:pt x="1508" y="1010"/>
                  <a:pt x="1506" y="1010"/>
                  <a:pt x="1505" y="1011"/>
                </a:cubicBezTo>
                <a:cubicBezTo>
                  <a:pt x="1503" y="1012"/>
                  <a:pt x="1501" y="1013"/>
                  <a:pt x="1499" y="1013"/>
                </a:cubicBezTo>
                <a:cubicBezTo>
                  <a:pt x="1497" y="1014"/>
                  <a:pt x="1496" y="1015"/>
                  <a:pt x="1494" y="1015"/>
                </a:cubicBezTo>
                <a:cubicBezTo>
                  <a:pt x="1494" y="1015"/>
                  <a:pt x="1494" y="1015"/>
                  <a:pt x="1494" y="1026"/>
                </a:cubicBezTo>
                <a:cubicBezTo>
                  <a:pt x="1497" y="1025"/>
                  <a:pt x="1499" y="1023"/>
                  <a:pt x="1502" y="1023"/>
                </a:cubicBezTo>
                <a:cubicBezTo>
                  <a:pt x="1505" y="1022"/>
                  <a:pt x="1507" y="1021"/>
                  <a:pt x="1509" y="1019"/>
                </a:cubicBezTo>
                <a:cubicBezTo>
                  <a:pt x="1509" y="1019"/>
                  <a:pt x="1509" y="1019"/>
                  <a:pt x="1509" y="1078"/>
                </a:cubicBezTo>
                <a:cubicBezTo>
                  <a:pt x="1509" y="1078"/>
                  <a:pt x="1509" y="1078"/>
                  <a:pt x="1520" y="1078"/>
                </a:cubicBezTo>
                <a:cubicBezTo>
                  <a:pt x="1520" y="1078"/>
                  <a:pt x="1520" y="1078"/>
                  <a:pt x="1520" y="1005"/>
                </a:cubicBezTo>
                <a:close/>
                <a:moveTo>
                  <a:pt x="1636" y="1078"/>
                </a:moveTo>
                <a:cubicBezTo>
                  <a:pt x="1628" y="1078"/>
                  <a:pt x="1622" y="1075"/>
                  <a:pt x="1618" y="1069"/>
                </a:cubicBezTo>
                <a:cubicBezTo>
                  <a:pt x="1614" y="1063"/>
                  <a:pt x="1612" y="1054"/>
                  <a:pt x="1612" y="1042"/>
                </a:cubicBezTo>
                <a:cubicBezTo>
                  <a:pt x="1612" y="1028"/>
                  <a:pt x="1614" y="1019"/>
                  <a:pt x="1618" y="1012"/>
                </a:cubicBezTo>
                <a:cubicBezTo>
                  <a:pt x="1623" y="1006"/>
                  <a:pt x="1629" y="1002"/>
                  <a:pt x="1638" y="1002"/>
                </a:cubicBezTo>
                <a:cubicBezTo>
                  <a:pt x="1654" y="1002"/>
                  <a:pt x="1662" y="1015"/>
                  <a:pt x="1662" y="1040"/>
                </a:cubicBezTo>
                <a:cubicBezTo>
                  <a:pt x="1662" y="1052"/>
                  <a:pt x="1660" y="1062"/>
                  <a:pt x="1656" y="1068"/>
                </a:cubicBezTo>
                <a:cubicBezTo>
                  <a:pt x="1650" y="1075"/>
                  <a:pt x="1645" y="1078"/>
                  <a:pt x="1636" y="1078"/>
                </a:cubicBezTo>
                <a:close/>
                <a:moveTo>
                  <a:pt x="1637" y="1012"/>
                </a:moveTo>
                <a:cubicBezTo>
                  <a:pt x="1628" y="1012"/>
                  <a:pt x="1623" y="1022"/>
                  <a:pt x="1623" y="1042"/>
                </a:cubicBezTo>
                <a:cubicBezTo>
                  <a:pt x="1623" y="1060"/>
                  <a:pt x="1628" y="1068"/>
                  <a:pt x="1637" y="1068"/>
                </a:cubicBezTo>
                <a:cubicBezTo>
                  <a:pt x="1645" y="1068"/>
                  <a:pt x="1650" y="1060"/>
                  <a:pt x="1650" y="1041"/>
                </a:cubicBezTo>
                <a:cubicBezTo>
                  <a:pt x="1650" y="1021"/>
                  <a:pt x="1645" y="1012"/>
                  <a:pt x="1637" y="1012"/>
                </a:cubicBezTo>
                <a:close/>
                <a:moveTo>
                  <a:pt x="1683" y="1037"/>
                </a:moveTo>
                <a:cubicBezTo>
                  <a:pt x="1683" y="1037"/>
                  <a:pt x="1683" y="1037"/>
                  <a:pt x="1683" y="1037"/>
                </a:cubicBezTo>
                <a:cubicBezTo>
                  <a:pt x="1683" y="1045"/>
                  <a:pt x="1683" y="1045"/>
                  <a:pt x="1683" y="1045"/>
                </a:cubicBezTo>
                <a:cubicBezTo>
                  <a:pt x="1689" y="1046"/>
                  <a:pt x="1690" y="1049"/>
                  <a:pt x="1690" y="1051"/>
                </a:cubicBezTo>
                <a:cubicBezTo>
                  <a:pt x="1690" y="1053"/>
                  <a:pt x="1689" y="1056"/>
                  <a:pt x="1689" y="1058"/>
                </a:cubicBezTo>
                <a:cubicBezTo>
                  <a:pt x="1689" y="1061"/>
                  <a:pt x="1689" y="1063"/>
                  <a:pt x="1689" y="1065"/>
                </a:cubicBezTo>
                <a:cubicBezTo>
                  <a:pt x="1689" y="1075"/>
                  <a:pt x="1695" y="1078"/>
                  <a:pt x="1703" y="1078"/>
                </a:cubicBezTo>
                <a:cubicBezTo>
                  <a:pt x="1703" y="1078"/>
                  <a:pt x="1703" y="1078"/>
                  <a:pt x="1707" y="1078"/>
                </a:cubicBezTo>
                <a:cubicBezTo>
                  <a:pt x="1707" y="1078"/>
                  <a:pt x="1707" y="1078"/>
                  <a:pt x="1707" y="1069"/>
                </a:cubicBezTo>
                <a:cubicBezTo>
                  <a:pt x="1707" y="1069"/>
                  <a:pt x="1707" y="1069"/>
                  <a:pt x="1705" y="1069"/>
                </a:cubicBezTo>
                <a:cubicBezTo>
                  <a:pt x="1702" y="1069"/>
                  <a:pt x="1700" y="1066"/>
                  <a:pt x="1700" y="1063"/>
                </a:cubicBezTo>
                <a:cubicBezTo>
                  <a:pt x="1700" y="1062"/>
                  <a:pt x="1700" y="1060"/>
                  <a:pt x="1701" y="1058"/>
                </a:cubicBezTo>
                <a:cubicBezTo>
                  <a:pt x="1701" y="1057"/>
                  <a:pt x="1701" y="1055"/>
                  <a:pt x="1701" y="1052"/>
                </a:cubicBezTo>
                <a:cubicBezTo>
                  <a:pt x="1701" y="1045"/>
                  <a:pt x="1698" y="1042"/>
                  <a:pt x="1693" y="1041"/>
                </a:cubicBezTo>
                <a:cubicBezTo>
                  <a:pt x="1693" y="1041"/>
                  <a:pt x="1693" y="1041"/>
                  <a:pt x="1693" y="1041"/>
                </a:cubicBezTo>
                <a:cubicBezTo>
                  <a:pt x="1698" y="1040"/>
                  <a:pt x="1701" y="1037"/>
                  <a:pt x="1701" y="1030"/>
                </a:cubicBezTo>
                <a:cubicBezTo>
                  <a:pt x="1701" y="1027"/>
                  <a:pt x="1701" y="1026"/>
                  <a:pt x="1701" y="1024"/>
                </a:cubicBezTo>
                <a:cubicBezTo>
                  <a:pt x="1700" y="1022"/>
                  <a:pt x="1700" y="1020"/>
                  <a:pt x="1700" y="1019"/>
                </a:cubicBezTo>
                <a:cubicBezTo>
                  <a:pt x="1700" y="1016"/>
                  <a:pt x="1702" y="1013"/>
                  <a:pt x="1705" y="1013"/>
                </a:cubicBezTo>
                <a:cubicBezTo>
                  <a:pt x="1705" y="1013"/>
                  <a:pt x="1705" y="1013"/>
                  <a:pt x="1707" y="1013"/>
                </a:cubicBezTo>
                <a:cubicBezTo>
                  <a:pt x="1707" y="1013"/>
                  <a:pt x="1707" y="1013"/>
                  <a:pt x="1707" y="1004"/>
                </a:cubicBezTo>
                <a:cubicBezTo>
                  <a:pt x="1707" y="1004"/>
                  <a:pt x="1707" y="1004"/>
                  <a:pt x="1703" y="1004"/>
                </a:cubicBezTo>
                <a:cubicBezTo>
                  <a:pt x="1694" y="1004"/>
                  <a:pt x="1689" y="1008"/>
                  <a:pt x="1689" y="1017"/>
                </a:cubicBezTo>
                <a:cubicBezTo>
                  <a:pt x="1689" y="1019"/>
                  <a:pt x="1689" y="1022"/>
                  <a:pt x="1689" y="1024"/>
                </a:cubicBezTo>
                <a:cubicBezTo>
                  <a:pt x="1689" y="1026"/>
                  <a:pt x="1690" y="1029"/>
                  <a:pt x="1690" y="1031"/>
                </a:cubicBezTo>
                <a:cubicBezTo>
                  <a:pt x="1690" y="1033"/>
                  <a:pt x="1689" y="1037"/>
                  <a:pt x="1683" y="1037"/>
                </a:cubicBezTo>
                <a:close/>
                <a:moveTo>
                  <a:pt x="1737" y="1045"/>
                </a:moveTo>
                <a:cubicBezTo>
                  <a:pt x="1737" y="1045"/>
                  <a:pt x="1737" y="1045"/>
                  <a:pt x="1737" y="1045"/>
                </a:cubicBezTo>
                <a:cubicBezTo>
                  <a:pt x="1737" y="1037"/>
                  <a:pt x="1737" y="1037"/>
                  <a:pt x="1737" y="1037"/>
                </a:cubicBezTo>
                <a:cubicBezTo>
                  <a:pt x="1731" y="1037"/>
                  <a:pt x="1731" y="1033"/>
                  <a:pt x="1731" y="1031"/>
                </a:cubicBezTo>
                <a:cubicBezTo>
                  <a:pt x="1731" y="1029"/>
                  <a:pt x="1731" y="1026"/>
                  <a:pt x="1731" y="1024"/>
                </a:cubicBezTo>
                <a:cubicBezTo>
                  <a:pt x="1732" y="1022"/>
                  <a:pt x="1732" y="1019"/>
                  <a:pt x="1732" y="1017"/>
                </a:cubicBezTo>
                <a:cubicBezTo>
                  <a:pt x="1732" y="1008"/>
                  <a:pt x="1726" y="1004"/>
                  <a:pt x="1717" y="1004"/>
                </a:cubicBezTo>
                <a:cubicBezTo>
                  <a:pt x="1717" y="1004"/>
                  <a:pt x="1717" y="1004"/>
                  <a:pt x="1713" y="1004"/>
                </a:cubicBezTo>
                <a:cubicBezTo>
                  <a:pt x="1713" y="1004"/>
                  <a:pt x="1713" y="1004"/>
                  <a:pt x="1713" y="1013"/>
                </a:cubicBezTo>
                <a:cubicBezTo>
                  <a:pt x="1713" y="1013"/>
                  <a:pt x="1713" y="1013"/>
                  <a:pt x="1715" y="1013"/>
                </a:cubicBezTo>
                <a:cubicBezTo>
                  <a:pt x="1719" y="1013"/>
                  <a:pt x="1720" y="1016"/>
                  <a:pt x="1720" y="1019"/>
                </a:cubicBezTo>
                <a:cubicBezTo>
                  <a:pt x="1720" y="1020"/>
                  <a:pt x="1720" y="1022"/>
                  <a:pt x="1720" y="1024"/>
                </a:cubicBezTo>
                <a:cubicBezTo>
                  <a:pt x="1719" y="1026"/>
                  <a:pt x="1719" y="1027"/>
                  <a:pt x="1719" y="1030"/>
                </a:cubicBezTo>
                <a:cubicBezTo>
                  <a:pt x="1719" y="1037"/>
                  <a:pt x="1722" y="1040"/>
                  <a:pt x="1728" y="1041"/>
                </a:cubicBezTo>
                <a:cubicBezTo>
                  <a:pt x="1728" y="1041"/>
                  <a:pt x="1728" y="1041"/>
                  <a:pt x="1728" y="1041"/>
                </a:cubicBezTo>
                <a:cubicBezTo>
                  <a:pt x="1722" y="1042"/>
                  <a:pt x="1719" y="1045"/>
                  <a:pt x="1719" y="1052"/>
                </a:cubicBezTo>
                <a:cubicBezTo>
                  <a:pt x="1719" y="1055"/>
                  <a:pt x="1719" y="1057"/>
                  <a:pt x="1720" y="1058"/>
                </a:cubicBezTo>
                <a:cubicBezTo>
                  <a:pt x="1720" y="1060"/>
                  <a:pt x="1720" y="1062"/>
                  <a:pt x="1720" y="1063"/>
                </a:cubicBezTo>
                <a:cubicBezTo>
                  <a:pt x="1720" y="1066"/>
                  <a:pt x="1719" y="1069"/>
                  <a:pt x="1715" y="1069"/>
                </a:cubicBezTo>
                <a:cubicBezTo>
                  <a:pt x="1715" y="1069"/>
                  <a:pt x="1715" y="1069"/>
                  <a:pt x="1713" y="1069"/>
                </a:cubicBezTo>
                <a:cubicBezTo>
                  <a:pt x="1713" y="1069"/>
                  <a:pt x="1713" y="1069"/>
                  <a:pt x="1713" y="1078"/>
                </a:cubicBezTo>
                <a:cubicBezTo>
                  <a:pt x="1713" y="1078"/>
                  <a:pt x="1713" y="1078"/>
                  <a:pt x="1717" y="1078"/>
                </a:cubicBezTo>
                <a:cubicBezTo>
                  <a:pt x="1726" y="1078"/>
                  <a:pt x="1732" y="1075"/>
                  <a:pt x="1732" y="1065"/>
                </a:cubicBezTo>
                <a:cubicBezTo>
                  <a:pt x="1732" y="1063"/>
                  <a:pt x="1732" y="1061"/>
                  <a:pt x="1731" y="1058"/>
                </a:cubicBezTo>
                <a:cubicBezTo>
                  <a:pt x="1731" y="1056"/>
                  <a:pt x="1731" y="1053"/>
                  <a:pt x="1731" y="1051"/>
                </a:cubicBezTo>
                <a:cubicBezTo>
                  <a:pt x="1731" y="1049"/>
                  <a:pt x="1731" y="1046"/>
                  <a:pt x="1737" y="1045"/>
                </a:cubicBezTo>
                <a:close/>
                <a:moveTo>
                  <a:pt x="1858" y="1078"/>
                </a:moveTo>
                <a:cubicBezTo>
                  <a:pt x="1850" y="1078"/>
                  <a:pt x="1844" y="1075"/>
                  <a:pt x="1839" y="1069"/>
                </a:cubicBezTo>
                <a:cubicBezTo>
                  <a:pt x="1836" y="1063"/>
                  <a:pt x="1833" y="1054"/>
                  <a:pt x="1833" y="1042"/>
                </a:cubicBezTo>
                <a:cubicBezTo>
                  <a:pt x="1833" y="1028"/>
                  <a:pt x="1836" y="1019"/>
                  <a:pt x="1840" y="1012"/>
                </a:cubicBezTo>
                <a:cubicBezTo>
                  <a:pt x="1845" y="1006"/>
                  <a:pt x="1851" y="1002"/>
                  <a:pt x="1860" y="1002"/>
                </a:cubicBezTo>
                <a:cubicBezTo>
                  <a:pt x="1876" y="1002"/>
                  <a:pt x="1884" y="1015"/>
                  <a:pt x="1884" y="1040"/>
                </a:cubicBezTo>
                <a:cubicBezTo>
                  <a:pt x="1884" y="1052"/>
                  <a:pt x="1882" y="1062"/>
                  <a:pt x="1877" y="1068"/>
                </a:cubicBezTo>
                <a:cubicBezTo>
                  <a:pt x="1873" y="1075"/>
                  <a:pt x="1866" y="1078"/>
                  <a:pt x="1858" y="1078"/>
                </a:cubicBezTo>
                <a:close/>
                <a:moveTo>
                  <a:pt x="1859" y="1012"/>
                </a:moveTo>
                <a:cubicBezTo>
                  <a:pt x="1850" y="1012"/>
                  <a:pt x="1845" y="1022"/>
                  <a:pt x="1845" y="1042"/>
                </a:cubicBezTo>
                <a:cubicBezTo>
                  <a:pt x="1845" y="1060"/>
                  <a:pt x="1850" y="1068"/>
                  <a:pt x="1859" y="1068"/>
                </a:cubicBezTo>
                <a:cubicBezTo>
                  <a:pt x="1867" y="1068"/>
                  <a:pt x="1872" y="1060"/>
                  <a:pt x="1872" y="1041"/>
                </a:cubicBezTo>
                <a:cubicBezTo>
                  <a:pt x="1872" y="1021"/>
                  <a:pt x="1867" y="1012"/>
                  <a:pt x="1859" y="1012"/>
                </a:cubicBezTo>
                <a:close/>
                <a:moveTo>
                  <a:pt x="1932" y="1005"/>
                </a:moveTo>
                <a:cubicBezTo>
                  <a:pt x="1932" y="1005"/>
                  <a:pt x="1932" y="1005"/>
                  <a:pt x="1932" y="1005"/>
                </a:cubicBezTo>
                <a:cubicBezTo>
                  <a:pt x="1927" y="1005"/>
                  <a:pt x="1927" y="1005"/>
                  <a:pt x="1927" y="1005"/>
                </a:cubicBezTo>
                <a:cubicBezTo>
                  <a:pt x="1924" y="1006"/>
                  <a:pt x="1923" y="1007"/>
                  <a:pt x="1921" y="1008"/>
                </a:cubicBezTo>
                <a:cubicBezTo>
                  <a:pt x="1919" y="1010"/>
                  <a:pt x="1917" y="1010"/>
                  <a:pt x="1916" y="1011"/>
                </a:cubicBezTo>
                <a:cubicBezTo>
                  <a:pt x="1913" y="1012"/>
                  <a:pt x="1912" y="1013"/>
                  <a:pt x="1910" y="1013"/>
                </a:cubicBezTo>
                <a:cubicBezTo>
                  <a:pt x="1908" y="1014"/>
                  <a:pt x="1907" y="1015"/>
                  <a:pt x="1904" y="1015"/>
                </a:cubicBezTo>
                <a:cubicBezTo>
                  <a:pt x="1904" y="1015"/>
                  <a:pt x="1904" y="1015"/>
                  <a:pt x="1904" y="1026"/>
                </a:cubicBezTo>
                <a:cubicBezTo>
                  <a:pt x="1907" y="1025"/>
                  <a:pt x="1910" y="1023"/>
                  <a:pt x="1913" y="1023"/>
                </a:cubicBezTo>
                <a:cubicBezTo>
                  <a:pt x="1916" y="1022"/>
                  <a:pt x="1918" y="1021"/>
                  <a:pt x="1920" y="1019"/>
                </a:cubicBezTo>
                <a:cubicBezTo>
                  <a:pt x="1920" y="1019"/>
                  <a:pt x="1920" y="1019"/>
                  <a:pt x="1920" y="1078"/>
                </a:cubicBezTo>
                <a:cubicBezTo>
                  <a:pt x="1920" y="1078"/>
                  <a:pt x="1920" y="1078"/>
                  <a:pt x="1932" y="1078"/>
                </a:cubicBezTo>
                <a:cubicBezTo>
                  <a:pt x="1932" y="1078"/>
                  <a:pt x="1932" y="1078"/>
                  <a:pt x="1932" y="1005"/>
                </a:cubicBezTo>
                <a:close/>
                <a:moveTo>
                  <a:pt x="128" y="957"/>
                </a:moveTo>
                <a:cubicBezTo>
                  <a:pt x="128" y="958"/>
                  <a:pt x="129" y="960"/>
                  <a:pt x="130" y="961"/>
                </a:cubicBezTo>
                <a:cubicBezTo>
                  <a:pt x="130" y="963"/>
                  <a:pt x="130" y="965"/>
                  <a:pt x="131" y="966"/>
                </a:cubicBezTo>
                <a:cubicBezTo>
                  <a:pt x="131" y="968"/>
                  <a:pt x="131" y="969"/>
                  <a:pt x="131" y="971"/>
                </a:cubicBezTo>
                <a:cubicBezTo>
                  <a:pt x="132" y="974"/>
                  <a:pt x="131" y="976"/>
                  <a:pt x="128" y="976"/>
                </a:cubicBezTo>
                <a:cubicBezTo>
                  <a:pt x="125" y="976"/>
                  <a:pt x="122" y="975"/>
                  <a:pt x="119" y="975"/>
                </a:cubicBezTo>
                <a:cubicBezTo>
                  <a:pt x="119" y="975"/>
                  <a:pt x="118" y="975"/>
                  <a:pt x="118" y="976"/>
                </a:cubicBezTo>
                <a:cubicBezTo>
                  <a:pt x="116" y="977"/>
                  <a:pt x="115" y="979"/>
                  <a:pt x="114" y="980"/>
                </a:cubicBezTo>
                <a:cubicBezTo>
                  <a:pt x="112" y="983"/>
                  <a:pt x="108" y="983"/>
                  <a:pt x="106" y="981"/>
                </a:cubicBezTo>
                <a:cubicBezTo>
                  <a:pt x="104" y="979"/>
                  <a:pt x="103" y="976"/>
                  <a:pt x="101" y="973"/>
                </a:cubicBezTo>
                <a:cubicBezTo>
                  <a:pt x="101" y="972"/>
                  <a:pt x="101" y="970"/>
                  <a:pt x="103" y="969"/>
                </a:cubicBezTo>
                <a:cubicBezTo>
                  <a:pt x="101" y="969"/>
                  <a:pt x="99" y="969"/>
                  <a:pt x="97" y="969"/>
                </a:cubicBezTo>
                <a:cubicBezTo>
                  <a:pt x="97" y="971"/>
                  <a:pt x="95" y="973"/>
                  <a:pt x="95" y="975"/>
                </a:cubicBezTo>
                <a:cubicBezTo>
                  <a:pt x="95" y="975"/>
                  <a:pt x="94" y="976"/>
                  <a:pt x="94" y="977"/>
                </a:cubicBezTo>
                <a:cubicBezTo>
                  <a:pt x="94" y="980"/>
                  <a:pt x="93" y="981"/>
                  <a:pt x="90" y="981"/>
                </a:cubicBezTo>
                <a:cubicBezTo>
                  <a:pt x="87" y="981"/>
                  <a:pt x="84" y="980"/>
                  <a:pt x="81" y="979"/>
                </a:cubicBezTo>
                <a:cubicBezTo>
                  <a:pt x="79" y="978"/>
                  <a:pt x="79" y="977"/>
                  <a:pt x="79" y="975"/>
                </a:cubicBezTo>
                <a:cubicBezTo>
                  <a:pt x="79" y="974"/>
                  <a:pt x="79" y="973"/>
                  <a:pt x="80" y="973"/>
                </a:cubicBezTo>
                <a:cubicBezTo>
                  <a:pt x="77" y="972"/>
                  <a:pt x="75" y="971"/>
                  <a:pt x="73" y="969"/>
                </a:cubicBezTo>
                <a:cubicBezTo>
                  <a:pt x="72" y="969"/>
                  <a:pt x="71" y="967"/>
                  <a:pt x="70" y="965"/>
                </a:cubicBezTo>
                <a:cubicBezTo>
                  <a:pt x="69" y="963"/>
                  <a:pt x="69" y="962"/>
                  <a:pt x="71" y="960"/>
                </a:cubicBezTo>
                <a:cubicBezTo>
                  <a:pt x="74" y="958"/>
                  <a:pt x="75" y="955"/>
                  <a:pt x="74" y="951"/>
                </a:cubicBezTo>
                <a:cubicBezTo>
                  <a:pt x="74" y="949"/>
                  <a:pt x="74" y="947"/>
                  <a:pt x="74" y="945"/>
                </a:cubicBezTo>
                <a:cubicBezTo>
                  <a:pt x="73" y="944"/>
                  <a:pt x="71" y="944"/>
                  <a:pt x="70" y="943"/>
                </a:cubicBezTo>
                <a:cubicBezTo>
                  <a:pt x="69" y="941"/>
                  <a:pt x="68" y="939"/>
                  <a:pt x="68" y="937"/>
                </a:cubicBezTo>
                <a:cubicBezTo>
                  <a:pt x="68" y="934"/>
                  <a:pt x="72" y="931"/>
                  <a:pt x="74" y="931"/>
                </a:cubicBezTo>
                <a:cubicBezTo>
                  <a:pt x="75" y="931"/>
                  <a:pt x="75" y="932"/>
                  <a:pt x="75" y="933"/>
                </a:cubicBezTo>
                <a:cubicBezTo>
                  <a:pt x="75" y="934"/>
                  <a:pt x="75" y="935"/>
                  <a:pt x="75" y="936"/>
                </a:cubicBezTo>
                <a:cubicBezTo>
                  <a:pt x="75" y="936"/>
                  <a:pt x="74" y="936"/>
                  <a:pt x="74" y="936"/>
                </a:cubicBezTo>
                <a:cubicBezTo>
                  <a:pt x="74" y="937"/>
                  <a:pt x="73" y="938"/>
                  <a:pt x="72" y="940"/>
                </a:cubicBezTo>
                <a:cubicBezTo>
                  <a:pt x="74" y="940"/>
                  <a:pt x="74" y="940"/>
                  <a:pt x="75" y="939"/>
                </a:cubicBezTo>
                <a:cubicBezTo>
                  <a:pt x="76" y="938"/>
                  <a:pt x="77" y="937"/>
                  <a:pt x="77" y="936"/>
                </a:cubicBezTo>
                <a:cubicBezTo>
                  <a:pt x="82" y="929"/>
                  <a:pt x="88" y="926"/>
                  <a:pt x="95" y="924"/>
                </a:cubicBezTo>
                <a:cubicBezTo>
                  <a:pt x="99" y="924"/>
                  <a:pt x="102" y="922"/>
                  <a:pt x="104" y="920"/>
                </a:cubicBezTo>
                <a:cubicBezTo>
                  <a:pt x="104" y="919"/>
                  <a:pt x="105" y="919"/>
                  <a:pt x="105" y="919"/>
                </a:cubicBezTo>
                <a:cubicBezTo>
                  <a:pt x="108" y="918"/>
                  <a:pt x="110" y="916"/>
                  <a:pt x="112" y="914"/>
                </a:cubicBezTo>
                <a:cubicBezTo>
                  <a:pt x="119" y="907"/>
                  <a:pt x="131" y="906"/>
                  <a:pt x="139" y="913"/>
                </a:cubicBezTo>
                <a:cubicBezTo>
                  <a:pt x="141" y="915"/>
                  <a:pt x="144" y="917"/>
                  <a:pt x="146" y="919"/>
                </a:cubicBezTo>
                <a:cubicBezTo>
                  <a:pt x="148" y="920"/>
                  <a:pt x="149" y="922"/>
                  <a:pt x="150" y="924"/>
                </a:cubicBezTo>
                <a:cubicBezTo>
                  <a:pt x="151" y="925"/>
                  <a:pt x="152" y="925"/>
                  <a:pt x="153" y="924"/>
                </a:cubicBezTo>
                <a:cubicBezTo>
                  <a:pt x="154" y="924"/>
                  <a:pt x="154" y="923"/>
                  <a:pt x="155" y="922"/>
                </a:cubicBezTo>
                <a:cubicBezTo>
                  <a:pt x="157" y="919"/>
                  <a:pt x="160" y="919"/>
                  <a:pt x="161" y="922"/>
                </a:cubicBezTo>
                <a:cubicBezTo>
                  <a:pt x="163" y="926"/>
                  <a:pt x="163" y="928"/>
                  <a:pt x="164" y="931"/>
                </a:cubicBezTo>
                <a:cubicBezTo>
                  <a:pt x="164" y="936"/>
                  <a:pt x="164" y="940"/>
                  <a:pt x="163" y="945"/>
                </a:cubicBezTo>
                <a:cubicBezTo>
                  <a:pt x="160" y="951"/>
                  <a:pt x="155" y="954"/>
                  <a:pt x="149" y="954"/>
                </a:cubicBezTo>
                <a:cubicBezTo>
                  <a:pt x="148" y="954"/>
                  <a:pt x="148" y="954"/>
                  <a:pt x="147" y="954"/>
                </a:cubicBezTo>
                <a:cubicBezTo>
                  <a:pt x="144" y="954"/>
                  <a:pt x="143" y="954"/>
                  <a:pt x="143" y="957"/>
                </a:cubicBezTo>
                <a:cubicBezTo>
                  <a:pt x="141" y="961"/>
                  <a:pt x="135" y="963"/>
                  <a:pt x="132" y="960"/>
                </a:cubicBezTo>
                <a:cubicBezTo>
                  <a:pt x="131" y="958"/>
                  <a:pt x="130" y="958"/>
                  <a:pt x="129" y="956"/>
                </a:cubicBezTo>
                <a:cubicBezTo>
                  <a:pt x="128" y="957"/>
                  <a:pt x="128" y="957"/>
                  <a:pt x="128" y="957"/>
                </a:cubicBezTo>
                <a:close/>
                <a:moveTo>
                  <a:pt x="123" y="952"/>
                </a:moveTo>
                <a:cubicBezTo>
                  <a:pt x="126" y="954"/>
                  <a:pt x="130" y="955"/>
                  <a:pt x="132" y="958"/>
                </a:cubicBezTo>
                <a:cubicBezTo>
                  <a:pt x="134" y="960"/>
                  <a:pt x="136" y="960"/>
                  <a:pt x="138" y="960"/>
                </a:cubicBezTo>
                <a:cubicBezTo>
                  <a:pt x="141" y="959"/>
                  <a:pt x="142" y="957"/>
                  <a:pt x="142" y="954"/>
                </a:cubicBezTo>
                <a:cubicBezTo>
                  <a:pt x="142" y="954"/>
                  <a:pt x="141" y="954"/>
                  <a:pt x="141" y="954"/>
                </a:cubicBezTo>
                <a:cubicBezTo>
                  <a:pt x="141" y="956"/>
                  <a:pt x="139" y="957"/>
                  <a:pt x="139" y="958"/>
                </a:cubicBezTo>
                <a:cubicBezTo>
                  <a:pt x="137" y="959"/>
                  <a:pt x="136" y="959"/>
                  <a:pt x="135" y="958"/>
                </a:cubicBezTo>
                <a:cubicBezTo>
                  <a:pt x="135" y="958"/>
                  <a:pt x="134" y="957"/>
                  <a:pt x="134" y="956"/>
                </a:cubicBezTo>
                <a:cubicBezTo>
                  <a:pt x="134" y="954"/>
                  <a:pt x="135" y="952"/>
                  <a:pt x="135" y="950"/>
                </a:cubicBezTo>
                <a:cubicBezTo>
                  <a:pt x="138" y="951"/>
                  <a:pt x="141" y="952"/>
                  <a:pt x="145" y="952"/>
                </a:cubicBezTo>
                <a:cubicBezTo>
                  <a:pt x="152" y="954"/>
                  <a:pt x="158" y="952"/>
                  <a:pt x="161" y="943"/>
                </a:cubicBezTo>
                <a:cubicBezTo>
                  <a:pt x="163" y="939"/>
                  <a:pt x="163" y="934"/>
                  <a:pt x="162" y="929"/>
                </a:cubicBezTo>
                <a:cubicBezTo>
                  <a:pt x="161" y="927"/>
                  <a:pt x="161" y="925"/>
                  <a:pt x="160" y="923"/>
                </a:cubicBezTo>
                <a:cubicBezTo>
                  <a:pt x="159" y="922"/>
                  <a:pt x="158" y="921"/>
                  <a:pt x="157" y="923"/>
                </a:cubicBezTo>
                <a:cubicBezTo>
                  <a:pt x="155" y="924"/>
                  <a:pt x="154" y="926"/>
                  <a:pt x="152" y="927"/>
                </a:cubicBezTo>
                <a:cubicBezTo>
                  <a:pt x="151" y="927"/>
                  <a:pt x="150" y="928"/>
                  <a:pt x="150" y="929"/>
                </a:cubicBezTo>
                <a:cubicBezTo>
                  <a:pt x="151" y="932"/>
                  <a:pt x="150" y="935"/>
                  <a:pt x="149" y="939"/>
                </a:cubicBezTo>
                <a:cubicBezTo>
                  <a:pt x="149" y="937"/>
                  <a:pt x="150" y="935"/>
                  <a:pt x="150" y="933"/>
                </a:cubicBezTo>
                <a:cubicBezTo>
                  <a:pt x="150" y="932"/>
                  <a:pt x="149" y="932"/>
                  <a:pt x="149" y="931"/>
                </a:cubicBezTo>
                <a:cubicBezTo>
                  <a:pt x="148" y="932"/>
                  <a:pt x="148" y="932"/>
                  <a:pt x="148" y="932"/>
                </a:cubicBezTo>
                <a:cubicBezTo>
                  <a:pt x="147" y="933"/>
                  <a:pt x="146" y="935"/>
                  <a:pt x="145" y="936"/>
                </a:cubicBezTo>
                <a:cubicBezTo>
                  <a:pt x="145" y="936"/>
                  <a:pt x="145" y="936"/>
                  <a:pt x="145" y="936"/>
                </a:cubicBezTo>
                <a:cubicBezTo>
                  <a:pt x="145" y="935"/>
                  <a:pt x="146" y="933"/>
                  <a:pt x="146" y="931"/>
                </a:cubicBezTo>
                <a:cubicBezTo>
                  <a:pt x="145" y="931"/>
                  <a:pt x="144" y="932"/>
                  <a:pt x="144" y="933"/>
                </a:cubicBezTo>
                <a:cubicBezTo>
                  <a:pt x="143" y="933"/>
                  <a:pt x="143" y="934"/>
                  <a:pt x="143" y="935"/>
                </a:cubicBezTo>
                <a:cubicBezTo>
                  <a:pt x="143" y="931"/>
                  <a:pt x="143" y="931"/>
                  <a:pt x="149" y="930"/>
                </a:cubicBezTo>
                <a:cubicBezTo>
                  <a:pt x="149" y="929"/>
                  <a:pt x="148" y="929"/>
                  <a:pt x="148" y="929"/>
                </a:cubicBezTo>
                <a:cubicBezTo>
                  <a:pt x="145" y="929"/>
                  <a:pt x="144" y="928"/>
                  <a:pt x="144" y="926"/>
                </a:cubicBezTo>
                <a:cubicBezTo>
                  <a:pt x="146" y="925"/>
                  <a:pt x="147" y="925"/>
                  <a:pt x="149" y="924"/>
                </a:cubicBezTo>
                <a:cubicBezTo>
                  <a:pt x="147" y="922"/>
                  <a:pt x="146" y="919"/>
                  <a:pt x="143" y="919"/>
                </a:cubicBezTo>
                <a:cubicBezTo>
                  <a:pt x="142" y="919"/>
                  <a:pt x="142" y="918"/>
                  <a:pt x="142" y="918"/>
                </a:cubicBezTo>
                <a:cubicBezTo>
                  <a:pt x="139" y="916"/>
                  <a:pt x="137" y="914"/>
                  <a:pt x="134" y="912"/>
                </a:cubicBezTo>
                <a:cubicBezTo>
                  <a:pt x="132" y="910"/>
                  <a:pt x="129" y="910"/>
                  <a:pt x="127" y="910"/>
                </a:cubicBezTo>
                <a:cubicBezTo>
                  <a:pt x="124" y="910"/>
                  <a:pt x="121" y="911"/>
                  <a:pt x="117" y="912"/>
                </a:cubicBezTo>
                <a:cubicBezTo>
                  <a:pt x="115" y="913"/>
                  <a:pt x="112" y="915"/>
                  <a:pt x="110" y="918"/>
                </a:cubicBezTo>
                <a:cubicBezTo>
                  <a:pt x="112" y="918"/>
                  <a:pt x="113" y="918"/>
                  <a:pt x="114" y="918"/>
                </a:cubicBezTo>
                <a:cubicBezTo>
                  <a:pt x="114" y="918"/>
                  <a:pt x="113" y="919"/>
                  <a:pt x="112" y="919"/>
                </a:cubicBezTo>
                <a:cubicBezTo>
                  <a:pt x="110" y="920"/>
                  <a:pt x="107" y="919"/>
                  <a:pt x="105" y="921"/>
                </a:cubicBezTo>
                <a:cubicBezTo>
                  <a:pt x="102" y="925"/>
                  <a:pt x="98" y="929"/>
                  <a:pt x="94" y="933"/>
                </a:cubicBezTo>
                <a:cubicBezTo>
                  <a:pt x="93" y="935"/>
                  <a:pt x="92" y="937"/>
                  <a:pt x="91" y="940"/>
                </a:cubicBezTo>
                <a:cubicBezTo>
                  <a:pt x="91" y="940"/>
                  <a:pt x="91" y="941"/>
                  <a:pt x="91" y="941"/>
                </a:cubicBezTo>
                <a:cubicBezTo>
                  <a:pt x="92" y="943"/>
                  <a:pt x="94" y="945"/>
                  <a:pt x="95" y="947"/>
                </a:cubicBezTo>
                <a:cubicBezTo>
                  <a:pt x="96" y="946"/>
                  <a:pt x="97" y="944"/>
                  <a:pt x="99" y="943"/>
                </a:cubicBezTo>
                <a:cubicBezTo>
                  <a:pt x="98" y="944"/>
                  <a:pt x="98" y="945"/>
                  <a:pt x="97" y="947"/>
                </a:cubicBezTo>
                <a:cubicBezTo>
                  <a:pt x="96" y="948"/>
                  <a:pt x="95" y="949"/>
                  <a:pt x="95" y="951"/>
                </a:cubicBezTo>
                <a:cubicBezTo>
                  <a:pt x="95" y="952"/>
                  <a:pt x="95" y="953"/>
                  <a:pt x="95" y="954"/>
                </a:cubicBezTo>
                <a:cubicBezTo>
                  <a:pt x="98" y="957"/>
                  <a:pt x="101" y="957"/>
                  <a:pt x="105" y="955"/>
                </a:cubicBezTo>
                <a:cubicBezTo>
                  <a:pt x="107" y="954"/>
                  <a:pt x="110" y="952"/>
                  <a:pt x="113" y="952"/>
                </a:cubicBezTo>
                <a:cubicBezTo>
                  <a:pt x="114" y="951"/>
                  <a:pt x="115" y="950"/>
                  <a:pt x="115" y="949"/>
                </a:cubicBezTo>
                <a:cubicBezTo>
                  <a:pt x="115" y="946"/>
                  <a:pt x="115" y="942"/>
                  <a:pt x="115" y="939"/>
                </a:cubicBezTo>
                <a:cubicBezTo>
                  <a:pt x="115" y="936"/>
                  <a:pt x="115" y="933"/>
                  <a:pt x="115" y="930"/>
                </a:cubicBezTo>
                <a:cubicBezTo>
                  <a:pt x="116" y="933"/>
                  <a:pt x="117" y="935"/>
                  <a:pt x="117" y="938"/>
                </a:cubicBezTo>
                <a:cubicBezTo>
                  <a:pt x="118" y="943"/>
                  <a:pt x="118" y="947"/>
                  <a:pt x="117" y="951"/>
                </a:cubicBezTo>
                <a:cubicBezTo>
                  <a:pt x="116" y="952"/>
                  <a:pt x="115" y="953"/>
                  <a:pt x="115" y="953"/>
                </a:cubicBezTo>
                <a:cubicBezTo>
                  <a:pt x="112" y="953"/>
                  <a:pt x="108" y="955"/>
                  <a:pt x="105" y="957"/>
                </a:cubicBezTo>
                <a:cubicBezTo>
                  <a:pt x="100" y="960"/>
                  <a:pt x="97" y="958"/>
                  <a:pt x="93" y="954"/>
                </a:cubicBezTo>
                <a:cubicBezTo>
                  <a:pt x="93" y="954"/>
                  <a:pt x="93" y="952"/>
                  <a:pt x="93" y="952"/>
                </a:cubicBezTo>
                <a:cubicBezTo>
                  <a:pt x="94" y="950"/>
                  <a:pt x="93" y="948"/>
                  <a:pt x="92" y="946"/>
                </a:cubicBezTo>
                <a:cubicBezTo>
                  <a:pt x="90" y="944"/>
                  <a:pt x="88" y="941"/>
                  <a:pt x="90" y="939"/>
                </a:cubicBezTo>
                <a:cubicBezTo>
                  <a:pt x="90" y="937"/>
                  <a:pt x="91" y="935"/>
                  <a:pt x="92" y="933"/>
                </a:cubicBezTo>
                <a:cubicBezTo>
                  <a:pt x="94" y="931"/>
                  <a:pt x="96" y="928"/>
                  <a:pt x="98" y="926"/>
                </a:cubicBezTo>
                <a:cubicBezTo>
                  <a:pt x="98" y="926"/>
                  <a:pt x="97" y="926"/>
                  <a:pt x="97" y="926"/>
                </a:cubicBezTo>
                <a:cubicBezTo>
                  <a:pt x="92" y="927"/>
                  <a:pt x="88" y="928"/>
                  <a:pt x="84" y="931"/>
                </a:cubicBezTo>
                <a:cubicBezTo>
                  <a:pt x="79" y="936"/>
                  <a:pt x="76" y="941"/>
                  <a:pt x="76" y="948"/>
                </a:cubicBezTo>
                <a:cubicBezTo>
                  <a:pt x="75" y="954"/>
                  <a:pt x="78" y="960"/>
                  <a:pt x="81" y="966"/>
                </a:cubicBezTo>
                <a:cubicBezTo>
                  <a:pt x="82" y="967"/>
                  <a:pt x="83" y="969"/>
                  <a:pt x="82" y="970"/>
                </a:cubicBezTo>
                <a:cubicBezTo>
                  <a:pt x="82" y="971"/>
                  <a:pt x="82" y="973"/>
                  <a:pt x="81" y="974"/>
                </a:cubicBezTo>
                <a:cubicBezTo>
                  <a:pt x="81" y="976"/>
                  <a:pt x="81" y="977"/>
                  <a:pt x="82" y="977"/>
                </a:cubicBezTo>
                <a:cubicBezTo>
                  <a:pt x="85" y="978"/>
                  <a:pt x="88" y="979"/>
                  <a:pt x="91" y="979"/>
                </a:cubicBezTo>
                <a:cubicBezTo>
                  <a:pt x="92" y="979"/>
                  <a:pt x="92" y="978"/>
                  <a:pt x="92" y="978"/>
                </a:cubicBezTo>
                <a:cubicBezTo>
                  <a:pt x="93" y="977"/>
                  <a:pt x="93" y="975"/>
                  <a:pt x="94" y="974"/>
                </a:cubicBezTo>
                <a:cubicBezTo>
                  <a:pt x="95" y="972"/>
                  <a:pt x="95" y="969"/>
                  <a:pt x="95" y="966"/>
                </a:cubicBezTo>
                <a:cubicBezTo>
                  <a:pt x="95" y="966"/>
                  <a:pt x="95" y="966"/>
                  <a:pt x="95" y="965"/>
                </a:cubicBezTo>
                <a:cubicBezTo>
                  <a:pt x="95" y="965"/>
                  <a:pt x="95" y="965"/>
                  <a:pt x="95" y="964"/>
                </a:cubicBezTo>
                <a:cubicBezTo>
                  <a:pt x="96" y="967"/>
                  <a:pt x="97" y="967"/>
                  <a:pt x="99" y="967"/>
                </a:cubicBezTo>
                <a:cubicBezTo>
                  <a:pt x="100" y="967"/>
                  <a:pt x="101" y="967"/>
                  <a:pt x="102" y="967"/>
                </a:cubicBezTo>
                <a:cubicBezTo>
                  <a:pt x="104" y="967"/>
                  <a:pt x="108" y="968"/>
                  <a:pt x="108" y="964"/>
                </a:cubicBezTo>
                <a:cubicBezTo>
                  <a:pt x="108" y="966"/>
                  <a:pt x="108" y="967"/>
                  <a:pt x="108" y="968"/>
                </a:cubicBezTo>
                <a:cubicBezTo>
                  <a:pt x="107" y="969"/>
                  <a:pt x="106" y="970"/>
                  <a:pt x="104" y="970"/>
                </a:cubicBezTo>
                <a:cubicBezTo>
                  <a:pt x="103" y="971"/>
                  <a:pt x="103" y="973"/>
                  <a:pt x="103" y="973"/>
                </a:cubicBezTo>
                <a:cubicBezTo>
                  <a:pt x="104" y="976"/>
                  <a:pt x="106" y="978"/>
                  <a:pt x="107" y="980"/>
                </a:cubicBezTo>
                <a:cubicBezTo>
                  <a:pt x="109" y="981"/>
                  <a:pt x="111" y="981"/>
                  <a:pt x="112" y="979"/>
                </a:cubicBezTo>
                <a:cubicBezTo>
                  <a:pt x="113" y="978"/>
                  <a:pt x="114" y="977"/>
                  <a:pt x="114" y="977"/>
                </a:cubicBezTo>
                <a:cubicBezTo>
                  <a:pt x="116" y="975"/>
                  <a:pt x="117" y="974"/>
                  <a:pt x="119" y="973"/>
                </a:cubicBezTo>
                <a:cubicBezTo>
                  <a:pt x="123" y="969"/>
                  <a:pt x="125" y="963"/>
                  <a:pt x="127" y="957"/>
                </a:cubicBezTo>
                <a:cubicBezTo>
                  <a:pt x="127" y="956"/>
                  <a:pt x="126" y="956"/>
                  <a:pt x="126" y="955"/>
                </a:cubicBezTo>
                <a:cubicBezTo>
                  <a:pt x="125" y="954"/>
                  <a:pt x="124" y="953"/>
                  <a:pt x="123" y="952"/>
                </a:cubicBezTo>
                <a:close/>
                <a:moveTo>
                  <a:pt x="75" y="959"/>
                </a:moveTo>
                <a:cubicBezTo>
                  <a:pt x="75" y="960"/>
                  <a:pt x="73" y="960"/>
                  <a:pt x="72" y="962"/>
                </a:cubicBezTo>
                <a:cubicBezTo>
                  <a:pt x="72" y="962"/>
                  <a:pt x="71" y="963"/>
                  <a:pt x="71" y="964"/>
                </a:cubicBezTo>
                <a:cubicBezTo>
                  <a:pt x="71" y="966"/>
                  <a:pt x="75" y="971"/>
                  <a:pt x="79" y="970"/>
                </a:cubicBezTo>
                <a:cubicBezTo>
                  <a:pt x="80" y="970"/>
                  <a:pt x="81" y="969"/>
                  <a:pt x="80" y="967"/>
                </a:cubicBezTo>
                <a:cubicBezTo>
                  <a:pt x="79" y="964"/>
                  <a:pt x="77" y="962"/>
                  <a:pt x="75" y="959"/>
                </a:cubicBezTo>
                <a:close/>
                <a:moveTo>
                  <a:pt x="128" y="961"/>
                </a:moveTo>
                <a:cubicBezTo>
                  <a:pt x="126" y="966"/>
                  <a:pt x="123" y="970"/>
                  <a:pt x="121" y="974"/>
                </a:cubicBezTo>
                <a:cubicBezTo>
                  <a:pt x="124" y="974"/>
                  <a:pt x="126" y="975"/>
                  <a:pt x="129" y="974"/>
                </a:cubicBezTo>
                <a:cubicBezTo>
                  <a:pt x="129" y="974"/>
                  <a:pt x="130" y="973"/>
                  <a:pt x="130" y="973"/>
                </a:cubicBezTo>
                <a:cubicBezTo>
                  <a:pt x="130" y="970"/>
                  <a:pt x="130" y="967"/>
                  <a:pt x="129" y="965"/>
                </a:cubicBezTo>
                <a:cubicBezTo>
                  <a:pt x="129" y="964"/>
                  <a:pt x="128" y="962"/>
                  <a:pt x="128" y="961"/>
                </a:cubicBezTo>
                <a:close/>
                <a:moveTo>
                  <a:pt x="75" y="941"/>
                </a:moveTo>
                <a:cubicBezTo>
                  <a:pt x="75" y="941"/>
                  <a:pt x="74" y="941"/>
                  <a:pt x="74" y="941"/>
                </a:cubicBezTo>
                <a:cubicBezTo>
                  <a:pt x="73" y="941"/>
                  <a:pt x="72" y="941"/>
                  <a:pt x="72" y="941"/>
                </a:cubicBezTo>
                <a:cubicBezTo>
                  <a:pt x="72" y="941"/>
                  <a:pt x="71" y="940"/>
                  <a:pt x="71" y="939"/>
                </a:cubicBezTo>
                <a:cubicBezTo>
                  <a:pt x="72" y="937"/>
                  <a:pt x="72" y="935"/>
                  <a:pt x="73" y="933"/>
                </a:cubicBezTo>
                <a:cubicBezTo>
                  <a:pt x="73" y="933"/>
                  <a:pt x="73" y="933"/>
                  <a:pt x="72" y="933"/>
                </a:cubicBezTo>
                <a:cubicBezTo>
                  <a:pt x="72" y="934"/>
                  <a:pt x="70" y="935"/>
                  <a:pt x="70" y="936"/>
                </a:cubicBezTo>
                <a:cubicBezTo>
                  <a:pt x="69" y="937"/>
                  <a:pt x="70" y="942"/>
                  <a:pt x="72" y="943"/>
                </a:cubicBezTo>
                <a:cubicBezTo>
                  <a:pt x="74" y="944"/>
                  <a:pt x="75" y="943"/>
                  <a:pt x="75" y="941"/>
                </a:cubicBezTo>
                <a:close/>
                <a:moveTo>
                  <a:pt x="76" y="959"/>
                </a:moveTo>
                <a:cubicBezTo>
                  <a:pt x="75" y="960"/>
                  <a:pt x="73" y="961"/>
                  <a:pt x="72" y="962"/>
                </a:cubicBezTo>
                <a:cubicBezTo>
                  <a:pt x="72" y="962"/>
                  <a:pt x="71" y="963"/>
                  <a:pt x="71" y="964"/>
                </a:cubicBezTo>
                <a:cubicBezTo>
                  <a:pt x="71" y="967"/>
                  <a:pt x="76" y="971"/>
                  <a:pt x="79" y="971"/>
                </a:cubicBezTo>
                <a:cubicBezTo>
                  <a:pt x="80" y="971"/>
                  <a:pt x="81" y="969"/>
                  <a:pt x="80" y="968"/>
                </a:cubicBezTo>
                <a:cubicBezTo>
                  <a:pt x="79" y="965"/>
                  <a:pt x="77" y="962"/>
                  <a:pt x="76" y="959"/>
                </a:cubicBezTo>
                <a:close/>
                <a:moveTo>
                  <a:pt x="128" y="961"/>
                </a:moveTo>
                <a:cubicBezTo>
                  <a:pt x="126" y="966"/>
                  <a:pt x="124" y="970"/>
                  <a:pt x="121" y="974"/>
                </a:cubicBezTo>
                <a:cubicBezTo>
                  <a:pt x="124" y="974"/>
                  <a:pt x="126" y="975"/>
                  <a:pt x="129" y="974"/>
                </a:cubicBezTo>
                <a:cubicBezTo>
                  <a:pt x="129" y="974"/>
                  <a:pt x="129" y="973"/>
                  <a:pt x="129" y="973"/>
                </a:cubicBezTo>
                <a:cubicBezTo>
                  <a:pt x="129" y="970"/>
                  <a:pt x="129" y="968"/>
                  <a:pt x="129" y="965"/>
                </a:cubicBezTo>
                <a:cubicBezTo>
                  <a:pt x="129" y="964"/>
                  <a:pt x="128" y="962"/>
                  <a:pt x="128" y="961"/>
                </a:cubicBezTo>
                <a:close/>
                <a:moveTo>
                  <a:pt x="76" y="941"/>
                </a:moveTo>
                <a:cubicBezTo>
                  <a:pt x="75" y="941"/>
                  <a:pt x="74" y="942"/>
                  <a:pt x="74" y="942"/>
                </a:cubicBezTo>
                <a:cubicBezTo>
                  <a:pt x="73" y="942"/>
                  <a:pt x="72" y="942"/>
                  <a:pt x="72" y="941"/>
                </a:cubicBezTo>
                <a:cubicBezTo>
                  <a:pt x="72" y="941"/>
                  <a:pt x="71" y="940"/>
                  <a:pt x="71" y="939"/>
                </a:cubicBezTo>
                <a:cubicBezTo>
                  <a:pt x="72" y="937"/>
                  <a:pt x="73" y="935"/>
                  <a:pt x="73" y="933"/>
                </a:cubicBezTo>
                <a:cubicBezTo>
                  <a:pt x="73" y="933"/>
                  <a:pt x="73" y="933"/>
                  <a:pt x="73" y="933"/>
                </a:cubicBezTo>
                <a:cubicBezTo>
                  <a:pt x="72" y="934"/>
                  <a:pt x="71" y="935"/>
                  <a:pt x="70" y="936"/>
                </a:cubicBezTo>
                <a:cubicBezTo>
                  <a:pt x="69" y="937"/>
                  <a:pt x="71" y="942"/>
                  <a:pt x="72" y="943"/>
                </a:cubicBezTo>
                <a:cubicBezTo>
                  <a:pt x="74" y="944"/>
                  <a:pt x="76" y="943"/>
                  <a:pt x="76" y="941"/>
                </a:cubicBezTo>
                <a:close/>
                <a:moveTo>
                  <a:pt x="128" y="933"/>
                </a:moveTo>
                <a:cubicBezTo>
                  <a:pt x="131" y="929"/>
                  <a:pt x="131" y="929"/>
                  <a:pt x="135" y="928"/>
                </a:cubicBezTo>
                <a:cubicBezTo>
                  <a:pt x="135" y="930"/>
                  <a:pt x="136" y="931"/>
                  <a:pt x="138" y="931"/>
                </a:cubicBezTo>
                <a:cubicBezTo>
                  <a:pt x="135" y="932"/>
                  <a:pt x="133" y="934"/>
                  <a:pt x="131" y="935"/>
                </a:cubicBezTo>
                <a:cubicBezTo>
                  <a:pt x="130" y="934"/>
                  <a:pt x="130" y="933"/>
                  <a:pt x="129" y="932"/>
                </a:cubicBezTo>
                <a:cubicBezTo>
                  <a:pt x="129" y="932"/>
                  <a:pt x="128" y="932"/>
                  <a:pt x="128" y="933"/>
                </a:cubicBezTo>
                <a:close/>
                <a:moveTo>
                  <a:pt x="134" y="932"/>
                </a:moveTo>
                <a:cubicBezTo>
                  <a:pt x="133" y="932"/>
                  <a:pt x="132" y="931"/>
                  <a:pt x="132" y="931"/>
                </a:cubicBezTo>
                <a:cubicBezTo>
                  <a:pt x="131" y="931"/>
                  <a:pt x="130" y="932"/>
                  <a:pt x="130" y="933"/>
                </a:cubicBezTo>
                <a:cubicBezTo>
                  <a:pt x="130" y="933"/>
                  <a:pt x="131" y="933"/>
                  <a:pt x="131" y="934"/>
                </a:cubicBezTo>
                <a:cubicBezTo>
                  <a:pt x="132" y="933"/>
                  <a:pt x="132" y="933"/>
                  <a:pt x="134" y="932"/>
                </a:cubicBezTo>
                <a:close/>
                <a:moveTo>
                  <a:pt x="115" y="922"/>
                </a:moveTo>
                <a:cubicBezTo>
                  <a:pt x="108" y="921"/>
                  <a:pt x="105" y="924"/>
                  <a:pt x="104" y="932"/>
                </a:cubicBezTo>
                <a:cubicBezTo>
                  <a:pt x="105" y="930"/>
                  <a:pt x="106" y="928"/>
                  <a:pt x="108" y="925"/>
                </a:cubicBezTo>
                <a:cubicBezTo>
                  <a:pt x="108" y="925"/>
                  <a:pt x="108" y="925"/>
                  <a:pt x="108" y="925"/>
                </a:cubicBezTo>
                <a:cubicBezTo>
                  <a:pt x="108" y="926"/>
                  <a:pt x="108" y="927"/>
                  <a:pt x="108" y="928"/>
                </a:cubicBezTo>
                <a:cubicBezTo>
                  <a:pt x="109" y="925"/>
                  <a:pt x="111" y="923"/>
                  <a:pt x="115" y="922"/>
                </a:cubicBezTo>
                <a:close/>
                <a:moveTo>
                  <a:pt x="158" y="924"/>
                </a:moveTo>
                <a:cubicBezTo>
                  <a:pt x="156" y="925"/>
                  <a:pt x="154" y="927"/>
                  <a:pt x="153" y="928"/>
                </a:cubicBezTo>
                <a:cubicBezTo>
                  <a:pt x="155" y="928"/>
                  <a:pt x="157" y="927"/>
                  <a:pt x="158" y="924"/>
                </a:cubicBezTo>
                <a:close/>
                <a:moveTo>
                  <a:pt x="125" y="926"/>
                </a:moveTo>
                <a:cubicBezTo>
                  <a:pt x="126" y="925"/>
                  <a:pt x="127" y="923"/>
                  <a:pt x="128" y="922"/>
                </a:cubicBezTo>
                <a:cubicBezTo>
                  <a:pt x="125" y="923"/>
                  <a:pt x="125" y="924"/>
                  <a:pt x="125" y="926"/>
                </a:cubicBezTo>
                <a:close/>
                <a:moveTo>
                  <a:pt x="135" y="947"/>
                </a:moveTo>
                <a:cubicBezTo>
                  <a:pt x="133" y="948"/>
                  <a:pt x="132" y="949"/>
                  <a:pt x="132" y="949"/>
                </a:cubicBezTo>
                <a:cubicBezTo>
                  <a:pt x="133" y="949"/>
                  <a:pt x="134" y="948"/>
                  <a:pt x="135" y="947"/>
                </a:cubicBezTo>
                <a:close/>
                <a:moveTo>
                  <a:pt x="134" y="932"/>
                </a:moveTo>
                <a:cubicBezTo>
                  <a:pt x="133" y="931"/>
                  <a:pt x="132" y="931"/>
                  <a:pt x="132" y="931"/>
                </a:cubicBezTo>
                <a:cubicBezTo>
                  <a:pt x="131" y="931"/>
                  <a:pt x="130" y="932"/>
                  <a:pt x="130" y="932"/>
                </a:cubicBezTo>
                <a:cubicBezTo>
                  <a:pt x="130" y="933"/>
                  <a:pt x="131" y="933"/>
                  <a:pt x="131" y="933"/>
                </a:cubicBezTo>
                <a:cubicBezTo>
                  <a:pt x="132" y="933"/>
                  <a:pt x="133" y="933"/>
                  <a:pt x="134" y="932"/>
                </a:cubicBezTo>
                <a:close/>
                <a:moveTo>
                  <a:pt x="1764" y="1078"/>
                </a:moveTo>
                <a:cubicBezTo>
                  <a:pt x="1767" y="1059"/>
                  <a:pt x="1767" y="1059"/>
                  <a:pt x="1767" y="1059"/>
                </a:cubicBezTo>
                <a:cubicBezTo>
                  <a:pt x="1758" y="1059"/>
                  <a:pt x="1758" y="1059"/>
                  <a:pt x="1758" y="1059"/>
                </a:cubicBezTo>
                <a:cubicBezTo>
                  <a:pt x="1758" y="1047"/>
                  <a:pt x="1758" y="1047"/>
                  <a:pt x="1758" y="1047"/>
                </a:cubicBezTo>
                <a:cubicBezTo>
                  <a:pt x="1769" y="1047"/>
                  <a:pt x="1769" y="1047"/>
                  <a:pt x="1769" y="1047"/>
                </a:cubicBezTo>
                <a:cubicBezTo>
                  <a:pt x="1770" y="1036"/>
                  <a:pt x="1770" y="1036"/>
                  <a:pt x="1770" y="1036"/>
                </a:cubicBezTo>
                <a:cubicBezTo>
                  <a:pt x="1761" y="1036"/>
                  <a:pt x="1761" y="1036"/>
                  <a:pt x="1761" y="1036"/>
                </a:cubicBezTo>
                <a:cubicBezTo>
                  <a:pt x="1761" y="1024"/>
                  <a:pt x="1761" y="1024"/>
                  <a:pt x="1761" y="1024"/>
                </a:cubicBezTo>
                <a:cubicBezTo>
                  <a:pt x="1772" y="1024"/>
                  <a:pt x="1772" y="1024"/>
                  <a:pt x="1772" y="1024"/>
                </a:cubicBezTo>
                <a:cubicBezTo>
                  <a:pt x="1775" y="1006"/>
                  <a:pt x="1775" y="1006"/>
                  <a:pt x="1775" y="1006"/>
                </a:cubicBezTo>
                <a:cubicBezTo>
                  <a:pt x="1786" y="1006"/>
                  <a:pt x="1786" y="1006"/>
                  <a:pt x="1786" y="1006"/>
                </a:cubicBezTo>
                <a:cubicBezTo>
                  <a:pt x="1783" y="1024"/>
                  <a:pt x="1783" y="1024"/>
                  <a:pt x="1783" y="1024"/>
                </a:cubicBezTo>
                <a:cubicBezTo>
                  <a:pt x="1793" y="1024"/>
                  <a:pt x="1793" y="1024"/>
                  <a:pt x="1793" y="1024"/>
                </a:cubicBezTo>
                <a:cubicBezTo>
                  <a:pt x="1796" y="1006"/>
                  <a:pt x="1796" y="1006"/>
                  <a:pt x="1796" y="1006"/>
                </a:cubicBezTo>
                <a:cubicBezTo>
                  <a:pt x="1807" y="1006"/>
                  <a:pt x="1807" y="1006"/>
                  <a:pt x="1807" y="1006"/>
                </a:cubicBezTo>
                <a:cubicBezTo>
                  <a:pt x="1804" y="1024"/>
                  <a:pt x="1804" y="1024"/>
                  <a:pt x="1804" y="1024"/>
                </a:cubicBezTo>
                <a:cubicBezTo>
                  <a:pt x="1813" y="1024"/>
                  <a:pt x="1813" y="1024"/>
                  <a:pt x="1813" y="1024"/>
                </a:cubicBezTo>
                <a:cubicBezTo>
                  <a:pt x="1813" y="1036"/>
                  <a:pt x="1813" y="1036"/>
                  <a:pt x="1813" y="1036"/>
                </a:cubicBezTo>
                <a:cubicBezTo>
                  <a:pt x="1803" y="1036"/>
                  <a:pt x="1803" y="1036"/>
                  <a:pt x="1803" y="1036"/>
                </a:cubicBezTo>
                <a:cubicBezTo>
                  <a:pt x="1801" y="1047"/>
                  <a:pt x="1801" y="1047"/>
                  <a:pt x="1801" y="1047"/>
                </a:cubicBezTo>
                <a:cubicBezTo>
                  <a:pt x="1810" y="1047"/>
                  <a:pt x="1810" y="1047"/>
                  <a:pt x="1810" y="1047"/>
                </a:cubicBezTo>
                <a:cubicBezTo>
                  <a:pt x="1810" y="1059"/>
                  <a:pt x="1810" y="1059"/>
                  <a:pt x="1810" y="1059"/>
                </a:cubicBezTo>
                <a:cubicBezTo>
                  <a:pt x="1799" y="1059"/>
                  <a:pt x="1799" y="1059"/>
                  <a:pt x="1799" y="1059"/>
                </a:cubicBezTo>
                <a:cubicBezTo>
                  <a:pt x="1796" y="1078"/>
                  <a:pt x="1796" y="1078"/>
                  <a:pt x="1796" y="1078"/>
                </a:cubicBezTo>
                <a:cubicBezTo>
                  <a:pt x="1785" y="1078"/>
                  <a:pt x="1785" y="1078"/>
                  <a:pt x="1785" y="1078"/>
                </a:cubicBezTo>
                <a:cubicBezTo>
                  <a:pt x="1788" y="1059"/>
                  <a:pt x="1788" y="1059"/>
                  <a:pt x="1788" y="1059"/>
                </a:cubicBezTo>
                <a:cubicBezTo>
                  <a:pt x="1778" y="1059"/>
                  <a:pt x="1778" y="1059"/>
                  <a:pt x="1778" y="1059"/>
                </a:cubicBezTo>
                <a:cubicBezTo>
                  <a:pt x="1775" y="1078"/>
                  <a:pt x="1775" y="1078"/>
                  <a:pt x="1775" y="1078"/>
                </a:cubicBezTo>
                <a:cubicBezTo>
                  <a:pt x="1764" y="1078"/>
                  <a:pt x="1764" y="1078"/>
                  <a:pt x="1764" y="1078"/>
                </a:cubicBezTo>
                <a:cubicBezTo>
                  <a:pt x="1764" y="1078"/>
                  <a:pt x="1764" y="1078"/>
                  <a:pt x="1764" y="1078"/>
                </a:cubicBezTo>
                <a:close/>
                <a:moveTo>
                  <a:pt x="1790" y="1047"/>
                </a:moveTo>
                <a:cubicBezTo>
                  <a:pt x="1791" y="1036"/>
                  <a:pt x="1791" y="1036"/>
                  <a:pt x="1791" y="1036"/>
                </a:cubicBezTo>
                <a:cubicBezTo>
                  <a:pt x="1782" y="1036"/>
                  <a:pt x="1782" y="1036"/>
                  <a:pt x="1782" y="1036"/>
                </a:cubicBezTo>
                <a:cubicBezTo>
                  <a:pt x="1780" y="1047"/>
                  <a:pt x="1780" y="1047"/>
                  <a:pt x="1780" y="1047"/>
                </a:cubicBezTo>
                <a:cubicBezTo>
                  <a:pt x="1790" y="1047"/>
                  <a:pt x="1790" y="1047"/>
                  <a:pt x="1790" y="1047"/>
                </a:cubicBezTo>
                <a:cubicBezTo>
                  <a:pt x="1790" y="1047"/>
                  <a:pt x="1790" y="1047"/>
                  <a:pt x="1790" y="1047"/>
                </a:cubicBezTo>
                <a:close/>
                <a:moveTo>
                  <a:pt x="649" y="1052"/>
                </a:moveTo>
                <a:cubicBezTo>
                  <a:pt x="649" y="1053"/>
                  <a:pt x="650" y="1055"/>
                  <a:pt x="650" y="1056"/>
                </a:cubicBezTo>
                <a:cubicBezTo>
                  <a:pt x="651" y="1058"/>
                  <a:pt x="651" y="1060"/>
                  <a:pt x="652" y="1061"/>
                </a:cubicBezTo>
                <a:cubicBezTo>
                  <a:pt x="652" y="1063"/>
                  <a:pt x="652" y="1065"/>
                  <a:pt x="652" y="1066"/>
                </a:cubicBezTo>
                <a:cubicBezTo>
                  <a:pt x="653" y="1069"/>
                  <a:pt x="652" y="1071"/>
                  <a:pt x="648" y="1071"/>
                </a:cubicBezTo>
                <a:cubicBezTo>
                  <a:pt x="646" y="1071"/>
                  <a:pt x="643" y="1070"/>
                  <a:pt x="640" y="1070"/>
                </a:cubicBezTo>
                <a:cubicBezTo>
                  <a:pt x="640" y="1070"/>
                  <a:pt x="639" y="1070"/>
                  <a:pt x="639" y="1071"/>
                </a:cubicBezTo>
                <a:cubicBezTo>
                  <a:pt x="637" y="1072"/>
                  <a:pt x="635" y="1074"/>
                  <a:pt x="634" y="1075"/>
                </a:cubicBezTo>
                <a:cubicBezTo>
                  <a:pt x="632" y="1078"/>
                  <a:pt x="629" y="1078"/>
                  <a:pt x="627" y="1076"/>
                </a:cubicBezTo>
                <a:cubicBezTo>
                  <a:pt x="625" y="1074"/>
                  <a:pt x="624" y="1071"/>
                  <a:pt x="622" y="1068"/>
                </a:cubicBezTo>
                <a:cubicBezTo>
                  <a:pt x="621" y="1067"/>
                  <a:pt x="622" y="1065"/>
                  <a:pt x="624" y="1064"/>
                </a:cubicBezTo>
                <a:cubicBezTo>
                  <a:pt x="621" y="1064"/>
                  <a:pt x="620" y="1064"/>
                  <a:pt x="618" y="1064"/>
                </a:cubicBezTo>
                <a:cubicBezTo>
                  <a:pt x="617" y="1066"/>
                  <a:pt x="616" y="1068"/>
                  <a:pt x="615" y="1070"/>
                </a:cubicBezTo>
                <a:cubicBezTo>
                  <a:pt x="615" y="1070"/>
                  <a:pt x="615" y="1071"/>
                  <a:pt x="615" y="1072"/>
                </a:cubicBezTo>
                <a:cubicBezTo>
                  <a:pt x="615" y="1075"/>
                  <a:pt x="614" y="1076"/>
                  <a:pt x="611" y="1076"/>
                </a:cubicBezTo>
                <a:cubicBezTo>
                  <a:pt x="608" y="1076"/>
                  <a:pt x="605" y="1075"/>
                  <a:pt x="602" y="1074"/>
                </a:cubicBezTo>
                <a:cubicBezTo>
                  <a:pt x="600" y="1073"/>
                  <a:pt x="599" y="1072"/>
                  <a:pt x="600" y="1070"/>
                </a:cubicBezTo>
                <a:cubicBezTo>
                  <a:pt x="600" y="1069"/>
                  <a:pt x="600" y="1068"/>
                  <a:pt x="601" y="1068"/>
                </a:cubicBezTo>
                <a:cubicBezTo>
                  <a:pt x="598" y="1067"/>
                  <a:pt x="596" y="1066"/>
                  <a:pt x="594" y="1065"/>
                </a:cubicBezTo>
                <a:cubicBezTo>
                  <a:pt x="593" y="1064"/>
                  <a:pt x="592" y="1062"/>
                  <a:pt x="591" y="1060"/>
                </a:cubicBezTo>
                <a:cubicBezTo>
                  <a:pt x="590" y="1058"/>
                  <a:pt x="590" y="1057"/>
                  <a:pt x="592" y="1055"/>
                </a:cubicBezTo>
                <a:cubicBezTo>
                  <a:pt x="595" y="1053"/>
                  <a:pt x="596" y="1050"/>
                  <a:pt x="595" y="1046"/>
                </a:cubicBezTo>
                <a:cubicBezTo>
                  <a:pt x="595" y="1044"/>
                  <a:pt x="595" y="1042"/>
                  <a:pt x="595" y="1040"/>
                </a:cubicBezTo>
                <a:cubicBezTo>
                  <a:pt x="594" y="1039"/>
                  <a:pt x="592" y="1039"/>
                  <a:pt x="591" y="1038"/>
                </a:cubicBezTo>
                <a:cubicBezTo>
                  <a:pt x="590" y="1036"/>
                  <a:pt x="589" y="1034"/>
                  <a:pt x="589" y="1032"/>
                </a:cubicBezTo>
                <a:cubicBezTo>
                  <a:pt x="589" y="1029"/>
                  <a:pt x="592" y="1026"/>
                  <a:pt x="595" y="1026"/>
                </a:cubicBezTo>
                <a:cubicBezTo>
                  <a:pt x="595" y="1026"/>
                  <a:pt x="595" y="1027"/>
                  <a:pt x="596" y="1028"/>
                </a:cubicBezTo>
                <a:cubicBezTo>
                  <a:pt x="596" y="1029"/>
                  <a:pt x="596" y="1030"/>
                  <a:pt x="596" y="1031"/>
                </a:cubicBezTo>
                <a:cubicBezTo>
                  <a:pt x="595" y="1031"/>
                  <a:pt x="595" y="1031"/>
                  <a:pt x="595" y="1031"/>
                </a:cubicBezTo>
                <a:cubicBezTo>
                  <a:pt x="594" y="1032"/>
                  <a:pt x="594" y="1033"/>
                  <a:pt x="593" y="1035"/>
                </a:cubicBezTo>
                <a:cubicBezTo>
                  <a:pt x="594" y="1035"/>
                  <a:pt x="595" y="1035"/>
                  <a:pt x="595" y="1034"/>
                </a:cubicBezTo>
                <a:cubicBezTo>
                  <a:pt x="597" y="1033"/>
                  <a:pt x="597" y="1032"/>
                  <a:pt x="598" y="1031"/>
                </a:cubicBezTo>
                <a:cubicBezTo>
                  <a:pt x="603" y="1025"/>
                  <a:pt x="608" y="1021"/>
                  <a:pt x="616" y="1019"/>
                </a:cubicBezTo>
                <a:cubicBezTo>
                  <a:pt x="619" y="1019"/>
                  <a:pt x="623" y="1017"/>
                  <a:pt x="625" y="1015"/>
                </a:cubicBezTo>
                <a:cubicBezTo>
                  <a:pt x="625" y="1014"/>
                  <a:pt x="626" y="1014"/>
                  <a:pt x="626" y="1014"/>
                </a:cubicBezTo>
                <a:cubicBezTo>
                  <a:pt x="629" y="1013"/>
                  <a:pt x="630" y="1011"/>
                  <a:pt x="632" y="1009"/>
                </a:cubicBezTo>
                <a:cubicBezTo>
                  <a:pt x="640" y="1002"/>
                  <a:pt x="652" y="1001"/>
                  <a:pt x="659" y="1008"/>
                </a:cubicBezTo>
                <a:cubicBezTo>
                  <a:pt x="662" y="1010"/>
                  <a:pt x="665" y="1012"/>
                  <a:pt x="667" y="1014"/>
                </a:cubicBezTo>
                <a:cubicBezTo>
                  <a:pt x="668" y="1015"/>
                  <a:pt x="670" y="1017"/>
                  <a:pt x="671" y="1019"/>
                </a:cubicBezTo>
                <a:cubicBezTo>
                  <a:pt x="672" y="1020"/>
                  <a:pt x="672" y="1020"/>
                  <a:pt x="674" y="1019"/>
                </a:cubicBezTo>
                <a:cubicBezTo>
                  <a:pt x="674" y="1019"/>
                  <a:pt x="675" y="1018"/>
                  <a:pt x="676" y="1017"/>
                </a:cubicBezTo>
                <a:cubicBezTo>
                  <a:pt x="678" y="1014"/>
                  <a:pt x="681" y="1014"/>
                  <a:pt x="682" y="1017"/>
                </a:cubicBezTo>
                <a:cubicBezTo>
                  <a:pt x="683" y="1021"/>
                  <a:pt x="684" y="1023"/>
                  <a:pt x="685" y="1026"/>
                </a:cubicBezTo>
                <a:cubicBezTo>
                  <a:pt x="685" y="1031"/>
                  <a:pt x="685" y="1035"/>
                  <a:pt x="683" y="1040"/>
                </a:cubicBezTo>
                <a:cubicBezTo>
                  <a:pt x="681" y="1046"/>
                  <a:pt x="676" y="1049"/>
                  <a:pt x="670" y="1049"/>
                </a:cubicBezTo>
                <a:cubicBezTo>
                  <a:pt x="669" y="1049"/>
                  <a:pt x="668" y="1049"/>
                  <a:pt x="668" y="1049"/>
                </a:cubicBezTo>
                <a:cubicBezTo>
                  <a:pt x="665" y="1049"/>
                  <a:pt x="664" y="1049"/>
                  <a:pt x="663" y="1052"/>
                </a:cubicBezTo>
                <a:cubicBezTo>
                  <a:pt x="662" y="1056"/>
                  <a:pt x="656" y="1058"/>
                  <a:pt x="653" y="1055"/>
                </a:cubicBezTo>
                <a:cubicBezTo>
                  <a:pt x="652" y="1053"/>
                  <a:pt x="651" y="1053"/>
                  <a:pt x="650" y="1051"/>
                </a:cubicBezTo>
                <a:cubicBezTo>
                  <a:pt x="649" y="1052"/>
                  <a:pt x="649" y="1052"/>
                  <a:pt x="649" y="1052"/>
                </a:cubicBezTo>
                <a:close/>
                <a:moveTo>
                  <a:pt x="643" y="1047"/>
                </a:moveTo>
                <a:cubicBezTo>
                  <a:pt x="647" y="1049"/>
                  <a:pt x="650" y="1050"/>
                  <a:pt x="653" y="1053"/>
                </a:cubicBezTo>
                <a:cubicBezTo>
                  <a:pt x="655" y="1055"/>
                  <a:pt x="657" y="1055"/>
                  <a:pt x="659" y="1055"/>
                </a:cubicBezTo>
                <a:cubicBezTo>
                  <a:pt x="661" y="1054"/>
                  <a:pt x="663" y="1052"/>
                  <a:pt x="663" y="1049"/>
                </a:cubicBezTo>
                <a:cubicBezTo>
                  <a:pt x="663" y="1049"/>
                  <a:pt x="662" y="1049"/>
                  <a:pt x="662" y="1049"/>
                </a:cubicBezTo>
                <a:cubicBezTo>
                  <a:pt x="661" y="1051"/>
                  <a:pt x="660" y="1052"/>
                  <a:pt x="659" y="1053"/>
                </a:cubicBezTo>
                <a:cubicBezTo>
                  <a:pt x="658" y="1054"/>
                  <a:pt x="657" y="1054"/>
                  <a:pt x="656" y="1053"/>
                </a:cubicBezTo>
                <a:cubicBezTo>
                  <a:pt x="655" y="1053"/>
                  <a:pt x="655" y="1052"/>
                  <a:pt x="655" y="1051"/>
                </a:cubicBezTo>
                <a:cubicBezTo>
                  <a:pt x="655" y="1049"/>
                  <a:pt x="655" y="1047"/>
                  <a:pt x="656" y="1045"/>
                </a:cubicBezTo>
                <a:cubicBezTo>
                  <a:pt x="659" y="1046"/>
                  <a:pt x="662" y="1047"/>
                  <a:pt x="666" y="1047"/>
                </a:cubicBezTo>
                <a:cubicBezTo>
                  <a:pt x="673" y="1049"/>
                  <a:pt x="679" y="1047"/>
                  <a:pt x="682" y="1038"/>
                </a:cubicBezTo>
                <a:cubicBezTo>
                  <a:pt x="684" y="1034"/>
                  <a:pt x="683" y="1029"/>
                  <a:pt x="683" y="1024"/>
                </a:cubicBezTo>
                <a:cubicBezTo>
                  <a:pt x="682" y="1022"/>
                  <a:pt x="681" y="1020"/>
                  <a:pt x="681" y="1018"/>
                </a:cubicBezTo>
                <a:cubicBezTo>
                  <a:pt x="680" y="1017"/>
                  <a:pt x="679" y="1016"/>
                  <a:pt x="677" y="1018"/>
                </a:cubicBezTo>
                <a:cubicBezTo>
                  <a:pt x="676" y="1019"/>
                  <a:pt x="674" y="1021"/>
                  <a:pt x="672" y="1022"/>
                </a:cubicBezTo>
                <a:cubicBezTo>
                  <a:pt x="672" y="1022"/>
                  <a:pt x="671" y="1023"/>
                  <a:pt x="671" y="1024"/>
                </a:cubicBezTo>
                <a:cubicBezTo>
                  <a:pt x="672" y="1027"/>
                  <a:pt x="671" y="1030"/>
                  <a:pt x="670" y="1034"/>
                </a:cubicBezTo>
                <a:cubicBezTo>
                  <a:pt x="670" y="1032"/>
                  <a:pt x="670" y="1030"/>
                  <a:pt x="670" y="1028"/>
                </a:cubicBezTo>
                <a:cubicBezTo>
                  <a:pt x="670" y="1027"/>
                  <a:pt x="670" y="1027"/>
                  <a:pt x="670" y="1026"/>
                </a:cubicBezTo>
                <a:cubicBezTo>
                  <a:pt x="669" y="1027"/>
                  <a:pt x="668" y="1027"/>
                  <a:pt x="668" y="1027"/>
                </a:cubicBezTo>
                <a:cubicBezTo>
                  <a:pt x="668" y="1028"/>
                  <a:pt x="667" y="1030"/>
                  <a:pt x="666" y="1031"/>
                </a:cubicBezTo>
                <a:cubicBezTo>
                  <a:pt x="666" y="1031"/>
                  <a:pt x="666" y="1031"/>
                  <a:pt x="666" y="1031"/>
                </a:cubicBezTo>
                <a:cubicBezTo>
                  <a:pt x="666" y="1030"/>
                  <a:pt x="666" y="1028"/>
                  <a:pt x="667" y="1026"/>
                </a:cubicBezTo>
                <a:cubicBezTo>
                  <a:pt x="666" y="1026"/>
                  <a:pt x="665" y="1027"/>
                  <a:pt x="665" y="1028"/>
                </a:cubicBezTo>
                <a:cubicBezTo>
                  <a:pt x="664" y="1028"/>
                  <a:pt x="664" y="1029"/>
                  <a:pt x="663" y="1030"/>
                </a:cubicBezTo>
                <a:cubicBezTo>
                  <a:pt x="664" y="1026"/>
                  <a:pt x="664" y="1026"/>
                  <a:pt x="670" y="1025"/>
                </a:cubicBezTo>
                <a:cubicBezTo>
                  <a:pt x="670" y="1025"/>
                  <a:pt x="669" y="1024"/>
                  <a:pt x="669" y="1024"/>
                </a:cubicBezTo>
                <a:cubicBezTo>
                  <a:pt x="666" y="1025"/>
                  <a:pt x="665" y="1023"/>
                  <a:pt x="665" y="1021"/>
                </a:cubicBezTo>
                <a:cubicBezTo>
                  <a:pt x="666" y="1020"/>
                  <a:pt x="668" y="1020"/>
                  <a:pt x="670" y="1019"/>
                </a:cubicBezTo>
                <a:cubicBezTo>
                  <a:pt x="668" y="1017"/>
                  <a:pt x="666" y="1014"/>
                  <a:pt x="663" y="1014"/>
                </a:cubicBezTo>
                <a:cubicBezTo>
                  <a:pt x="663" y="1014"/>
                  <a:pt x="663" y="1013"/>
                  <a:pt x="663" y="1013"/>
                </a:cubicBezTo>
                <a:cubicBezTo>
                  <a:pt x="660" y="1011"/>
                  <a:pt x="658" y="1009"/>
                  <a:pt x="655" y="1007"/>
                </a:cubicBezTo>
                <a:cubicBezTo>
                  <a:pt x="653" y="1006"/>
                  <a:pt x="650" y="1005"/>
                  <a:pt x="648" y="1005"/>
                </a:cubicBezTo>
                <a:cubicBezTo>
                  <a:pt x="645" y="1005"/>
                  <a:pt x="641" y="1006"/>
                  <a:pt x="638" y="1007"/>
                </a:cubicBezTo>
                <a:cubicBezTo>
                  <a:pt x="635" y="1008"/>
                  <a:pt x="633" y="1010"/>
                  <a:pt x="631" y="1013"/>
                </a:cubicBezTo>
                <a:cubicBezTo>
                  <a:pt x="633" y="1013"/>
                  <a:pt x="634" y="1013"/>
                  <a:pt x="635" y="1013"/>
                </a:cubicBezTo>
                <a:cubicBezTo>
                  <a:pt x="635" y="1013"/>
                  <a:pt x="634" y="1014"/>
                  <a:pt x="633" y="1014"/>
                </a:cubicBezTo>
                <a:cubicBezTo>
                  <a:pt x="631" y="1015"/>
                  <a:pt x="628" y="1014"/>
                  <a:pt x="626" y="1016"/>
                </a:cubicBezTo>
                <a:cubicBezTo>
                  <a:pt x="623" y="1020"/>
                  <a:pt x="619" y="1024"/>
                  <a:pt x="615" y="1028"/>
                </a:cubicBezTo>
                <a:cubicBezTo>
                  <a:pt x="614" y="1030"/>
                  <a:pt x="613" y="1032"/>
                  <a:pt x="612" y="1035"/>
                </a:cubicBezTo>
                <a:cubicBezTo>
                  <a:pt x="612" y="1035"/>
                  <a:pt x="612" y="1036"/>
                  <a:pt x="612" y="1036"/>
                </a:cubicBezTo>
                <a:cubicBezTo>
                  <a:pt x="613" y="1038"/>
                  <a:pt x="614" y="1040"/>
                  <a:pt x="616" y="1042"/>
                </a:cubicBezTo>
                <a:cubicBezTo>
                  <a:pt x="617" y="1041"/>
                  <a:pt x="618" y="1039"/>
                  <a:pt x="619" y="1038"/>
                </a:cubicBezTo>
                <a:cubicBezTo>
                  <a:pt x="619" y="1039"/>
                  <a:pt x="619" y="1040"/>
                  <a:pt x="618" y="1042"/>
                </a:cubicBezTo>
                <a:cubicBezTo>
                  <a:pt x="617" y="1043"/>
                  <a:pt x="616" y="1044"/>
                  <a:pt x="616" y="1046"/>
                </a:cubicBezTo>
                <a:cubicBezTo>
                  <a:pt x="615" y="1047"/>
                  <a:pt x="616" y="1048"/>
                  <a:pt x="616" y="1049"/>
                </a:cubicBezTo>
                <a:cubicBezTo>
                  <a:pt x="619" y="1052"/>
                  <a:pt x="622" y="1052"/>
                  <a:pt x="626" y="1050"/>
                </a:cubicBezTo>
                <a:cubicBezTo>
                  <a:pt x="628" y="1049"/>
                  <a:pt x="631" y="1047"/>
                  <a:pt x="634" y="1047"/>
                </a:cubicBezTo>
                <a:cubicBezTo>
                  <a:pt x="635" y="1046"/>
                  <a:pt x="636" y="1045"/>
                  <a:pt x="636" y="1044"/>
                </a:cubicBezTo>
                <a:cubicBezTo>
                  <a:pt x="636" y="1041"/>
                  <a:pt x="636" y="1037"/>
                  <a:pt x="636" y="1034"/>
                </a:cubicBezTo>
                <a:cubicBezTo>
                  <a:pt x="636" y="1031"/>
                  <a:pt x="636" y="1028"/>
                  <a:pt x="636" y="1025"/>
                </a:cubicBezTo>
                <a:cubicBezTo>
                  <a:pt x="637" y="1028"/>
                  <a:pt x="637" y="1030"/>
                  <a:pt x="638" y="1033"/>
                </a:cubicBezTo>
                <a:cubicBezTo>
                  <a:pt x="639" y="1038"/>
                  <a:pt x="639" y="1042"/>
                  <a:pt x="637" y="1046"/>
                </a:cubicBezTo>
                <a:cubicBezTo>
                  <a:pt x="637" y="1047"/>
                  <a:pt x="636" y="1048"/>
                  <a:pt x="636" y="1048"/>
                </a:cubicBezTo>
                <a:cubicBezTo>
                  <a:pt x="632" y="1048"/>
                  <a:pt x="629" y="1050"/>
                  <a:pt x="626" y="1052"/>
                </a:cubicBezTo>
                <a:cubicBezTo>
                  <a:pt x="621" y="1055"/>
                  <a:pt x="617" y="1053"/>
                  <a:pt x="614" y="1049"/>
                </a:cubicBezTo>
                <a:cubicBezTo>
                  <a:pt x="614" y="1049"/>
                  <a:pt x="614" y="1047"/>
                  <a:pt x="614" y="1047"/>
                </a:cubicBezTo>
                <a:cubicBezTo>
                  <a:pt x="615" y="1045"/>
                  <a:pt x="614" y="1043"/>
                  <a:pt x="612" y="1041"/>
                </a:cubicBezTo>
                <a:cubicBezTo>
                  <a:pt x="611" y="1039"/>
                  <a:pt x="609" y="1036"/>
                  <a:pt x="610" y="1034"/>
                </a:cubicBezTo>
                <a:cubicBezTo>
                  <a:pt x="611" y="1032"/>
                  <a:pt x="612" y="1030"/>
                  <a:pt x="613" y="1028"/>
                </a:cubicBezTo>
                <a:cubicBezTo>
                  <a:pt x="615" y="1026"/>
                  <a:pt x="617" y="1023"/>
                  <a:pt x="619" y="1021"/>
                </a:cubicBezTo>
                <a:cubicBezTo>
                  <a:pt x="619" y="1021"/>
                  <a:pt x="618" y="1021"/>
                  <a:pt x="618" y="1021"/>
                </a:cubicBezTo>
                <a:cubicBezTo>
                  <a:pt x="613" y="1022"/>
                  <a:pt x="608" y="1023"/>
                  <a:pt x="605" y="1026"/>
                </a:cubicBezTo>
                <a:cubicBezTo>
                  <a:pt x="600" y="1031"/>
                  <a:pt x="597" y="1036"/>
                  <a:pt x="597" y="1043"/>
                </a:cubicBezTo>
                <a:cubicBezTo>
                  <a:pt x="596" y="1049"/>
                  <a:pt x="599" y="1055"/>
                  <a:pt x="602" y="1061"/>
                </a:cubicBezTo>
                <a:cubicBezTo>
                  <a:pt x="603" y="1062"/>
                  <a:pt x="603" y="1064"/>
                  <a:pt x="603" y="1065"/>
                </a:cubicBezTo>
                <a:cubicBezTo>
                  <a:pt x="603" y="1066"/>
                  <a:pt x="603" y="1068"/>
                  <a:pt x="602" y="1069"/>
                </a:cubicBezTo>
                <a:cubicBezTo>
                  <a:pt x="601" y="1071"/>
                  <a:pt x="602" y="1072"/>
                  <a:pt x="603" y="1072"/>
                </a:cubicBezTo>
                <a:cubicBezTo>
                  <a:pt x="606" y="1073"/>
                  <a:pt x="609" y="1074"/>
                  <a:pt x="612" y="1074"/>
                </a:cubicBezTo>
                <a:cubicBezTo>
                  <a:pt x="612" y="1074"/>
                  <a:pt x="613" y="1073"/>
                  <a:pt x="613" y="1073"/>
                </a:cubicBezTo>
                <a:cubicBezTo>
                  <a:pt x="614" y="1072"/>
                  <a:pt x="614" y="1070"/>
                  <a:pt x="614" y="1069"/>
                </a:cubicBezTo>
                <a:cubicBezTo>
                  <a:pt x="616" y="1067"/>
                  <a:pt x="616" y="1064"/>
                  <a:pt x="616" y="1061"/>
                </a:cubicBezTo>
                <a:cubicBezTo>
                  <a:pt x="616" y="1061"/>
                  <a:pt x="616" y="1061"/>
                  <a:pt x="616" y="1060"/>
                </a:cubicBezTo>
                <a:cubicBezTo>
                  <a:pt x="616" y="1060"/>
                  <a:pt x="616" y="1060"/>
                  <a:pt x="616" y="1059"/>
                </a:cubicBezTo>
                <a:cubicBezTo>
                  <a:pt x="617" y="1062"/>
                  <a:pt x="618" y="1062"/>
                  <a:pt x="620" y="1062"/>
                </a:cubicBezTo>
                <a:cubicBezTo>
                  <a:pt x="621" y="1062"/>
                  <a:pt x="622" y="1062"/>
                  <a:pt x="623" y="1062"/>
                </a:cubicBezTo>
                <a:cubicBezTo>
                  <a:pt x="625" y="1062"/>
                  <a:pt x="628" y="1063"/>
                  <a:pt x="629" y="1059"/>
                </a:cubicBezTo>
                <a:cubicBezTo>
                  <a:pt x="629" y="1061"/>
                  <a:pt x="629" y="1063"/>
                  <a:pt x="629" y="1063"/>
                </a:cubicBezTo>
                <a:cubicBezTo>
                  <a:pt x="628" y="1064"/>
                  <a:pt x="626" y="1065"/>
                  <a:pt x="625" y="1065"/>
                </a:cubicBezTo>
                <a:cubicBezTo>
                  <a:pt x="624" y="1066"/>
                  <a:pt x="623" y="1068"/>
                  <a:pt x="624" y="1068"/>
                </a:cubicBezTo>
                <a:cubicBezTo>
                  <a:pt x="625" y="1071"/>
                  <a:pt x="626" y="1073"/>
                  <a:pt x="628" y="1075"/>
                </a:cubicBezTo>
                <a:cubicBezTo>
                  <a:pt x="630" y="1076"/>
                  <a:pt x="632" y="1076"/>
                  <a:pt x="633" y="1074"/>
                </a:cubicBezTo>
                <a:cubicBezTo>
                  <a:pt x="634" y="1073"/>
                  <a:pt x="634" y="1072"/>
                  <a:pt x="635" y="1072"/>
                </a:cubicBezTo>
                <a:cubicBezTo>
                  <a:pt x="637" y="1070"/>
                  <a:pt x="638" y="1069"/>
                  <a:pt x="640" y="1068"/>
                </a:cubicBezTo>
                <a:cubicBezTo>
                  <a:pt x="644" y="1064"/>
                  <a:pt x="646" y="1058"/>
                  <a:pt x="648" y="1052"/>
                </a:cubicBezTo>
                <a:cubicBezTo>
                  <a:pt x="648" y="1051"/>
                  <a:pt x="647" y="1051"/>
                  <a:pt x="646" y="1050"/>
                </a:cubicBezTo>
                <a:cubicBezTo>
                  <a:pt x="646" y="1049"/>
                  <a:pt x="645" y="1048"/>
                  <a:pt x="643" y="1047"/>
                </a:cubicBezTo>
                <a:close/>
                <a:moveTo>
                  <a:pt x="596" y="1054"/>
                </a:moveTo>
                <a:cubicBezTo>
                  <a:pt x="595" y="1055"/>
                  <a:pt x="594" y="1055"/>
                  <a:pt x="593" y="1057"/>
                </a:cubicBezTo>
                <a:cubicBezTo>
                  <a:pt x="592" y="1057"/>
                  <a:pt x="592" y="1058"/>
                  <a:pt x="592" y="1059"/>
                </a:cubicBezTo>
                <a:cubicBezTo>
                  <a:pt x="592" y="1061"/>
                  <a:pt x="596" y="1066"/>
                  <a:pt x="599" y="1065"/>
                </a:cubicBezTo>
                <a:cubicBezTo>
                  <a:pt x="601" y="1065"/>
                  <a:pt x="602" y="1064"/>
                  <a:pt x="601" y="1063"/>
                </a:cubicBezTo>
                <a:cubicBezTo>
                  <a:pt x="599" y="1059"/>
                  <a:pt x="598" y="1057"/>
                  <a:pt x="596" y="1054"/>
                </a:cubicBezTo>
                <a:close/>
                <a:moveTo>
                  <a:pt x="649" y="1056"/>
                </a:moveTo>
                <a:cubicBezTo>
                  <a:pt x="646" y="1061"/>
                  <a:pt x="644" y="1065"/>
                  <a:pt x="642" y="1069"/>
                </a:cubicBezTo>
                <a:cubicBezTo>
                  <a:pt x="645" y="1069"/>
                  <a:pt x="647" y="1070"/>
                  <a:pt x="650" y="1069"/>
                </a:cubicBezTo>
                <a:cubicBezTo>
                  <a:pt x="650" y="1069"/>
                  <a:pt x="650" y="1068"/>
                  <a:pt x="650" y="1068"/>
                </a:cubicBezTo>
                <a:cubicBezTo>
                  <a:pt x="650" y="1065"/>
                  <a:pt x="650" y="1063"/>
                  <a:pt x="650" y="1060"/>
                </a:cubicBezTo>
                <a:cubicBezTo>
                  <a:pt x="650" y="1059"/>
                  <a:pt x="649" y="1057"/>
                  <a:pt x="649" y="1056"/>
                </a:cubicBezTo>
                <a:close/>
                <a:moveTo>
                  <a:pt x="596" y="1036"/>
                </a:moveTo>
                <a:cubicBezTo>
                  <a:pt x="595" y="1036"/>
                  <a:pt x="595" y="1036"/>
                  <a:pt x="594" y="1036"/>
                </a:cubicBezTo>
                <a:cubicBezTo>
                  <a:pt x="594" y="1036"/>
                  <a:pt x="593" y="1036"/>
                  <a:pt x="593" y="1036"/>
                </a:cubicBezTo>
                <a:cubicBezTo>
                  <a:pt x="592" y="1036"/>
                  <a:pt x="592" y="1035"/>
                  <a:pt x="592" y="1034"/>
                </a:cubicBezTo>
                <a:cubicBezTo>
                  <a:pt x="593" y="1032"/>
                  <a:pt x="593" y="1030"/>
                  <a:pt x="594" y="1028"/>
                </a:cubicBezTo>
                <a:cubicBezTo>
                  <a:pt x="594" y="1028"/>
                  <a:pt x="594" y="1028"/>
                  <a:pt x="593" y="1028"/>
                </a:cubicBezTo>
                <a:cubicBezTo>
                  <a:pt x="592" y="1029"/>
                  <a:pt x="591" y="1030"/>
                  <a:pt x="590" y="1031"/>
                </a:cubicBezTo>
                <a:cubicBezTo>
                  <a:pt x="590" y="1032"/>
                  <a:pt x="591" y="1037"/>
                  <a:pt x="593" y="1038"/>
                </a:cubicBezTo>
                <a:cubicBezTo>
                  <a:pt x="594" y="1039"/>
                  <a:pt x="596" y="1038"/>
                  <a:pt x="596" y="1036"/>
                </a:cubicBezTo>
                <a:close/>
                <a:moveTo>
                  <a:pt x="596" y="1054"/>
                </a:moveTo>
                <a:cubicBezTo>
                  <a:pt x="595" y="1055"/>
                  <a:pt x="594" y="1056"/>
                  <a:pt x="592" y="1057"/>
                </a:cubicBezTo>
                <a:cubicBezTo>
                  <a:pt x="592" y="1057"/>
                  <a:pt x="592" y="1058"/>
                  <a:pt x="592" y="1059"/>
                </a:cubicBezTo>
                <a:cubicBezTo>
                  <a:pt x="592" y="1062"/>
                  <a:pt x="596" y="1066"/>
                  <a:pt x="599" y="1066"/>
                </a:cubicBezTo>
                <a:cubicBezTo>
                  <a:pt x="601" y="1066"/>
                  <a:pt x="602" y="1064"/>
                  <a:pt x="601" y="1063"/>
                </a:cubicBezTo>
                <a:cubicBezTo>
                  <a:pt x="599" y="1060"/>
                  <a:pt x="598" y="1057"/>
                  <a:pt x="596" y="1054"/>
                </a:cubicBezTo>
                <a:close/>
                <a:moveTo>
                  <a:pt x="649" y="1056"/>
                </a:moveTo>
                <a:cubicBezTo>
                  <a:pt x="646" y="1061"/>
                  <a:pt x="644" y="1065"/>
                  <a:pt x="642" y="1069"/>
                </a:cubicBezTo>
                <a:cubicBezTo>
                  <a:pt x="644" y="1069"/>
                  <a:pt x="647" y="1070"/>
                  <a:pt x="649" y="1069"/>
                </a:cubicBezTo>
                <a:cubicBezTo>
                  <a:pt x="650" y="1069"/>
                  <a:pt x="650" y="1068"/>
                  <a:pt x="650" y="1068"/>
                </a:cubicBezTo>
                <a:cubicBezTo>
                  <a:pt x="650" y="1065"/>
                  <a:pt x="650" y="1063"/>
                  <a:pt x="650" y="1060"/>
                </a:cubicBezTo>
                <a:cubicBezTo>
                  <a:pt x="649" y="1059"/>
                  <a:pt x="649" y="1057"/>
                  <a:pt x="649" y="1056"/>
                </a:cubicBezTo>
                <a:close/>
                <a:moveTo>
                  <a:pt x="596" y="1036"/>
                </a:moveTo>
                <a:cubicBezTo>
                  <a:pt x="595" y="1036"/>
                  <a:pt x="595" y="1037"/>
                  <a:pt x="594" y="1037"/>
                </a:cubicBezTo>
                <a:cubicBezTo>
                  <a:pt x="593" y="1037"/>
                  <a:pt x="593" y="1037"/>
                  <a:pt x="593" y="1036"/>
                </a:cubicBezTo>
                <a:cubicBezTo>
                  <a:pt x="592" y="1036"/>
                  <a:pt x="592" y="1035"/>
                  <a:pt x="592" y="1034"/>
                </a:cubicBezTo>
                <a:cubicBezTo>
                  <a:pt x="593" y="1032"/>
                  <a:pt x="593" y="1030"/>
                  <a:pt x="594" y="1028"/>
                </a:cubicBezTo>
                <a:cubicBezTo>
                  <a:pt x="593" y="1028"/>
                  <a:pt x="593" y="1028"/>
                  <a:pt x="593" y="1028"/>
                </a:cubicBezTo>
                <a:cubicBezTo>
                  <a:pt x="592" y="1029"/>
                  <a:pt x="591" y="1030"/>
                  <a:pt x="591" y="1031"/>
                </a:cubicBezTo>
                <a:cubicBezTo>
                  <a:pt x="590" y="1032"/>
                  <a:pt x="591" y="1037"/>
                  <a:pt x="593" y="1038"/>
                </a:cubicBezTo>
                <a:cubicBezTo>
                  <a:pt x="594" y="1039"/>
                  <a:pt x="596" y="1038"/>
                  <a:pt x="596" y="1036"/>
                </a:cubicBezTo>
                <a:close/>
                <a:moveTo>
                  <a:pt x="648" y="1028"/>
                </a:moveTo>
                <a:cubicBezTo>
                  <a:pt x="652" y="1024"/>
                  <a:pt x="652" y="1024"/>
                  <a:pt x="656" y="1023"/>
                </a:cubicBezTo>
                <a:cubicBezTo>
                  <a:pt x="656" y="1025"/>
                  <a:pt x="657" y="1026"/>
                  <a:pt x="658" y="1026"/>
                </a:cubicBezTo>
                <a:cubicBezTo>
                  <a:pt x="656" y="1027"/>
                  <a:pt x="654" y="1029"/>
                  <a:pt x="652" y="1030"/>
                </a:cubicBezTo>
                <a:cubicBezTo>
                  <a:pt x="651" y="1029"/>
                  <a:pt x="651" y="1028"/>
                  <a:pt x="650" y="1027"/>
                </a:cubicBezTo>
                <a:cubicBezTo>
                  <a:pt x="650" y="1027"/>
                  <a:pt x="649" y="1027"/>
                  <a:pt x="648" y="1028"/>
                </a:cubicBezTo>
                <a:close/>
                <a:moveTo>
                  <a:pt x="654" y="1027"/>
                </a:moveTo>
                <a:cubicBezTo>
                  <a:pt x="654" y="1027"/>
                  <a:pt x="653" y="1026"/>
                  <a:pt x="652" y="1026"/>
                </a:cubicBezTo>
                <a:cubicBezTo>
                  <a:pt x="652" y="1026"/>
                  <a:pt x="651" y="1027"/>
                  <a:pt x="651" y="1028"/>
                </a:cubicBezTo>
                <a:cubicBezTo>
                  <a:pt x="651" y="1028"/>
                  <a:pt x="652" y="1028"/>
                  <a:pt x="652" y="1029"/>
                </a:cubicBezTo>
                <a:cubicBezTo>
                  <a:pt x="653" y="1028"/>
                  <a:pt x="653" y="1028"/>
                  <a:pt x="654" y="1027"/>
                </a:cubicBezTo>
                <a:close/>
                <a:moveTo>
                  <a:pt x="635" y="1018"/>
                </a:moveTo>
                <a:cubicBezTo>
                  <a:pt x="629" y="1017"/>
                  <a:pt x="626" y="1019"/>
                  <a:pt x="625" y="1027"/>
                </a:cubicBezTo>
                <a:cubicBezTo>
                  <a:pt x="626" y="1025"/>
                  <a:pt x="627" y="1023"/>
                  <a:pt x="628" y="1020"/>
                </a:cubicBezTo>
                <a:cubicBezTo>
                  <a:pt x="629" y="1020"/>
                  <a:pt x="629" y="1020"/>
                  <a:pt x="629" y="1020"/>
                </a:cubicBezTo>
                <a:cubicBezTo>
                  <a:pt x="629" y="1022"/>
                  <a:pt x="629" y="1022"/>
                  <a:pt x="629" y="1023"/>
                </a:cubicBezTo>
                <a:cubicBezTo>
                  <a:pt x="630" y="1020"/>
                  <a:pt x="632" y="1018"/>
                  <a:pt x="635" y="1018"/>
                </a:cubicBezTo>
                <a:close/>
                <a:moveTo>
                  <a:pt x="679" y="1019"/>
                </a:moveTo>
                <a:cubicBezTo>
                  <a:pt x="677" y="1020"/>
                  <a:pt x="675" y="1022"/>
                  <a:pt x="674" y="1023"/>
                </a:cubicBezTo>
                <a:cubicBezTo>
                  <a:pt x="676" y="1024"/>
                  <a:pt x="678" y="1022"/>
                  <a:pt x="679" y="1019"/>
                </a:cubicBezTo>
                <a:close/>
                <a:moveTo>
                  <a:pt x="646" y="1021"/>
                </a:moveTo>
                <a:cubicBezTo>
                  <a:pt x="647" y="1020"/>
                  <a:pt x="648" y="1019"/>
                  <a:pt x="649" y="1017"/>
                </a:cubicBezTo>
                <a:cubicBezTo>
                  <a:pt x="646" y="1019"/>
                  <a:pt x="645" y="1019"/>
                  <a:pt x="646" y="1021"/>
                </a:cubicBezTo>
                <a:close/>
                <a:moveTo>
                  <a:pt x="656" y="1042"/>
                </a:moveTo>
                <a:cubicBezTo>
                  <a:pt x="654" y="1043"/>
                  <a:pt x="653" y="1044"/>
                  <a:pt x="653" y="1044"/>
                </a:cubicBezTo>
                <a:cubicBezTo>
                  <a:pt x="654" y="1044"/>
                  <a:pt x="655" y="1043"/>
                  <a:pt x="656" y="1042"/>
                </a:cubicBezTo>
                <a:close/>
                <a:moveTo>
                  <a:pt x="655" y="1027"/>
                </a:moveTo>
                <a:cubicBezTo>
                  <a:pt x="654" y="1027"/>
                  <a:pt x="653" y="1026"/>
                  <a:pt x="652" y="1026"/>
                </a:cubicBezTo>
                <a:cubicBezTo>
                  <a:pt x="652" y="1026"/>
                  <a:pt x="651" y="1027"/>
                  <a:pt x="651" y="1027"/>
                </a:cubicBezTo>
                <a:cubicBezTo>
                  <a:pt x="651" y="1028"/>
                  <a:pt x="652" y="1028"/>
                  <a:pt x="652" y="1029"/>
                </a:cubicBezTo>
                <a:cubicBezTo>
                  <a:pt x="653" y="1028"/>
                  <a:pt x="653" y="1028"/>
                  <a:pt x="655" y="1027"/>
                </a:cubicBezTo>
                <a:close/>
                <a:moveTo>
                  <a:pt x="1308" y="1005"/>
                </a:moveTo>
                <a:cubicBezTo>
                  <a:pt x="1308" y="1005"/>
                  <a:pt x="1308" y="1005"/>
                  <a:pt x="1308" y="1005"/>
                </a:cubicBezTo>
                <a:cubicBezTo>
                  <a:pt x="1303" y="1005"/>
                  <a:pt x="1303" y="1005"/>
                  <a:pt x="1303" y="1005"/>
                </a:cubicBezTo>
                <a:cubicBezTo>
                  <a:pt x="1301" y="1006"/>
                  <a:pt x="1300" y="1007"/>
                  <a:pt x="1297" y="1008"/>
                </a:cubicBezTo>
                <a:cubicBezTo>
                  <a:pt x="1296" y="1010"/>
                  <a:pt x="1295" y="1010"/>
                  <a:pt x="1292" y="1011"/>
                </a:cubicBezTo>
                <a:cubicBezTo>
                  <a:pt x="1291" y="1013"/>
                  <a:pt x="1289" y="1013"/>
                  <a:pt x="1287" y="1014"/>
                </a:cubicBezTo>
                <a:cubicBezTo>
                  <a:pt x="1285" y="1015"/>
                  <a:pt x="1284" y="1015"/>
                  <a:pt x="1281" y="1015"/>
                </a:cubicBezTo>
                <a:cubicBezTo>
                  <a:pt x="1281" y="1015"/>
                  <a:pt x="1281" y="1015"/>
                  <a:pt x="1281" y="1026"/>
                </a:cubicBezTo>
                <a:cubicBezTo>
                  <a:pt x="1284" y="1025"/>
                  <a:pt x="1287" y="1024"/>
                  <a:pt x="1290" y="1023"/>
                </a:cubicBezTo>
                <a:cubicBezTo>
                  <a:pt x="1292" y="1022"/>
                  <a:pt x="1295" y="1021"/>
                  <a:pt x="1297" y="1019"/>
                </a:cubicBezTo>
                <a:cubicBezTo>
                  <a:pt x="1297" y="1019"/>
                  <a:pt x="1297" y="1019"/>
                  <a:pt x="1297" y="1078"/>
                </a:cubicBezTo>
                <a:cubicBezTo>
                  <a:pt x="1297" y="1078"/>
                  <a:pt x="1297" y="1078"/>
                  <a:pt x="1308" y="1078"/>
                </a:cubicBezTo>
                <a:cubicBezTo>
                  <a:pt x="1308" y="1078"/>
                  <a:pt x="1308" y="1078"/>
                  <a:pt x="1308" y="1005"/>
                </a:cubicBezTo>
                <a:close/>
                <a:moveTo>
                  <a:pt x="1356" y="1005"/>
                </a:moveTo>
                <a:cubicBezTo>
                  <a:pt x="1356" y="1005"/>
                  <a:pt x="1356" y="1005"/>
                  <a:pt x="1356" y="1005"/>
                </a:cubicBezTo>
                <a:cubicBezTo>
                  <a:pt x="1351" y="1005"/>
                  <a:pt x="1351" y="1005"/>
                  <a:pt x="1351" y="1005"/>
                </a:cubicBezTo>
                <a:cubicBezTo>
                  <a:pt x="1349" y="1006"/>
                  <a:pt x="1347" y="1007"/>
                  <a:pt x="1345" y="1008"/>
                </a:cubicBezTo>
                <a:cubicBezTo>
                  <a:pt x="1344" y="1010"/>
                  <a:pt x="1341" y="1010"/>
                  <a:pt x="1340" y="1011"/>
                </a:cubicBezTo>
                <a:cubicBezTo>
                  <a:pt x="1338" y="1013"/>
                  <a:pt x="1336" y="1013"/>
                  <a:pt x="1335" y="1014"/>
                </a:cubicBezTo>
                <a:cubicBezTo>
                  <a:pt x="1333" y="1015"/>
                  <a:pt x="1331" y="1015"/>
                  <a:pt x="1329" y="1015"/>
                </a:cubicBezTo>
                <a:cubicBezTo>
                  <a:pt x="1329" y="1015"/>
                  <a:pt x="1329" y="1015"/>
                  <a:pt x="1329" y="1026"/>
                </a:cubicBezTo>
                <a:cubicBezTo>
                  <a:pt x="1332" y="1025"/>
                  <a:pt x="1335" y="1024"/>
                  <a:pt x="1337" y="1023"/>
                </a:cubicBezTo>
                <a:cubicBezTo>
                  <a:pt x="1340" y="1022"/>
                  <a:pt x="1342" y="1021"/>
                  <a:pt x="1344" y="1019"/>
                </a:cubicBezTo>
                <a:cubicBezTo>
                  <a:pt x="1344" y="1019"/>
                  <a:pt x="1344" y="1019"/>
                  <a:pt x="1344" y="1078"/>
                </a:cubicBezTo>
                <a:cubicBezTo>
                  <a:pt x="1344" y="1078"/>
                  <a:pt x="1344" y="1078"/>
                  <a:pt x="1356" y="1078"/>
                </a:cubicBezTo>
                <a:cubicBezTo>
                  <a:pt x="1356" y="1078"/>
                  <a:pt x="1356" y="1078"/>
                  <a:pt x="1356" y="1005"/>
                </a:cubicBezTo>
                <a:close/>
                <a:moveTo>
                  <a:pt x="1402" y="1005"/>
                </a:moveTo>
                <a:cubicBezTo>
                  <a:pt x="1402" y="1005"/>
                  <a:pt x="1402" y="1005"/>
                  <a:pt x="1402" y="1005"/>
                </a:cubicBezTo>
                <a:cubicBezTo>
                  <a:pt x="1398" y="1005"/>
                  <a:pt x="1398" y="1005"/>
                  <a:pt x="1398" y="1005"/>
                </a:cubicBezTo>
                <a:cubicBezTo>
                  <a:pt x="1396" y="1006"/>
                  <a:pt x="1394" y="1007"/>
                  <a:pt x="1392" y="1008"/>
                </a:cubicBezTo>
                <a:cubicBezTo>
                  <a:pt x="1391" y="1010"/>
                  <a:pt x="1389" y="1010"/>
                  <a:pt x="1387" y="1011"/>
                </a:cubicBezTo>
                <a:cubicBezTo>
                  <a:pt x="1385" y="1012"/>
                  <a:pt x="1384" y="1013"/>
                  <a:pt x="1382" y="1013"/>
                </a:cubicBezTo>
                <a:cubicBezTo>
                  <a:pt x="1380" y="1014"/>
                  <a:pt x="1378" y="1015"/>
                  <a:pt x="1376" y="1015"/>
                </a:cubicBezTo>
                <a:cubicBezTo>
                  <a:pt x="1376" y="1015"/>
                  <a:pt x="1376" y="1015"/>
                  <a:pt x="1376" y="1026"/>
                </a:cubicBezTo>
                <a:cubicBezTo>
                  <a:pt x="1379" y="1025"/>
                  <a:pt x="1382" y="1023"/>
                  <a:pt x="1384" y="1023"/>
                </a:cubicBezTo>
                <a:cubicBezTo>
                  <a:pt x="1387" y="1022"/>
                  <a:pt x="1389" y="1021"/>
                  <a:pt x="1391" y="1019"/>
                </a:cubicBezTo>
                <a:cubicBezTo>
                  <a:pt x="1391" y="1019"/>
                  <a:pt x="1391" y="1019"/>
                  <a:pt x="1391" y="1078"/>
                </a:cubicBezTo>
                <a:cubicBezTo>
                  <a:pt x="1391" y="1078"/>
                  <a:pt x="1391" y="1078"/>
                  <a:pt x="1402" y="1078"/>
                </a:cubicBezTo>
                <a:cubicBezTo>
                  <a:pt x="1402" y="1078"/>
                  <a:pt x="1402" y="1078"/>
                  <a:pt x="1402" y="1005"/>
                </a:cubicBezTo>
                <a:close/>
                <a:moveTo>
                  <a:pt x="1613" y="909"/>
                </a:moveTo>
                <a:cubicBezTo>
                  <a:pt x="1613" y="909"/>
                  <a:pt x="1613" y="909"/>
                  <a:pt x="1613" y="909"/>
                </a:cubicBezTo>
                <a:cubicBezTo>
                  <a:pt x="1608" y="909"/>
                  <a:pt x="1608" y="909"/>
                  <a:pt x="1608" y="909"/>
                </a:cubicBezTo>
                <a:cubicBezTo>
                  <a:pt x="1606" y="911"/>
                  <a:pt x="1604" y="912"/>
                  <a:pt x="1602" y="913"/>
                </a:cubicBezTo>
                <a:cubicBezTo>
                  <a:pt x="1601" y="915"/>
                  <a:pt x="1599" y="915"/>
                  <a:pt x="1597" y="916"/>
                </a:cubicBezTo>
                <a:cubicBezTo>
                  <a:pt x="1595" y="917"/>
                  <a:pt x="1594" y="917"/>
                  <a:pt x="1592" y="918"/>
                </a:cubicBezTo>
                <a:cubicBezTo>
                  <a:pt x="1590" y="919"/>
                  <a:pt x="1588" y="920"/>
                  <a:pt x="1586" y="920"/>
                </a:cubicBezTo>
                <a:cubicBezTo>
                  <a:pt x="1586" y="920"/>
                  <a:pt x="1586" y="920"/>
                  <a:pt x="1586" y="931"/>
                </a:cubicBezTo>
                <a:cubicBezTo>
                  <a:pt x="1589" y="930"/>
                  <a:pt x="1592" y="928"/>
                  <a:pt x="1594" y="928"/>
                </a:cubicBezTo>
                <a:cubicBezTo>
                  <a:pt x="1597" y="927"/>
                  <a:pt x="1599" y="925"/>
                  <a:pt x="1602" y="924"/>
                </a:cubicBezTo>
                <a:cubicBezTo>
                  <a:pt x="1602" y="924"/>
                  <a:pt x="1602" y="924"/>
                  <a:pt x="1602" y="983"/>
                </a:cubicBezTo>
                <a:cubicBezTo>
                  <a:pt x="1602" y="983"/>
                  <a:pt x="1602" y="983"/>
                  <a:pt x="1613" y="983"/>
                </a:cubicBezTo>
                <a:cubicBezTo>
                  <a:pt x="1613" y="983"/>
                  <a:pt x="1613" y="983"/>
                  <a:pt x="1613" y="909"/>
                </a:cubicBezTo>
                <a:close/>
                <a:moveTo>
                  <a:pt x="1660" y="909"/>
                </a:moveTo>
                <a:cubicBezTo>
                  <a:pt x="1660" y="909"/>
                  <a:pt x="1660" y="909"/>
                  <a:pt x="1660" y="909"/>
                </a:cubicBezTo>
                <a:cubicBezTo>
                  <a:pt x="1655" y="909"/>
                  <a:pt x="1655" y="909"/>
                  <a:pt x="1655" y="909"/>
                </a:cubicBezTo>
                <a:cubicBezTo>
                  <a:pt x="1652" y="911"/>
                  <a:pt x="1651" y="912"/>
                  <a:pt x="1649" y="913"/>
                </a:cubicBezTo>
                <a:cubicBezTo>
                  <a:pt x="1647" y="915"/>
                  <a:pt x="1645" y="915"/>
                  <a:pt x="1644" y="916"/>
                </a:cubicBezTo>
                <a:cubicBezTo>
                  <a:pt x="1642" y="917"/>
                  <a:pt x="1640" y="918"/>
                  <a:pt x="1639" y="919"/>
                </a:cubicBezTo>
                <a:cubicBezTo>
                  <a:pt x="1636" y="920"/>
                  <a:pt x="1635" y="920"/>
                  <a:pt x="1633" y="920"/>
                </a:cubicBezTo>
                <a:cubicBezTo>
                  <a:pt x="1633" y="920"/>
                  <a:pt x="1633" y="920"/>
                  <a:pt x="1633" y="931"/>
                </a:cubicBezTo>
                <a:cubicBezTo>
                  <a:pt x="1636" y="930"/>
                  <a:pt x="1639" y="929"/>
                  <a:pt x="1641" y="928"/>
                </a:cubicBezTo>
                <a:cubicBezTo>
                  <a:pt x="1644" y="927"/>
                  <a:pt x="1646" y="925"/>
                  <a:pt x="1648" y="924"/>
                </a:cubicBezTo>
                <a:cubicBezTo>
                  <a:pt x="1648" y="924"/>
                  <a:pt x="1648" y="924"/>
                  <a:pt x="1648" y="983"/>
                </a:cubicBezTo>
                <a:cubicBezTo>
                  <a:pt x="1648" y="983"/>
                  <a:pt x="1648" y="983"/>
                  <a:pt x="1660" y="983"/>
                </a:cubicBezTo>
                <a:cubicBezTo>
                  <a:pt x="1660" y="983"/>
                  <a:pt x="1660" y="983"/>
                  <a:pt x="1660" y="909"/>
                </a:cubicBezTo>
                <a:close/>
                <a:moveTo>
                  <a:pt x="1705" y="909"/>
                </a:moveTo>
                <a:cubicBezTo>
                  <a:pt x="1705" y="909"/>
                  <a:pt x="1705" y="909"/>
                  <a:pt x="1705" y="909"/>
                </a:cubicBezTo>
                <a:cubicBezTo>
                  <a:pt x="1701" y="909"/>
                  <a:pt x="1701" y="909"/>
                  <a:pt x="1701" y="909"/>
                </a:cubicBezTo>
                <a:cubicBezTo>
                  <a:pt x="1699" y="911"/>
                  <a:pt x="1697" y="912"/>
                  <a:pt x="1695" y="913"/>
                </a:cubicBezTo>
                <a:cubicBezTo>
                  <a:pt x="1694" y="915"/>
                  <a:pt x="1692" y="915"/>
                  <a:pt x="1690" y="916"/>
                </a:cubicBezTo>
                <a:cubicBezTo>
                  <a:pt x="1688" y="917"/>
                  <a:pt x="1687" y="918"/>
                  <a:pt x="1684" y="919"/>
                </a:cubicBezTo>
                <a:cubicBezTo>
                  <a:pt x="1683" y="920"/>
                  <a:pt x="1681" y="920"/>
                  <a:pt x="1679" y="920"/>
                </a:cubicBezTo>
                <a:cubicBezTo>
                  <a:pt x="1679" y="920"/>
                  <a:pt x="1679" y="920"/>
                  <a:pt x="1679" y="931"/>
                </a:cubicBezTo>
                <a:cubicBezTo>
                  <a:pt x="1682" y="930"/>
                  <a:pt x="1685" y="929"/>
                  <a:pt x="1687" y="928"/>
                </a:cubicBezTo>
                <a:cubicBezTo>
                  <a:pt x="1689" y="927"/>
                  <a:pt x="1692" y="925"/>
                  <a:pt x="1694" y="924"/>
                </a:cubicBezTo>
                <a:cubicBezTo>
                  <a:pt x="1694" y="924"/>
                  <a:pt x="1694" y="924"/>
                  <a:pt x="1694" y="983"/>
                </a:cubicBezTo>
                <a:cubicBezTo>
                  <a:pt x="1694" y="983"/>
                  <a:pt x="1694" y="983"/>
                  <a:pt x="1705" y="983"/>
                </a:cubicBezTo>
                <a:cubicBezTo>
                  <a:pt x="1705" y="983"/>
                  <a:pt x="1705" y="983"/>
                  <a:pt x="1705" y="909"/>
                </a:cubicBezTo>
                <a:close/>
                <a:moveTo>
                  <a:pt x="1752" y="909"/>
                </a:moveTo>
                <a:cubicBezTo>
                  <a:pt x="1752" y="909"/>
                  <a:pt x="1752" y="909"/>
                  <a:pt x="1752" y="909"/>
                </a:cubicBezTo>
                <a:cubicBezTo>
                  <a:pt x="1747" y="909"/>
                  <a:pt x="1747" y="909"/>
                  <a:pt x="1747" y="909"/>
                </a:cubicBezTo>
                <a:cubicBezTo>
                  <a:pt x="1745" y="911"/>
                  <a:pt x="1743" y="912"/>
                  <a:pt x="1741" y="913"/>
                </a:cubicBezTo>
                <a:cubicBezTo>
                  <a:pt x="1740" y="915"/>
                  <a:pt x="1738" y="915"/>
                  <a:pt x="1736" y="916"/>
                </a:cubicBezTo>
                <a:cubicBezTo>
                  <a:pt x="1735" y="917"/>
                  <a:pt x="1732" y="918"/>
                  <a:pt x="1731" y="919"/>
                </a:cubicBezTo>
                <a:cubicBezTo>
                  <a:pt x="1729" y="920"/>
                  <a:pt x="1727" y="920"/>
                  <a:pt x="1725" y="920"/>
                </a:cubicBezTo>
                <a:cubicBezTo>
                  <a:pt x="1725" y="920"/>
                  <a:pt x="1725" y="920"/>
                  <a:pt x="1725" y="931"/>
                </a:cubicBezTo>
                <a:cubicBezTo>
                  <a:pt x="1728" y="930"/>
                  <a:pt x="1731" y="929"/>
                  <a:pt x="1733" y="928"/>
                </a:cubicBezTo>
                <a:cubicBezTo>
                  <a:pt x="1736" y="927"/>
                  <a:pt x="1738" y="925"/>
                  <a:pt x="1741" y="924"/>
                </a:cubicBezTo>
                <a:cubicBezTo>
                  <a:pt x="1741" y="924"/>
                  <a:pt x="1741" y="924"/>
                  <a:pt x="1741" y="983"/>
                </a:cubicBezTo>
                <a:cubicBezTo>
                  <a:pt x="1741" y="983"/>
                  <a:pt x="1741" y="983"/>
                  <a:pt x="1752" y="983"/>
                </a:cubicBezTo>
                <a:cubicBezTo>
                  <a:pt x="1752" y="983"/>
                  <a:pt x="1752" y="983"/>
                  <a:pt x="1752" y="909"/>
                </a:cubicBezTo>
                <a:close/>
                <a:moveTo>
                  <a:pt x="1874" y="909"/>
                </a:moveTo>
                <a:cubicBezTo>
                  <a:pt x="1874" y="909"/>
                  <a:pt x="1874" y="909"/>
                  <a:pt x="1874" y="909"/>
                </a:cubicBezTo>
                <a:cubicBezTo>
                  <a:pt x="1869" y="909"/>
                  <a:pt x="1869" y="909"/>
                  <a:pt x="1869" y="909"/>
                </a:cubicBezTo>
                <a:cubicBezTo>
                  <a:pt x="1866" y="911"/>
                  <a:pt x="1865" y="912"/>
                  <a:pt x="1863" y="913"/>
                </a:cubicBezTo>
                <a:cubicBezTo>
                  <a:pt x="1861" y="915"/>
                  <a:pt x="1860" y="915"/>
                  <a:pt x="1858" y="916"/>
                </a:cubicBezTo>
                <a:cubicBezTo>
                  <a:pt x="1856" y="917"/>
                  <a:pt x="1854" y="918"/>
                  <a:pt x="1852" y="919"/>
                </a:cubicBezTo>
                <a:cubicBezTo>
                  <a:pt x="1850" y="920"/>
                  <a:pt x="1849" y="920"/>
                  <a:pt x="1846" y="920"/>
                </a:cubicBezTo>
                <a:cubicBezTo>
                  <a:pt x="1846" y="920"/>
                  <a:pt x="1846" y="920"/>
                  <a:pt x="1846" y="931"/>
                </a:cubicBezTo>
                <a:cubicBezTo>
                  <a:pt x="1849" y="930"/>
                  <a:pt x="1852" y="929"/>
                  <a:pt x="1855" y="928"/>
                </a:cubicBezTo>
                <a:cubicBezTo>
                  <a:pt x="1858" y="927"/>
                  <a:pt x="1860" y="925"/>
                  <a:pt x="1862" y="924"/>
                </a:cubicBezTo>
                <a:cubicBezTo>
                  <a:pt x="1862" y="924"/>
                  <a:pt x="1862" y="924"/>
                  <a:pt x="1862" y="983"/>
                </a:cubicBezTo>
                <a:cubicBezTo>
                  <a:pt x="1862" y="983"/>
                  <a:pt x="1862" y="983"/>
                  <a:pt x="1874" y="983"/>
                </a:cubicBezTo>
                <a:cubicBezTo>
                  <a:pt x="1874" y="983"/>
                  <a:pt x="1874" y="983"/>
                  <a:pt x="1874" y="909"/>
                </a:cubicBezTo>
                <a:close/>
                <a:moveTo>
                  <a:pt x="1920" y="909"/>
                </a:moveTo>
                <a:cubicBezTo>
                  <a:pt x="1920" y="909"/>
                  <a:pt x="1920" y="909"/>
                  <a:pt x="1920" y="909"/>
                </a:cubicBezTo>
                <a:cubicBezTo>
                  <a:pt x="1915" y="909"/>
                  <a:pt x="1915" y="909"/>
                  <a:pt x="1915" y="909"/>
                </a:cubicBezTo>
                <a:cubicBezTo>
                  <a:pt x="1913" y="911"/>
                  <a:pt x="1912" y="912"/>
                  <a:pt x="1909" y="913"/>
                </a:cubicBezTo>
                <a:cubicBezTo>
                  <a:pt x="1908" y="915"/>
                  <a:pt x="1906" y="915"/>
                  <a:pt x="1904" y="916"/>
                </a:cubicBezTo>
                <a:cubicBezTo>
                  <a:pt x="1903" y="917"/>
                  <a:pt x="1901" y="918"/>
                  <a:pt x="1899" y="919"/>
                </a:cubicBezTo>
                <a:cubicBezTo>
                  <a:pt x="1897" y="920"/>
                  <a:pt x="1896" y="920"/>
                  <a:pt x="1893" y="920"/>
                </a:cubicBezTo>
                <a:cubicBezTo>
                  <a:pt x="1893" y="920"/>
                  <a:pt x="1893" y="920"/>
                  <a:pt x="1893" y="931"/>
                </a:cubicBezTo>
                <a:cubicBezTo>
                  <a:pt x="1896" y="930"/>
                  <a:pt x="1899" y="929"/>
                  <a:pt x="1901" y="928"/>
                </a:cubicBezTo>
                <a:cubicBezTo>
                  <a:pt x="1904" y="927"/>
                  <a:pt x="1907" y="925"/>
                  <a:pt x="1909" y="924"/>
                </a:cubicBezTo>
                <a:cubicBezTo>
                  <a:pt x="1909" y="924"/>
                  <a:pt x="1909" y="924"/>
                  <a:pt x="1909" y="983"/>
                </a:cubicBezTo>
                <a:cubicBezTo>
                  <a:pt x="1909" y="983"/>
                  <a:pt x="1909" y="983"/>
                  <a:pt x="1920" y="983"/>
                </a:cubicBezTo>
                <a:cubicBezTo>
                  <a:pt x="1920" y="983"/>
                  <a:pt x="1920" y="983"/>
                  <a:pt x="1920" y="909"/>
                </a:cubicBezTo>
                <a:close/>
                <a:moveTo>
                  <a:pt x="1772" y="942"/>
                </a:moveTo>
                <a:cubicBezTo>
                  <a:pt x="1772" y="942"/>
                  <a:pt x="1772" y="942"/>
                  <a:pt x="1772" y="942"/>
                </a:cubicBezTo>
                <a:cubicBezTo>
                  <a:pt x="1772" y="950"/>
                  <a:pt x="1772" y="950"/>
                  <a:pt x="1772" y="950"/>
                </a:cubicBezTo>
                <a:cubicBezTo>
                  <a:pt x="1778" y="950"/>
                  <a:pt x="1779" y="953"/>
                  <a:pt x="1779" y="956"/>
                </a:cubicBezTo>
                <a:cubicBezTo>
                  <a:pt x="1779" y="958"/>
                  <a:pt x="1779" y="960"/>
                  <a:pt x="1779" y="963"/>
                </a:cubicBezTo>
                <a:cubicBezTo>
                  <a:pt x="1778" y="966"/>
                  <a:pt x="1778" y="968"/>
                  <a:pt x="1778" y="970"/>
                </a:cubicBezTo>
                <a:cubicBezTo>
                  <a:pt x="1778" y="980"/>
                  <a:pt x="1784" y="983"/>
                  <a:pt x="1792" y="983"/>
                </a:cubicBezTo>
                <a:cubicBezTo>
                  <a:pt x="1792" y="983"/>
                  <a:pt x="1792" y="983"/>
                  <a:pt x="1796" y="983"/>
                </a:cubicBezTo>
                <a:cubicBezTo>
                  <a:pt x="1796" y="983"/>
                  <a:pt x="1796" y="983"/>
                  <a:pt x="1796" y="974"/>
                </a:cubicBezTo>
                <a:cubicBezTo>
                  <a:pt x="1796" y="974"/>
                  <a:pt x="1796" y="974"/>
                  <a:pt x="1795" y="974"/>
                </a:cubicBezTo>
                <a:cubicBezTo>
                  <a:pt x="1791" y="974"/>
                  <a:pt x="1790" y="971"/>
                  <a:pt x="1790" y="968"/>
                </a:cubicBezTo>
                <a:cubicBezTo>
                  <a:pt x="1790" y="966"/>
                  <a:pt x="1790" y="965"/>
                  <a:pt x="1790" y="963"/>
                </a:cubicBezTo>
                <a:cubicBezTo>
                  <a:pt x="1790" y="962"/>
                  <a:pt x="1790" y="959"/>
                  <a:pt x="1790" y="957"/>
                </a:cubicBezTo>
                <a:cubicBezTo>
                  <a:pt x="1790" y="950"/>
                  <a:pt x="1788" y="947"/>
                  <a:pt x="1782" y="946"/>
                </a:cubicBezTo>
                <a:cubicBezTo>
                  <a:pt x="1782" y="946"/>
                  <a:pt x="1782" y="946"/>
                  <a:pt x="1782" y="946"/>
                </a:cubicBezTo>
                <a:cubicBezTo>
                  <a:pt x="1788" y="944"/>
                  <a:pt x="1790" y="942"/>
                  <a:pt x="1790" y="935"/>
                </a:cubicBezTo>
                <a:cubicBezTo>
                  <a:pt x="1790" y="932"/>
                  <a:pt x="1790" y="930"/>
                  <a:pt x="1790" y="928"/>
                </a:cubicBezTo>
                <a:cubicBezTo>
                  <a:pt x="1790" y="927"/>
                  <a:pt x="1790" y="925"/>
                  <a:pt x="1790" y="924"/>
                </a:cubicBezTo>
                <a:cubicBezTo>
                  <a:pt x="1790" y="920"/>
                  <a:pt x="1791" y="918"/>
                  <a:pt x="1795" y="918"/>
                </a:cubicBezTo>
                <a:cubicBezTo>
                  <a:pt x="1795" y="918"/>
                  <a:pt x="1795" y="918"/>
                  <a:pt x="1796" y="918"/>
                </a:cubicBezTo>
                <a:cubicBezTo>
                  <a:pt x="1796" y="918"/>
                  <a:pt x="1796" y="918"/>
                  <a:pt x="1796" y="909"/>
                </a:cubicBezTo>
                <a:cubicBezTo>
                  <a:pt x="1796" y="909"/>
                  <a:pt x="1796" y="909"/>
                  <a:pt x="1792" y="909"/>
                </a:cubicBezTo>
                <a:cubicBezTo>
                  <a:pt x="1783" y="909"/>
                  <a:pt x="1778" y="913"/>
                  <a:pt x="1778" y="921"/>
                </a:cubicBezTo>
                <a:cubicBezTo>
                  <a:pt x="1778" y="923"/>
                  <a:pt x="1778" y="926"/>
                  <a:pt x="1778" y="929"/>
                </a:cubicBezTo>
                <a:cubicBezTo>
                  <a:pt x="1779" y="931"/>
                  <a:pt x="1779" y="934"/>
                  <a:pt x="1779" y="935"/>
                </a:cubicBezTo>
                <a:cubicBezTo>
                  <a:pt x="1779" y="938"/>
                  <a:pt x="1778" y="941"/>
                  <a:pt x="1772" y="942"/>
                </a:cubicBezTo>
                <a:close/>
                <a:moveTo>
                  <a:pt x="1827" y="950"/>
                </a:moveTo>
                <a:cubicBezTo>
                  <a:pt x="1827" y="950"/>
                  <a:pt x="1827" y="950"/>
                  <a:pt x="1827" y="950"/>
                </a:cubicBezTo>
                <a:cubicBezTo>
                  <a:pt x="1827" y="942"/>
                  <a:pt x="1827" y="942"/>
                  <a:pt x="1827" y="942"/>
                </a:cubicBezTo>
                <a:cubicBezTo>
                  <a:pt x="1820" y="941"/>
                  <a:pt x="1820" y="938"/>
                  <a:pt x="1820" y="935"/>
                </a:cubicBezTo>
                <a:cubicBezTo>
                  <a:pt x="1820" y="934"/>
                  <a:pt x="1820" y="931"/>
                  <a:pt x="1820" y="929"/>
                </a:cubicBezTo>
                <a:cubicBezTo>
                  <a:pt x="1821" y="926"/>
                  <a:pt x="1821" y="923"/>
                  <a:pt x="1821" y="921"/>
                </a:cubicBezTo>
                <a:cubicBezTo>
                  <a:pt x="1821" y="913"/>
                  <a:pt x="1816" y="909"/>
                  <a:pt x="1806" y="909"/>
                </a:cubicBezTo>
                <a:cubicBezTo>
                  <a:pt x="1806" y="909"/>
                  <a:pt x="1806" y="909"/>
                  <a:pt x="1803" y="909"/>
                </a:cubicBezTo>
                <a:cubicBezTo>
                  <a:pt x="1803" y="909"/>
                  <a:pt x="1803" y="909"/>
                  <a:pt x="1803" y="918"/>
                </a:cubicBezTo>
                <a:cubicBezTo>
                  <a:pt x="1803" y="918"/>
                  <a:pt x="1803" y="918"/>
                  <a:pt x="1804" y="918"/>
                </a:cubicBezTo>
                <a:cubicBezTo>
                  <a:pt x="1808" y="918"/>
                  <a:pt x="1809" y="920"/>
                  <a:pt x="1809" y="924"/>
                </a:cubicBezTo>
                <a:cubicBezTo>
                  <a:pt x="1809" y="925"/>
                  <a:pt x="1809" y="927"/>
                  <a:pt x="1809" y="928"/>
                </a:cubicBezTo>
                <a:cubicBezTo>
                  <a:pt x="1809" y="930"/>
                  <a:pt x="1809" y="932"/>
                  <a:pt x="1809" y="935"/>
                </a:cubicBezTo>
                <a:cubicBezTo>
                  <a:pt x="1809" y="942"/>
                  <a:pt x="1811" y="944"/>
                  <a:pt x="1817" y="946"/>
                </a:cubicBezTo>
                <a:cubicBezTo>
                  <a:pt x="1817" y="946"/>
                  <a:pt x="1817" y="946"/>
                  <a:pt x="1817" y="946"/>
                </a:cubicBezTo>
                <a:cubicBezTo>
                  <a:pt x="1811" y="947"/>
                  <a:pt x="1809" y="950"/>
                  <a:pt x="1809" y="957"/>
                </a:cubicBezTo>
                <a:cubicBezTo>
                  <a:pt x="1809" y="959"/>
                  <a:pt x="1809" y="962"/>
                  <a:pt x="1809" y="963"/>
                </a:cubicBezTo>
                <a:cubicBezTo>
                  <a:pt x="1809" y="965"/>
                  <a:pt x="1809" y="966"/>
                  <a:pt x="1809" y="968"/>
                </a:cubicBezTo>
                <a:cubicBezTo>
                  <a:pt x="1809" y="971"/>
                  <a:pt x="1808" y="974"/>
                  <a:pt x="1804" y="974"/>
                </a:cubicBezTo>
                <a:cubicBezTo>
                  <a:pt x="1804" y="974"/>
                  <a:pt x="1804" y="974"/>
                  <a:pt x="1803" y="974"/>
                </a:cubicBezTo>
                <a:cubicBezTo>
                  <a:pt x="1803" y="974"/>
                  <a:pt x="1803" y="974"/>
                  <a:pt x="1803" y="983"/>
                </a:cubicBezTo>
                <a:cubicBezTo>
                  <a:pt x="1803" y="983"/>
                  <a:pt x="1803" y="983"/>
                  <a:pt x="1806" y="983"/>
                </a:cubicBezTo>
                <a:cubicBezTo>
                  <a:pt x="1815" y="983"/>
                  <a:pt x="1821" y="980"/>
                  <a:pt x="1821" y="970"/>
                </a:cubicBezTo>
                <a:cubicBezTo>
                  <a:pt x="1821" y="968"/>
                  <a:pt x="1821" y="966"/>
                  <a:pt x="1820" y="963"/>
                </a:cubicBezTo>
                <a:cubicBezTo>
                  <a:pt x="1820" y="960"/>
                  <a:pt x="1820" y="958"/>
                  <a:pt x="1820" y="956"/>
                </a:cubicBezTo>
                <a:cubicBezTo>
                  <a:pt x="1820" y="953"/>
                  <a:pt x="1820" y="950"/>
                  <a:pt x="1827" y="950"/>
                </a:cubicBezTo>
                <a:close/>
                <a:moveTo>
                  <a:pt x="1214" y="983"/>
                </a:moveTo>
                <a:cubicBezTo>
                  <a:pt x="1207" y="983"/>
                  <a:pt x="1200" y="980"/>
                  <a:pt x="1196" y="974"/>
                </a:cubicBezTo>
                <a:cubicBezTo>
                  <a:pt x="1192" y="968"/>
                  <a:pt x="1190" y="959"/>
                  <a:pt x="1190" y="946"/>
                </a:cubicBezTo>
                <a:cubicBezTo>
                  <a:pt x="1190" y="933"/>
                  <a:pt x="1192" y="924"/>
                  <a:pt x="1196" y="917"/>
                </a:cubicBezTo>
                <a:cubicBezTo>
                  <a:pt x="1201" y="911"/>
                  <a:pt x="1207" y="907"/>
                  <a:pt x="1216" y="907"/>
                </a:cubicBezTo>
                <a:cubicBezTo>
                  <a:pt x="1232" y="907"/>
                  <a:pt x="1240" y="919"/>
                  <a:pt x="1240" y="945"/>
                </a:cubicBezTo>
                <a:cubicBezTo>
                  <a:pt x="1240" y="957"/>
                  <a:pt x="1238" y="967"/>
                  <a:pt x="1233" y="973"/>
                </a:cubicBezTo>
                <a:cubicBezTo>
                  <a:pt x="1228" y="980"/>
                  <a:pt x="1222" y="983"/>
                  <a:pt x="1214" y="983"/>
                </a:cubicBezTo>
                <a:close/>
                <a:moveTo>
                  <a:pt x="1215" y="917"/>
                </a:moveTo>
                <a:cubicBezTo>
                  <a:pt x="1206" y="917"/>
                  <a:pt x="1201" y="927"/>
                  <a:pt x="1201" y="946"/>
                </a:cubicBezTo>
                <a:cubicBezTo>
                  <a:pt x="1201" y="965"/>
                  <a:pt x="1206" y="973"/>
                  <a:pt x="1215" y="973"/>
                </a:cubicBezTo>
                <a:cubicBezTo>
                  <a:pt x="1223" y="973"/>
                  <a:pt x="1228" y="965"/>
                  <a:pt x="1228" y="946"/>
                </a:cubicBezTo>
                <a:cubicBezTo>
                  <a:pt x="1228" y="926"/>
                  <a:pt x="1223" y="917"/>
                  <a:pt x="1215" y="917"/>
                </a:cubicBezTo>
                <a:close/>
                <a:moveTo>
                  <a:pt x="1284" y="983"/>
                </a:moveTo>
                <a:cubicBezTo>
                  <a:pt x="1277" y="983"/>
                  <a:pt x="1270" y="980"/>
                  <a:pt x="1266" y="974"/>
                </a:cubicBezTo>
                <a:cubicBezTo>
                  <a:pt x="1262" y="968"/>
                  <a:pt x="1260" y="959"/>
                  <a:pt x="1260" y="946"/>
                </a:cubicBezTo>
                <a:cubicBezTo>
                  <a:pt x="1260" y="933"/>
                  <a:pt x="1262" y="924"/>
                  <a:pt x="1266" y="917"/>
                </a:cubicBezTo>
                <a:cubicBezTo>
                  <a:pt x="1271" y="911"/>
                  <a:pt x="1277" y="907"/>
                  <a:pt x="1286" y="907"/>
                </a:cubicBezTo>
                <a:cubicBezTo>
                  <a:pt x="1302" y="907"/>
                  <a:pt x="1310" y="919"/>
                  <a:pt x="1310" y="945"/>
                </a:cubicBezTo>
                <a:cubicBezTo>
                  <a:pt x="1310" y="957"/>
                  <a:pt x="1308" y="967"/>
                  <a:pt x="1304" y="973"/>
                </a:cubicBezTo>
                <a:cubicBezTo>
                  <a:pt x="1299" y="980"/>
                  <a:pt x="1293" y="983"/>
                  <a:pt x="1284" y="983"/>
                </a:cubicBezTo>
                <a:close/>
                <a:moveTo>
                  <a:pt x="1285" y="917"/>
                </a:moveTo>
                <a:cubicBezTo>
                  <a:pt x="1277" y="917"/>
                  <a:pt x="1272" y="927"/>
                  <a:pt x="1272" y="946"/>
                </a:cubicBezTo>
                <a:cubicBezTo>
                  <a:pt x="1272" y="965"/>
                  <a:pt x="1276" y="973"/>
                  <a:pt x="1285" y="973"/>
                </a:cubicBezTo>
                <a:cubicBezTo>
                  <a:pt x="1293" y="973"/>
                  <a:pt x="1298" y="965"/>
                  <a:pt x="1298" y="946"/>
                </a:cubicBezTo>
                <a:cubicBezTo>
                  <a:pt x="1298" y="926"/>
                  <a:pt x="1293" y="917"/>
                  <a:pt x="1285" y="917"/>
                </a:cubicBezTo>
                <a:close/>
                <a:moveTo>
                  <a:pt x="1494" y="983"/>
                </a:moveTo>
                <a:cubicBezTo>
                  <a:pt x="1486" y="983"/>
                  <a:pt x="1481" y="980"/>
                  <a:pt x="1476" y="973"/>
                </a:cubicBezTo>
                <a:cubicBezTo>
                  <a:pt x="1472" y="968"/>
                  <a:pt x="1470" y="958"/>
                  <a:pt x="1470" y="946"/>
                </a:cubicBezTo>
                <a:cubicBezTo>
                  <a:pt x="1470" y="933"/>
                  <a:pt x="1472" y="924"/>
                  <a:pt x="1476" y="917"/>
                </a:cubicBezTo>
                <a:cubicBezTo>
                  <a:pt x="1481" y="910"/>
                  <a:pt x="1487" y="907"/>
                  <a:pt x="1496" y="907"/>
                </a:cubicBezTo>
                <a:cubicBezTo>
                  <a:pt x="1512" y="907"/>
                  <a:pt x="1520" y="919"/>
                  <a:pt x="1520" y="944"/>
                </a:cubicBezTo>
                <a:cubicBezTo>
                  <a:pt x="1520" y="957"/>
                  <a:pt x="1518" y="967"/>
                  <a:pt x="1513" y="973"/>
                </a:cubicBezTo>
                <a:cubicBezTo>
                  <a:pt x="1508" y="980"/>
                  <a:pt x="1502" y="983"/>
                  <a:pt x="1494" y="983"/>
                </a:cubicBezTo>
                <a:close/>
                <a:moveTo>
                  <a:pt x="1495" y="917"/>
                </a:moveTo>
                <a:cubicBezTo>
                  <a:pt x="1486" y="917"/>
                  <a:pt x="1482" y="926"/>
                  <a:pt x="1482" y="946"/>
                </a:cubicBezTo>
                <a:cubicBezTo>
                  <a:pt x="1482" y="964"/>
                  <a:pt x="1486" y="973"/>
                  <a:pt x="1495" y="973"/>
                </a:cubicBezTo>
                <a:cubicBezTo>
                  <a:pt x="1503" y="973"/>
                  <a:pt x="1508" y="964"/>
                  <a:pt x="1508" y="946"/>
                </a:cubicBezTo>
                <a:cubicBezTo>
                  <a:pt x="1508" y="926"/>
                  <a:pt x="1504" y="917"/>
                  <a:pt x="1495" y="917"/>
                </a:cubicBezTo>
                <a:close/>
                <a:moveTo>
                  <a:pt x="1567" y="909"/>
                </a:moveTo>
                <a:cubicBezTo>
                  <a:pt x="1567" y="909"/>
                  <a:pt x="1567" y="909"/>
                  <a:pt x="1567" y="909"/>
                </a:cubicBezTo>
                <a:cubicBezTo>
                  <a:pt x="1561" y="909"/>
                  <a:pt x="1561" y="909"/>
                  <a:pt x="1561" y="909"/>
                </a:cubicBezTo>
                <a:cubicBezTo>
                  <a:pt x="1559" y="911"/>
                  <a:pt x="1558" y="912"/>
                  <a:pt x="1556" y="913"/>
                </a:cubicBezTo>
                <a:cubicBezTo>
                  <a:pt x="1554" y="915"/>
                  <a:pt x="1552" y="915"/>
                  <a:pt x="1551" y="916"/>
                </a:cubicBezTo>
                <a:cubicBezTo>
                  <a:pt x="1549" y="917"/>
                  <a:pt x="1547" y="917"/>
                  <a:pt x="1546" y="918"/>
                </a:cubicBezTo>
                <a:cubicBezTo>
                  <a:pt x="1543" y="919"/>
                  <a:pt x="1542" y="920"/>
                  <a:pt x="1540" y="920"/>
                </a:cubicBezTo>
                <a:cubicBezTo>
                  <a:pt x="1540" y="920"/>
                  <a:pt x="1540" y="920"/>
                  <a:pt x="1540" y="931"/>
                </a:cubicBezTo>
                <a:cubicBezTo>
                  <a:pt x="1543" y="930"/>
                  <a:pt x="1546" y="928"/>
                  <a:pt x="1548" y="928"/>
                </a:cubicBezTo>
                <a:cubicBezTo>
                  <a:pt x="1551" y="927"/>
                  <a:pt x="1553" y="925"/>
                  <a:pt x="1555" y="924"/>
                </a:cubicBezTo>
                <a:cubicBezTo>
                  <a:pt x="1555" y="924"/>
                  <a:pt x="1555" y="924"/>
                  <a:pt x="1555" y="983"/>
                </a:cubicBezTo>
                <a:cubicBezTo>
                  <a:pt x="1555" y="983"/>
                  <a:pt x="1555" y="983"/>
                  <a:pt x="1567" y="983"/>
                </a:cubicBezTo>
                <a:cubicBezTo>
                  <a:pt x="1567" y="983"/>
                  <a:pt x="1567" y="983"/>
                  <a:pt x="1567" y="909"/>
                </a:cubicBezTo>
                <a:close/>
                <a:moveTo>
                  <a:pt x="1357" y="909"/>
                </a:moveTo>
                <a:cubicBezTo>
                  <a:pt x="1357" y="909"/>
                  <a:pt x="1357" y="909"/>
                  <a:pt x="1357" y="909"/>
                </a:cubicBezTo>
                <a:cubicBezTo>
                  <a:pt x="1352" y="909"/>
                  <a:pt x="1352" y="909"/>
                  <a:pt x="1352" y="909"/>
                </a:cubicBezTo>
                <a:cubicBezTo>
                  <a:pt x="1350" y="911"/>
                  <a:pt x="1349" y="912"/>
                  <a:pt x="1346" y="913"/>
                </a:cubicBezTo>
                <a:cubicBezTo>
                  <a:pt x="1345" y="915"/>
                  <a:pt x="1343" y="915"/>
                  <a:pt x="1341" y="916"/>
                </a:cubicBezTo>
                <a:cubicBezTo>
                  <a:pt x="1340" y="917"/>
                  <a:pt x="1338" y="918"/>
                  <a:pt x="1336" y="919"/>
                </a:cubicBezTo>
                <a:cubicBezTo>
                  <a:pt x="1334" y="920"/>
                  <a:pt x="1333" y="920"/>
                  <a:pt x="1330" y="920"/>
                </a:cubicBezTo>
                <a:cubicBezTo>
                  <a:pt x="1330" y="920"/>
                  <a:pt x="1330" y="920"/>
                  <a:pt x="1330" y="931"/>
                </a:cubicBezTo>
                <a:cubicBezTo>
                  <a:pt x="1333" y="930"/>
                  <a:pt x="1336" y="929"/>
                  <a:pt x="1339" y="928"/>
                </a:cubicBezTo>
                <a:cubicBezTo>
                  <a:pt x="1341" y="927"/>
                  <a:pt x="1343" y="925"/>
                  <a:pt x="1346" y="924"/>
                </a:cubicBezTo>
                <a:cubicBezTo>
                  <a:pt x="1346" y="924"/>
                  <a:pt x="1346" y="924"/>
                  <a:pt x="1346" y="983"/>
                </a:cubicBezTo>
                <a:cubicBezTo>
                  <a:pt x="1346" y="983"/>
                  <a:pt x="1346" y="983"/>
                  <a:pt x="1357" y="983"/>
                </a:cubicBezTo>
                <a:cubicBezTo>
                  <a:pt x="1357" y="983"/>
                  <a:pt x="1357" y="983"/>
                  <a:pt x="1357" y="909"/>
                </a:cubicBezTo>
                <a:close/>
                <a:moveTo>
                  <a:pt x="1404" y="909"/>
                </a:moveTo>
                <a:cubicBezTo>
                  <a:pt x="1404" y="909"/>
                  <a:pt x="1404" y="909"/>
                  <a:pt x="1404" y="909"/>
                </a:cubicBezTo>
                <a:cubicBezTo>
                  <a:pt x="1399" y="909"/>
                  <a:pt x="1399" y="909"/>
                  <a:pt x="1399" y="909"/>
                </a:cubicBezTo>
                <a:cubicBezTo>
                  <a:pt x="1397" y="911"/>
                  <a:pt x="1395" y="912"/>
                  <a:pt x="1393" y="913"/>
                </a:cubicBezTo>
                <a:cubicBezTo>
                  <a:pt x="1392" y="915"/>
                  <a:pt x="1390" y="915"/>
                  <a:pt x="1388" y="916"/>
                </a:cubicBezTo>
                <a:cubicBezTo>
                  <a:pt x="1387" y="917"/>
                  <a:pt x="1384" y="918"/>
                  <a:pt x="1383" y="919"/>
                </a:cubicBezTo>
                <a:cubicBezTo>
                  <a:pt x="1381" y="920"/>
                  <a:pt x="1379" y="920"/>
                  <a:pt x="1377" y="920"/>
                </a:cubicBezTo>
                <a:cubicBezTo>
                  <a:pt x="1377" y="920"/>
                  <a:pt x="1377" y="920"/>
                  <a:pt x="1377" y="931"/>
                </a:cubicBezTo>
                <a:cubicBezTo>
                  <a:pt x="1380" y="930"/>
                  <a:pt x="1383" y="929"/>
                  <a:pt x="1385" y="928"/>
                </a:cubicBezTo>
                <a:cubicBezTo>
                  <a:pt x="1388" y="927"/>
                  <a:pt x="1390" y="925"/>
                  <a:pt x="1393" y="924"/>
                </a:cubicBezTo>
                <a:cubicBezTo>
                  <a:pt x="1393" y="924"/>
                  <a:pt x="1393" y="924"/>
                  <a:pt x="1393" y="983"/>
                </a:cubicBezTo>
                <a:cubicBezTo>
                  <a:pt x="1393" y="983"/>
                  <a:pt x="1393" y="983"/>
                  <a:pt x="1404" y="983"/>
                </a:cubicBezTo>
                <a:cubicBezTo>
                  <a:pt x="1404" y="983"/>
                  <a:pt x="1404" y="983"/>
                  <a:pt x="1404" y="909"/>
                </a:cubicBezTo>
                <a:close/>
                <a:moveTo>
                  <a:pt x="1450" y="909"/>
                </a:moveTo>
                <a:cubicBezTo>
                  <a:pt x="1450" y="909"/>
                  <a:pt x="1450" y="909"/>
                  <a:pt x="1450" y="909"/>
                </a:cubicBezTo>
                <a:cubicBezTo>
                  <a:pt x="1446" y="909"/>
                  <a:pt x="1446" y="909"/>
                  <a:pt x="1446" y="909"/>
                </a:cubicBezTo>
                <a:cubicBezTo>
                  <a:pt x="1443" y="911"/>
                  <a:pt x="1442" y="912"/>
                  <a:pt x="1440" y="913"/>
                </a:cubicBezTo>
                <a:cubicBezTo>
                  <a:pt x="1438" y="915"/>
                  <a:pt x="1436" y="915"/>
                  <a:pt x="1435" y="916"/>
                </a:cubicBezTo>
                <a:cubicBezTo>
                  <a:pt x="1433" y="917"/>
                  <a:pt x="1431" y="917"/>
                  <a:pt x="1429" y="918"/>
                </a:cubicBezTo>
                <a:cubicBezTo>
                  <a:pt x="1428" y="919"/>
                  <a:pt x="1425" y="920"/>
                  <a:pt x="1424" y="920"/>
                </a:cubicBezTo>
                <a:cubicBezTo>
                  <a:pt x="1424" y="920"/>
                  <a:pt x="1424" y="920"/>
                  <a:pt x="1424" y="931"/>
                </a:cubicBezTo>
                <a:cubicBezTo>
                  <a:pt x="1427" y="930"/>
                  <a:pt x="1430" y="928"/>
                  <a:pt x="1432" y="928"/>
                </a:cubicBezTo>
                <a:cubicBezTo>
                  <a:pt x="1434" y="927"/>
                  <a:pt x="1437" y="925"/>
                  <a:pt x="1438" y="924"/>
                </a:cubicBezTo>
                <a:cubicBezTo>
                  <a:pt x="1438" y="924"/>
                  <a:pt x="1438" y="924"/>
                  <a:pt x="1438" y="983"/>
                </a:cubicBezTo>
                <a:cubicBezTo>
                  <a:pt x="1438" y="983"/>
                  <a:pt x="1438" y="983"/>
                  <a:pt x="1450" y="983"/>
                </a:cubicBezTo>
                <a:cubicBezTo>
                  <a:pt x="1450" y="983"/>
                  <a:pt x="1450" y="983"/>
                  <a:pt x="1450" y="909"/>
                </a:cubicBezTo>
                <a:close/>
                <a:moveTo>
                  <a:pt x="208" y="909"/>
                </a:moveTo>
                <a:cubicBezTo>
                  <a:pt x="208" y="909"/>
                  <a:pt x="208" y="909"/>
                  <a:pt x="208" y="909"/>
                </a:cubicBezTo>
                <a:cubicBezTo>
                  <a:pt x="203" y="909"/>
                  <a:pt x="203" y="909"/>
                  <a:pt x="203" y="909"/>
                </a:cubicBezTo>
                <a:cubicBezTo>
                  <a:pt x="200" y="911"/>
                  <a:pt x="199" y="912"/>
                  <a:pt x="197" y="913"/>
                </a:cubicBezTo>
                <a:cubicBezTo>
                  <a:pt x="195" y="915"/>
                  <a:pt x="193" y="915"/>
                  <a:pt x="191" y="916"/>
                </a:cubicBezTo>
                <a:cubicBezTo>
                  <a:pt x="190" y="917"/>
                  <a:pt x="188" y="918"/>
                  <a:pt x="186" y="919"/>
                </a:cubicBezTo>
                <a:cubicBezTo>
                  <a:pt x="184" y="920"/>
                  <a:pt x="183" y="920"/>
                  <a:pt x="180" y="920"/>
                </a:cubicBezTo>
                <a:cubicBezTo>
                  <a:pt x="180" y="920"/>
                  <a:pt x="180" y="920"/>
                  <a:pt x="180" y="931"/>
                </a:cubicBezTo>
                <a:cubicBezTo>
                  <a:pt x="183" y="930"/>
                  <a:pt x="186" y="929"/>
                  <a:pt x="188" y="928"/>
                </a:cubicBezTo>
                <a:cubicBezTo>
                  <a:pt x="191" y="927"/>
                  <a:pt x="194" y="925"/>
                  <a:pt x="196" y="924"/>
                </a:cubicBezTo>
                <a:cubicBezTo>
                  <a:pt x="196" y="924"/>
                  <a:pt x="196" y="924"/>
                  <a:pt x="196" y="983"/>
                </a:cubicBezTo>
                <a:cubicBezTo>
                  <a:pt x="196" y="983"/>
                  <a:pt x="196" y="983"/>
                  <a:pt x="208" y="983"/>
                </a:cubicBezTo>
                <a:cubicBezTo>
                  <a:pt x="208" y="983"/>
                  <a:pt x="208" y="983"/>
                  <a:pt x="208" y="909"/>
                </a:cubicBezTo>
                <a:close/>
                <a:moveTo>
                  <a:pt x="254" y="909"/>
                </a:moveTo>
                <a:cubicBezTo>
                  <a:pt x="254" y="909"/>
                  <a:pt x="254" y="909"/>
                  <a:pt x="254" y="909"/>
                </a:cubicBezTo>
                <a:cubicBezTo>
                  <a:pt x="249" y="909"/>
                  <a:pt x="249" y="909"/>
                  <a:pt x="249" y="909"/>
                </a:cubicBezTo>
                <a:cubicBezTo>
                  <a:pt x="248" y="911"/>
                  <a:pt x="246" y="912"/>
                  <a:pt x="244" y="913"/>
                </a:cubicBezTo>
                <a:cubicBezTo>
                  <a:pt x="242" y="915"/>
                  <a:pt x="240" y="915"/>
                  <a:pt x="238" y="916"/>
                </a:cubicBezTo>
                <a:cubicBezTo>
                  <a:pt x="237" y="917"/>
                  <a:pt x="235" y="918"/>
                  <a:pt x="233" y="919"/>
                </a:cubicBezTo>
                <a:cubicBezTo>
                  <a:pt x="231" y="920"/>
                  <a:pt x="230" y="920"/>
                  <a:pt x="227" y="920"/>
                </a:cubicBezTo>
                <a:cubicBezTo>
                  <a:pt x="227" y="920"/>
                  <a:pt x="227" y="920"/>
                  <a:pt x="227" y="931"/>
                </a:cubicBezTo>
                <a:cubicBezTo>
                  <a:pt x="230" y="930"/>
                  <a:pt x="233" y="929"/>
                  <a:pt x="236" y="928"/>
                </a:cubicBezTo>
                <a:cubicBezTo>
                  <a:pt x="238" y="927"/>
                  <a:pt x="240" y="925"/>
                  <a:pt x="243" y="924"/>
                </a:cubicBezTo>
                <a:cubicBezTo>
                  <a:pt x="243" y="924"/>
                  <a:pt x="243" y="924"/>
                  <a:pt x="243" y="983"/>
                </a:cubicBezTo>
                <a:cubicBezTo>
                  <a:pt x="243" y="983"/>
                  <a:pt x="243" y="983"/>
                  <a:pt x="254" y="983"/>
                </a:cubicBezTo>
                <a:cubicBezTo>
                  <a:pt x="254" y="983"/>
                  <a:pt x="254" y="983"/>
                  <a:pt x="254" y="909"/>
                </a:cubicBezTo>
                <a:close/>
                <a:moveTo>
                  <a:pt x="300" y="909"/>
                </a:moveTo>
                <a:cubicBezTo>
                  <a:pt x="300" y="909"/>
                  <a:pt x="300" y="909"/>
                  <a:pt x="300" y="909"/>
                </a:cubicBezTo>
                <a:cubicBezTo>
                  <a:pt x="296" y="909"/>
                  <a:pt x="296" y="909"/>
                  <a:pt x="296" y="909"/>
                </a:cubicBezTo>
                <a:cubicBezTo>
                  <a:pt x="293" y="911"/>
                  <a:pt x="292" y="912"/>
                  <a:pt x="290" y="913"/>
                </a:cubicBezTo>
                <a:cubicBezTo>
                  <a:pt x="288" y="915"/>
                  <a:pt x="286" y="915"/>
                  <a:pt x="285" y="916"/>
                </a:cubicBezTo>
                <a:cubicBezTo>
                  <a:pt x="283" y="917"/>
                  <a:pt x="281" y="917"/>
                  <a:pt x="279" y="918"/>
                </a:cubicBezTo>
                <a:cubicBezTo>
                  <a:pt x="278" y="919"/>
                  <a:pt x="275" y="920"/>
                  <a:pt x="274" y="920"/>
                </a:cubicBezTo>
                <a:cubicBezTo>
                  <a:pt x="274" y="920"/>
                  <a:pt x="274" y="920"/>
                  <a:pt x="274" y="931"/>
                </a:cubicBezTo>
                <a:cubicBezTo>
                  <a:pt x="277" y="930"/>
                  <a:pt x="280" y="928"/>
                  <a:pt x="282" y="928"/>
                </a:cubicBezTo>
                <a:cubicBezTo>
                  <a:pt x="284" y="927"/>
                  <a:pt x="287" y="925"/>
                  <a:pt x="288" y="924"/>
                </a:cubicBezTo>
                <a:cubicBezTo>
                  <a:pt x="288" y="924"/>
                  <a:pt x="288" y="924"/>
                  <a:pt x="288" y="983"/>
                </a:cubicBezTo>
                <a:cubicBezTo>
                  <a:pt x="288" y="983"/>
                  <a:pt x="288" y="983"/>
                  <a:pt x="300" y="983"/>
                </a:cubicBezTo>
                <a:cubicBezTo>
                  <a:pt x="300" y="983"/>
                  <a:pt x="300" y="983"/>
                  <a:pt x="300" y="909"/>
                </a:cubicBezTo>
                <a:close/>
                <a:moveTo>
                  <a:pt x="437" y="942"/>
                </a:moveTo>
                <a:cubicBezTo>
                  <a:pt x="437" y="942"/>
                  <a:pt x="437" y="942"/>
                  <a:pt x="437" y="942"/>
                </a:cubicBezTo>
                <a:cubicBezTo>
                  <a:pt x="436" y="950"/>
                  <a:pt x="436" y="950"/>
                  <a:pt x="436" y="950"/>
                </a:cubicBezTo>
                <a:cubicBezTo>
                  <a:pt x="442" y="950"/>
                  <a:pt x="443" y="953"/>
                  <a:pt x="443" y="956"/>
                </a:cubicBezTo>
                <a:cubicBezTo>
                  <a:pt x="443" y="958"/>
                  <a:pt x="443" y="960"/>
                  <a:pt x="443" y="963"/>
                </a:cubicBezTo>
                <a:cubicBezTo>
                  <a:pt x="442" y="966"/>
                  <a:pt x="442" y="968"/>
                  <a:pt x="442" y="970"/>
                </a:cubicBezTo>
                <a:cubicBezTo>
                  <a:pt x="442" y="980"/>
                  <a:pt x="448" y="983"/>
                  <a:pt x="456" y="983"/>
                </a:cubicBezTo>
                <a:cubicBezTo>
                  <a:pt x="456" y="983"/>
                  <a:pt x="456" y="983"/>
                  <a:pt x="460" y="983"/>
                </a:cubicBezTo>
                <a:cubicBezTo>
                  <a:pt x="460" y="983"/>
                  <a:pt x="460" y="983"/>
                  <a:pt x="460" y="974"/>
                </a:cubicBezTo>
                <a:cubicBezTo>
                  <a:pt x="460" y="974"/>
                  <a:pt x="460" y="974"/>
                  <a:pt x="459" y="974"/>
                </a:cubicBezTo>
                <a:cubicBezTo>
                  <a:pt x="455" y="974"/>
                  <a:pt x="454" y="971"/>
                  <a:pt x="454" y="968"/>
                </a:cubicBezTo>
                <a:cubicBezTo>
                  <a:pt x="454" y="966"/>
                  <a:pt x="454" y="965"/>
                  <a:pt x="454" y="963"/>
                </a:cubicBezTo>
                <a:cubicBezTo>
                  <a:pt x="454" y="962"/>
                  <a:pt x="455" y="959"/>
                  <a:pt x="455" y="957"/>
                </a:cubicBezTo>
                <a:cubicBezTo>
                  <a:pt x="455" y="950"/>
                  <a:pt x="452" y="947"/>
                  <a:pt x="446" y="946"/>
                </a:cubicBezTo>
                <a:cubicBezTo>
                  <a:pt x="446" y="946"/>
                  <a:pt x="446" y="946"/>
                  <a:pt x="446" y="946"/>
                </a:cubicBezTo>
                <a:cubicBezTo>
                  <a:pt x="452" y="944"/>
                  <a:pt x="455" y="942"/>
                  <a:pt x="455" y="935"/>
                </a:cubicBezTo>
                <a:cubicBezTo>
                  <a:pt x="455" y="932"/>
                  <a:pt x="454" y="930"/>
                  <a:pt x="454" y="928"/>
                </a:cubicBezTo>
                <a:cubicBezTo>
                  <a:pt x="454" y="927"/>
                  <a:pt x="454" y="925"/>
                  <a:pt x="454" y="924"/>
                </a:cubicBezTo>
                <a:cubicBezTo>
                  <a:pt x="454" y="920"/>
                  <a:pt x="455" y="918"/>
                  <a:pt x="459" y="918"/>
                </a:cubicBezTo>
                <a:cubicBezTo>
                  <a:pt x="459" y="918"/>
                  <a:pt x="459" y="918"/>
                  <a:pt x="460" y="918"/>
                </a:cubicBezTo>
                <a:cubicBezTo>
                  <a:pt x="460" y="918"/>
                  <a:pt x="460" y="918"/>
                  <a:pt x="460" y="909"/>
                </a:cubicBezTo>
                <a:cubicBezTo>
                  <a:pt x="460" y="909"/>
                  <a:pt x="460" y="909"/>
                  <a:pt x="456" y="909"/>
                </a:cubicBezTo>
                <a:cubicBezTo>
                  <a:pt x="448" y="909"/>
                  <a:pt x="442" y="913"/>
                  <a:pt x="442" y="921"/>
                </a:cubicBezTo>
                <a:cubicBezTo>
                  <a:pt x="442" y="923"/>
                  <a:pt x="442" y="926"/>
                  <a:pt x="442" y="929"/>
                </a:cubicBezTo>
                <a:cubicBezTo>
                  <a:pt x="443" y="931"/>
                  <a:pt x="443" y="934"/>
                  <a:pt x="443" y="935"/>
                </a:cubicBezTo>
                <a:cubicBezTo>
                  <a:pt x="443" y="938"/>
                  <a:pt x="442" y="941"/>
                  <a:pt x="437" y="942"/>
                </a:cubicBezTo>
                <a:close/>
                <a:moveTo>
                  <a:pt x="491" y="950"/>
                </a:moveTo>
                <a:cubicBezTo>
                  <a:pt x="491" y="950"/>
                  <a:pt x="491" y="950"/>
                  <a:pt x="491" y="950"/>
                </a:cubicBezTo>
                <a:cubicBezTo>
                  <a:pt x="491" y="942"/>
                  <a:pt x="491" y="942"/>
                  <a:pt x="491" y="942"/>
                </a:cubicBezTo>
                <a:cubicBezTo>
                  <a:pt x="485" y="941"/>
                  <a:pt x="485" y="938"/>
                  <a:pt x="485" y="935"/>
                </a:cubicBezTo>
                <a:cubicBezTo>
                  <a:pt x="485" y="934"/>
                  <a:pt x="485" y="931"/>
                  <a:pt x="485" y="929"/>
                </a:cubicBezTo>
                <a:cubicBezTo>
                  <a:pt x="485" y="926"/>
                  <a:pt x="485" y="923"/>
                  <a:pt x="485" y="921"/>
                </a:cubicBezTo>
                <a:cubicBezTo>
                  <a:pt x="485" y="913"/>
                  <a:pt x="480" y="909"/>
                  <a:pt x="471" y="909"/>
                </a:cubicBezTo>
                <a:cubicBezTo>
                  <a:pt x="471" y="909"/>
                  <a:pt x="471" y="909"/>
                  <a:pt x="467" y="909"/>
                </a:cubicBezTo>
                <a:cubicBezTo>
                  <a:pt x="467" y="909"/>
                  <a:pt x="467" y="909"/>
                  <a:pt x="467" y="918"/>
                </a:cubicBezTo>
                <a:cubicBezTo>
                  <a:pt x="467" y="918"/>
                  <a:pt x="467" y="918"/>
                  <a:pt x="468" y="918"/>
                </a:cubicBezTo>
                <a:cubicBezTo>
                  <a:pt x="472" y="918"/>
                  <a:pt x="474" y="920"/>
                  <a:pt x="474" y="924"/>
                </a:cubicBezTo>
                <a:cubicBezTo>
                  <a:pt x="474" y="925"/>
                  <a:pt x="473" y="927"/>
                  <a:pt x="473" y="928"/>
                </a:cubicBezTo>
                <a:cubicBezTo>
                  <a:pt x="473" y="930"/>
                  <a:pt x="473" y="932"/>
                  <a:pt x="473" y="935"/>
                </a:cubicBezTo>
                <a:cubicBezTo>
                  <a:pt x="473" y="942"/>
                  <a:pt x="476" y="944"/>
                  <a:pt x="482" y="946"/>
                </a:cubicBezTo>
                <a:cubicBezTo>
                  <a:pt x="482" y="946"/>
                  <a:pt x="482" y="946"/>
                  <a:pt x="482" y="946"/>
                </a:cubicBezTo>
                <a:cubicBezTo>
                  <a:pt x="476" y="947"/>
                  <a:pt x="473" y="950"/>
                  <a:pt x="473" y="957"/>
                </a:cubicBezTo>
                <a:cubicBezTo>
                  <a:pt x="473" y="959"/>
                  <a:pt x="473" y="962"/>
                  <a:pt x="473" y="963"/>
                </a:cubicBezTo>
                <a:cubicBezTo>
                  <a:pt x="473" y="965"/>
                  <a:pt x="474" y="966"/>
                  <a:pt x="474" y="968"/>
                </a:cubicBezTo>
                <a:cubicBezTo>
                  <a:pt x="474" y="971"/>
                  <a:pt x="473" y="974"/>
                  <a:pt x="468" y="974"/>
                </a:cubicBezTo>
                <a:cubicBezTo>
                  <a:pt x="468" y="974"/>
                  <a:pt x="468" y="974"/>
                  <a:pt x="467" y="974"/>
                </a:cubicBezTo>
                <a:cubicBezTo>
                  <a:pt x="467" y="974"/>
                  <a:pt x="467" y="974"/>
                  <a:pt x="467" y="983"/>
                </a:cubicBezTo>
                <a:cubicBezTo>
                  <a:pt x="467" y="983"/>
                  <a:pt x="467" y="983"/>
                  <a:pt x="471" y="983"/>
                </a:cubicBezTo>
                <a:cubicBezTo>
                  <a:pt x="480" y="983"/>
                  <a:pt x="485" y="980"/>
                  <a:pt x="485" y="970"/>
                </a:cubicBezTo>
                <a:cubicBezTo>
                  <a:pt x="485" y="968"/>
                  <a:pt x="485" y="966"/>
                  <a:pt x="485" y="963"/>
                </a:cubicBezTo>
                <a:cubicBezTo>
                  <a:pt x="485" y="960"/>
                  <a:pt x="485" y="958"/>
                  <a:pt x="485" y="956"/>
                </a:cubicBezTo>
                <a:cubicBezTo>
                  <a:pt x="485" y="953"/>
                  <a:pt x="485" y="950"/>
                  <a:pt x="491" y="950"/>
                </a:cubicBezTo>
                <a:close/>
                <a:moveTo>
                  <a:pt x="538" y="909"/>
                </a:moveTo>
                <a:cubicBezTo>
                  <a:pt x="538" y="909"/>
                  <a:pt x="538" y="909"/>
                  <a:pt x="538" y="909"/>
                </a:cubicBezTo>
                <a:cubicBezTo>
                  <a:pt x="533" y="909"/>
                  <a:pt x="533" y="909"/>
                  <a:pt x="533" y="909"/>
                </a:cubicBezTo>
                <a:cubicBezTo>
                  <a:pt x="531" y="911"/>
                  <a:pt x="529" y="912"/>
                  <a:pt x="527" y="913"/>
                </a:cubicBezTo>
                <a:cubicBezTo>
                  <a:pt x="526" y="915"/>
                  <a:pt x="523" y="915"/>
                  <a:pt x="522" y="916"/>
                </a:cubicBezTo>
                <a:cubicBezTo>
                  <a:pt x="520" y="917"/>
                  <a:pt x="518" y="917"/>
                  <a:pt x="517" y="918"/>
                </a:cubicBezTo>
                <a:cubicBezTo>
                  <a:pt x="515" y="919"/>
                  <a:pt x="513" y="920"/>
                  <a:pt x="511" y="920"/>
                </a:cubicBezTo>
                <a:cubicBezTo>
                  <a:pt x="511" y="920"/>
                  <a:pt x="511" y="920"/>
                  <a:pt x="511" y="931"/>
                </a:cubicBezTo>
                <a:cubicBezTo>
                  <a:pt x="514" y="930"/>
                  <a:pt x="517" y="928"/>
                  <a:pt x="519" y="928"/>
                </a:cubicBezTo>
                <a:cubicBezTo>
                  <a:pt x="522" y="927"/>
                  <a:pt x="524" y="925"/>
                  <a:pt x="526" y="924"/>
                </a:cubicBezTo>
                <a:cubicBezTo>
                  <a:pt x="526" y="924"/>
                  <a:pt x="526" y="924"/>
                  <a:pt x="526" y="983"/>
                </a:cubicBezTo>
                <a:cubicBezTo>
                  <a:pt x="526" y="983"/>
                  <a:pt x="526" y="983"/>
                  <a:pt x="538" y="983"/>
                </a:cubicBezTo>
                <a:cubicBezTo>
                  <a:pt x="538" y="983"/>
                  <a:pt x="538" y="983"/>
                  <a:pt x="538" y="909"/>
                </a:cubicBezTo>
                <a:close/>
                <a:moveTo>
                  <a:pt x="584" y="909"/>
                </a:moveTo>
                <a:cubicBezTo>
                  <a:pt x="584" y="909"/>
                  <a:pt x="584" y="909"/>
                  <a:pt x="584" y="909"/>
                </a:cubicBezTo>
                <a:cubicBezTo>
                  <a:pt x="579" y="909"/>
                  <a:pt x="579" y="909"/>
                  <a:pt x="579" y="909"/>
                </a:cubicBezTo>
                <a:cubicBezTo>
                  <a:pt x="577" y="911"/>
                  <a:pt x="576" y="912"/>
                  <a:pt x="574" y="913"/>
                </a:cubicBezTo>
                <a:cubicBezTo>
                  <a:pt x="572" y="915"/>
                  <a:pt x="570" y="915"/>
                  <a:pt x="569" y="916"/>
                </a:cubicBezTo>
                <a:cubicBezTo>
                  <a:pt x="567" y="917"/>
                  <a:pt x="565" y="918"/>
                  <a:pt x="563" y="919"/>
                </a:cubicBezTo>
                <a:cubicBezTo>
                  <a:pt x="561" y="920"/>
                  <a:pt x="560" y="920"/>
                  <a:pt x="558" y="920"/>
                </a:cubicBezTo>
                <a:cubicBezTo>
                  <a:pt x="558" y="920"/>
                  <a:pt x="558" y="920"/>
                  <a:pt x="558" y="931"/>
                </a:cubicBezTo>
                <a:cubicBezTo>
                  <a:pt x="561" y="930"/>
                  <a:pt x="563" y="929"/>
                  <a:pt x="566" y="928"/>
                </a:cubicBezTo>
                <a:cubicBezTo>
                  <a:pt x="569" y="927"/>
                  <a:pt x="571" y="925"/>
                  <a:pt x="573" y="924"/>
                </a:cubicBezTo>
                <a:cubicBezTo>
                  <a:pt x="573" y="924"/>
                  <a:pt x="573" y="924"/>
                  <a:pt x="573" y="983"/>
                </a:cubicBezTo>
                <a:cubicBezTo>
                  <a:pt x="573" y="983"/>
                  <a:pt x="573" y="983"/>
                  <a:pt x="584" y="983"/>
                </a:cubicBezTo>
                <a:cubicBezTo>
                  <a:pt x="584" y="983"/>
                  <a:pt x="584" y="983"/>
                  <a:pt x="584" y="909"/>
                </a:cubicBezTo>
                <a:close/>
                <a:moveTo>
                  <a:pt x="630" y="909"/>
                </a:moveTo>
                <a:cubicBezTo>
                  <a:pt x="630" y="909"/>
                  <a:pt x="630" y="909"/>
                  <a:pt x="630" y="909"/>
                </a:cubicBezTo>
                <a:cubicBezTo>
                  <a:pt x="626" y="909"/>
                  <a:pt x="626" y="909"/>
                  <a:pt x="626" y="909"/>
                </a:cubicBezTo>
                <a:cubicBezTo>
                  <a:pt x="624" y="911"/>
                  <a:pt x="622" y="912"/>
                  <a:pt x="620" y="913"/>
                </a:cubicBezTo>
                <a:cubicBezTo>
                  <a:pt x="619" y="915"/>
                  <a:pt x="616" y="915"/>
                  <a:pt x="615" y="916"/>
                </a:cubicBezTo>
                <a:cubicBezTo>
                  <a:pt x="613" y="917"/>
                  <a:pt x="611" y="918"/>
                  <a:pt x="609" y="919"/>
                </a:cubicBezTo>
                <a:cubicBezTo>
                  <a:pt x="608" y="920"/>
                  <a:pt x="606" y="920"/>
                  <a:pt x="604" y="920"/>
                </a:cubicBezTo>
                <a:cubicBezTo>
                  <a:pt x="604" y="920"/>
                  <a:pt x="604" y="920"/>
                  <a:pt x="604" y="931"/>
                </a:cubicBezTo>
                <a:cubicBezTo>
                  <a:pt x="607" y="930"/>
                  <a:pt x="610" y="929"/>
                  <a:pt x="612" y="928"/>
                </a:cubicBezTo>
                <a:cubicBezTo>
                  <a:pt x="614" y="927"/>
                  <a:pt x="617" y="925"/>
                  <a:pt x="619" y="924"/>
                </a:cubicBezTo>
                <a:cubicBezTo>
                  <a:pt x="619" y="924"/>
                  <a:pt x="619" y="924"/>
                  <a:pt x="619" y="983"/>
                </a:cubicBezTo>
                <a:cubicBezTo>
                  <a:pt x="619" y="983"/>
                  <a:pt x="619" y="983"/>
                  <a:pt x="630" y="983"/>
                </a:cubicBezTo>
                <a:cubicBezTo>
                  <a:pt x="630" y="983"/>
                  <a:pt x="630" y="983"/>
                  <a:pt x="630" y="909"/>
                </a:cubicBezTo>
                <a:close/>
                <a:moveTo>
                  <a:pt x="380" y="957"/>
                </a:moveTo>
                <a:cubicBezTo>
                  <a:pt x="380" y="958"/>
                  <a:pt x="381" y="960"/>
                  <a:pt x="382" y="961"/>
                </a:cubicBezTo>
                <a:cubicBezTo>
                  <a:pt x="382" y="963"/>
                  <a:pt x="382" y="965"/>
                  <a:pt x="383" y="966"/>
                </a:cubicBezTo>
                <a:cubicBezTo>
                  <a:pt x="383" y="968"/>
                  <a:pt x="383" y="969"/>
                  <a:pt x="383" y="971"/>
                </a:cubicBezTo>
                <a:cubicBezTo>
                  <a:pt x="384" y="974"/>
                  <a:pt x="383" y="976"/>
                  <a:pt x="380" y="976"/>
                </a:cubicBezTo>
                <a:cubicBezTo>
                  <a:pt x="377" y="976"/>
                  <a:pt x="374" y="975"/>
                  <a:pt x="371" y="975"/>
                </a:cubicBezTo>
                <a:cubicBezTo>
                  <a:pt x="371" y="975"/>
                  <a:pt x="370" y="975"/>
                  <a:pt x="370" y="976"/>
                </a:cubicBezTo>
                <a:cubicBezTo>
                  <a:pt x="368" y="977"/>
                  <a:pt x="367" y="979"/>
                  <a:pt x="366" y="980"/>
                </a:cubicBezTo>
                <a:cubicBezTo>
                  <a:pt x="364" y="983"/>
                  <a:pt x="360" y="983"/>
                  <a:pt x="358" y="981"/>
                </a:cubicBezTo>
                <a:cubicBezTo>
                  <a:pt x="356" y="979"/>
                  <a:pt x="355" y="976"/>
                  <a:pt x="353" y="973"/>
                </a:cubicBezTo>
                <a:cubicBezTo>
                  <a:pt x="353" y="972"/>
                  <a:pt x="353" y="970"/>
                  <a:pt x="355" y="969"/>
                </a:cubicBezTo>
                <a:cubicBezTo>
                  <a:pt x="353" y="969"/>
                  <a:pt x="351" y="969"/>
                  <a:pt x="349" y="969"/>
                </a:cubicBezTo>
                <a:cubicBezTo>
                  <a:pt x="349" y="971"/>
                  <a:pt x="347" y="973"/>
                  <a:pt x="347" y="975"/>
                </a:cubicBezTo>
                <a:cubicBezTo>
                  <a:pt x="347" y="975"/>
                  <a:pt x="346" y="976"/>
                  <a:pt x="346" y="977"/>
                </a:cubicBezTo>
                <a:cubicBezTo>
                  <a:pt x="346" y="980"/>
                  <a:pt x="345" y="981"/>
                  <a:pt x="342" y="981"/>
                </a:cubicBezTo>
                <a:cubicBezTo>
                  <a:pt x="339" y="981"/>
                  <a:pt x="336" y="980"/>
                  <a:pt x="333" y="979"/>
                </a:cubicBezTo>
                <a:cubicBezTo>
                  <a:pt x="331" y="978"/>
                  <a:pt x="331" y="977"/>
                  <a:pt x="331" y="975"/>
                </a:cubicBezTo>
                <a:cubicBezTo>
                  <a:pt x="331" y="974"/>
                  <a:pt x="331" y="973"/>
                  <a:pt x="332" y="973"/>
                </a:cubicBezTo>
                <a:cubicBezTo>
                  <a:pt x="329" y="972"/>
                  <a:pt x="327" y="971"/>
                  <a:pt x="325" y="969"/>
                </a:cubicBezTo>
                <a:cubicBezTo>
                  <a:pt x="324" y="969"/>
                  <a:pt x="323" y="967"/>
                  <a:pt x="322" y="965"/>
                </a:cubicBezTo>
                <a:cubicBezTo>
                  <a:pt x="321" y="963"/>
                  <a:pt x="321" y="962"/>
                  <a:pt x="323" y="960"/>
                </a:cubicBezTo>
                <a:cubicBezTo>
                  <a:pt x="326" y="958"/>
                  <a:pt x="327" y="955"/>
                  <a:pt x="326" y="951"/>
                </a:cubicBezTo>
                <a:cubicBezTo>
                  <a:pt x="326" y="949"/>
                  <a:pt x="326" y="947"/>
                  <a:pt x="326" y="945"/>
                </a:cubicBezTo>
                <a:cubicBezTo>
                  <a:pt x="325" y="944"/>
                  <a:pt x="323" y="944"/>
                  <a:pt x="322" y="943"/>
                </a:cubicBezTo>
                <a:cubicBezTo>
                  <a:pt x="321" y="941"/>
                  <a:pt x="320" y="939"/>
                  <a:pt x="320" y="937"/>
                </a:cubicBezTo>
                <a:cubicBezTo>
                  <a:pt x="320" y="934"/>
                  <a:pt x="324" y="931"/>
                  <a:pt x="326" y="931"/>
                </a:cubicBezTo>
                <a:cubicBezTo>
                  <a:pt x="327" y="931"/>
                  <a:pt x="327" y="932"/>
                  <a:pt x="327" y="933"/>
                </a:cubicBezTo>
                <a:cubicBezTo>
                  <a:pt x="327" y="934"/>
                  <a:pt x="327" y="935"/>
                  <a:pt x="327" y="936"/>
                </a:cubicBezTo>
                <a:cubicBezTo>
                  <a:pt x="327" y="936"/>
                  <a:pt x="326" y="936"/>
                  <a:pt x="326" y="936"/>
                </a:cubicBezTo>
                <a:cubicBezTo>
                  <a:pt x="326" y="937"/>
                  <a:pt x="325" y="938"/>
                  <a:pt x="324" y="940"/>
                </a:cubicBezTo>
                <a:cubicBezTo>
                  <a:pt x="326" y="940"/>
                  <a:pt x="326" y="940"/>
                  <a:pt x="327" y="939"/>
                </a:cubicBezTo>
                <a:cubicBezTo>
                  <a:pt x="328" y="938"/>
                  <a:pt x="329" y="937"/>
                  <a:pt x="329" y="936"/>
                </a:cubicBezTo>
                <a:cubicBezTo>
                  <a:pt x="334" y="929"/>
                  <a:pt x="340" y="926"/>
                  <a:pt x="347" y="924"/>
                </a:cubicBezTo>
                <a:cubicBezTo>
                  <a:pt x="351" y="924"/>
                  <a:pt x="354" y="922"/>
                  <a:pt x="356" y="920"/>
                </a:cubicBezTo>
                <a:cubicBezTo>
                  <a:pt x="356" y="919"/>
                  <a:pt x="357" y="919"/>
                  <a:pt x="357" y="919"/>
                </a:cubicBezTo>
                <a:cubicBezTo>
                  <a:pt x="360" y="918"/>
                  <a:pt x="362" y="916"/>
                  <a:pt x="364" y="914"/>
                </a:cubicBezTo>
                <a:cubicBezTo>
                  <a:pt x="371" y="907"/>
                  <a:pt x="383" y="906"/>
                  <a:pt x="391" y="913"/>
                </a:cubicBezTo>
                <a:cubicBezTo>
                  <a:pt x="393" y="915"/>
                  <a:pt x="396" y="917"/>
                  <a:pt x="398" y="919"/>
                </a:cubicBezTo>
                <a:cubicBezTo>
                  <a:pt x="400" y="920"/>
                  <a:pt x="401" y="922"/>
                  <a:pt x="402" y="924"/>
                </a:cubicBezTo>
                <a:cubicBezTo>
                  <a:pt x="403" y="925"/>
                  <a:pt x="404" y="925"/>
                  <a:pt x="405" y="924"/>
                </a:cubicBezTo>
                <a:cubicBezTo>
                  <a:pt x="406" y="924"/>
                  <a:pt x="406" y="923"/>
                  <a:pt x="407" y="922"/>
                </a:cubicBezTo>
                <a:cubicBezTo>
                  <a:pt x="409" y="919"/>
                  <a:pt x="412" y="919"/>
                  <a:pt x="413" y="922"/>
                </a:cubicBezTo>
                <a:cubicBezTo>
                  <a:pt x="415" y="926"/>
                  <a:pt x="415" y="928"/>
                  <a:pt x="416" y="931"/>
                </a:cubicBezTo>
                <a:cubicBezTo>
                  <a:pt x="416" y="936"/>
                  <a:pt x="416" y="940"/>
                  <a:pt x="415" y="945"/>
                </a:cubicBezTo>
                <a:cubicBezTo>
                  <a:pt x="412" y="951"/>
                  <a:pt x="407" y="954"/>
                  <a:pt x="401" y="954"/>
                </a:cubicBezTo>
                <a:cubicBezTo>
                  <a:pt x="400" y="954"/>
                  <a:pt x="400" y="954"/>
                  <a:pt x="399" y="954"/>
                </a:cubicBezTo>
                <a:cubicBezTo>
                  <a:pt x="396" y="954"/>
                  <a:pt x="395" y="954"/>
                  <a:pt x="395" y="957"/>
                </a:cubicBezTo>
                <a:cubicBezTo>
                  <a:pt x="393" y="961"/>
                  <a:pt x="387" y="963"/>
                  <a:pt x="384" y="960"/>
                </a:cubicBezTo>
                <a:cubicBezTo>
                  <a:pt x="383" y="958"/>
                  <a:pt x="382" y="958"/>
                  <a:pt x="381" y="956"/>
                </a:cubicBezTo>
                <a:cubicBezTo>
                  <a:pt x="380" y="957"/>
                  <a:pt x="380" y="957"/>
                  <a:pt x="380" y="957"/>
                </a:cubicBezTo>
                <a:close/>
                <a:moveTo>
                  <a:pt x="375" y="952"/>
                </a:moveTo>
                <a:cubicBezTo>
                  <a:pt x="378" y="954"/>
                  <a:pt x="382" y="955"/>
                  <a:pt x="384" y="958"/>
                </a:cubicBezTo>
                <a:cubicBezTo>
                  <a:pt x="386" y="960"/>
                  <a:pt x="388" y="960"/>
                  <a:pt x="390" y="960"/>
                </a:cubicBezTo>
                <a:cubicBezTo>
                  <a:pt x="393" y="959"/>
                  <a:pt x="394" y="957"/>
                  <a:pt x="394" y="954"/>
                </a:cubicBezTo>
                <a:cubicBezTo>
                  <a:pt x="394" y="954"/>
                  <a:pt x="393" y="954"/>
                  <a:pt x="393" y="954"/>
                </a:cubicBezTo>
                <a:cubicBezTo>
                  <a:pt x="393" y="956"/>
                  <a:pt x="391" y="957"/>
                  <a:pt x="391" y="958"/>
                </a:cubicBezTo>
                <a:cubicBezTo>
                  <a:pt x="389" y="959"/>
                  <a:pt x="388" y="959"/>
                  <a:pt x="387" y="958"/>
                </a:cubicBezTo>
                <a:cubicBezTo>
                  <a:pt x="387" y="958"/>
                  <a:pt x="386" y="957"/>
                  <a:pt x="386" y="956"/>
                </a:cubicBezTo>
                <a:cubicBezTo>
                  <a:pt x="386" y="954"/>
                  <a:pt x="387" y="952"/>
                  <a:pt x="387" y="950"/>
                </a:cubicBezTo>
                <a:cubicBezTo>
                  <a:pt x="390" y="951"/>
                  <a:pt x="393" y="952"/>
                  <a:pt x="397" y="952"/>
                </a:cubicBezTo>
                <a:cubicBezTo>
                  <a:pt x="404" y="954"/>
                  <a:pt x="410" y="952"/>
                  <a:pt x="413" y="943"/>
                </a:cubicBezTo>
                <a:cubicBezTo>
                  <a:pt x="415" y="939"/>
                  <a:pt x="415" y="934"/>
                  <a:pt x="414" y="929"/>
                </a:cubicBezTo>
                <a:cubicBezTo>
                  <a:pt x="413" y="927"/>
                  <a:pt x="413" y="925"/>
                  <a:pt x="412" y="923"/>
                </a:cubicBezTo>
                <a:cubicBezTo>
                  <a:pt x="411" y="922"/>
                  <a:pt x="410" y="921"/>
                  <a:pt x="409" y="923"/>
                </a:cubicBezTo>
                <a:cubicBezTo>
                  <a:pt x="407" y="924"/>
                  <a:pt x="406" y="926"/>
                  <a:pt x="404" y="927"/>
                </a:cubicBezTo>
                <a:cubicBezTo>
                  <a:pt x="403" y="927"/>
                  <a:pt x="402" y="928"/>
                  <a:pt x="402" y="929"/>
                </a:cubicBezTo>
                <a:cubicBezTo>
                  <a:pt x="403" y="932"/>
                  <a:pt x="402" y="935"/>
                  <a:pt x="401" y="939"/>
                </a:cubicBezTo>
                <a:cubicBezTo>
                  <a:pt x="401" y="937"/>
                  <a:pt x="402" y="935"/>
                  <a:pt x="402" y="933"/>
                </a:cubicBezTo>
                <a:cubicBezTo>
                  <a:pt x="402" y="932"/>
                  <a:pt x="401" y="932"/>
                  <a:pt x="401" y="931"/>
                </a:cubicBezTo>
                <a:cubicBezTo>
                  <a:pt x="400" y="932"/>
                  <a:pt x="400" y="932"/>
                  <a:pt x="400" y="932"/>
                </a:cubicBezTo>
                <a:cubicBezTo>
                  <a:pt x="399" y="933"/>
                  <a:pt x="398" y="935"/>
                  <a:pt x="397" y="936"/>
                </a:cubicBezTo>
                <a:cubicBezTo>
                  <a:pt x="397" y="936"/>
                  <a:pt x="397" y="936"/>
                  <a:pt x="397" y="936"/>
                </a:cubicBezTo>
                <a:cubicBezTo>
                  <a:pt x="397" y="935"/>
                  <a:pt x="398" y="933"/>
                  <a:pt x="398" y="931"/>
                </a:cubicBezTo>
                <a:cubicBezTo>
                  <a:pt x="397" y="931"/>
                  <a:pt x="396" y="932"/>
                  <a:pt x="396" y="933"/>
                </a:cubicBezTo>
                <a:cubicBezTo>
                  <a:pt x="395" y="933"/>
                  <a:pt x="395" y="934"/>
                  <a:pt x="395" y="935"/>
                </a:cubicBezTo>
                <a:cubicBezTo>
                  <a:pt x="395" y="931"/>
                  <a:pt x="395" y="931"/>
                  <a:pt x="401" y="930"/>
                </a:cubicBezTo>
                <a:cubicBezTo>
                  <a:pt x="401" y="929"/>
                  <a:pt x="400" y="929"/>
                  <a:pt x="400" y="929"/>
                </a:cubicBezTo>
                <a:cubicBezTo>
                  <a:pt x="397" y="929"/>
                  <a:pt x="396" y="928"/>
                  <a:pt x="396" y="926"/>
                </a:cubicBezTo>
                <a:cubicBezTo>
                  <a:pt x="398" y="925"/>
                  <a:pt x="399" y="925"/>
                  <a:pt x="401" y="924"/>
                </a:cubicBezTo>
                <a:cubicBezTo>
                  <a:pt x="399" y="922"/>
                  <a:pt x="398" y="919"/>
                  <a:pt x="395" y="919"/>
                </a:cubicBezTo>
                <a:cubicBezTo>
                  <a:pt x="394" y="919"/>
                  <a:pt x="394" y="918"/>
                  <a:pt x="394" y="918"/>
                </a:cubicBezTo>
                <a:cubicBezTo>
                  <a:pt x="391" y="916"/>
                  <a:pt x="389" y="914"/>
                  <a:pt x="386" y="912"/>
                </a:cubicBezTo>
                <a:cubicBezTo>
                  <a:pt x="384" y="910"/>
                  <a:pt x="381" y="910"/>
                  <a:pt x="379" y="910"/>
                </a:cubicBezTo>
                <a:cubicBezTo>
                  <a:pt x="376" y="910"/>
                  <a:pt x="373" y="911"/>
                  <a:pt x="369" y="912"/>
                </a:cubicBezTo>
                <a:cubicBezTo>
                  <a:pt x="367" y="913"/>
                  <a:pt x="364" y="915"/>
                  <a:pt x="362" y="918"/>
                </a:cubicBezTo>
                <a:cubicBezTo>
                  <a:pt x="364" y="918"/>
                  <a:pt x="365" y="918"/>
                  <a:pt x="366" y="918"/>
                </a:cubicBezTo>
                <a:cubicBezTo>
                  <a:pt x="366" y="918"/>
                  <a:pt x="365" y="919"/>
                  <a:pt x="364" y="919"/>
                </a:cubicBezTo>
                <a:cubicBezTo>
                  <a:pt x="362" y="920"/>
                  <a:pt x="359" y="919"/>
                  <a:pt x="357" y="921"/>
                </a:cubicBezTo>
                <a:cubicBezTo>
                  <a:pt x="354" y="925"/>
                  <a:pt x="350" y="929"/>
                  <a:pt x="346" y="933"/>
                </a:cubicBezTo>
                <a:cubicBezTo>
                  <a:pt x="345" y="935"/>
                  <a:pt x="344" y="937"/>
                  <a:pt x="343" y="940"/>
                </a:cubicBezTo>
                <a:cubicBezTo>
                  <a:pt x="343" y="940"/>
                  <a:pt x="343" y="941"/>
                  <a:pt x="343" y="941"/>
                </a:cubicBezTo>
                <a:cubicBezTo>
                  <a:pt x="344" y="943"/>
                  <a:pt x="346" y="945"/>
                  <a:pt x="347" y="947"/>
                </a:cubicBezTo>
                <a:cubicBezTo>
                  <a:pt x="348" y="946"/>
                  <a:pt x="349" y="944"/>
                  <a:pt x="351" y="943"/>
                </a:cubicBezTo>
                <a:cubicBezTo>
                  <a:pt x="350" y="944"/>
                  <a:pt x="350" y="945"/>
                  <a:pt x="349" y="947"/>
                </a:cubicBezTo>
                <a:cubicBezTo>
                  <a:pt x="348" y="948"/>
                  <a:pt x="347" y="949"/>
                  <a:pt x="347" y="951"/>
                </a:cubicBezTo>
                <a:cubicBezTo>
                  <a:pt x="347" y="952"/>
                  <a:pt x="347" y="953"/>
                  <a:pt x="347" y="954"/>
                </a:cubicBezTo>
                <a:cubicBezTo>
                  <a:pt x="350" y="957"/>
                  <a:pt x="353" y="957"/>
                  <a:pt x="357" y="955"/>
                </a:cubicBezTo>
                <a:cubicBezTo>
                  <a:pt x="359" y="954"/>
                  <a:pt x="362" y="952"/>
                  <a:pt x="365" y="952"/>
                </a:cubicBezTo>
                <a:cubicBezTo>
                  <a:pt x="366" y="951"/>
                  <a:pt x="367" y="950"/>
                  <a:pt x="367" y="949"/>
                </a:cubicBezTo>
                <a:cubicBezTo>
                  <a:pt x="367" y="946"/>
                  <a:pt x="367" y="942"/>
                  <a:pt x="367" y="939"/>
                </a:cubicBezTo>
                <a:cubicBezTo>
                  <a:pt x="367" y="936"/>
                  <a:pt x="367" y="933"/>
                  <a:pt x="367" y="930"/>
                </a:cubicBezTo>
                <a:cubicBezTo>
                  <a:pt x="368" y="933"/>
                  <a:pt x="369" y="935"/>
                  <a:pt x="369" y="938"/>
                </a:cubicBezTo>
                <a:cubicBezTo>
                  <a:pt x="370" y="943"/>
                  <a:pt x="370" y="947"/>
                  <a:pt x="369" y="951"/>
                </a:cubicBezTo>
                <a:cubicBezTo>
                  <a:pt x="368" y="952"/>
                  <a:pt x="367" y="953"/>
                  <a:pt x="367" y="953"/>
                </a:cubicBezTo>
                <a:cubicBezTo>
                  <a:pt x="364" y="953"/>
                  <a:pt x="360" y="955"/>
                  <a:pt x="357" y="957"/>
                </a:cubicBezTo>
                <a:cubicBezTo>
                  <a:pt x="352" y="960"/>
                  <a:pt x="349" y="958"/>
                  <a:pt x="345" y="954"/>
                </a:cubicBezTo>
                <a:cubicBezTo>
                  <a:pt x="345" y="954"/>
                  <a:pt x="345" y="952"/>
                  <a:pt x="345" y="952"/>
                </a:cubicBezTo>
                <a:cubicBezTo>
                  <a:pt x="346" y="950"/>
                  <a:pt x="345" y="948"/>
                  <a:pt x="344" y="946"/>
                </a:cubicBezTo>
                <a:cubicBezTo>
                  <a:pt x="342" y="944"/>
                  <a:pt x="340" y="941"/>
                  <a:pt x="342" y="939"/>
                </a:cubicBezTo>
                <a:cubicBezTo>
                  <a:pt x="342" y="937"/>
                  <a:pt x="343" y="935"/>
                  <a:pt x="344" y="933"/>
                </a:cubicBezTo>
                <a:cubicBezTo>
                  <a:pt x="346" y="931"/>
                  <a:pt x="348" y="928"/>
                  <a:pt x="350" y="926"/>
                </a:cubicBezTo>
                <a:cubicBezTo>
                  <a:pt x="350" y="926"/>
                  <a:pt x="349" y="926"/>
                  <a:pt x="349" y="926"/>
                </a:cubicBezTo>
                <a:cubicBezTo>
                  <a:pt x="344" y="927"/>
                  <a:pt x="340" y="928"/>
                  <a:pt x="336" y="931"/>
                </a:cubicBezTo>
                <a:cubicBezTo>
                  <a:pt x="331" y="936"/>
                  <a:pt x="328" y="941"/>
                  <a:pt x="328" y="948"/>
                </a:cubicBezTo>
                <a:cubicBezTo>
                  <a:pt x="327" y="954"/>
                  <a:pt x="330" y="960"/>
                  <a:pt x="333" y="966"/>
                </a:cubicBezTo>
                <a:cubicBezTo>
                  <a:pt x="334" y="967"/>
                  <a:pt x="335" y="969"/>
                  <a:pt x="334" y="970"/>
                </a:cubicBezTo>
                <a:cubicBezTo>
                  <a:pt x="334" y="971"/>
                  <a:pt x="334" y="973"/>
                  <a:pt x="333" y="974"/>
                </a:cubicBezTo>
                <a:cubicBezTo>
                  <a:pt x="333" y="976"/>
                  <a:pt x="333" y="977"/>
                  <a:pt x="334" y="977"/>
                </a:cubicBezTo>
                <a:cubicBezTo>
                  <a:pt x="337" y="978"/>
                  <a:pt x="340" y="979"/>
                  <a:pt x="343" y="979"/>
                </a:cubicBezTo>
                <a:cubicBezTo>
                  <a:pt x="344" y="979"/>
                  <a:pt x="344" y="978"/>
                  <a:pt x="344" y="978"/>
                </a:cubicBezTo>
                <a:cubicBezTo>
                  <a:pt x="345" y="977"/>
                  <a:pt x="345" y="975"/>
                  <a:pt x="346" y="974"/>
                </a:cubicBezTo>
                <a:cubicBezTo>
                  <a:pt x="347" y="972"/>
                  <a:pt x="347" y="969"/>
                  <a:pt x="347" y="966"/>
                </a:cubicBezTo>
                <a:cubicBezTo>
                  <a:pt x="347" y="966"/>
                  <a:pt x="347" y="966"/>
                  <a:pt x="347" y="965"/>
                </a:cubicBezTo>
                <a:cubicBezTo>
                  <a:pt x="347" y="965"/>
                  <a:pt x="347" y="965"/>
                  <a:pt x="347" y="964"/>
                </a:cubicBezTo>
                <a:cubicBezTo>
                  <a:pt x="348" y="967"/>
                  <a:pt x="349" y="967"/>
                  <a:pt x="351" y="967"/>
                </a:cubicBezTo>
                <a:cubicBezTo>
                  <a:pt x="352" y="967"/>
                  <a:pt x="353" y="967"/>
                  <a:pt x="354" y="967"/>
                </a:cubicBezTo>
                <a:cubicBezTo>
                  <a:pt x="356" y="967"/>
                  <a:pt x="360" y="968"/>
                  <a:pt x="360" y="964"/>
                </a:cubicBezTo>
                <a:cubicBezTo>
                  <a:pt x="360" y="966"/>
                  <a:pt x="360" y="967"/>
                  <a:pt x="360" y="968"/>
                </a:cubicBezTo>
                <a:cubicBezTo>
                  <a:pt x="359" y="969"/>
                  <a:pt x="358" y="970"/>
                  <a:pt x="356" y="970"/>
                </a:cubicBezTo>
                <a:cubicBezTo>
                  <a:pt x="355" y="971"/>
                  <a:pt x="355" y="973"/>
                  <a:pt x="355" y="973"/>
                </a:cubicBezTo>
                <a:cubicBezTo>
                  <a:pt x="356" y="976"/>
                  <a:pt x="358" y="978"/>
                  <a:pt x="359" y="980"/>
                </a:cubicBezTo>
                <a:cubicBezTo>
                  <a:pt x="361" y="981"/>
                  <a:pt x="363" y="981"/>
                  <a:pt x="364" y="979"/>
                </a:cubicBezTo>
                <a:cubicBezTo>
                  <a:pt x="365" y="978"/>
                  <a:pt x="366" y="977"/>
                  <a:pt x="366" y="977"/>
                </a:cubicBezTo>
                <a:cubicBezTo>
                  <a:pt x="368" y="975"/>
                  <a:pt x="369" y="974"/>
                  <a:pt x="371" y="973"/>
                </a:cubicBezTo>
                <a:cubicBezTo>
                  <a:pt x="375" y="969"/>
                  <a:pt x="377" y="963"/>
                  <a:pt x="379" y="957"/>
                </a:cubicBezTo>
                <a:cubicBezTo>
                  <a:pt x="379" y="956"/>
                  <a:pt x="378" y="956"/>
                  <a:pt x="378" y="955"/>
                </a:cubicBezTo>
                <a:cubicBezTo>
                  <a:pt x="377" y="954"/>
                  <a:pt x="376" y="953"/>
                  <a:pt x="375" y="952"/>
                </a:cubicBezTo>
                <a:close/>
                <a:moveTo>
                  <a:pt x="327" y="959"/>
                </a:moveTo>
                <a:cubicBezTo>
                  <a:pt x="327" y="960"/>
                  <a:pt x="325" y="960"/>
                  <a:pt x="324" y="962"/>
                </a:cubicBezTo>
                <a:cubicBezTo>
                  <a:pt x="324" y="962"/>
                  <a:pt x="323" y="963"/>
                  <a:pt x="323" y="964"/>
                </a:cubicBezTo>
                <a:cubicBezTo>
                  <a:pt x="323" y="966"/>
                  <a:pt x="327" y="971"/>
                  <a:pt x="331" y="970"/>
                </a:cubicBezTo>
                <a:cubicBezTo>
                  <a:pt x="332" y="970"/>
                  <a:pt x="333" y="969"/>
                  <a:pt x="332" y="967"/>
                </a:cubicBezTo>
                <a:cubicBezTo>
                  <a:pt x="331" y="964"/>
                  <a:pt x="329" y="962"/>
                  <a:pt x="327" y="959"/>
                </a:cubicBezTo>
                <a:close/>
                <a:moveTo>
                  <a:pt x="380" y="961"/>
                </a:moveTo>
                <a:cubicBezTo>
                  <a:pt x="378" y="966"/>
                  <a:pt x="375" y="970"/>
                  <a:pt x="373" y="974"/>
                </a:cubicBezTo>
                <a:cubicBezTo>
                  <a:pt x="376" y="974"/>
                  <a:pt x="378" y="975"/>
                  <a:pt x="381" y="974"/>
                </a:cubicBezTo>
                <a:cubicBezTo>
                  <a:pt x="381" y="974"/>
                  <a:pt x="382" y="973"/>
                  <a:pt x="382" y="973"/>
                </a:cubicBezTo>
                <a:cubicBezTo>
                  <a:pt x="382" y="970"/>
                  <a:pt x="382" y="967"/>
                  <a:pt x="381" y="965"/>
                </a:cubicBezTo>
                <a:cubicBezTo>
                  <a:pt x="381" y="964"/>
                  <a:pt x="380" y="962"/>
                  <a:pt x="380" y="961"/>
                </a:cubicBezTo>
                <a:close/>
                <a:moveTo>
                  <a:pt x="327" y="941"/>
                </a:moveTo>
                <a:cubicBezTo>
                  <a:pt x="327" y="941"/>
                  <a:pt x="326" y="941"/>
                  <a:pt x="326" y="941"/>
                </a:cubicBezTo>
                <a:cubicBezTo>
                  <a:pt x="325" y="941"/>
                  <a:pt x="324" y="941"/>
                  <a:pt x="324" y="941"/>
                </a:cubicBezTo>
                <a:cubicBezTo>
                  <a:pt x="324" y="941"/>
                  <a:pt x="323" y="940"/>
                  <a:pt x="323" y="939"/>
                </a:cubicBezTo>
                <a:cubicBezTo>
                  <a:pt x="324" y="937"/>
                  <a:pt x="324" y="935"/>
                  <a:pt x="325" y="933"/>
                </a:cubicBezTo>
                <a:cubicBezTo>
                  <a:pt x="325" y="933"/>
                  <a:pt x="325" y="933"/>
                  <a:pt x="324" y="933"/>
                </a:cubicBezTo>
                <a:cubicBezTo>
                  <a:pt x="324" y="934"/>
                  <a:pt x="322" y="935"/>
                  <a:pt x="322" y="936"/>
                </a:cubicBezTo>
                <a:cubicBezTo>
                  <a:pt x="321" y="937"/>
                  <a:pt x="322" y="942"/>
                  <a:pt x="324" y="943"/>
                </a:cubicBezTo>
                <a:cubicBezTo>
                  <a:pt x="326" y="944"/>
                  <a:pt x="327" y="943"/>
                  <a:pt x="327" y="941"/>
                </a:cubicBezTo>
                <a:close/>
                <a:moveTo>
                  <a:pt x="327" y="959"/>
                </a:moveTo>
                <a:cubicBezTo>
                  <a:pt x="327" y="960"/>
                  <a:pt x="325" y="961"/>
                  <a:pt x="324" y="962"/>
                </a:cubicBezTo>
                <a:cubicBezTo>
                  <a:pt x="323" y="962"/>
                  <a:pt x="323" y="963"/>
                  <a:pt x="323" y="964"/>
                </a:cubicBezTo>
                <a:cubicBezTo>
                  <a:pt x="323" y="967"/>
                  <a:pt x="327" y="971"/>
                  <a:pt x="331" y="971"/>
                </a:cubicBezTo>
                <a:cubicBezTo>
                  <a:pt x="332" y="971"/>
                  <a:pt x="333" y="969"/>
                  <a:pt x="332" y="968"/>
                </a:cubicBezTo>
                <a:cubicBezTo>
                  <a:pt x="331" y="965"/>
                  <a:pt x="329" y="962"/>
                  <a:pt x="327" y="959"/>
                </a:cubicBezTo>
                <a:close/>
                <a:moveTo>
                  <a:pt x="380" y="961"/>
                </a:moveTo>
                <a:cubicBezTo>
                  <a:pt x="378" y="966"/>
                  <a:pt x="375" y="970"/>
                  <a:pt x="373" y="974"/>
                </a:cubicBezTo>
                <a:cubicBezTo>
                  <a:pt x="376" y="974"/>
                  <a:pt x="378" y="975"/>
                  <a:pt x="381" y="974"/>
                </a:cubicBezTo>
                <a:cubicBezTo>
                  <a:pt x="381" y="974"/>
                  <a:pt x="381" y="973"/>
                  <a:pt x="381" y="973"/>
                </a:cubicBezTo>
                <a:cubicBezTo>
                  <a:pt x="381" y="970"/>
                  <a:pt x="381" y="968"/>
                  <a:pt x="381" y="965"/>
                </a:cubicBezTo>
                <a:cubicBezTo>
                  <a:pt x="381" y="964"/>
                  <a:pt x="380" y="962"/>
                  <a:pt x="380" y="961"/>
                </a:cubicBezTo>
                <a:close/>
                <a:moveTo>
                  <a:pt x="327" y="941"/>
                </a:moveTo>
                <a:cubicBezTo>
                  <a:pt x="326" y="941"/>
                  <a:pt x="326" y="942"/>
                  <a:pt x="325" y="942"/>
                </a:cubicBezTo>
                <a:cubicBezTo>
                  <a:pt x="324" y="942"/>
                  <a:pt x="324" y="942"/>
                  <a:pt x="324" y="941"/>
                </a:cubicBezTo>
                <a:cubicBezTo>
                  <a:pt x="323" y="941"/>
                  <a:pt x="323" y="940"/>
                  <a:pt x="323" y="939"/>
                </a:cubicBezTo>
                <a:cubicBezTo>
                  <a:pt x="324" y="937"/>
                  <a:pt x="324" y="935"/>
                  <a:pt x="325" y="933"/>
                </a:cubicBezTo>
                <a:cubicBezTo>
                  <a:pt x="324" y="933"/>
                  <a:pt x="324" y="933"/>
                  <a:pt x="324" y="933"/>
                </a:cubicBezTo>
                <a:cubicBezTo>
                  <a:pt x="323" y="934"/>
                  <a:pt x="322" y="935"/>
                  <a:pt x="321" y="936"/>
                </a:cubicBezTo>
                <a:cubicBezTo>
                  <a:pt x="320" y="937"/>
                  <a:pt x="322" y="942"/>
                  <a:pt x="324" y="943"/>
                </a:cubicBezTo>
                <a:cubicBezTo>
                  <a:pt x="325" y="944"/>
                  <a:pt x="327" y="943"/>
                  <a:pt x="327" y="941"/>
                </a:cubicBezTo>
                <a:close/>
                <a:moveTo>
                  <a:pt x="380" y="933"/>
                </a:moveTo>
                <a:cubicBezTo>
                  <a:pt x="383" y="929"/>
                  <a:pt x="383" y="929"/>
                  <a:pt x="386" y="928"/>
                </a:cubicBezTo>
                <a:cubicBezTo>
                  <a:pt x="386" y="930"/>
                  <a:pt x="388" y="931"/>
                  <a:pt x="389" y="931"/>
                </a:cubicBezTo>
                <a:cubicBezTo>
                  <a:pt x="387" y="932"/>
                  <a:pt x="385" y="934"/>
                  <a:pt x="383" y="935"/>
                </a:cubicBezTo>
                <a:cubicBezTo>
                  <a:pt x="382" y="934"/>
                  <a:pt x="382" y="933"/>
                  <a:pt x="381" y="932"/>
                </a:cubicBezTo>
                <a:cubicBezTo>
                  <a:pt x="381" y="932"/>
                  <a:pt x="380" y="932"/>
                  <a:pt x="380" y="933"/>
                </a:cubicBezTo>
                <a:close/>
                <a:moveTo>
                  <a:pt x="385" y="932"/>
                </a:moveTo>
                <a:cubicBezTo>
                  <a:pt x="385" y="932"/>
                  <a:pt x="384" y="931"/>
                  <a:pt x="383" y="931"/>
                </a:cubicBezTo>
                <a:cubicBezTo>
                  <a:pt x="383" y="931"/>
                  <a:pt x="382" y="932"/>
                  <a:pt x="382" y="933"/>
                </a:cubicBezTo>
                <a:cubicBezTo>
                  <a:pt x="382" y="933"/>
                  <a:pt x="383" y="933"/>
                  <a:pt x="383" y="934"/>
                </a:cubicBezTo>
                <a:cubicBezTo>
                  <a:pt x="384" y="933"/>
                  <a:pt x="384" y="933"/>
                  <a:pt x="385" y="932"/>
                </a:cubicBezTo>
                <a:close/>
                <a:moveTo>
                  <a:pt x="367" y="922"/>
                </a:moveTo>
                <a:cubicBezTo>
                  <a:pt x="360" y="921"/>
                  <a:pt x="357" y="924"/>
                  <a:pt x="356" y="932"/>
                </a:cubicBezTo>
                <a:cubicBezTo>
                  <a:pt x="357" y="930"/>
                  <a:pt x="358" y="928"/>
                  <a:pt x="360" y="925"/>
                </a:cubicBezTo>
                <a:cubicBezTo>
                  <a:pt x="360" y="925"/>
                  <a:pt x="360" y="925"/>
                  <a:pt x="360" y="925"/>
                </a:cubicBezTo>
                <a:cubicBezTo>
                  <a:pt x="360" y="926"/>
                  <a:pt x="360" y="927"/>
                  <a:pt x="360" y="928"/>
                </a:cubicBezTo>
                <a:cubicBezTo>
                  <a:pt x="361" y="925"/>
                  <a:pt x="363" y="923"/>
                  <a:pt x="367" y="922"/>
                </a:cubicBezTo>
                <a:close/>
                <a:moveTo>
                  <a:pt x="410" y="924"/>
                </a:moveTo>
                <a:cubicBezTo>
                  <a:pt x="408" y="925"/>
                  <a:pt x="406" y="927"/>
                  <a:pt x="404" y="928"/>
                </a:cubicBezTo>
                <a:cubicBezTo>
                  <a:pt x="407" y="928"/>
                  <a:pt x="409" y="927"/>
                  <a:pt x="410" y="924"/>
                </a:cubicBezTo>
                <a:close/>
                <a:moveTo>
                  <a:pt x="377" y="926"/>
                </a:moveTo>
                <a:cubicBezTo>
                  <a:pt x="378" y="925"/>
                  <a:pt x="379" y="923"/>
                  <a:pt x="380" y="922"/>
                </a:cubicBezTo>
                <a:cubicBezTo>
                  <a:pt x="377" y="923"/>
                  <a:pt x="376" y="924"/>
                  <a:pt x="377" y="926"/>
                </a:cubicBezTo>
                <a:close/>
                <a:moveTo>
                  <a:pt x="387" y="947"/>
                </a:moveTo>
                <a:cubicBezTo>
                  <a:pt x="385" y="948"/>
                  <a:pt x="384" y="949"/>
                  <a:pt x="384" y="949"/>
                </a:cubicBezTo>
                <a:cubicBezTo>
                  <a:pt x="385" y="949"/>
                  <a:pt x="386" y="948"/>
                  <a:pt x="387" y="947"/>
                </a:cubicBezTo>
                <a:close/>
                <a:moveTo>
                  <a:pt x="385" y="932"/>
                </a:moveTo>
                <a:cubicBezTo>
                  <a:pt x="385" y="931"/>
                  <a:pt x="384" y="931"/>
                  <a:pt x="383" y="931"/>
                </a:cubicBezTo>
                <a:cubicBezTo>
                  <a:pt x="383" y="931"/>
                  <a:pt x="382" y="932"/>
                  <a:pt x="382" y="932"/>
                </a:cubicBezTo>
                <a:cubicBezTo>
                  <a:pt x="382" y="933"/>
                  <a:pt x="383" y="933"/>
                  <a:pt x="383" y="933"/>
                </a:cubicBezTo>
                <a:cubicBezTo>
                  <a:pt x="384" y="933"/>
                  <a:pt x="384" y="933"/>
                  <a:pt x="385" y="932"/>
                </a:cubicBezTo>
                <a:close/>
                <a:moveTo>
                  <a:pt x="676" y="909"/>
                </a:moveTo>
                <a:cubicBezTo>
                  <a:pt x="676" y="909"/>
                  <a:pt x="676" y="909"/>
                  <a:pt x="676" y="909"/>
                </a:cubicBezTo>
                <a:cubicBezTo>
                  <a:pt x="671" y="909"/>
                  <a:pt x="671" y="909"/>
                  <a:pt x="671" y="909"/>
                </a:cubicBezTo>
                <a:cubicBezTo>
                  <a:pt x="669" y="911"/>
                  <a:pt x="668" y="912"/>
                  <a:pt x="666" y="913"/>
                </a:cubicBezTo>
                <a:cubicBezTo>
                  <a:pt x="664" y="915"/>
                  <a:pt x="662" y="915"/>
                  <a:pt x="661" y="916"/>
                </a:cubicBezTo>
                <a:cubicBezTo>
                  <a:pt x="658" y="917"/>
                  <a:pt x="657" y="918"/>
                  <a:pt x="655" y="919"/>
                </a:cubicBezTo>
                <a:cubicBezTo>
                  <a:pt x="653" y="920"/>
                  <a:pt x="651" y="920"/>
                  <a:pt x="650" y="920"/>
                </a:cubicBezTo>
                <a:cubicBezTo>
                  <a:pt x="650" y="920"/>
                  <a:pt x="650" y="920"/>
                  <a:pt x="650" y="931"/>
                </a:cubicBezTo>
                <a:cubicBezTo>
                  <a:pt x="653" y="930"/>
                  <a:pt x="656" y="929"/>
                  <a:pt x="658" y="928"/>
                </a:cubicBezTo>
                <a:cubicBezTo>
                  <a:pt x="660" y="927"/>
                  <a:pt x="663" y="925"/>
                  <a:pt x="664" y="924"/>
                </a:cubicBezTo>
                <a:cubicBezTo>
                  <a:pt x="664" y="924"/>
                  <a:pt x="664" y="924"/>
                  <a:pt x="664" y="983"/>
                </a:cubicBezTo>
                <a:cubicBezTo>
                  <a:pt x="664" y="983"/>
                  <a:pt x="664" y="983"/>
                  <a:pt x="676" y="983"/>
                </a:cubicBezTo>
                <a:cubicBezTo>
                  <a:pt x="676" y="983"/>
                  <a:pt x="676" y="983"/>
                  <a:pt x="676" y="909"/>
                </a:cubicBezTo>
                <a:close/>
                <a:moveTo>
                  <a:pt x="798" y="909"/>
                </a:moveTo>
                <a:cubicBezTo>
                  <a:pt x="798" y="909"/>
                  <a:pt x="798" y="909"/>
                  <a:pt x="798" y="909"/>
                </a:cubicBezTo>
                <a:cubicBezTo>
                  <a:pt x="792" y="909"/>
                  <a:pt x="792" y="909"/>
                  <a:pt x="792" y="909"/>
                </a:cubicBezTo>
                <a:cubicBezTo>
                  <a:pt x="790" y="911"/>
                  <a:pt x="789" y="912"/>
                  <a:pt x="787" y="913"/>
                </a:cubicBezTo>
                <a:cubicBezTo>
                  <a:pt x="785" y="915"/>
                  <a:pt x="784" y="915"/>
                  <a:pt x="781" y="916"/>
                </a:cubicBezTo>
                <a:cubicBezTo>
                  <a:pt x="780" y="917"/>
                  <a:pt x="778" y="918"/>
                  <a:pt x="776" y="919"/>
                </a:cubicBezTo>
                <a:cubicBezTo>
                  <a:pt x="774" y="920"/>
                  <a:pt x="772" y="920"/>
                  <a:pt x="770" y="920"/>
                </a:cubicBezTo>
                <a:cubicBezTo>
                  <a:pt x="770" y="920"/>
                  <a:pt x="770" y="920"/>
                  <a:pt x="770" y="931"/>
                </a:cubicBezTo>
                <a:cubicBezTo>
                  <a:pt x="773" y="930"/>
                  <a:pt x="776" y="929"/>
                  <a:pt x="779" y="928"/>
                </a:cubicBezTo>
                <a:cubicBezTo>
                  <a:pt x="781" y="927"/>
                  <a:pt x="784" y="925"/>
                  <a:pt x="786" y="924"/>
                </a:cubicBezTo>
                <a:cubicBezTo>
                  <a:pt x="786" y="924"/>
                  <a:pt x="786" y="924"/>
                  <a:pt x="786" y="983"/>
                </a:cubicBezTo>
                <a:cubicBezTo>
                  <a:pt x="786" y="983"/>
                  <a:pt x="786" y="983"/>
                  <a:pt x="798" y="983"/>
                </a:cubicBezTo>
                <a:cubicBezTo>
                  <a:pt x="798" y="983"/>
                  <a:pt x="798" y="983"/>
                  <a:pt x="798" y="909"/>
                </a:cubicBezTo>
                <a:close/>
                <a:moveTo>
                  <a:pt x="844" y="909"/>
                </a:moveTo>
                <a:cubicBezTo>
                  <a:pt x="844" y="909"/>
                  <a:pt x="844" y="909"/>
                  <a:pt x="844" y="909"/>
                </a:cubicBezTo>
                <a:cubicBezTo>
                  <a:pt x="839" y="909"/>
                  <a:pt x="839" y="909"/>
                  <a:pt x="839" y="909"/>
                </a:cubicBezTo>
                <a:cubicBezTo>
                  <a:pt x="837" y="911"/>
                  <a:pt x="835" y="912"/>
                  <a:pt x="833" y="913"/>
                </a:cubicBezTo>
                <a:cubicBezTo>
                  <a:pt x="832" y="915"/>
                  <a:pt x="830" y="915"/>
                  <a:pt x="828" y="916"/>
                </a:cubicBezTo>
                <a:cubicBezTo>
                  <a:pt x="827" y="917"/>
                  <a:pt x="825" y="918"/>
                  <a:pt x="823" y="919"/>
                </a:cubicBezTo>
                <a:cubicBezTo>
                  <a:pt x="821" y="920"/>
                  <a:pt x="819" y="920"/>
                  <a:pt x="817" y="920"/>
                </a:cubicBezTo>
                <a:cubicBezTo>
                  <a:pt x="817" y="920"/>
                  <a:pt x="817" y="920"/>
                  <a:pt x="817" y="931"/>
                </a:cubicBezTo>
                <a:cubicBezTo>
                  <a:pt x="820" y="930"/>
                  <a:pt x="823" y="929"/>
                  <a:pt x="825" y="928"/>
                </a:cubicBezTo>
                <a:cubicBezTo>
                  <a:pt x="828" y="927"/>
                  <a:pt x="830" y="925"/>
                  <a:pt x="833" y="924"/>
                </a:cubicBezTo>
                <a:cubicBezTo>
                  <a:pt x="833" y="924"/>
                  <a:pt x="833" y="924"/>
                  <a:pt x="833" y="983"/>
                </a:cubicBezTo>
                <a:cubicBezTo>
                  <a:pt x="833" y="983"/>
                  <a:pt x="833" y="983"/>
                  <a:pt x="844" y="983"/>
                </a:cubicBezTo>
                <a:cubicBezTo>
                  <a:pt x="844" y="983"/>
                  <a:pt x="844" y="983"/>
                  <a:pt x="844" y="909"/>
                </a:cubicBezTo>
                <a:close/>
                <a:moveTo>
                  <a:pt x="890" y="909"/>
                </a:moveTo>
                <a:cubicBezTo>
                  <a:pt x="890" y="909"/>
                  <a:pt x="890" y="909"/>
                  <a:pt x="890" y="909"/>
                </a:cubicBezTo>
                <a:cubicBezTo>
                  <a:pt x="886" y="909"/>
                  <a:pt x="886" y="909"/>
                  <a:pt x="886" y="909"/>
                </a:cubicBezTo>
                <a:cubicBezTo>
                  <a:pt x="884" y="911"/>
                  <a:pt x="882" y="912"/>
                  <a:pt x="880" y="913"/>
                </a:cubicBezTo>
                <a:cubicBezTo>
                  <a:pt x="879" y="915"/>
                  <a:pt x="876" y="915"/>
                  <a:pt x="875" y="916"/>
                </a:cubicBezTo>
                <a:cubicBezTo>
                  <a:pt x="873" y="917"/>
                  <a:pt x="871" y="917"/>
                  <a:pt x="869" y="918"/>
                </a:cubicBezTo>
                <a:cubicBezTo>
                  <a:pt x="868" y="919"/>
                  <a:pt x="865" y="920"/>
                  <a:pt x="864" y="920"/>
                </a:cubicBezTo>
                <a:cubicBezTo>
                  <a:pt x="864" y="920"/>
                  <a:pt x="864" y="920"/>
                  <a:pt x="864" y="931"/>
                </a:cubicBezTo>
                <a:cubicBezTo>
                  <a:pt x="867" y="930"/>
                  <a:pt x="870" y="928"/>
                  <a:pt x="872" y="928"/>
                </a:cubicBezTo>
                <a:cubicBezTo>
                  <a:pt x="874" y="927"/>
                  <a:pt x="877" y="925"/>
                  <a:pt x="879" y="924"/>
                </a:cubicBezTo>
                <a:cubicBezTo>
                  <a:pt x="879" y="924"/>
                  <a:pt x="879" y="924"/>
                  <a:pt x="879" y="983"/>
                </a:cubicBezTo>
                <a:cubicBezTo>
                  <a:pt x="879" y="983"/>
                  <a:pt x="879" y="983"/>
                  <a:pt x="890" y="983"/>
                </a:cubicBezTo>
                <a:cubicBezTo>
                  <a:pt x="890" y="983"/>
                  <a:pt x="890" y="983"/>
                  <a:pt x="890" y="909"/>
                </a:cubicBezTo>
                <a:close/>
                <a:moveTo>
                  <a:pt x="696" y="942"/>
                </a:moveTo>
                <a:cubicBezTo>
                  <a:pt x="696" y="942"/>
                  <a:pt x="696" y="942"/>
                  <a:pt x="696" y="942"/>
                </a:cubicBezTo>
                <a:cubicBezTo>
                  <a:pt x="696" y="950"/>
                  <a:pt x="696" y="950"/>
                  <a:pt x="696" y="950"/>
                </a:cubicBezTo>
                <a:cubicBezTo>
                  <a:pt x="702" y="950"/>
                  <a:pt x="703" y="953"/>
                  <a:pt x="703" y="956"/>
                </a:cubicBezTo>
                <a:cubicBezTo>
                  <a:pt x="703" y="958"/>
                  <a:pt x="702" y="960"/>
                  <a:pt x="702" y="963"/>
                </a:cubicBezTo>
                <a:cubicBezTo>
                  <a:pt x="702" y="966"/>
                  <a:pt x="702" y="968"/>
                  <a:pt x="702" y="970"/>
                </a:cubicBezTo>
                <a:cubicBezTo>
                  <a:pt x="702" y="980"/>
                  <a:pt x="708" y="983"/>
                  <a:pt x="716" y="983"/>
                </a:cubicBezTo>
                <a:cubicBezTo>
                  <a:pt x="716" y="983"/>
                  <a:pt x="716" y="983"/>
                  <a:pt x="720" y="983"/>
                </a:cubicBezTo>
                <a:cubicBezTo>
                  <a:pt x="720" y="983"/>
                  <a:pt x="720" y="983"/>
                  <a:pt x="720" y="974"/>
                </a:cubicBezTo>
                <a:cubicBezTo>
                  <a:pt x="720" y="974"/>
                  <a:pt x="720" y="974"/>
                  <a:pt x="718" y="974"/>
                </a:cubicBezTo>
                <a:cubicBezTo>
                  <a:pt x="715" y="974"/>
                  <a:pt x="714" y="971"/>
                  <a:pt x="714" y="968"/>
                </a:cubicBezTo>
                <a:cubicBezTo>
                  <a:pt x="714" y="966"/>
                  <a:pt x="714" y="965"/>
                  <a:pt x="714" y="963"/>
                </a:cubicBezTo>
                <a:cubicBezTo>
                  <a:pt x="714" y="962"/>
                  <a:pt x="714" y="959"/>
                  <a:pt x="714" y="957"/>
                </a:cubicBezTo>
                <a:cubicBezTo>
                  <a:pt x="714" y="950"/>
                  <a:pt x="711" y="947"/>
                  <a:pt x="706" y="946"/>
                </a:cubicBezTo>
                <a:cubicBezTo>
                  <a:pt x="706" y="946"/>
                  <a:pt x="706" y="946"/>
                  <a:pt x="706" y="946"/>
                </a:cubicBezTo>
                <a:cubicBezTo>
                  <a:pt x="711" y="944"/>
                  <a:pt x="714" y="942"/>
                  <a:pt x="714" y="935"/>
                </a:cubicBezTo>
                <a:cubicBezTo>
                  <a:pt x="714" y="932"/>
                  <a:pt x="714" y="930"/>
                  <a:pt x="714" y="928"/>
                </a:cubicBezTo>
                <a:cubicBezTo>
                  <a:pt x="714" y="927"/>
                  <a:pt x="714" y="925"/>
                  <a:pt x="714" y="924"/>
                </a:cubicBezTo>
                <a:cubicBezTo>
                  <a:pt x="714" y="920"/>
                  <a:pt x="715" y="918"/>
                  <a:pt x="718" y="918"/>
                </a:cubicBezTo>
                <a:cubicBezTo>
                  <a:pt x="718" y="918"/>
                  <a:pt x="718" y="918"/>
                  <a:pt x="720" y="918"/>
                </a:cubicBezTo>
                <a:cubicBezTo>
                  <a:pt x="720" y="918"/>
                  <a:pt x="720" y="918"/>
                  <a:pt x="720" y="909"/>
                </a:cubicBezTo>
                <a:cubicBezTo>
                  <a:pt x="720" y="909"/>
                  <a:pt x="720" y="909"/>
                  <a:pt x="716" y="909"/>
                </a:cubicBezTo>
                <a:cubicBezTo>
                  <a:pt x="707" y="909"/>
                  <a:pt x="702" y="913"/>
                  <a:pt x="702" y="921"/>
                </a:cubicBezTo>
                <a:cubicBezTo>
                  <a:pt x="702" y="923"/>
                  <a:pt x="702" y="926"/>
                  <a:pt x="702" y="929"/>
                </a:cubicBezTo>
                <a:cubicBezTo>
                  <a:pt x="702" y="931"/>
                  <a:pt x="703" y="934"/>
                  <a:pt x="703" y="935"/>
                </a:cubicBezTo>
                <a:cubicBezTo>
                  <a:pt x="703" y="938"/>
                  <a:pt x="702" y="941"/>
                  <a:pt x="696" y="942"/>
                </a:cubicBezTo>
                <a:close/>
                <a:moveTo>
                  <a:pt x="751" y="950"/>
                </a:moveTo>
                <a:cubicBezTo>
                  <a:pt x="751" y="950"/>
                  <a:pt x="751" y="950"/>
                  <a:pt x="751" y="950"/>
                </a:cubicBezTo>
                <a:cubicBezTo>
                  <a:pt x="751" y="942"/>
                  <a:pt x="751" y="942"/>
                  <a:pt x="751" y="942"/>
                </a:cubicBezTo>
                <a:cubicBezTo>
                  <a:pt x="744" y="941"/>
                  <a:pt x="744" y="938"/>
                  <a:pt x="744" y="935"/>
                </a:cubicBezTo>
                <a:cubicBezTo>
                  <a:pt x="744" y="934"/>
                  <a:pt x="744" y="931"/>
                  <a:pt x="744" y="929"/>
                </a:cubicBezTo>
                <a:cubicBezTo>
                  <a:pt x="745" y="926"/>
                  <a:pt x="745" y="923"/>
                  <a:pt x="745" y="921"/>
                </a:cubicBezTo>
                <a:cubicBezTo>
                  <a:pt x="745" y="913"/>
                  <a:pt x="739" y="909"/>
                  <a:pt x="730" y="909"/>
                </a:cubicBezTo>
                <a:cubicBezTo>
                  <a:pt x="730" y="909"/>
                  <a:pt x="730" y="909"/>
                  <a:pt x="727" y="909"/>
                </a:cubicBezTo>
                <a:cubicBezTo>
                  <a:pt x="727" y="909"/>
                  <a:pt x="727" y="909"/>
                  <a:pt x="727" y="918"/>
                </a:cubicBezTo>
                <a:cubicBezTo>
                  <a:pt x="727" y="918"/>
                  <a:pt x="727" y="918"/>
                  <a:pt x="728" y="918"/>
                </a:cubicBezTo>
                <a:cubicBezTo>
                  <a:pt x="732" y="918"/>
                  <a:pt x="733" y="920"/>
                  <a:pt x="733" y="924"/>
                </a:cubicBezTo>
                <a:cubicBezTo>
                  <a:pt x="733" y="925"/>
                  <a:pt x="733" y="927"/>
                  <a:pt x="733" y="928"/>
                </a:cubicBezTo>
                <a:cubicBezTo>
                  <a:pt x="732" y="930"/>
                  <a:pt x="732" y="932"/>
                  <a:pt x="732" y="935"/>
                </a:cubicBezTo>
                <a:cubicBezTo>
                  <a:pt x="732" y="942"/>
                  <a:pt x="735" y="944"/>
                  <a:pt x="741" y="946"/>
                </a:cubicBezTo>
                <a:cubicBezTo>
                  <a:pt x="741" y="946"/>
                  <a:pt x="741" y="946"/>
                  <a:pt x="741" y="946"/>
                </a:cubicBezTo>
                <a:cubicBezTo>
                  <a:pt x="735" y="947"/>
                  <a:pt x="732" y="950"/>
                  <a:pt x="732" y="957"/>
                </a:cubicBezTo>
                <a:cubicBezTo>
                  <a:pt x="732" y="959"/>
                  <a:pt x="732" y="962"/>
                  <a:pt x="733" y="963"/>
                </a:cubicBezTo>
                <a:cubicBezTo>
                  <a:pt x="733" y="965"/>
                  <a:pt x="733" y="966"/>
                  <a:pt x="733" y="968"/>
                </a:cubicBezTo>
                <a:cubicBezTo>
                  <a:pt x="733" y="971"/>
                  <a:pt x="732" y="974"/>
                  <a:pt x="728" y="974"/>
                </a:cubicBezTo>
                <a:cubicBezTo>
                  <a:pt x="728" y="974"/>
                  <a:pt x="728" y="974"/>
                  <a:pt x="727" y="974"/>
                </a:cubicBezTo>
                <a:cubicBezTo>
                  <a:pt x="727" y="974"/>
                  <a:pt x="727" y="974"/>
                  <a:pt x="727" y="983"/>
                </a:cubicBezTo>
                <a:cubicBezTo>
                  <a:pt x="727" y="983"/>
                  <a:pt x="727" y="983"/>
                  <a:pt x="730" y="983"/>
                </a:cubicBezTo>
                <a:cubicBezTo>
                  <a:pt x="739" y="983"/>
                  <a:pt x="745" y="980"/>
                  <a:pt x="745" y="970"/>
                </a:cubicBezTo>
                <a:cubicBezTo>
                  <a:pt x="745" y="968"/>
                  <a:pt x="745" y="966"/>
                  <a:pt x="744" y="963"/>
                </a:cubicBezTo>
                <a:cubicBezTo>
                  <a:pt x="744" y="960"/>
                  <a:pt x="744" y="958"/>
                  <a:pt x="744" y="956"/>
                </a:cubicBezTo>
                <a:cubicBezTo>
                  <a:pt x="744" y="953"/>
                  <a:pt x="744" y="950"/>
                  <a:pt x="751" y="950"/>
                </a:cubicBezTo>
                <a:close/>
                <a:moveTo>
                  <a:pt x="934" y="983"/>
                </a:moveTo>
                <a:cubicBezTo>
                  <a:pt x="927" y="983"/>
                  <a:pt x="920" y="980"/>
                  <a:pt x="916" y="974"/>
                </a:cubicBezTo>
                <a:cubicBezTo>
                  <a:pt x="912" y="968"/>
                  <a:pt x="910" y="959"/>
                  <a:pt x="910" y="946"/>
                </a:cubicBezTo>
                <a:cubicBezTo>
                  <a:pt x="910" y="933"/>
                  <a:pt x="912" y="924"/>
                  <a:pt x="917" y="917"/>
                </a:cubicBezTo>
                <a:cubicBezTo>
                  <a:pt x="921" y="911"/>
                  <a:pt x="927" y="907"/>
                  <a:pt x="936" y="907"/>
                </a:cubicBezTo>
                <a:cubicBezTo>
                  <a:pt x="952" y="907"/>
                  <a:pt x="960" y="919"/>
                  <a:pt x="960" y="945"/>
                </a:cubicBezTo>
                <a:cubicBezTo>
                  <a:pt x="960" y="957"/>
                  <a:pt x="958" y="967"/>
                  <a:pt x="953" y="973"/>
                </a:cubicBezTo>
                <a:cubicBezTo>
                  <a:pt x="949" y="980"/>
                  <a:pt x="942" y="983"/>
                  <a:pt x="934" y="983"/>
                </a:cubicBezTo>
                <a:close/>
                <a:moveTo>
                  <a:pt x="935" y="917"/>
                </a:moveTo>
                <a:cubicBezTo>
                  <a:pt x="926" y="917"/>
                  <a:pt x="922" y="927"/>
                  <a:pt x="922" y="946"/>
                </a:cubicBezTo>
                <a:cubicBezTo>
                  <a:pt x="922" y="965"/>
                  <a:pt x="926" y="973"/>
                  <a:pt x="935" y="973"/>
                </a:cubicBezTo>
                <a:cubicBezTo>
                  <a:pt x="944" y="973"/>
                  <a:pt x="948" y="965"/>
                  <a:pt x="948" y="946"/>
                </a:cubicBezTo>
                <a:cubicBezTo>
                  <a:pt x="948" y="926"/>
                  <a:pt x="944" y="917"/>
                  <a:pt x="935" y="917"/>
                </a:cubicBezTo>
                <a:close/>
                <a:moveTo>
                  <a:pt x="1004" y="983"/>
                </a:moveTo>
                <a:cubicBezTo>
                  <a:pt x="997" y="983"/>
                  <a:pt x="990" y="980"/>
                  <a:pt x="987" y="974"/>
                </a:cubicBezTo>
                <a:cubicBezTo>
                  <a:pt x="982" y="968"/>
                  <a:pt x="980" y="959"/>
                  <a:pt x="980" y="946"/>
                </a:cubicBezTo>
                <a:cubicBezTo>
                  <a:pt x="980" y="933"/>
                  <a:pt x="982" y="924"/>
                  <a:pt x="987" y="917"/>
                </a:cubicBezTo>
                <a:cubicBezTo>
                  <a:pt x="991" y="911"/>
                  <a:pt x="998" y="907"/>
                  <a:pt x="1006" y="907"/>
                </a:cubicBezTo>
                <a:cubicBezTo>
                  <a:pt x="1022" y="907"/>
                  <a:pt x="1030" y="919"/>
                  <a:pt x="1030" y="945"/>
                </a:cubicBezTo>
                <a:cubicBezTo>
                  <a:pt x="1030" y="957"/>
                  <a:pt x="1028" y="967"/>
                  <a:pt x="1024" y="973"/>
                </a:cubicBezTo>
                <a:cubicBezTo>
                  <a:pt x="1019" y="980"/>
                  <a:pt x="1013" y="983"/>
                  <a:pt x="1004" y="983"/>
                </a:cubicBezTo>
                <a:close/>
                <a:moveTo>
                  <a:pt x="1006" y="917"/>
                </a:moveTo>
                <a:cubicBezTo>
                  <a:pt x="997" y="917"/>
                  <a:pt x="992" y="927"/>
                  <a:pt x="992" y="946"/>
                </a:cubicBezTo>
                <a:cubicBezTo>
                  <a:pt x="992" y="965"/>
                  <a:pt x="996" y="973"/>
                  <a:pt x="1005" y="973"/>
                </a:cubicBezTo>
                <a:cubicBezTo>
                  <a:pt x="1014" y="973"/>
                  <a:pt x="1018" y="965"/>
                  <a:pt x="1018" y="946"/>
                </a:cubicBezTo>
                <a:cubicBezTo>
                  <a:pt x="1018" y="926"/>
                  <a:pt x="1014" y="917"/>
                  <a:pt x="1006" y="917"/>
                </a:cubicBezTo>
                <a:close/>
                <a:moveTo>
                  <a:pt x="1077" y="909"/>
                </a:moveTo>
                <a:cubicBezTo>
                  <a:pt x="1077" y="909"/>
                  <a:pt x="1077" y="909"/>
                  <a:pt x="1077" y="909"/>
                </a:cubicBezTo>
                <a:cubicBezTo>
                  <a:pt x="1072" y="909"/>
                  <a:pt x="1072" y="909"/>
                  <a:pt x="1072" y="909"/>
                </a:cubicBezTo>
                <a:cubicBezTo>
                  <a:pt x="1070" y="911"/>
                  <a:pt x="1069" y="912"/>
                  <a:pt x="1066" y="913"/>
                </a:cubicBezTo>
                <a:cubicBezTo>
                  <a:pt x="1065" y="915"/>
                  <a:pt x="1063" y="915"/>
                  <a:pt x="1061" y="916"/>
                </a:cubicBezTo>
                <a:cubicBezTo>
                  <a:pt x="1060" y="917"/>
                  <a:pt x="1057" y="918"/>
                  <a:pt x="1056" y="919"/>
                </a:cubicBezTo>
                <a:cubicBezTo>
                  <a:pt x="1054" y="920"/>
                  <a:pt x="1052" y="920"/>
                  <a:pt x="1050" y="920"/>
                </a:cubicBezTo>
                <a:cubicBezTo>
                  <a:pt x="1050" y="920"/>
                  <a:pt x="1050" y="920"/>
                  <a:pt x="1050" y="931"/>
                </a:cubicBezTo>
                <a:cubicBezTo>
                  <a:pt x="1053" y="930"/>
                  <a:pt x="1056" y="929"/>
                  <a:pt x="1059" y="928"/>
                </a:cubicBezTo>
                <a:cubicBezTo>
                  <a:pt x="1061" y="927"/>
                  <a:pt x="1063" y="925"/>
                  <a:pt x="1066" y="924"/>
                </a:cubicBezTo>
                <a:cubicBezTo>
                  <a:pt x="1066" y="924"/>
                  <a:pt x="1066" y="924"/>
                  <a:pt x="1066" y="983"/>
                </a:cubicBezTo>
                <a:cubicBezTo>
                  <a:pt x="1066" y="983"/>
                  <a:pt x="1066" y="983"/>
                  <a:pt x="1077" y="983"/>
                </a:cubicBezTo>
                <a:cubicBezTo>
                  <a:pt x="1077" y="983"/>
                  <a:pt x="1077" y="983"/>
                  <a:pt x="1077" y="909"/>
                </a:cubicBezTo>
                <a:close/>
                <a:moveTo>
                  <a:pt x="1124" y="909"/>
                </a:moveTo>
                <a:cubicBezTo>
                  <a:pt x="1124" y="909"/>
                  <a:pt x="1124" y="909"/>
                  <a:pt x="1124" y="909"/>
                </a:cubicBezTo>
                <a:cubicBezTo>
                  <a:pt x="1119" y="909"/>
                  <a:pt x="1119" y="909"/>
                  <a:pt x="1119" y="909"/>
                </a:cubicBezTo>
                <a:cubicBezTo>
                  <a:pt x="1117" y="911"/>
                  <a:pt x="1115" y="912"/>
                  <a:pt x="1113" y="913"/>
                </a:cubicBezTo>
                <a:cubicBezTo>
                  <a:pt x="1112" y="915"/>
                  <a:pt x="1109" y="915"/>
                  <a:pt x="1108" y="916"/>
                </a:cubicBezTo>
                <a:cubicBezTo>
                  <a:pt x="1107" y="917"/>
                  <a:pt x="1104" y="918"/>
                  <a:pt x="1103" y="919"/>
                </a:cubicBezTo>
                <a:cubicBezTo>
                  <a:pt x="1101" y="920"/>
                  <a:pt x="1099" y="920"/>
                  <a:pt x="1097" y="920"/>
                </a:cubicBezTo>
                <a:cubicBezTo>
                  <a:pt x="1097" y="920"/>
                  <a:pt x="1097" y="920"/>
                  <a:pt x="1097" y="931"/>
                </a:cubicBezTo>
                <a:cubicBezTo>
                  <a:pt x="1100" y="930"/>
                  <a:pt x="1103" y="929"/>
                  <a:pt x="1105" y="928"/>
                </a:cubicBezTo>
                <a:cubicBezTo>
                  <a:pt x="1108" y="927"/>
                  <a:pt x="1110" y="925"/>
                  <a:pt x="1112" y="924"/>
                </a:cubicBezTo>
                <a:cubicBezTo>
                  <a:pt x="1112" y="924"/>
                  <a:pt x="1112" y="924"/>
                  <a:pt x="1112" y="983"/>
                </a:cubicBezTo>
                <a:cubicBezTo>
                  <a:pt x="1112" y="983"/>
                  <a:pt x="1112" y="983"/>
                  <a:pt x="1124" y="983"/>
                </a:cubicBezTo>
                <a:cubicBezTo>
                  <a:pt x="1124" y="983"/>
                  <a:pt x="1124" y="983"/>
                  <a:pt x="1124" y="909"/>
                </a:cubicBezTo>
                <a:close/>
                <a:moveTo>
                  <a:pt x="1170" y="909"/>
                </a:moveTo>
                <a:cubicBezTo>
                  <a:pt x="1170" y="909"/>
                  <a:pt x="1170" y="909"/>
                  <a:pt x="1170" y="909"/>
                </a:cubicBezTo>
                <a:cubicBezTo>
                  <a:pt x="1166" y="909"/>
                  <a:pt x="1166" y="909"/>
                  <a:pt x="1166" y="909"/>
                </a:cubicBezTo>
                <a:cubicBezTo>
                  <a:pt x="1164" y="911"/>
                  <a:pt x="1162" y="912"/>
                  <a:pt x="1160" y="913"/>
                </a:cubicBezTo>
                <a:cubicBezTo>
                  <a:pt x="1159" y="915"/>
                  <a:pt x="1156" y="915"/>
                  <a:pt x="1155" y="916"/>
                </a:cubicBezTo>
                <a:cubicBezTo>
                  <a:pt x="1153" y="917"/>
                  <a:pt x="1151" y="917"/>
                  <a:pt x="1149" y="918"/>
                </a:cubicBezTo>
                <a:cubicBezTo>
                  <a:pt x="1148" y="919"/>
                  <a:pt x="1146" y="920"/>
                  <a:pt x="1144" y="920"/>
                </a:cubicBezTo>
                <a:cubicBezTo>
                  <a:pt x="1144" y="920"/>
                  <a:pt x="1144" y="920"/>
                  <a:pt x="1144" y="931"/>
                </a:cubicBezTo>
                <a:cubicBezTo>
                  <a:pt x="1147" y="930"/>
                  <a:pt x="1150" y="928"/>
                  <a:pt x="1152" y="928"/>
                </a:cubicBezTo>
                <a:cubicBezTo>
                  <a:pt x="1154" y="927"/>
                  <a:pt x="1157" y="925"/>
                  <a:pt x="1159" y="924"/>
                </a:cubicBezTo>
                <a:cubicBezTo>
                  <a:pt x="1159" y="924"/>
                  <a:pt x="1159" y="924"/>
                  <a:pt x="1159" y="983"/>
                </a:cubicBezTo>
                <a:cubicBezTo>
                  <a:pt x="1159" y="983"/>
                  <a:pt x="1159" y="983"/>
                  <a:pt x="1170" y="983"/>
                </a:cubicBezTo>
                <a:cubicBezTo>
                  <a:pt x="1170" y="983"/>
                  <a:pt x="1170" y="983"/>
                  <a:pt x="1170" y="909"/>
                </a:cubicBezTo>
                <a:close/>
                <a:moveTo>
                  <a:pt x="979" y="874"/>
                </a:moveTo>
                <a:cubicBezTo>
                  <a:pt x="972" y="874"/>
                  <a:pt x="965" y="872"/>
                  <a:pt x="961" y="866"/>
                </a:cubicBezTo>
                <a:cubicBezTo>
                  <a:pt x="957" y="859"/>
                  <a:pt x="955" y="850"/>
                  <a:pt x="955" y="838"/>
                </a:cubicBezTo>
                <a:cubicBezTo>
                  <a:pt x="955" y="825"/>
                  <a:pt x="957" y="815"/>
                  <a:pt x="962" y="808"/>
                </a:cubicBezTo>
                <a:cubicBezTo>
                  <a:pt x="966" y="802"/>
                  <a:pt x="973" y="798"/>
                  <a:pt x="981" y="798"/>
                </a:cubicBezTo>
                <a:cubicBezTo>
                  <a:pt x="997" y="798"/>
                  <a:pt x="1005" y="811"/>
                  <a:pt x="1005" y="836"/>
                </a:cubicBezTo>
                <a:cubicBezTo>
                  <a:pt x="1005" y="849"/>
                  <a:pt x="1003" y="858"/>
                  <a:pt x="998" y="865"/>
                </a:cubicBezTo>
                <a:cubicBezTo>
                  <a:pt x="994" y="872"/>
                  <a:pt x="987" y="874"/>
                  <a:pt x="979" y="874"/>
                </a:cubicBezTo>
                <a:close/>
                <a:moveTo>
                  <a:pt x="981" y="808"/>
                </a:moveTo>
                <a:cubicBezTo>
                  <a:pt x="971" y="808"/>
                  <a:pt x="967" y="818"/>
                  <a:pt x="967" y="838"/>
                </a:cubicBezTo>
                <a:cubicBezTo>
                  <a:pt x="967" y="856"/>
                  <a:pt x="971" y="865"/>
                  <a:pt x="980" y="865"/>
                </a:cubicBezTo>
                <a:cubicBezTo>
                  <a:pt x="989" y="865"/>
                  <a:pt x="993" y="856"/>
                  <a:pt x="993" y="837"/>
                </a:cubicBezTo>
                <a:cubicBezTo>
                  <a:pt x="993" y="817"/>
                  <a:pt x="989" y="808"/>
                  <a:pt x="981" y="808"/>
                </a:cubicBezTo>
                <a:close/>
                <a:moveTo>
                  <a:pt x="1053" y="801"/>
                </a:moveTo>
                <a:cubicBezTo>
                  <a:pt x="1053" y="801"/>
                  <a:pt x="1053" y="801"/>
                  <a:pt x="1053" y="801"/>
                </a:cubicBezTo>
                <a:cubicBezTo>
                  <a:pt x="1048" y="801"/>
                  <a:pt x="1048" y="801"/>
                  <a:pt x="1048" y="801"/>
                </a:cubicBezTo>
                <a:cubicBezTo>
                  <a:pt x="1046" y="802"/>
                  <a:pt x="1044" y="804"/>
                  <a:pt x="1042" y="805"/>
                </a:cubicBezTo>
                <a:cubicBezTo>
                  <a:pt x="1041" y="806"/>
                  <a:pt x="1038" y="807"/>
                  <a:pt x="1037" y="808"/>
                </a:cubicBezTo>
                <a:cubicBezTo>
                  <a:pt x="1035" y="808"/>
                  <a:pt x="1033" y="809"/>
                  <a:pt x="1032" y="810"/>
                </a:cubicBezTo>
                <a:cubicBezTo>
                  <a:pt x="1030" y="810"/>
                  <a:pt x="1028" y="811"/>
                  <a:pt x="1026" y="812"/>
                </a:cubicBezTo>
                <a:cubicBezTo>
                  <a:pt x="1026" y="812"/>
                  <a:pt x="1026" y="812"/>
                  <a:pt x="1026" y="822"/>
                </a:cubicBezTo>
                <a:cubicBezTo>
                  <a:pt x="1029" y="821"/>
                  <a:pt x="1032" y="820"/>
                  <a:pt x="1034" y="819"/>
                </a:cubicBezTo>
                <a:cubicBezTo>
                  <a:pt x="1037" y="818"/>
                  <a:pt x="1039" y="817"/>
                  <a:pt x="1041" y="816"/>
                </a:cubicBezTo>
                <a:cubicBezTo>
                  <a:pt x="1041" y="816"/>
                  <a:pt x="1041" y="816"/>
                  <a:pt x="1041" y="874"/>
                </a:cubicBezTo>
                <a:cubicBezTo>
                  <a:pt x="1041" y="874"/>
                  <a:pt x="1041" y="874"/>
                  <a:pt x="1053" y="874"/>
                </a:cubicBezTo>
                <a:cubicBezTo>
                  <a:pt x="1053" y="874"/>
                  <a:pt x="1053" y="874"/>
                  <a:pt x="1053" y="801"/>
                </a:cubicBezTo>
                <a:close/>
                <a:moveTo>
                  <a:pt x="1100" y="801"/>
                </a:moveTo>
                <a:cubicBezTo>
                  <a:pt x="1100" y="801"/>
                  <a:pt x="1100" y="801"/>
                  <a:pt x="1100" y="801"/>
                </a:cubicBezTo>
                <a:cubicBezTo>
                  <a:pt x="1095" y="801"/>
                  <a:pt x="1095" y="801"/>
                  <a:pt x="1095" y="801"/>
                </a:cubicBezTo>
                <a:cubicBezTo>
                  <a:pt x="1093" y="802"/>
                  <a:pt x="1091" y="804"/>
                  <a:pt x="1089" y="805"/>
                </a:cubicBezTo>
                <a:cubicBezTo>
                  <a:pt x="1088" y="806"/>
                  <a:pt x="1086" y="807"/>
                  <a:pt x="1084" y="808"/>
                </a:cubicBezTo>
                <a:cubicBezTo>
                  <a:pt x="1083" y="809"/>
                  <a:pt x="1081" y="810"/>
                  <a:pt x="1079" y="810"/>
                </a:cubicBezTo>
                <a:cubicBezTo>
                  <a:pt x="1077" y="811"/>
                  <a:pt x="1076" y="812"/>
                  <a:pt x="1074" y="812"/>
                </a:cubicBezTo>
                <a:cubicBezTo>
                  <a:pt x="1074" y="812"/>
                  <a:pt x="1074" y="812"/>
                  <a:pt x="1074" y="822"/>
                </a:cubicBezTo>
                <a:cubicBezTo>
                  <a:pt x="1076" y="821"/>
                  <a:pt x="1079" y="821"/>
                  <a:pt x="1081" y="819"/>
                </a:cubicBezTo>
                <a:cubicBezTo>
                  <a:pt x="1084" y="818"/>
                  <a:pt x="1086" y="817"/>
                  <a:pt x="1089" y="816"/>
                </a:cubicBezTo>
                <a:cubicBezTo>
                  <a:pt x="1089" y="816"/>
                  <a:pt x="1089" y="816"/>
                  <a:pt x="1089" y="874"/>
                </a:cubicBezTo>
                <a:cubicBezTo>
                  <a:pt x="1089" y="874"/>
                  <a:pt x="1089" y="874"/>
                  <a:pt x="1100" y="874"/>
                </a:cubicBezTo>
                <a:cubicBezTo>
                  <a:pt x="1100" y="874"/>
                  <a:pt x="1100" y="874"/>
                  <a:pt x="1100" y="801"/>
                </a:cubicBezTo>
                <a:close/>
                <a:moveTo>
                  <a:pt x="1147" y="801"/>
                </a:moveTo>
                <a:cubicBezTo>
                  <a:pt x="1147" y="801"/>
                  <a:pt x="1147" y="801"/>
                  <a:pt x="1147" y="801"/>
                </a:cubicBezTo>
                <a:cubicBezTo>
                  <a:pt x="1142" y="801"/>
                  <a:pt x="1142" y="801"/>
                  <a:pt x="1142" y="801"/>
                </a:cubicBezTo>
                <a:cubicBezTo>
                  <a:pt x="1140" y="802"/>
                  <a:pt x="1139" y="804"/>
                  <a:pt x="1136" y="805"/>
                </a:cubicBezTo>
                <a:cubicBezTo>
                  <a:pt x="1135" y="806"/>
                  <a:pt x="1133" y="807"/>
                  <a:pt x="1131" y="808"/>
                </a:cubicBezTo>
                <a:cubicBezTo>
                  <a:pt x="1129" y="809"/>
                  <a:pt x="1128" y="810"/>
                  <a:pt x="1126" y="810"/>
                </a:cubicBezTo>
                <a:cubicBezTo>
                  <a:pt x="1124" y="811"/>
                  <a:pt x="1122" y="812"/>
                  <a:pt x="1121" y="812"/>
                </a:cubicBezTo>
                <a:cubicBezTo>
                  <a:pt x="1121" y="812"/>
                  <a:pt x="1121" y="812"/>
                  <a:pt x="1121" y="822"/>
                </a:cubicBezTo>
                <a:cubicBezTo>
                  <a:pt x="1124" y="821"/>
                  <a:pt x="1126" y="821"/>
                  <a:pt x="1129" y="819"/>
                </a:cubicBezTo>
                <a:cubicBezTo>
                  <a:pt x="1131" y="818"/>
                  <a:pt x="1134" y="817"/>
                  <a:pt x="1135" y="816"/>
                </a:cubicBezTo>
                <a:cubicBezTo>
                  <a:pt x="1135" y="816"/>
                  <a:pt x="1135" y="816"/>
                  <a:pt x="1135" y="874"/>
                </a:cubicBezTo>
                <a:cubicBezTo>
                  <a:pt x="1135" y="874"/>
                  <a:pt x="1135" y="874"/>
                  <a:pt x="1147" y="874"/>
                </a:cubicBezTo>
                <a:cubicBezTo>
                  <a:pt x="1147" y="874"/>
                  <a:pt x="1147" y="874"/>
                  <a:pt x="1147" y="801"/>
                </a:cubicBezTo>
                <a:close/>
                <a:moveTo>
                  <a:pt x="1194" y="801"/>
                </a:moveTo>
                <a:cubicBezTo>
                  <a:pt x="1194" y="801"/>
                  <a:pt x="1194" y="801"/>
                  <a:pt x="1194" y="801"/>
                </a:cubicBezTo>
                <a:cubicBezTo>
                  <a:pt x="1189" y="801"/>
                  <a:pt x="1189" y="801"/>
                  <a:pt x="1189" y="801"/>
                </a:cubicBezTo>
                <a:cubicBezTo>
                  <a:pt x="1187" y="802"/>
                  <a:pt x="1185" y="804"/>
                  <a:pt x="1183" y="805"/>
                </a:cubicBezTo>
                <a:cubicBezTo>
                  <a:pt x="1182" y="806"/>
                  <a:pt x="1180" y="807"/>
                  <a:pt x="1178" y="808"/>
                </a:cubicBezTo>
                <a:cubicBezTo>
                  <a:pt x="1177" y="809"/>
                  <a:pt x="1174" y="810"/>
                  <a:pt x="1173" y="810"/>
                </a:cubicBezTo>
                <a:cubicBezTo>
                  <a:pt x="1171" y="811"/>
                  <a:pt x="1169" y="812"/>
                  <a:pt x="1167" y="812"/>
                </a:cubicBezTo>
                <a:cubicBezTo>
                  <a:pt x="1167" y="812"/>
                  <a:pt x="1167" y="812"/>
                  <a:pt x="1167" y="822"/>
                </a:cubicBezTo>
                <a:cubicBezTo>
                  <a:pt x="1170" y="821"/>
                  <a:pt x="1173" y="821"/>
                  <a:pt x="1175" y="819"/>
                </a:cubicBezTo>
                <a:cubicBezTo>
                  <a:pt x="1178" y="818"/>
                  <a:pt x="1180" y="817"/>
                  <a:pt x="1182" y="816"/>
                </a:cubicBezTo>
                <a:cubicBezTo>
                  <a:pt x="1182" y="816"/>
                  <a:pt x="1182" y="816"/>
                  <a:pt x="1182" y="874"/>
                </a:cubicBezTo>
                <a:cubicBezTo>
                  <a:pt x="1182" y="874"/>
                  <a:pt x="1182" y="874"/>
                  <a:pt x="1194" y="874"/>
                </a:cubicBezTo>
                <a:cubicBezTo>
                  <a:pt x="1194" y="874"/>
                  <a:pt x="1194" y="874"/>
                  <a:pt x="1194" y="801"/>
                </a:cubicBezTo>
                <a:close/>
                <a:moveTo>
                  <a:pt x="1317" y="801"/>
                </a:moveTo>
                <a:cubicBezTo>
                  <a:pt x="1317" y="801"/>
                  <a:pt x="1317" y="801"/>
                  <a:pt x="1317" y="801"/>
                </a:cubicBezTo>
                <a:cubicBezTo>
                  <a:pt x="1312" y="801"/>
                  <a:pt x="1312" y="801"/>
                  <a:pt x="1312" y="801"/>
                </a:cubicBezTo>
                <a:cubicBezTo>
                  <a:pt x="1310" y="802"/>
                  <a:pt x="1309" y="804"/>
                  <a:pt x="1306" y="805"/>
                </a:cubicBezTo>
                <a:cubicBezTo>
                  <a:pt x="1305" y="806"/>
                  <a:pt x="1303" y="807"/>
                  <a:pt x="1301" y="808"/>
                </a:cubicBezTo>
                <a:cubicBezTo>
                  <a:pt x="1300" y="809"/>
                  <a:pt x="1297" y="810"/>
                  <a:pt x="1296" y="810"/>
                </a:cubicBezTo>
                <a:cubicBezTo>
                  <a:pt x="1294" y="811"/>
                  <a:pt x="1292" y="812"/>
                  <a:pt x="1290" y="812"/>
                </a:cubicBezTo>
                <a:cubicBezTo>
                  <a:pt x="1290" y="812"/>
                  <a:pt x="1290" y="812"/>
                  <a:pt x="1290" y="822"/>
                </a:cubicBezTo>
                <a:cubicBezTo>
                  <a:pt x="1293" y="821"/>
                  <a:pt x="1296" y="821"/>
                  <a:pt x="1299" y="819"/>
                </a:cubicBezTo>
                <a:cubicBezTo>
                  <a:pt x="1301" y="818"/>
                  <a:pt x="1303" y="817"/>
                  <a:pt x="1306" y="816"/>
                </a:cubicBezTo>
                <a:cubicBezTo>
                  <a:pt x="1306" y="816"/>
                  <a:pt x="1306" y="816"/>
                  <a:pt x="1306" y="874"/>
                </a:cubicBezTo>
                <a:cubicBezTo>
                  <a:pt x="1306" y="874"/>
                  <a:pt x="1306" y="874"/>
                  <a:pt x="1317" y="874"/>
                </a:cubicBezTo>
                <a:cubicBezTo>
                  <a:pt x="1317" y="874"/>
                  <a:pt x="1317" y="874"/>
                  <a:pt x="1317" y="801"/>
                </a:cubicBezTo>
                <a:close/>
                <a:moveTo>
                  <a:pt x="1365" y="801"/>
                </a:moveTo>
                <a:cubicBezTo>
                  <a:pt x="1365" y="801"/>
                  <a:pt x="1365" y="801"/>
                  <a:pt x="1365" y="801"/>
                </a:cubicBezTo>
                <a:cubicBezTo>
                  <a:pt x="1360" y="801"/>
                  <a:pt x="1360" y="801"/>
                  <a:pt x="1360" y="801"/>
                </a:cubicBezTo>
                <a:cubicBezTo>
                  <a:pt x="1358" y="802"/>
                  <a:pt x="1356" y="804"/>
                  <a:pt x="1354" y="805"/>
                </a:cubicBezTo>
                <a:cubicBezTo>
                  <a:pt x="1353" y="806"/>
                  <a:pt x="1350" y="807"/>
                  <a:pt x="1349" y="808"/>
                </a:cubicBezTo>
                <a:cubicBezTo>
                  <a:pt x="1348" y="809"/>
                  <a:pt x="1345" y="810"/>
                  <a:pt x="1344" y="810"/>
                </a:cubicBezTo>
                <a:cubicBezTo>
                  <a:pt x="1342" y="811"/>
                  <a:pt x="1340" y="812"/>
                  <a:pt x="1338" y="812"/>
                </a:cubicBezTo>
                <a:cubicBezTo>
                  <a:pt x="1338" y="812"/>
                  <a:pt x="1338" y="812"/>
                  <a:pt x="1338" y="822"/>
                </a:cubicBezTo>
                <a:cubicBezTo>
                  <a:pt x="1341" y="821"/>
                  <a:pt x="1344" y="821"/>
                  <a:pt x="1346" y="819"/>
                </a:cubicBezTo>
                <a:cubicBezTo>
                  <a:pt x="1349" y="818"/>
                  <a:pt x="1351" y="817"/>
                  <a:pt x="1353" y="816"/>
                </a:cubicBezTo>
                <a:cubicBezTo>
                  <a:pt x="1353" y="816"/>
                  <a:pt x="1353" y="816"/>
                  <a:pt x="1353" y="874"/>
                </a:cubicBezTo>
                <a:cubicBezTo>
                  <a:pt x="1353" y="874"/>
                  <a:pt x="1353" y="874"/>
                  <a:pt x="1365" y="874"/>
                </a:cubicBezTo>
                <a:cubicBezTo>
                  <a:pt x="1365" y="874"/>
                  <a:pt x="1365" y="874"/>
                  <a:pt x="1365" y="801"/>
                </a:cubicBezTo>
                <a:close/>
                <a:moveTo>
                  <a:pt x="1412" y="801"/>
                </a:moveTo>
                <a:cubicBezTo>
                  <a:pt x="1412" y="801"/>
                  <a:pt x="1412" y="801"/>
                  <a:pt x="1412" y="801"/>
                </a:cubicBezTo>
                <a:cubicBezTo>
                  <a:pt x="1407" y="801"/>
                  <a:pt x="1407" y="801"/>
                  <a:pt x="1407" y="801"/>
                </a:cubicBezTo>
                <a:cubicBezTo>
                  <a:pt x="1406" y="802"/>
                  <a:pt x="1404" y="804"/>
                  <a:pt x="1402" y="805"/>
                </a:cubicBezTo>
                <a:cubicBezTo>
                  <a:pt x="1400" y="806"/>
                  <a:pt x="1399" y="807"/>
                  <a:pt x="1397" y="808"/>
                </a:cubicBezTo>
                <a:cubicBezTo>
                  <a:pt x="1395" y="809"/>
                  <a:pt x="1393" y="810"/>
                  <a:pt x="1391" y="810"/>
                </a:cubicBezTo>
                <a:cubicBezTo>
                  <a:pt x="1389" y="811"/>
                  <a:pt x="1388" y="812"/>
                  <a:pt x="1386" y="812"/>
                </a:cubicBezTo>
                <a:cubicBezTo>
                  <a:pt x="1386" y="812"/>
                  <a:pt x="1386" y="812"/>
                  <a:pt x="1386" y="822"/>
                </a:cubicBezTo>
                <a:cubicBezTo>
                  <a:pt x="1389" y="821"/>
                  <a:pt x="1391" y="821"/>
                  <a:pt x="1394" y="819"/>
                </a:cubicBezTo>
                <a:cubicBezTo>
                  <a:pt x="1397" y="818"/>
                  <a:pt x="1399" y="817"/>
                  <a:pt x="1401" y="816"/>
                </a:cubicBezTo>
                <a:cubicBezTo>
                  <a:pt x="1401" y="816"/>
                  <a:pt x="1401" y="816"/>
                  <a:pt x="1401" y="874"/>
                </a:cubicBezTo>
                <a:cubicBezTo>
                  <a:pt x="1401" y="874"/>
                  <a:pt x="1401" y="874"/>
                  <a:pt x="1412" y="874"/>
                </a:cubicBezTo>
                <a:cubicBezTo>
                  <a:pt x="1412" y="874"/>
                  <a:pt x="1412" y="874"/>
                  <a:pt x="1412" y="801"/>
                </a:cubicBezTo>
                <a:close/>
                <a:moveTo>
                  <a:pt x="1459" y="801"/>
                </a:moveTo>
                <a:cubicBezTo>
                  <a:pt x="1459" y="801"/>
                  <a:pt x="1459" y="801"/>
                  <a:pt x="1459" y="801"/>
                </a:cubicBezTo>
                <a:cubicBezTo>
                  <a:pt x="1455" y="801"/>
                  <a:pt x="1455" y="801"/>
                  <a:pt x="1455" y="801"/>
                </a:cubicBezTo>
                <a:cubicBezTo>
                  <a:pt x="1453" y="802"/>
                  <a:pt x="1451" y="804"/>
                  <a:pt x="1449" y="805"/>
                </a:cubicBezTo>
                <a:cubicBezTo>
                  <a:pt x="1448" y="806"/>
                  <a:pt x="1445" y="807"/>
                  <a:pt x="1444" y="808"/>
                </a:cubicBezTo>
                <a:cubicBezTo>
                  <a:pt x="1442" y="808"/>
                  <a:pt x="1440" y="809"/>
                  <a:pt x="1438" y="810"/>
                </a:cubicBezTo>
                <a:cubicBezTo>
                  <a:pt x="1437" y="810"/>
                  <a:pt x="1435" y="811"/>
                  <a:pt x="1433" y="812"/>
                </a:cubicBezTo>
                <a:cubicBezTo>
                  <a:pt x="1433" y="812"/>
                  <a:pt x="1433" y="812"/>
                  <a:pt x="1433" y="822"/>
                </a:cubicBezTo>
                <a:cubicBezTo>
                  <a:pt x="1436" y="821"/>
                  <a:pt x="1439" y="820"/>
                  <a:pt x="1441" y="819"/>
                </a:cubicBezTo>
                <a:cubicBezTo>
                  <a:pt x="1443" y="818"/>
                  <a:pt x="1446" y="817"/>
                  <a:pt x="1448" y="816"/>
                </a:cubicBezTo>
                <a:cubicBezTo>
                  <a:pt x="1448" y="816"/>
                  <a:pt x="1448" y="816"/>
                  <a:pt x="1448" y="874"/>
                </a:cubicBezTo>
                <a:cubicBezTo>
                  <a:pt x="1448" y="874"/>
                  <a:pt x="1448" y="874"/>
                  <a:pt x="1459" y="874"/>
                </a:cubicBezTo>
                <a:cubicBezTo>
                  <a:pt x="1459" y="874"/>
                  <a:pt x="1459" y="874"/>
                  <a:pt x="1459" y="801"/>
                </a:cubicBezTo>
                <a:close/>
                <a:moveTo>
                  <a:pt x="1215" y="833"/>
                </a:moveTo>
                <a:cubicBezTo>
                  <a:pt x="1215" y="833"/>
                  <a:pt x="1215" y="833"/>
                  <a:pt x="1215" y="833"/>
                </a:cubicBezTo>
                <a:cubicBezTo>
                  <a:pt x="1215" y="842"/>
                  <a:pt x="1215" y="842"/>
                  <a:pt x="1215" y="842"/>
                </a:cubicBezTo>
                <a:cubicBezTo>
                  <a:pt x="1221" y="842"/>
                  <a:pt x="1222" y="845"/>
                  <a:pt x="1222" y="848"/>
                </a:cubicBezTo>
                <a:cubicBezTo>
                  <a:pt x="1222" y="850"/>
                  <a:pt x="1221" y="852"/>
                  <a:pt x="1221" y="855"/>
                </a:cubicBezTo>
                <a:cubicBezTo>
                  <a:pt x="1221" y="857"/>
                  <a:pt x="1221" y="859"/>
                  <a:pt x="1221" y="862"/>
                </a:cubicBezTo>
                <a:cubicBezTo>
                  <a:pt x="1221" y="871"/>
                  <a:pt x="1227" y="874"/>
                  <a:pt x="1235" y="874"/>
                </a:cubicBezTo>
                <a:cubicBezTo>
                  <a:pt x="1235" y="874"/>
                  <a:pt x="1235" y="874"/>
                  <a:pt x="1239" y="874"/>
                </a:cubicBezTo>
                <a:cubicBezTo>
                  <a:pt x="1239" y="874"/>
                  <a:pt x="1239" y="874"/>
                  <a:pt x="1239" y="865"/>
                </a:cubicBezTo>
                <a:cubicBezTo>
                  <a:pt x="1239" y="865"/>
                  <a:pt x="1239" y="865"/>
                  <a:pt x="1237" y="865"/>
                </a:cubicBezTo>
                <a:cubicBezTo>
                  <a:pt x="1234" y="865"/>
                  <a:pt x="1232" y="863"/>
                  <a:pt x="1232" y="859"/>
                </a:cubicBezTo>
                <a:cubicBezTo>
                  <a:pt x="1232" y="858"/>
                  <a:pt x="1232" y="856"/>
                  <a:pt x="1233" y="855"/>
                </a:cubicBezTo>
                <a:cubicBezTo>
                  <a:pt x="1233" y="853"/>
                  <a:pt x="1233" y="851"/>
                  <a:pt x="1233" y="849"/>
                </a:cubicBezTo>
                <a:cubicBezTo>
                  <a:pt x="1233" y="841"/>
                  <a:pt x="1230" y="839"/>
                  <a:pt x="1225" y="837"/>
                </a:cubicBezTo>
                <a:cubicBezTo>
                  <a:pt x="1225" y="837"/>
                  <a:pt x="1225" y="837"/>
                  <a:pt x="1225" y="837"/>
                </a:cubicBezTo>
                <a:cubicBezTo>
                  <a:pt x="1230" y="836"/>
                  <a:pt x="1233" y="834"/>
                  <a:pt x="1233" y="826"/>
                </a:cubicBezTo>
                <a:cubicBezTo>
                  <a:pt x="1233" y="824"/>
                  <a:pt x="1233" y="822"/>
                  <a:pt x="1233" y="820"/>
                </a:cubicBezTo>
                <a:cubicBezTo>
                  <a:pt x="1232" y="818"/>
                  <a:pt x="1232" y="816"/>
                  <a:pt x="1232" y="815"/>
                </a:cubicBezTo>
                <a:cubicBezTo>
                  <a:pt x="1232" y="812"/>
                  <a:pt x="1234" y="809"/>
                  <a:pt x="1237" y="809"/>
                </a:cubicBezTo>
                <a:cubicBezTo>
                  <a:pt x="1237" y="809"/>
                  <a:pt x="1237" y="809"/>
                  <a:pt x="1239" y="809"/>
                </a:cubicBezTo>
                <a:cubicBezTo>
                  <a:pt x="1239" y="809"/>
                  <a:pt x="1239" y="809"/>
                  <a:pt x="1239" y="800"/>
                </a:cubicBezTo>
                <a:cubicBezTo>
                  <a:pt x="1239" y="800"/>
                  <a:pt x="1239" y="800"/>
                  <a:pt x="1235" y="800"/>
                </a:cubicBezTo>
                <a:cubicBezTo>
                  <a:pt x="1226" y="800"/>
                  <a:pt x="1221" y="804"/>
                  <a:pt x="1221" y="813"/>
                </a:cubicBezTo>
                <a:cubicBezTo>
                  <a:pt x="1221" y="815"/>
                  <a:pt x="1221" y="818"/>
                  <a:pt x="1221" y="820"/>
                </a:cubicBezTo>
                <a:cubicBezTo>
                  <a:pt x="1221" y="822"/>
                  <a:pt x="1222" y="825"/>
                  <a:pt x="1222" y="827"/>
                </a:cubicBezTo>
                <a:cubicBezTo>
                  <a:pt x="1222" y="830"/>
                  <a:pt x="1221" y="833"/>
                  <a:pt x="1215" y="833"/>
                </a:cubicBezTo>
                <a:close/>
                <a:moveTo>
                  <a:pt x="1270" y="842"/>
                </a:moveTo>
                <a:cubicBezTo>
                  <a:pt x="1270" y="842"/>
                  <a:pt x="1270" y="842"/>
                  <a:pt x="1270" y="842"/>
                </a:cubicBezTo>
                <a:cubicBezTo>
                  <a:pt x="1270" y="833"/>
                  <a:pt x="1270" y="833"/>
                  <a:pt x="1270" y="833"/>
                </a:cubicBezTo>
                <a:cubicBezTo>
                  <a:pt x="1264" y="833"/>
                  <a:pt x="1263" y="830"/>
                  <a:pt x="1263" y="827"/>
                </a:cubicBezTo>
                <a:cubicBezTo>
                  <a:pt x="1263" y="825"/>
                  <a:pt x="1263" y="822"/>
                  <a:pt x="1264" y="820"/>
                </a:cubicBezTo>
                <a:cubicBezTo>
                  <a:pt x="1264" y="818"/>
                  <a:pt x="1264" y="815"/>
                  <a:pt x="1264" y="813"/>
                </a:cubicBezTo>
                <a:cubicBezTo>
                  <a:pt x="1264" y="804"/>
                  <a:pt x="1259" y="800"/>
                  <a:pt x="1249" y="800"/>
                </a:cubicBezTo>
                <a:cubicBezTo>
                  <a:pt x="1249" y="800"/>
                  <a:pt x="1249" y="800"/>
                  <a:pt x="1245" y="800"/>
                </a:cubicBezTo>
                <a:cubicBezTo>
                  <a:pt x="1245" y="800"/>
                  <a:pt x="1245" y="800"/>
                  <a:pt x="1245" y="809"/>
                </a:cubicBezTo>
                <a:cubicBezTo>
                  <a:pt x="1245" y="809"/>
                  <a:pt x="1245" y="809"/>
                  <a:pt x="1247" y="809"/>
                </a:cubicBezTo>
                <a:cubicBezTo>
                  <a:pt x="1251" y="809"/>
                  <a:pt x="1252" y="812"/>
                  <a:pt x="1252" y="815"/>
                </a:cubicBezTo>
                <a:cubicBezTo>
                  <a:pt x="1252" y="816"/>
                  <a:pt x="1252" y="818"/>
                  <a:pt x="1252" y="820"/>
                </a:cubicBezTo>
                <a:cubicBezTo>
                  <a:pt x="1251" y="822"/>
                  <a:pt x="1251" y="824"/>
                  <a:pt x="1251" y="826"/>
                </a:cubicBezTo>
                <a:cubicBezTo>
                  <a:pt x="1251" y="834"/>
                  <a:pt x="1254" y="836"/>
                  <a:pt x="1260" y="837"/>
                </a:cubicBezTo>
                <a:cubicBezTo>
                  <a:pt x="1260" y="837"/>
                  <a:pt x="1260" y="837"/>
                  <a:pt x="1260" y="837"/>
                </a:cubicBezTo>
                <a:cubicBezTo>
                  <a:pt x="1254" y="839"/>
                  <a:pt x="1251" y="841"/>
                  <a:pt x="1251" y="849"/>
                </a:cubicBezTo>
                <a:cubicBezTo>
                  <a:pt x="1251" y="851"/>
                  <a:pt x="1251" y="853"/>
                  <a:pt x="1252" y="855"/>
                </a:cubicBezTo>
                <a:cubicBezTo>
                  <a:pt x="1252" y="856"/>
                  <a:pt x="1252" y="858"/>
                  <a:pt x="1252" y="859"/>
                </a:cubicBezTo>
                <a:cubicBezTo>
                  <a:pt x="1252" y="863"/>
                  <a:pt x="1251" y="865"/>
                  <a:pt x="1247" y="865"/>
                </a:cubicBezTo>
                <a:cubicBezTo>
                  <a:pt x="1247" y="865"/>
                  <a:pt x="1247" y="865"/>
                  <a:pt x="1245" y="865"/>
                </a:cubicBezTo>
                <a:cubicBezTo>
                  <a:pt x="1245" y="865"/>
                  <a:pt x="1245" y="865"/>
                  <a:pt x="1245" y="874"/>
                </a:cubicBezTo>
                <a:cubicBezTo>
                  <a:pt x="1245" y="874"/>
                  <a:pt x="1245" y="874"/>
                  <a:pt x="1249" y="874"/>
                </a:cubicBezTo>
                <a:cubicBezTo>
                  <a:pt x="1258" y="874"/>
                  <a:pt x="1264" y="871"/>
                  <a:pt x="1264" y="862"/>
                </a:cubicBezTo>
                <a:cubicBezTo>
                  <a:pt x="1264" y="859"/>
                  <a:pt x="1264" y="857"/>
                  <a:pt x="1264" y="855"/>
                </a:cubicBezTo>
                <a:cubicBezTo>
                  <a:pt x="1263" y="852"/>
                  <a:pt x="1263" y="850"/>
                  <a:pt x="1263" y="848"/>
                </a:cubicBezTo>
                <a:cubicBezTo>
                  <a:pt x="1263" y="845"/>
                  <a:pt x="1264" y="842"/>
                  <a:pt x="1270" y="842"/>
                </a:cubicBezTo>
                <a:close/>
                <a:moveTo>
                  <a:pt x="1597" y="833"/>
                </a:moveTo>
                <a:cubicBezTo>
                  <a:pt x="1597" y="833"/>
                  <a:pt x="1597" y="833"/>
                  <a:pt x="1597" y="833"/>
                </a:cubicBezTo>
                <a:cubicBezTo>
                  <a:pt x="1597" y="842"/>
                  <a:pt x="1597" y="842"/>
                  <a:pt x="1597" y="842"/>
                </a:cubicBezTo>
                <a:cubicBezTo>
                  <a:pt x="1603" y="842"/>
                  <a:pt x="1604" y="845"/>
                  <a:pt x="1604" y="848"/>
                </a:cubicBezTo>
                <a:cubicBezTo>
                  <a:pt x="1604" y="850"/>
                  <a:pt x="1603" y="852"/>
                  <a:pt x="1603" y="855"/>
                </a:cubicBezTo>
                <a:cubicBezTo>
                  <a:pt x="1603" y="857"/>
                  <a:pt x="1603" y="859"/>
                  <a:pt x="1603" y="862"/>
                </a:cubicBezTo>
                <a:cubicBezTo>
                  <a:pt x="1603" y="871"/>
                  <a:pt x="1609" y="874"/>
                  <a:pt x="1617" y="874"/>
                </a:cubicBezTo>
                <a:cubicBezTo>
                  <a:pt x="1617" y="874"/>
                  <a:pt x="1617" y="874"/>
                  <a:pt x="1621" y="874"/>
                </a:cubicBezTo>
                <a:cubicBezTo>
                  <a:pt x="1621" y="874"/>
                  <a:pt x="1621" y="874"/>
                  <a:pt x="1621" y="865"/>
                </a:cubicBezTo>
                <a:cubicBezTo>
                  <a:pt x="1621" y="865"/>
                  <a:pt x="1621" y="865"/>
                  <a:pt x="1619" y="865"/>
                </a:cubicBezTo>
                <a:cubicBezTo>
                  <a:pt x="1616" y="865"/>
                  <a:pt x="1615" y="863"/>
                  <a:pt x="1615" y="859"/>
                </a:cubicBezTo>
                <a:cubicBezTo>
                  <a:pt x="1615" y="858"/>
                  <a:pt x="1615" y="856"/>
                  <a:pt x="1615" y="855"/>
                </a:cubicBezTo>
                <a:cubicBezTo>
                  <a:pt x="1615" y="853"/>
                  <a:pt x="1615" y="851"/>
                  <a:pt x="1615" y="849"/>
                </a:cubicBezTo>
                <a:cubicBezTo>
                  <a:pt x="1615" y="841"/>
                  <a:pt x="1612" y="839"/>
                  <a:pt x="1607" y="837"/>
                </a:cubicBezTo>
                <a:cubicBezTo>
                  <a:pt x="1607" y="837"/>
                  <a:pt x="1607" y="837"/>
                  <a:pt x="1607" y="837"/>
                </a:cubicBezTo>
                <a:cubicBezTo>
                  <a:pt x="1612" y="836"/>
                  <a:pt x="1615" y="834"/>
                  <a:pt x="1615" y="826"/>
                </a:cubicBezTo>
                <a:cubicBezTo>
                  <a:pt x="1615" y="824"/>
                  <a:pt x="1615" y="822"/>
                  <a:pt x="1615" y="820"/>
                </a:cubicBezTo>
                <a:cubicBezTo>
                  <a:pt x="1615" y="818"/>
                  <a:pt x="1615" y="816"/>
                  <a:pt x="1615" y="815"/>
                </a:cubicBezTo>
                <a:cubicBezTo>
                  <a:pt x="1615" y="812"/>
                  <a:pt x="1616" y="809"/>
                  <a:pt x="1619" y="809"/>
                </a:cubicBezTo>
                <a:cubicBezTo>
                  <a:pt x="1619" y="809"/>
                  <a:pt x="1619" y="809"/>
                  <a:pt x="1621" y="809"/>
                </a:cubicBezTo>
                <a:cubicBezTo>
                  <a:pt x="1621" y="809"/>
                  <a:pt x="1621" y="809"/>
                  <a:pt x="1621" y="800"/>
                </a:cubicBezTo>
                <a:cubicBezTo>
                  <a:pt x="1621" y="800"/>
                  <a:pt x="1621" y="800"/>
                  <a:pt x="1617" y="800"/>
                </a:cubicBezTo>
                <a:cubicBezTo>
                  <a:pt x="1608" y="800"/>
                  <a:pt x="1603" y="804"/>
                  <a:pt x="1603" y="813"/>
                </a:cubicBezTo>
                <a:cubicBezTo>
                  <a:pt x="1603" y="815"/>
                  <a:pt x="1603" y="818"/>
                  <a:pt x="1603" y="820"/>
                </a:cubicBezTo>
                <a:cubicBezTo>
                  <a:pt x="1603" y="822"/>
                  <a:pt x="1604" y="825"/>
                  <a:pt x="1604" y="827"/>
                </a:cubicBezTo>
                <a:cubicBezTo>
                  <a:pt x="1604" y="830"/>
                  <a:pt x="1603" y="833"/>
                  <a:pt x="1597" y="833"/>
                </a:cubicBezTo>
                <a:close/>
                <a:moveTo>
                  <a:pt x="1652" y="842"/>
                </a:moveTo>
                <a:cubicBezTo>
                  <a:pt x="1652" y="842"/>
                  <a:pt x="1652" y="842"/>
                  <a:pt x="1652" y="842"/>
                </a:cubicBezTo>
                <a:cubicBezTo>
                  <a:pt x="1652" y="833"/>
                  <a:pt x="1652" y="833"/>
                  <a:pt x="1652" y="833"/>
                </a:cubicBezTo>
                <a:cubicBezTo>
                  <a:pt x="1646" y="833"/>
                  <a:pt x="1645" y="830"/>
                  <a:pt x="1645" y="827"/>
                </a:cubicBezTo>
                <a:cubicBezTo>
                  <a:pt x="1645" y="825"/>
                  <a:pt x="1645" y="822"/>
                  <a:pt x="1646" y="820"/>
                </a:cubicBezTo>
                <a:cubicBezTo>
                  <a:pt x="1646" y="818"/>
                  <a:pt x="1646" y="815"/>
                  <a:pt x="1646" y="813"/>
                </a:cubicBezTo>
                <a:cubicBezTo>
                  <a:pt x="1646" y="804"/>
                  <a:pt x="1641" y="800"/>
                  <a:pt x="1631" y="800"/>
                </a:cubicBezTo>
                <a:cubicBezTo>
                  <a:pt x="1631" y="800"/>
                  <a:pt x="1631" y="800"/>
                  <a:pt x="1628" y="800"/>
                </a:cubicBezTo>
                <a:cubicBezTo>
                  <a:pt x="1628" y="800"/>
                  <a:pt x="1628" y="800"/>
                  <a:pt x="1628" y="809"/>
                </a:cubicBezTo>
                <a:cubicBezTo>
                  <a:pt x="1628" y="809"/>
                  <a:pt x="1628" y="809"/>
                  <a:pt x="1629" y="809"/>
                </a:cubicBezTo>
                <a:cubicBezTo>
                  <a:pt x="1633" y="809"/>
                  <a:pt x="1634" y="812"/>
                  <a:pt x="1634" y="815"/>
                </a:cubicBezTo>
                <a:cubicBezTo>
                  <a:pt x="1634" y="816"/>
                  <a:pt x="1634" y="818"/>
                  <a:pt x="1634" y="820"/>
                </a:cubicBezTo>
                <a:cubicBezTo>
                  <a:pt x="1634" y="822"/>
                  <a:pt x="1634" y="824"/>
                  <a:pt x="1634" y="826"/>
                </a:cubicBezTo>
                <a:cubicBezTo>
                  <a:pt x="1634" y="834"/>
                  <a:pt x="1636" y="836"/>
                  <a:pt x="1642" y="837"/>
                </a:cubicBezTo>
                <a:cubicBezTo>
                  <a:pt x="1642" y="837"/>
                  <a:pt x="1642" y="837"/>
                  <a:pt x="1642" y="837"/>
                </a:cubicBezTo>
                <a:cubicBezTo>
                  <a:pt x="1636" y="839"/>
                  <a:pt x="1634" y="841"/>
                  <a:pt x="1634" y="849"/>
                </a:cubicBezTo>
                <a:cubicBezTo>
                  <a:pt x="1634" y="851"/>
                  <a:pt x="1634" y="853"/>
                  <a:pt x="1634" y="855"/>
                </a:cubicBezTo>
                <a:cubicBezTo>
                  <a:pt x="1634" y="856"/>
                  <a:pt x="1634" y="858"/>
                  <a:pt x="1634" y="859"/>
                </a:cubicBezTo>
                <a:cubicBezTo>
                  <a:pt x="1634" y="863"/>
                  <a:pt x="1633" y="865"/>
                  <a:pt x="1629" y="865"/>
                </a:cubicBezTo>
                <a:cubicBezTo>
                  <a:pt x="1629" y="865"/>
                  <a:pt x="1629" y="865"/>
                  <a:pt x="1628" y="865"/>
                </a:cubicBezTo>
                <a:cubicBezTo>
                  <a:pt x="1628" y="865"/>
                  <a:pt x="1628" y="865"/>
                  <a:pt x="1628" y="874"/>
                </a:cubicBezTo>
                <a:cubicBezTo>
                  <a:pt x="1628" y="874"/>
                  <a:pt x="1628" y="874"/>
                  <a:pt x="1631" y="874"/>
                </a:cubicBezTo>
                <a:cubicBezTo>
                  <a:pt x="1640" y="874"/>
                  <a:pt x="1646" y="871"/>
                  <a:pt x="1646" y="862"/>
                </a:cubicBezTo>
                <a:cubicBezTo>
                  <a:pt x="1646" y="859"/>
                  <a:pt x="1646" y="857"/>
                  <a:pt x="1646" y="855"/>
                </a:cubicBezTo>
                <a:cubicBezTo>
                  <a:pt x="1645" y="852"/>
                  <a:pt x="1645" y="850"/>
                  <a:pt x="1645" y="848"/>
                </a:cubicBezTo>
                <a:cubicBezTo>
                  <a:pt x="1645" y="845"/>
                  <a:pt x="1646" y="842"/>
                  <a:pt x="1652" y="842"/>
                </a:cubicBezTo>
                <a:close/>
                <a:moveTo>
                  <a:pt x="1700" y="801"/>
                </a:moveTo>
                <a:cubicBezTo>
                  <a:pt x="1700" y="801"/>
                  <a:pt x="1700" y="801"/>
                  <a:pt x="1700" y="801"/>
                </a:cubicBezTo>
                <a:cubicBezTo>
                  <a:pt x="1694" y="801"/>
                  <a:pt x="1694" y="801"/>
                  <a:pt x="1694" y="801"/>
                </a:cubicBezTo>
                <a:cubicBezTo>
                  <a:pt x="1692" y="802"/>
                  <a:pt x="1691" y="804"/>
                  <a:pt x="1688" y="805"/>
                </a:cubicBezTo>
                <a:cubicBezTo>
                  <a:pt x="1687" y="806"/>
                  <a:pt x="1685" y="807"/>
                  <a:pt x="1683" y="808"/>
                </a:cubicBezTo>
                <a:cubicBezTo>
                  <a:pt x="1681" y="808"/>
                  <a:pt x="1680" y="809"/>
                  <a:pt x="1678" y="810"/>
                </a:cubicBezTo>
                <a:cubicBezTo>
                  <a:pt x="1676" y="810"/>
                  <a:pt x="1674" y="811"/>
                  <a:pt x="1672" y="812"/>
                </a:cubicBezTo>
                <a:cubicBezTo>
                  <a:pt x="1672" y="812"/>
                  <a:pt x="1672" y="812"/>
                  <a:pt x="1672" y="822"/>
                </a:cubicBezTo>
                <a:cubicBezTo>
                  <a:pt x="1675" y="821"/>
                  <a:pt x="1678" y="820"/>
                  <a:pt x="1680" y="819"/>
                </a:cubicBezTo>
                <a:cubicBezTo>
                  <a:pt x="1683" y="818"/>
                  <a:pt x="1685" y="817"/>
                  <a:pt x="1688" y="816"/>
                </a:cubicBezTo>
                <a:cubicBezTo>
                  <a:pt x="1688" y="816"/>
                  <a:pt x="1688" y="816"/>
                  <a:pt x="1688" y="874"/>
                </a:cubicBezTo>
                <a:cubicBezTo>
                  <a:pt x="1688" y="874"/>
                  <a:pt x="1688" y="874"/>
                  <a:pt x="1700" y="874"/>
                </a:cubicBezTo>
                <a:cubicBezTo>
                  <a:pt x="1700" y="874"/>
                  <a:pt x="1700" y="874"/>
                  <a:pt x="1700" y="801"/>
                </a:cubicBezTo>
                <a:close/>
                <a:moveTo>
                  <a:pt x="1747" y="801"/>
                </a:moveTo>
                <a:cubicBezTo>
                  <a:pt x="1747" y="801"/>
                  <a:pt x="1747" y="801"/>
                  <a:pt x="1747" y="801"/>
                </a:cubicBezTo>
                <a:cubicBezTo>
                  <a:pt x="1742" y="801"/>
                  <a:pt x="1742" y="801"/>
                  <a:pt x="1742" y="801"/>
                </a:cubicBezTo>
                <a:cubicBezTo>
                  <a:pt x="1739" y="802"/>
                  <a:pt x="1738" y="804"/>
                  <a:pt x="1736" y="805"/>
                </a:cubicBezTo>
                <a:cubicBezTo>
                  <a:pt x="1734" y="806"/>
                  <a:pt x="1732" y="807"/>
                  <a:pt x="1731" y="808"/>
                </a:cubicBezTo>
                <a:cubicBezTo>
                  <a:pt x="1729" y="809"/>
                  <a:pt x="1727" y="810"/>
                  <a:pt x="1726" y="810"/>
                </a:cubicBezTo>
                <a:cubicBezTo>
                  <a:pt x="1724" y="811"/>
                  <a:pt x="1722" y="812"/>
                  <a:pt x="1720" y="812"/>
                </a:cubicBezTo>
                <a:cubicBezTo>
                  <a:pt x="1720" y="812"/>
                  <a:pt x="1720" y="812"/>
                  <a:pt x="1720" y="822"/>
                </a:cubicBezTo>
                <a:cubicBezTo>
                  <a:pt x="1723" y="821"/>
                  <a:pt x="1726" y="821"/>
                  <a:pt x="1728" y="819"/>
                </a:cubicBezTo>
                <a:cubicBezTo>
                  <a:pt x="1731" y="818"/>
                  <a:pt x="1733" y="817"/>
                  <a:pt x="1735" y="816"/>
                </a:cubicBezTo>
                <a:cubicBezTo>
                  <a:pt x="1735" y="816"/>
                  <a:pt x="1735" y="816"/>
                  <a:pt x="1735" y="874"/>
                </a:cubicBezTo>
                <a:cubicBezTo>
                  <a:pt x="1735" y="874"/>
                  <a:pt x="1735" y="874"/>
                  <a:pt x="1747" y="874"/>
                </a:cubicBezTo>
                <a:cubicBezTo>
                  <a:pt x="1747" y="874"/>
                  <a:pt x="1747" y="874"/>
                  <a:pt x="1747" y="801"/>
                </a:cubicBezTo>
                <a:close/>
                <a:moveTo>
                  <a:pt x="1793" y="801"/>
                </a:moveTo>
                <a:cubicBezTo>
                  <a:pt x="1793" y="801"/>
                  <a:pt x="1793" y="801"/>
                  <a:pt x="1793" y="801"/>
                </a:cubicBezTo>
                <a:cubicBezTo>
                  <a:pt x="1789" y="801"/>
                  <a:pt x="1789" y="801"/>
                  <a:pt x="1789" y="801"/>
                </a:cubicBezTo>
                <a:cubicBezTo>
                  <a:pt x="1787" y="802"/>
                  <a:pt x="1785" y="804"/>
                  <a:pt x="1783" y="805"/>
                </a:cubicBezTo>
                <a:cubicBezTo>
                  <a:pt x="1782" y="806"/>
                  <a:pt x="1779" y="807"/>
                  <a:pt x="1778" y="808"/>
                </a:cubicBezTo>
                <a:cubicBezTo>
                  <a:pt x="1776" y="809"/>
                  <a:pt x="1774" y="810"/>
                  <a:pt x="1772" y="810"/>
                </a:cubicBezTo>
                <a:cubicBezTo>
                  <a:pt x="1771" y="811"/>
                  <a:pt x="1769" y="812"/>
                  <a:pt x="1767" y="812"/>
                </a:cubicBezTo>
                <a:cubicBezTo>
                  <a:pt x="1767" y="812"/>
                  <a:pt x="1767" y="812"/>
                  <a:pt x="1767" y="822"/>
                </a:cubicBezTo>
                <a:cubicBezTo>
                  <a:pt x="1770" y="821"/>
                  <a:pt x="1773" y="821"/>
                  <a:pt x="1775" y="819"/>
                </a:cubicBezTo>
                <a:cubicBezTo>
                  <a:pt x="1777" y="818"/>
                  <a:pt x="1780" y="817"/>
                  <a:pt x="1782" y="816"/>
                </a:cubicBezTo>
                <a:cubicBezTo>
                  <a:pt x="1782" y="816"/>
                  <a:pt x="1782" y="816"/>
                  <a:pt x="1782" y="874"/>
                </a:cubicBezTo>
                <a:cubicBezTo>
                  <a:pt x="1782" y="874"/>
                  <a:pt x="1782" y="874"/>
                  <a:pt x="1793" y="874"/>
                </a:cubicBezTo>
                <a:cubicBezTo>
                  <a:pt x="1793" y="874"/>
                  <a:pt x="1793" y="874"/>
                  <a:pt x="1793" y="801"/>
                </a:cubicBezTo>
                <a:close/>
                <a:moveTo>
                  <a:pt x="1916" y="801"/>
                </a:moveTo>
                <a:cubicBezTo>
                  <a:pt x="1916" y="801"/>
                  <a:pt x="1916" y="801"/>
                  <a:pt x="1916" y="801"/>
                </a:cubicBezTo>
                <a:cubicBezTo>
                  <a:pt x="1911" y="801"/>
                  <a:pt x="1911" y="801"/>
                  <a:pt x="1911" y="801"/>
                </a:cubicBezTo>
                <a:cubicBezTo>
                  <a:pt x="1909" y="802"/>
                  <a:pt x="1908" y="804"/>
                  <a:pt x="1905" y="805"/>
                </a:cubicBezTo>
                <a:cubicBezTo>
                  <a:pt x="1904" y="806"/>
                  <a:pt x="1902" y="807"/>
                  <a:pt x="1900" y="808"/>
                </a:cubicBezTo>
                <a:cubicBezTo>
                  <a:pt x="1899" y="809"/>
                  <a:pt x="1897" y="810"/>
                  <a:pt x="1895" y="810"/>
                </a:cubicBezTo>
                <a:cubicBezTo>
                  <a:pt x="1893" y="811"/>
                  <a:pt x="1891" y="812"/>
                  <a:pt x="1889" y="812"/>
                </a:cubicBezTo>
                <a:cubicBezTo>
                  <a:pt x="1889" y="812"/>
                  <a:pt x="1889" y="812"/>
                  <a:pt x="1889" y="822"/>
                </a:cubicBezTo>
                <a:cubicBezTo>
                  <a:pt x="1892" y="821"/>
                  <a:pt x="1895" y="821"/>
                  <a:pt x="1898" y="819"/>
                </a:cubicBezTo>
                <a:cubicBezTo>
                  <a:pt x="1900" y="818"/>
                  <a:pt x="1902" y="817"/>
                  <a:pt x="1905" y="816"/>
                </a:cubicBezTo>
                <a:cubicBezTo>
                  <a:pt x="1905" y="816"/>
                  <a:pt x="1905" y="816"/>
                  <a:pt x="1905" y="874"/>
                </a:cubicBezTo>
                <a:cubicBezTo>
                  <a:pt x="1905" y="874"/>
                  <a:pt x="1905" y="874"/>
                  <a:pt x="1916" y="874"/>
                </a:cubicBezTo>
                <a:cubicBezTo>
                  <a:pt x="1916" y="874"/>
                  <a:pt x="1916" y="874"/>
                  <a:pt x="1916" y="801"/>
                </a:cubicBezTo>
                <a:close/>
                <a:moveTo>
                  <a:pt x="1814" y="833"/>
                </a:moveTo>
                <a:cubicBezTo>
                  <a:pt x="1814" y="833"/>
                  <a:pt x="1814" y="833"/>
                  <a:pt x="1814" y="833"/>
                </a:cubicBezTo>
                <a:cubicBezTo>
                  <a:pt x="1814" y="842"/>
                  <a:pt x="1814" y="842"/>
                  <a:pt x="1814" y="842"/>
                </a:cubicBezTo>
                <a:cubicBezTo>
                  <a:pt x="1820" y="842"/>
                  <a:pt x="1821" y="845"/>
                  <a:pt x="1821" y="848"/>
                </a:cubicBezTo>
                <a:cubicBezTo>
                  <a:pt x="1821" y="850"/>
                  <a:pt x="1820" y="852"/>
                  <a:pt x="1820" y="855"/>
                </a:cubicBezTo>
                <a:cubicBezTo>
                  <a:pt x="1820" y="857"/>
                  <a:pt x="1820" y="859"/>
                  <a:pt x="1820" y="862"/>
                </a:cubicBezTo>
                <a:cubicBezTo>
                  <a:pt x="1820" y="871"/>
                  <a:pt x="1826" y="874"/>
                  <a:pt x="1834" y="874"/>
                </a:cubicBezTo>
                <a:cubicBezTo>
                  <a:pt x="1834" y="874"/>
                  <a:pt x="1834" y="874"/>
                  <a:pt x="1838" y="874"/>
                </a:cubicBezTo>
                <a:cubicBezTo>
                  <a:pt x="1838" y="874"/>
                  <a:pt x="1838" y="874"/>
                  <a:pt x="1838" y="865"/>
                </a:cubicBezTo>
                <a:cubicBezTo>
                  <a:pt x="1838" y="865"/>
                  <a:pt x="1838" y="865"/>
                  <a:pt x="1836" y="865"/>
                </a:cubicBezTo>
                <a:cubicBezTo>
                  <a:pt x="1833" y="865"/>
                  <a:pt x="1831" y="863"/>
                  <a:pt x="1831" y="859"/>
                </a:cubicBezTo>
                <a:cubicBezTo>
                  <a:pt x="1831" y="858"/>
                  <a:pt x="1831" y="856"/>
                  <a:pt x="1832" y="855"/>
                </a:cubicBezTo>
                <a:cubicBezTo>
                  <a:pt x="1832" y="853"/>
                  <a:pt x="1832" y="851"/>
                  <a:pt x="1832" y="849"/>
                </a:cubicBezTo>
                <a:cubicBezTo>
                  <a:pt x="1832" y="841"/>
                  <a:pt x="1829" y="839"/>
                  <a:pt x="1824" y="837"/>
                </a:cubicBezTo>
                <a:cubicBezTo>
                  <a:pt x="1824" y="837"/>
                  <a:pt x="1824" y="837"/>
                  <a:pt x="1824" y="837"/>
                </a:cubicBezTo>
                <a:cubicBezTo>
                  <a:pt x="1829" y="836"/>
                  <a:pt x="1832" y="834"/>
                  <a:pt x="1832" y="826"/>
                </a:cubicBezTo>
                <a:cubicBezTo>
                  <a:pt x="1832" y="824"/>
                  <a:pt x="1832" y="822"/>
                  <a:pt x="1832" y="820"/>
                </a:cubicBezTo>
                <a:cubicBezTo>
                  <a:pt x="1831" y="818"/>
                  <a:pt x="1831" y="816"/>
                  <a:pt x="1831" y="815"/>
                </a:cubicBezTo>
                <a:cubicBezTo>
                  <a:pt x="1831" y="812"/>
                  <a:pt x="1833" y="809"/>
                  <a:pt x="1836" y="809"/>
                </a:cubicBezTo>
                <a:cubicBezTo>
                  <a:pt x="1836" y="809"/>
                  <a:pt x="1836" y="809"/>
                  <a:pt x="1838" y="809"/>
                </a:cubicBezTo>
                <a:cubicBezTo>
                  <a:pt x="1838" y="809"/>
                  <a:pt x="1838" y="809"/>
                  <a:pt x="1838" y="800"/>
                </a:cubicBezTo>
                <a:cubicBezTo>
                  <a:pt x="1838" y="800"/>
                  <a:pt x="1838" y="800"/>
                  <a:pt x="1834" y="800"/>
                </a:cubicBezTo>
                <a:cubicBezTo>
                  <a:pt x="1825" y="800"/>
                  <a:pt x="1820" y="804"/>
                  <a:pt x="1820" y="813"/>
                </a:cubicBezTo>
                <a:cubicBezTo>
                  <a:pt x="1820" y="815"/>
                  <a:pt x="1820" y="818"/>
                  <a:pt x="1820" y="820"/>
                </a:cubicBezTo>
                <a:cubicBezTo>
                  <a:pt x="1820" y="822"/>
                  <a:pt x="1821" y="825"/>
                  <a:pt x="1821" y="827"/>
                </a:cubicBezTo>
                <a:cubicBezTo>
                  <a:pt x="1821" y="830"/>
                  <a:pt x="1820" y="833"/>
                  <a:pt x="1814" y="833"/>
                </a:cubicBezTo>
                <a:close/>
                <a:moveTo>
                  <a:pt x="1868" y="842"/>
                </a:moveTo>
                <a:cubicBezTo>
                  <a:pt x="1868" y="842"/>
                  <a:pt x="1868" y="842"/>
                  <a:pt x="1868" y="842"/>
                </a:cubicBezTo>
                <a:cubicBezTo>
                  <a:pt x="1868" y="833"/>
                  <a:pt x="1868" y="833"/>
                  <a:pt x="1868" y="833"/>
                </a:cubicBezTo>
                <a:cubicBezTo>
                  <a:pt x="1862" y="833"/>
                  <a:pt x="1862" y="830"/>
                  <a:pt x="1862" y="827"/>
                </a:cubicBezTo>
                <a:cubicBezTo>
                  <a:pt x="1862" y="825"/>
                  <a:pt x="1862" y="822"/>
                  <a:pt x="1862" y="820"/>
                </a:cubicBezTo>
                <a:cubicBezTo>
                  <a:pt x="1863" y="818"/>
                  <a:pt x="1863" y="815"/>
                  <a:pt x="1863" y="813"/>
                </a:cubicBezTo>
                <a:cubicBezTo>
                  <a:pt x="1863" y="804"/>
                  <a:pt x="1857" y="800"/>
                  <a:pt x="1848" y="800"/>
                </a:cubicBezTo>
                <a:cubicBezTo>
                  <a:pt x="1848" y="800"/>
                  <a:pt x="1848" y="800"/>
                  <a:pt x="1844" y="800"/>
                </a:cubicBezTo>
                <a:cubicBezTo>
                  <a:pt x="1844" y="800"/>
                  <a:pt x="1844" y="800"/>
                  <a:pt x="1844" y="809"/>
                </a:cubicBezTo>
                <a:cubicBezTo>
                  <a:pt x="1844" y="809"/>
                  <a:pt x="1844" y="809"/>
                  <a:pt x="1846" y="809"/>
                </a:cubicBezTo>
                <a:cubicBezTo>
                  <a:pt x="1850" y="809"/>
                  <a:pt x="1851" y="812"/>
                  <a:pt x="1851" y="815"/>
                </a:cubicBezTo>
                <a:cubicBezTo>
                  <a:pt x="1851" y="816"/>
                  <a:pt x="1851" y="818"/>
                  <a:pt x="1851" y="820"/>
                </a:cubicBezTo>
                <a:cubicBezTo>
                  <a:pt x="1850" y="822"/>
                  <a:pt x="1850" y="824"/>
                  <a:pt x="1850" y="826"/>
                </a:cubicBezTo>
                <a:cubicBezTo>
                  <a:pt x="1850" y="834"/>
                  <a:pt x="1853" y="836"/>
                  <a:pt x="1859" y="837"/>
                </a:cubicBezTo>
                <a:cubicBezTo>
                  <a:pt x="1859" y="837"/>
                  <a:pt x="1859" y="837"/>
                  <a:pt x="1859" y="837"/>
                </a:cubicBezTo>
                <a:cubicBezTo>
                  <a:pt x="1853" y="839"/>
                  <a:pt x="1850" y="841"/>
                  <a:pt x="1850" y="849"/>
                </a:cubicBezTo>
                <a:cubicBezTo>
                  <a:pt x="1850" y="851"/>
                  <a:pt x="1850" y="853"/>
                  <a:pt x="1851" y="855"/>
                </a:cubicBezTo>
                <a:cubicBezTo>
                  <a:pt x="1851" y="856"/>
                  <a:pt x="1851" y="858"/>
                  <a:pt x="1851" y="859"/>
                </a:cubicBezTo>
                <a:cubicBezTo>
                  <a:pt x="1851" y="863"/>
                  <a:pt x="1850" y="865"/>
                  <a:pt x="1846" y="865"/>
                </a:cubicBezTo>
                <a:cubicBezTo>
                  <a:pt x="1846" y="865"/>
                  <a:pt x="1846" y="865"/>
                  <a:pt x="1844" y="865"/>
                </a:cubicBezTo>
                <a:cubicBezTo>
                  <a:pt x="1844" y="865"/>
                  <a:pt x="1844" y="865"/>
                  <a:pt x="1844" y="874"/>
                </a:cubicBezTo>
                <a:cubicBezTo>
                  <a:pt x="1844" y="874"/>
                  <a:pt x="1844" y="874"/>
                  <a:pt x="1848" y="874"/>
                </a:cubicBezTo>
                <a:cubicBezTo>
                  <a:pt x="1857" y="874"/>
                  <a:pt x="1863" y="871"/>
                  <a:pt x="1863" y="862"/>
                </a:cubicBezTo>
                <a:cubicBezTo>
                  <a:pt x="1863" y="859"/>
                  <a:pt x="1863" y="857"/>
                  <a:pt x="1862" y="855"/>
                </a:cubicBezTo>
                <a:cubicBezTo>
                  <a:pt x="1862" y="852"/>
                  <a:pt x="1862" y="850"/>
                  <a:pt x="1862" y="848"/>
                </a:cubicBezTo>
                <a:cubicBezTo>
                  <a:pt x="1862" y="845"/>
                  <a:pt x="1862" y="842"/>
                  <a:pt x="1868" y="842"/>
                </a:cubicBezTo>
                <a:close/>
                <a:moveTo>
                  <a:pt x="1010" y="752"/>
                </a:moveTo>
                <a:cubicBezTo>
                  <a:pt x="1010" y="754"/>
                  <a:pt x="1011" y="755"/>
                  <a:pt x="1011" y="757"/>
                </a:cubicBezTo>
                <a:cubicBezTo>
                  <a:pt x="1012" y="758"/>
                  <a:pt x="1012" y="760"/>
                  <a:pt x="1013" y="762"/>
                </a:cubicBezTo>
                <a:cubicBezTo>
                  <a:pt x="1013" y="763"/>
                  <a:pt x="1013" y="765"/>
                  <a:pt x="1013" y="767"/>
                </a:cubicBezTo>
                <a:cubicBezTo>
                  <a:pt x="1014" y="770"/>
                  <a:pt x="1013" y="771"/>
                  <a:pt x="1009" y="771"/>
                </a:cubicBezTo>
                <a:cubicBezTo>
                  <a:pt x="1007" y="771"/>
                  <a:pt x="1004" y="771"/>
                  <a:pt x="1001" y="771"/>
                </a:cubicBezTo>
                <a:cubicBezTo>
                  <a:pt x="1001" y="771"/>
                  <a:pt x="1000" y="771"/>
                  <a:pt x="1000" y="771"/>
                </a:cubicBezTo>
                <a:cubicBezTo>
                  <a:pt x="998" y="773"/>
                  <a:pt x="996" y="774"/>
                  <a:pt x="995" y="776"/>
                </a:cubicBezTo>
                <a:cubicBezTo>
                  <a:pt x="993" y="778"/>
                  <a:pt x="990" y="778"/>
                  <a:pt x="988" y="776"/>
                </a:cubicBezTo>
                <a:cubicBezTo>
                  <a:pt x="986" y="774"/>
                  <a:pt x="985" y="772"/>
                  <a:pt x="983" y="769"/>
                </a:cubicBezTo>
                <a:cubicBezTo>
                  <a:pt x="982" y="767"/>
                  <a:pt x="983" y="766"/>
                  <a:pt x="985" y="764"/>
                </a:cubicBezTo>
                <a:cubicBezTo>
                  <a:pt x="982" y="764"/>
                  <a:pt x="981" y="764"/>
                  <a:pt x="979" y="764"/>
                </a:cubicBezTo>
                <a:cubicBezTo>
                  <a:pt x="978" y="766"/>
                  <a:pt x="977" y="768"/>
                  <a:pt x="976" y="770"/>
                </a:cubicBezTo>
                <a:cubicBezTo>
                  <a:pt x="976" y="771"/>
                  <a:pt x="976" y="772"/>
                  <a:pt x="976" y="773"/>
                </a:cubicBezTo>
                <a:cubicBezTo>
                  <a:pt x="976" y="776"/>
                  <a:pt x="975" y="777"/>
                  <a:pt x="972" y="776"/>
                </a:cubicBezTo>
                <a:cubicBezTo>
                  <a:pt x="969" y="776"/>
                  <a:pt x="966" y="775"/>
                  <a:pt x="963" y="774"/>
                </a:cubicBezTo>
                <a:cubicBezTo>
                  <a:pt x="961" y="774"/>
                  <a:pt x="960" y="772"/>
                  <a:pt x="961" y="770"/>
                </a:cubicBezTo>
                <a:cubicBezTo>
                  <a:pt x="961" y="769"/>
                  <a:pt x="961" y="769"/>
                  <a:pt x="962" y="769"/>
                </a:cubicBezTo>
                <a:cubicBezTo>
                  <a:pt x="959" y="767"/>
                  <a:pt x="957" y="767"/>
                  <a:pt x="955" y="765"/>
                </a:cubicBezTo>
                <a:cubicBezTo>
                  <a:pt x="954" y="764"/>
                  <a:pt x="953" y="762"/>
                  <a:pt x="952" y="761"/>
                </a:cubicBezTo>
                <a:cubicBezTo>
                  <a:pt x="951" y="759"/>
                  <a:pt x="951" y="757"/>
                  <a:pt x="953" y="755"/>
                </a:cubicBezTo>
                <a:cubicBezTo>
                  <a:pt x="956" y="753"/>
                  <a:pt x="957" y="750"/>
                  <a:pt x="956" y="746"/>
                </a:cubicBezTo>
                <a:cubicBezTo>
                  <a:pt x="956" y="744"/>
                  <a:pt x="956" y="742"/>
                  <a:pt x="956" y="740"/>
                </a:cubicBezTo>
                <a:cubicBezTo>
                  <a:pt x="955" y="740"/>
                  <a:pt x="953" y="739"/>
                  <a:pt x="952" y="738"/>
                </a:cubicBezTo>
                <a:cubicBezTo>
                  <a:pt x="951" y="736"/>
                  <a:pt x="950" y="734"/>
                  <a:pt x="950" y="733"/>
                </a:cubicBezTo>
                <a:cubicBezTo>
                  <a:pt x="950" y="730"/>
                  <a:pt x="953" y="727"/>
                  <a:pt x="956" y="726"/>
                </a:cubicBezTo>
                <a:cubicBezTo>
                  <a:pt x="956" y="727"/>
                  <a:pt x="956" y="728"/>
                  <a:pt x="957" y="729"/>
                </a:cubicBezTo>
                <a:cubicBezTo>
                  <a:pt x="957" y="730"/>
                  <a:pt x="957" y="731"/>
                  <a:pt x="957" y="732"/>
                </a:cubicBezTo>
                <a:cubicBezTo>
                  <a:pt x="956" y="731"/>
                  <a:pt x="956" y="731"/>
                  <a:pt x="956" y="731"/>
                </a:cubicBezTo>
                <a:cubicBezTo>
                  <a:pt x="955" y="733"/>
                  <a:pt x="955" y="734"/>
                  <a:pt x="954" y="736"/>
                </a:cubicBezTo>
                <a:cubicBezTo>
                  <a:pt x="955" y="735"/>
                  <a:pt x="956" y="735"/>
                  <a:pt x="956" y="735"/>
                </a:cubicBezTo>
                <a:cubicBezTo>
                  <a:pt x="958" y="734"/>
                  <a:pt x="958" y="733"/>
                  <a:pt x="959" y="732"/>
                </a:cubicBezTo>
                <a:cubicBezTo>
                  <a:pt x="964" y="725"/>
                  <a:pt x="969" y="721"/>
                  <a:pt x="977" y="719"/>
                </a:cubicBezTo>
                <a:cubicBezTo>
                  <a:pt x="980" y="719"/>
                  <a:pt x="984" y="718"/>
                  <a:pt x="986" y="715"/>
                </a:cubicBezTo>
                <a:cubicBezTo>
                  <a:pt x="986" y="715"/>
                  <a:pt x="987" y="714"/>
                  <a:pt x="987" y="714"/>
                </a:cubicBezTo>
                <a:cubicBezTo>
                  <a:pt x="990" y="714"/>
                  <a:pt x="991" y="712"/>
                  <a:pt x="993" y="710"/>
                </a:cubicBezTo>
                <a:cubicBezTo>
                  <a:pt x="1001" y="702"/>
                  <a:pt x="1013" y="702"/>
                  <a:pt x="1020" y="708"/>
                </a:cubicBezTo>
                <a:cubicBezTo>
                  <a:pt x="1023" y="710"/>
                  <a:pt x="1025" y="712"/>
                  <a:pt x="1028" y="714"/>
                </a:cubicBezTo>
                <a:cubicBezTo>
                  <a:pt x="1029" y="715"/>
                  <a:pt x="1031" y="717"/>
                  <a:pt x="1032" y="719"/>
                </a:cubicBezTo>
                <a:cubicBezTo>
                  <a:pt x="1033" y="721"/>
                  <a:pt x="1033" y="721"/>
                  <a:pt x="1034" y="719"/>
                </a:cubicBezTo>
                <a:cubicBezTo>
                  <a:pt x="1035" y="719"/>
                  <a:pt x="1036" y="718"/>
                  <a:pt x="1037" y="717"/>
                </a:cubicBezTo>
                <a:cubicBezTo>
                  <a:pt x="1039" y="715"/>
                  <a:pt x="1042" y="715"/>
                  <a:pt x="1043" y="718"/>
                </a:cubicBezTo>
                <a:cubicBezTo>
                  <a:pt x="1044" y="721"/>
                  <a:pt x="1045" y="724"/>
                  <a:pt x="1045" y="727"/>
                </a:cubicBezTo>
                <a:cubicBezTo>
                  <a:pt x="1046" y="731"/>
                  <a:pt x="1046" y="736"/>
                  <a:pt x="1044" y="740"/>
                </a:cubicBezTo>
                <a:cubicBezTo>
                  <a:pt x="1042" y="746"/>
                  <a:pt x="1037" y="750"/>
                  <a:pt x="1031" y="750"/>
                </a:cubicBezTo>
                <a:cubicBezTo>
                  <a:pt x="1030" y="750"/>
                  <a:pt x="1029" y="750"/>
                  <a:pt x="1029" y="750"/>
                </a:cubicBezTo>
                <a:cubicBezTo>
                  <a:pt x="1026" y="750"/>
                  <a:pt x="1025" y="750"/>
                  <a:pt x="1024" y="752"/>
                </a:cubicBezTo>
                <a:cubicBezTo>
                  <a:pt x="1023" y="757"/>
                  <a:pt x="1017" y="758"/>
                  <a:pt x="1014" y="755"/>
                </a:cubicBezTo>
                <a:cubicBezTo>
                  <a:pt x="1013" y="754"/>
                  <a:pt x="1012" y="753"/>
                  <a:pt x="1011" y="752"/>
                </a:cubicBezTo>
                <a:cubicBezTo>
                  <a:pt x="1010" y="752"/>
                  <a:pt x="1010" y="752"/>
                  <a:pt x="1010" y="752"/>
                </a:cubicBezTo>
                <a:close/>
                <a:moveTo>
                  <a:pt x="1004" y="748"/>
                </a:moveTo>
                <a:cubicBezTo>
                  <a:pt x="1008" y="750"/>
                  <a:pt x="1011" y="751"/>
                  <a:pt x="1014" y="754"/>
                </a:cubicBezTo>
                <a:cubicBezTo>
                  <a:pt x="1016" y="755"/>
                  <a:pt x="1018" y="756"/>
                  <a:pt x="1020" y="755"/>
                </a:cubicBezTo>
                <a:cubicBezTo>
                  <a:pt x="1022" y="754"/>
                  <a:pt x="1024" y="752"/>
                  <a:pt x="1024" y="749"/>
                </a:cubicBezTo>
                <a:cubicBezTo>
                  <a:pt x="1024" y="750"/>
                  <a:pt x="1023" y="750"/>
                  <a:pt x="1023" y="750"/>
                </a:cubicBezTo>
                <a:cubicBezTo>
                  <a:pt x="1022" y="752"/>
                  <a:pt x="1021" y="752"/>
                  <a:pt x="1020" y="754"/>
                </a:cubicBezTo>
                <a:cubicBezTo>
                  <a:pt x="1019" y="755"/>
                  <a:pt x="1018" y="754"/>
                  <a:pt x="1017" y="754"/>
                </a:cubicBezTo>
                <a:cubicBezTo>
                  <a:pt x="1016" y="754"/>
                  <a:pt x="1016" y="753"/>
                  <a:pt x="1016" y="752"/>
                </a:cubicBezTo>
                <a:cubicBezTo>
                  <a:pt x="1016" y="750"/>
                  <a:pt x="1016" y="748"/>
                  <a:pt x="1017" y="746"/>
                </a:cubicBezTo>
                <a:cubicBezTo>
                  <a:pt x="1020" y="746"/>
                  <a:pt x="1023" y="748"/>
                  <a:pt x="1027" y="748"/>
                </a:cubicBezTo>
                <a:cubicBezTo>
                  <a:pt x="1034" y="749"/>
                  <a:pt x="1040" y="748"/>
                  <a:pt x="1043" y="739"/>
                </a:cubicBezTo>
                <a:cubicBezTo>
                  <a:pt x="1045" y="734"/>
                  <a:pt x="1044" y="729"/>
                  <a:pt x="1044" y="724"/>
                </a:cubicBezTo>
                <a:cubicBezTo>
                  <a:pt x="1043" y="722"/>
                  <a:pt x="1042" y="721"/>
                  <a:pt x="1042" y="719"/>
                </a:cubicBezTo>
                <a:cubicBezTo>
                  <a:pt x="1041" y="717"/>
                  <a:pt x="1040" y="717"/>
                  <a:pt x="1038" y="718"/>
                </a:cubicBezTo>
                <a:cubicBezTo>
                  <a:pt x="1037" y="720"/>
                  <a:pt x="1035" y="721"/>
                  <a:pt x="1033" y="722"/>
                </a:cubicBezTo>
                <a:cubicBezTo>
                  <a:pt x="1033" y="723"/>
                  <a:pt x="1032" y="723"/>
                  <a:pt x="1032" y="725"/>
                </a:cubicBezTo>
                <a:cubicBezTo>
                  <a:pt x="1033" y="728"/>
                  <a:pt x="1032" y="731"/>
                  <a:pt x="1031" y="734"/>
                </a:cubicBezTo>
                <a:cubicBezTo>
                  <a:pt x="1031" y="732"/>
                  <a:pt x="1031" y="730"/>
                  <a:pt x="1031" y="729"/>
                </a:cubicBezTo>
                <a:cubicBezTo>
                  <a:pt x="1031" y="728"/>
                  <a:pt x="1031" y="727"/>
                  <a:pt x="1031" y="727"/>
                </a:cubicBezTo>
                <a:cubicBezTo>
                  <a:pt x="1030" y="727"/>
                  <a:pt x="1029" y="727"/>
                  <a:pt x="1029" y="728"/>
                </a:cubicBezTo>
                <a:cubicBezTo>
                  <a:pt x="1029" y="729"/>
                  <a:pt x="1028" y="731"/>
                  <a:pt x="1027" y="732"/>
                </a:cubicBezTo>
                <a:cubicBezTo>
                  <a:pt x="1027" y="732"/>
                  <a:pt x="1027" y="732"/>
                  <a:pt x="1027" y="732"/>
                </a:cubicBezTo>
                <a:cubicBezTo>
                  <a:pt x="1027" y="730"/>
                  <a:pt x="1027" y="729"/>
                  <a:pt x="1028" y="726"/>
                </a:cubicBezTo>
                <a:cubicBezTo>
                  <a:pt x="1027" y="727"/>
                  <a:pt x="1026" y="727"/>
                  <a:pt x="1025" y="728"/>
                </a:cubicBezTo>
                <a:cubicBezTo>
                  <a:pt x="1025" y="729"/>
                  <a:pt x="1025" y="729"/>
                  <a:pt x="1024" y="730"/>
                </a:cubicBezTo>
                <a:cubicBezTo>
                  <a:pt x="1025" y="727"/>
                  <a:pt x="1025" y="727"/>
                  <a:pt x="1031" y="725"/>
                </a:cubicBezTo>
                <a:cubicBezTo>
                  <a:pt x="1031" y="725"/>
                  <a:pt x="1030" y="724"/>
                  <a:pt x="1030" y="724"/>
                </a:cubicBezTo>
                <a:cubicBezTo>
                  <a:pt x="1027" y="725"/>
                  <a:pt x="1026" y="723"/>
                  <a:pt x="1026" y="721"/>
                </a:cubicBezTo>
                <a:cubicBezTo>
                  <a:pt x="1027" y="721"/>
                  <a:pt x="1029" y="720"/>
                  <a:pt x="1031" y="720"/>
                </a:cubicBezTo>
                <a:cubicBezTo>
                  <a:pt x="1029" y="717"/>
                  <a:pt x="1027" y="715"/>
                  <a:pt x="1024" y="714"/>
                </a:cubicBezTo>
                <a:cubicBezTo>
                  <a:pt x="1024" y="714"/>
                  <a:pt x="1024" y="714"/>
                  <a:pt x="1024" y="714"/>
                </a:cubicBezTo>
                <a:cubicBezTo>
                  <a:pt x="1021" y="712"/>
                  <a:pt x="1019" y="709"/>
                  <a:pt x="1016" y="707"/>
                </a:cubicBezTo>
                <a:cubicBezTo>
                  <a:pt x="1014" y="706"/>
                  <a:pt x="1011" y="705"/>
                  <a:pt x="1009" y="705"/>
                </a:cubicBezTo>
                <a:cubicBezTo>
                  <a:pt x="1005" y="706"/>
                  <a:pt x="1002" y="707"/>
                  <a:pt x="999" y="708"/>
                </a:cubicBezTo>
                <a:cubicBezTo>
                  <a:pt x="996" y="709"/>
                  <a:pt x="994" y="710"/>
                  <a:pt x="992" y="714"/>
                </a:cubicBezTo>
                <a:cubicBezTo>
                  <a:pt x="994" y="714"/>
                  <a:pt x="995" y="714"/>
                  <a:pt x="996" y="714"/>
                </a:cubicBezTo>
                <a:cubicBezTo>
                  <a:pt x="996" y="714"/>
                  <a:pt x="995" y="714"/>
                  <a:pt x="994" y="714"/>
                </a:cubicBezTo>
                <a:cubicBezTo>
                  <a:pt x="992" y="715"/>
                  <a:pt x="989" y="714"/>
                  <a:pt x="987" y="717"/>
                </a:cubicBezTo>
                <a:cubicBezTo>
                  <a:pt x="984" y="721"/>
                  <a:pt x="980" y="724"/>
                  <a:pt x="976" y="729"/>
                </a:cubicBezTo>
                <a:cubicBezTo>
                  <a:pt x="974" y="731"/>
                  <a:pt x="974" y="733"/>
                  <a:pt x="973" y="735"/>
                </a:cubicBezTo>
                <a:cubicBezTo>
                  <a:pt x="973" y="736"/>
                  <a:pt x="973" y="736"/>
                  <a:pt x="973" y="737"/>
                </a:cubicBezTo>
                <a:cubicBezTo>
                  <a:pt x="974" y="739"/>
                  <a:pt x="975" y="741"/>
                  <a:pt x="977" y="743"/>
                </a:cubicBezTo>
                <a:cubicBezTo>
                  <a:pt x="978" y="741"/>
                  <a:pt x="979" y="740"/>
                  <a:pt x="980" y="738"/>
                </a:cubicBezTo>
                <a:cubicBezTo>
                  <a:pt x="980" y="740"/>
                  <a:pt x="980" y="741"/>
                  <a:pt x="979" y="742"/>
                </a:cubicBezTo>
                <a:cubicBezTo>
                  <a:pt x="978" y="744"/>
                  <a:pt x="977" y="745"/>
                  <a:pt x="977" y="746"/>
                </a:cubicBezTo>
                <a:cubicBezTo>
                  <a:pt x="976" y="747"/>
                  <a:pt x="977" y="748"/>
                  <a:pt x="977" y="749"/>
                </a:cubicBezTo>
                <a:cubicBezTo>
                  <a:pt x="980" y="753"/>
                  <a:pt x="983" y="753"/>
                  <a:pt x="987" y="751"/>
                </a:cubicBezTo>
                <a:cubicBezTo>
                  <a:pt x="989" y="749"/>
                  <a:pt x="992" y="748"/>
                  <a:pt x="994" y="747"/>
                </a:cubicBezTo>
                <a:cubicBezTo>
                  <a:pt x="996" y="747"/>
                  <a:pt x="997" y="746"/>
                  <a:pt x="997" y="744"/>
                </a:cubicBezTo>
                <a:cubicBezTo>
                  <a:pt x="997" y="741"/>
                  <a:pt x="997" y="738"/>
                  <a:pt x="997" y="734"/>
                </a:cubicBezTo>
                <a:cubicBezTo>
                  <a:pt x="997" y="731"/>
                  <a:pt x="997" y="729"/>
                  <a:pt x="997" y="725"/>
                </a:cubicBezTo>
                <a:cubicBezTo>
                  <a:pt x="998" y="728"/>
                  <a:pt x="998" y="731"/>
                  <a:pt x="999" y="733"/>
                </a:cubicBezTo>
                <a:cubicBezTo>
                  <a:pt x="1000" y="738"/>
                  <a:pt x="1000" y="742"/>
                  <a:pt x="998" y="747"/>
                </a:cubicBezTo>
                <a:cubicBezTo>
                  <a:pt x="998" y="748"/>
                  <a:pt x="997" y="748"/>
                  <a:pt x="997" y="748"/>
                </a:cubicBezTo>
                <a:cubicBezTo>
                  <a:pt x="993" y="749"/>
                  <a:pt x="990" y="751"/>
                  <a:pt x="987" y="752"/>
                </a:cubicBezTo>
                <a:cubicBezTo>
                  <a:pt x="982" y="755"/>
                  <a:pt x="978" y="754"/>
                  <a:pt x="975" y="750"/>
                </a:cubicBezTo>
                <a:cubicBezTo>
                  <a:pt x="974" y="749"/>
                  <a:pt x="974" y="748"/>
                  <a:pt x="975" y="748"/>
                </a:cubicBezTo>
                <a:cubicBezTo>
                  <a:pt x="976" y="745"/>
                  <a:pt x="975" y="743"/>
                  <a:pt x="973" y="741"/>
                </a:cubicBezTo>
                <a:cubicBezTo>
                  <a:pt x="972" y="739"/>
                  <a:pt x="970" y="737"/>
                  <a:pt x="971" y="734"/>
                </a:cubicBezTo>
                <a:cubicBezTo>
                  <a:pt x="972" y="732"/>
                  <a:pt x="973" y="731"/>
                  <a:pt x="974" y="729"/>
                </a:cubicBezTo>
                <a:cubicBezTo>
                  <a:pt x="976" y="726"/>
                  <a:pt x="978" y="724"/>
                  <a:pt x="980" y="721"/>
                </a:cubicBezTo>
                <a:cubicBezTo>
                  <a:pt x="980" y="721"/>
                  <a:pt x="979" y="721"/>
                  <a:pt x="979" y="721"/>
                </a:cubicBezTo>
                <a:cubicBezTo>
                  <a:pt x="974" y="722"/>
                  <a:pt x="969" y="724"/>
                  <a:pt x="965" y="727"/>
                </a:cubicBezTo>
                <a:cubicBezTo>
                  <a:pt x="961" y="731"/>
                  <a:pt x="958" y="736"/>
                  <a:pt x="958" y="743"/>
                </a:cubicBezTo>
                <a:cubicBezTo>
                  <a:pt x="957" y="750"/>
                  <a:pt x="960" y="756"/>
                  <a:pt x="963" y="762"/>
                </a:cubicBezTo>
                <a:cubicBezTo>
                  <a:pt x="964" y="763"/>
                  <a:pt x="964" y="764"/>
                  <a:pt x="964" y="765"/>
                </a:cubicBezTo>
                <a:cubicBezTo>
                  <a:pt x="964" y="767"/>
                  <a:pt x="964" y="769"/>
                  <a:pt x="963" y="770"/>
                </a:cubicBezTo>
                <a:cubicBezTo>
                  <a:pt x="962" y="772"/>
                  <a:pt x="963" y="773"/>
                  <a:pt x="964" y="773"/>
                </a:cubicBezTo>
                <a:cubicBezTo>
                  <a:pt x="967" y="774"/>
                  <a:pt x="970" y="774"/>
                  <a:pt x="973" y="774"/>
                </a:cubicBezTo>
                <a:cubicBezTo>
                  <a:pt x="973" y="774"/>
                  <a:pt x="974" y="774"/>
                  <a:pt x="974" y="773"/>
                </a:cubicBezTo>
                <a:cubicBezTo>
                  <a:pt x="974" y="772"/>
                  <a:pt x="974" y="771"/>
                  <a:pt x="975" y="770"/>
                </a:cubicBezTo>
                <a:cubicBezTo>
                  <a:pt x="977" y="767"/>
                  <a:pt x="977" y="765"/>
                  <a:pt x="977" y="762"/>
                </a:cubicBezTo>
                <a:cubicBezTo>
                  <a:pt x="977" y="761"/>
                  <a:pt x="977" y="761"/>
                  <a:pt x="977" y="761"/>
                </a:cubicBezTo>
                <a:cubicBezTo>
                  <a:pt x="977" y="760"/>
                  <a:pt x="977" y="760"/>
                  <a:pt x="977" y="760"/>
                </a:cubicBezTo>
                <a:cubicBezTo>
                  <a:pt x="978" y="763"/>
                  <a:pt x="979" y="763"/>
                  <a:pt x="981" y="763"/>
                </a:cubicBezTo>
                <a:cubicBezTo>
                  <a:pt x="982" y="763"/>
                  <a:pt x="983" y="763"/>
                  <a:pt x="984" y="763"/>
                </a:cubicBezTo>
                <a:cubicBezTo>
                  <a:pt x="986" y="763"/>
                  <a:pt x="989" y="763"/>
                  <a:pt x="990" y="759"/>
                </a:cubicBezTo>
                <a:cubicBezTo>
                  <a:pt x="990" y="761"/>
                  <a:pt x="990" y="763"/>
                  <a:pt x="990" y="764"/>
                </a:cubicBezTo>
                <a:cubicBezTo>
                  <a:pt x="989" y="765"/>
                  <a:pt x="987" y="765"/>
                  <a:pt x="986" y="766"/>
                </a:cubicBezTo>
                <a:cubicBezTo>
                  <a:pt x="985" y="767"/>
                  <a:pt x="984" y="768"/>
                  <a:pt x="985" y="769"/>
                </a:cubicBezTo>
                <a:cubicBezTo>
                  <a:pt x="986" y="771"/>
                  <a:pt x="987" y="773"/>
                  <a:pt x="989" y="775"/>
                </a:cubicBezTo>
                <a:cubicBezTo>
                  <a:pt x="991" y="776"/>
                  <a:pt x="993" y="776"/>
                  <a:pt x="994" y="774"/>
                </a:cubicBezTo>
                <a:cubicBezTo>
                  <a:pt x="994" y="774"/>
                  <a:pt x="995" y="773"/>
                  <a:pt x="996" y="773"/>
                </a:cubicBezTo>
                <a:cubicBezTo>
                  <a:pt x="998" y="771"/>
                  <a:pt x="999" y="770"/>
                  <a:pt x="1001" y="769"/>
                </a:cubicBezTo>
                <a:cubicBezTo>
                  <a:pt x="1005" y="764"/>
                  <a:pt x="1007" y="758"/>
                  <a:pt x="1009" y="752"/>
                </a:cubicBezTo>
                <a:cubicBezTo>
                  <a:pt x="1009" y="752"/>
                  <a:pt x="1008" y="751"/>
                  <a:pt x="1007" y="751"/>
                </a:cubicBezTo>
                <a:cubicBezTo>
                  <a:pt x="1007" y="750"/>
                  <a:pt x="1005" y="749"/>
                  <a:pt x="1004" y="748"/>
                </a:cubicBezTo>
                <a:close/>
                <a:moveTo>
                  <a:pt x="957" y="754"/>
                </a:moveTo>
                <a:cubicBezTo>
                  <a:pt x="956" y="755"/>
                  <a:pt x="955" y="756"/>
                  <a:pt x="954" y="757"/>
                </a:cubicBezTo>
                <a:cubicBezTo>
                  <a:pt x="953" y="757"/>
                  <a:pt x="953" y="758"/>
                  <a:pt x="953" y="759"/>
                </a:cubicBezTo>
                <a:cubicBezTo>
                  <a:pt x="953" y="762"/>
                  <a:pt x="957" y="766"/>
                  <a:pt x="960" y="766"/>
                </a:cubicBezTo>
                <a:cubicBezTo>
                  <a:pt x="962" y="766"/>
                  <a:pt x="963" y="765"/>
                  <a:pt x="962" y="763"/>
                </a:cubicBezTo>
                <a:cubicBezTo>
                  <a:pt x="960" y="760"/>
                  <a:pt x="959" y="757"/>
                  <a:pt x="957" y="754"/>
                </a:cubicBezTo>
                <a:close/>
                <a:moveTo>
                  <a:pt x="1010" y="756"/>
                </a:moveTo>
                <a:cubicBezTo>
                  <a:pt x="1007" y="761"/>
                  <a:pt x="1005" y="765"/>
                  <a:pt x="1003" y="770"/>
                </a:cubicBezTo>
                <a:cubicBezTo>
                  <a:pt x="1005" y="770"/>
                  <a:pt x="1008" y="770"/>
                  <a:pt x="1011" y="770"/>
                </a:cubicBezTo>
                <a:cubicBezTo>
                  <a:pt x="1011" y="770"/>
                  <a:pt x="1011" y="769"/>
                  <a:pt x="1011" y="768"/>
                </a:cubicBezTo>
                <a:cubicBezTo>
                  <a:pt x="1011" y="765"/>
                  <a:pt x="1011" y="763"/>
                  <a:pt x="1011" y="761"/>
                </a:cubicBezTo>
                <a:cubicBezTo>
                  <a:pt x="1011"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3"/>
                  <a:pt x="954" y="731"/>
                  <a:pt x="955" y="729"/>
                </a:cubicBezTo>
                <a:cubicBezTo>
                  <a:pt x="954" y="729"/>
                  <a:pt x="954" y="729"/>
                  <a:pt x="954" y="729"/>
                </a:cubicBezTo>
                <a:cubicBezTo>
                  <a:pt x="953" y="729"/>
                  <a:pt x="952" y="730"/>
                  <a:pt x="951" y="731"/>
                </a:cubicBezTo>
                <a:cubicBezTo>
                  <a:pt x="951" y="733"/>
                  <a:pt x="952" y="738"/>
                  <a:pt x="954" y="738"/>
                </a:cubicBezTo>
                <a:cubicBezTo>
                  <a:pt x="955" y="739"/>
                  <a:pt x="957" y="738"/>
                  <a:pt x="957" y="736"/>
                </a:cubicBezTo>
                <a:close/>
                <a:moveTo>
                  <a:pt x="957" y="754"/>
                </a:moveTo>
                <a:cubicBezTo>
                  <a:pt x="956" y="755"/>
                  <a:pt x="955" y="756"/>
                  <a:pt x="953" y="757"/>
                </a:cubicBezTo>
                <a:cubicBezTo>
                  <a:pt x="953" y="757"/>
                  <a:pt x="953" y="758"/>
                  <a:pt x="953" y="759"/>
                </a:cubicBezTo>
                <a:cubicBezTo>
                  <a:pt x="953" y="762"/>
                  <a:pt x="957" y="766"/>
                  <a:pt x="960" y="766"/>
                </a:cubicBezTo>
                <a:cubicBezTo>
                  <a:pt x="962" y="766"/>
                  <a:pt x="963" y="764"/>
                  <a:pt x="962" y="763"/>
                </a:cubicBezTo>
                <a:cubicBezTo>
                  <a:pt x="960" y="760"/>
                  <a:pt x="959" y="757"/>
                  <a:pt x="957" y="754"/>
                </a:cubicBezTo>
                <a:close/>
                <a:moveTo>
                  <a:pt x="1010" y="756"/>
                </a:moveTo>
                <a:cubicBezTo>
                  <a:pt x="1007" y="761"/>
                  <a:pt x="1005" y="766"/>
                  <a:pt x="1003" y="770"/>
                </a:cubicBezTo>
                <a:cubicBezTo>
                  <a:pt x="1005" y="770"/>
                  <a:pt x="1008" y="770"/>
                  <a:pt x="1010" y="770"/>
                </a:cubicBezTo>
                <a:cubicBezTo>
                  <a:pt x="1011" y="770"/>
                  <a:pt x="1011" y="769"/>
                  <a:pt x="1011" y="768"/>
                </a:cubicBezTo>
                <a:cubicBezTo>
                  <a:pt x="1011" y="766"/>
                  <a:pt x="1011" y="763"/>
                  <a:pt x="1011" y="761"/>
                </a:cubicBezTo>
                <a:cubicBezTo>
                  <a:pt x="1010"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2"/>
                  <a:pt x="954" y="730"/>
                  <a:pt x="955" y="729"/>
                </a:cubicBezTo>
                <a:cubicBezTo>
                  <a:pt x="954" y="729"/>
                  <a:pt x="954" y="729"/>
                  <a:pt x="954" y="729"/>
                </a:cubicBezTo>
                <a:cubicBezTo>
                  <a:pt x="953" y="729"/>
                  <a:pt x="952" y="730"/>
                  <a:pt x="951" y="731"/>
                </a:cubicBezTo>
                <a:cubicBezTo>
                  <a:pt x="951" y="732"/>
                  <a:pt x="952" y="738"/>
                  <a:pt x="954" y="738"/>
                </a:cubicBezTo>
                <a:cubicBezTo>
                  <a:pt x="955" y="739"/>
                  <a:pt x="957" y="738"/>
                  <a:pt x="957" y="736"/>
                </a:cubicBezTo>
                <a:close/>
                <a:moveTo>
                  <a:pt x="1009" y="728"/>
                </a:moveTo>
                <a:cubicBezTo>
                  <a:pt x="1013" y="724"/>
                  <a:pt x="1013" y="724"/>
                  <a:pt x="1017" y="723"/>
                </a:cubicBezTo>
                <a:cubicBezTo>
                  <a:pt x="1017" y="725"/>
                  <a:pt x="1018" y="726"/>
                  <a:pt x="1019" y="726"/>
                </a:cubicBezTo>
                <a:cubicBezTo>
                  <a:pt x="1017" y="727"/>
                  <a:pt x="1015" y="729"/>
                  <a:pt x="1013" y="730"/>
                </a:cubicBezTo>
                <a:cubicBezTo>
                  <a:pt x="1012" y="729"/>
                  <a:pt x="1012" y="728"/>
                  <a:pt x="1011" y="727"/>
                </a:cubicBezTo>
                <a:cubicBezTo>
                  <a:pt x="1011" y="727"/>
                  <a:pt x="1010" y="727"/>
                  <a:pt x="1009" y="728"/>
                </a:cubicBezTo>
                <a:close/>
                <a:moveTo>
                  <a:pt x="1015" y="727"/>
                </a:moveTo>
                <a:cubicBezTo>
                  <a:pt x="1015" y="727"/>
                  <a:pt x="1014" y="727"/>
                  <a:pt x="1013" y="727"/>
                </a:cubicBezTo>
                <a:cubicBezTo>
                  <a:pt x="1013" y="727"/>
                  <a:pt x="1012" y="727"/>
                  <a:pt x="1012" y="728"/>
                </a:cubicBezTo>
                <a:cubicBezTo>
                  <a:pt x="1012" y="728"/>
                  <a:pt x="1013" y="728"/>
                  <a:pt x="1013" y="729"/>
                </a:cubicBezTo>
                <a:cubicBezTo>
                  <a:pt x="1014" y="728"/>
                  <a:pt x="1014" y="728"/>
                  <a:pt x="1015" y="727"/>
                </a:cubicBezTo>
                <a:close/>
                <a:moveTo>
                  <a:pt x="996" y="718"/>
                </a:moveTo>
                <a:cubicBezTo>
                  <a:pt x="990" y="717"/>
                  <a:pt x="987" y="719"/>
                  <a:pt x="986" y="728"/>
                </a:cubicBezTo>
                <a:cubicBezTo>
                  <a:pt x="987" y="726"/>
                  <a:pt x="988" y="723"/>
                  <a:pt x="989" y="721"/>
                </a:cubicBezTo>
                <a:cubicBezTo>
                  <a:pt x="990" y="721"/>
                  <a:pt x="990" y="721"/>
                  <a:pt x="990" y="721"/>
                </a:cubicBezTo>
                <a:cubicBezTo>
                  <a:pt x="990" y="722"/>
                  <a:pt x="990" y="723"/>
                  <a:pt x="990" y="723"/>
                </a:cubicBezTo>
                <a:cubicBezTo>
                  <a:pt x="991" y="720"/>
                  <a:pt x="993" y="718"/>
                  <a:pt x="996" y="718"/>
                </a:cubicBezTo>
                <a:close/>
                <a:moveTo>
                  <a:pt x="1040" y="719"/>
                </a:moveTo>
                <a:cubicBezTo>
                  <a:pt x="1038" y="721"/>
                  <a:pt x="1036" y="722"/>
                  <a:pt x="1035" y="723"/>
                </a:cubicBezTo>
                <a:cubicBezTo>
                  <a:pt x="1037" y="724"/>
                  <a:pt x="1039" y="722"/>
                  <a:pt x="1040" y="719"/>
                </a:cubicBezTo>
                <a:close/>
                <a:moveTo>
                  <a:pt x="1007" y="721"/>
                </a:moveTo>
                <a:cubicBezTo>
                  <a:pt x="1008" y="720"/>
                  <a:pt x="1009" y="719"/>
                  <a:pt x="1010" y="717"/>
                </a:cubicBezTo>
                <a:cubicBezTo>
                  <a:pt x="1007" y="719"/>
                  <a:pt x="1006" y="719"/>
                  <a:pt x="1007" y="721"/>
                </a:cubicBezTo>
                <a:close/>
                <a:moveTo>
                  <a:pt x="1016" y="743"/>
                </a:moveTo>
                <a:cubicBezTo>
                  <a:pt x="1015" y="743"/>
                  <a:pt x="1014" y="744"/>
                  <a:pt x="1014" y="745"/>
                </a:cubicBezTo>
                <a:cubicBezTo>
                  <a:pt x="1014" y="744"/>
                  <a:pt x="1016" y="744"/>
                  <a:pt x="1016" y="743"/>
                </a:cubicBezTo>
                <a:close/>
                <a:moveTo>
                  <a:pt x="1016" y="727"/>
                </a:moveTo>
                <a:cubicBezTo>
                  <a:pt x="1015" y="727"/>
                  <a:pt x="1014" y="727"/>
                  <a:pt x="1013" y="727"/>
                </a:cubicBezTo>
                <a:cubicBezTo>
                  <a:pt x="1013" y="727"/>
                  <a:pt x="1012" y="727"/>
                  <a:pt x="1012" y="728"/>
                </a:cubicBezTo>
                <a:cubicBezTo>
                  <a:pt x="1012" y="728"/>
                  <a:pt x="1013" y="729"/>
                  <a:pt x="1013" y="729"/>
                </a:cubicBezTo>
                <a:cubicBezTo>
                  <a:pt x="1014" y="729"/>
                  <a:pt x="1014" y="728"/>
                  <a:pt x="1016" y="727"/>
                </a:cubicBezTo>
                <a:close/>
                <a:moveTo>
                  <a:pt x="1540" y="848"/>
                </a:moveTo>
                <a:cubicBezTo>
                  <a:pt x="1540" y="850"/>
                  <a:pt x="1541" y="851"/>
                  <a:pt x="1541" y="853"/>
                </a:cubicBezTo>
                <a:cubicBezTo>
                  <a:pt x="1542" y="854"/>
                  <a:pt x="1542" y="856"/>
                  <a:pt x="1542" y="858"/>
                </a:cubicBezTo>
                <a:cubicBezTo>
                  <a:pt x="1542" y="859"/>
                  <a:pt x="1543" y="861"/>
                  <a:pt x="1543" y="863"/>
                </a:cubicBezTo>
                <a:cubicBezTo>
                  <a:pt x="1544" y="866"/>
                  <a:pt x="1542" y="867"/>
                  <a:pt x="1539" y="867"/>
                </a:cubicBezTo>
                <a:cubicBezTo>
                  <a:pt x="1537" y="867"/>
                  <a:pt x="1534" y="867"/>
                  <a:pt x="1531" y="867"/>
                </a:cubicBezTo>
                <a:cubicBezTo>
                  <a:pt x="1531" y="867"/>
                  <a:pt x="1530" y="867"/>
                  <a:pt x="1530" y="867"/>
                </a:cubicBezTo>
                <a:cubicBezTo>
                  <a:pt x="1528" y="869"/>
                  <a:pt x="1526" y="870"/>
                  <a:pt x="1525" y="872"/>
                </a:cubicBezTo>
                <a:cubicBezTo>
                  <a:pt x="1523" y="874"/>
                  <a:pt x="1520" y="874"/>
                  <a:pt x="1518" y="872"/>
                </a:cubicBezTo>
                <a:cubicBezTo>
                  <a:pt x="1516" y="870"/>
                  <a:pt x="1515" y="868"/>
                  <a:pt x="1513" y="865"/>
                </a:cubicBezTo>
                <a:cubicBezTo>
                  <a:pt x="1512" y="863"/>
                  <a:pt x="1513" y="862"/>
                  <a:pt x="1515" y="860"/>
                </a:cubicBezTo>
                <a:cubicBezTo>
                  <a:pt x="1512" y="860"/>
                  <a:pt x="1511" y="860"/>
                  <a:pt x="1509" y="860"/>
                </a:cubicBezTo>
                <a:cubicBezTo>
                  <a:pt x="1508" y="862"/>
                  <a:pt x="1507" y="864"/>
                  <a:pt x="1506" y="866"/>
                </a:cubicBezTo>
                <a:cubicBezTo>
                  <a:pt x="1506" y="867"/>
                  <a:pt x="1506" y="868"/>
                  <a:pt x="1506" y="869"/>
                </a:cubicBezTo>
                <a:cubicBezTo>
                  <a:pt x="1506" y="872"/>
                  <a:pt x="1505" y="873"/>
                  <a:pt x="1502" y="872"/>
                </a:cubicBezTo>
                <a:cubicBezTo>
                  <a:pt x="1499" y="872"/>
                  <a:pt x="1496" y="871"/>
                  <a:pt x="1493" y="870"/>
                </a:cubicBezTo>
                <a:cubicBezTo>
                  <a:pt x="1491" y="870"/>
                  <a:pt x="1490" y="868"/>
                  <a:pt x="1491" y="866"/>
                </a:cubicBezTo>
                <a:cubicBezTo>
                  <a:pt x="1491" y="865"/>
                  <a:pt x="1491" y="865"/>
                  <a:pt x="1491" y="865"/>
                </a:cubicBezTo>
                <a:cubicBezTo>
                  <a:pt x="1489" y="863"/>
                  <a:pt x="1487" y="863"/>
                  <a:pt x="1485" y="861"/>
                </a:cubicBezTo>
                <a:cubicBezTo>
                  <a:pt x="1484" y="860"/>
                  <a:pt x="1482" y="858"/>
                  <a:pt x="1482" y="857"/>
                </a:cubicBezTo>
                <a:cubicBezTo>
                  <a:pt x="1481" y="855"/>
                  <a:pt x="1481" y="853"/>
                  <a:pt x="1483" y="851"/>
                </a:cubicBezTo>
                <a:cubicBezTo>
                  <a:pt x="1486" y="849"/>
                  <a:pt x="1487" y="846"/>
                  <a:pt x="1486" y="842"/>
                </a:cubicBezTo>
                <a:cubicBezTo>
                  <a:pt x="1486" y="840"/>
                  <a:pt x="1486" y="838"/>
                  <a:pt x="1486" y="836"/>
                </a:cubicBezTo>
                <a:cubicBezTo>
                  <a:pt x="1485" y="836"/>
                  <a:pt x="1483" y="835"/>
                  <a:pt x="1482" y="834"/>
                </a:cubicBezTo>
                <a:cubicBezTo>
                  <a:pt x="1481" y="832"/>
                  <a:pt x="1480" y="830"/>
                  <a:pt x="1480" y="829"/>
                </a:cubicBezTo>
                <a:cubicBezTo>
                  <a:pt x="1480" y="826"/>
                  <a:pt x="1483" y="823"/>
                  <a:pt x="1486" y="822"/>
                </a:cubicBezTo>
                <a:cubicBezTo>
                  <a:pt x="1486" y="823"/>
                  <a:pt x="1486" y="824"/>
                  <a:pt x="1487" y="825"/>
                </a:cubicBezTo>
                <a:cubicBezTo>
                  <a:pt x="1487" y="826"/>
                  <a:pt x="1487" y="827"/>
                  <a:pt x="1487" y="828"/>
                </a:cubicBezTo>
                <a:cubicBezTo>
                  <a:pt x="1486" y="827"/>
                  <a:pt x="1486" y="827"/>
                  <a:pt x="1486" y="827"/>
                </a:cubicBezTo>
                <a:cubicBezTo>
                  <a:pt x="1485" y="829"/>
                  <a:pt x="1485" y="830"/>
                  <a:pt x="1484" y="832"/>
                </a:cubicBezTo>
                <a:cubicBezTo>
                  <a:pt x="1485" y="831"/>
                  <a:pt x="1486" y="831"/>
                  <a:pt x="1486" y="831"/>
                </a:cubicBezTo>
                <a:cubicBezTo>
                  <a:pt x="1488" y="830"/>
                  <a:pt x="1488" y="829"/>
                  <a:pt x="1489" y="828"/>
                </a:cubicBezTo>
                <a:cubicBezTo>
                  <a:pt x="1493" y="821"/>
                  <a:pt x="1499" y="817"/>
                  <a:pt x="1507" y="815"/>
                </a:cubicBezTo>
                <a:cubicBezTo>
                  <a:pt x="1510" y="815"/>
                  <a:pt x="1513" y="814"/>
                  <a:pt x="1516" y="811"/>
                </a:cubicBezTo>
                <a:cubicBezTo>
                  <a:pt x="1516" y="811"/>
                  <a:pt x="1517" y="810"/>
                  <a:pt x="1517" y="810"/>
                </a:cubicBezTo>
                <a:cubicBezTo>
                  <a:pt x="1520" y="810"/>
                  <a:pt x="1521" y="808"/>
                  <a:pt x="1523" y="806"/>
                </a:cubicBezTo>
                <a:cubicBezTo>
                  <a:pt x="1531" y="798"/>
                  <a:pt x="1542" y="798"/>
                  <a:pt x="1550" y="804"/>
                </a:cubicBezTo>
                <a:cubicBezTo>
                  <a:pt x="1553" y="806"/>
                  <a:pt x="1555" y="808"/>
                  <a:pt x="1558" y="810"/>
                </a:cubicBezTo>
                <a:cubicBezTo>
                  <a:pt x="1559" y="811"/>
                  <a:pt x="1560" y="813"/>
                  <a:pt x="1562" y="815"/>
                </a:cubicBezTo>
                <a:cubicBezTo>
                  <a:pt x="1562" y="817"/>
                  <a:pt x="1563" y="817"/>
                  <a:pt x="1564" y="815"/>
                </a:cubicBezTo>
                <a:cubicBezTo>
                  <a:pt x="1565" y="815"/>
                  <a:pt x="1566" y="814"/>
                  <a:pt x="1567" y="813"/>
                </a:cubicBezTo>
                <a:cubicBezTo>
                  <a:pt x="1569" y="811"/>
                  <a:pt x="1572" y="811"/>
                  <a:pt x="1573" y="814"/>
                </a:cubicBezTo>
                <a:cubicBezTo>
                  <a:pt x="1574" y="817"/>
                  <a:pt x="1575" y="820"/>
                  <a:pt x="1575" y="823"/>
                </a:cubicBezTo>
                <a:cubicBezTo>
                  <a:pt x="1576" y="827"/>
                  <a:pt x="1576" y="832"/>
                  <a:pt x="1574" y="836"/>
                </a:cubicBezTo>
                <a:cubicBezTo>
                  <a:pt x="1572" y="842"/>
                  <a:pt x="1567" y="846"/>
                  <a:pt x="1560" y="846"/>
                </a:cubicBezTo>
                <a:cubicBezTo>
                  <a:pt x="1560" y="846"/>
                  <a:pt x="1559" y="846"/>
                  <a:pt x="1559" y="846"/>
                </a:cubicBezTo>
                <a:cubicBezTo>
                  <a:pt x="1556" y="846"/>
                  <a:pt x="1555" y="846"/>
                  <a:pt x="1554" y="848"/>
                </a:cubicBezTo>
                <a:cubicBezTo>
                  <a:pt x="1553" y="853"/>
                  <a:pt x="1547" y="854"/>
                  <a:pt x="1544" y="851"/>
                </a:cubicBezTo>
                <a:cubicBezTo>
                  <a:pt x="1542" y="850"/>
                  <a:pt x="1542" y="849"/>
                  <a:pt x="1540" y="848"/>
                </a:cubicBezTo>
                <a:cubicBezTo>
                  <a:pt x="1540" y="848"/>
                  <a:pt x="1540" y="848"/>
                  <a:pt x="1540" y="848"/>
                </a:cubicBezTo>
                <a:close/>
                <a:moveTo>
                  <a:pt x="1534" y="844"/>
                </a:moveTo>
                <a:cubicBezTo>
                  <a:pt x="1538" y="846"/>
                  <a:pt x="1541" y="847"/>
                  <a:pt x="1544" y="850"/>
                </a:cubicBezTo>
                <a:cubicBezTo>
                  <a:pt x="1546" y="851"/>
                  <a:pt x="1548" y="852"/>
                  <a:pt x="1550" y="851"/>
                </a:cubicBezTo>
                <a:cubicBezTo>
                  <a:pt x="1552" y="850"/>
                  <a:pt x="1554" y="848"/>
                  <a:pt x="1554" y="845"/>
                </a:cubicBezTo>
                <a:cubicBezTo>
                  <a:pt x="1553" y="846"/>
                  <a:pt x="1553" y="846"/>
                  <a:pt x="1553" y="846"/>
                </a:cubicBezTo>
                <a:cubicBezTo>
                  <a:pt x="1552" y="848"/>
                  <a:pt x="1551" y="848"/>
                  <a:pt x="1550" y="850"/>
                </a:cubicBezTo>
                <a:cubicBezTo>
                  <a:pt x="1549" y="851"/>
                  <a:pt x="1548" y="850"/>
                  <a:pt x="1547" y="850"/>
                </a:cubicBezTo>
                <a:cubicBezTo>
                  <a:pt x="1546" y="850"/>
                  <a:pt x="1546" y="849"/>
                  <a:pt x="1546" y="848"/>
                </a:cubicBezTo>
                <a:cubicBezTo>
                  <a:pt x="1546" y="846"/>
                  <a:pt x="1546" y="844"/>
                  <a:pt x="1547" y="842"/>
                </a:cubicBezTo>
                <a:cubicBezTo>
                  <a:pt x="1550" y="842"/>
                  <a:pt x="1553" y="844"/>
                  <a:pt x="1557" y="844"/>
                </a:cubicBezTo>
                <a:cubicBezTo>
                  <a:pt x="1564" y="845"/>
                  <a:pt x="1570" y="844"/>
                  <a:pt x="1573" y="835"/>
                </a:cubicBezTo>
                <a:cubicBezTo>
                  <a:pt x="1575" y="830"/>
                  <a:pt x="1574" y="825"/>
                  <a:pt x="1573" y="820"/>
                </a:cubicBezTo>
                <a:cubicBezTo>
                  <a:pt x="1573" y="818"/>
                  <a:pt x="1572" y="817"/>
                  <a:pt x="1571" y="815"/>
                </a:cubicBezTo>
                <a:cubicBezTo>
                  <a:pt x="1571" y="813"/>
                  <a:pt x="1570" y="813"/>
                  <a:pt x="1568" y="814"/>
                </a:cubicBezTo>
                <a:cubicBezTo>
                  <a:pt x="1567" y="816"/>
                  <a:pt x="1565" y="817"/>
                  <a:pt x="1563" y="818"/>
                </a:cubicBezTo>
                <a:cubicBezTo>
                  <a:pt x="1562" y="819"/>
                  <a:pt x="1562" y="819"/>
                  <a:pt x="1562" y="821"/>
                </a:cubicBezTo>
                <a:cubicBezTo>
                  <a:pt x="1563" y="824"/>
                  <a:pt x="1562" y="827"/>
                  <a:pt x="1561" y="830"/>
                </a:cubicBezTo>
                <a:cubicBezTo>
                  <a:pt x="1561" y="828"/>
                  <a:pt x="1561" y="826"/>
                  <a:pt x="1561" y="825"/>
                </a:cubicBezTo>
                <a:cubicBezTo>
                  <a:pt x="1561" y="824"/>
                  <a:pt x="1561" y="823"/>
                  <a:pt x="1560" y="823"/>
                </a:cubicBezTo>
                <a:cubicBezTo>
                  <a:pt x="1560" y="823"/>
                  <a:pt x="1559" y="823"/>
                  <a:pt x="1559" y="824"/>
                </a:cubicBezTo>
                <a:cubicBezTo>
                  <a:pt x="1559" y="825"/>
                  <a:pt x="1558" y="827"/>
                  <a:pt x="1557" y="828"/>
                </a:cubicBezTo>
                <a:cubicBezTo>
                  <a:pt x="1557" y="828"/>
                  <a:pt x="1557" y="828"/>
                  <a:pt x="1557" y="828"/>
                </a:cubicBezTo>
                <a:cubicBezTo>
                  <a:pt x="1557" y="826"/>
                  <a:pt x="1557" y="825"/>
                  <a:pt x="1558" y="822"/>
                </a:cubicBezTo>
                <a:cubicBezTo>
                  <a:pt x="1557" y="823"/>
                  <a:pt x="1556" y="823"/>
                  <a:pt x="1555" y="824"/>
                </a:cubicBezTo>
                <a:cubicBezTo>
                  <a:pt x="1555" y="825"/>
                  <a:pt x="1555" y="825"/>
                  <a:pt x="1554" y="826"/>
                </a:cubicBezTo>
                <a:cubicBezTo>
                  <a:pt x="1555" y="823"/>
                  <a:pt x="1555" y="823"/>
                  <a:pt x="1561" y="821"/>
                </a:cubicBezTo>
                <a:cubicBezTo>
                  <a:pt x="1560" y="821"/>
                  <a:pt x="1560" y="820"/>
                  <a:pt x="1560" y="820"/>
                </a:cubicBezTo>
                <a:cubicBezTo>
                  <a:pt x="1557" y="821"/>
                  <a:pt x="1556" y="819"/>
                  <a:pt x="1556" y="817"/>
                </a:cubicBezTo>
                <a:cubicBezTo>
                  <a:pt x="1557" y="817"/>
                  <a:pt x="1559" y="816"/>
                  <a:pt x="1560" y="816"/>
                </a:cubicBezTo>
                <a:cubicBezTo>
                  <a:pt x="1559" y="813"/>
                  <a:pt x="1557" y="811"/>
                  <a:pt x="1554" y="810"/>
                </a:cubicBezTo>
                <a:cubicBezTo>
                  <a:pt x="1554" y="810"/>
                  <a:pt x="1553" y="810"/>
                  <a:pt x="1553" y="810"/>
                </a:cubicBezTo>
                <a:cubicBezTo>
                  <a:pt x="1551" y="808"/>
                  <a:pt x="1549" y="805"/>
                  <a:pt x="1546" y="803"/>
                </a:cubicBezTo>
                <a:cubicBezTo>
                  <a:pt x="1544" y="802"/>
                  <a:pt x="1541" y="801"/>
                  <a:pt x="1539" y="801"/>
                </a:cubicBezTo>
                <a:cubicBezTo>
                  <a:pt x="1535" y="802"/>
                  <a:pt x="1532" y="803"/>
                  <a:pt x="1529" y="804"/>
                </a:cubicBezTo>
                <a:cubicBezTo>
                  <a:pt x="1526" y="805"/>
                  <a:pt x="1524" y="806"/>
                  <a:pt x="1522" y="810"/>
                </a:cubicBezTo>
                <a:cubicBezTo>
                  <a:pt x="1524" y="810"/>
                  <a:pt x="1525" y="810"/>
                  <a:pt x="1526" y="810"/>
                </a:cubicBezTo>
                <a:cubicBezTo>
                  <a:pt x="1526" y="810"/>
                  <a:pt x="1525" y="810"/>
                  <a:pt x="1524" y="810"/>
                </a:cubicBezTo>
                <a:cubicBezTo>
                  <a:pt x="1522" y="811"/>
                  <a:pt x="1519" y="810"/>
                  <a:pt x="1517" y="813"/>
                </a:cubicBezTo>
                <a:cubicBezTo>
                  <a:pt x="1513" y="817"/>
                  <a:pt x="1510" y="820"/>
                  <a:pt x="1506" y="825"/>
                </a:cubicBezTo>
                <a:cubicBezTo>
                  <a:pt x="1504" y="827"/>
                  <a:pt x="1504" y="829"/>
                  <a:pt x="1502" y="831"/>
                </a:cubicBezTo>
                <a:cubicBezTo>
                  <a:pt x="1502" y="832"/>
                  <a:pt x="1502" y="832"/>
                  <a:pt x="1503" y="833"/>
                </a:cubicBezTo>
                <a:cubicBezTo>
                  <a:pt x="1504" y="835"/>
                  <a:pt x="1505" y="837"/>
                  <a:pt x="1507" y="839"/>
                </a:cubicBezTo>
                <a:cubicBezTo>
                  <a:pt x="1508" y="837"/>
                  <a:pt x="1509" y="836"/>
                  <a:pt x="1510" y="834"/>
                </a:cubicBezTo>
                <a:cubicBezTo>
                  <a:pt x="1510" y="836"/>
                  <a:pt x="1510" y="837"/>
                  <a:pt x="1509" y="838"/>
                </a:cubicBezTo>
                <a:cubicBezTo>
                  <a:pt x="1508" y="840"/>
                  <a:pt x="1507" y="841"/>
                  <a:pt x="1507" y="842"/>
                </a:cubicBezTo>
                <a:cubicBezTo>
                  <a:pt x="1506" y="843"/>
                  <a:pt x="1507" y="844"/>
                  <a:pt x="1507" y="845"/>
                </a:cubicBezTo>
                <a:cubicBezTo>
                  <a:pt x="1510" y="849"/>
                  <a:pt x="1513" y="849"/>
                  <a:pt x="1517" y="847"/>
                </a:cubicBezTo>
                <a:cubicBezTo>
                  <a:pt x="1519" y="845"/>
                  <a:pt x="1522" y="844"/>
                  <a:pt x="1524" y="843"/>
                </a:cubicBezTo>
                <a:cubicBezTo>
                  <a:pt x="1526" y="843"/>
                  <a:pt x="1527" y="842"/>
                  <a:pt x="1527" y="840"/>
                </a:cubicBezTo>
                <a:cubicBezTo>
                  <a:pt x="1527" y="837"/>
                  <a:pt x="1527" y="834"/>
                  <a:pt x="1527" y="830"/>
                </a:cubicBezTo>
                <a:cubicBezTo>
                  <a:pt x="1527" y="827"/>
                  <a:pt x="1527" y="825"/>
                  <a:pt x="1527" y="821"/>
                </a:cubicBezTo>
                <a:cubicBezTo>
                  <a:pt x="1528" y="824"/>
                  <a:pt x="1528" y="827"/>
                  <a:pt x="1529" y="829"/>
                </a:cubicBezTo>
                <a:cubicBezTo>
                  <a:pt x="1530" y="834"/>
                  <a:pt x="1530" y="838"/>
                  <a:pt x="1528" y="843"/>
                </a:cubicBezTo>
                <a:cubicBezTo>
                  <a:pt x="1528" y="844"/>
                  <a:pt x="1527" y="844"/>
                  <a:pt x="1527" y="844"/>
                </a:cubicBezTo>
                <a:cubicBezTo>
                  <a:pt x="1523" y="845"/>
                  <a:pt x="1520" y="847"/>
                  <a:pt x="1517" y="848"/>
                </a:cubicBezTo>
                <a:cubicBezTo>
                  <a:pt x="1512" y="851"/>
                  <a:pt x="1508" y="850"/>
                  <a:pt x="1505" y="846"/>
                </a:cubicBezTo>
                <a:cubicBezTo>
                  <a:pt x="1504" y="845"/>
                  <a:pt x="1504" y="844"/>
                  <a:pt x="1505" y="844"/>
                </a:cubicBezTo>
                <a:cubicBezTo>
                  <a:pt x="1506" y="841"/>
                  <a:pt x="1505" y="839"/>
                  <a:pt x="1503" y="837"/>
                </a:cubicBezTo>
                <a:cubicBezTo>
                  <a:pt x="1502" y="835"/>
                  <a:pt x="1500" y="833"/>
                  <a:pt x="1501" y="830"/>
                </a:cubicBezTo>
                <a:cubicBezTo>
                  <a:pt x="1502" y="828"/>
                  <a:pt x="1503" y="827"/>
                  <a:pt x="1504" y="825"/>
                </a:cubicBezTo>
                <a:cubicBezTo>
                  <a:pt x="1506" y="822"/>
                  <a:pt x="1508" y="820"/>
                  <a:pt x="1510" y="817"/>
                </a:cubicBezTo>
                <a:cubicBezTo>
                  <a:pt x="1510" y="817"/>
                  <a:pt x="1509" y="817"/>
                  <a:pt x="1509" y="817"/>
                </a:cubicBezTo>
                <a:cubicBezTo>
                  <a:pt x="1504" y="818"/>
                  <a:pt x="1499" y="820"/>
                  <a:pt x="1495" y="823"/>
                </a:cubicBezTo>
                <a:cubicBezTo>
                  <a:pt x="1491" y="827"/>
                  <a:pt x="1488" y="832"/>
                  <a:pt x="1488" y="839"/>
                </a:cubicBezTo>
                <a:cubicBezTo>
                  <a:pt x="1487" y="846"/>
                  <a:pt x="1489" y="852"/>
                  <a:pt x="1493" y="858"/>
                </a:cubicBezTo>
                <a:cubicBezTo>
                  <a:pt x="1493" y="859"/>
                  <a:pt x="1494" y="860"/>
                  <a:pt x="1494" y="861"/>
                </a:cubicBezTo>
                <a:cubicBezTo>
                  <a:pt x="1494" y="863"/>
                  <a:pt x="1493" y="865"/>
                  <a:pt x="1493" y="866"/>
                </a:cubicBezTo>
                <a:cubicBezTo>
                  <a:pt x="1492" y="868"/>
                  <a:pt x="1493" y="869"/>
                  <a:pt x="1494" y="869"/>
                </a:cubicBezTo>
                <a:cubicBezTo>
                  <a:pt x="1497" y="870"/>
                  <a:pt x="1500" y="870"/>
                  <a:pt x="1502" y="870"/>
                </a:cubicBezTo>
                <a:cubicBezTo>
                  <a:pt x="1503" y="870"/>
                  <a:pt x="1504" y="870"/>
                  <a:pt x="1504" y="869"/>
                </a:cubicBezTo>
                <a:cubicBezTo>
                  <a:pt x="1504" y="868"/>
                  <a:pt x="1504" y="867"/>
                  <a:pt x="1505" y="866"/>
                </a:cubicBezTo>
                <a:cubicBezTo>
                  <a:pt x="1507" y="863"/>
                  <a:pt x="1507" y="861"/>
                  <a:pt x="1507" y="858"/>
                </a:cubicBezTo>
                <a:cubicBezTo>
                  <a:pt x="1507" y="857"/>
                  <a:pt x="1507" y="857"/>
                  <a:pt x="1507" y="857"/>
                </a:cubicBezTo>
                <a:cubicBezTo>
                  <a:pt x="1507" y="856"/>
                  <a:pt x="1507" y="856"/>
                  <a:pt x="1507" y="856"/>
                </a:cubicBezTo>
                <a:cubicBezTo>
                  <a:pt x="1508" y="859"/>
                  <a:pt x="1509" y="859"/>
                  <a:pt x="1511" y="859"/>
                </a:cubicBezTo>
                <a:cubicBezTo>
                  <a:pt x="1512" y="859"/>
                  <a:pt x="1513" y="859"/>
                  <a:pt x="1514" y="859"/>
                </a:cubicBezTo>
                <a:cubicBezTo>
                  <a:pt x="1516" y="859"/>
                  <a:pt x="1519" y="859"/>
                  <a:pt x="1520" y="855"/>
                </a:cubicBezTo>
                <a:cubicBezTo>
                  <a:pt x="1520" y="857"/>
                  <a:pt x="1520" y="859"/>
                  <a:pt x="1520" y="860"/>
                </a:cubicBezTo>
                <a:cubicBezTo>
                  <a:pt x="1519" y="861"/>
                  <a:pt x="1517" y="861"/>
                  <a:pt x="1516" y="862"/>
                </a:cubicBezTo>
                <a:cubicBezTo>
                  <a:pt x="1515" y="863"/>
                  <a:pt x="1514" y="864"/>
                  <a:pt x="1515" y="865"/>
                </a:cubicBezTo>
                <a:cubicBezTo>
                  <a:pt x="1516" y="867"/>
                  <a:pt x="1517" y="869"/>
                  <a:pt x="1519" y="871"/>
                </a:cubicBezTo>
                <a:cubicBezTo>
                  <a:pt x="1520" y="872"/>
                  <a:pt x="1522" y="872"/>
                  <a:pt x="1524" y="870"/>
                </a:cubicBezTo>
                <a:cubicBezTo>
                  <a:pt x="1524" y="870"/>
                  <a:pt x="1525" y="869"/>
                  <a:pt x="1526" y="869"/>
                </a:cubicBezTo>
                <a:cubicBezTo>
                  <a:pt x="1528" y="867"/>
                  <a:pt x="1529" y="866"/>
                  <a:pt x="1531" y="865"/>
                </a:cubicBezTo>
                <a:cubicBezTo>
                  <a:pt x="1535" y="860"/>
                  <a:pt x="1537" y="854"/>
                  <a:pt x="1539" y="848"/>
                </a:cubicBezTo>
                <a:cubicBezTo>
                  <a:pt x="1539" y="848"/>
                  <a:pt x="1538" y="847"/>
                  <a:pt x="1537" y="847"/>
                </a:cubicBezTo>
                <a:cubicBezTo>
                  <a:pt x="1537" y="846"/>
                  <a:pt x="1535" y="845"/>
                  <a:pt x="1534" y="844"/>
                </a:cubicBezTo>
                <a:close/>
                <a:moveTo>
                  <a:pt x="1487" y="850"/>
                </a:moveTo>
                <a:cubicBezTo>
                  <a:pt x="1486" y="851"/>
                  <a:pt x="1485" y="852"/>
                  <a:pt x="1484" y="853"/>
                </a:cubicBezTo>
                <a:cubicBezTo>
                  <a:pt x="1483" y="853"/>
                  <a:pt x="1483" y="854"/>
                  <a:pt x="1483" y="855"/>
                </a:cubicBezTo>
                <a:cubicBezTo>
                  <a:pt x="1483" y="858"/>
                  <a:pt x="1487" y="862"/>
                  <a:pt x="1490" y="862"/>
                </a:cubicBezTo>
                <a:cubicBezTo>
                  <a:pt x="1492" y="862"/>
                  <a:pt x="1493" y="861"/>
                  <a:pt x="1492" y="859"/>
                </a:cubicBezTo>
                <a:cubicBezTo>
                  <a:pt x="1490" y="856"/>
                  <a:pt x="1489" y="853"/>
                  <a:pt x="1487" y="850"/>
                </a:cubicBezTo>
                <a:close/>
                <a:moveTo>
                  <a:pt x="1540" y="852"/>
                </a:moveTo>
                <a:cubicBezTo>
                  <a:pt x="1537" y="857"/>
                  <a:pt x="1535" y="861"/>
                  <a:pt x="1533" y="866"/>
                </a:cubicBezTo>
                <a:cubicBezTo>
                  <a:pt x="1535" y="866"/>
                  <a:pt x="1538" y="866"/>
                  <a:pt x="1540" y="866"/>
                </a:cubicBezTo>
                <a:cubicBezTo>
                  <a:pt x="1541" y="866"/>
                  <a:pt x="1541" y="865"/>
                  <a:pt x="1541" y="864"/>
                </a:cubicBezTo>
                <a:cubicBezTo>
                  <a:pt x="1541" y="861"/>
                  <a:pt x="1541" y="859"/>
                  <a:pt x="1541" y="857"/>
                </a:cubicBezTo>
                <a:cubicBezTo>
                  <a:pt x="1540" y="855"/>
                  <a:pt x="1540" y="854"/>
                  <a:pt x="1540" y="852"/>
                </a:cubicBezTo>
                <a:close/>
                <a:moveTo>
                  <a:pt x="1487" y="832"/>
                </a:moveTo>
                <a:cubicBezTo>
                  <a:pt x="1486" y="832"/>
                  <a:pt x="1486" y="833"/>
                  <a:pt x="1485" y="833"/>
                </a:cubicBezTo>
                <a:cubicBezTo>
                  <a:pt x="1484" y="833"/>
                  <a:pt x="1484" y="833"/>
                  <a:pt x="1484" y="832"/>
                </a:cubicBezTo>
                <a:cubicBezTo>
                  <a:pt x="1483" y="832"/>
                  <a:pt x="1483" y="831"/>
                  <a:pt x="1483" y="830"/>
                </a:cubicBezTo>
                <a:cubicBezTo>
                  <a:pt x="1484" y="829"/>
                  <a:pt x="1484" y="827"/>
                  <a:pt x="1485" y="825"/>
                </a:cubicBezTo>
                <a:cubicBezTo>
                  <a:pt x="1484" y="825"/>
                  <a:pt x="1484" y="825"/>
                  <a:pt x="1484" y="825"/>
                </a:cubicBezTo>
                <a:cubicBezTo>
                  <a:pt x="1483" y="825"/>
                  <a:pt x="1482" y="826"/>
                  <a:pt x="1481" y="827"/>
                </a:cubicBezTo>
                <a:cubicBezTo>
                  <a:pt x="1480" y="829"/>
                  <a:pt x="1482" y="834"/>
                  <a:pt x="1484" y="834"/>
                </a:cubicBezTo>
                <a:cubicBezTo>
                  <a:pt x="1485" y="835"/>
                  <a:pt x="1487" y="834"/>
                  <a:pt x="1487" y="832"/>
                </a:cubicBezTo>
                <a:close/>
                <a:moveTo>
                  <a:pt x="1487" y="850"/>
                </a:moveTo>
                <a:cubicBezTo>
                  <a:pt x="1486" y="851"/>
                  <a:pt x="1485" y="852"/>
                  <a:pt x="1483" y="853"/>
                </a:cubicBezTo>
                <a:cubicBezTo>
                  <a:pt x="1483" y="853"/>
                  <a:pt x="1483" y="854"/>
                  <a:pt x="1483" y="855"/>
                </a:cubicBezTo>
                <a:cubicBezTo>
                  <a:pt x="1483" y="858"/>
                  <a:pt x="1487" y="862"/>
                  <a:pt x="1490" y="862"/>
                </a:cubicBezTo>
                <a:cubicBezTo>
                  <a:pt x="1492" y="862"/>
                  <a:pt x="1493" y="860"/>
                  <a:pt x="1492" y="859"/>
                </a:cubicBezTo>
                <a:cubicBezTo>
                  <a:pt x="1490" y="856"/>
                  <a:pt x="1489" y="853"/>
                  <a:pt x="1487" y="850"/>
                </a:cubicBezTo>
                <a:close/>
                <a:moveTo>
                  <a:pt x="1540" y="852"/>
                </a:moveTo>
                <a:cubicBezTo>
                  <a:pt x="1537" y="857"/>
                  <a:pt x="1535" y="862"/>
                  <a:pt x="1532" y="866"/>
                </a:cubicBezTo>
                <a:cubicBezTo>
                  <a:pt x="1535" y="866"/>
                  <a:pt x="1538" y="866"/>
                  <a:pt x="1540" y="866"/>
                </a:cubicBezTo>
                <a:cubicBezTo>
                  <a:pt x="1541" y="866"/>
                  <a:pt x="1541" y="865"/>
                  <a:pt x="1541" y="864"/>
                </a:cubicBezTo>
                <a:cubicBezTo>
                  <a:pt x="1541" y="862"/>
                  <a:pt x="1541" y="859"/>
                  <a:pt x="1541" y="857"/>
                </a:cubicBezTo>
                <a:cubicBezTo>
                  <a:pt x="1540" y="855"/>
                  <a:pt x="1540" y="854"/>
                  <a:pt x="1540" y="852"/>
                </a:cubicBezTo>
                <a:close/>
                <a:moveTo>
                  <a:pt x="1487" y="832"/>
                </a:moveTo>
                <a:cubicBezTo>
                  <a:pt x="1486" y="832"/>
                  <a:pt x="1485" y="833"/>
                  <a:pt x="1485" y="833"/>
                </a:cubicBezTo>
                <a:cubicBezTo>
                  <a:pt x="1484" y="833"/>
                  <a:pt x="1484" y="833"/>
                  <a:pt x="1484" y="832"/>
                </a:cubicBezTo>
                <a:cubicBezTo>
                  <a:pt x="1483" y="832"/>
                  <a:pt x="1483" y="831"/>
                  <a:pt x="1483" y="830"/>
                </a:cubicBezTo>
                <a:cubicBezTo>
                  <a:pt x="1484" y="828"/>
                  <a:pt x="1484" y="826"/>
                  <a:pt x="1485" y="825"/>
                </a:cubicBezTo>
                <a:cubicBezTo>
                  <a:pt x="1484" y="825"/>
                  <a:pt x="1484" y="825"/>
                  <a:pt x="1484" y="825"/>
                </a:cubicBezTo>
                <a:cubicBezTo>
                  <a:pt x="1483" y="825"/>
                  <a:pt x="1482" y="826"/>
                  <a:pt x="1481" y="827"/>
                </a:cubicBezTo>
                <a:cubicBezTo>
                  <a:pt x="1481" y="828"/>
                  <a:pt x="1482" y="834"/>
                  <a:pt x="1484" y="834"/>
                </a:cubicBezTo>
                <a:cubicBezTo>
                  <a:pt x="1485" y="835"/>
                  <a:pt x="1487" y="834"/>
                  <a:pt x="1487" y="832"/>
                </a:cubicBezTo>
                <a:close/>
                <a:moveTo>
                  <a:pt x="1539" y="824"/>
                </a:moveTo>
                <a:cubicBezTo>
                  <a:pt x="1542" y="820"/>
                  <a:pt x="1542" y="820"/>
                  <a:pt x="1546" y="819"/>
                </a:cubicBezTo>
                <a:cubicBezTo>
                  <a:pt x="1546" y="821"/>
                  <a:pt x="1548" y="822"/>
                  <a:pt x="1549" y="822"/>
                </a:cubicBezTo>
                <a:cubicBezTo>
                  <a:pt x="1547" y="823"/>
                  <a:pt x="1545" y="825"/>
                  <a:pt x="1543" y="826"/>
                </a:cubicBezTo>
                <a:cubicBezTo>
                  <a:pt x="1542" y="825"/>
                  <a:pt x="1542" y="824"/>
                  <a:pt x="1541" y="823"/>
                </a:cubicBezTo>
                <a:cubicBezTo>
                  <a:pt x="1540" y="823"/>
                  <a:pt x="1540" y="823"/>
                  <a:pt x="1539" y="824"/>
                </a:cubicBezTo>
                <a:close/>
                <a:moveTo>
                  <a:pt x="1545" y="823"/>
                </a:moveTo>
                <a:cubicBezTo>
                  <a:pt x="1544" y="823"/>
                  <a:pt x="1544" y="822"/>
                  <a:pt x="1543" y="822"/>
                </a:cubicBezTo>
                <a:cubicBezTo>
                  <a:pt x="1543" y="822"/>
                  <a:pt x="1542" y="823"/>
                  <a:pt x="1542" y="824"/>
                </a:cubicBezTo>
                <a:cubicBezTo>
                  <a:pt x="1542" y="824"/>
                  <a:pt x="1542" y="824"/>
                  <a:pt x="1543" y="825"/>
                </a:cubicBezTo>
                <a:cubicBezTo>
                  <a:pt x="1544" y="824"/>
                  <a:pt x="1544" y="824"/>
                  <a:pt x="1545" y="823"/>
                </a:cubicBezTo>
                <a:close/>
                <a:moveTo>
                  <a:pt x="1526" y="814"/>
                </a:moveTo>
                <a:cubicBezTo>
                  <a:pt x="1520" y="813"/>
                  <a:pt x="1517" y="815"/>
                  <a:pt x="1516" y="823"/>
                </a:cubicBezTo>
                <a:cubicBezTo>
                  <a:pt x="1517" y="821"/>
                  <a:pt x="1518" y="819"/>
                  <a:pt x="1519" y="816"/>
                </a:cubicBezTo>
                <a:cubicBezTo>
                  <a:pt x="1520" y="816"/>
                  <a:pt x="1520" y="816"/>
                  <a:pt x="1520" y="816"/>
                </a:cubicBezTo>
                <a:cubicBezTo>
                  <a:pt x="1520" y="818"/>
                  <a:pt x="1520" y="818"/>
                  <a:pt x="1520" y="819"/>
                </a:cubicBezTo>
                <a:cubicBezTo>
                  <a:pt x="1521" y="816"/>
                  <a:pt x="1523" y="814"/>
                  <a:pt x="1526" y="814"/>
                </a:cubicBezTo>
                <a:close/>
                <a:moveTo>
                  <a:pt x="1570" y="815"/>
                </a:moveTo>
                <a:cubicBezTo>
                  <a:pt x="1568" y="817"/>
                  <a:pt x="1566" y="818"/>
                  <a:pt x="1565" y="819"/>
                </a:cubicBezTo>
                <a:cubicBezTo>
                  <a:pt x="1567" y="820"/>
                  <a:pt x="1569" y="818"/>
                  <a:pt x="1570" y="815"/>
                </a:cubicBezTo>
                <a:close/>
                <a:moveTo>
                  <a:pt x="1537" y="817"/>
                </a:moveTo>
                <a:cubicBezTo>
                  <a:pt x="1538" y="816"/>
                  <a:pt x="1539" y="815"/>
                  <a:pt x="1540" y="813"/>
                </a:cubicBezTo>
                <a:cubicBezTo>
                  <a:pt x="1537" y="815"/>
                  <a:pt x="1536" y="815"/>
                  <a:pt x="1537" y="817"/>
                </a:cubicBezTo>
                <a:close/>
                <a:moveTo>
                  <a:pt x="1546" y="839"/>
                </a:moveTo>
                <a:cubicBezTo>
                  <a:pt x="1545" y="839"/>
                  <a:pt x="1544" y="840"/>
                  <a:pt x="1544" y="841"/>
                </a:cubicBezTo>
                <a:cubicBezTo>
                  <a:pt x="1544" y="840"/>
                  <a:pt x="1546" y="840"/>
                  <a:pt x="1546" y="839"/>
                </a:cubicBezTo>
                <a:close/>
                <a:moveTo>
                  <a:pt x="1545" y="823"/>
                </a:moveTo>
                <a:cubicBezTo>
                  <a:pt x="1545" y="823"/>
                  <a:pt x="1544" y="823"/>
                  <a:pt x="1543" y="823"/>
                </a:cubicBezTo>
                <a:cubicBezTo>
                  <a:pt x="1543" y="823"/>
                  <a:pt x="1542" y="823"/>
                  <a:pt x="1542" y="824"/>
                </a:cubicBezTo>
                <a:cubicBezTo>
                  <a:pt x="1542" y="824"/>
                  <a:pt x="1543" y="825"/>
                  <a:pt x="1543" y="825"/>
                </a:cubicBezTo>
                <a:cubicBezTo>
                  <a:pt x="1544" y="825"/>
                  <a:pt x="1544" y="824"/>
                  <a:pt x="1545" y="823"/>
                </a:cubicBezTo>
                <a:close/>
                <a:moveTo>
                  <a:pt x="1093" y="705"/>
                </a:moveTo>
                <a:cubicBezTo>
                  <a:pt x="1093" y="705"/>
                  <a:pt x="1093" y="705"/>
                  <a:pt x="1093" y="705"/>
                </a:cubicBezTo>
                <a:cubicBezTo>
                  <a:pt x="1088" y="705"/>
                  <a:pt x="1088" y="705"/>
                  <a:pt x="1088" y="705"/>
                </a:cubicBezTo>
                <a:cubicBezTo>
                  <a:pt x="1086" y="706"/>
                  <a:pt x="1085" y="708"/>
                  <a:pt x="1082" y="709"/>
                </a:cubicBezTo>
                <a:cubicBezTo>
                  <a:pt x="1081" y="710"/>
                  <a:pt x="1079" y="711"/>
                  <a:pt x="1077" y="712"/>
                </a:cubicBezTo>
                <a:cubicBezTo>
                  <a:pt x="1076" y="713"/>
                  <a:pt x="1074" y="714"/>
                  <a:pt x="1072" y="714"/>
                </a:cubicBezTo>
                <a:cubicBezTo>
                  <a:pt x="1070" y="715"/>
                  <a:pt x="1069" y="716"/>
                  <a:pt x="1066" y="716"/>
                </a:cubicBezTo>
                <a:cubicBezTo>
                  <a:pt x="1066" y="716"/>
                  <a:pt x="1066" y="716"/>
                  <a:pt x="1066" y="726"/>
                </a:cubicBezTo>
                <a:cubicBezTo>
                  <a:pt x="1069" y="725"/>
                  <a:pt x="1072" y="725"/>
                  <a:pt x="1074" y="723"/>
                </a:cubicBezTo>
                <a:cubicBezTo>
                  <a:pt x="1077" y="722"/>
                  <a:pt x="1079" y="721"/>
                  <a:pt x="1082" y="720"/>
                </a:cubicBezTo>
                <a:cubicBezTo>
                  <a:pt x="1082" y="720"/>
                  <a:pt x="1082" y="720"/>
                  <a:pt x="1082" y="778"/>
                </a:cubicBezTo>
                <a:cubicBezTo>
                  <a:pt x="1082" y="778"/>
                  <a:pt x="1082" y="778"/>
                  <a:pt x="1093" y="778"/>
                </a:cubicBezTo>
                <a:cubicBezTo>
                  <a:pt x="1093" y="778"/>
                  <a:pt x="1093" y="778"/>
                  <a:pt x="1093" y="705"/>
                </a:cubicBezTo>
                <a:close/>
                <a:moveTo>
                  <a:pt x="1140" y="705"/>
                </a:moveTo>
                <a:cubicBezTo>
                  <a:pt x="1140" y="705"/>
                  <a:pt x="1140" y="705"/>
                  <a:pt x="1140" y="705"/>
                </a:cubicBezTo>
                <a:cubicBezTo>
                  <a:pt x="1135" y="705"/>
                  <a:pt x="1135" y="705"/>
                  <a:pt x="1135" y="705"/>
                </a:cubicBezTo>
                <a:cubicBezTo>
                  <a:pt x="1134" y="706"/>
                  <a:pt x="1131" y="708"/>
                  <a:pt x="1130" y="709"/>
                </a:cubicBezTo>
                <a:cubicBezTo>
                  <a:pt x="1128" y="710"/>
                  <a:pt x="1126" y="711"/>
                  <a:pt x="1124" y="712"/>
                </a:cubicBezTo>
                <a:cubicBezTo>
                  <a:pt x="1123" y="713"/>
                  <a:pt x="1120" y="714"/>
                  <a:pt x="1119" y="714"/>
                </a:cubicBezTo>
                <a:cubicBezTo>
                  <a:pt x="1117" y="715"/>
                  <a:pt x="1115" y="716"/>
                  <a:pt x="1113" y="716"/>
                </a:cubicBezTo>
                <a:cubicBezTo>
                  <a:pt x="1113" y="716"/>
                  <a:pt x="1113" y="716"/>
                  <a:pt x="1113" y="726"/>
                </a:cubicBezTo>
                <a:cubicBezTo>
                  <a:pt x="1116" y="725"/>
                  <a:pt x="1119" y="725"/>
                  <a:pt x="1122" y="723"/>
                </a:cubicBezTo>
                <a:cubicBezTo>
                  <a:pt x="1124" y="722"/>
                  <a:pt x="1126" y="721"/>
                  <a:pt x="1129" y="720"/>
                </a:cubicBezTo>
                <a:cubicBezTo>
                  <a:pt x="1129" y="720"/>
                  <a:pt x="1129" y="720"/>
                  <a:pt x="1129" y="778"/>
                </a:cubicBezTo>
                <a:cubicBezTo>
                  <a:pt x="1129" y="778"/>
                  <a:pt x="1129" y="778"/>
                  <a:pt x="1140" y="778"/>
                </a:cubicBezTo>
                <a:cubicBezTo>
                  <a:pt x="1140" y="778"/>
                  <a:pt x="1140" y="778"/>
                  <a:pt x="1140" y="705"/>
                </a:cubicBezTo>
                <a:close/>
                <a:moveTo>
                  <a:pt x="1186" y="705"/>
                </a:moveTo>
                <a:cubicBezTo>
                  <a:pt x="1186" y="705"/>
                  <a:pt x="1186" y="705"/>
                  <a:pt x="1186" y="705"/>
                </a:cubicBezTo>
                <a:cubicBezTo>
                  <a:pt x="1182" y="705"/>
                  <a:pt x="1182" y="705"/>
                  <a:pt x="1182" y="705"/>
                </a:cubicBezTo>
                <a:cubicBezTo>
                  <a:pt x="1179" y="706"/>
                  <a:pt x="1178" y="708"/>
                  <a:pt x="1176" y="709"/>
                </a:cubicBezTo>
                <a:cubicBezTo>
                  <a:pt x="1174" y="710"/>
                  <a:pt x="1172" y="711"/>
                  <a:pt x="1171" y="712"/>
                </a:cubicBezTo>
                <a:cubicBezTo>
                  <a:pt x="1169" y="712"/>
                  <a:pt x="1167" y="713"/>
                  <a:pt x="1165" y="714"/>
                </a:cubicBezTo>
                <a:cubicBezTo>
                  <a:pt x="1164" y="714"/>
                  <a:pt x="1161" y="715"/>
                  <a:pt x="1160" y="716"/>
                </a:cubicBezTo>
                <a:cubicBezTo>
                  <a:pt x="1160" y="716"/>
                  <a:pt x="1160" y="716"/>
                  <a:pt x="1160" y="726"/>
                </a:cubicBezTo>
                <a:cubicBezTo>
                  <a:pt x="1163" y="725"/>
                  <a:pt x="1166" y="724"/>
                  <a:pt x="1168" y="723"/>
                </a:cubicBezTo>
                <a:cubicBezTo>
                  <a:pt x="1170" y="722"/>
                  <a:pt x="1173" y="721"/>
                  <a:pt x="1174" y="720"/>
                </a:cubicBezTo>
                <a:cubicBezTo>
                  <a:pt x="1174" y="720"/>
                  <a:pt x="1174" y="720"/>
                  <a:pt x="1174" y="778"/>
                </a:cubicBezTo>
                <a:cubicBezTo>
                  <a:pt x="1174" y="778"/>
                  <a:pt x="1174" y="778"/>
                  <a:pt x="1186" y="778"/>
                </a:cubicBezTo>
                <a:cubicBezTo>
                  <a:pt x="1186" y="778"/>
                  <a:pt x="1186" y="778"/>
                  <a:pt x="1186" y="705"/>
                </a:cubicBezTo>
                <a:close/>
                <a:moveTo>
                  <a:pt x="1323" y="737"/>
                </a:moveTo>
                <a:cubicBezTo>
                  <a:pt x="1323" y="737"/>
                  <a:pt x="1323" y="737"/>
                  <a:pt x="1323" y="737"/>
                </a:cubicBezTo>
                <a:cubicBezTo>
                  <a:pt x="1322" y="746"/>
                  <a:pt x="1322" y="746"/>
                  <a:pt x="1322" y="746"/>
                </a:cubicBezTo>
                <a:cubicBezTo>
                  <a:pt x="1329" y="746"/>
                  <a:pt x="1329" y="749"/>
                  <a:pt x="1329" y="752"/>
                </a:cubicBezTo>
                <a:cubicBezTo>
                  <a:pt x="1329" y="754"/>
                  <a:pt x="1329" y="756"/>
                  <a:pt x="1329" y="759"/>
                </a:cubicBezTo>
                <a:cubicBezTo>
                  <a:pt x="1329" y="761"/>
                  <a:pt x="1328" y="763"/>
                  <a:pt x="1328" y="766"/>
                </a:cubicBezTo>
                <a:cubicBezTo>
                  <a:pt x="1328" y="775"/>
                  <a:pt x="1334" y="778"/>
                  <a:pt x="1343" y="778"/>
                </a:cubicBezTo>
                <a:cubicBezTo>
                  <a:pt x="1343" y="778"/>
                  <a:pt x="1343" y="778"/>
                  <a:pt x="1347" y="778"/>
                </a:cubicBezTo>
                <a:cubicBezTo>
                  <a:pt x="1347" y="778"/>
                  <a:pt x="1347" y="778"/>
                  <a:pt x="1347" y="769"/>
                </a:cubicBezTo>
                <a:cubicBezTo>
                  <a:pt x="1347" y="769"/>
                  <a:pt x="1347" y="769"/>
                  <a:pt x="1345" y="769"/>
                </a:cubicBezTo>
                <a:cubicBezTo>
                  <a:pt x="1341" y="769"/>
                  <a:pt x="1340" y="767"/>
                  <a:pt x="1340" y="763"/>
                </a:cubicBezTo>
                <a:cubicBezTo>
                  <a:pt x="1340" y="762"/>
                  <a:pt x="1340" y="760"/>
                  <a:pt x="1341" y="759"/>
                </a:cubicBezTo>
                <a:cubicBezTo>
                  <a:pt x="1341" y="757"/>
                  <a:pt x="1341" y="755"/>
                  <a:pt x="1341" y="753"/>
                </a:cubicBezTo>
                <a:cubicBezTo>
                  <a:pt x="1341" y="745"/>
                  <a:pt x="1338" y="743"/>
                  <a:pt x="1332" y="741"/>
                </a:cubicBezTo>
                <a:cubicBezTo>
                  <a:pt x="1332" y="741"/>
                  <a:pt x="1332" y="741"/>
                  <a:pt x="1332" y="741"/>
                </a:cubicBezTo>
                <a:cubicBezTo>
                  <a:pt x="1338" y="740"/>
                  <a:pt x="1341" y="738"/>
                  <a:pt x="1341" y="730"/>
                </a:cubicBezTo>
                <a:cubicBezTo>
                  <a:pt x="1341" y="728"/>
                  <a:pt x="1341" y="726"/>
                  <a:pt x="1341" y="724"/>
                </a:cubicBezTo>
                <a:cubicBezTo>
                  <a:pt x="1340" y="722"/>
                  <a:pt x="1340" y="720"/>
                  <a:pt x="1340" y="719"/>
                </a:cubicBezTo>
                <a:cubicBezTo>
                  <a:pt x="1340" y="716"/>
                  <a:pt x="1341" y="713"/>
                  <a:pt x="1345" y="713"/>
                </a:cubicBezTo>
                <a:cubicBezTo>
                  <a:pt x="1345" y="713"/>
                  <a:pt x="1345" y="713"/>
                  <a:pt x="1347" y="713"/>
                </a:cubicBezTo>
                <a:cubicBezTo>
                  <a:pt x="1347" y="713"/>
                  <a:pt x="1347" y="713"/>
                  <a:pt x="1347" y="704"/>
                </a:cubicBezTo>
                <a:cubicBezTo>
                  <a:pt x="1347" y="704"/>
                  <a:pt x="1347" y="704"/>
                  <a:pt x="1343" y="704"/>
                </a:cubicBezTo>
                <a:cubicBezTo>
                  <a:pt x="1334" y="704"/>
                  <a:pt x="1328" y="708"/>
                  <a:pt x="1328" y="717"/>
                </a:cubicBezTo>
                <a:cubicBezTo>
                  <a:pt x="1328" y="719"/>
                  <a:pt x="1329" y="722"/>
                  <a:pt x="1329" y="724"/>
                </a:cubicBezTo>
                <a:cubicBezTo>
                  <a:pt x="1329" y="726"/>
                  <a:pt x="1329" y="729"/>
                  <a:pt x="1329" y="731"/>
                </a:cubicBezTo>
                <a:cubicBezTo>
                  <a:pt x="1329" y="734"/>
                  <a:pt x="1329" y="737"/>
                  <a:pt x="1323" y="737"/>
                </a:cubicBezTo>
                <a:close/>
                <a:moveTo>
                  <a:pt x="1377" y="746"/>
                </a:moveTo>
                <a:cubicBezTo>
                  <a:pt x="1377" y="746"/>
                  <a:pt x="1377" y="746"/>
                  <a:pt x="1377" y="746"/>
                </a:cubicBezTo>
                <a:cubicBezTo>
                  <a:pt x="1377" y="737"/>
                  <a:pt x="1377" y="737"/>
                  <a:pt x="1377" y="737"/>
                </a:cubicBezTo>
                <a:cubicBezTo>
                  <a:pt x="1371" y="737"/>
                  <a:pt x="1371" y="734"/>
                  <a:pt x="1371" y="731"/>
                </a:cubicBezTo>
                <a:cubicBezTo>
                  <a:pt x="1371" y="729"/>
                  <a:pt x="1371" y="726"/>
                  <a:pt x="1371" y="724"/>
                </a:cubicBezTo>
                <a:cubicBezTo>
                  <a:pt x="1372" y="722"/>
                  <a:pt x="1372" y="719"/>
                  <a:pt x="1372" y="717"/>
                </a:cubicBezTo>
                <a:cubicBezTo>
                  <a:pt x="1372" y="708"/>
                  <a:pt x="1366" y="704"/>
                  <a:pt x="1357" y="704"/>
                </a:cubicBezTo>
                <a:cubicBezTo>
                  <a:pt x="1357" y="704"/>
                  <a:pt x="1357" y="704"/>
                  <a:pt x="1353" y="704"/>
                </a:cubicBezTo>
                <a:cubicBezTo>
                  <a:pt x="1353" y="704"/>
                  <a:pt x="1353" y="704"/>
                  <a:pt x="1353" y="713"/>
                </a:cubicBezTo>
                <a:cubicBezTo>
                  <a:pt x="1353" y="713"/>
                  <a:pt x="1353" y="713"/>
                  <a:pt x="1355" y="713"/>
                </a:cubicBezTo>
                <a:cubicBezTo>
                  <a:pt x="1359" y="713"/>
                  <a:pt x="1360" y="716"/>
                  <a:pt x="1360" y="719"/>
                </a:cubicBezTo>
                <a:cubicBezTo>
                  <a:pt x="1360" y="720"/>
                  <a:pt x="1360" y="722"/>
                  <a:pt x="1360" y="724"/>
                </a:cubicBezTo>
                <a:cubicBezTo>
                  <a:pt x="1359" y="726"/>
                  <a:pt x="1359" y="728"/>
                  <a:pt x="1359" y="730"/>
                </a:cubicBezTo>
                <a:cubicBezTo>
                  <a:pt x="1359" y="738"/>
                  <a:pt x="1362" y="740"/>
                  <a:pt x="1368" y="741"/>
                </a:cubicBezTo>
                <a:cubicBezTo>
                  <a:pt x="1368" y="741"/>
                  <a:pt x="1368" y="741"/>
                  <a:pt x="1368" y="741"/>
                </a:cubicBezTo>
                <a:cubicBezTo>
                  <a:pt x="1362" y="743"/>
                  <a:pt x="1359" y="745"/>
                  <a:pt x="1359" y="753"/>
                </a:cubicBezTo>
                <a:cubicBezTo>
                  <a:pt x="1359" y="755"/>
                  <a:pt x="1359" y="757"/>
                  <a:pt x="1360" y="759"/>
                </a:cubicBezTo>
                <a:cubicBezTo>
                  <a:pt x="1360" y="760"/>
                  <a:pt x="1360" y="762"/>
                  <a:pt x="1360" y="763"/>
                </a:cubicBezTo>
                <a:cubicBezTo>
                  <a:pt x="1360" y="767"/>
                  <a:pt x="1359" y="769"/>
                  <a:pt x="1355" y="769"/>
                </a:cubicBezTo>
                <a:cubicBezTo>
                  <a:pt x="1355" y="769"/>
                  <a:pt x="1355" y="769"/>
                  <a:pt x="1353" y="769"/>
                </a:cubicBezTo>
                <a:cubicBezTo>
                  <a:pt x="1353" y="769"/>
                  <a:pt x="1353" y="769"/>
                  <a:pt x="1353" y="778"/>
                </a:cubicBezTo>
                <a:cubicBezTo>
                  <a:pt x="1353" y="778"/>
                  <a:pt x="1353" y="778"/>
                  <a:pt x="1357" y="778"/>
                </a:cubicBezTo>
                <a:cubicBezTo>
                  <a:pt x="1366" y="778"/>
                  <a:pt x="1372" y="775"/>
                  <a:pt x="1372" y="766"/>
                </a:cubicBezTo>
                <a:cubicBezTo>
                  <a:pt x="1372" y="763"/>
                  <a:pt x="1372" y="761"/>
                  <a:pt x="1371" y="759"/>
                </a:cubicBezTo>
                <a:cubicBezTo>
                  <a:pt x="1371" y="756"/>
                  <a:pt x="1371" y="754"/>
                  <a:pt x="1371" y="752"/>
                </a:cubicBezTo>
                <a:cubicBezTo>
                  <a:pt x="1371" y="749"/>
                  <a:pt x="1371" y="746"/>
                  <a:pt x="1377" y="746"/>
                </a:cubicBezTo>
                <a:close/>
                <a:moveTo>
                  <a:pt x="1424" y="705"/>
                </a:moveTo>
                <a:cubicBezTo>
                  <a:pt x="1424" y="705"/>
                  <a:pt x="1424" y="705"/>
                  <a:pt x="1424" y="705"/>
                </a:cubicBezTo>
                <a:cubicBezTo>
                  <a:pt x="1419" y="705"/>
                  <a:pt x="1419" y="705"/>
                  <a:pt x="1419" y="705"/>
                </a:cubicBezTo>
                <a:cubicBezTo>
                  <a:pt x="1417" y="706"/>
                  <a:pt x="1416" y="708"/>
                  <a:pt x="1413" y="709"/>
                </a:cubicBezTo>
                <a:cubicBezTo>
                  <a:pt x="1412" y="710"/>
                  <a:pt x="1410" y="711"/>
                  <a:pt x="1408" y="712"/>
                </a:cubicBezTo>
                <a:cubicBezTo>
                  <a:pt x="1406" y="712"/>
                  <a:pt x="1405" y="713"/>
                  <a:pt x="1403" y="714"/>
                </a:cubicBezTo>
                <a:cubicBezTo>
                  <a:pt x="1401" y="714"/>
                  <a:pt x="1399" y="715"/>
                  <a:pt x="1397" y="716"/>
                </a:cubicBezTo>
                <a:cubicBezTo>
                  <a:pt x="1397" y="716"/>
                  <a:pt x="1397" y="716"/>
                  <a:pt x="1397" y="726"/>
                </a:cubicBezTo>
                <a:cubicBezTo>
                  <a:pt x="1400" y="725"/>
                  <a:pt x="1403" y="724"/>
                  <a:pt x="1405" y="723"/>
                </a:cubicBezTo>
                <a:cubicBezTo>
                  <a:pt x="1408" y="722"/>
                  <a:pt x="1410" y="721"/>
                  <a:pt x="1413" y="720"/>
                </a:cubicBezTo>
                <a:cubicBezTo>
                  <a:pt x="1413" y="720"/>
                  <a:pt x="1413" y="720"/>
                  <a:pt x="1413" y="778"/>
                </a:cubicBezTo>
                <a:cubicBezTo>
                  <a:pt x="1413" y="778"/>
                  <a:pt x="1413" y="778"/>
                  <a:pt x="1424" y="778"/>
                </a:cubicBezTo>
                <a:cubicBezTo>
                  <a:pt x="1424" y="778"/>
                  <a:pt x="1424" y="778"/>
                  <a:pt x="1424" y="705"/>
                </a:cubicBezTo>
                <a:close/>
                <a:moveTo>
                  <a:pt x="1471" y="705"/>
                </a:moveTo>
                <a:cubicBezTo>
                  <a:pt x="1471" y="705"/>
                  <a:pt x="1471" y="705"/>
                  <a:pt x="1471" y="705"/>
                </a:cubicBezTo>
                <a:cubicBezTo>
                  <a:pt x="1466" y="705"/>
                  <a:pt x="1466" y="705"/>
                  <a:pt x="1466" y="705"/>
                </a:cubicBezTo>
                <a:cubicBezTo>
                  <a:pt x="1463" y="706"/>
                  <a:pt x="1462" y="708"/>
                  <a:pt x="1460" y="709"/>
                </a:cubicBezTo>
                <a:cubicBezTo>
                  <a:pt x="1458" y="710"/>
                  <a:pt x="1456" y="711"/>
                  <a:pt x="1455" y="712"/>
                </a:cubicBezTo>
                <a:cubicBezTo>
                  <a:pt x="1453" y="713"/>
                  <a:pt x="1451" y="714"/>
                  <a:pt x="1450" y="714"/>
                </a:cubicBezTo>
                <a:cubicBezTo>
                  <a:pt x="1448" y="715"/>
                  <a:pt x="1446" y="716"/>
                  <a:pt x="1444" y="716"/>
                </a:cubicBezTo>
                <a:cubicBezTo>
                  <a:pt x="1444" y="716"/>
                  <a:pt x="1444" y="716"/>
                  <a:pt x="1444" y="726"/>
                </a:cubicBezTo>
                <a:cubicBezTo>
                  <a:pt x="1447" y="725"/>
                  <a:pt x="1450" y="725"/>
                  <a:pt x="1452" y="723"/>
                </a:cubicBezTo>
                <a:cubicBezTo>
                  <a:pt x="1455" y="722"/>
                  <a:pt x="1457" y="721"/>
                  <a:pt x="1459" y="720"/>
                </a:cubicBezTo>
                <a:cubicBezTo>
                  <a:pt x="1459" y="720"/>
                  <a:pt x="1459" y="720"/>
                  <a:pt x="1459" y="778"/>
                </a:cubicBezTo>
                <a:cubicBezTo>
                  <a:pt x="1459" y="778"/>
                  <a:pt x="1459" y="778"/>
                  <a:pt x="1471" y="778"/>
                </a:cubicBezTo>
                <a:cubicBezTo>
                  <a:pt x="1471" y="778"/>
                  <a:pt x="1471" y="778"/>
                  <a:pt x="1471" y="705"/>
                </a:cubicBezTo>
                <a:close/>
                <a:moveTo>
                  <a:pt x="1517" y="705"/>
                </a:moveTo>
                <a:cubicBezTo>
                  <a:pt x="1517" y="705"/>
                  <a:pt x="1517" y="705"/>
                  <a:pt x="1517" y="705"/>
                </a:cubicBezTo>
                <a:cubicBezTo>
                  <a:pt x="1512" y="705"/>
                  <a:pt x="1512" y="705"/>
                  <a:pt x="1512" y="705"/>
                </a:cubicBezTo>
                <a:cubicBezTo>
                  <a:pt x="1510" y="706"/>
                  <a:pt x="1509" y="708"/>
                  <a:pt x="1507" y="709"/>
                </a:cubicBezTo>
                <a:cubicBezTo>
                  <a:pt x="1505" y="710"/>
                  <a:pt x="1503" y="711"/>
                  <a:pt x="1502" y="712"/>
                </a:cubicBezTo>
                <a:cubicBezTo>
                  <a:pt x="1499" y="713"/>
                  <a:pt x="1498" y="714"/>
                  <a:pt x="1496" y="714"/>
                </a:cubicBezTo>
                <a:cubicBezTo>
                  <a:pt x="1494" y="715"/>
                  <a:pt x="1492" y="716"/>
                  <a:pt x="1491" y="716"/>
                </a:cubicBezTo>
                <a:cubicBezTo>
                  <a:pt x="1491" y="716"/>
                  <a:pt x="1491" y="716"/>
                  <a:pt x="1491" y="726"/>
                </a:cubicBezTo>
                <a:cubicBezTo>
                  <a:pt x="1494" y="725"/>
                  <a:pt x="1496" y="725"/>
                  <a:pt x="1499" y="723"/>
                </a:cubicBezTo>
                <a:cubicBezTo>
                  <a:pt x="1501" y="722"/>
                  <a:pt x="1504" y="721"/>
                  <a:pt x="1505" y="720"/>
                </a:cubicBezTo>
                <a:cubicBezTo>
                  <a:pt x="1505" y="720"/>
                  <a:pt x="1505" y="720"/>
                  <a:pt x="1505" y="778"/>
                </a:cubicBezTo>
                <a:cubicBezTo>
                  <a:pt x="1505" y="778"/>
                  <a:pt x="1505" y="778"/>
                  <a:pt x="1517" y="778"/>
                </a:cubicBezTo>
                <a:cubicBezTo>
                  <a:pt x="1517" y="778"/>
                  <a:pt x="1517" y="778"/>
                  <a:pt x="1517" y="705"/>
                </a:cubicBezTo>
                <a:close/>
                <a:moveTo>
                  <a:pt x="1266" y="752"/>
                </a:moveTo>
                <a:cubicBezTo>
                  <a:pt x="1266" y="754"/>
                  <a:pt x="1267" y="755"/>
                  <a:pt x="1268" y="757"/>
                </a:cubicBezTo>
                <a:cubicBezTo>
                  <a:pt x="1268" y="758"/>
                  <a:pt x="1268" y="760"/>
                  <a:pt x="1269" y="762"/>
                </a:cubicBezTo>
                <a:cubicBezTo>
                  <a:pt x="1269" y="763"/>
                  <a:pt x="1269" y="765"/>
                  <a:pt x="1269" y="767"/>
                </a:cubicBezTo>
                <a:cubicBezTo>
                  <a:pt x="1270" y="770"/>
                  <a:pt x="1269" y="771"/>
                  <a:pt x="1266" y="771"/>
                </a:cubicBezTo>
                <a:cubicBezTo>
                  <a:pt x="1263" y="771"/>
                  <a:pt x="1260" y="771"/>
                  <a:pt x="1257" y="771"/>
                </a:cubicBezTo>
                <a:cubicBezTo>
                  <a:pt x="1257" y="771"/>
                  <a:pt x="1256" y="771"/>
                  <a:pt x="1256" y="771"/>
                </a:cubicBezTo>
                <a:cubicBezTo>
                  <a:pt x="1254" y="773"/>
                  <a:pt x="1253" y="774"/>
                  <a:pt x="1252" y="776"/>
                </a:cubicBezTo>
                <a:cubicBezTo>
                  <a:pt x="1250" y="778"/>
                  <a:pt x="1246" y="778"/>
                  <a:pt x="1244" y="776"/>
                </a:cubicBezTo>
                <a:cubicBezTo>
                  <a:pt x="1242" y="774"/>
                  <a:pt x="1241" y="772"/>
                  <a:pt x="1239" y="769"/>
                </a:cubicBezTo>
                <a:cubicBezTo>
                  <a:pt x="1239" y="767"/>
                  <a:pt x="1239" y="766"/>
                  <a:pt x="1241" y="764"/>
                </a:cubicBezTo>
                <a:cubicBezTo>
                  <a:pt x="1239" y="764"/>
                  <a:pt x="1237" y="764"/>
                  <a:pt x="1236" y="764"/>
                </a:cubicBezTo>
                <a:cubicBezTo>
                  <a:pt x="1235" y="766"/>
                  <a:pt x="1234" y="768"/>
                  <a:pt x="1233" y="770"/>
                </a:cubicBezTo>
                <a:cubicBezTo>
                  <a:pt x="1233" y="771"/>
                  <a:pt x="1232" y="772"/>
                  <a:pt x="1232" y="773"/>
                </a:cubicBezTo>
                <a:cubicBezTo>
                  <a:pt x="1232" y="776"/>
                  <a:pt x="1231" y="777"/>
                  <a:pt x="1228" y="776"/>
                </a:cubicBezTo>
                <a:cubicBezTo>
                  <a:pt x="1225" y="776"/>
                  <a:pt x="1222" y="775"/>
                  <a:pt x="1219" y="774"/>
                </a:cubicBezTo>
                <a:cubicBezTo>
                  <a:pt x="1217" y="774"/>
                  <a:pt x="1217" y="772"/>
                  <a:pt x="1217" y="770"/>
                </a:cubicBezTo>
                <a:cubicBezTo>
                  <a:pt x="1217" y="769"/>
                  <a:pt x="1217" y="769"/>
                  <a:pt x="1218" y="769"/>
                </a:cubicBezTo>
                <a:cubicBezTo>
                  <a:pt x="1216" y="767"/>
                  <a:pt x="1213" y="767"/>
                  <a:pt x="1211" y="765"/>
                </a:cubicBezTo>
                <a:cubicBezTo>
                  <a:pt x="1210" y="764"/>
                  <a:pt x="1209" y="762"/>
                  <a:pt x="1208" y="761"/>
                </a:cubicBezTo>
                <a:cubicBezTo>
                  <a:pt x="1207" y="759"/>
                  <a:pt x="1207" y="757"/>
                  <a:pt x="1209" y="755"/>
                </a:cubicBezTo>
                <a:cubicBezTo>
                  <a:pt x="1212" y="753"/>
                  <a:pt x="1213" y="750"/>
                  <a:pt x="1212" y="746"/>
                </a:cubicBezTo>
                <a:cubicBezTo>
                  <a:pt x="1212" y="744"/>
                  <a:pt x="1212" y="742"/>
                  <a:pt x="1212" y="740"/>
                </a:cubicBezTo>
                <a:cubicBezTo>
                  <a:pt x="1211" y="740"/>
                  <a:pt x="1209" y="739"/>
                  <a:pt x="1208" y="738"/>
                </a:cubicBezTo>
                <a:cubicBezTo>
                  <a:pt x="1207" y="736"/>
                  <a:pt x="1206" y="734"/>
                  <a:pt x="1206" y="733"/>
                </a:cubicBezTo>
                <a:cubicBezTo>
                  <a:pt x="1206" y="730"/>
                  <a:pt x="1210" y="727"/>
                  <a:pt x="1212" y="726"/>
                </a:cubicBezTo>
                <a:cubicBezTo>
                  <a:pt x="1213" y="727"/>
                  <a:pt x="1213" y="728"/>
                  <a:pt x="1213" y="729"/>
                </a:cubicBezTo>
                <a:cubicBezTo>
                  <a:pt x="1213" y="730"/>
                  <a:pt x="1213" y="731"/>
                  <a:pt x="1214" y="732"/>
                </a:cubicBezTo>
                <a:cubicBezTo>
                  <a:pt x="1213" y="731"/>
                  <a:pt x="1212" y="731"/>
                  <a:pt x="1212" y="731"/>
                </a:cubicBezTo>
                <a:cubicBezTo>
                  <a:pt x="1212" y="733"/>
                  <a:pt x="1211" y="734"/>
                  <a:pt x="1210" y="736"/>
                </a:cubicBezTo>
                <a:cubicBezTo>
                  <a:pt x="1212" y="735"/>
                  <a:pt x="1212" y="735"/>
                  <a:pt x="1213" y="735"/>
                </a:cubicBezTo>
                <a:cubicBezTo>
                  <a:pt x="1214" y="734"/>
                  <a:pt x="1215" y="733"/>
                  <a:pt x="1216" y="732"/>
                </a:cubicBezTo>
                <a:cubicBezTo>
                  <a:pt x="1220" y="725"/>
                  <a:pt x="1226" y="721"/>
                  <a:pt x="1234" y="719"/>
                </a:cubicBezTo>
                <a:cubicBezTo>
                  <a:pt x="1237" y="719"/>
                  <a:pt x="1240" y="718"/>
                  <a:pt x="1242" y="715"/>
                </a:cubicBezTo>
                <a:cubicBezTo>
                  <a:pt x="1242" y="715"/>
                  <a:pt x="1243" y="714"/>
                  <a:pt x="1243" y="714"/>
                </a:cubicBezTo>
                <a:cubicBezTo>
                  <a:pt x="1246" y="714"/>
                  <a:pt x="1248" y="712"/>
                  <a:pt x="1250" y="710"/>
                </a:cubicBezTo>
                <a:cubicBezTo>
                  <a:pt x="1257" y="702"/>
                  <a:pt x="1269" y="702"/>
                  <a:pt x="1277" y="708"/>
                </a:cubicBezTo>
                <a:cubicBezTo>
                  <a:pt x="1279" y="710"/>
                  <a:pt x="1282" y="712"/>
                  <a:pt x="1284" y="714"/>
                </a:cubicBezTo>
                <a:cubicBezTo>
                  <a:pt x="1286" y="715"/>
                  <a:pt x="1287" y="717"/>
                  <a:pt x="1288" y="719"/>
                </a:cubicBezTo>
                <a:cubicBezTo>
                  <a:pt x="1289" y="721"/>
                  <a:pt x="1290" y="721"/>
                  <a:pt x="1291" y="719"/>
                </a:cubicBezTo>
                <a:cubicBezTo>
                  <a:pt x="1292" y="719"/>
                  <a:pt x="1292" y="718"/>
                  <a:pt x="1293" y="717"/>
                </a:cubicBezTo>
                <a:cubicBezTo>
                  <a:pt x="1295" y="715"/>
                  <a:pt x="1298" y="715"/>
                  <a:pt x="1299" y="718"/>
                </a:cubicBezTo>
                <a:cubicBezTo>
                  <a:pt x="1301" y="721"/>
                  <a:pt x="1301" y="724"/>
                  <a:pt x="1302" y="727"/>
                </a:cubicBezTo>
                <a:cubicBezTo>
                  <a:pt x="1303" y="731"/>
                  <a:pt x="1302" y="736"/>
                  <a:pt x="1301" y="740"/>
                </a:cubicBezTo>
                <a:cubicBezTo>
                  <a:pt x="1298" y="746"/>
                  <a:pt x="1294" y="750"/>
                  <a:pt x="1287" y="750"/>
                </a:cubicBezTo>
                <a:cubicBezTo>
                  <a:pt x="1286" y="750"/>
                  <a:pt x="1286" y="750"/>
                  <a:pt x="1285" y="750"/>
                </a:cubicBezTo>
                <a:cubicBezTo>
                  <a:pt x="1283" y="750"/>
                  <a:pt x="1281" y="750"/>
                  <a:pt x="1281" y="752"/>
                </a:cubicBezTo>
                <a:cubicBezTo>
                  <a:pt x="1279" y="757"/>
                  <a:pt x="1274" y="758"/>
                  <a:pt x="1270" y="755"/>
                </a:cubicBezTo>
                <a:cubicBezTo>
                  <a:pt x="1269" y="754"/>
                  <a:pt x="1268" y="753"/>
                  <a:pt x="1267" y="752"/>
                </a:cubicBezTo>
                <a:cubicBezTo>
                  <a:pt x="1266" y="752"/>
                  <a:pt x="1266" y="752"/>
                  <a:pt x="1266" y="752"/>
                </a:cubicBezTo>
                <a:close/>
                <a:moveTo>
                  <a:pt x="1261" y="748"/>
                </a:moveTo>
                <a:cubicBezTo>
                  <a:pt x="1264" y="750"/>
                  <a:pt x="1268" y="751"/>
                  <a:pt x="1270" y="754"/>
                </a:cubicBezTo>
                <a:cubicBezTo>
                  <a:pt x="1272" y="755"/>
                  <a:pt x="1274" y="756"/>
                  <a:pt x="1276" y="755"/>
                </a:cubicBezTo>
                <a:cubicBezTo>
                  <a:pt x="1279" y="754"/>
                  <a:pt x="1280" y="752"/>
                  <a:pt x="1280" y="749"/>
                </a:cubicBezTo>
                <a:cubicBezTo>
                  <a:pt x="1280" y="750"/>
                  <a:pt x="1279" y="750"/>
                  <a:pt x="1279" y="750"/>
                </a:cubicBezTo>
                <a:cubicBezTo>
                  <a:pt x="1279" y="752"/>
                  <a:pt x="1277" y="752"/>
                  <a:pt x="1277" y="754"/>
                </a:cubicBezTo>
                <a:cubicBezTo>
                  <a:pt x="1276" y="755"/>
                  <a:pt x="1274" y="754"/>
                  <a:pt x="1274" y="754"/>
                </a:cubicBezTo>
                <a:cubicBezTo>
                  <a:pt x="1273" y="754"/>
                  <a:pt x="1272" y="753"/>
                  <a:pt x="1272" y="752"/>
                </a:cubicBezTo>
                <a:cubicBezTo>
                  <a:pt x="1272" y="750"/>
                  <a:pt x="1273" y="748"/>
                  <a:pt x="1273" y="746"/>
                </a:cubicBezTo>
                <a:cubicBezTo>
                  <a:pt x="1276" y="746"/>
                  <a:pt x="1279" y="748"/>
                  <a:pt x="1283" y="748"/>
                </a:cubicBezTo>
                <a:cubicBezTo>
                  <a:pt x="1290" y="749"/>
                  <a:pt x="1296" y="748"/>
                  <a:pt x="1299" y="739"/>
                </a:cubicBezTo>
                <a:cubicBezTo>
                  <a:pt x="1301" y="734"/>
                  <a:pt x="1301" y="729"/>
                  <a:pt x="1300" y="724"/>
                </a:cubicBezTo>
                <a:cubicBezTo>
                  <a:pt x="1299" y="722"/>
                  <a:pt x="1299" y="721"/>
                  <a:pt x="1298" y="719"/>
                </a:cubicBezTo>
                <a:cubicBezTo>
                  <a:pt x="1297" y="717"/>
                  <a:pt x="1296" y="717"/>
                  <a:pt x="1295" y="718"/>
                </a:cubicBezTo>
                <a:cubicBezTo>
                  <a:pt x="1293" y="720"/>
                  <a:pt x="1292" y="721"/>
                  <a:pt x="1290" y="722"/>
                </a:cubicBezTo>
                <a:cubicBezTo>
                  <a:pt x="1289" y="723"/>
                  <a:pt x="1288" y="723"/>
                  <a:pt x="1288" y="725"/>
                </a:cubicBezTo>
                <a:cubicBezTo>
                  <a:pt x="1289" y="728"/>
                  <a:pt x="1288" y="731"/>
                  <a:pt x="1287" y="734"/>
                </a:cubicBezTo>
                <a:cubicBezTo>
                  <a:pt x="1287" y="732"/>
                  <a:pt x="1288" y="730"/>
                  <a:pt x="1288" y="729"/>
                </a:cubicBezTo>
                <a:cubicBezTo>
                  <a:pt x="1288" y="728"/>
                  <a:pt x="1287" y="727"/>
                  <a:pt x="1287" y="727"/>
                </a:cubicBezTo>
                <a:cubicBezTo>
                  <a:pt x="1286" y="727"/>
                  <a:pt x="1286" y="727"/>
                  <a:pt x="1286" y="728"/>
                </a:cubicBezTo>
                <a:cubicBezTo>
                  <a:pt x="1285" y="729"/>
                  <a:pt x="1284" y="731"/>
                  <a:pt x="1283" y="732"/>
                </a:cubicBezTo>
                <a:cubicBezTo>
                  <a:pt x="1283" y="732"/>
                  <a:pt x="1283" y="732"/>
                  <a:pt x="1283" y="732"/>
                </a:cubicBezTo>
                <a:cubicBezTo>
                  <a:pt x="1283" y="730"/>
                  <a:pt x="1284" y="729"/>
                  <a:pt x="1284" y="726"/>
                </a:cubicBezTo>
                <a:cubicBezTo>
                  <a:pt x="1283" y="727"/>
                  <a:pt x="1283" y="727"/>
                  <a:pt x="1282" y="728"/>
                </a:cubicBezTo>
                <a:cubicBezTo>
                  <a:pt x="1281" y="729"/>
                  <a:pt x="1281" y="729"/>
                  <a:pt x="1281" y="730"/>
                </a:cubicBezTo>
                <a:cubicBezTo>
                  <a:pt x="1281" y="727"/>
                  <a:pt x="1281" y="727"/>
                  <a:pt x="1287" y="725"/>
                </a:cubicBezTo>
                <a:cubicBezTo>
                  <a:pt x="1287" y="725"/>
                  <a:pt x="1286" y="724"/>
                  <a:pt x="1286" y="724"/>
                </a:cubicBezTo>
                <a:cubicBezTo>
                  <a:pt x="1283" y="725"/>
                  <a:pt x="1283" y="723"/>
                  <a:pt x="1282" y="721"/>
                </a:cubicBezTo>
                <a:cubicBezTo>
                  <a:pt x="1284" y="721"/>
                  <a:pt x="1285" y="720"/>
                  <a:pt x="1287" y="720"/>
                </a:cubicBezTo>
                <a:cubicBezTo>
                  <a:pt x="1285" y="717"/>
                  <a:pt x="1284" y="715"/>
                  <a:pt x="1281" y="714"/>
                </a:cubicBezTo>
                <a:cubicBezTo>
                  <a:pt x="1280" y="714"/>
                  <a:pt x="1280" y="714"/>
                  <a:pt x="1280" y="714"/>
                </a:cubicBezTo>
                <a:cubicBezTo>
                  <a:pt x="1277" y="712"/>
                  <a:pt x="1275" y="709"/>
                  <a:pt x="1272" y="707"/>
                </a:cubicBezTo>
                <a:cubicBezTo>
                  <a:pt x="1270" y="706"/>
                  <a:pt x="1267" y="705"/>
                  <a:pt x="1265" y="705"/>
                </a:cubicBezTo>
                <a:cubicBezTo>
                  <a:pt x="1262" y="706"/>
                  <a:pt x="1259" y="707"/>
                  <a:pt x="1256" y="708"/>
                </a:cubicBezTo>
                <a:cubicBezTo>
                  <a:pt x="1253" y="709"/>
                  <a:pt x="1250" y="710"/>
                  <a:pt x="1248" y="714"/>
                </a:cubicBezTo>
                <a:cubicBezTo>
                  <a:pt x="1250" y="714"/>
                  <a:pt x="1251" y="714"/>
                  <a:pt x="1252" y="714"/>
                </a:cubicBezTo>
                <a:cubicBezTo>
                  <a:pt x="1252" y="714"/>
                  <a:pt x="1251" y="714"/>
                  <a:pt x="1250" y="714"/>
                </a:cubicBezTo>
                <a:cubicBezTo>
                  <a:pt x="1248" y="715"/>
                  <a:pt x="1245" y="714"/>
                  <a:pt x="1243" y="717"/>
                </a:cubicBezTo>
                <a:cubicBezTo>
                  <a:pt x="1240" y="721"/>
                  <a:pt x="1236" y="724"/>
                  <a:pt x="1232" y="729"/>
                </a:cubicBezTo>
                <a:cubicBezTo>
                  <a:pt x="1231" y="731"/>
                  <a:pt x="1230" y="733"/>
                  <a:pt x="1229" y="735"/>
                </a:cubicBezTo>
                <a:cubicBezTo>
                  <a:pt x="1229" y="736"/>
                  <a:pt x="1229" y="736"/>
                  <a:pt x="1229" y="737"/>
                </a:cubicBezTo>
                <a:cubicBezTo>
                  <a:pt x="1230" y="739"/>
                  <a:pt x="1232" y="741"/>
                  <a:pt x="1233" y="743"/>
                </a:cubicBezTo>
                <a:cubicBezTo>
                  <a:pt x="1234" y="741"/>
                  <a:pt x="1236" y="740"/>
                  <a:pt x="1237" y="738"/>
                </a:cubicBezTo>
                <a:cubicBezTo>
                  <a:pt x="1236" y="740"/>
                  <a:pt x="1236" y="741"/>
                  <a:pt x="1235" y="742"/>
                </a:cubicBezTo>
                <a:cubicBezTo>
                  <a:pt x="1234" y="744"/>
                  <a:pt x="1234" y="745"/>
                  <a:pt x="1233" y="746"/>
                </a:cubicBezTo>
                <a:cubicBezTo>
                  <a:pt x="1233" y="747"/>
                  <a:pt x="1233" y="748"/>
                  <a:pt x="1234" y="749"/>
                </a:cubicBezTo>
                <a:cubicBezTo>
                  <a:pt x="1236" y="753"/>
                  <a:pt x="1239" y="753"/>
                  <a:pt x="1243" y="751"/>
                </a:cubicBezTo>
                <a:cubicBezTo>
                  <a:pt x="1245" y="749"/>
                  <a:pt x="1248" y="748"/>
                  <a:pt x="1251" y="747"/>
                </a:cubicBezTo>
                <a:cubicBezTo>
                  <a:pt x="1252" y="747"/>
                  <a:pt x="1254" y="746"/>
                  <a:pt x="1254" y="744"/>
                </a:cubicBezTo>
                <a:cubicBezTo>
                  <a:pt x="1254" y="741"/>
                  <a:pt x="1254" y="738"/>
                  <a:pt x="1254" y="734"/>
                </a:cubicBezTo>
                <a:cubicBezTo>
                  <a:pt x="1254" y="731"/>
                  <a:pt x="1254" y="729"/>
                  <a:pt x="1254" y="725"/>
                </a:cubicBezTo>
                <a:cubicBezTo>
                  <a:pt x="1254" y="728"/>
                  <a:pt x="1255" y="731"/>
                  <a:pt x="1255" y="733"/>
                </a:cubicBezTo>
                <a:cubicBezTo>
                  <a:pt x="1256" y="738"/>
                  <a:pt x="1256" y="742"/>
                  <a:pt x="1255" y="747"/>
                </a:cubicBezTo>
                <a:cubicBezTo>
                  <a:pt x="1254" y="748"/>
                  <a:pt x="1254" y="748"/>
                  <a:pt x="1253" y="748"/>
                </a:cubicBezTo>
                <a:cubicBezTo>
                  <a:pt x="1250" y="749"/>
                  <a:pt x="1246" y="751"/>
                  <a:pt x="1243" y="752"/>
                </a:cubicBezTo>
                <a:cubicBezTo>
                  <a:pt x="1238" y="755"/>
                  <a:pt x="1235" y="754"/>
                  <a:pt x="1231" y="750"/>
                </a:cubicBezTo>
                <a:cubicBezTo>
                  <a:pt x="1231" y="749"/>
                  <a:pt x="1231" y="748"/>
                  <a:pt x="1231" y="748"/>
                </a:cubicBezTo>
                <a:cubicBezTo>
                  <a:pt x="1232" y="745"/>
                  <a:pt x="1231" y="743"/>
                  <a:pt x="1230" y="741"/>
                </a:cubicBezTo>
                <a:cubicBezTo>
                  <a:pt x="1228" y="739"/>
                  <a:pt x="1226" y="737"/>
                  <a:pt x="1228" y="734"/>
                </a:cubicBezTo>
                <a:cubicBezTo>
                  <a:pt x="1228" y="732"/>
                  <a:pt x="1229" y="731"/>
                  <a:pt x="1230" y="729"/>
                </a:cubicBezTo>
                <a:cubicBezTo>
                  <a:pt x="1232" y="726"/>
                  <a:pt x="1234" y="724"/>
                  <a:pt x="1236" y="721"/>
                </a:cubicBezTo>
                <a:cubicBezTo>
                  <a:pt x="1236" y="721"/>
                  <a:pt x="1235" y="721"/>
                  <a:pt x="1235" y="721"/>
                </a:cubicBezTo>
                <a:cubicBezTo>
                  <a:pt x="1230" y="722"/>
                  <a:pt x="1226" y="724"/>
                  <a:pt x="1222" y="727"/>
                </a:cubicBezTo>
                <a:cubicBezTo>
                  <a:pt x="1217" y="731"/>
                  <a:pt x="1214" y="736"/>
                  <a:pt x="1214" y="743"/>
                </a:cubicBezTo>
                <a:cubicBezTo>
                  <a:pt x="1214" y="750"/>
                  <a:pt x="1216" y="756"/>
                  <a:pt x="1219" y="762"/>
                </a:cubicBezTo>
                <a:cubicBezTo>
                  <a:pt x="1220" y="763"/>
                  <a:pt x="1221" y="764"/>
                  <a:pt x="1220" y="765"/>
                </a:cubicBezTo>
                <a:cubicBezTo>
                  <a:pt x="1220" y="767"/>
                  <a:pt x="1220" y="769"/>
                  <a:pt x="1219" y="770"/>
                </a:cubicBezTo>
                <a:cubicBezTo>
                  <a:pt x="1219" y="772"/>
                  <a:pt x="1219" y="773"/>
                  <a:pt x="1220" y="773"/>
                </a:cubicBezTo>
                <a:cubicBezTo>
                  <a:pt x="1223" y="774"/>
                  <a:pt x="1226" y="774"/>
                  <a:pt x="1229" y="774"/>
                </a:cubicBezTo>
                <a:cubicBezTo>
                  <a:pt x="1230" y="774"/>
                  <a:pt x="1230" y="774"/>
                  <a:pt x="1230" y="773"/>
                </a:cubicBezTo>
                <a:cubicBezTo>
                  <a:pt x="1231" y="772"/>
                  <a:pt x="1231" y="771"/>
                  <a:pt x="1232" y="770"/>
                </a:cubicBezTo>
                <a:cubicBezTo>
                  <a:pt x="1234" y="767"/>
                  <a:pt x="1234" y="765"/>
                  <a:pt x="1234" y="762"/>
                </a:cubicBezTo>
                <a:cubicBezTo>
                  <a:pt x="1234" y="761"/>
                  <a:pt x="1234" y="761"/>
                  <a:pt x="1234" y="761"/>
                </a:cubicBezTo>
                <a:cubicBezTo>
                  <a:pt x="1234" y="760"/>
                  <a:pt x="1234" y="760"/>
                  <a:pt x="1234" y="760"/>
                </a:cubicBezTo>
                <a:cubicBezTo>
                  <a:pt x="1234" y="763"/>
                  <a:pt x="1236" y="763"/>
                  <a:pt x="1237" y="763"/>
                </a:cubicBezTo>
                <a:cubicBezTo>
                  <a:pt x="1238" y="763"/>
                  <a:pt x="1239" y="763"/>
                  <a:pt x="1240" y="763"/>
                </a:cubicBezTo>
                <a:cubicBezTo>
                  <a:pt x="1243" y="763"/>
                  <a:pt x="1246" y="763"/>
                  <a:pt x="1246" y="759"/>
                </a:cubicBezTo>
                <a:cubicBezTo>
                  <a:pt x="1246" y="761"/>
                  <a:pt x="1246" y="763"/>
                  <a:pt x="1246" y="764"/>
                </a:cubicBezTo>
                <a:cubicBezTo>
                  <a:pt x="1245" y="765"/>
                  <a:pt x="1244" y="765"/>
                  <a:pt x="1243" y="766"/>
                </a:cubicBezTo>
                <a:cubicBezTo>
                  <a:pt x="1241" y="767"/>
                  <a:pt x="1241" y="768"/>
                  <a:pt x="1241" y="769"/>
                </a:cubicBezTo>
                <a:cubicBezTo>
                  <a:pt x="1243" y="771"/>
                  <a:pt x="1244" y="773"/>
                  <a:pt x="1245" y="775"/>
                </a:cubicBezTo>
                <a:cubicBezTo>
                  <a:pt x="1247" y="776"/>
                  <a:pt x="1249" y="776"/>
                  <a:pt x="1250" y="774"/>
                </a:cubicBezTo>
                <a:cubicBezTo>
                  <a:pt x="1251" y="774"/>
                  <a:pt x="1252" y="773"/>
                  <a:pt x="1252" y="773"/>
                </a:cubicBezTo>
                <a:cubicBezTo>
                  <a:pt x="1254" y="771"/>
                  <a:pt x="1256" y="770"/>
                  <a:pt x="1257" y="769"/>
                </a:cubicBezTo>
                <a:cubicBezTo>
                  <a:pt x="1261" y="764"/>
                  <a:pt x="1263" y="758"/>
                  <a:pt x="1265" y="752"/>
                </a:cubicBezTo>
                <a:cubicBezTo>
                  <a:pt x="1265" y="752"/>
                  <a:pt x="1264" y="751"/>
                  <a:pt x="1264" y="751"/>
                </a:cubicBezTo>
                <a:cubicBezTo>
                  <a:pt x="1263" y="750"/>
                  <a:pt x="1262" y="749"/>
                  <a:pt x="1261" y="748"/>
                </a:cubicBezTo>
                <a:close/>
                <a:moveTo>
                  <a:pt x="1214" y="754"/>
                </a:moveTo>
                <a:cubicBezTo>
                  <a:pt x="1213" y="755"/>
                  <a:pt x="1211" y="756"/>
                  <a:pt x="1210" y="757"/>
                </a:cubicBezTo>
                <a:cubicBezTo>
                  <a:pt x="1210" y="757"/>
                  <a:pt x="1209" y="758"/>
                  <a:pt x="1209" y="759"/>
                </a:cubicBezTo>
                <a:cubicBezTo>
                  <a:pt x="1209" y="762"/>
                  <a:pt x="1214" y="766"/>
                  <a:pt x="1217" y="766"/>
                </a:cubicBezTo>
                <a:cubicBezTo>
                  <a:pt x="1218" y="766"/>
                  <a:pt x="1219" y="765"/>
                  <a:pt x="1218" y="763"/>
                </a:cubicBezTo>
                <a:cubicBezTo>
                  <a:pt x="1217" y="760"/>
                  <a:pt x="1215" y="757"/>
                  <a:pt x="1214" y="754"/>
                </a:cubicBezTo>
                <a:close/>
                <a:moveTo>
                  <a:pt x="1266" y="756"/>
                </a:moveTo>
                <a:cubicBezTo>
                  <a:pt x="1264" y="761"/>
                  <a:pt x="1261" y="765"/>
                  <a:pt x="1259" y="770"/>
                </a:cubicBezTo>
                <a:cubicBezTo>
                  <a:pt x="1262" y="770"/>
                  <a:pt x="1264" y="770"/>
                  <a:pt x="1267" y="770"/>
                </a:cubicBezTo>
                <a:cubicBezTo>
                  <a:pt x="1267" y="770"/>
                  <a:pt x="1268" y="769"/>
                  <a:pt x="1268" y="768"/>
                </a:cubicBezTo>
                <a:cubicBezTo>
                  <a:pt x="1268" y="765"/>
                  <a:pt x="1268" y="763"/>
                  <a:pt x="1267" y="761"/>
                </a:cubicBezTo>
                <a:cubicBezTo>
                  <a:pt x="1267" y="759"/>
                  <a:pt x="1266" y="758"/>
                  <a:pt x="1266" y="756"/>
                </a:cubicBezTo>
                <a:close/>
                <a:moveTo>
                  <a:pt x="1214" y="736"/>
                </a:moveTo>
                <a:cubicBezTo>
                  <a:pt x="1213" y="736"/>
                  <a:pt x="1212" y="737"/>
                  <a:pt x="1212" y="737"/>
                </a:cubicBezTo>
                <a:cubicBezTo>
                  <a:pt x="1211" y="737"/>
                  <a:pt x="1210" y="737"/>
                  <a:pt x="1210" y="736"/>
                </a:cubicBezTo>
                <a:cubicBezTo>
                  <a:pt x="1210" y="736"/>
                  <a:pt x="1209" y="735"/>
                  <a:pt x="1209" y="734"/>
                </a:cubicBezTo>
                <a:cubicBezTo>
                  <a:pt x="1210" y="733"/>
                  <a:pt x="1210" y="731"/>
                  <a:pt x="1211" y="729"/>
                </a:cubicBezTo>
                <a:cubicBezTo>
                  <a:pt x="1211" y="729"/>
                  <a:pt x="1211" y="729"/>
                  <a:pt x="1210" y="729"/>
                </a:cubicBezTo>
                <a:cubicBezTo>
                  <a:pt x="1210" y="729"/>
                  <a:pt x="1208" y="730"/>
                  <a:pt x="1208" y="731"/>
                </a:cubicBezTo>
                <a:cubicBezTo>
                  <a:pt x="1207" y="733"/>
                  <a:pt x="1208" y="738"/>
                  <a:pt x="1210" y="738"/>
                </a:cubicBezTo>
                <a:cubicBezTo>
                  <a:pt x="1212" y="739"/>
                  <a:pt x="1214" y="738"/>
                  <a:pt x="1214" y="736"/>
                </a:cubicBezTo>
                <a:close/>
                <a:moveTo>
                  <a:pt x="1213" y="754"/>
                </a:moveTo>
                <a:cubicBezTo>
                  <a:pt x="1213" y="755"/>
                  <a:pt x="1211" y="756"/>
                  <a:pt x="1210" y="757"/>
                </a:cubicBezTo>
                <a:cubicBezTo>
                  <a:pt x="1209" y="757"/>
                  <a:pt x="1209" y="758"/>
                  <a:pt x="1209" y="759"/>
                </a:cubicBezTo>
                <a:cubicBezTo>
                  <a:pt x="1209" y="762"/>
                  <a:pt x="1213" y="766"/>
                  <a:pt x="1217" y="766"/>
                </a:cubicBezTo>
                <a:cubicBezTo>
                  <a:pt x="1218" y="766"/>
                  <a:pt x="1219" y="764"/>
                  <a:pt x="1218" y="763"/>
                </a:cubicBezTo>
                <a:cubicBezTo>
                  <a:pt x="1217" y="760"/>
                  <a:pt x="1215" y="757"/>
                  <a:pt x="1213" y="754"/>
                </a:cubicBezTo>
                <a:close/>
                <a:moveTo>
                  <a:pt x="1266" y="756"/>
                </a:moveTo>
                <a:cubicBezTo>
                  <a:pt x="1264" y="761"/>
                  <a:pt x="1261" y="766"/>
                  <a:pt x="1259" y="770"/>
                </a:cubicBezTo>
                <a:cubicBezTo>
                  <a:pt x="1262" y="770"/>
                  <a:pt x="1264" y="770"/>
                  <a:pt x="1267" y="770"/>
                </a:cubicBezTo>
                <a:cubicBezTo>
                  <a:pt x="1267" y="770"/>
                  <a:pt x="1268" y="769"/>
                  <a:pt x="1268" y="768"/>
                </a:cubicBezTo>
                <a:cubicBezTo>
                  <a:pt x="1268" y="766"/>
                  <a:pt x="1268" y="763"/>
                  <a:pt x="1267" y="761"/>
                </a:cubicBezTo>
                <a:cubicBezTo>
                  <a:pt x="1267" y="759"/>
                  <a:pt x="1266" y="758"/>
                  <a:pt x="1266" y="756"/>
                </a:cubicBezTo>
                <a:close/>
                <a:moveTo>
                  <a:pt x="1213" y="736"/>
                </a:moveTo>
                <a:cubicBezTo>
                  <a:pt x="1213" y="736"/>
                  <a:pt x="1212" y="737"/>
                  <a:pt x="1211" y="737"/>
                </a:cubicBezTo>
                <a:cubicBezTo>
                  <a:pt x="1211" y="737"/>
                  <a:pt x="1210" y="737"/>
                  <a:pt x="1210" y="736"/>
                </a:cubicBezTo>
                <a:cubicBezTo>
                  <a:pt x="1209" y="736"/>
                  <a:pt x="1209" y="735"/>
                  <a:pt x="1209" y="734"/>
                </a:cubicBezTo>
                <a:cubicBezTo>
                  <a:pt x="1210" y="732"/>
                  <a:pt x="1210" y="730"/>
                  <a:pt x="1211" y="729"/>
                </a:cubicBezTo>
                <a:cubicBezTo>
                  <a:pt x="1211" y="729"/>
                  <a:pt x="1211" y="729"/>
                  <a:pt x="1210" y="729"/>
                </a:cubicBezTo>
                <a:cubicBezTo>
                  <a:pt x="1209" y="729"/>
                  <a:pt x="1208" y="730"/>
                  <a:pt x="1207" y="731"/>
                </a:cubicBezTo>
                <a:cubicBezTo>
                  <a:pt x="1207" y="732"/>
                  <a:pt x="1208" y="738"/>
                  <a:pt x="1210" y="738"/>
                </a:cubicBezTo>
                <a:cubicBezTo>
                  <a:pt x="1211" y="739"/>
                  <a:pt x="1213" y="738"/>
                  <a:pt x="1213" y="736"/>
                </a:cubicBezTo>
                <a:close/>
                <a:moveTo>
                  <a:pt x="1266" y="728"/>
                </a:moveTo>
                <a:cubicBezTo>
                  <a:pt x="1269" y="724"/>
                  <a:pt x="1269" y="724"/>
                  <a:pt x="1273" y="723"/>
                </a:cubicBezTo>
                <a:cubicBezTo>
                  <a:pt x="1273" y="725"/>
                  <a:pt x="1274" y="726"/>
                  <a:pt x="1275" y="726"/>
                </a:cubicBezTo>
                <a:cubicBezTo>
                  <a:pt x="1273" y="727"/>
                  <a:pt x="1271" y="729"/>
                  <a:pt x="1269" y="730"/>
                </a:cubicBezTo>
                <a:cubicBezTo>
                  <a:pt x="1268" y="729"/>
                  <a:pt x="1268" y="728"/>
                  <a:pt x="1267" y="727"/>
                </a:cubicBezTo>
                <a:cubicBezTo>
                  <a:pt x="1267" y="727"/>
                  <a:pt x="1266" y="727"/>
                  <a:pt x="1266" y="728"/>
                </a:cubicBezTo>
                <a:close/>
                <a:moveTo>
                  <a:pt x="1271" y="727"/>
                </a:moveTo>
                <a:cubicBezTo>
                  <a:pt x="1271" y="727"/>
                  <a:pt x="1270" y="727"/>
                  <a:pt x="1269" y="727"/>
                </a:cubicBezTo>
                <a:cubicBezTo>
                  <a:pt x="1269" y="727"/>
                  <a:pt x="1268" y="727"/>
                  <a:pt x="1268" y="728"/>
                </a:cubicBezTo>
                <a:cubicBezTo>
                  <a:pt x="1268" y="728"/>
                  <a:pt x="1269" y="728"/>
                  <a:pt x="1269" y="729"/>
                </a:cubicBezTo>
                <a:cubicBezTo>
                  <a:pt x="1270" y="728"/>
                  <a:pt x="1270" y="728"/>
                  <a:pt x="1271" y="727"/>
                </a:cubicBezTo>
                <a:close/>
                <a:moveTo>
                  <a:pt x="1253" y="718"/>
                </a:moveTo>
                <a:cubicBezTo>
                  <a:pt x="1246" y="717"/>
                  <a:pt x="1243" y="719"/>
                  <a:pt x="1242" y="728"/>
                </a:cubicBezTo>
                <a:cubicBezTo>
                  <a:pt x="1243" y="726"/>
                  <a:pt x="1244" y="723"/>
                  <a:pt x="1246" y="721"/>
                </a:cubicBezTo>
                <a:cubicBezTo>
                  <a:pt x="1246" y="721"/>
                  <a:pt x="1246" y="721"/>
                  <a:pt x="1246" y="721"/>
                </a:cubicBezTo>
                <a:cubicBezTo>
                  <a:pt x="1246" y="722"/>
                  <a:pt x="1246" y="723"/>
                  <a:pt x="1246" y="723"/>
                </a:cubicBezTo>
                <a:cubicBezTo>
                  <a:pt x="1248" y="720"/>
                  <a:pt x="1249" y="718"/>
                  <a:pt x="1253" y="718"/>
                </a:cubicBezTo>
                <a:close/>
                <a:moveTo>
                  <a:pt x="1296" y="719"/>
                </a:moveTo>
                <a:cubicBezTo>
                  <a:pt x="1294" y="721"/>
                  <a:pt x="1292" y="722"/>
                  <a:pt x="1291" y="723"/>
                </a:cubicBezTo>
                <a:cubicBezTo>
                  <a:pt x="1293" y="724"/>
                  <a:pt x="1295" y="722"/>
                  <a:pt x="1296" y="719"/>
                </a:cubicBezTo>
                <a:close/>
                <a:moveTo>
                  <a:pt x="1263" y="721"/>
                </a:moveTo>
                <a:cubicBezTo>
                  <a:pt x="1264" y="720"/>
                  <a:pt x="1265" y="719"/>
                  <a:pt x="1267" y="717"/>
                </a:cubicBezTo>
                <a:cubicBezTo>
                  <a:pt x="1263" y="719"/>
                  <a:pt x="1262" y="719"/>
                  <a:pt x="1263" y="721"/>
                </a:cubicBezTo>
                <a:close/>
                <a:moveTo>
                  <a:pt x="1273" y="743"/>
                </a:moveTo>
                <a:cubicBezTo>
                  <a:pt x="1271" y="743"/>
                  <a:pt x="1270" y="744"/>
                  <a:pt x="1270" y="745"/>
                </a:cubicBezTo>
                <a:cubicBezTo>
                  <a:pt x="1271" y="744"/>
                  <a:pt x="1272" y="744"/>
                  <a:pt x="1273" y="743"/>
                </a:cubicBezTo>
                <a:close/>
                <a:moveTo>
                  <a:pt x="1271" y="727"/>
                </a:moveTo>
                <a:cubicBezTo>
                  <a:pt x="1271" y="727"/>
                  <a:pt x="1270" y="727"/>
                  <a:pt x="1270" y="727"/>
                </a:cubicBezTo>
                <a:cubicBezTo>
                  <a:pt x="1269" y="727"/>
                  <a:pt x="1268" y="727"/>
                  <a:pt x="1268" y="728"/>
                </a:cubicBezTo>
                <a:cubicBezTo>
                  <a:pt x="1268" y="728"/>
                  <a:pt x="1269" y="729"/>
                  <a:pt x="1269" y="729"/>
                </a:cubicBezTo>
                <a:cubicBezTo>
                  <a:pt x="1270" y="729"/>
                  <a:pt x="1270" y="728"/>
                  <a:pt x="1271" y="727"/>
                </a:cubicBezTo>
                <a:close/>
                <a:moveTo>
                  <a:pt x="1562" y="705"/>
                </a:moveTo>
                <a:cubicBezTo>
                  <a:pt x="1562" y="705"/>
                  <a:pt x="1562" y="705"/>
                  <a:pt x="1562" y="705"/>
                </a:cubicBezTo>
                <a:cubicBezTo>
                  <a:pt x="1558" y="705"/>
                  <a:pt x="1558" y="705"/>
                  <a:pt x="1558" y="705"/>
                </a:cubicBezTo>
                <a:cubicBezTo>
                  <a:pt x="1556" y="706"/>
                  <a:pt x="1554" y="708"/>
                  <a:pt x="1552" y="709"/>
                </a:cubicBezTo>
                <a:cubicBezTo>
                  <a:pt x="1551" y="710"/>
                  <a:pt x="1549" y="711"/>
                  <a:pt x="1547" y="712"/>
                </a:cubicBezTo>
                <a:cubicBezTo>
                  <a:pt x="1545" y="713"/>
                  <a:pt x="1544" y="714"/>
                  <a:pt x="1541" y="714"/>
                </a:cubicBezTo>
                <a:cubicBezTo>
                  <a:pt x="1540" y="715"/>
                  <a:pt x="1538" y="716"/>
                  <a:pt x="1536" y="716"/>
                </a:cubicBezTo>
                <a:cubicBezTo>
                  <a:pt x="1536" y="716"/>
                  <a:pt x="1536" y="716"/>
                  <a:pt x="1536" y="726"/>
                </a:cubicBezTo>
                <a:cubicBezTo>
                  <a:pt x="1539" y="725"/>
                  <a:pt x="1542" y="725"/>
                  <a:pt x="1544" y="723"/>
                </a:cubicBezTo>
                <a:cubicBezTo>
                  <a:pt x="1546" y="722"/>
                  <a:pt x="1549" y="721"/>
                  <a:pt x="1551" y="720"/>
                </a:cubicBezTo>
                <a:cubicBezTo>
                  <a:pt x="1551" y="720"/>
                  <a:pt x="1551" y="720"/>
                  <a:pt x="1551" y="778"/>
                </a:cubicBezTo>
                <a:cubicBezTo>
                  <a:pt x="1551" y="778"/>
                  <a:pt x="1551" y="778"/>
                  <a:pt x="1562" y="778"/>
                </a:cubicBezTo>
                <a:cubicBezTo>
                  <a:pt x="1562" y="778"/>
                  <a:pt x="1562" y="778"/>
                  <a:pt x="1562" y="705"/>
                </a:cubicBezTo>
                <a:close/>
                <a:moveTo>
                  <a:pt x="1684" y="705"/>
                </a:moveTo>
                <a:cubicBezTo>
                  <a:pt x="1684" y="705"/>
                  <a:pt x="1684" y="705"/>
                  <a:pt x="1684" y="705"/>
                </a:cubicBezTo>
                <a:cubicBezTo>
                  <a:pt x="1679" y="705"/>
                  <a:pt x="1679" y="705"/>
                  <a:pt x="1679" y="705"/>
                </a:cubicBezTo>
                <a:cubicBezTo>
                  <a:pt x="1677" y="706"/>
                  <a:pt x="1675" y="708"/>
                  <a:pt x="1673" y="709"/>
                </a:cubicBezTo>
                <a:cubicBezTo>
                  <a:pt x="1672" y="710"/>
                  <a:pt x="1670" y="711"/>
                  <a:pt x="1668" y="712"/>
                </a:cubicBezTo>
                <a:cubicBezTo>
                  <a:pt x="1667" y="713"/>
                  <a:pt x="1665" y="714"/>
                  <a:pt x="1663" y="714"/>
                </a:cubicBezTo>
                <a:cubicBezTo>
                  <a:pt x="1661" y="715"/>
                  <a:pt x="1659" y="716"/>
                  <a:pt x="1657" y="716"/>
                </a:cubicBezTo>
                <a:cubicBezTo>
                  <a:pt x="1657" y="716"/>
                  <a:pt x="1657" y="716"/>
                  <a:pt x="1657" y="726"/>
                </a:cubicBezTo>
                <a:cubicBezTo>
                  <a:pt x="1660" y="725"/>
                  <a:pt x="1663" y="725"/>
                  <a:pt x="1666" y="723"/>
                </a:cubicBezTo>
                <a:cubicBezTo>
                  <a:pt x="1668" y="722"/>
                  <a:pt x="1670" y="721"/>
                  <a:pt x="1673" y="720"/>
                </a:cubicBezTo>
                <a:cubicBezTo>
                  <a:pt x="1673" y="720"/>
                  <a:pt x="1673" y="720"/>
                  <a:pt x="1673" y="778"/>
                </a:cubicBezTo>
                <a:cubicBezTo>
                  <a:pt x="1673" y="778"/>
                  <a:pt x="1673" y="778"/>
                  <a:pt x="1684" y="778"/>
                </a:cubicBezTo>
                <a:cubicBezTo>
                  <a:pt x="1684" y="778"/>
                  <a:pt x="1684" y="778"/>
                  <a:pt x="1684" y="705"/>
                </a:cubicBezTo>
                <a:close/>
                <a:moveTo>
                  <a:pt x="1731" y="705"/>
                </a:moveTo>
                <a:cubicBezTo>
                  <a:pt x="1731" y="705"/>
                  <a:pt x="1731" y="705"/>
                  <a:pt x="1731" y="705"/>
                </a:cubicBezTo>
                <a:cubicBezTo>
                  <a:pt x="1726" y="705"/>
                  <a:pt x="1726" y="705"/>
                  <a:pt x="1726" y="705"/>
                </a:cubicBezTo>
                <a:cubicBezTo>
                  <a:pt x="1724" y="706"/>
                  <a:pt x="1722" y="708"/>
                  <a:pt x="1720" y="709"/>
                </a:cubicBezTo>
                <a:cubicBezTo>
                  <a:pt x="1719" y="710"/>
                  <a:pt x="1717" y="711"/>
                  <a:pt x="1715" y="712"/>
                </a:cubicBezTo>
                <a:cubicBezTo>
                  <a:pt x="1714" y="713"/>
                  <a:pt x="1712" y="714"/>
                  <a:pt x="1710" y="714"/>
                </a:cubicBezTo>
                <a:cubicBezTo>
                  <a:pt x="1708" y="715"/>
                  <a:pt x="1707" y="716"/>
                  <a:pt x="1704" y="716"/>
                </a:cubicBezTo>
                <a:cubicBezTo>
                  <a:pt x="1704" y="716"/>
                  <a:pt x="1704" y="716"/>
                  <a:pt x="1704" y="726"/>
                </a:cubicBezTo>
                <a:cubicBezTo>
                  <a:pt x="1707" y="725"/>
                  <a:pt x="1710" y="725"/>
                  <a:pt x="1712" y="723"/>
                </a:cubicBezTo>
                <a:cubicBezTo>
                  <a:pt x="1715" y="722"/>
                  <a:pt x="1717" y="721"/>
                  <a:pt x="1720" y="720"/>
                </a:cubicBezTo>
                <a:cubicBezTo>
                  <a:pt x="1720" y="720"/>
                  <a:pt x="1720" y="720"/>
                  <a:pt x="1720" y="778"/>
                </a:cubicBezTo>
                <a:cubicBezTo>
                  <a:pt x="1720" y="778"/>
                  <a:pt x="1720" y="778"/>
                  <a:pt x="1731" y="778"/>
                </a:cubicBezTo>
                <a:cubicBezTo>
                  <a:pt x="1731" y="778"/>
                  <a:pt x="1731" y="778"/>
                  <a:pt x="1731" y="705"/>
                </a:cubicBezTo>
                <a:close/>
                <a:moveTo>
                  <a:pt x="1777" y="705"/>
                </a:moveTo>
                <a:cubicBezTo>
                  <a:pt x="1777" y="705"/>
                  <a:pt x="1777" y="705"/>
                  <a:pt x="1777" y="705"/>
                </a:cubicBezTo>
                <a:cubicBezTo>
                  <a:pt x="1773" y="705"/>
                  <a:pt x="1773" y="705"/>
                  <a:pt x="1773" y="705"/>
                </a:cubicBezTo>
                <a:cubicBezTo>
                  <a:pt x="1771" y="706"/>
                  <a:pt x="1769" y="708"/>
                  <a:pt x="1767" y="709"/>
                </a:cubicBezTo>
                <a:cubicBezTo>
                  <a:pt x="1766" y="710"/>
                  <a:pt x="1763" y="711"/>
                  <a:pt x="1762" y="712"/>
                </a:cubicBezTo>
                <a:cubicBezTo>
                  <a:pt x="1760" y="712"/>
                  <a:pt x="1758" y="713"/>
                  <a:pt x="1756" y="714"/>
                </a:cubicBezTo>
                <a:cubicBezTo>
                  <a:pt x="1755" y="714"/>
                  <a:pt x="1752" y="715"/>
                  <a:pt x="1751" y="716"/>
                </a:cubicBezTo>
                <a:cubicBezTo>
                  <a:pt x="1751" y="716"/>
                  <a:pt x="1751" y="716"/>
                  <a:pt x="1751" y="726"/>
                </a:cubicBezTo>
                <a:cubicBezTo>
                  <a:pt x="1754" y="725"/>
                  <a:pt x="1757" y="724"/>
                  <a:pt x="1759" y="723"/>
                </a:cubicBezTo>
                <a:cubicBezTo>
                  <a:pt x="1761" y="722"/>
                  <a:pt x="1764" y="721"/>
                  <a:pt x="1766" y="720"/>
                </a:cubicBezTo>
                <a:cubicBezTo>
                  <a:pt x="1766" y="720"/>
                  <a:pt x="1766" y="720"/>
                  <a:pt x="1766" y="778"/>
                </a:cubicBezTo>
                <a:cubicBezTo>
                  <a:pt x="1766" y="778"/>
                  <a:pt x="1766" y="778"/>
                  <a:pt x="1777" y="778"/>
                </a:cubicBezTo>
                <a:cubicBezTo>
                  <a:pt x="1777" y="778"/>
                  <a:pt x="1777" y="778"/>
                  <a:pt x="1777" y="705"/>
                </a:cubicBezTo>
                <a:close/>
                <a:moveTo>
                  <a:pt x="1583" y="737"/>
                </a:moveTo>
                <a:cubicBezTo>
                  <a:pt x="1583" y="737"/>
                  <a:pt x="1583" y="737"/>
                  <a:pt x="1583" y="737"/>
                </a:cubicBezTo>
                <a:cubicBezTo>
                  <a:pt x="1582" y="746"/>
                  <a:pt x="1582" y="746"/>
                  <a:pt x="1582" y="746"/>
                </a:cubicBezTo>
                <a:cubicBezTo>
                  <a:pt x="1589" y="746"/>
                  <a:pt x="1589" y="749"/>
                  <a:pt x="1589" y="752"/>
                </a:cubicBezTo>
                <a:cubicBezTo>
                  <a:pt x="1589" y="754"/>
                  <a:pt x="1589" y="756"/>
                  <a:pt x="1589" y="759"/>
                </a:cubicBezTo>
                <a:cubicBezTo>
                  <a:pt x="1589" y="761"/>
                  <a:pt x="1588" y="763"/>
                  <a:pt x="1588" y="766"/>
                </a:cubicBezTo>
                <a:cubicBezTo>
                  <a:pt x="1588" y="775"/>
                  <a:pt x="1594" y="778"/>
                  <a:pt x="1603" y="778"/>
                </a:cubicBezTo>
                <a:cubicBezTo>
                  <a:pt x="1603" y="778"/>
                  <a:pt x="1603" y="778"/>
                  <a:pt x="1606" y="778"/>
                </a:cubicBezTo>
                <a:cubicBezTo>
                  <a:pt x="1606" y="778"/>
                  <a:pt x="1606" y="778"/>
                  <a:pt x="1606" y="769"/>
                </a:cubicBezTo>
                <a:cubicBezTo>
                  <a:pt x="1606" y="769"/>
                  <a:pt x="1606" y="769"/>
                  <a:pt x="1605" y="769"/>
                </a:cubicBezTo>
                <a:cubicBezTo>
                  <a:pt x="1601" y="769"/>
                  <a:pt x="1600" y="767"/>
                  <a:pt x="1600" y="763"/>
                </a:cubicBezTo>
                <a:cubicBezTo>
                  <a:pt x="1600" y="762"/>
                  <a:pt x="1600" y="760"/>
                  <a:pt x="1601" y="759"/>
                </a:cubicBezTo>
                <a:cubicBezTo>
                  <a:pt x="1601" y="757"/>
                  <a:pt x="1601" y="755"/>
                  <a:pt x="1601" y="753"/>
                </a:cubicBezTo>
                <a:cubicBezTo>
                  <a:pt x="1601" y="745"/>
                  <a:pt x="1598" y="743"/>
                  <a:pt x="1592" y="741"/>
                </a:cubicBezTo>
                <a:cubicBezTo>
                  <a:pt x="1592" y="741"/>
                  <a:pt x="1592" y="741"/>
                  <a:pt x="1592" y="741"/>
                </a:cubicBezTo>
                <a:cubicBezTo>
                  <a:pt x="1598" y="740"/>
                  <a:pt x="1601" y="738"/>
                  <a:pt x="1601" y="730"/>
                </a:cubicBezTo>
                <a:cubicBezTo>
                  <a:pt x="1601" y="728"/>
                  <a:pt x="1601" y="726"/>
                  <a:pt x="1601" y="724"/>
                </a:cubicBezTo>
                <a:cubicBezTo>
                  <a:pt x="1600" y="722"/>
                  <a:pt x="1600" y="720"/>
                  <a:pt x="1600" y="719"/>
                </a:cubicBezTo>
                <a:cubicBezTo>
                  <a:pt x="1600" y="716"/>
                  <a:pt x="1601" y="713"/>
                  <a:pt x="1605" y="713"/>
                </a:cubicBezTo>
                <a:cubicBezTo>
                  <a:pt x="1605" y="713"/>
                  <a:pt x="1605" y="713"/>
                  <a:pt x="1606" y="713"/>
                </a:cubicBezTo>
                <a:cubicBezTo>
                  <a:pt x="1606" y="713"/>
                  <a:pt x="1606" y="713"/>
                  <a:pt x="1606" y="704"/>
                </a:cubicBezTo>
                <a:cubicBezTo>
                  <a:pt x="1606" y="704"/>
                  <a:pt x="1606" y="704"/>
                  <a:pt x="1603" y="704"/>
                </a:cubicBezTo>
                <a:cubicBezTo>
                  <a:pt x="1594" y="704"/>
                  <a:pt x="1588" y="708"/>
                  <a:pt x="1588" y="717"/>
                </a:cubicBezTo>
                <a:cubicBezTo>
                  <a:pt x="1588" y="719"/>
                  <a:pt x="1589" y="722"/>
                  <a:pt x="1589" y="724"/>
                </a:cubicBezTo>
                <a:cubicBezTo>
                  <a:pt x="1589" y="726"/>
                  <a:pt x="1589" y="729"/>
                  <a:pt x="1589" y="731"/>
                </a:cubicBezTo>
                <a:cubicBezTo>
                  <a:pt x="1589" y="734"/>
                  <a:pt x="1589" y="737"/>
                  <a:pt x="1583" y="737"/>
                </a:cubicBezTo>
                <a:close/>
                <a:moveTo>
                  <a:pt x="1637" y="746"/>
                </a:moveTo>
                <a:cubicBezTo>
                  <a:pt x="1637" y="746"/>
                  <a:pt x="1637" y="746"/>
                  <a:pt x="1637" y="746"/>
                </a:cubicBezTo>
                <a:cubicBezTo>
                  <a:pt x="1637" y="737"/>
                  <a:pt x="1637" y="737"/>
                  <a:pt x="1637" y="737"/>
                </a:cubicBezTo>
                <a:cubicBezTo>
                  <a:pt x="1631" y="737"/>
                  <a:pt x="1630" y="734"/>
                  <a:pt x="1630" y="731"/>
                </a:cubicBezTo>
                <a:cubicBezTo>
                  <a:pt x="1630" y="729"/>
                  <a:pt x="1630" y="726"/>
                  <a:pt x="1631" y="724"/>
                </a:cubicBezTo>
                <a:cubicBezTo>
                  <a:pt x="1631" y="722"/>
                  <a:pt x="1631" y="719"/>
                  <a:pt x="1631" y="717"/>
                </a:cubicBezTo>
                <a:cubicBezTo>
                  <a:pt x="1631" y="708"/>
                  <a:pt x="1626" y="704"/>
                  <a:pt x="1617" y="704"/>
                </a:cubicBezTo>
                <a:cubicBezTo>
                  <a:pt x="1617" y="704"/>
                  <a:pt x="1617" y="704"/>
                  <a:pt x="1613" y="704"/>
                </a:cubicBezTo>
                <a:cubicBezTo>
                  <a:pt x="1613" y="704"/>
                  <a:pt x="1613" y="704"/>
                  <a:pt x="1613" y="713"/>
                </a:cubicBezTo>
                <a:cubicBezTo>
                  <a:pt x="1613" y="713"/>
                  <a:pt x="1613" y="713"/>
                  <a:pt x="1615" y="713"/>
                </a:cubicBezTo>
                <a:cubicBezTo>
                  <a:pt x="1618" y="713"/>
                  <a:pt x="1620" y="716"/>
                  <a:pt x="1620" y="719"/>
                </a:cubicBezTo>
                <a:cubicBezTo>
                  <a:pt x="1620" y="720"/>
                  <a:pt x="1619" y="722"/>
                  <a:pt x="1619" y="724"/>
                </a:cubicBezTo>
                <a:cubicBezTo>
                  <a:pt x="1619" y="726"/>
                  <a:pt x="1619" y="728"/>
                  <a:pt x="1619" y="730"/>
                </a:cubicBezTo>
                <a:cubicBezTo>
                  <a:pt x="1619" y="738"/>
                  <a:pt x="1622" y="740"/>
                  <a:pt x="1628" y="741"/>
                </a:cubicBezTo>
                <a:cubicBezTo>
                  <a:pt x="1628" y="741"/>
                  <a:pt x="1628" y="741"/>
                  <a:pt x="1628" y="741"/>
                </a:cubicBezTo>
                <a:cubicBezTo>
                  <a:pt x="1622" y="743"/>
                  <a:pt x="1619" y="745"/>
                  <a:pt x="1619" y="753"/>
                </a:cubicBezTo>
                <a:cubicBezTo>
                  <a:pt x="1619" y="755"/>
                  <a:pt x="1619" y="757"/>
                  <a:pt x="1619" y="759"/>
                </a:cubicBezTo>
                <a:cubicBezTo>
                  <a:pt x="1619" y="760"/>
                  <a:pt x="1620" y="762"/>
                  <a:pt x="1620" y="763"/>
                </a:cubicBezTo>
                <a:cubicBezTo>
                  <a:pt x="1620" y="767"/>
                  <a:pt x="1619" y="769"/>
                  <a:pt x="1615" y="769"/>
                </a:cubicBezTo>
                <a:cubicBezTo>
                  <a:pt x="1615" y="769"/>
                  <a:pt x="1615" y="769"/>
                  <a:pt x="1613" y="769"/>
                </a:cubicBezTo>
                <a:cubicBezTo>
                  <a:pt x="1613" y="769"/>
                  <a:pt x="1613" y="769"/>
                  <a:pt x="1613" y="778"/>
                </a:cubicBezTo>
                <a:cubicBezTo>
                  <a:pt x="1613" y="778"/>
                  <a:pt x="1613" y="778"/>
                  <a:pt x="1617" y="778"/>
                </a:cubicBezTo>
                <a:cubicBezTo>
                  <a:pt x="1626" y="778"/>
                  <a:pt x="1631" y="775"/>
                  <a:pt x="1631" y="766"/>
                </a:cubicBezTo>
                <a:cubicBezTo>
                  <a:pt x="1631" y="763"/>
                  <a:pt x="1631" y="761"/>
                  <a:pt x="1631" y="759"/>
                </a:cubicBezTo>
                <a:cubicBezTo>
                  <a:pt x="1630" y="756"/>
                  <a:pt x="1630" y="754"/>
                  <a:pt x="1630" y="752"/>
                </a:cubicBezTo>
                <a:cubicBezTo>
                  <a:pt x="1630" y="749"/>
                  <a:pt x="1631" y="746"/>
                  <a:pt x="1637" y="746"/>
                </a:cubicBezTo>
                <a:close/>
                <a:moveTo>
                  <a:pt x="1821" y="778"/>
                </a:moveTo>
                <a:cubicBezTo>
                  <a:pt x="1814" y="778"/>
                  <a:pt x="1807" y="776"/>
                  <a:pt x="1803" y="770"/>
                </a:cubicBezTo>
                <a:cubicBezTo>
                  <a:pt x="1799" y="763"/>
                  <a:pt x="1797" y="754"/>
                  <a:pt x="1797" y="742"/>
                </a:cubicBezTo>
                <a:cubicBezTo>
                  <a:pt x="1797" y="729"/>
                  <a:pt x="1799" y="719"/>
                  <a:pt x="1804" y="713"/>
                </a:cubicBezTo>
                <a:cubicBezTo>
                  <a:pt x="1808" y="706"/>
                  <a:pt x="1815" y="703"/>
                  <a:pt x="1823" y="703"/>
                </a:cubicBezTo>
                <a:cubicBezTo>
                  <a:pt x="1839" y="703"/>
                  <a:pt x="1847" y="715"/>
                  <a:pt x="1847" y="741"/>
                </a:cubicBezTo>
                <a:cubicBezTo>
                  <a:pt x="1847" y="753"/>
                  <a:pt x="1845" y="762"/>
                  <a:pt x="1840" y="769"/>
                </a:cubicBezTo>
                <a:cubicBezTo>
                  <a:pt x="1836" y="776"/>
                  <a:pt x="1829" y="778"/>
                  <a:pt x="1821" y="778"/>
                </a:cubicBezTo>
                <a:close/>
                <a:moveTo>
                  <a:pt x="1823" y="712"/>
                </a:moveTo>
                <a:cubicBezTo>
                  <a:pt x="1813" y="712"/>
                  <a:pt x="1809" y="722"/>
                  <a:pt x="1809" y="742"/>
                </a:cubicBezTo>
                <a:cubicBezTo>
                  <a:pt x="1809" y="760"/>
                  <a:pt x="1813" y="769"/>
                  <a:pt x="1822" y="769"/>
                </a:cubicBezTo>
                <a:cubicBezTo>
                  <a:pt x="1831" y="769"/>
                  <a:pt x="1835" y="760"/>
                  <a:pt x="1835" y="741"/>
                </a:cubicBezTo>
                <a:cubicBezTo>
                  <a:pt x="1835" y="722"/>
                  <a:pt x="1831" y="712"/>
                  <a:pt x="1823" y="712"/>
                </a:cubicBezTo>
                <a:close/>
                <a:moveTo>
                  <a:pt x="1891" y="778"/>
                </a:moveTo>
                <a:cubicBezTo>
                  <a:pt x="1884" y="778"/>
                  <a:pt x="1877" y="776"/>
                  <a:pt x="1874" y="770"/>
                </a:cubicBezTo>
                <a:cubicBezTo>
                  <a:pt x="1869" y="763"/>
                  <a:pt x="1867" y="754"/>
                  <a:pt x="1867" y="742"/>
                </a:cubicBezTo>
                <a:cubicBezTo>
                  <a:pt x="1867" y="729"/>
                  <a:pt x="1869" y="719"/>
                  <a:pt x="1874" y="713"/>
                </a:cubicBezTo>
                <a:cubicBezTo>
                  <a:pt x="1878" y="706"/>
                  <a:pt x="1885" y="703"/>
                  <a:pt x="1894" y="703"/>
                </a:cubicBezTo>
                <a:cubicBezTo>
                  <a:pt x="1910" y="703"/>
                  <a:pt x="1918" y="715"/>
                  <a:pt x="1918" y="741"/>
                </a:cubicBezTo>
                <a:cubicBezTo>
                  <a:pt x="1918" y="753"/>
                  <a:pt x="1916" y="762"/>
                  <a:pt x="1911" y="769"/>
                </a:cubicBezTo>
                <a:cubicBezTo>
                  <a:pt x="1906" y="776"/>
                  <a:pt x="1900" y="778"/>
                  <a:pt x="1891" y="778"/>
                </a:cubicBezTo>
                <a:close/>
                <a:moveTo>
                  <a:pt x="1893" y="712"/>
                </a:moveTo>
                <a:cubicBezTo>
                  <a:pt x="1884" y="712"/>
                  <a:pt x="1879" y="722"/>
                  <a:pt x="1879" y="742"/>
                </a:cubicBezTo>
                <a:cubicBezTo>
                  <a:pt x="1879" y="760"/>
                  <a:pt x="1883" y="769"/>
                  <a:pt x="1892" y="769"/>
                </a:cubicBezTo>
                <a:cubicBezTo>
                  <a:pt x="1901" y="769"/>
                  <a:pt x="1905" y="760"/>
                  <a:pt x="1905" y="741"/>
                </a:cubicBezTo>
                <a:cubicBezTo>
                  <a:pt x="1905" y="722"/>
                  <a:pt x="1901" y="712"/>
                  <a:pt x="1893" y="712"/>
                </a:cubicBezTo>
                <a:close/>
                <a:moveTo>
                  <a:pt x="37" y="801"/>
                </a:moveTo>
                <a:cubicBezTo>
                  <a:pt x="37" y="801"/>
                  <a:pt x="37" y="801"/>
                  <a:pt x="37" y="801"/>
                </a:cubicBezTo>
                <a:cubicBezTo>
                  <a:pt x="32" y="801"/>
                  <a:pt x="32" y="801"/>
                  <a:pt x="32" y="801"/>
                </a:cubicBezTo>
                <a:cubicBezTo>
                  <a:pt x="29" y="802"/>
                  <a:pt x="28" y="804"/>
                  <a:pt x="26" y="805"/>
                </a:cubicBezTo>
                <a:cubicBezTo>
                  <a:pt x="24" y="806"/>
                  <a:pt x="23" y="807"/>
                  <a:pt x="21" y="808"/>
                </a:cubicBezTo>
                <a:cubicBezTo>
                  <a:pt x="19" y="809"/>
                  <a:pt x="17" y="810"/>
                  <a:pt x="15" y="810"/>
                </a:cubicBezTo>
                <a:cubicBezTo>
                  <a:pt x="13" y="811"/>
                  <a:pt x="12" y="812"/>
                  <a:pt x="9" y="812"/>
                </a:cubicBezTo>
                <a:cubicBezTo>
                  <a:pt x="9" y="812"/>
                  <a:pt x="9" y="812"/>
                  <a:pt x="9" y="822"/>
                </a:cubicBezTo>
                <a:cubicBezTo>
                  <a:pt x="12" y="821"/>
                  <a:pt x="15" y="821"/>
                  <a:pt x="18" y="819"/>
                </a:cubicBezTo>
                <a:cubicBezTo>
                  <a:pt x="21" y="818"/>
                  <a:pt x="23" y="817"/>
                  <a:pt x="25" y="816"/>
                </a:cubicBezTo>
                <a:cubicBezTo>
                  <a:pt x="25" y="816"/>
                  <a:pt x="25" y="816"/>
                  <a:pt x="25" y="874"/>
                </a:cubicBezTo>
                <a:cubicBezTo>
                  <a:pt x="25" y="874"/>
                  <a:pt x="25" y="874"/>
                  <a:pt x="37" y="874"/>
                </a:cubicBezTo>
                <a:cubicBezTo>
                  <a:pt x="37" y="874"/>
                  <a:pt x="37" y="874"/>
                  <a:pt x="37" y="801"/>
                </a:cubicBezTo>
                <a:close/>
                <a:moveTo>
                  <a:pt x="84" y="801"/>
                </a:moveTo>
                <a:cubicBezTo>
                  <a:pt x="84" y="801"/>
                  <a:pt x="84" y="801"/>
                  <a:pt x="84" y="801"/>
                </a:cubicBezTo>
                <a:cubicBezTo>
                  <a:pt x="79" y="801"/>
                  <a:pt x="79" y="801"/>
                  <a:pt x="79" y="801"/>
                </a:cubicBezTo>
                <a:cubicBezTo>
                  <a:pt x="77" y="802"/>
                  <a:pt x="76" y="804"/>
                  <a:pt x="73" y="805"/>
                </a:cubicBezTo>
                <a:cubicBezTo>
                  <a:pt x="72" y="806"/>
                  <a:pt x="70" y="807"/>
                  <a:pt x="68" y="808"/>
                </a:cubicBezTo>
                <a:cubicBezTo>
                  <a:pt x="67" y="809"/>
                  <a:pt x="65" y="810"/>
                  <a:pt x="63" y="810"/>
                </a:cubicBezTo>
                <a:cubicBezTo>
                  <a:pt x="61" y="811"/>
                  <a:pt x="60" y="812"/>
                  <a:pt x="57" y="812"/>
                </a:cubicBezTo>
                <a:cubicBezTo>
                  <a:pt x="57" y="812"/>
                  <a:pt x="57" y="812"/>
                  <a:pt x="57" y="822"/>
                </a:cubicBezTo>
                <a:cubicBezTo>
                  <a:pt x="60" y="821"/>
                  <a:pt x="63" y="821"/>
                  <a:pt x="65" y="819"/>
                </a:cubicBezTo>
                <a:cubicBezTo>
                  <a:pt x="68" y="818"/>
                  <a:pt x="71" y="817"/>
                  <a:pt x="73" y="816"/>
                </a:cubicBezTo>
                <a:cubicBezTo>
                  <a:pt x="73" y="816"/>
                  <a:pt x="73" y="816"/>
                  <a:pt x="73" y="874"/>
                </a:cubicBezTo>
                <a:cubicBezTo>
                  <a:pt x="73" y="874"/>
                  <a:pt x="73" y="874"/>
                  <a:pt x="84" y="874"/>
                </a:cubicBezTo>
                <a:cubicBezTo>
                  <a:pt x="84" y="874"/>
                  <a:pt x="84" y="874"/>
                  <a:pt x="84" y="801"/>
                </a:cubicBezTo>
                <a:close/>
                <a:moveTo>
                  <a:pt x="131" y="801"/>
                </a:moveTo>
                <a:cubicBezTo>
                  <a:pt x="131" y="801"/>
                  <a:pt x="131" y="801"/>
                  <a:pt x="131" y="801"/>
                </a:cubicBezTo>
                <a:cubicBezTo>
                  <a:pt x="127" y="801"/>
                  <a:pt x="127" y="801"/>
                  <a:pt x="127" y="801"/>
                </a:cubicBezTo>
                <a:cubicBezTo>
                  <a:pt x="124" y="802"/>
                  <a:pt x="123" y="804"/>
                  <a:pt x="121" y="805"/>
                </a:cubicBezTo>
                <a:cubicBezTo>
                  <a:pt x="119" y="806"/>
                  <a:pt x="117" y="807"/>
                  <a:pt x="116" y="808"/>
                </a:cubicBezTo>
                <a:cubicBezTo>
                  <a:pt x="114" y="808"/>
                  <a:pt x="112" y="809"/>
                  <a:pt x="110" y="810"/>
                </a:cubicBezTo>
                <a:cubicBezTo>
                  <a:pt x="109" y="810"/>
                  <a:pt x="106" y="811"/>
                  <a:pt x="105" y="812"/>
                </a:cubicBezTo>
                <a:cubicBezTo>
                  <a:pt x="105" y="812"/>
                  <a:pt x="105" y="812"/>
                  <a:pt x="105" y="822"/>
                </a:cubicBezTo>
                <a:cubicBezTo>
                  <a:pt x="108" y="821"/>
                  <a:pt x="111" y="820"/>
                  <a:pt x="113" y="819"/>
                </a:cubicBezTo>
                <a:cubicBezTo>
                  <a:pt x="115" y="818"/>
                  <a:pt x="118" y="817"/>
                  <a:pt x="119" y="816"/>
                </a:cubicBezTo>
                <a:cubicBezTo>
                  <a:pt x="119" y="816"/>
                  <a:pt x="119" y="816"/>
                  <a:pt x="119" y="874"/>
                </a:cubicBezTo>
                <a:cubicBezTo>
                  <a:pt x="119" y="874"/>
                  <a:pt x="119" y="874"/>
                  <a:pt x="131" y="874"/>
                </a:cubicBezTo>
                <a:cubicBezTo>
                  <a:pt x="131" y="874"/>
                  <a:pt x="131" y="874"/>
                  <a:pt x="131" y="801"/>
                </a:cubicBezTo>
                <a:close/>
                <a:moveTo>
                  <a:pt x="176" y="874"/>
                </a:moveTo>
                <a:cubicBezTo>
                  <a:pt x="168" y="874"/>
                  <a:pt x="162" y="872"/>
                  <a:pt x="157" y="866"/>
                </a:cubicBezTo>
                <a:cubicBezTo>
                  <a:pt x="154" y="859"/>
                  <a:pt x="152" y="850"/>
                  <a:pt x="152" y="838"/>
                </a:cubicBezTo>
                <a:cubicBezTo>
                  <a:pt x="152" y="825"/>
                  <a:pt x="154" y="815"/>
                  <a:pt x="158" y="808"/>
                </a:cubicBezTo>
                <a:cubicBezTo>
                  <a:pt x="162" y="802"/>
                  <a:pt x="169" y="798"/>
                  <a:pt x="178" y="798"/>
                </a:cubicBezTo>
                <a:cubicBezTo>
                  <a:pt x="194" y="798"/>
                  <a:pt x="202" y="811"/>
                  <a:pt x="202" y="836"/>
                </a:cubicBezTo>
                <a:cubicBezTo>
                  <a:pt x="202" y="849"/>
                  <a:pt x="200" y="858"/>
                  <a:pt x="195" y="865"/>
                </a:cubicBezTo>
                <a:cubicBezTo>
                  <a:pt x="190" y="872"/>
                  <a:pt x="184" y="874"/>
                  <a:pt x="176" y="874"/>
                </a:cubicBezTo>
                <a:close/>
                <a:moveTo>
                  <a:pt x="177" y="808"/>
                </a:moveTo>
                <a:cubicBezTo>
                  <a:pt x="168" y="808"/>
                  <a:pt x="163" y="818"/>
                  <a:pt x="163" y="838"/>
                </a:cubicBezTo>
                <a:cubicBezTo>
                  <a:pt x="163" y="856"/>
                  <a:pt x="168" y="865"/>
                  <a:pt x="176" y="865"/>
                </a:cubicBezTo>
                <a:cubicBezTo>
                  <a:pt x="185" y="865"/>
                  <a:pt x="190" y="856"/>
                  <a:pt x="190" y="837"/>
                </a:cubicBezTo>
                <a:cubicBezTo>
                  <a:pt x="190" y="817"/>
                  <a:pt x="185" y="808"/>
                  <a:pt x="177" y="808"/>
                </a:cubicBezTo>
                <a:close/>
                <a:moveTo>
                  <a:pt x="247" y="874"/>
                </a:moveTo>
                <a:cubicBezTo>
                  <a:pt x="239" y="874"/>
                  <a:pt x="233" y="872"/>
                  <a:pt x="229" y="866"/>
                </a:cubicBezTo>
                <a:cubicBezTo>
                  <a:pt x="225" y="859"/>
                  <a:pt x="223" y="850"/>
                  <a:pt x="223" y="838"/>
                </a:cubicBezTo>
                <a:cubicBezTo>
                  <a:pt x="223" y="825"/>
                  <a:pt x="225" y="815"/>
                  <a:pt x="229" y="808"/>
                </a:cubicBezTo>
                <a:cubicBezTo>
                  <a:pt x="234" y="802"/>
                  <a:pt x="240" y="798"/>
                  <a:pt x="249" y="798"/>
                </a:cubicBezTo>
                <a:cubicBezTo>
                  <a:pt x="265" y="798"/>
                  <a:pt x="273" y="811"/>
                  <a:pt x="273" y="836"/>
                </a:cubicBezTo>
                <a:cubicBezTo>
                  <a:pt x="273" y="849"/>
                  <a:pt x="271" y="858"/>
                  <a:pt x="266" y="865"/>
                </a:cubicBezTo>
                <a:cubicBezTo>
                  <a:pt x="261" y="872"/>
                  <a:pt x="255" y="874"/>
                  <a:pt x="247" y="874"/>
                </a:cubicBezTo>
                <a:close/>
                <a:moveTo>
                  <a:pt x="248" y="808"/>
                </a:moveTo>
                <a:cubicBezTo>
                  <a:pt x="239" y="808"/>
                  <a:pt x="234" y="818"/>
                  <a:pt x="234" y="838"/>
                </a:cubicBezTo>
                <a:cubicBezTo>
                  <a:pt x="234" y="856"/>
                  <a:pt x="239" y="865"/>
                  <a:pt x="247" y="865"/>
                </a:cubicBezTo>
                <a:cubicBezTo>
                  <a:pt x="256" y="865"/>
                  <a:pt x="261" y="856"/>
                  <a:pt x="261" y="837"/>
                </a:cubicBezTo>
                <a:cubicBezTo>
                  <a:pt x="261" y="817"/>
                  <a:pt x="256" y="808"/>
                  <a:pt x="248" y="808"/>
                </a:cubicBezTo>
                <a:close/>
                <a:moveTo>
                  <a:pt x="459" y="874"/>
                </a:moveTo>
                <a:cubicBezTo>
                  <a:pt x="452" y="874"/>
                  <a:pt x="446" y="872"/>
                  <a:pt x="442" y="865"/>
                </a:cubicBezTo>
                <a:cubicBezTo>
                  <a:pt x="437" y="859"/>
                  <a:pt x="435" y="849"/>
                  <a:pt x="435" y="838"/>
                </a:cubicBezTo>
                <a:cubicBezTo>
                  <a:pt x="435" y="825"/>
                  <a:pt x="437" y="815"/>
                  <a:pt x="442" y="808"/>
                </a:cubicBezTo>
                <a:cubicBezTo>
                  <a:pt x="446" y="801"/>
                  <a:pt x="453" y="798"/>
                  <a:pt x="462" y="798"/>
                </a:cubicBezTo>
                <a:cubicBezTo>
                  <a:pt x="478" y="798"/>
                  <a:pt x="486" y="811"/>
                  <a:pt x="486" y="836"/>
                </a:cubicBezTo>
                <a:cubicBezTo>
                  <a:pt x="486" y="849"/>
                  <a:pt x="483" y="858"/>
                  <a:pt x="479" y="865"/>
                </a:cubicBezTo>
                <a:cubicBezTo>
                  <a:pt x="474" y="872"/>
                  <a:pt x="468" y="874"/>
                  <a:pt x="459" y="874"/>
                </a:cubicBezTo>
                <a:close/>
                <a:moveTo>
                  <a:pt x="461" y="808"/>
                </a:moveTo>
                <a:cubicBezTo>
                  <a:pt x="452" y="808"/>
                  <a:pt x="448" y="817"/>
                  <a:pt x="448" y="837"/>
                </a:cubicBezTo>
                <a:cubicBezTo>
                  <a:pt x="448" y="855"/>
                  <a:pt x="452" y="865"/>
                  <a:pt x="461" y="865"/>
                </a:cubicBezTo>
                <a:cubicBezTo>
                  <a:pt x="469" y="865"/>
                  <a:pt x="473" y="855"/>
                  <a:pt x="473" y="837"/>
                </a:cubicBezTo>
                <a:cubicBezTo>
                  <a:pt x="473" y="817"/>
                  <a:pt x="470" y="808"/>
                  <a:pt x="461" y="808"/>
                </a:cubicBezTo>
                <a:close/>
                <a:moveTo>
                  <a:pt x="577" y="874"/>
                </a:moveTo>
                <a:cubicBezTo>
                  <a:pt x="570" y="874"/>
                  <a:pt x="564" y="872"/>
                  <a:pt x="560" y="865"/>
                </a:cubicBezTo>
                <a:cubicBezTo>
                  <a:pt x="555" y="859"/>
                  <a:pt x="553" y="849"/>
                  <a:pt x="553" y="838"/>
                </a:cubicBezTo>
                <a:cubicBezTo>
                  <a:pt x="553" y="825"/>
                  <a:pt x="555" y="815"/>
                  <a:pt x="560" y="808"/>
                </a:cubicBezTo>
                <a:cubicBezTo>
                  <a:pt x="564" y="801"/>
                  <a:pt x="571" y="798"/>
                  <a:pt x="580" y="798"/>
                </a:cubicBezTo>
                <a:cubicBezTo>
                  <a:pt x="596" y="798"/>
                  <a:pt x="604" y="811"/>
                  <a:pt x="604" y="836"/>
                </a:cubicBezTo>
                <a:cubicBezTo>
                  <a:pt x="604" y="849"/>
                  <a:pt x="602" y="858"/>
                  <a:pt x="597" y="865"/>
                </a:cubicBezTo>
                <a:cubicBezTo>
                  <a:pt x="592" y="872"/>
                  <a:pt x="586" y="874"/>
                  <a:pt x="577" y="874"/>
                </a:cubicBezTo>
                <a:close/>
                <a:moveTo>
                  <a:pt x="579" y="808"/>
                </a:moveTo>
                <a:cubicBezTo>
                  <a:pt x="570" y="808"/>
                  <a:pt x="566" y="817"/>
                  <a:pt x="566" y="837"/>
                </a:cubicBezTo>
                <a:cubicBezTo>
                  <a:pt x="566" y="855"/>
                  <a:pt x="570" y="865"/>
                  <a:pt x="579" y="865"/>
                </a:cubicBezTo>
                <a:cubicBezTo>
                  <a:pt x="587" y="865"/>
                  <a:pt x="591" y="855"/>
                  <a:pt x="591" y="837"/>
                </a:cubicBezTo>
                <a:cubicBezTo>
                  <a:pt x="591" y="817"/>
                  <a:pt x="588" y="808"/>
                  <a:pt x="579" y="808"/>
                </a:cubicBezTo>
                <a:close/>
                <a:moveTo>
                  <a:pt x="533" y="801"/>
                </a:moveTo>
                <a:cubicBezTo>
                  <a:pt x="533" y="801"/>
                  <a:pt x="533" y="801"/>
                  <a:pt x="533" y="801"/>
                </a:cubicBezTo>
                <a:cubicBezTo>
                  <a:pt x="528" y="801"/>
                  <a:pt x="528" y="801"/>
                  <a:pt x="528" y="801"/>
                </a:cubicBezTo>
                <a:cubicBezTo>
                  <a:pt x="526" y="802"/>
                  <a:pt x="524" y="804"/>
                  <a:pt x="522" y="805"/>
                </a:cubicBezTo>
                <a:cubicBezTo>
                  <a:pt x="521" y="806"/>
                  <a:pt x="518" y="807"/>
                  <a:pt x="517" y="808"/>
                </a:cubicBezTo>
                <a:cubicBezTo>
                  <a:pt x="516" y="808"/>
                  <a:pt x="513" y="809"/>
                  <a:pt x="512" y="810"/>
                </a:cubicBezTo>
                <a:cubicBezTo>
                  <a:pt x="510" y="810"/>
                  <a:pt x="508" y="811"/>
                  <a:pt x="506" y="812"/>
                </a:cubicBezTo>
                <a:cubicBezTo>
                  <a:pt x="506" y="812"/>
                  <a:pt x="506" y="812"/>
                  <a:pt x="506" y="822"/>
                </a:cubicBezTo>
                <a:cubicBezTo>
                  <a:pt x="509" y="821"/>
                  <a:pt x="512" y="820"/>
                  <a:pt x="514" y="819"/>
                </a:cubicBezTo>
                <a:cubicBezTo>
                  <a:pt x="517" y="818"/>
                  <a:pt x="519" y="817"/>
                  <a:pt x="521" y="816"/>
                </a:cubicBezTo>
                <a:cubicBezTo>
                  <a:pt x="521" y="816"/>
                  <a:pt x="521" y="816"/>
                  <a:pt x="521" y="874"/>
                </a:cubicBezTo>
                <a:cubicBezTo>
                  <a:pt x="521" y="874"/>
                  <a:pt x="521" y="874"/>
                  <a:pt x="533" y="874"/>
                </a:cubicBezTo>
                <a:cubicBezTo>
                  <a:pt x="533" y="874"/>
                  <a:pt x="533" y="874"/>
                  <a:pt x="533" y="801"/>
                </a:cubicBezTo>
                <a:close/>
                <a:moveTo>
                  <a:pt x="648" y="874"/>
                </a:moveTo>
                <a:cubicBezTo>
                  <a:pt x="641" y="874"/>
                  <a:pt x="635" y="872"/>
                  <a:pt x="631" y="866"/>
                </a:cubicBezTo>
                <a:cubicBezTo>
                  <a:pt x="627" y="859"/>
                  <a:pt x="624" y="850"/>
                  <a:pt x="624" y="838"/>
                </a:cubicBezTo>
                <a:cubicBezTo>
                  <a:pt x="624" y="825"/>
                  <a:pt x="627" y="815"/>
                  <a:pt x="631" y="808"/>
                </a:cubicBezTo>
                <a:cubicBezTo>
                  <a:pt x="635" y="802"/>
                  <a:pt x="642" y="798"/>
                  <a:pt x="651" y="798"/>
                </a:cubicBezTo>
                <a:cubicBezTo>
                  <a:pt x="667" y="798"/>
                  <a:pt x="675" y="811"/>
                  <a:pt x="675" y="836"/>
                </a:cubicBezTo>
                <a:cubicBezTo>
                  <a:pt x="675" y="849"/>
                  <a:pt x="673" y="858"/>
                  <a:pt x="668" y="865"/>
                </a:cubicBezTo>
                <a:cubicBezTo>
                  <a:pt x="663" y="872"/>
                  <a:pt x="657" y="874"/>
                  <a:pt x="648" y="874"/>
                </a:cubicBezTo>
                <a:close/>
                <a:moveTo>
                  <a:pt x="650" y="808"/>
                </a:moveTo>
                <a:cubicBezTo>
                  <a:pt x="641" y="808"/>
                  <a:pt x="636" y="818"/>
                  <a:pt x="636" y="838"/>
                </a:cubicBezTo>
                <a:cubicBezTo>
                  <a:pt x="636" y="856"/>
                  <a:pt x="640" y="865"/>
                  <a:pt x="649" y="865"/>
                </a:cubicBezTo>
                <a:cubicBezTo>
                  <a:pt x="658" y="865"/>
                  <a:pt x="662" y="856"/>
                  <a:pt x="662" y="837"/>
                </a:cubicBezTo>
                <a:cubicBezTo>
                  <a:pt x="662" y="817"/>
                  <a:pt x="658" y="808"/>
                  <a:pt x="650" y="808"/>
                </a:cubicBezTo>
                <a:close/>
                <a:moveTo>
                  <a:pt x="696" y="833"/>
                </a:moveTo>
                <a:cubicBezTo>
                  <a:pt x="696" y="833"/>
                  <a:pt x="696" y="833"/>
                  <a:pt x="696" y="833"/>
                </a:cubicBezTo>
                <a:cubicBezTo>
                  <a:pt x="695" y="842"/>
                  <a:pt x="695" y="842"/>
                  <a:pt x="695" y="842"/>
                </a:cubicBezTo>
                <a:cubicBezTo>
                  <a:pt x="702" y="842"/>
                  <a:pt x="702" y="845"/>
                  <a:pt x="702" y="848"/>
                </a:cubicBezTo>
                <a:cubicBezTo>
                  <a:pt x="702" y="850"/>
                  <a:pt x="702" y="852"/>
                  <a:pt x="702" y="855"/>
                </a:cubicBezTo>
                <a:cubicBezTo>
                  <a:pt x="702" y="857"/>
                  <a:pt x="701" y="859"/>
                  <a:pt x="701" y="862"/>
                </a:cubicBezTo>
                <a:cubicBezTo>
                  <a:pt x="701" y="871"/>
                  <a:pt x="707" y="874"/>
                  <a:pt x="716" y="874"/>
                </a:cubicBezTo>
                <a:cubicBezTo>
                  <a:pt x="716" y="874"/>
                  <a:pt x="716" y="874"/>
                  <a:pt x="719" y="874"/>
                </a:cubicBezTo>
                <a:cubicBezTo>
                  <a:pt x="719" y="874"/>
                  <a:pt x="719" y="874"/>
                  <a:pt x="719" y="865"/>
                </a:cubicBezTo>
                <a:cubicBezTo>
                  <a:pt x="719" y="865"/>
                  <a:pt x="719" y="865"/>
                  <a:pt x="718" y="865"/>
                </a:cubicBezTo>
                <a:cubicBezTo>
                  <a:pt x="714" y="865"/>
                  <a:pt x="713" y="863"/>
                  <a:pt x="713" y="859"/>
                </a:cubicBezTo>
                <a:cubicBezTo>
                  <a:pt x="713" y="858"/>
                  <a:pt x="713" y="856"/>
                  <a:pt x="713" y="855"/>
                </a:cubicBezTo>
                <a:cubicBezTo>
                  <a:pt x="713" y="853"/>
                  <a:pt x="714" y="851"/>
                  <a:pt x="714" y="849"/>
                </a:cubicBezTo>
                <a:cubicBezTo>
                  <a:pt x="714" y="841"/>
                  <a:pt x="711" y="839"/>
                  <a:pt x="705" y="837"/>
                </a:cubicBezTo>
                <a:cubicBezTo>
                  <a:pt x="705" y="837"/>
                  <a:pt x="705" y="837"/>
                  <a:pt x="705" y="837"/>
                </a:cubicBezTo>
                <a:cubicBezTo>
                  <a:pt x="711" y="836"/>
                  <a:pt x="714" y="834"/>
                  <a:pt x="714" y="826"/>
                </a:cubicBezTo>
                <a:cubicBezTo>
                  <a:pt x="714" y="824"/>
                  <a:pt x="713" y="822"/>
                  <a:pt x="713" y="820"/>
                </a:cubicBezTo>
                <a:cubicBezTo>
                  <a:pt x="713" y="818"/>
                  <a:pt x="713" y="816"/>
                  <a:pt x="713" y="815"/>
                </a:cubicBezTo>
                <a:cubicBezTo>
                  <a:pt x="713" y="812"/>
                  <a:pt x="714" y="809"/>
                  <a:pt x="718" y="809"/>
                </a:cubicBezTo>
                <a:cubicBezTo>
                  <a:pt x="718" y="809"/>
                  <a:pt x="718" y="809"/>
                  <a:pt x="719" y="809"/>
                </a:cubicBezTo>
                <a:cubicBezTo>
                  <a:pt x="719" y="809"/>
                  <a:pt x="719" y="809"/>
                  <a:pt x="719" y="800"/>
                </a:cubicBezTo>
                <a:cubicBezTo>
                  <a:pt x="719" y="800"/>
                  <a:pt x="719" y="800"/>
                  <a:pt x="716" y="800"/>
                </a:cubicBezTo>
                <a:cubicBezTo>
                  <a:pt x="707" y="800"/>
                  <a:pt x="701" y="804"/>
                  <a:pt x="701" y="813"/>
                </a:cubicBezTo>
                <a:cubicBezTo>
                  <a:pt x="701" y="815"/>
                  <a:pt x="702" y="818"/>
                  <a:pt x="702" y="820"/>
                </a:cubicBezTo>
                <a:cubicBezTo>
                  <a:pt x="702" y="822"/>
                  <a:pt x="702" y="825"/>
                  <a:pt x="702" y="827"/>
                </a:cubicBezTo>
                <a:cubicBezTo>
                  <a:pt x="702" y="830"/>
                  <a:pt x="702" y="833"/>
                  <a:pt x="696" y="833"/>
                </a:cubicBezTo>
                <a:close/>
                <a:moveTo>
                  <a:pt x="751" y="842"/>
                </a:moveTo>
                <a:cubicBezTo>
                  <a:pt x="751" y="842"/>
                  <a:pt x="751" y="842"/>
                  <a:pt x="751" y="842"/>
                </a:cubicBezTo>
                <a:cubicBezTo>
                  <a:pt x="751" y="833"/>
                  <a:pt x="751" y="833"/>
                  <a:pt x="751" y="833"/>
                </a:cubicBezTo>
                <a:cubicBezTo>
                  <a:pt x="744" y="833"/>
                  <a:pt x="744" y="830"/>
                  <a:pt x="744" y="827"/>
                </a:cubicBezTo>
                <a:cubicBezTo>
                  <a:pt x="744" y="825"/>
                  <a:pt x="744" y="822"/>
                  <a:pt x="744" y="820"/>
                </a:cubicBezTo>
                <a:cubicBezTo>
                  <a:pt x="745" y="818"/>
                  <a:pt x="745" y="815"/>
                  <a:pt x="745" y="813"/>
                </a:cubicBezTo>
                <a:cubicBezTo>
                  <a:pt x="745" y="804"/>
                  <a:pt x="739" y="800"/>
                  <a:pt x="730" y="800"/>
                </a:cubicBezTo>
                <a:cubicBezTo>
                  <a:pt x="730" y="800"/>
                  <a:pt x="730" y="800"/>
                  <a:pt x="726" y="800"/>
                </a:cubicBezTo>
                <a:cubicBezTo>
                  <a:pt x="726" y="800"/>
                  <a:pt x="726" y="800"/>
                  <a:pt x="726" y="809"/>
                </a:cubicBezTo>
                <a:cubicBezTo>
                  <a:pt x="726" y="809"/>
                  <a:pt x="726" y="809"/>
                  <a:pt x="728" y="809"/>
                </a:cubicBezTo>
                <a:cubicBezTo>
                  <a:pt x="731" y="809"/>
                  <a:pt x="733" y="812"/>
                  <a:pt x="733" y="815"/>
                </a:cubicBezTo>
                <a:cubicBezTo>
                  <a:pt x="733" y="816"/>
                  <a:pt x="732" y="818"/>
                  <a:pt x="732" y="820"/>
                </a:cubicBezTo>
                <a:cubicBezTo>
                  <a:pt x="732" y="822"/>
                  <a:pt x="732" y="824"/>
                  <a:pt x="732" y="826"/>
                </a:cubicBezTo>
                <a:cubicBezTo>
                  <a:pt x="732" y="834"/>
                  <a:pt x="735" y="836"/>
                  <a:pt x="741" y="837"/>
                </a:cubicBezTo>
                <a:cubicBezTo>
                  <a:pt x="741" y="837"/>
                  <a:pt x="741" y="837"/>
                  <a:pt x="741" y="837"/>
                </a:cubicBezTo>
                <a:cubicBezTo>
                  <a:pt x="735" y="839"/>
                  <a:pt x="732" y="841"/>
                  <a:pt x="732" y="849"/>
                </a:cubicBezTo>
                <a:cubicBezTo>
                  <a:pt x="732" y="851"/>
                  <a:pt x="732" y="853"/>
                  <a:pt x="732" y="855"/>
                </a:cubicBezTo>
                <a:cubicBezTo>
                  <a:pt x="732" y="856"/>
                  <a:pt x="733" y="858"/>
                  <a:pt x="733" y="859"/>
                </a:cubicBezTo>
                <a:cubicBezTo>
                  <a:pt x="733" y="863"/>
                  <a:pt x="732" y="865"/>
                  <a:pt x="728" y="865"/>
                </a:cubicBezTo>
                <a:cubicBezTo>
                  <a:pt x="728" y="865"/>
                  <a:pt x="728" y="865"/>
                  <a:pt x="726" y="865"/>
                </a:cubicBezTo>
                <a:cubicBezTo>
                  <a:pt x="726" y="865"/>
                  <a:pt x="726" y="865"/>
                  <a:pt x="726" y="874"/>
                </a:cubicBezTo>
                <a:cubicBezTo>
                  <a:pt x="726" y="874"/>
                  <a:pt x="726" y="874"/>
                  <a:pt x="730" y="874"/>
                </a:cubicBezTo>
                <a:cubicBezTo>
                  <a:pt x="739" y="874"/>
                  <a:pt x="745" y="871"/>
                  <a:pt x="745" y="862"/>
                </a:cubicBezTo>
                <a:cubicBezTo>
                  <a:pt x="745" y="859"/>
                  <a:pt x="745" y="857"/>
                  <a:pt x="744" y="855"/>
                </a:cubicBezTo>
                <a:cubicBezTo>
                  <a:pt x="744" y="852"/>
                  <a:pt x="744" y="850"/>
                  <a:pt x="744" y="848"/>
                </a:cubicBezTo>
                <a:cubicBezTo>
                  <a:pt x="744" y="845"/>
                  <a:pt x="744" y="842"/>
                  <a:pt x="751" y="842"/>
                </a:cubicBezTo>
                <a:close/>
                <a:moveTo>
                  <a:pt x="871" y="874"/>
                </a:moveTo>
                <a:cubicBezTo>
                  <a:pt x="863" y="874"/>
                  <a:pt x="857" y="872"/>
                  <a:pt x="852" y="866"/>
                </a:cubicBezTo>
                <a:cubicBezTo>
                  <a:pt x="849" y="859"/>
                  <a:pt x="847" y="850"/>
                  <a:pt x="847" y="838"/>
                </a:cubicBezTo>
                <a:cubicBezTo>
                  <a:pt x="847" y="825"/>
                  <a:pt x="849" y="815"/>
                  <a:pt x="853" y="808"/>
                </a:cubicBezTo>
                <a:cubicBezTo>
                  <a:pt x="858" y="802"/>
                  <a:pt x="864" y="798"/>
                  <a:pt x="873" y="798"/>
                </a:cubicBezTo>
                <a:cubicBezTo>
                  <a:pt x="889" y="798"/>
                  <a:pt x="897" y="811"/>
                  <a:pt x="897" y="836"/>
                </a:cubicBezTo>
                <a:cubicBezTo>
                  <a:pt x="897" y="849"/>
                  <a:pt x="895" y="858"/>
                  <a:pt x="890" y="865"/>
                </a:cubicBezTo>
                <a:cubicBezTo>
                  <a:pt x="885" y="872"/>
                  <a:pt x="879" y="874"/>
                  <a:pt x="871" y="874"/>
                </a:cubicBezTo>
                <a:close/>
                <a:moveTo>
                  <a:pt x="872" y="808"/>
                </a:moveTo>
                <a:cubicBezTo>
                  <a:pt x="863" y="808"/>
                  <a:pt x="858" y="818"/>
                  <a:pt x="858" y="838"/>
                </a:cubicBezTo>
                <a:cubicBezTo>
                  <a:pt x="858" y="856"/>
                  <a:pt x="863" y="865"/>
                  <a:pt x="871" y="865"/>
                </a:cubicBezTo>
                <a:cubicBezTo>
                  <a:pt x="880" y="865"/>
                  <a:pt x="885" y="856"/>
                  <a:pt x="885" y="837"/>
                </a:cubicBezTo>
                <a:cubicBezTo>
                  <a:pt x="885" y="817"/>
                  <a:pt x="880" y="808"/>
                  <a:pt x="872" y="808"/>
                </a:cubicBezTo>
                <a:close/>
                <a:moveTo>
                  <a:pt x="944" y="801"/>
                </a:moveTo>
                <a:cubicBezTo>
                  <a:pt x="944" y="801"/>
                  <a:pt x="944" y="801"/>
                  <a:pt x="944" y="801"/>
                </a:cubicBezTo>
                <a:cubicBezTo>
                  <a:pt x="939" y="801"/>
                  <a:pt x="939" y="801"/>
                  <a:pt x="939" y="801"/>
                </a:cubicBezTo>
                <a:cubicBezTo>
                  <a:pt x="937" y="802"/>
                  <a:pt x="936" y="804"/>
                  <a:pt x="934" y="805"/>
                </a:cubicBezTo>
                <a:cubicBezTo>
                  <a:pt x="932" y="806"/>
                  <a:pt x="930" y="807"/>
                  <a:pt x="929" y="808"/>
                </a:cubicBezTo>
                <a:cubicBezTo>
                  <a:pt x="926" y="808"/>
                  <a:pt x="925" y="809"/>
                  <a:pt x="923" y="810"/>
                </a:cubicBezTo>
                <a:cubicBezTo>
                  <a:pt x="921" y="810"/>
                  <a:pt x="920" y="811"/>
                  <a:pt x="918" y="812"/>
                </a:cubicBezTo>
                <a:cubicBezTo>
                  <a:pt x="918" y="812"/>
                  <a:pt x="918" y="812"/>
                  <a:pt x="918" y="822"/>
                </a:cubicBezTo>
                <a:cubicBezTo>
                  <a:pt x="921" y="821"/>
                  <a:pt x="923" y="820"/>
                  <a:pt x="926" y="819"/>
                </a:cubicBezTo>
                <a:cubicBezTo>
                  <a:pt x="929" y="818"/>
                  <a:pt x="931" y="817"/>
                  <a:pt x="933" y="816"/>
                </a:cubicBezTo>
                <a:cubicBezTo>
                  <a:pt x="933" y="816"/>
                  <a:pt x="933" y="816"/>
                  <a:pt x="933" y="874"/>
                </a:cubicBezTo>
                <a:cubicBezTo>
                  <a:pt x="933" y="874"/>
                  <a:pt x="933" y="874"/>
                  <a:pt x="944" y="874"/>
                </a:cubicBezTo>
                <a:cubicBezTo>
                  <a:pt x="944" y="874"/>
                  <a:pt x="944" y="874"/>
                  <a:pt x="944" y="801"/>
                </a:cubicBezTo>
                <a:close/>
                <a:moveTo>
                  <a:pt x="777" y="874"/>
                </a:moveTo>
                <a:cubicBezTo>
                  <a:pt x="780" y="855"/>
                  <a:pt x="780" y="855"/>
                  <a:pt x="780" y="855"/>
                </a:cubicBezTo>
                <a:cubicBezTo>
                  <a:pt x="771" y="855"/>
                  <a:pt x="771" y="855"/>
                  <a:pt x="771" y="855"/>
                </a:cubicBezTo>
                <a:cubicBezTo>
                  <a:pt x="771" y="843"/>
                  <a:pt x="771" y="843"/>
                  <a:pt x="771" y="843"/>
                </a:cubicBezTo>
                <a:cubicBezTo>
                  <a:pt x="782" y="843"/>
                  <a:pt x="782" y="843"/>
                  <a:pt x="782" y="843"/>
                </a:cubicBezTo>
                <a:cubicBezTo>
                  <a:pt x="783" y="832"/>
                  <a:pt x="783" y="832"/>
                  <a:pt x="783" y="832"/>
                </a:cubicBezTo>
                <a:cubicBezTo>
                  <a:pt x="774" y="832"/>
                  <a:pt x="774" y="832"/>
                  <a:pt x="774" y="832"/>
                </a:cubicBezTo>
                <a:cubicBezTo>
                  <a:pt x="774" y="820"/>
                  <a:pt x="774" y="820"/>
                  <a:pt x="774" y="820"/>
                </a:cubicBezTo>
                <a:cubicBezTo>
                  <a:pt x="785" y="820"/>
                  <a:pt x="785" y="820"/>
                  <a:pt x="785" y="820"/>
                </a:cubicBezTo>
                <a:cubicBezTo>
                  <a:pt x="788" y="802"/>
                  <a:pt x="788" y="802"/>
                  <a:pt x="788" y="802"/>
                </a:cubicBezTo>
                <a:cubicBezTo>
                  <a:pt x="799" y="802"/>
                  <a:pt x="799" y="802"/>
                  <a:pt x="799" y="802"/>
                </a:cubicBezTo>
                <a:cubicBezTo>
                  <a:pt x="796" y="820"/>
                  <a:pt x="796" y="820"/>
                  <a:pt x="796" y="820"/>
                </a:cubicBezTo>
                <a:cubicBezTo>
                  <a:pt x="806" y="820"/>
                  <a:pt x="806" y="820"/>
                  <a:pt x="806" y="820"/>
                </a:cubicBezTo>
                <a:cubicBezTo>
                  <a:pt x="809" y="802"/>
                  <a:pt x="809" y="802"/>
                  <a:pt x="809" y="802"/>
                </a:cubicBezTo>
                <a:cubicBezTo>
                  <a:pt x="820" y="802"/>
                  <a:pt x="820" y="802"/>
                  <a:pt x="820" y="802"/>
                </a:cubicBezTo>
                <a:cubicBezTo>
                  <a:pt x="817" y="820"/>
                  <a:pt x="817" y="820"/>
                  <a:pt x="817" y="820"/>
                </a:cubicBezTo>
                <a:cubicBezTo>
                  <a:pt x="826" y="820"/>
                  <a:pt x="826" y="820"/>
                  <a:pt x="826" y="820"/>
                </a:cubicBezTo>
                <a:cubicBezTo>
                  <a:pt x="826" y="832"/>
                  <a:pt x="826" y="832"/>
                  <a:pt x="826" y="832"/>
                </a:cubicBezTo>
                <a:cubicBezTo>
                  <a:pt x="815" y="832"/>
                  <a:pt x="815" y="832"/>
                  <a:pt x="815" y="832"/>
                </a:cubicBezTo>
                <a:cubicBezTo>
                  <a:pt x="813" y="843"/>
                  <a:pt x="813" y="843"/>
                  <a:pt x="813" y="843"/>
                </a:cubicBezTo>
                <a:cubicBezTo>
                  <a:pt x="823" y="843"/>
                  <a:pt x="823" y="843"/>
                  <a:pt x="823" y="843"/>
                </a:cubicBezTo>
                <a:cubicBezTo>
                  <a:pt x="823" y="855"/>
                  <a:pt x="823" y="855"/>
                  <a:pt x="823" y="855"/>
                </a:cubicBezTo>
                <a:cubicBezTo>
                  <a:pt x="812" y="855"/>
                  <a:pt x="812" y="855"/>
                  <a:pt x="812" y="855"/>
                </a:cubicBezTo>
                <a:cubicBezTo>
                  <a:pt x="809" y="874"/>
                  <a:pt x="809" y="874"/>
                  <a:pt x="809" y="874"/>
                </a:cubicBezTo>
                <a:cubicBezTo>
                  <a:pt x="798" y="874"/>
                  <a:pt x="798" y="874"/>
                  <a:pt x="798" y="874"/>
                </a:cubicBezTo>
                <a:cubicBezTo>
                  <a:pt x="801" y="855"/>
                  <a:pt x="801" y="855"/>
                  <a:pt x="801" y="855"/>
                </a:cubicBezTo>
                <a:cubicBezTo>
                  <a:pt x="791" y="855"/>
                  <a:pt x="791" y="855"/>
                  <a:pt x="791" y="855"/>
                </a:cubicBezTo>
                <a:cubicBezTo>
                  <a:pt x="788" y="874"/>
                  <a:pt x="788" y="874"/>
                  <a:pt x="788" y="874"/>
                </a:cubicBezTo>
                <a:cubicBezTo>
                  <a:pt x="777" y="874"/>
                  <a:pt x="777" y="874"/>
                  <a:pt x="777" y="874"/>
                </a:cubicBezTo>
                <a:cubicBezTo>
                  <a:pt x="777" y="874"/>
                  <a:pt x="777" y="874"/>
                  <a:pt x="777" y="874"/>
                </a:cubicBezTo>
                <a:close/>
                <a:moveTo>
                  <a:pt x="802" y="843"/>
                </a:moveTo>
                <a:cubicBezTo>
                  <a:pt x="804" y="832"/>
                  <a:pt x="804" y="832"/>
                  <a:pt x="804" y="832"/>
                </a:cubicBezTo>
                <a:cubicBezTo>
                  <a:pt x="794" y="832"/>
                  <a:pt x="794" y="832"/>
                  <a:pt x="794" y="832"/>
                </a:cubicBezTo>
                <a:cubicBezTo>
                  <a:pt x="793" y="843"/>
                  <a:pt x="793" y="843"/>
                  <a:pt x="793" y="843"/>
                </a:cubicBezTo>
                <a:cubicBezTo>
                  <a:pt x="802" y="843"/>
                  <a:pt x="802" y="843"/>
                  <a:pt x="802" y="843"/>
                </a:cubicBezTo>
                <a:cubicBezTo>
                  <a:pt x="802" y="843"/>
                  <a:pt x="802" y="843"/>
                  <a:pt x="802" y="843"/>
                </a:cubicBezTo>
                <a:close/>
                <a:moveTo>
                  <a:pt x="320" y="801"/>
                </a:moveTo>
                <a:cubicBezTo>
                  <a:pt x="320" y="801"/>
                  <a:pt x="320" y="801"/>
                  <a:pt x="320" y="801"/>
                </a:cubicBezTo>
                <a:cubicBezTo>
                  <a:pt x="315" y="801"/>
                  <a:pt x="315" y="801"/>
                  <a:pt x="315" y="801"/>
                </a:cubicBezTo>
                <a:cubicBezTo>
                  <a:pt x="313" y="802"/>
                  <a:pt x="312" y="804"/>
                  <a:pt x="310" y="805"/>
                </a:cubicBezTo>
                <a:cubicBezTo>
                  <a:pt x="308" y="806"/>
                  <a:pt x="307" y="807"/>
                  <a:pt x="305" y="808"/>
                </a:cubicBezTo>
                <a:cubicBezTo>
                  <a:pt x="303" y="809"/>
                  <a:pt x="301" y="810"/>
                  <a:pt x="299" y="810"/>
                </a:cubicBezTo>
                <a:cubicBezTo>
                  <a:pt x="297" y="811"/>
                  <a:pt x="296" y="812"/>
                  <a:pt x="294" y="812"/>
                </a:cubicBezTo>
                <a:cubicBezTo>
                  <a:pt x="294" y="812"/>
                  <a:pt x="294" y="812"/>
                  <a:pt x="294" y="822"/>
                </a:cubicBezTo>
                <a:cubicBezTo>
                  <a:pt x="297" y="821"/>
                  <a:pt x="299" y="821"/>
                  <a:pt x="302" y="819"/>
                </a:cubicBezTo>
                <a:cubicBezTo>
                  <a:pt x="305" y="818"/>
                  <a:pt x="307" y="817"/>
                  <a:pt x="309" y="816"/>
                </a:cubicBezTo>
                <a:cubicBezTo>
                  <a:pt x="309" y="816"/>
                  <a:pt x="309" y="816"/>
                  <a:pt x="309" y="874"/>
                </a:cubicBezTo>
                <a:cubicBezTo>
                  <a:pt x="309" y="874"/>
                  <a:pt x="309" y="874"/>
                  <a:pt x="320" y="874"/>
                </a:cubicBezTo>
                <a:cubicBezTo>
                  <a:pt x="320" y="874"/>
                  <a:pt x="320" y="874"/>
                  <a:pt x="320" y="801"/>
                </a:cubicBezTo>
                <a:close/>
                <a:moveTo>
                  <a:pt x="368" y="801"/>
                </a:moveTo>
                <a:cubicBezTo>
                  <a:pt x="368" y="801"/>
                  <a:pt x="368" y="801"/>
                  <a:pt x="368" y="801"/>
                </a:cubicBezTo>
                <a:cubicBezTo>
                  <a:pt x="363" y="801"/>
                  <a:pt x="363" y="801"/>
                  <a:pt x="363" y="801"/>
                </a:cubicBezTo>
                <a:cubicBezTo>
                  <a:pt x="361" y="802"/>
                  <a:pt x="359" y="804"/>
                  <a:pt x="357" y="805"/>
                </a:cubicBezTo>
                <a:cubicBezTo>
                  <a:pt x="356" y="806"/>
                  <a:pt x="353" y="807"/>
                  <a:pt x="352" y="808"/>
                </a:cubicBezTo>
                <a:cubicBezTo>
                  <a:pt x="351" y="809"/>
                  <a:pt x="348" y="810"/>
                  <a:pt x="347" y="810"/>
                </a:cubicBezTo>
                <a:cubicBezTo>
                  <a:pt x="345" y="811"/>
                  <a:pt x="343" y="812"/>
                  <a:pt x="341" y="812"/>
                </a:cubicBezTo>
                <a:cubicBezTo>
                  <a:pt x="341" y="812"/>
                  <a:pt x="341" y="812"/>
                  <a:pt x="341" y="822"/>
                </a:cubicBezTo>
                <a:cubicBezTo>
                  <a:pt x="344" y="821"/>
                  <a:pt x="347" y="821"/>
                  <a:pt x="349" y="819"/>
                </a:cubicBezTo>
                <a:cubicBezTo>
                  <a:pt x="352" y="818"/>
                  <a:pt x="354" y="817"/>
                  <a:pt x="356" y="816"/>
                </a:cubicBezTo>
                <a:cubicBezTo>
                  <a:pt x="356" y="816"/>
                  <a:pt x="356" y="816"/>
                  <a:pt x="356" y="874"/>
                </a:cubicBezTo>
                <a:cubicBezTo>
                  <a:pt x="356" y="874"/>
                  <a:pt x="356" y="874"/>
                  <a:pt x="368" y="874"/>
                </a:cubicBezTo>
                <a:cubicBezTo>
                  <a:pt x="368" y="874"/>
                  <a:pt x="368" y="874"/>
                  <a:pt x="368" y="801"/>
                </a:cubicBezTo>
                <a:close/>
                <a:moveTo>
                  <a:pt x="415" y="801"/>
                </a:moveTo>
                <a:cubicBezTo>
                  <a:pt x="415" y="801"/>
                  <a:pt x="415" y="801"/>
                  <a:pt x="415" y="801"/>
                </a:cubicBezTo>
                <a:cubicBezTo>
                  <a:pt x="410" y="801"/>
                  <a:pt x="410" y="801"/>
                  <a:pt x="410" y="801"/>
                </a:cubicBezTo>
                <a:cubicBezTo>
                  <a:pt x="408" y="802"/>
                  <a:pt x="407" y="804"/>
                  <a:pt x="404" y="805"/>
                </a:cubicBezTo>
                <a:cubicBezTo>
                  <a:pt x="403" y="806"/>
                  <a:pt x="401" y="807"/>
                  <a:pt x="399" y="808"/>
                </a:cubicBezTo>
                <a:cubicBezTo>
                  <a:pt x="397" y="808"/>
                  <a:pt x="396" y="809"/>
                  <a:pt x="394" y="810"/>
                </a:cubicBezTo>
                <a:cubicBezTo>
                  <a:pt x="392" y="810"/>
                  <a:pt x="390" y="811"/>
                  <a:pt x="389" y="812"/>
                </a:cubicBezTo>
                <a:cubicBezTo>
                  <a:pt x="389" y="812"/>
                  <a:pt x="389" y="812"/>
                  <a:pt x="389" y="822"/>
                </a:cubicBezTo>
                <a:cubicBezTo>
                  <a:pt x="392" y="821"/>
                  <a:pt x="394" y="820"/>
                  <a:pt x="397" y="819"/>
                </a:cubicBezTo>
                <a:cubicBezTo>
                  <a:pt x="399" y="818"/>
                  <a:pt x="402" y="817"/>
                  <a:pt x="403" y="816"/>
                </a:cubicBezTo>
                <a:cubicBezTo>
                  <a:pt x="403" y="816"/>
                  <a:pt x="403" y="816"/>
                  <a:pt x="403" y="874"/>
                </a:cubicBezTo>
                <a:cubicBezTo>
                  <a:pt x="403" y="874"/>
                  <a:pt x="403" y="874"/>
                  <a:pt x="415" y="874"/>
                </a:cubicBezTo>
                <a:cubicBezTo>
                  <a:pt x="415" y="874"/>
                  <a:pt x="415" y="874"/>
                  <a:pt x="415" y="801"/>
                </a:cubicBezTo>
                <a:close/>
                <a:moveTo>
                  <a:pt x="622" y="705"/>
                </a:moveTo>
                <a:cubicBezTo>
                  <a:pt x="622" y="705"/>
                  <a:pt x="622" y="705"/>
                  <a:pt x="622" y="705"/>
                </a:cubicBezTo>
                <a:cubicBezTo>
                  <a:pt x="617" y="705"/>
                  <a:pt x="617" y="705"/>
                  <a:pt x="617" y="705"/>
                </a:cubicBezTo>
                <a:cubicBezTo>
                  <a:pt x="615" y="706"/>
                  <a:pt x="613" y="708"/>
                  <a:pt x="611" y="709"/>
                </a:cubicBezTo>
                <a:cubicBezTo>
                  <a:pt x="610" y="710"/>
                  <a:pt x="607" y="711"/>
                  <a:pt x="606" y="712"/>
                </a:cubicBezTo>
                <a:cubicBezTo>
                  <a:pt x="604" y="712"/>
                  <a:pt x="602" y="713"/>
                  <a:pt x="601" y="714"/>
                </a:cubicBezTo>
                <a:cubicBezTo>
                  <a:pt x="599" y="714"/>
                  <a:pt x="597" y="715"/>
                  <a:pt x="595" y="716"/>
                </a:cubicBezTo>
                <a:cubicBezTo>
                  <a:pt x="595" y="716"/>
                  <a:pt x="595" y="716"/>
                  <a:pt x="595" y="726"/>
                </a:cubicBezTo>
                <a:cubicBezTo>
                  <a:pt x="598" y="725"/>
                  <a:pt x="601" y="724"/>
                  <a:pt x="603" y="723"/>
                </a:cubicBezTo>
                <a:cubicBezTo>
                  <a:pt x="606" y="722"/>
                  <a:pt x="608" y="721"/>
                  <a:pt x="610" y="720"/>
                </a:cubicBezTo>
                <a:cubicBezTo>
                  <a:pt x="610" y="720"/>
                  <a:pt x="610" y="720"/>
                  <a:pt x="610" y="778"/>
                </a:cubicBezTo>
                <a:cubicBezTo>
                  <a:pt x="610" y="778"/>
                  <a:pt x="610" y="778"/>
                  <a:pt x="622" y="778"/>
                </a:cubicBezTo>
                <a:cubicBezTo>
                  <a:pt x="622" y="778"/>
                  <a:pt x="622" y="778"/>
                  <a:pt x="622" y="705"/>
                </a:cubicBezTo>
                <a:close/>
                <a:moveTo>
                  <a:pt x="668" y="705"/>
                </a:moveTo>
                <a:cubicBezTo>
                  <a:pt x="668" y="705"/>
                  <a:pt x="668" y="705"/>
                  <a:pt x="668" y="705"/>
                </a:cubicBezTo>
                <a:cubicBezTo>
                  <a:pt x="663" y="705"/>
                  <a:pt x="663" y="705"/>
                  <a:pt x="663" y="705"/>
                </a:cubicBezTo>
                <a:cubicBezTo>
                  <a:pt x="661" y="706"/>
                  <a:pt x="660" y="708"/>
                  <a:pt x="658" y="709"/>
                </a:cubicBezTo>
                <a:cubicBezTo>
                  <a:pt x="656" y="710"/>
                  <a:pt x="654" y="711"/>
                  <a:pt x="653" y="712"/>
                </a:cubicBezTo>
                <a:cubicBezTo>
                  <a:pt x="651" y="713"/>
                  <a:pt x="649" y="714"/>
                  <a:pt x="647" y="714"/>
                </a:cubicBezTo>
                <a:cubicBezTo>
                  <a:pt x="645" y="715"/>
                  <a:pt x="644" y="716"/>
                  <a:pt x="642" y="716"/>
                </a:cubicBezTo>
                <a:cubicBezTo>
                  <a:pt x="642" y="716"/>
                  <a:pt x="642" y="716"/>
                  <a:pt x="642" y="726"/>
                </a:cubicBezTo>
                <a:cubicBezTo>
                  <a:pt x="645" y="725"/>
                  <a:pt x="647" y="725"/>
                  <a:pt x="650" y="723"/>
                </a:cubicBezTo>
                <a:cubicBezTo>
                  <a:pt x="653" y="722"/>
                  <a:pt x="655" y="721"/>
                  <a:pt x="657" y="720"/>
                </a:cubicBezTo>
                <a:cubicBezTo>
                  <a:pt x="657" y="720"/>
                  <a:pt x="657" y="720"/>
                  <a:pt x="657" y="778"/>
                </a:cubicBezTo>
                <a:cubicBezTo>
                  <a:pt x="657" y="778"/>
                  <a:pt x="657" y="778"/>
                  <a:pt x="668" y="778"/>
                </a:cubicBezTo>
                <a:cubicBezTo>
                  <a:pt x="668" y="778"/>
                  <a:pt x="668" y="778"/>
                  <a:pt x="668" y="705"/>
                </a:cubicBezTo>
                <a:close/>
                <a:moveTo>
                  <a:pt x="714" y="705"/>
                </a:moveTo>
                <a:cubicBezTo>
                  <a:pt x="714" y="705"/>
                  <a:pt x="714" y="705"/>
                  <a:pt x="714" y="705"/>
                </a:cubicBezTo>
                <a:cubicBezTo>
                  <a:pt x="710" y="705"/>
                  <a:pt x="710" y="705"/>
                  <a:pt x="710" y="705"/>
                </a:cubicBezTo>
                <a:cubicBezTo>
                  <a:pt x="708" y="706"/>
                  <a:pt x="706" y="708"/>
                  <a:pt x="704" y="709"/>
                </a:cubicBezTo>
                <a:cubicBezTo>
                  <a:pt x="703" y="710"/>
                  <a:pt x="700" y="711"/>
                  <a:pt x="699" y="712"/>
                </a:cubicBezTo>
                <a:cubicBezTo>
                  <a:pt x="697" y="713"/>
                  <a:pt x="695" y="714"/>
                  <a:pt x="693" y="714"/>
                </a:cubicBezTo>
                <a:cubicBezTo>
                  <a:pt x="692" y="715"/>
                  <a:pt x="690" y="716"/>
                  <a:pt x="688" y="716"/>
                </a:cubicBezTo>
                <a:cubicBezTo>
                  <a:pt x="688" y="716"/>
                  <a:pt x="688" y="716"/>
                  <a:pt x="688" y="726"/>
                </a:cubicBezTo>
                <a:cubicBezTo>
                  <a:pt x="691" y="725"/>
                  <a:pt x="694" y="725"/>
                  <a:pt x="696" y="723"/>
                </a:cubicBezTo>
                <a:cubicBezTo>
                  <a:pt x="698" y="722"/>
                  <a:pt x="701" y="721"/>
                  <a:pt x="703" y="720"/>
                </a:cubicBezTo>
                <a:cubicBezTo>
                  <a:pt x="703" y="720"/>
                  <a:pt x="703" y="720"/>
                  <a:pt x="703" y="778"/>
                </a:cubicBezTo>
                <a:cubicBezTo>
                  <a:pt x="703" y="778"/>
                  <a:pt x="703" y="778"/>
                  <a:pt x="714" y="778"/>
                </a:cubicBezTo>
                <a:cubicBezTo>
                  <a:pt x="714" y="778"/>
                  <a:pt x="714" y="778"/>
                  <a:pt x="714" y="705"/>
                </a:cubicBezTo>
                <a:close/>
                <a:moveTo>
                  <a:pt x="761" y="705"/>
                </a:moveTo>
                <a:cubicBezTo>
                  <a:pt x="761" y="705"/>
                  <a:pt x="761" y="705"/>
                  <a:pt x="761" y="705"/>
                </a:cubicBezTo>
                <a:cubicBezTo>
                  <a:pt x="756" y="705"/>
                  <a:pt x="756" y="705"/>
                  <a:pt x="756" y="705"/>
                </a:cubicBezTo>
                <a:cubicBezTo>
                  <a:pt x="754" y="706"/>
                  <a:pt x="752" y="708"/>
                  <a:pt x="750" y="709"/>
                </a:cubicBezTo>
                <a:cubicBezTo>
                  <a:pt x="749" y="710"/>
                  <a:pt x="747" y="711"/>
                  <a:pt x="745" y="712"/>
                </a:cubicBezTo>
                <a:cubicBezTo>
                  <a:pt x="744" y="713"/>
                  <a:pt x="742" y="714"/>
                  <a:pt x="740" y="714"/>
                </a:cubicBezTo>
                <a:cubicBezTo>
                  <a:pt x="738" y="715"/>
                  <a:pt x="736" y="716"/>
                  <a:pt x="734" y="716"/>
                </a:cubicBezTo>
                <a:cubicBezTo>
                  <a:pt x="734" y="716"/>
                  <a:pt x="734" y="716"/>
                  <a:pt x="734" y="726"/>
                </a:cubicBezTo>
                <a:cubicBezTo>
                  <a:pt x="737" y="725"/>
                  <a:pt x="740" y="725"/>
                  <a:pt x="742" y="723"/>
                </a:cubicBezTo>
                <a:cubicBezTo>
                  <a:pt x="745" y="722"/>
                  <a:pt x="747" y="721"/>
                  <a:pt x="750" y="720"/>
                </a:cubicBezTo>
                <a:cubicBezTo>
                  <a:pt x="750" y="720"/>
                  <a:pt x="750" y="720"/>
                  <a:pt x="750" y="778"/>
                </a:cubicBezTo>
                <a:cubicBezTo>
                  <a:pt x="750" y="778"/>
                  <a:pt x="750" y="778"/>
                  <a:pt x="761" y="778"/>
                </a:cubicBezTo>
                <a:cubicBezTo>
                  <a:pt x="761" y="778"/>
                  <a:pt x="761" y="778"/>
                  <a:pt x="761" y="705"/>
                </a:cubicBezTo>
                <a:close/>
                <a:moveTo>
                  <a:pt x="883" y="705"/>
                </a:moveTo>
                <a:cubicBezTo>
                  <a:pt x="883" y="705"/>
                  <a:pt x="883" y="705"/>
                  <a:pt x="883" y="705"/>
                </a:cubicBezTo>
                <a:cubicBezTo>
                  <a:pt x="878" y="705"/>
                  <a:pt x="878" y="705"/>
                  <a:pt x="878" y="705"/>
                </a:cubicBezTo>
                <a:cubicBezTo>
                  <a:pt x="876" y="706"/>
                  <a:pt x="874" y="708"/>
                  <a:pt x="872" y="709"/>
                </a:cubicBezTo>
                <a:cubicBezTo>
                  <a:pt x="870" y="710"/>
                  <a:pt x="869" y="711"/>
                  <a:pt x="867" y="712"/>
                </a:cubicBezTo>
                <a:cubicBezTo>
                  <a:pt x="865" y="713"/>
                  <a:pt x="863" y="714"/>
                  <a:pt x="862" y="714"/>
                </a:cubicBezTo>
                <a:cubicBezTo>
                  <a:pt x="859" y="715"/>
                  <a:pt x="858" y="716"/>
                  <a:pt x="856" y="716"/>
                </a:cubicBezTo>
                <a:cubicBezTo>
                  <a:pt x="856" y="716"/>
                  <a:pt x="856" y="716"/>
                  <a:pt x="856" y="726"/>
                </a:cubicBezTo>
                <a:cubicBezTo>
                  <a:pt x="859" y="725"/>
                  <a:pt x="862" y="725"/>
                  <a:pt x="865" y="723"/>
                </a:cubicBezTo>
                <a:cubicBezTo>
                  <a:pt x="867" y="722"/>
                  <a:pt x="869" y="721"/>
                  <a:pt x="871" y="720"/>
                </a:cubicBezTo>
                <a:cubicBezTo>
                  <a:pt x="871" y="720"/>
                  <a:pt x="871" y="720"/>
                  <a:pt x="871" y="778"/>
                </a:cubicBezTo>
                <a:cubicBezTo>
                  <a:pt x="871" y="778"/>
                  <a:pt x="871" y="778"/>
                  <a:pt x="883" y="778"/>
                </a:cubicBezTo>
                <a:cubicBezTo>
                  <a:pt x="883" y="778"/>
                  <a:pt x="883" y="778"/>
                  <a:pt x="883" y="705"/>
                </a:cubicBezTo>
                <a:close/>
                <a:moveTo>
                  <a:pt x="930" y="705"/>
                </a:moveTo>
                <a:cubicBezTo>
                  <a:pt x="930" y="705"/>
                  <a:pt x="930" y="705"/>
                  <a:pt x="930" y="705"/>
                </a:cubicBezTo>
                <a:cubicBezTo>
                  <a:pt x="925" y="705"/>
                  <a:pt x="925" y="705"/>
                  <a:pt x="925" y="705"/>
                </a:cubicBezTo>
                <a:cubicBezTo>
                  <a:pt x="922" y="706"/>
                  <a:pt x="921" y="708"/>
                  <a:pt x="919" y="709"/>
                </a:cubicBezTo>
                <a:cubicBezTo>
                  <a:pt x="917" y="710"/>
                  <a:pt x="915" y="711"/>
                  <a:pt x="914" y="712"/>
                </a:cubicBezTo>
                <a:cubicBezTo>
                  <a:pt x="912" y="713"/>
                  <a:pt x="910" y="714"/>
                  <a:pt x="909" y="714"/>
                </a:cubicBezTo>
                <a:cubicBezTo>
                  <a:pt x="906" y="715"/>
                  <a:pt x="905" y="716"/>
                  <a:pt x="903" y="716"/>
                </a:cubicBezTo>
                <a:cubicBezTo>
                  <a:pt x="903" y="716"/>
                  <a:pt x="903" y="716"/>
                  <a:pt x="903" y="726"/>
                </a:cubicBezTo>
                <a:cubicBezTo>
                  <a:pt x="906" y="725"/>
                  <a:pt x="909" y="725"/>
                  <a:pt x="911" y="723"/>
                </a:cubicBezTo>
                <a:cubicBezTo>
                  <a:pt x="914" y="722"/>
                  <a:pt x="916" y="721"/>
                  <a:pt x="918" y="720"/>
                </a:cubicBezTo>
                <a:cubicBezTo>
                  <a:pt x="918" y="720"/>
                  <a:pt x="918" y="720"/>
                  <a:pt x="918" y="778"/>
                </a:cubicBezTo>
                <a:cubicBezTo>
                  <a:pt x="918" y="778"/>
                  <a:pt x="918" y="778"/>
                  <a:pt x="930" y="778"/>
                </a:cubicBezTo>
                <a:cubicBezTo>
                  <a:pt x="930" y="778"/>
                  <a:pt x="930" y="778"/>
                  <a:pt x="930" y="705"/>
                </a:cubicBezTo>
                <a:close/>
                <a:moveTo>
                  <a:pt x="781" y="737"/>
                </a:moveTo>
                <a:cubicBezTo>
                  <a:pt x="781" y="737"/>
                  <a:pt x="781" y="737"/>
                  <a:pt x="781" y="737"/>
                </a:cubicBezTo>
                <a:cubicBezTo>
                  <a:pt x="781" y="746"/>
                  <a:pt x="781" y="746"/>
                  <a:pt x="781" y="746"/>
                </a:cubicBezTo>
                <a:cubicBezTo>
                  <a:pt x="787" y="746"/>
                  <a:pt x="788" y="749"/>
                  <a:pt x="788" y="752"/>
                </a:cubicBezTo>
                <a:cubicBezTo>
                  <a:pt x="788" y="754"/>
                  <a:pt x="788" y="756"/>
                  <a:pt x="788" y="759"/>
                </a:cubicBezTo>
                <a:cubicBezTo>
                  <a:pt x="787" y="761"/>
                  <a:pt x="787" y="763"/>
                  <a:pt x="787" y="766"/>
                </a:cubicBezTo>
                <a:cubicBezTo>
                  <a:pt x="787" y="775"/>
                  <a:pt x="793" y="778"/>
                  <a:pt x="802" y="778"/>
                </a:cubicBezTo>
                <a:cubicBezTo>
                  <a:pt x="802" y="778"/>
                  <a:pt x="802" y="778"/>
                  <a:pt x="805" y="778"/>
                </a:cubicBezTo>
                <a:cubicBezTo>
                  <a:pt x="805" y="778"/>
                  <a:pt x="805" y="778"/>
                  <a:pt x="805" y="769"/>
                </a:cubicBezTo>
                <a:cubicBezTo>
                  <a:pt x="805" y="769"/>
                  <a:pt x="805" y="769"/>
                  <a:pt x="804" y="769"/>
                </a:cubicBezTo>
                <a:cubicBezTo>
                  <a:pt x="800" y="769"/>
                  <a:pt x="799" y="767"/>
                  <a:pt x="799" y="763"/>
                </a:cubicBezTo>
                <a:cubicBezTo>
                  <a:pt x="799" y="762"/>
                  <a:pt x="799" y="760"/>
                  <a:pt x="799" y="759"/>
                </a:cubicBezTo>
                <a:cubicBezTo>
                  <a:pt x="799" y="757"/>
                  <a:pt x="800" y="755"/>
                  <a:pt x="800" y="753"/>
                </a:cubicBezTo>
                <a:cubicBezTo>
                  <a:pt x="800" y="745"/>
                  <a:pt x="797" y="743"/>
                  <a:pt x="791" y="741"/>
                </a:cubicBezTo>
                <a:cubicBezTo>
                  <a:pt x="791" y="741"/>
                  <a:pt x="791" y="741"/>
                  <a:pt x="791" y="741"/>
                </a:cubicBezTo>
                <a:cubicBezTo>
                  <a:pt x="797" y="740"/>
                  <a:pt x="800" y="738"/>
                  <a:pt x="800" y="730"/>
                </a:cubicBezTo>
                <a:cubicBezTo>
                  <a:pt x="800" y="728"/>
                  <a:pt x="799" y="726"/>
                  <a:pt x="799" y="724"/>
                </a:cubicBezTo>
                <a:cubicBezTo>
                  <a:pt x="799" y="722"/>
                  <a:pt x="799" y="720"/>
                  <a:pt x="799" y="719"/>
                </a:cubicBezTo>
                <a:cubicBezTo>
                  <a:pt x="799" y="716"/>
                  <a:pt x="800" y="713"/>
                  <a:pt x="804" y="713"/>
                </a:cubicBezTo>
                <a:cubicBezTo>
                  <a:pt x="804" y="713"/>
                  <a:pt x="804" y="713"/>
                  <a:pt x="805" y="713"/>
                </a:cubicBezTo>
                <a:cubicBezTo>
                  <a:pt x="805" y="713"/>
                  <a:pt x="805" y="713"/>
                  <a:pt x="805" y="704"/>
                </a:cubicBezTo>
                <a:cubicBezTo>
                  <a:pt x="805" y="704"/>
                  <a:pt x="805" y="704"/>
                  <a:pt x="802" y="704"/>
                </a:cubicBezTo>
                <a:cubicBezTo>
                  <a:pt x="792" y="704"/>
                  <a:pt x="787" y="708"/>
                  <a:pt x="787" y="717"/>
                </a:cubicBezTo>
                <a:cubicBezTo>
                  <a:pt x="787" y="719"/>
                  <a:pt x="787" y="722"/>
                  <a:pt x="787" y="724"/>
                </a:cubicBezTo>
                <a:cubicBezTo>
                  <a:pt x="788" y="726"/>
                  <a:pt x="788" y="729"/>
                  <a:pt x="788" y="731"/>
                </a:cubicBezTo>
                <a:cubicBezTo>
                  <a:pt x="788" y="734"/>
                  <a:pt x="787" y="737"/>
                  <a:pt x="781" y="737"/>
                </a:cubicBezTo>
                <a:close/>
                <a:moveTo>
                  <a:pt x="836" y="746"/>
                </a:moveTo>
                <a:cubicBezTo>
                  <a:pt x="836" y="746"/>
                  <a:pt x="836" y="746"/>
                  <a:pt x="836" y="746"/>
                </a:cubicBezTo>
                <a:cubicBezTo>
                  <a:pt x="836" y="737"/>
                  <a:pt x="836" y="737"/>
                  <a:pt x="836" y="737"/>
                </a:cubicBezTo>
                <a:cubicBezTo>
                  <a:pt x="830" y="737"/>
                  <a:pt x="829" y="734"/>
                  <a:pt x="829" y="731"/>
                </a:cubicBezTo>
                <a:cubicBezTo>
                  <a:pt x="829" y="729"/>
                  <a:pt x="829" y="726"/>
                  <a:pt x="830" y="724"/>
                </a:cubicBezTo>
                <a:cubicBezTo>
                  <a:pt x="830" y="722"/>
                  <a:pt x="830" y="719"/>
                  <a:pt x="830" y="717"/>
                </a:cubicBezTo>
                <a:cubicBezTo>
                  <a:pt x="830" y="708"/>
                  <a:pt x="825" y="704"/>
                  <a:pt x="816" y="704"/>
                </a:cubicBezTo>
                <a:cubicBezTo>
                  <a:pt x="816" y="704"/>
                  <a:pt x="816" y="704"/>
                  <a:pt x="812" y="704"/>
                </a:cubicBezTo>
                <a:cubicBezTo>
                  <a:pt x="812" y="704"/>
                  <a:pt x="812" y="704"/>
                  <a:pt x="812" y="713"/>
                </a:cubicBezTo>
                <a:cubicBezTo>
                  <a:pt x="812" y="713"/>
                  <a:pt x="812" y="713"/>
                  <a:pt x="813" y="713"/>
                </a:cubicBezTo>
                <a:cubicBezTo>
                  <a:pt x="817" y="713"/>
                  <a:pt x="819" y="716"/>
                  <a:pt x="819" y="719"/>
                </a:cubicBezTo>
                <a:cubicBezTo>
                  <a:pt x="819" y="720"/>
                  <a:pt x="818" y="722"/>
                  <a:pt x="818" y="724"/>
                </a:cubicBezTo>
                <a:cubicBezTo>
                  <a:pt x="818" y="726"/>
                  <a:pt x="818" y="728"/>
                  <a:pt x="818" y="730"/>
                </a:cubicBezTo>
                <a:cubicBezTo>
                  <a:pt x="818" y="738"/>
                  <a:pt x="821" y="740"/>
                  <a:pt x="826" y="741"/>
                </a:cubicBezTo>
                <a:cubicBezTo>
                  <a:pt x="826" y="741"/>
                  <a:pt x="826" y="741"/>
                  <a:pt x="826" y="741"/>
                </a:cubicBezTo>
                <a:cubicBezTo>
                  <a:pt x="821" y="743"/>
                  <a:pt x="818" y="745"/>
                  <a:pt x="818" y="753"/>
                </a:cubicBezTo>
                <a:cubicBezTo>
                  <a:pt x="818" y="755"/>
                  <a:pt x="818" y="757"/>
                  <a:pt x="818" y="759"/>
                </a:cubicBezTo>
                <a:cubicBezTo>
                  <a:pt x="818" y="760"/>
                  <a:pt x="819" y="762"/>
                  <a:pt x="819" y="763"/>
                </a:cubicBezTo>
                <a:cubicBezTo>
                  <a:pt x="819" y="767"/>
                  <a:pt x="818" y="769"/>
                  <a:pt x="813" y="769"/>
                </a:cubicBezTo>
                <a:cubicBezTo>
                  <a:pt x="813" y="769"/>
                  <a:pt x="813" y="769"/>
                  <a:pt x="812" y="769"/>
                </a:cubicBezTo>
                <a:cubicBezTo>
                  <a:pt x="812" y="769"/>
                  <a:pt x="812" y="769"/>
                  <a:pt x="812" y="778"/>
                </a:cubicBezTo>
                <a:cubicBezTo>
                  <a:pt x="812" y="778"/>
                  <a:pt x="812" y="778"/>
                  <a:pt x="816" y="778"/>
                </a:cubicBezTo>
                <a:cubicBezTo>
                  <a:pt x="825" y="778"/>
                  <a:pt x="830" y="775"/>
                  <a:pt x="830" y="766"/>
                </a:cubicBezTo>
                <a:cubicBezTo>
                  <a:pt x="830" y="763"/>
                  <a:pt x="830" y="761"/>
                  <a:pt x="830" y="759"/>
                </a:cubicBezTo>
                <a:cubicBezTo>
                  <a:pt x="829" y="756"/>
                  <a:pt x="829" y="754"/>
                  <a:pt x="829" y="752"/>
                </a:cubicBezTo>
                <a:cubicBezTo>
                  <a:pt x="829" y="749"/>
                  <a:pt x="830" y="746"/>
                  <a:pt x="836" y="746"/>
                </a:cubicBezTo>
                <a:close/>
                <a:moveTo>
                  <a:pt x="222" y="778"/>
                </a:moveTo>
                <a:cubicBezTo>
                  <a:pt x="215" y="778"/>
                  <a:pt x="208" y="776"/>
                  <a:pt x="204" y="770"/>
                </a:cubicBezTo>
                <a:cubicBezTo>
                  <a:pt x="200" y="763"/>
                  <a:pt x="198" y="754"/>
                  <a:pt x="198" y="742"/>
                </a:cubicBezTo>
                <a:cubicBezTo>
                  <a:pt x="198" y="729"/>
                  <a:pt x="200" y="719"/>
                  <a:pt x="204" y="713"/>
                </a:cubicBezTo>
                <a:cubicBezTo>
                  <a:pt x="209" y="706"/>
                  <a:pt x="215" y="703"/>
                  <a:pt x="224" y="703"/>
                </a:cubicBezTo>
                <a:cubicBezTo>
                  <a:pt x="240" y="703"/>
                  <a:pt x="248" y="715"/>
                  <a:pt x="248" y="741"/>
                </a:cubicBezTo>
                <a:cubicBezTo>
                  <a:pt x="248" y="753"/>
                  <a:pt x="246" y="762"/>
                  <a:pt x="241" y="769"/>
                </a:cubicBezTo>
                <a:cubicBezTo>
                  <a:pt x="237" y="776"/>
                  <a:pt x="230" y="778"/>
                  <a:pt x="222" y="778"/>
                </a:cubicBezTo>
                <a:close/>
                <a:moveTo>
                  <a:pt x="223" y="712"/>
                </a:moveTo>
                <a:cubicBezTo>
                  <a:pt x="214" y="712"/>
                  <a:pt x="209" y="722"/>
                  <a:pt x="209" y="742"/>
                </a:cubicBezTo>
                <a:cubicBezTo>
                  <a:pt x="209" y="760"/>
                  <a:pt x="214" y="769"/>
                  <a:pt x="223" y="769"/>
                </a:cubicBezTo>
                <a:cubicBezTo>
                  <a:pt x="232" y="769"/>
                  <a:pt x="236" y="760"/>
                  <a:pt x="236" y="741"/>
                </a:cubicBezTo>
                <a:cubicBezTo>
                  <a:pt x="236" y="722"/>
                  <a:pt x="232" y="712"/>
                  <a:pt x="223" y="712"/>
                </a:cubicBezTo>
                <a:close/>
                <a:moveTo>
                  <a:pt x="292" y="778"/>
                </a:moveTo>
                <a:cubicBezTo>
                  <a:pt x="285" y="778"/>
                  <a:pt x="278" y="776"/>
                  <a:pt x="275" y="770"/>
                </a:cubicBezTo>
                <a:cubicBezTo>
                  <a:pt x="270" y="763"/>
                  <a:pt x="268" y="754"/>
                  <a:pt x="268" y="742"/>
                </a:cubicBezTo>
                <a:cubicBezTo>
                  <a:pt x="268" y="729"/>
                  <a:pt x="270" y="719"/>
                  <a:pt x="275" y="713"/>
                </a:cubicBezTo>
                <a:cubicBezTo>
                  <a:pt x="279" y="706"/>
                  <a:pt x="286" y="703"/>
                  <a:pt x="294" y="703"/>
                </a:cubicBezTo>
                <a:cubicBezTo>
                  <a:pt x="311" y="703"/>
                  <a:pt x="319" y="715"/>
                  <a:pt x="319" y="741"/>
                </a:cubicBezTo>
                <a:cubicBezTo>
                  <a:pt x="319" y="753"/>
                  <a:pt x="316" y="762"/>
                  <a:pt x="312" y="769"/>
                </a:cubicBezTo>
                <a:cubicBezTo>
                  <a:pt x="307" y="776"/>
                  <a:pt x="301" y="778"/>
                  <a:pt x="292" y="778"/>
                </a:cubicBezTo>
                <a:close/>
                <a:moveTo>
                  <a:pt x="294" y="712"/>
                </a:moveTo>
                <a:cubicBezTo>
                  <a:pt x="285" y="712"/>
                  <a:pt x="280" y="722"/>
                  <a:pt x="280" y="742"/>
                </a:cubicBezTo>
                <a:cubicBezTo>
                  <a:pt x="280" y="760"/>
                  <a:pt x="284" y="769"/>
                  <a:pt x="293" y="769"/>
                </a:cubicBezTo>
                <a:cubicBezTo>
                  <a:pt x="302" y="769"/>
                  <a:pt x="306" y="760"/>
                  <a:pt x="306" y="741"/>
                </a:cubicBezTo>
                <a:cubicBezTo>
                  <a:pt x="306" y="722"/>
                  <a:pt x="302" y="712"/>
                  <a:pt x="294" y="712"/>
                </a:cubicBezTo>
                <a:close/>
                <a:moveTo>
                  <a:pt x="502" y="778"/>
                </a:moveTo>
                <a:cubicBezTo>
                  <a:pt x="495" y="778"/>
                  <a:pt x="489" y="776"/>
                  <a:pt x="485" y="769"/>
                </a:cubicBezTo>
                <a:cubicBezTo>
                  <a:pt x="480" y="763"/>
                  <a:pt x="478" y="754"/>
                  <a:pt x="478" y="742"/>
                </a:cubicBezTo>
                <a:cubicBezTo>
                  <a:pt x="478" y="729"/>
                  <a:pt x="480" y="719"/>
                  <a:pt x="485" y="712"/>
                </a:cubicBezTo>
                <a:cubicBezTo>
                  <a:pt x="489" y="706"/>
                  <a:pt x="496" y="703"/>
                  <a:pt x="504" y="703"/>
                </a:cubicBezTo>
                <a:cubicBezTo>
                  <a:pt x="521" y="703"/>
                  <a:pt x="529" y="715"/>
                  <a:pt x="529" y="740"/>
                </a:cubicBezTo>
                <a:cubicBezTo>
                  <a:pt x="529" y="753"/>
                  <a:pt x="527" y="762"/>
                  <a:pt x="522" y="769"/>
                </a:cubicBezTo>
                <a:cubicBezTo>
                  <a:pt x="517" y="776"/>
                  <a:pt x="511" y="778"/>
                  <a:pt x="502" y="778"/>
                </a:cubicBezTo>
                <a:close/>
                <a:moveTo>
                  <a:pt x="504" y="712"/>
                </a:moveTo>
                <a:cubicBezTo>
                  <a:pt x="495" y="712"/>
                  <a:pt x="490" y="722"/>
                  <a:pt x="490" y="741"/>
                </a:cubicBezTo>
                <a:cubicBezTo>
                  <a:pt x="490" y="759"/>
                  <a:pt x="495" y="769"/>
                  <a:pt x="504" y="769"/>
                </a:cubicBezTo>
                <a:cubicBezTo>
                  <a:pt x="512" y="769"/>
                  <a:pt x="516" y="759"/>
                  <a:pt x="516" y="741"/>
                </a:cubicBezTo>
                <a:cubicBezTo>
                  <a:pt x="516" y="722"/>
                  <a:pt x="513" y="712"/>
                  <a:pt x="504" y="712"/>
                </a:cubicBezTo>
                <a:close/>
                <a:moveTo>
                  <a:pt x="575" y="705"/>
                </a:moveTo>
                <a:cubicBezTo>
                  <a:pt x="575" y="705"/>
                  <a:pt x="575" y="705"/>
                  <a:pt x="575" y="705"/>
                </a:cubicBezTo>
                <a:cubicBezTo>
                  <a:pt x="570" y="705"/>
                  <a:pt x="570" y="705"/>
                  <a:pt x="570" y="705"/>
                </a:cubicBezTo>
                <a:cubicBezTo>
                  <a:pt x="568" y="706"/>
                  <a:pt x="566" y="708"/>
                  <a:pt x="564" y="709"/>
                </a:cubicBezTo>
                <a:cubicBezTo>
                  <a:pt x="563" y="710"/>
                  <a:pt x="561" y="711"/>
                  <a:pt x="559" y="712"/>
                </a:cubicBezTo>
                <a:cubicBezTo>
                  <a:pt x="558" y="712"/>
                  <a:pt x="556" y="713"/>
                  <a:pt x="554" y="714"/>
                </a:cubicBezTo>
                <a:cubicBezTo>
                  <a:pt x="552" y="714"/>
                  <a:pt x="551" y="715"/>
                  <a:pt x="548" y="716"/>
                </a:cubicBezTo>
                <a:cubicBezTo>
                  <a:pt x="548" y="716"/>
                  <a:pt x="548" y="716"/>
                  <a:pt x="548" y="726"/>
                </a:cubicBezTo>
                <a:cubicBezTo>
                  <a:pt x="551" y="725"/>
                  <a:pt x="554" y="724"/>
                  <a:pt x="556" y="723"/>
                </a:cubicBezTo>
                <a:cubicBezTo>
                  <a:pt x="559" y="722"/>
                  <a:pt x="561" y="721"/>
                  <a:pt x="563" y="720"/>
                </a:cubicBezTo>
                <a:cubicBezTo>
                  <a:pt x="563" y="720"/>
                  <a:pt x="563" y="720"/>
                  <a:pt x="563" y="778"/>
                </a:cubicBezTo>
                <a:cubicBezTo>
                  <a:pt x="563" y="778"/>
                  <a:pt x="563" y="778"/>
                  <a:pt x="575" y="778"/>
                </a:cubicBezTo>
                <a:cubicBezTo>
                  <a:pt x="575" y="778"/>
                  <a:pt x="575" y="778"/>
                  <a:pt x="575" y="705"/>
                </a:cubicBezTo>
                <a:close/>
                <a:moveTo>
                  <a:pt x="366" y="705"/>
                </a:moveTo>
                <a:cubicBezTo>
                  <a:pt x="366" y="705"/>
                  <a:pt x="366" y="705"/>
                  <a:pt x="366" y="705"/>
                </a:cubicBezTo>
                <a:cubicBezTo>
                  <a:pt x="360" y="705"/>
                  <a:pt x="360" y="705"/>
                  <a:pt x="360" y="705"/>
                </a:cubicBezTo>
                <a:cubicBezTo>
                  <a:pt x="358" y="706"/>
                  <a:pt x="357" y="708"/>
                  <a:pt x="355" y="709"/>
                </a:cubicBezTo>
                <a:cubicBezTo>
                  <a:pt x="353" y="710"/>
                  <a:pt x="352" y="711"/>
                  <a:pt x="349" y="712"/>
                </a:cubicBezTo>
                <a:cubicBezTo>
                  <a:pt x="348" y="713"/>
                  <a:pt x="346" y="714"/>
                  <a:pt x="344" y="714"/>
                </a:cubicBezTo>
                <a:cubicBezTo>
                  <a:pt x="342" y="715"/>
                  <a:pt x="340" y="716"/>
                  <a:pt x="338" y="716"/>
                </a:cubicBezTo>
                <a:cubicBezTo>
                  <a:pt x="338" y="716"/>
                  <a:pt x="338" y="716"/>
                  <a:pt x="338" y="726"/>
                </a:cubicBezTo>
                <a:cubicBezTo>
                  <a:pt x="341" y="725"/>
                  <a:pt x="344" y="725"/>
                  <a:pt x="347" y="723"/>
                </a:cubicBezTo>
                <a:cubicBezTo>
                  <a:pt x="349" y="722"/>
                  <a:pt x="352" y="721"/>
                  <a:pt x="354" y="720"/>
                </a:cubicBezTo>
                <a:cubicBezTo>
                  <a:pt x="354" y="720"/>
                  <a:pt x="354" y="720"/>
                  <a:pt x="354" y="778"/>
                </a:cubicBezTo>
                <a:cubicBezTo>
                  <a:pt x="354" y="778"/>
                  <a:pt x="354" y="778"/>
                  <a:pt x="366" y="778"/>
                </a:cubicBezTo>
                <a:cubicBezTo>
                  <a:pt x="366" y="778"/>
                  <a:pt x="366" y="778"/>
                  <a:pt x="366" y="705"/>
                </a:cubicBezTo>
                <a:close/>
                <a:moveTo>
                  <a:pt x="413" y="705"/>
                </a:moveTo>
                <a:cubicBezTo>
                  <a:pt x="413" y="705"/>
                  <a:pt x="413" y="705"/>
                  <a:pt x="413" y="705"/>
                </a:cubicBezTo>
                <a:cubicBezTo>
                  <a:pt x="407" y="705"/>
                  <a:pt x="407" y="705"/>
                  <a:pt x="407" y="705"/>
                </a:cubicBezTo>
                <a:cubicBezTo>
                  <a:pt x="405" y="706"/>
                  <a:pt x="404" y="708"/>
                  <a:pt x="402" y="709"/>
                </a:cubicBezTo>
                <a:cubicBezTo>
                  <a:pt x="400" y="710"/>
                  <a:pt x="398" y="711"/>
                  <a:pt x="396" y="712"/>
                </a:cubicBezTo>
                <a:cubicBezTo>
                  <a:pt x="395" y="713"/>
                  <a:pt x="393" y="714"/>
                  <a:pt x="391" y="714"/>
                </a:cubicBezTo>
                <a:cubicBezTo>
                  <a:pt x="389" y="715"/>
                  <a:pt x="388" y="716"/>
                  <a:pt x="385" y="716"/>
                </a:cubicBezTo>
                <a:cubicBezTo>
                  <a:pt x="385" y="716"/>
                  <a:pt x="385" y="716"/>
                  <a:pt x="385" y="726"/>
                </a:cubicBezTo>
                <a:cubicBezTo>
                  <a:pt x="388" y="725"/>
                  <a:pt x="391" y="725"/>
                  <a:pt x="393" y="723"/>
                </a:cubicBezTo>
                <a:cubicBezTo>
                  <a:pt x="396" y="722"/>
                  <a:pt x="399" y="721"/>
                  <a:pt x="401" y="720"/>
                </a:cubicBezTo>
                <a:cubicBezTo>
                  <a:pt x="401" y="720"/>
                  <a:pt x="401" y="720"/>
                  <a:pt x="401" y="778"/>
                </a:cubicBezTo>
                <a:cubicBezTo>
                  <a:pt x="401" y="778"/>
                  <a:pt x="401" y="778"/>
                  <a:pt x="413" y="778"/>
                </a:cubicBezTo>
                <a:cubicBezTo>
                  <a:pt x="413" y="778"/>
                  <a:pt x="413" y="778"/>
                  <a:pt x="413" y="705"/>
                </a:cubicBezTo>
                <a:close/>
                <a:moveTo>
                  <a:pt x="458" y="705"/>
                </a:moveTo>
                <a:cubicBezTo>
                  <a:pt x="458" y="705"/>
                  <a:pt x="458" y="705"/>
                  <a:pt x="458" y="705"/>
                </a:cubicBezTo>
                <a:cubicBezTo>
                  <a:pt x="454" y="705"/>
                  <a:pt x="454" y="705"/>
                  <a:pt x="454" y="705"/>
                </a:cubicBezTo>
                <a:cubicBezTo>
                  <a:pt x="452" y="706"/>
                  <a:pt x="450" y="708"/>
                  <a:pt x="448" y="709"/>
                </a:cubicBezTo>
                <a:cubicBezTo>
                  <a:pt x="447" y="710"/>
                  <a:pt x="445" y="711"/>
                  <a:pt x="443" y="712"/>
                </a:cubicBezTo>
                <a:cubicBezTo>
                  <a:pt x="441" y="712"/>
                  <a:pt x="440" y="713"/>
                  <a:pt x="437" y="714"/>
                </a:cubicBezTo>
                <a:cubicBezTo>
                  <a:pt x="436" y="714"/>
                  <a:pt x="434" y="715"/>
                  <a:pt x="432" y="716"/>
                </a:cubicBezTo>
                <a:cubicBezTo>
                  <a:pt x="432" y="716"/>
                  <a:pt x="432" y="716"/>
                  <a:pt x="432" y="726"/>
                </a:cubicBezTo>
                <a:cubicBezTo>
                  <a:pt x="435" y="725"/>
                  <a:pt x="438" y="724"/>
                  <a:pt x="440" y="723"/>
                </a:cubicBezTo>
                <a:cubicBezTo>
                  <a:pt x="442" y="722"/>
                  <a:pt x="445" y="721"/>
                  <a:pt x="447" y="720"/>
                </a:cubicBezTo>
                <a:cubicBezTo>
                  <a:pt x="447" y="720"/>
                  <a:pt x="447" y="720"/>
                  <a:pt x="447" y="778"/>
                </a:cubicBezTo>
                <a:cubicBezTo>
                  <a:pt x="447" y="778"/>
                  <a:pt x="447" y="778"/>
                  <a:pt x="458" y="778"/>
                </a:cubicBezTo>
                <a:cubicBezTo>
                  <a:pt x="458" y="778"/>
                  <a:pt x="458" y="778"/>
                  <a:pt x="458" y="705"/>
                </a:cubicBezTo>
                <a:close/>
                <a:moveTo>
                  <a:pt x="24" y="778"/>
                </a:moveTo>
                <a:cubicBezTo>
                  <a:pt x="17" y="778"/>
                  <a:pt x="10" y="776"/>
                  <a:pt x="6" y="770"/>
                </a:cubicBezTo>
                <a:cubicBezTo>
                  <a:pt x="2" y="763"/>
                  <a:pt x="0" y="754"/>
                  <a:pt x="0" y="742"/>
                </a:cubicBezTo>
                <a:cubicBezTo>
                  <a:pt x="0" y="729"/>
                  <a:pt x="2" y="719"/>
                  <a:pt x="6" y="713"/>
                </a:cubicBezTo>
                <a:cubicBezTo>
                  <a:pt x="11" y="706"/>
                  <a:pt x="17" y="703"/>
                  <a:pt x="26" y="703"/>
                </a:cubicBezTo>
                <a:cubicBezTo>
                  <a:pt x="42" y="703"/>
                  <a:pt x="50" y="715"/>
                  <a:pt x="50" y="741"/>
                </a:cubicBezTo>
                <a:cubicBezTo>
                  <a:pt x="50" y="753"/>
                  <a:pt x="48" y="762"/>
                  <a:pt x="44" y="769"/>
                </a:cubicBezTo>
                <a:cubicBezTo>
                  <a:pt x="39" y="776"/>
                  <a:pt x="33" y="778"/>
                  <a:pt x="24" y="778"/>
                </a:cubicBezTo>
                <a:close/>
                <a:moveTo>
                  <a:pt x="25" y="712"/>
                </a:moveTo>
                <a:cubicBezTo>
                  <a:pt x="17" y="712"/>
                  <a:pt x="12" y="722"/>
                  <a:pt x="12" y="742"/>
                </a:cubicBezTo>
                <a:cubicBezTo>
                  <a:pt x="12" y="760"/>
                  <a:pt x="16" y="769"/>
                  <a:pt x="25" y="769"/>
                </a:cubicBezTo>
                <a:cubicBezTo>
                  <a:pt x="33" y="769"/>
                  <a:pt x="38" y="760"/>
                  <a:pt x="38" y="741"/>
                </a:cubicBezTo>
                <a:cubicBezTo>
                  <a:pt x="38" y="722"/>
                  <a:pt x="33" y="712"/>
                  <a:pt x="25" y="712"/>
                </a:cubicBezTo>
                <a:close/>
                <a:moveTo>
                  <a:pt x="85" y="705"/>
                </a:moveTo>
                <a:cubicBezTo>
                  <a:pt x="85" y="705"/>
                  <a:pt x="85" y="705"/>
                  <a:pt x="85" y="705"/>
                </a:cubicBezTo>
                <a:cubicBezTo>
                  <a:pt x="80" y="705"/>
                  <a:pt x="80" y="705"/>
                  <a:pt x="80" y="705"/>
                </a:cubicBezTo>
                <a:cubicBezTo>
                  <a:pt x="78" y="706"/>
                  <a:pt x="76" y="708"/>
                  <a:pt x="74" y="709"/>
                </a:cubicBezTo>
                <a:cubicBezTo>
                  <a:pt x="73" y="710"/>
                  <a:pt x="71" y="711"/>
                  <a:pt x="69" y="712"/>
                </a:cubicBezTo>
                <a:cubicBezTo>
                  <a:pt x="68" y="713"/>
                  <a:pt x="65" y="714"/>
                  <a:pt x="64" y="714"/>
                </a:cubicBezTo>
                <a:cubicBezTo>
                  <a:pt x="62" y="715"/>
                  <a:pt x="60" y="716"/>
                  <a:pt x="58" y="716"/>
                </a:cubicBezTo>
                <a:cubicBezTo>
                  <a:pt x="58" y="716"/>
                  <a:pt x="58" y="716"/>
                  <a:pt x="58" y="726"/>
                </a:cubicBezTo>
                <a:cubicBezTo>
                  <a:pt x="61" y="725"/>
                  <a:pt x="64" y="725"/>
                  <a:pt x="67" y="723"/>
                </a:cubicBezTo>
                <a:cubicBezTo>
                  <a:pt x="69" y="722"/>
                  <a:pt x="71" y="721"/>
                  <a:pt x="73" y="720"/>
                </a:cubicBezTo>
                <a:cubicBezTo>
                  <a:pt x="73" y="720"/>
                  <a:pt x="73" y="720"/>
                  <a:pt x="73" y="778"/>
                </a:cubicBezTo>
                <a:cubicBezTo>
                  <a:pt x="73" y="778"/>
                  <a:pt x="73" y="778"/>
                  <a:pt x="85" y="778"/>
                </a:cubicBezTo>
                <a:cubicBezTo>
                  <a:pt x="85" y="778"/>
                  <a:pt x="85" y="778"/>
                  <a:pt x="85" y="705"/>
                </a:cubicBezTo>
                <a:close/>
                <a:moveTo>
                  <a:pt x="132" y="705"/>
                </a:moveTo>
                <a:cubicBezTo>
                  <a:pt x="132" y="705"/>
                  <a:pt x="132" y="705"/>
                  <a:pt x="132" y="705"/>
                </a:cubicBezTo>
                <a:cubicBezTo>
                  <a:pt x="127" y="705"/>
                  <a:pt x="127" y="705"/>
                  <a:pt x="127" y="705"/>
                </a:cubicBezTo>
                <a:cubicBezTo>
                  <a:pt x="125" y="706"/>
                  <a:pt x="123" y="708"/>
                  <a:pt x="121" y="709"/>
                </a:cubicBezTo>
                <a:cubicBezTo>
                  <a:pt x="120" y="710"/>
                  <a:pt x="117" y="711"/>
                  <a:pt x="116" y="712"/>
                </a:cubicBezTo>
                <a:cubicBezTo>
                  <a:pt x="114" y="713"/>
                  <a:pt x="112" y="714"/>
                  <a:pt x="111" y="714"/>
                </a:cubicBezTo>
                <a:cubicBezTo>
                  <a:pt x="109" y="715"/>
                  <a:pt x="107" y="716"/>
                  <a:pt x="105" y="716"/>
                </a:cubicBezTo>
                <a:cubicBezTo>
                  <a:pt x="105" y="716"/>
                  <a:pt x="105" y="716"/>
                  <a:pt x="105" y="726"/>
                </a:cubicBezTo>
                <a:cubicBezTo>
                  <a:pt x="108" y="725"/>
                  <a:pt x="111" y="725"/>
                  <a:pt x="113" y="723"/>
                </a:cubicBezTo>
                <a:cubicBezTo>
                  <a:pt x="116" y="722"/>
                  <a:pt x="118" y="721"/>
                  <a:pt x="120" y="720"/>
                </a:cubicBezTo>
                <a:cubicBezTo>
                  <a:pt x="120" y="720"/>
                  <a:pt x="120" y="720"/>
                  <a:pt x="120" y="778"/>
                </a:cubicBezTo>
                <a:cubicBezTo>
                  <a:pt x="120" y="778"/>
                  <a:pt x="120" y="778"/>
                  <a:pt x="132" y="778"/>
                </a:cubicBezTo>
                <a:cubicBezTo>
                  <a:pt x="132" y="778"/>
                  <a:pt x="132" y="778"/>
                  <a:pt x="132" y="705"/>
                </a:cubicBezTo>
                <a:close/>
                <a:moveTo>
                  <a:pt x="178" y="705"/>
                </a:moveTo>
                <a:cubicBezTo>
                  <a:pt x="178" y="705"/>
                  <a:pt x="178" y="705"/>
                  <a:pt x="178" y="705"/>
                </a:cubicBezTo>
                <a:cubicBezTo>
                  <a:pt x="174" y="705"/>
                  <a:pt x="174" y="705"/>
                  <a:pt x="174" y="705"/>
                </a:cubicBezTo>
                <a:cubicBezTo>
                  <a:pt x="171" y="706"/>
                  <a:pt x="170" y="708"/>
                  <a:pt x="168" y="709"/>
                </a:cubicBezTo>
                <a:cubicBezTo>
                  <a:pt x="166" y="710"/>
                  <a:pt x="164" y="711"/>
                  <a:pt x="163" y="712"/>
                </a:cubicBezTo>
                <a:cubicBezTo>
                  <a:pt x="161" y="712"/>
                  <a:pt x="159" y="713"/>
                  <a:pt x="157" y="714"/>
                </a:cubicBezTo>
                <a:cubicBezTo>
                  <a:pt x="156" y="714"/>
                  <a:pt x="153" y="715"/>
                  <a:pt x="152" y="716"/>
                </a:cubicBezTo>
                <a:cubicBezTo>
                  <a:pt x="152" y="716"/>
                  <a:pt x="152" y="716"/>
                  <a:pt x="152" y="726"/>
                </a:cubicBezTo>
                <a:cubicBezTo>
                  <a:pt x="155" y="725"/>
                  <a:pt x="158" y="724"/>
                  <a:pt x="160" y="723"/>
                </a:cubicBezTo>
                <a:cubicBezTo>
                  <a:pt x="162" y="722"/>
                  <a:pt x="165" y="721"/>
                  <a:pt x="166" y="720"/>
                </a:cubicBezTo>
                <a:cubicBezTo>
                  <a:pt x="166" y="720"/>
                  <a:pt x="166" y="720"/>
                  <a:pt x="166" y="778"/>
                </a:cubicBezTo>
                <a:cubicBezTo>
                  <a:pt x="166" y="778"/>
                  <a:pt x="166" y="778"/>
                  <a:pt x="178" y="778"/>
                </a:cubicBezTo>
                <a:cubicBezTo>
                  <a:pt x="178" y="778"/>
                  <a:pt x="178" y="778"/>
                  <a:pt x="178" y="705"/>
                </a:cubicBezTo>
                <a:close/>
                <a:moveTo>
                  <a:pt x="24" y="1078"/>
                </a:moveTo>
                <a:cubicBezTo>
                  <a:pt x="17" y="1078"/>
                  <a:pt x="10" y="1075"/>
                  <a:pt x="6" y="1069"/>
                </a:cubicBezTo>
                <a:cubicBezTo>
                  <a:pt x="2" y="1063"/>
                  <a:pt x="0" y="1054"/>
                  <a:pt x="0" y="1042"/>
                </a:cubicBezTo>
                <a:cubicBezTo>
                  <a:pt x="0" y="1028"/>
                  <a:pt x="2" y="1019"/>
                  <a:pt x="6" y="1012"/>
                </a:cubicBezTo>
                <a:cubicBezTo>
                  <a:pt x="11" y="1006"/>
                  <a:pt x="17" y="1002"/>
                  <a:pt x="26" y="1002"/>
                </a:cubicBezTo>
                <a:cubicBezTo>
                  <a:pt x="42" y="1002"/>
                  <a:pt x="50" y="1015"/>
                  <a:pt x="50" y="1040"/>
                </a:cubicBezTo>
                <a:cubicBezTo>
                  <a:pt x="50" y="1052"/>
                  <a:pt x="48" y="1062"/>
                  <a:pt x="44" y="1068"/>
                </a:cubicBezTo>
                <a:cubicBezTo>
                  <a:pt x="39" y="1075"/>
                  <a:pt x="33" y="1078"/>
                  <a:pt x="24" y="1078"/>
                </a:cubicBezTo>
                <a:close/>
                <a:moveTo>
                  <a:pt x="25" y="1012"/>
                </a:moveTo>
                <a:cubicBezTo>
                  <a:pt x="17" y="1012"/>
                  <a:pt x="12" y="1022"/>
                  <a:pt x="12" y="1042"/>
                </a:cubicBezTo>
                <a:cubicBezTo>
                  <a:pt x="12" y="1060"/>
                  <a:pt x="16" y="1068"/>
                  <a:pt x="25" y="1068"/>
                </a:cubicBezTo>
                <a:cubicBezTo>
                  <a:pt x="33" y="1068"/>
                  <a:pt x="38" y="1060"/>
                  <a:pt x="38" y="1041"/>
                </a:cubicBezTo>
                <a:cubicBezTo>
                  <a:pt x="38" y="1021"/>
                  <a:pt x="33" y="1012"/>
                  <a:pt x="25" y="1012"/>
                </a:cubicBezTo>
                <a:close/>
                <a:moveTo>
                  <a:pt x="26" y="983"/>
                </a:moveTo>
                <a:cubicBezTo>
                  <a:pt x="19" y="983"/>
                  <a:pt x="12" y="980"/>
                  <a:pt x="8" y="974"/>
                </a:cubicBezTo>
                <a:cubicBezTo>
                  <a:pt x="4" y="968"/>
                  <a:pt x="2" y="959"/>
                  <a:pt x="2" y="946"/>
                </a:cubicBezTo>
                <a:cubicBezTo>
                  <a:pt x="2" y="933"/>
                  <a:pt x="4" y="924"/>
                  <a:pt x="8" y="917"/>
                </a:cubicBezTo>
                <a:cubicBezTo>
                  <a:pt x="13" y="911"/>
                  <a:pt x="19" y="907"/>
                  <a:pt x="28" y="907"/>
                </a:cubicBezTo>
                <a:cubicBezTo>
                  <a:pt x="44" y="907"/>
                  <a:pt x="52" y="919"/>
                  <a:pt x="52" y="945"/>
                </a:cubicBezTo>
                <a:cubicBezTo>
                  <a:pt x="52" y="957"/>
                  <a:pt x="50" y="967"/>
                  <a:pt x="46" y="973"/>
                </a:cubicBezTo>
                <a:cubicBezTo>
                  <a:pt x="40" y="980"/>
                  <a:pt x="35" y="983"/>
                  <a:pt x="26" y="983"/>
                </a:cubicBezTo>
                <a:close/>
                <a:moveTo>
                  <a:pt x="27" y="917"/>
                </a:moveTo>
                <a:cubicBezTo>
                  <a:pt x="19" y="917"/>
                  <a:pt x="13" y="927"/>
                  <a:pt x="13" y="946"/>
                </a:cubicBezTo>
                <a:cubicBezTo>
                  <a:pt x="13" y="965"/>
                  <a:pt x="18" y="973"/>
                  <a:pt x="27" y="973"/>
                </a:cubicBezTo>
                <a:cubicBezTo>
                  <a:pt x="35" y="973"/>
                  <a:pt x="40" y="965"/>
                  <a:pt x="40" y="946"/>
                </a:cubicBezTo>
                <a:cubicBezTo>
                  <a:pt x="40" y="926"/>
                  <a:pt x="35" y="917"/>
                  <a:pt x="27" y="917"/>
                </a:cubicBezTo>
                <a:close/>
                <a:moveTo>
                  <a:pt x="93" y="671"/>
                </a:moveTo>
                <a:cubicBezTo>
                  <a:pt x="85" y="671"/>
                  <a:pt x="79" y="668"/>
                  <a:pt x="74" y="662"/>
                </a:cubicBezTo>
                <a:cubicBezTo>
                  <a:pt x="71" y="656"/>
                  <a:pt x="68" y="647"/>
                  <a:pt x="68" y="634"/>
                </a:cubicBezTo>
                <a:cubicBezTo>
                  <a:pt x="68" y="621"/>
                  <a:pt x="71" y="612"/>
                  <a:pt x="75" y="605"/>
                </a:cubicBezTo>
                <a:cubicBezTo>
                  <a:pt x="80" y="599"/>
                  <a:pt x="86" y="595"/>
                  <a:pt x="95" y="595"/>
                </a:cubicBezTo>
                <a:cubicBezTo>
                  <a:pt x="111" y="595"/>
                  <a:pt x="119" y="607"/>
                  <a:pt x="119" y="633"/>
                </a:cubicBezTo>
                <a:cubicBezTo>
                  <a:pt x="119" y="645"/>
                  <a:pt x="117" y="655"/>
                  <a:pt x="112" y="661"/>
                </a:cubicBezTo>
                <a:cubicBezTo>
                  <a:pt x="108" y="668"/>
                  <a:pt x="101" y="671"/>
                  <a:pt x="93" y="671"/>
                </a:cubicBezTo>
                <a:close/>
                <a:moveTo>
                  <a:pt x="94" y="605"/>
                </a:moveTo>
                <a:cubicBezTo>
                  <a:pt x="85" y="605"/>
                  <a:pt x="80" y="615"/>
                  <a:pt x="80" y="634"/>
                </a:cubicBezTo>
                <a:cubicBezTo>
                  <a:pt x="80" y="653"/>
                  <a:pt x="85" y="661"/>
                  <a:pt x="94" y="661"/>
                </a:cubicBezTo>
                <a:cubicBezTo>
                  <a:pt x="102" y="661"/>
                  <a:pt x="107" y="653"/>
                  <a:pt x="107" y="634"/>
                </a:cubicBezTo>
                <a:cubicBezTo>
                  <a:pt x="107" y="614"/>
                  <a:pt x="102" y="605"/>
                  <a:pt x="94" y="605"/>
                </a:cubicBezTo>
                <a:close/>
                <a:moveTo>
                  <a:pt x="167" y="597"/>
                </a:moveTo>
                <a:cubicBezTo>
                  <a:pt x="167" y="597"/>
                  <a:pt x="167" y="597"/>
                  <a:pt x="167" y="597"/>
                </a:cubicBezTo>
                <a:cubicBezTo>
                  <a:pt x="162" y="597"/>
                  <a:pt x="162" y="597"/>
                  <a:pt x="162" y="597"/>
                </a:cubicBezTo>
                <a:cubicBezTo>
                  <a:pt x="159" y="599"/>
                  <a:pt x="158" y="600"/>
                  <a:pt x="156" y="601"/>
                </a:cubicBezTo>
                <a:cubicBezTo>
                  <a:pt x="154" y="603"/>
                  <a:pt x="152" y="603"/>
                  <a:pt x="151" y="604"/>
                </a:cubicBezTo>
                <a:cubicBezTo>
                  <a:pt x="148" y="605"/>
                  <a:pt x="147" y="605"/>
                  <a:pt x="145" y="606"/>
                </a:cubicBezTo>
                <a:cubicBezTo>
                  <a:pt x="143" y="607"/>
                  <a:pt x="142" y="608"/>
                  <a:pt x="140" y="608"/>
                </a:cubicBezTo>
                <a:cubicBezTo>
                  <a:pt x="140" y="608"/>
                  <a:pt x="140" y="608"/>
                  <a:pt x="140" y="619"/>
                </a:cubicBezTo>
                <a:cubicBezTo>
                  <a:pt x="142" y="618"/>
                  <a:pt x="145" y="616"/>
                  <a:pt x="148" y="616"/>
                </a:cubicBezTo>
                <a:cubicBezTo>
                  <a:pt x="151" y="615"/>
                  <a:pt x="153" y="613"/>
                  <a:pt x="155" y="612"/>
                </a:cubicBezTo>
                <a:cubicBezTo>
                  <a:pt x="155" y="612"/>
                  <a:pt x="155" y="612"/>
                  <a:pt x="155" y="671"/>
                </a:cubicBezTo>
                <a:cubicBezTo>
                  <a:pt x="155" y="671"/>
                  <a:pt x="155" y="671"/>
                  <a:pt x="167" y="671"/>
                </a:cubicBezTo>
                <a:cubicBezTo>
                  <a:pt x="167" y="671"/>
                  <a:pt x="167" y="671"/>
                  <a:pt x="167" y="597"/>
                </a:cubicBezTo>
                <a:close/>
                <a:moveTo>
                  <a:pt x="214" y="597"/>
                </a:moveTo>
                <a:cubicBezTo>
                  <a:pt x="214" y="597"/>
                  <a:pt x="214" y="597"/>
                  <a:pt x="214" y="597"/>
                </a:cubicBezTo>
                <a:cubicBezTo>
                  <a:pt x="209" y="597"/>
                  <a:pt x="209" y="597"/>
                  <a:pt x="209" y="597"/>
                </a:cubicBezTo>
                <a:cubicBezTo>
                  <a:pt x="207" y="599"/>
                  <a:pt x="205" y="600"/>
                  <a:pt x="203" y="601"/>
                </a:cubicBezTo>
                <a:cubicBezTo>
                  <a:pt x="202" y="603"/>
                  <a:pt x="199" y="603"/>
                  <a:pt x="198" y="604"/>
                </a:cubicBezTo>
                <a:cubicBezTo>
                  <a:pt x="196" y="605"/>
                  <a:pt x="194" y="606"/>
                  <a:pt x="193" y="607"/>
                </a:cubicBezTo>
                <a:cubicBezTo>
                  <a:pt x="191" y="608"/>
                  <a:pt x="189" y="608"/>
                  <a:pt x="187" y="608"/>
                </a:cubicBezTo>
                <a:cubicBezTo>
                  <a:pt x="187" y="608"/>
                  <a:pt x="187" y="608"/>
                  <a:pt x="187" y="619"/>
                </a:cubicBezTo>
                <a:cubicBezTo>
                  <a:pt x="190" y="618"/>
                  <a:pt x="193" y="617"/>
                  <a:pt x="195" y="616"/>
                </a:cubicBezTo>
                <a:cubicBezTo>
                  <a:pt x="198" y="615"/>
                  <a:pt x="200" y="613"/>
                  <a:pt x="202" y="612"/>
                </a:cubicBezTo>
                <a:cubicBezTo>
                  <a:pt x="202" y="612"/>
                  <a:pt x="202" y="612"/>
                  <a:pt x="202" y="671"/>
                </a:cubicBezTo>
                <a:cubicBezTo>
                  <a:pt x="202" y="671"/>
                  <a:pt x="202" y="671"/>
                  <a:pt x="214" y="671"/>
                </a:cubicBezTo>
                <a:cubicBezTo>
                  <a:pt x="214" y="671"/>
                  <a:pt x="214" y="671"/>
                  <a:pt x="214" y="597"/>
                </a:cubicBezTo>
                <a:close/>
                <a:moveTo>
                  <a:pt x="260" y="597"/>
                </a:moveTo>
                <a:cubicBezTo>
                  <a:pt x="260" y="597"/>
                  <a:pt x="260" y="597"/>
                  <a:pt x="260" y="597"/>
                </a:cubicBezTo>
                <a:cubicBezTo>
                  <a:pt x="256" y="597"/>
                  <a:pt x="256" y="597"/>
                  <a:pt x="256" y="597"/>
                </a:cubicBezTo>
                <a:cubicBezTo>
                  <a:pt x="254" y="599"/>
                  <a:pt x="252" y="600"/>
                  <a:pt x="250" y="601"/>
                </a:cubicBezTo>
                <a:cubicBezTo>
                  <a:pt x="248" y="603"/>
                  <a:pt x="246" y="603"/>
                  <a:pt x="245" y="604"/>
                </a:cubicBezTo>
                <a:cubicBezTo>
                  <a:pt x="243" y="605"/>
                  <a:pt x="241" y="606"/>
                  <a:pt x="239" y="607"/>
                </a:cubicBezTo>
                <a:cubicBezTo>
                  <a:pt x="238" y="608"/>
                  <a:pt x="236" y="608"/>
                  <a:pt x="234" y="608"/>
                </a:cubicBezTo>
                <a:cubicBezTo>
                  <a:pt x="234" y="608"/>
                  <a:pt x="234" y="608"/>
                  <a:pt x="234" y="619"/>
                </a:cubicBezTo>
                <a:cubicBezTo>
                  <a:pt x="237" y="618"/>
                  <a:pt x="240" y="617"/>
                  <a:pt x="242" y="616"/>
                </a:cubicBezTo>
                <a:cubicBezTo>
                  <a:pt x="244" y="615"/>
                  <a:pt x="247" y="613"/>
                  <a:pt x="248" y="612"/>
                </a:cubicBezTo>
                <a:cubicBezTo>
                  <a:pt x="248" y="612"/>
                  <a:pt x="248" y="612"/>
                  <a:pt x="248" y="671"/>
                </a:cubicBezTo>
                <a:cubicBezTo>
                  <a:pt x="248" y="671"/>
                  <a:pt x="248" y="671"/>
                  <a:pt x="260" y="671"/>
                </a:cubicBezTo>
                <a:cubicBezTo>
                  <a:pt x="260" y="671"/>
                  <a:pt x="260" y="671"/>
                  <a:pt x="260" y="597"/>
                </a:cubicBezTo>
                <a:close/>
                <a:moveTo>
                  <a:pt x="308" y="597"/>
                </a:moveTo>
                <a:cubicBezTo>
                  <a:pt x="308" y="597"/>
                  <a:pt x="308" y="597"/>
                  <a:pt x="308" y="597"/>
                </a:cubicBezTo>
                <a:cubicBezTo>
                  <a:pt x="302" y="597"/>
                  <a:pt x="302" y="597"/>
                  <a:pt x="302" y="597"/>
                </a:cubicBezTo>
                <a:cubicBezTo>
                  <a:pt x="300" y="599"/>
                  <a:pt x="299" y="600"/>
                  <a:pt x="297" y="601"/>
                </a:cubicBezTo>
                <a:cubicBezTo>
                  <a:pt x="295" y="603"/>
                  <a:pt x="294" y="603"/>
                  <a:pt x="292" y="604"/>
                </a:cubicBezTo>
                <a:cubicBezTo>
                  <a:pt x="290" y="605"/>
                  <a:pt x="288" y="606"/>
                  <a:pt x="286" y="607"/>
                </a:cubicBezTo>
                <a:cubicBezTo>
                  <a:pt x="284" y="608"/>
                  <a:pt x="283" y="608"/>
                  <a:pt x="281" y="608"/>
                </a:cubicBezTo>
                <a:cubicBezTo>
                  <a:pt x="281" y="608"/>
                  <a:pt x="281" y="608"/>
                  <a:pt x="281" y="619"/>
                </a:cubicBezTo>
                <a:cubicBezTo>
                  <a:pt x="284" y="618"/>
                  <a:pt x="286" y="617"/>
                  <a:pt x="289" y="616"/>
                </a:cubicBezTo>
                <a:cubicBezTo>
                  <a:pt x="292" y="615"/>
                  <a:pt x="294" y="613"/>
                  <a:pt x="296" y="612"/>
                </a:cubicBezTo>
                <a:cubicBezTo>
                  <a:pt x="296" y="612"/>
                  <a:pt x="296" y="612"/>
                  <a:pt x="296" y="671"/>
                </a:cubicBezTo>
                <a:cubicBezTo>
                  <a:pt x="296" y="671"/>
                  <a:pt x="296" y="671"/>
                  <a:pt x="308" y="671"/>
                </a:cubicBezTo>
                <a:cubicBezTo>
                  <a:pt x="308" y="671"/>
                  <a:pt x="308" y="671"/>
                  <a:pt x="308" y="597"/>
                </a:cubicBezTo>
                <a:close/>
                <a:moveTo>
                  <a:pt x="431" y="597"/>
                </a:moveTo>
                <a:cubicBezTo>
                  <a:pt x="431" y="597"/>
                  <a:pt x="431" y="597"/>
                  <a:pt x="431" y="597"/>
                </a:cubicBezTo>
                <a:cubicBezTo>
                  <a:pt x="426" y="597"/>
                  <a:pt x="426" y="597"/>
                  <a:pt x="426" y="597"/>
                </a:cubicBezTo>
                <a:cubicBezTo>
                  <a:pt x="423" y="599"/>
                  <a:pt x="422" y="600"/>
                  <a:pt x="420" y="601"/>
                </a:cubicBezTo>
                <a:cubicBezTo>
                  <a:pt x="418" y="603"/>
                  <a:pt x="417" y="603"/>
                  <a:pt x="415" y="604"/>
                </a:cubicBezTo>
                <a:cubicBezTo>
                  <a:pt x="413" y="605"/>
                  <a:pt x="411" y="606"/>
                  <a:pt x="409" y="607"/>
                </a:cubicBezTo>
                <a:cubicBezTo>
                  <a:pt x="407" y="608"/>
                  <a:pt x="406" y="608"/>
                  <a:pt x="404" y="608"/>
                </a:cubicBezTo>
                <a:cubicBezTo>
                  <a:pt x="404" y="608"/>
                  <a:pt x="404" y="608"/>
                  <a:pt x="404" y="619"/>
                </a:cubicBezTo>
                <a:cubicBezTo>
                  <a:pt x="406" y="618"/>
                  <a:pt x="409" y="617"/>
                  <a:pt x="412" y="616"/>
                </a:cubicBezTo>
                <a:cubicBezTo>
                  <a:pt x="415" y="615"/>
                  <a:pt x="417" y="613"/>
                  <a:pt x="419" y="612"/>
                </a:cubicBezTo>
                <a:cubicBezTo>
                  <a:pt x="419" y="612"/>
                  <a:pt x="419" y="612"/>
                  <a:pt x="419" y="671"/>
                </a:cubicBezTo>
                <a:cubicBezTo>
                  <a:pt x="419" y="671"/>
                  <a:pt x="419" y="671"/>
                  <a:pt x="431" y="671"/>
                </a:cubicBezTo>
                <a:cubicBezTo>
                  <a:pt x="431" y="671"/>
                  <a:pt x="431" y="671"/>
                  <a:pt x="431" y="597"/>
                </a:cubicBezTo>
                <a:close/>
                <a:moveTo>
                  <a:pt x="478" y="597"/>
                </a:moveTo>
                <a:cubicBezTo>
                  <a:pt x="478" y="597"/>
                  <a:pt x="478" y="597"/>
                  <a:pt x="478" y="597"/>
                </a:cubicBezTo>
                <a:cubicBezTo>
                  <a:pt x="473" y="597"/>
                  <a:pt x="473" y="597"/>
                  <a:pt x="473" y="597"/>
                </a:cubicBezTo>
                <a:cubicBezTo>
                  <a:pt x="471" y="599"/>
                  <a:pt x="470" y="600"/>
                  <a:pt x="467" y="601"/>
                </a:cubicBezTo>
                <a:cubicBezTo>
                  <a:pt x="466" y="603"/>
                  <a:pt x="464" y="603"/>
                  <a:pt x="462" y="604"/>
                </a:cubicBezTo>
                <a:cubicBezTo>
                  <a:pt x="461" y="605"/>
                  <a:pt x="458" y="606"/>
                  <a:pt x="457" y="607"/>
                </a:cubicBezTo>
                <a:cubicBezTo>
                  <a:pt x="455" y="608"/>
                  <a:pt x="453" y="608"/>
                  <a:pt x="451" y="608"/>
                </a:cubicBezTo>
                <a:cubicBezTo>
                  <a:pt x="451" y="608"/>
                  <a:pt x="451" y="608"/>
                  <a:pt x="451" y="619"/>
                </a:cubicBezTo>
                <a:cubicBezTo>
                  <a:pt x="454" y="618"/>
                  <a:pt x="457" y="617"/>
                  <a:pt x="459" y="616"/>
                </a:cubicBezTo>
                <a:cubicBezTo>
                  <a:pt x="462" y="615"/>
                  <a:pt x="464" y="613"/>
                  <a:pt x="467" y="612"/>
                </a:cubicBezTo>
                <a:cubicBezTo>
                  <a:pt x="467" y="612"/>
                  <a:pt x="467" y="612"/>
                  <a:pt x="467" y="671"/>
                </a:cubicBezTo>
                <a:cubicBezTo>
                  <a:pt x="467" y="671"/>
                  <a:pt x="467" y="671"/>
                  <a:pt x="478" y="671"/>
                </a:cubicBezTo>
                <a:cubicBezTo>
                  <a:pt x="478" y="671"/>
                  <a:pt x="478" y="671"/>
                  <a:pt x="478" y="597"/>
                </a:cubicBezTo>
                <a:close/>
                <a:moveTo>
                  <a:pt x="526" y="597"/>
                </a:moveTo>
                <a:cubicBezTo>
                  <a:pt x="526" y="597"/>
                  <a:pt x="526" y="597"/>
                  <a:pt x="526" y="597"/>
                </a:cubicBezTo>
                <a:cubicBezTo>
                  <a:pt x="521" y="597"/>
                  <a:pt x="521" y="597"/>
                  <a:pt x="521" y="597"/>
                </a:cubicBezTo>
                <a:cubicBezTo>
                  <a:pt x="519" y="599"/>
                  <a:pt x="517" y="600"/>
                  <a:pt x="516" y="601"/>
                </a:cubicBezTo>
                <a:cubicBezTo>
                  <a:pt x="513" y="603"/>
                  <a:pt x="512" y="603"/>
                  <a:pt x="510" y="604"/>
                </a:cubicBezTo>
                <a:cubicBezTo>
                  <a:pt x="508" y="605"/>
                  <a:pt x="506" y="606"/>
                  <a:pt x="504" y="607"/>
                </a:cubicBezTo>
                <a:cubicBezTo>
                  <a:pt x="502" y="608"/>
                  <a:pt x="501" y="608"/>
                  <a:pt x="499" y="608"/>
                </a:cubicBezTo>
                <a:cubicBezTo>
                  <a:pt x="499" y="608"/>
                  <a:pt x="499" y="608"/>
                  <a:pt x="499" y="619"/>
                </a:cubicBezTo>
                <a:cubicBezTo>
                  <a:pt x="502" y="618"/>
                  <a:pt x="504" y="617"/>
                  <a:pt x="507" y="616"/>
                </a:cubicBezTo>
                <a:cubicBezTo>
                  <a:pt x="510" y="615"/>
                  <a:pt x="512" y="613"/>
                  <a:pt x="514" y="612"/>
                </a:cubicBezTo>
                <a:cubicBezTo>
                  <a:pt x="514" y="612"/>
                  <a:pt x="514" y="612"/>
                  <a:pt x="514" y="671"/>
                </a:cubicBezTo>
                <a:cubicBezTo>
                  <a:pt x="514" y="671"/>
                  <a:pt x="514" y="671"/>
                  <a:pt x="526" y="671"/>
                </a:cubicBezTo>
                <a:cubicBezTo>
                  <a:pt x="526" y="671"/>
                  <a:pt x="526" y="671"/>
                  <a:pt x="526" y="597"/>
                </a:cubicBezTo>
                <a:close/>
                <a:moveTo>
                  <a:pt x="572" y="597"/>
                </a:moveTo>
                <a:cubicBezTo>
                  <a:pt x="572" y="597"/>
                  <a:pt x="572" y="597"/>
                  <a:pt x="572" y="597"/>
                </a:cubicBezTo>
                <a:cubicBezTo>
                  <a:pt x="568" y="597"/>
                  <a:pt x="568" y="597"/>
                  <a:pt x="568" y="597"/>
                </a:cubicBezTo>
                <a:cubicBezTo>
                  <a:pt x="566" y="599"/>
                  <a:pt x="564" y="600"/>
                  <a:pt x="562" y="601"/>
                </a:cubicBezTo>
                <a:cubicBezTo>
                  <a:pt x="561" y="603"/>
                  <a:pt x="559" y="603"/>
                  <a:pt x="557" y="604"/>
                </a:cubicBezTo>
                <a:cubicBezTo>
                  <a:pt x="555" y="605"/>
                  <a:pt x="553" y="605"/>
                  <a:pt x="551" y="606"/>
                </a:cubicBezTo>
                <a:cubicBezTo>
                  <a:pt x="550" y="607"/>
                  <a:pt x="548" y="608"/>
                  <a:pt x="546" y="608"/>
                </a:cubicBezTo>
                <a:cubicBezTo>
                  <a:pt x="546" y="608"/>
                  <a:pt x="546" y="608"/>
                  <a:pt x="546" y="619"/>
                </a:cubicBezTo>
                <a:cubicBezTo>
                  <a:pt x="549" y="618"/>
                  <a:pt x="552" y="616"/>
                  <a:pt x="554" y="616"/>
                </a:cubicBezTo>
                <a:cubicBezTo>
                  <a:pt x="556" y="615"/>
                  <a:pt x="559" y="613"/>
                  <a:pt x="561" y="612"/>
                </a:cubicBezTo>
                <a:cubicBezTo>
                  <a:pt x="561" y="612"/>
                  <a:pt x="561" y="612"/>
                  <a:pt x="561" y="671"/>
                </a:cubicBezTo>
                <a:cubicBezTo>
                  <a:pt x="561" y="671"/>
                  <a:pt x="561" y="671"/>
                  <a:pt x="572" y="671"/>
                </a:cubicBezTo>
                <a:cubicBezTo>
                  <a:pt x="572" y="671"/>
                  <a:pt x="572" y="671"/>
                  <a:pt x="572" y="597"/>
                </a:cubicBezTo>
                <a:close/>
                <a:moveTo>
                  <a:pt x="329" y="630"/>
                </a:moveTo>
                <a:cubicBezTo>
                  <a:pt x="329" y="630"/>
                  <a:pt x="329" y="630"/>
                  <a:pt x="329" y="630"/>
                </a:cubicBezTo>
                <a:cubicBezTo>
                  <a:pt x="328" y="638"/>
                  <a:pt x="328" y="638"/>
                  <a:pt x="328" y="638"/>
                </a:cubicBezTo>
                <a:cubicBezTo>
                  <a:pt x="334" y="638"/>
                  <a:pt x="335" y="641"/>
                  <a:pt x="335" y="644"/>
                </a:cubicBezTo>
                <a:cubicBezTo>
                  <a:pt x="335" y="646"/>
                  <a:pt x="335" y="648"/>
                  <a:pt x="335" y="651"/>
                </a:cubicBezTo>
                <a:cubicBezTo>
                  <a:pt x="334" y="654"/>
                  <a:pt x="334" y="656"/>
                  <a:pt x="334" y="658"/>
                </a:cubicBezTo>
                <a:cubicBezTo>
                  <a:pt x="334" y="668"/>
                  <a:pt x="340" y="671"/>
                  <a:pt x="348" y="671"/>
                </a:cubicBezTo>
                <a:cubicBezTo>
                  <a:pt x="348" y="671"/>
                  <a:pt x="348" y="671"/>
                  <a:pt x="352" y="671"/>
                </a:cubicBezTo>
                <a:cubicBezTo>
                  <a:pt x="352" y="671"/>
                  <a:pt x="352" y="671"/>
                  <a:pt x="352" y="662"/>
                </a:cubicBezTo>
                <a:cubicBezTo>
                  <a:pt x="352" y="662"/>
                  <a:pt x="352" y="662"/>
                  <a:pt x="351" y="662"/>
                </a:cubicBezTo>
                <a:cubicBezTo>
                  <a:pt x="347" y="662"/>
                  <a:pt x="346" y="659"/>
                  <a:pt x="346" y="656"/>
                </a:cubicBezTo>
                <a:cubicBezTo>
                  <a:pt x="346" y="654"/>
                  <a:pt x="346" y="653"/>
                  <a:pt x="346" y="651"/>
                </a:cubicBezTo>
                <a:cubicBezTo>
                  <a:pt x="346" y="650"/>
                  <a:pt x="347" y="647"/>
                  <a:pt x="347" y="645"/>
                </a:cubicBezTo>
                <a:cubicBezTo>
                  <a:pt x="347" y="638"/>
                  <a:pt x="344" y="635"/>
                  <a:pt x="338" y="634"/>
                </a:cubicBezTo>
                <a:cubicBezTo>
                  <a:pt x="338" y="634"/>
                  <a:pt x="338" y="634"/>
                  <a:pt x="338" y="634"/>
                </a:cubicBezTo>
                <a:cubicBezTo>
                  <a:pt x="344" y="632"/>
                  <a:pt x="347" y="630"/>
                  <a:pt x="347" y="623"/>
                </a:cubicBezTo>
                <a:cubicBezTo>
                  <a:pt x="347" y="620"/>
                  <a:pt x="346" y="618"/>
                  <a:pt x="346" y="616"/>
                </a:cubicBezTo>
                <a:cubicBezTo>
                  <a:pt x="346" y="615"/>
                  <a:pt x="346" y="613"/>
                  <a:pt x="346" y="612"/>
                </a:cubicBezTo>
                <a:cubicBezTo>
                  <a:pt x="346" y="608"/>
                  <a:pt x="347" y="606"/>
                  <a:pt x="351" y="606"/>
                </a:cubicBezTo>
                <a:cubicBezTo>
                  <a:pt x="351" y="606"/>
                  <a:pt x="351" y="606"/>
                  <a:pt x="352" y="606"/>
                </a:cubicBezTo>
                <a:cubicBezTo>
                  <a:pt x="352" y="606"/>
                  <a:pt x="352" y="606"/>
                  <a:pt x="352" y="597"/>
                </a:cubicBezTo>
                <a:cubicBezTo>
                  <a:pt x="352" y="597"/>
                  <a:pt x="352" y="597"/>
                  <a:pt x="348" y="597"/>
                </a:cubicBezTo>
                <a:cubicBezTo>
                  <a:pt x="340" y="597"/>
                  <a:pt x="334" y="601"/>
                  <a:pt x="334" y="609"/>
                </a:cubicBezTo>
                <a:cubicBezTo>
                  <a:pt x="334" y="611"/>
                  <a:pt x="334" y="614"/>
                  <a:pt x="334" y="617"/>
                </a:cubicBezTo>
                <a:cubicBezTo>
                  <a:pt x="335" y="619"/>
                  <a:pt x="335" y="622"/>
                  <a:pt x="335" y="623"/>
                </a:cubicBezTo>
                <a:cubicBezTo>
                  <a:pt x="335" y="626"/>
                  <a:pt x="334" y="629"/>
                  <a:pt x="329" y="630"/>
                </a:cubicBezTo>
                <a:close/>
                <a:moveTo>
                  <a:pt x="383" y="638"/>
                </a:moveTo>
                <a:cubicBezTo>
                  <a:pt x="383" y="638"/>
                  <a:pt x="383" y="638"/>
                  <a:pt x="383" y="638"/>
                </a:cubicBezTo>
                <a:cubicBezTo>
                  <a:pt x="383" y="630"/>
                  <a:pt x="383" y="630"/>
                  <a:pt x="383" y="630"/>
                </a:cubicBezTo>
                <a:cubicBezTo>
                  <a:pt x="377" y="629"/>
                  <a:pt x="377" y="626"/>
                  <a:pt x="377" y="623"/>
                </a:cubicBezTo>
                <a:cubicBezTo>
                  <a:pt x="377" y="622"/>
                  <a:pt x="377" y="619"/>
                  <a:pt x="377" y="617"/>
                </a:cubicBezTo>
                <a:cubicBezTo>
                  <a:pt x="377" y="614"/>
                  <a:pt x="377" y="611"/>
                  <a:pt x="377" y="609"/>
                </a:cubicBezTo>
                <a:cubicBezTo>
                  <a:pt x="377" y="601"/>
                  <a:pt x="372" y="597"/>
                  <a:pt x="363" y="597"/>
                </a:cubicBezTo>
                <a:cubicBezTo>
                  <a:pt x="363" y="597"/>
                  <a:pt x="363" y="597"/>
                  <a:pt x="359" y="597"/>
                </a:cubicBezTo>
                <a:cubicBezTo>
                  <a:pt x="359" y="597"/>
                  <a:pt x="359" y="597"/>
                  <a:pt x="359" y="606"/>
                </a:cubicBezTo>
                <a:cubicBezTo>
                  <a:pt x="359" y="606"/>
                  <a:pt x="359" y="606"/>
                  <a:pt x="360" y="606"/>
                </a:cubicBezTo>
                <a:cubicBezTo>
                  <a:pt x="364" y="606"/>
                  <a:pt x="366" y="608"/>
                  <a:pt x="366" y="612"/>
                </a:cubicBezTo>
                <a:cubicBezTo>
                  <a:pt x="366" y="613"/>
                  <a:pt x="365" y="615"/>
                  <a:pt x="365" y="616"/>
                </a:cubicBezTo>
                <a:cubicBezTo>
                  <a:pt x="365" y="618"/>
                  <a:pt x="365" y="620"/>
                  <a:pt x="365" y="623"/>
                </a:cubicBezTo>
                <a:cubicBezTo>
                  <a:pt x="365" y="630"/>
                  <a:pt x="368" y="632"/>
                  <a:pt x="374" y="634"/>
                </a:cubicBezTo>
                <a:cubicBezTo>
                  <a:pt x="374" y="634"/>
                  <a:pt x="374" y="634"/>
                  <a:pt x="374" y="634"/>
                </a:cubicBezTo>
                <a:cubicBezTo>
                  <a:pt x="368" y="635"/>
                  <a:pt x="365" y="638"/>
                  <a:pt x="365" y="645"/>
                </a:cubicBezTo>
                <a:cubicBezTo>
                  <a:pt x="365" y="647"/>
                  <a:pt x="365" y="650"/>
                  <a:pt x="365" y="651"/>
                </a:cubicBezTo>
                <a:cubicBezTo>
                  <a:pt x="365" y="653"/>
                  <a:pt x="366" y="654"/>
                  <a:pt x="366" y="656"/>
                </a:cubicBezTo>
                <a:cubicBezTo>
                  <a:pt x="366" y="659"/>
                  <a:pt x="365" y="662"/>
                  <a:pt x="360" y="662"/>
                </a:cubicBezTo>
                <a:cubicBezTo>
                  <a:pt x="360" y="662"/>
                  <a:pt x="360" y="662"/>
                  <a:pt x="359" y="662"/>
                </a:cubicBezTo>
                <a:cubicBezTo>
                  <a:pt x="359" y="662"/>
                  <a:pt x="359" y="662"/>
                  <a:pt x="359" y="671"/>
                </a:cubicBezTo>
                <a:cubicBezTo>
                  <a:pt x="359" y="671"/>
                  <a:pt x="359" y="671"/>
                  <a:pt x="363" y="671"/>
                </a:cubicBezTo>
                <a:cubicBezTo>
                  <a:pt x="372" y="671"/>
                  <a:pt x="377" y="668"/>
                  <a:pt x="377" y="658"/>
                </a:cubicBezTo>
                <a:cubicBezTo>
                  <a:pt x="377" y="656"/>
                  <a:pt x="377" y="654"/>
                  <a:pt x="377" y="651"/>
                </a:cubicBezTo>
                <a:cubicBezTo>
                  <a:pt x="377" y="648"/>
                  <a:pt x="377" y="646"/>
                  <a:pt x="377" y="644"/>
                </a:cubicBezTo>
                <a:cubicBezTo>
                  <a:pt x="377" y="641"/>
                  <a:pt x="377" y="638"/>
                  <a:pt x="383" y="638"/>
                </a:cubicBezTo>
                <a:close/>
                <a:moveTo>
                  <a:pt x="710" y="630"/>
                </a:moveTo>
                <a:cubicBezTo>
                  <a:pt x="710" y="630"/>
                  <a:pt x="710" y="630"/>
                  <a:pt x="710" y="630"/>
                </a:cubicBezTo>
                <a:cubicBezTo>
                  <a:pt x="710" y="638"/>
                  <a:pt x="710" y="638"/>
                  <a:pt x="710" y="638"/>
                </a:cubicBezTo>
                <a:cubicBezTo>
                  <a:pt x="716" y="638"/>
                  <a:pt x="717" y="641"/>
                  <a:pt x="717" y="644"/>
                </a:cubicBezTo>
                <a:cubicBezTo>
                  <a:pt x="717" y="646"/>
                  <a:pt x="716" y="648"/>
                  <a:pt x="716" y="651"/>
                </a:cubicBezTo>
                <a:cubicBezTo>
                  <a:pt x="716" y="654"/>
                  <a:pt x="716" y="656"/>
                  <a:pt x="716" y="658"/>
                </a:cubicBezTo>
                <a:cubicBezTo>
                  <a:pt x="716" y="668"/>
                  <a:pt x="722" y="671"/>
                  <a:pt x="730" y="671"/>
                </a:cubicBezTo>
                <a:cubicBezTo>
                  <a:pt x="730" y="671"/>
                  <a:pt x="730" y="671"/>
                  <a:pt x="734" y="671"/>
                </a:cubicBezTo>
                <a:cubicBezTo>
                  <a:pt x="734" y="671"/>
                  <a:pt x="734" y="671"/>
                  <a:pt x="734" y="662"/>
                </a:cubicBezTo>
                <a:cubicBezTo>
                  <a:pt x="734" y="662"/>
                  <a:pt x="734" y="662"/>
                  <a:pt x="732" y="662"/>
                </a:cubicBezTo>
                <a:cubicBezTo>
                  <a:pt x="729" y="662"/>
                  <a:pt x="727" y="659"/>
                  <a:pt x="727" y="656"/>
                </a:cubicBezTo>
                <a:cubicBezTo>
                  <a:pt x="727" y="654"/>
                  <a:pt x="727" y="653"/>
                  <a:pt x="728" y="651"/>
                </a:cubicBezTo>
                <a:cubicBezTo>
                  <a:pt x="728" y="650"/>
                  <a:pt x="728" y="647"/>
                  <a:pt x="728" y="645"/>
                </a:cubicBezTo>
                <a:cubicBezTo>
                  <a:pt x="728" y="638"/>
                  <a:pt x="725" y="635"/>
                  <a:pt x="720" y="634"/>
                </a:cubicBezTo>
                <a:cubicBezTo>
                  <a:pt x="720" y="634"/>
                  <a:pt x="720" y="634"/>
                  <a:pt x="720" y="634"/>
                </a:cubicBezTo>
                <a:cubicBezTo>
                  <a:pt x="725" y="632"/>
                  <a:pt x="728" y="630"/>
                  <a:pt x="728" y="623"/>
                </a:cubicBezTo>
                <a:cubicBezTo>
                  <a:pt x="728" y="620"/>
                  <a:pt x="728" y="618"/>
                  <a:pt x="728" y="616"/>
                </a:cubicBezTo>
                <a:cubicBezTo>
                  <a:pt x="727" y="615"/>
                  <a:pt x="727" y="613"/>
                  <a:pt x="727" y="612"/>
                </a:cubicBezTo>
                <a:cubicBezTo>
                  <a:pt x="727" y="608"/>
                  <a:pt x="729" y="606"/>
                  <a:pt x="732" y="606"/>
                </a:cubicBezTo>
                <a:cubicBezTo>
                  <a:pt x="732" y="606"/>
                  <a:pt x="732" y="606"/>
                  <a:pt x="734" y="606"/>
                </a:cubicBezTo>
                <a:cubicBezTo>
                  <a:pt x="734" y="606"/>
                  <a:pt x="734" y="606"/>
                  <a:pt x="734" y="597"/>
                </a:cubicBezTo>
                <a:cubicBezTo>
                  <a:pt x="734" y="597"/>
                  <a:pt x="734" y="597"/>
                  <a:pt x="730" y="597"/>
                </a:cubicBezTo>
                <a:cubicBezTo>
                  <a:pt x="721" y="597"/>
                  <a:pt x="716" y="601"/>
                  <a:pt x="716" y="609"/>
                </a:cubicBezTo>
                <a:cubicBezTo>
                  <a:pt x="716" y="611"/>
                  <a:pt x="716" y="614"/>
                  <a:pt x="716" y="617"/>
                </a:cubicBezTo>
                <a:cubicBezTo>
                  <a:pt x="716" y="619"/>
                  <a:pt x="717" y="622"/>
                  <a:pt x="717" y="623"/>
                </a:cubicBezTo>
                <a:cubicBezTo>
                  <a:pt x="717" y="626"/>
                  <a:pt x="716" y="629"/>
                  <a:pt x="710" y="630"/>
                </a:cubicBezTo>
                <a:close/>
                <a:moveTo>
                  <a:pt x="765" y="638"/>
                </a:moveTo>
                <a:cubicBezTo>
                  <a:pt x="765" y="638"/>
                  <a:pt x="765" y="638"/>
                  <a:pt x="765" y="638"/>
                </a:cubicBezTo>
                <a:cubicBezTo>
                  <a:pt x="765" y="630"/>
                  <a:pt x="765" y="630"/>
                  <a:pt x="765" y="630"/>
                </a:cubicBezTo>
                <a:cubicBezTo>
                  <a:pt x="759" y="629"/>
                  <a:pt x="758" y="626"/>
                  <a:pt x="758" y="623"/>
                </a:cubicBezTo>
                <a:cubicBezTo>
                  <a:pt x="758" y="622"/>
                  <a:pt x="758" y="619"/>
                  <a:pt x="759" y="617"/>
                </a:cubicBezTo>
                <a:cubicBezTo>
                  <a:pt x="759" y="614"/>
                  <a:pt x="759" y="611"/>
                  <a:pt x="759" y="609"/>
                </a:cubicBezTo>
                <a:cubicBezTo>
                  <a:pt x="759" y="601"/>
                  <a:pt x="754" y="597"/>
                  <a:pt x="745" y="597"/>
                </a:cubicBezTo>
                <a:cubicBezTo>
                  <a:pt x="745" y="597"/>
                  <a:pt x="745" y="597"/>
                  <a:pt x="741" y="597"/>
                </a:cubicBezTo>
                <a:cubicBezTo>
                  <a:pt x="741" y="597"/>
                  <a:pt x="741" y="597"/>
                  <a:pt x="741" y="606"/>
                </a:cubicBezTo>
                <a:cubicBezTo>
                  <a:pt x="741" y="606"/>
                  <a:pt x="741" y="606"/>
                  <a:pt x="742" y="606"/>
                </a:cubicBezTo>
                <a:cubicBezTo>
                  <a:pt x="746" y="606"/>
                  <a:pt x="748" y="608"/>
                  <a:pt x="748" y="612"/>
                </a:cubicBezTo>
                <a:cubicBezTo>
                  <a:pt x="748" y="613"/>
                  <a:pt x="747" y="615"/>
                  <a:pt x="747" y="616"/>
                </a:cubicBezTo>
                <a:cubicBezTo>
                  <a:pt x="747" y="618"/>
                  <a:pt x="747" y="620"/>
                  <a:pt x="747" y="623"/>
                </a:cubicBezTo>
                <a:cubicBezTo>
                  <a:pt x="747" y="630"/>
                  <a:pt x="749" y="632"/>
                  <a:pt x="755" y="634"/>
                </a:cubicBezTo>
                <a:cubicBezTo>
                  <a:pt x="755" y="634"/>
                  <a:pt x="755" y="634"/>
                  <a:pt x="755" y="634"/>
                </a:cubicBezTo>
                <a:cubicBezTo>
                  <a:pt x="749" y="635"/>
                  <a:pt x="747" y="638"/>
                  <a:pt x="747" y="645"/>
                </a:cubicBezTo>
                <a:cubicBezTo>
                  <a:pt x="747" y="647"/>
                  <a:pt x="747" y="650"/>
                  <a:pt x="747" y="651"/>
                </a:cubicBezTo>
                <a:cubicBezTo>
                  <a:pt x="747" y="653"/>
                  <a:pt x="748" y="654"/>
                  <a:pt x="748" y="656"/>
                </a:cubicBezTo>
                <a:cubicBezTo>
                  <a:pt x="748" y="659"/>
                  <a:pt x="747" y="662"/>
                  <a:pt x="742" y="662"/>
                </a:cubicBezTo>
                <a:cubicBezTo>
                  <a:pt x="742" y="662"/>
                  <a:pt x="742" y="662"/>
                  <a:pt x="741" y="662"/>
                </a:cubicBezTo>
                <a:cubicBezTo>
                  <a:pt x="741" y="662"/>
                  <a:pt x="741" y="662"/>
                  <a:pt x="741" y="671"/>
                </a:cubicBezTo>
                <a:cubicBezTo>
                  <a:pt x="741" y="671"/>
                  <a:pt x="741" y="671"/>
                  <a:pt x="745" y="671"/>
                </a:cubicBezTo>
                <a:cubicBezTo>
                  <a:pt x="754" y="671"/>
                  <a:pt x="759" y="668"/>
                  <a:pt x="759" y="658"/>
                </a:cubicBezTo>
                <a:cubicBezTo>
                  <a:pt x="759" y="656"/>
                  <a:pt x="759" y="654"/>
                  <a:pt x="759" y="651"/>
                </a:cubicBezTo>
                <a:cubicBezTo>
                  <a:pt x="758" y="648"/>
                  <a:pt x="758" y="646"/>
                  <a:pt x="758" y="644"/>
                </a:cubicBezTo>
                <a:cubicBezTo>
                  <a:pt x="758" y="641"/>
                  <a:pt x="759" y="638"/>
                  <a:pt x="765" y="638"/>
                </a:cubicBezTo>
                <a:close/>
                <a:moveTo>
                  <a:pt x="812" y="597"/>
                </a:moveTo>
                <a:cubicBezTo>
                  <a:pt x="812" y="597"/>
                  <a:pt x="812" y="597"/>
                  <a:pt x="812" y="597"/>
                </a:cubicBezTo>
                <a:cubicBezTo>
                  <a:pt x="807" y="597"/>
                  <a:pt x="807" y="597"/>
                  <a:pt x="807" y="597"/>
                </a:cubicBezTo>
                <a:cubicBezTo>
                  <a:pt x="805" y="599"/>
                  <a:pt x="804" y="600"/>
                  <a:pt x="801" y="601"/>
                </a:cubicBezTo>
                <a:cubicBezTo>
                  <a:pt x="800" y="603"/>
                  <a:pt x="798" y="603"/>
                  <a:pt x="796" y="604"/>
                </a:cubicBezTo>
                <a:cubicBezTo>
                  <a:pt x="794" y="605"/>
                  <a:pt x="793" y="605"/>
                  <a:pt x="791" y="606"/>
                </a:cubicBezTo>
                <a:cubicBezTo>
                  <a:pt x="789" y="607"/>
                  <a:pt x="787" y="608"/>
                  <a:pt x="785" y="608"/>
                </a:cubicBezTo>
                <a:cubicBezTo>
                  <a:pt x="785" y="608"/>
                  <a:pt x="785" y="608"/>
                  <a:pt x="785" y="619"/>
                </a:cubicBezTo>
                <a:cubicBezTo>
                  <a:pt x="788" y="618"/>
                  <a:pt x="791" y="616"/>
                  <a:pt x="793" y="616"/>
                </a:cubicBezTo>
                <a:cubicBezTo>
                  <a:pt x="796" y="615"/>
                  <a:pt x="798" y="613"/>
                  <a:pt x="801" y="612"/>
                </a:cubicBezTo>
                <a:cubicBezTo>
                  <a:pt x="801" y="612"/>
                  <a:pt x="801" y="612"/>
                  <a:pt x="801" y="671"/>
                </a:cubicBezTo>
                <a:cubicBezTo>
                  <a:pt x="801" y="671"/>
                  <a:pt x="801" y="671"/>
                  <a:pt x="812" y="671"/>
                </a:cubicBezTo>
                <a:cubicBezTo>
                  <a:pt x="812" y="671"/>
                  <a:pt x="812" y="671"/>
                  <a:pt x="812" y="597"/>
                </a:cubicBezTo>
                <a:close/>
                <a:moveTo>
                  <a:pt x="860" y="597"/>
                </a:moveTo>
                <a:cubicBezTo>
                  <a:pt x="860" y="597"/>
                  <a:pt x="860" y="597"/>
                  <a:pt x="860" y="597"/>
                </a:cubicBezTo>
                <a:cubicBezTo>
                  <a:pt x="854" y="597"/>
                  <a:pt x="854" y="597"/>
                  <a:pt x="854" y="597"/>
                </a:cubicBezTo>
                <a:cubicBezTo>
                  <a:pt x="852" y="599"/>
                  <a:pt x="851" y="600"/>
                  <a:pt x="849" y="601"/>
                </a:cubicBezTo>
                <a:cubicBezTo>
                  <a:pt x="847" y="603"/>
                  <a:pt x="845" y="603"/>
                  <a:pt x="844" y="604"/>
                </a:cubicBezTo>
                <a:cubicBezTo>
                  <a:pt x="842" y="605"/>
                  <a:pt x="840" y="606"/>
                  <a:pt x="838" y="607"/>
                </a:cubicBezTo>
                <a:cubicBezTo>
                  <a:pt x="836" y="608"/>
                  <a:pt x="835" y="608"/>
                  <a:pt x="833" y="608"/>
                </a:cubicBezTo>
                <a:cubicBezTo>
                  <a:pt x="833" y="608"/>
                  <a:pt x="833" y="608"/>
                  <a:pt x="833" y="619"/>
                </a:cubicBezTo>
                <a:cubicBezTo>
                  <a:pt x="836" y="618"/>
                  <a:pt x="838" y="617"/>
                  <a:pt x="841" y="616"/>
                </a:cubicBezTo>
                <a:cubicBezTo>
                  <a:pt x="844" y="615"/>
                  <a:pt x="846" y="613"/>
                  <a:pt x="848" y="612"/>
                </a:cubicBezTo>
                <a:cubicBezTo>
                  <a:pt x="848" y="612"/>
                  <a:pt x="848" y="612"/>
                  <a:pt x="848" y="671"/>
                </a:cubicBezTo>
                <a:cubicBezTo>
                  <a:pt x="848" y="671"/>
                  <a:pt x="848" y="671"/>
                  <a:pt x="860" y="671"/>
                </a:cubicBezTo>
                <a:cubicBezTo>
                  <a:pt x="860" y="671"/>
                  <a:pt x="860" y="671"/>
                  <a:pt x="860" y="597"/>
                </a:cubicBezTo>
                <a:close/>
                <a:moveTo>
                  <a:pt x="906" y="597"/>
                </a:moveTo>
                <a:cubicBezTo>
                  <a:pt x="906" y="597"/>
                  <a:pt x="906" y="597"/>
                  <a:pt x="906" y="597"/>
                </a:cubicBezTo>
                <a:cubicBezTo>
                  <a:pt x="902" y="597"/>
                  <a:pt x="902" y="597"/>
                  <a:pt x="902" y="597"/>
                </a:cubicBezTo>
                <a:cubicBezTo>
                  <a:pt x="899" y="599"/>
                  <a:pt x="898" y="600"/>
                  <a:pt x="896" y="601"/>
                </a:cubicBezTo>
                <a:cubicBezTo>
                  <a:pt x="894" y="603"/>
                  <a:pt x="892" y="603"/>
                  <a:pt x="891" y="604"/>
                </a:cubicBezTo>
                <a:cubicBezTo>
                  <a:pt x="888" y="605"/>
                  <a:pt x="887" y="606"/>
                  <a:pt x="885" y="607"/>
                </a:cubicBezTo>
                <a:cubicBezTo>
                  <a:pt x="883" y="608"/>
                  <a:pt x="881" y="608"/>
                  <a:pt x="880" y="608"/>
                </a:cubicBezTo>
                <a:cubicBezTo>
                  <a:pt x="880" y="608"/>
                  <a:pt x="880" y="608"/>
                  <a:pt x="880" y="619"/>
                </a:cubicBezTo>
                <a:cubicBezTo>
                  <a:pt x="883" y="618"/>
                  <a:pt x="886" y="617"/>
                  <a:pt x="888" y="616"/>
                </a:cubicBezTo>
                <a:cubicBezTo>
                  <a:pt x="890" y="615"/>
                  <a:pt x="893" y="613"/>
                  <a:pt x="894" y="612"/>
                </a:cubicBezTo>
                <a:cubicBezTo>
                  <a:pt x="894" y="612"/>
                  <a:pt x="894" y="612"/>
                  <a:pt x="894" y="671"/>
                </a:cubicBezTo>
                <a:cubicBezTo>
                  <a:pt x="894" y="671"/>
                  <a:pt x="894" y="671"/>
                  <a:pt x="906" y="671"/>
                </a:cubicBezTo>
                <a:cubicBezTo>
                  <a:pt x="906" y="671"/>
                  <a:pt x="906" y="671"/>
                  <a:pt x="906" y="597"/>
                </a:cubicBezTo>
                <a:close/>
                <a:moveTo>
                  <a:pt x="1029" y="597"/>
                </a:moveTo>
                <a:cubicBezTo>
                  <a:pt x="1029" y="597"/>
                  <a:pt x="1029" y="597"/>
                  <a:pt x="1029" y="597"/>
                </a:cubicBezTo>
                <a:cubicBezTo>
                  <a:pt x="1024" y="597"/>
                  <a:pt x="1024" y="597"/>
                  <a:pt x="1024" y="597"/>
                </a:cubicBezTo>
                <a:cubicBezTo>
                  <a:pt x="1022" y="599"/>
                  <a:pt x="1020" y="600"/>
                  <a:pt x="1018" y="601"/>
                </a:cubicBezTo>
                <a:cubicBezTo>
                  <a:pt x="1016" y="603"/>
                  <a:pt x="1015" y="603"/>
                  <a:pt x="1013" y="604"/>
                </a:cubicBezTo>
                <a:cubicBezTo>
                  <a:pt x="1011" y="605"/>
                  <a:pt x="1009" y="606"/>
                  <a:pt x="1008" y="607"/>
                </a:cubicBezTo>
                <a:cubicBezTo>
                  <a:pt x="1005" y="608"/>
                  <a:pt x="1004" y="608"/>
                  <a:pt x="1002" y="608"/>
                </a:cubicBezTo>
                <a:cubicBezTo>
                  <a:pt x="1002" y="608"/>
                  <a:pt x="1002" y="608"/>
                  <a:pt x="1002" y="619"/>
                </a:cubicBezTo>
                <a:cubicBezTo>
                  <a:pt x="1005" y="618"/>
                  <a:pt x="1008" y="617"/>
                  <a:pt x="1010" y="616"/>
                </a:cubicBezTo>
                <a:cubicBezTo>
                  <a:pt x="1013" y="615"/>
                  <a:pt x="1015" y="613"/>
                  <a:pt x="1017" y="612"/>
                </a:cubicBezTo>
                <a:cubicBezTo>
                  <a:pt x="1017" y="612"/>
                  <a:pt x="1017" y="612"/>
                  <a:pt x="1017" y="671"/>
                </a:cubicBezTo>
                <a:cubicBezTo>
                  <a:pt x="1017" y="671"/>
                  <a:pt x="1017" y="671"/>
                  <a:pt x="1029" y="671"/>
                </a:cubicBezTo>
                <a:cubicBezTo>
                  <a:pt x="1029" y="671"/>
                  <a:pt x="1029" y="671"/>
                  <a:pt x="1029" y="597"/>
                </a:cubicBezTo>
                <a:close/>
                <a:moveTo>
                  <a:pt x="1076" y="597"/>
                </a:moveTo>
                <a:cubicBezTo>
                  <a:pt x="1076" y="597"/>
                  <a:pt x="1076" y="597"/>
                  <a:pt x="1076" y="597"/>
                </a:cubicBezTo>
                <a:cubicBezTo>
                  <a:pt x="1071" y="597"/>
                  <a:pt x="1071" y="597"/>
                  <a:pt x="1071" y="597"/>
                </a:cubicBezTo>
                <a:cubicBezTo>
                  <a:pt x="1069" y="599"/>
                  <a:pt x="1068" y="600"/>
                  <a:pt x="1065" y="601"/>
                </a:cubicBezTo>
                <a:cubicBezTo>
                  <a:pt x="1064" y="603"/>
                  <a:pt x="1062" y="603"/>
                  <a:pt x="1060" y="604"/>
                </a:cubicBezTo>
                <a:cubicBezTo>
                  <a:pt x="1059" y="605"/>
                  <a:pt x="1057" y="606"/>
                  <a:pt x="1055" y="607"/>
                </a:cubicBezTo>
                <a:cubicBezTo>
                  <a:pt x="1053" y="608"/>
                  <a:pt x="1051" y="608"/>
                  <a:pt x="1049" y="608"/>
                </a:cubicBezTo>
                <a:cubicBezTo>
                  <a:pt x="1049" y="608"/>
                  <a:pt x="1049" y="608"/>
                  <a:pt x="1049" y="619"/>
                </a:cubicBezTo>
                <a:cubicBezTo>
                  <a:pt x="1052" y="618"/>
                  <a:pt x="1055" y="617"/>
                  <a:pt x="1057" y="616"/>
                </a:cubicBezTo>
                <a:cubicBezTo>
                  <a:pt x="1060" y="615"/>
                  <a:pt x="1062" y="613"/>
                  <a:pt x="1065" y="612"/>
                </a:cubicBezTo>
                <a:cubicBezTo>
                  <a:pt x="1065" y="612"/>
                  <a:pt x="1065" y="612"/>
                  <a:pt x="1065" y="671"/>
                </a:cubicBezTo>
                <a:cubicBezTo>
                  <a:pt x="1065" y="671"/>
                  <a:pt x="1065" y="671"/>
                  <a:pt x="1076" y="671"/>
                </a:cubicBezTo>
                <a:cubicBezTo>
                  <a:pt x="1076" y="671"/>
                  <a:pt x="1076" y="671"/>
                  <a:pt x="1076" y="597"/>
                </a:cubicBezTo>
                <a:close/>
                <a:moveTo>
                  <a:pt x="1123" y="597"/>
                </a:moveTo>
                <a:cubicBezTo>
                  <a:pt x="1123" y="597"/>
                  <a:pt x="1123" y="597"/>
                  <a:pt x="1123" y="597"/>
                </a:cubicBezTo>
                <a:cubicBezTo>
                  <a:pt x="1119" y="597"/>
                  <a:pt x="1119" y="597"/>
                  <a:pt x="1119" y="597"/>
                </a:cubicBezTo>
                <a:cubicBezTo>
                  <a:pt x="1116" y="599"/>
                  <a:pt x="1115" y="600"/>
                  <a:pt x="1113" y="601"/>
                </a:cubicBezTo>
                <a:cubicBezTo>
                  <a:pt x="1111" y="603"/>
                  <a:pt x="1109" y="603"/>
                  <a:pt x="1108" y="604"/>
                </a:cubicBezTo>
                <a:cubicBezTo>
                  <a:pt x="1105" y="605"/>
                  <a:pt x="1104" y="605"/>
                  <a:pt x="1102" y="606"/>
                </a:cubicBezTo>
                <a:cubicBezTo>
                  <a:pt x="1100" y="607"/>
                  <a:pt x="1098" y="608"/>
                  <a:pt x="1097" y="608"/>
                </a:cubicBezTo>
                <a:cubicBezTo>
                  <a:pt x="1097" y="608"/>
                  <a:pt x="1097" y="608"/>
                  <a:pt x="1097" y="619"/>
                </a:cubicBezTo>
                <a:cubicBezTo>
                  <a:pt x="1100" y="618"/>
                  <a:pt x="1103" y="616"/>
                  <a:pt x="1105" y="616"/>
                </a:cubicBezTo>
                <a:cubicBezTo>
                  <a:pt x="1107" y="615"/>
                  <a:pt x="1110" y="613"/>
                  <a:pt x="1111" y="612"/>
                </a:cubicBezTo>
                <a:cubicBezTo>
                  <a:pt x="1111" y="612"/>
                  <a:pt x="1111" y="612"/>
                  <a:pt x="1111" y="671"/>
                </a:cubicBezTo>
                <a:cubicBezTo>
                  <a:pt x="1111" y="671"/>
                  <a:pt x="1111" y="671"/>
                  <a:pt x="1123" y="671"/>
                </a:cubicBezTo>
                <a:cubicBezTo>
                  <a:pt x="1123" y="671"/>
                  <a:pt x="1123" y="671"/>
                  <a:pt x="1123" y="597"/>
                </a:cubicBezTo>
                <a:close/>
                <a:moveTo>
                  <a:pt x="1168" y="671"/>
                </a:moveTo>
                <a:cubicBezTo>
                  <a:pt x="1160" y="671"/>
                  <a:pt x="1154" y="668"/>
                  <a:pt x="1149" y="662"/>
                </a:cubicBezTo>
                <a:cubicBezTo>
                  <a:pt x="1145" y="656"/>
                  <a:pt x="1143" y="647"/>
                  <a:pt x="1143" y="634"/>
                </a:cubicBezTo>
                <a:cubicBezTo>
                  <a:pt x="1143" y="621"/>
                  <a:pt x="1145" y="612"/>
                  <a:pt x="1150" y="605"/>
                </a:cubicBezTo>
                <a:cubicBezTo>
                  <a:pt x="1154" y="599"/>
                  <a:pt x="1161" y="595"/>
                  <a:pt x="1170" y="595"/>
                </a:cubicBezTo>
                <a:cubicBezTo>
                  <a:pt x="1186" y="595"/>
                  <a:pt x="1194" y="607"/>
                  <a:pt x="1194" y="633"/>
                </a:cubicBezTo>
                <a:cubicBezTo>
                  <a:pt x="1194" y="645"/>
                  <a:pt x="1192" y="655"/>
                  <a:pt x="1187" y="661"/>
                </a:cubicBezTo>
                <a:cubicBezTo>
                  <a:pt x="1182" y="668"/>
                  <a:pt x="1176" y="671"/>
                  <a:pt x="1168" y="671"/>
                </a:cubicBezTo>
                <a:close/>
                <a:moveTo>
                  <a:pt x="1169" y="605"/>
                </a:moveTo>
                <a:cubicBezTo>
                  <a:pt x="1159" y="605"/>
                  <a:pt x="1155" y="615"/>
                  <a:pt x="1155" y="634"/>
                </a:cubicBezTo>
                <a:cubicBezTo>
                  <a:pt x="1155" y="653"/>
                  <a:pt x="1159" y="661"/>
                  <a:pt x="1168" y="661"/>
                </a:cubicBezTo>
                <a:cubicBezTo>
                  <a:pt x="1177" y="661"/>
                  <a:pt x="1182" y="653"/>
                  <a:pt x="1182" y="634"/>
                </a:cubicBezTo>
                <a:cubicBezTo>
                  <a:pt x="1182" y="614"/>
                  <a:pt x="1177" y="605"/>
                  <a:pt x="1169" y="605"/>
                </a:cubicBezTo>
                <a:close/>
                <a:moveTo>
                  <a:pt x="1238" y="671"/>
                </a:moveTo>
                <a:cubicBezTo>
                  <a:pt x="1231" y="671"/>
                  <a:pt x="1224" y="668"/>
                  <a:pt x="1221" y="662"/>
                </a:cubicBezTo>
                <a:cubicBezTo>
                  <a:pt x="1216" y="656"/>
                  <a:pt x="1214" y="647"/>
                  <a:pt x="1214" y="634"/>
                </a:cubicBezTo>
                <a:cubicBezTo>
                  <a:pt x="1214" y="621"/>
                  <a:pt x="1216" y="612"/>
                  <a:pt x="1221" y="605"/>
                </a:cubicBezTo>
                <a:cubicBezTo>
                  <a:pt x="1225" y="599"/>
                  <a:pt x="1232" y="595"/>
                  <a:pt x="1241" y="595"/>
                </a:cubicBezTo>
                <a:cubicBezTo>
                  <a:pt x="1257" y="595"/>
                  <a:pt x="1265" y="607"/>
                  <a:pt x="1265" y="633"/>
                </a:cubicBezTo>
                <a:cubicBezTo>
                  <a:pt x="1265" y="645"/>
                  <a:pt x="1262" y="655"/>
                  <a:pt x="1258" y="661"/>
                </a:cubicBezTo>
                <a:cubicBezTo>
                  <a:pt x="1253" y="668"/>
                  <a:pt x="1247" y="671"/>
                  <a:pt x="1238" y="671"/>
                </a:cubicBezTo>
                <a:close/>
                <a:moveTo>
                  <a:pt x="1240" y="605"/>
                </a:moveTo>
                <a:cubicBezTo>
                  <a:pt x="1231" y="605"/>
                  <a:pt x="1226" y="615"/>
                  <a:pt x="1226" y="634"/>
                </a:cubicBezTo>
                <a:cubicBezTo>
                  <a:pt x="1226" y="653"/>
                  <a:pt x="1230" y="661"/>
                  <a:pt x="1239" y="661"/>
                </a:cubicBezTo>
                <a:cubicBezTo>
                  <a:pt x="1248" y="661"/>
                  <a:pt x="1252" y="653"/>
                  <a:pt x="1252" y="634"/>
                </a:cubicBezTo>
                <a:cubicBezTo>
                  <a:pt x="1252" y="614"/>
                  <a:pt x="1248" y="605"/>
                  <a:pt x="1240" y="605"/>
                </a:cubicBezTo>
                <a:close/>
                <a:moveTo>
                  <a:pt x="927" y="630"/>
                </a:moveTo>
                <a:cubicBezTo>
                  <a:pt x="927" y="630"/>
                  <a:pt x="927" y="630"/>
                  <a:pt x="927" y="630"/>
                </a:cubicBezTo>
                <a:cubicBezTo>
                  <a:pt x="926" y="638"/>
                  <a:pt x="926" y="638"/>
                  <a:pt x="926" y="638"/>
                </a:cubicBezTo>
                <a:cubicBezTo>
                  <a:pt x="933" y="638"/>
                  <a:pt x="933" y="641"/>
                  <a:pt x="933" y="644"/>
                </a:cubicBezTo>
                <a:cubicBezTo>
                  <a:pt x="933" y="646"/>
                  <a:pt x="933" y="648"/>
                  <a:pt x="933" y="651"/>
                </a:cubicBezTo>
                <a:cubicBezTo>
                  <a:pt x="933" y="654"/>
                  <a:pt x="932" y="656"/>
                  <a:pt x="932" y="658"/>
                </a:cubicBezTo>
                <a:cubicBezTo>
                  <a:pt x="932" y="668"/>
                  <a:pt x="938" y="671"/>
                  <a:pt x="947" y="671"/>
                </a:cubicBezTo>
                <a:cubicBezTo>
                  <a:pt x="947" y="671"/>
                  <a:pt x="947" y="671"/>
                  <a:pt x="951" y="671"/>
                </a:cubicBezTo>
                <a:cubicBezTo>
                  <a:pt x="951" y="671"/>
                  <a:pt x="951" y="671"/>
                  <a:pt x="951" y="662"/>
                </a:cubicBezTo>
                <a:cubicBezTo>
                  <a:pt x="951" y="662"/>
                  <a:pt x="951" y="662"/>
                  <a:pt x="949" y="662"/>
                </a:cubicBezTo>
                <a:cubicBezTo>
                  <a:pt x="945" y="662"/>
                  <a:pt x="944" y="659"/>
                  <a:pt x="944" y="656"/>
                </a:cubicBezTo>
                <a:cubicBezTo>
                  <a:pt x="944" y="654"/>
                  <a:pt x="944" y="653"/>
                  <a:pt x="945" y="651"/>
                </a:cubicBezTo>
                <a:cubicBezTo>
                  <a:pt x="945" y="650"/>
                  <a:pt x="945" y="647"/>
                  <a:pt x="945" y="645"/>
                </a:cubicBezTo>
                <a:cubicBezTo>
                  <a:pt x="945" y="638"/>
                  <a:pt x="942" y="635"/>
                  <a:pt x="936" y="634"/>
                </a:cubicBezTo>
                <a:cubicBezTo>
                  <a:pt x="936" y="634"/>
                  <a:pt x="936" y="634"/>
                  <a:pt x="936" y="634"/>
                </a:cubicBezTo>
                <a:cubicBezTo>
                  <a:pt x="942" y="632"/>
                  <a:pt x="945" y="630"/>
                  <a:pt x="945" y="623"/>
                </a:cubicBezTo>
                <a:cubicBezTo>
                  <a:pt x="945" y="620"/>
                  <a:pt x="945" y="618"/>
                  <a:pt x="945" y="616"/>
                </a:cubicBezTo>
                <a:cubicBezTo>
                  <a:pt x="944" y="615"/>
                  <a:pt x="944" y="613"/>
                  <a:pt x="944" y="612"/>
                </a:cubicBezTo>
                <a:cubicBezTo>
                  <a:pt x="944" y="608"/>
                  <a:pt x="945" y="606"/>
                  <a:pt x="949" y="606"/>
                </a:cubicBezTo>
                <a:cubicBezTo>
                  <a:pt x="949" y="606"/>
                  <a:pt x="949" y="606"/>
                  <a:pt x="951" y="606"/>
                </a:cubicBezTo>
                <a:cubicBezTo>
                  <a:pt x="951" y="606"/>
                  <a:pt x="951" y="606"/>
                  <a:pt x="951" y="597"/>
                </a:cubicBezTo>
                <a:cubicBezTo>
                  <a:pt x="951" y="597"/>
                  <a:pt x="951" y="597"/>
                  <a:pt x="947" y="597"/>
                </a:cubicBezTo>
                <a:cubicBezTo>
                  <a:pt x="938" y="597"/>
                  <a:pt x="932" y="601"/>
                  <a:pt x="932" y="609"/>
                </a:cubicBezTo>
                <a:cubicBezTo>
                  <a:pt x="932" y="611"/>
                  <a:pt x="933" y="614"/>
                  <a:pt x="933" y="617"/>
                </a:cubicBezTo>
                <a:cubicBezTo>
                  <a:pt x="933" y="619"/>
                  <a:pt x="933" y="622"/>
                  <a:pt x="933" y="623"/>
                </a:cubicBezTo>
                <a:cubicBezTo>
                  <a:pt x="933" y="626"/>
                  <a:pt x="933" y="629"/>
                  <a:pt x="927" y="630"/>
                </a:cubicBezTo>
                <a:close/>
                <a:moveTo>
                  <a:pt x="981" y="638"/>
                </a:moveTo>
                <a:cubicBezTo>
                  <a:pt x="981" y="638"/>
                  <a:pt x="981" y="638"/>
                  <a:pt x="981" y="638"/>
                </a:cubicBezTo>
                <a:cubicBezTo>
                  <a:pt x="981" y="630"/>
                  <a:pt x="981" y="630"/>
                  <a:pt x="981" y="630"/>
                </a:cubicBezTo>
                <a:cubicBezTo>
                  <a:pt x="975" y="629"/>
                  <a:pt x="975" y="626"/>
                  <a:pt x="975" y="623"/>
                </a:cubicBezTo>
                <a:cubicBezTo>
                  <a:pt x="975" y="622"/>
                  <a:pt x="975" y="619"/>
                  <a:pt x="975" y="617"/>
                </a:cubicBezTo>
                <a:cubicBezTo>
                  <a:pt x="976" y="614"/>
                  <a:pt x="976" y="611"/>
                  <a:pt x="976" y="609"/>
                </a:cubicBezTo>
                <a:cubicBezTo>
                  <a:pt x="976" y="601"/>
                  <a:pt x="970" y="597"/>
                  <a:pt x="961" y="597"/>
                </a:cubicBezTo>
                <a:cubicBezTo>
                  <a:pt x="961" y="597"/>
                  <a:pt x="961" y="597"/>
                  <a:pt x="957" y="597"/>
                </a:cubicBezTo>
                <a:cubicBezTo>
                  <a:pt x="957" y="597"/>
                  <a:pt x="957" y="597"/>
                  <a:pt x="957" y="606"/>
                </a:cubicBezTo>
                <a:cubicBezTo>
                  <a:pt x="957" y="606"/>
                  <a:pt x="957" y="606"/>
                  <a:pt x="959" y="606"/>
                </a:cubicBezTo>
                <a:cubicBezTo>
                  <a:pt x="963" y="606"/>
                  <a:pt x="964" y="608"/>
                  <a:pt x="964" y="612"/>
                </a:cubicBezTo>
                <a:cubicBezTo>
                  <a:pt x="964" y="613"/>
                  <a:pt x="964" y="615"/>
                  <a:pt x="964" y="616"/>
                </a:cubicBezTo>
                <a:cubicBezTo>
                  <a:pt x="963" y="618"/>
                  <a:pt x="963" y="620"/>
                  <a:pt x="963" y="623"/>
                </a:cubicBezTo>
                <a:cubicBezTo>
                  <a:pt x="963" y="630"/>
                  <a:pt x="966" y="632"/>
                  <a:pt x="972" y="634"/>
                </a:cubicBezTo>
                <a:cubicBezTo>
                  <a:pt x="972" y="634"/>
                  <a:pt x="972" y="634"/>
                  <a:pt x="972" y="634"/>
                </a:cubicBezTo>
                <a:cubicBezTo>
                  <a:pt x="966" y="635"/>
                  <a:pt x="963" y="638"/>
                  <a:pt x="963" y="645"/>
                </a:cubicBezTo>
                <a:cubicBezTo>
                  <a:pt x="963" y="647"/>
                  <a:pt x="963" y="650"/>
                  <a:pt x="964" y="651"/>
                </a:cubicBezTo>
                <a:cubicBezTo>
                  <a:pt x="964" y="653"/>
                  <a:pt x="964" y="654"/>
                  <a:pt x="964" y="656"/>
                </a:cubicBezTo>
                <a:cubicBezTo>
                  <a:pt x="964" y="659"/>
                  <a:pt x="963" y="662"/>
                  <a:pt x="959" y="662"/>
                </a:cubicBezTo>
                <a:cubicBezTo>
                  <a:pt x="959" y="662"/>
                  <a:pt x="959" y="662"/>
                  <a:pt x="957" y="662"/>
                </a:cubicBezTo>
                <a:cubicBezTo>
                  <a:pt x="957" y="662"/>
                  <a:pt x="957" y="662"/>
                  <a:pt x="957" y="671"/>
                </a:cubicBezTo>
                <a:cubicBezTo>
                  <a:pt x="957" y="671"/>
                  <a:pt x="957" y="671"/>
                  <a:pt x="961" y="671"/>
                </a:cubicBezTo>
                <a:cubicBezTo>
                  <a:pt x="970" y="671"/>
                  <a:pt x="976" y="668"/>
                  <a:pt x="976" y="658"/>
                </a:cubicBezTo>
                <a:cubicBezTo>
                  <a:pt x="976" y="656"/>
                  <a:pt x="976" y="654"/>
                  <a:pt x="975" y="651"/>
                </a:cubicBezTo>
                <a:cubicBezTo>
                  <a:pt x="975" y="648"/>
                  <a:pt x="975" y="646"/>
                  <a:pt x="975" y="644"/>
                </a:cubicBezTo>
                <a:cubicBezTo>
                  <a:pt x="975" y="641"/>
                  <a:pt x="975" y="638"/>
                  <a:pt x="981" y="638"/>
                </a:cubicBezTo>
                <a:close/>
                <a:moveTo>
                  <a:pt x="1451" y="671"/>
                </a:moveTo>
                <a:cubicBezTo>
                  <a:pt x="1444" y="671"/>
                  <a:pt x="1438" y="668"/>
                  <a:pt x="1433" y="661"/>
                </a:cubicBezTo>
                <a:cubicBezTo>
                  <a:pt x="1429" y="656"/>
                  <a:pt x="1427" y="646"/>
                  <a:pt x="1427" y="634"/>
                </a:cubicBezTo>
                <a:cubicBezTo>
                  <a:pt x="1427" y="621"/>
                  <a:pt x="1429" y="612"/>
                  <a:pt x="1433" y="605"/>
                </a:cubicBezTo>
                <a:cubicBezTo>
                  <a:pt x="1438" y="598"/>
                  <a:pt x="1444" y="595"/>
                  <a:pt x="1453" y="595"/>
                </a:cubicBezTo>
                <a:cubicBezTo>
                  <a:pt x="1469" y="595"/>
                  <a:pt x="1477" y="607"/>
                  <a:pt x="1477" y="632"/>
                </a:cubicBezTo>
                <a:cubicBezTo>
                  <a:pt x="1477" y="645"/>
                  <a:pt x="1475" y="655"/>
                  <a:pt x="1471" y="661"/>
                </a:cubicBezTo>
                <a:cubicBezTo>
                  <a:pt x="1466" y="668"/>
                  <a:pt x="1460" y="671"/>
                  <a:pt x="1451" y="671"/>
                </a:cubicBezTo>
                <a:close/>
                <a:moveTo>
                  <a:pt x="1452" y="605"/>
                </a:moveTo>
                <a:cubicBezTo>
                  <a:pt x="1444" y="605"/>
                  <a:pt x="1439" y="614"/>
                  <a:pt x="1439" y="634"/>
                </a:cubicBezTo>
                <a:cubicBezTo>
                  <a:pt x="1439" y="652"/>
                  <a:pt x="1444" y="661"/>
                  <a:pt x="1452" y="661"/>
                </a:cubicBezTo>
                <a:cubicBezTo>
                  <a:pt x="1460" y="661"/>
                  <a:pt x="1465" y="652"/>
                  <a:pt x="1465" y="634"/>
                </a:cubicBezTo>
                <a:cubicBezTo>
                  <a:pt x="1465" y="614"/>
                  <a:pt x="1461" y="605"/>
                  <a:pt x="1452" y="605"/>
                </a:cubicBezTo>
                <a:close/>
                <a:moveTo>
                  <a:pt x="1569" y="671"/>
                </a:moveTo>
                <a:cubicBezTo>
                  <a:pt x="1562" y="671"/>
                  <a:pt x="1556" y="668"/>
                  <a:pt x="1552" y="661"/>
                </a:cubicBezTo>
                <a:cubicBezTo>
                  <a:pt x="1547" y="656"/>
                  <a:pt x="1545" y="646"/>
                  <a:pt x="1545" y="634"/>
                </a:cubicBezTo>
                <a:cubicBezTo>
                  <a:pt x="1545" y="621"/>
                  <a:pt x="1547" y="612"/>
                  <a:pt x="1552" y="605"/>
                </a:cubicBezTo>
                <a:cubicBezTo>
                  <a:pt x="1556" y="598"/>
                  <a:pt x="1563" y="595"/>
                  <a:pt x="1571" y="595"/>
                </a:cubicBezTo>
                <a:cubicBezTo>
                  <a:pt x="1587" y="595"/>
                  <a:pt x="1595" y="607"/>
                  <a:pt x="1595" y="632"/>
                </a:cubicBezTo>
                <a:cubicBezTo>
                  <a:pt x="1595" y="645"/>
                  <a:pt x="1593" y="655"/>
                  <a:pt x="1589" y="661"/>
                </a:cubicBezTo>
                <a:cubicBezTo>
                  <a:pt x="1584" y="668"/>
                  <a:pt x="1578" y="671"/>
                  <a:pt x="1569" y="671"/>
                </a:cubicBezTo>
                <a:close/>
                <a:moveTo>
                  <a:pt x="1571" y="605"/>
                </a:moveTo>
                <a:cubicBezTo>
                  <a:pt x="1562" y="605"/>
                  <a:pt x="1557" y="614"/>
                  <a:pt x="1557" y="634"/>
                </a:cubicBezTo>
                <a:cubicBezTo>
                  <a:pt x="1557" y="652"/>
                  <a:pt x="1562" y="661"/>
                  <a:pt x="1571" y="661"/>
                </a:cubicBezTo>
                <a:cubicBezTo>
                  <a:pt x="1579" y="661"/>
                  <a:pt x="1583" y="652"/>
                  <a:pt x="1583" y="634"/>
                </a:cubicBezTo>
                <a:cubicBezTo>
                  <a:pt x="1583" y="614"/>
                  <a:pt x="1579" y="605"/>
                  <a:pt x="1571" y="605"/>
                </a:cubicBezTo>
                <a:close/>
                <a:moveTo>
                  <a:pt x="1524" y="597"/>
                </a:moveTo>
                <a:cubicBezTo>
                  <a:pt x="1524" y="597"/>
                  <a:pt x="1524" y="597"/>
                  <a:pt x="1524" y="597"/>
                </a:cubicBezTo>
                <a:cubicBezTo>
                  <a:pt x="1519" y="597"/>
                  <a:pt x="1519" y="597"/>
                  <a:pt x="1519" y="597"/>
                </a:cubicBezTo>
                <a:cubicBezTo>
                  <a:pt x="1517" y="599"/>
                  <a:pt x="1516" y="600"/>
                  <a:pt x="1514" y="601"/>
                </a:cubicBezTo>
                <a:cubicBezTo>
                  <a:pt x="1512" y="603"/>
                  <a:pt x="1510" y="603"/>
                  <a:pt x="1509" y="604"/>
                </a:cubicBezTo>
                <a:cubicBezTo>
                  <a:pt x="1507" y="605"/>
                  <a:pt x="1505" y="605"/>
                  <a:pt x="1504" y="606"/>
                </a:cubicBezTo>
                <a:cubicBezTo>
                  <a:pt x="1502" y="607"/>
                  <a:pt x="1500" y="608"/>
                  <a:pt x="1498" y="608"/>
                </a:cubicBezTo>
                <a:cubicBezTo>
                  <a:pt x="1498" y="608"/>
                  <a:pt x="1498" y="608"/>
                  <a:pt x="1498" y="619"/>
                </a:cubicBezTo>
                <a:cubicBezTo>
                  <a:pt x="1501" y="618"/>
                  <a:pt x="1504" y="616"/>
                  <a:pt x="1506" y="616"/>
                </a:cubicBezTo>
                <a:cubicBezTo>
                  <a:pt x="1509" y="615"/>
                  <a:pt x="1511" y="613"/>
                  <a:pt x="1513" y="612"/>
                </a:cubicBezTo>
                <a:cubicBezTo>
                  <a:pt x="1513" y="612"/>
                  <a:pt x="1513" y="612"/>
                  <a:pt x="1513" y="671"/>
                </a:cubicBezTo>
                <a:cubicBezTo>
                  <a:pt x="1513" y="671"/>
                  <a:pt x="1513" y="671"/>
                  <a:pt x="1524" y="671"/>
                </a:cubicBezTo>
                <a:cubicBezTo>
                  <a:pt x="1524" y="671"/>
                  <a:pt x="1524" y="671"/>
                  <a:pt x="1524" y="597"/>
                </a:cubicBezTo>
                <a:close/>
                <a:moveTo>
                  <a:pt x="1640" y="671"/>
                </a:moveTo>
                <a:cubicBezTo>
                  <a:pt x="1632" y="671"/>
                  <a:pt x="1626" y="668"/>
                  <a:pt x="1622" y="662"/>
                </a:cubicBezTo>
                <a:cubicBezTo>
                  <a:pt x="1618" y="656"/>
                  <a:pt x="1616" y="647"/>
                  <a:pt x="1616" y="634"/>
                </a:cubicBezTo>
                <a:cubicBezTo>
                  <a:pt x="1616" y="621"/>
                  <a:pt x="1618" y="612"/>
                  <a:pt x="1622" y="605"/>
                </a:cubicBezTo>
                <a:cubicBezTo>
                  <a:pt x="1627" y="599"/>
                  <a:pt x="1633" y="595"/>
                  <a:pt x="1642" y="595"/>
                </a:cubicBezTo>
                <a:cubicBezTo>
                  <a:pt x="1658" y="595"/>
                  <a:pt x="1666" y="607"/>
                  <a:pt x="1666" y="633"/>
                </a:cubicBezTo>
                <a:cubicBezTo>
                  <a:pt x="1666" y="645"/>
                  <a:pt x="1664" y="655"/>
                  <a:pt x="1660" y="661"/>
                </a:cubicBezTo>
                <a:cubicBezTo>
                  <a:pt x="1655" y="668"/>
                  <a:pt x="1649" y="671"/>
                  <a:pt x="1640" y="671"/>
                </a:cubicBezTo>
                <a:close/>
                <a:moveTo>
                  <a:pt x="1641" y="605"/>
                </a:moveTo>
                <a:cubicBezTo>
                  <a:pt x="1632" y="605"/>
                  <a:pt x="1627" y="615"/>
                  <a:pt x="1627" y="634"/>
                </a:cubicBezTo>
                <a:cubicBezTo>
                  <a:pt x="1627" y="653"/>
                  <a:pt x="1632" y="661"/>
                  <a:pt x="1641" y="661"/>
                </a:cubicBezTo>
                <a:cubicBezTo>
                  <a:pt x="1649" y="661"/>
                  <a:pt x="1654" y="653"/>
                  <a:pt x="1654" y="634"/>
                </a:cubicBezTo>
                <a:cubicBezTo>
                  <a:pt x="1654" y="614"/>
                  <a:pt x="1649" y="605"/>
                  <a:pt x="1641" y="605"/>
                </a:cubicBezTo>
                <a:close/>
                <a:moveTo>
                  <a:pt x="1687" y="630"/>
                </a:moveTo>
                <a:cubicBezTo>
                  <a:pt x="1687" y="630"/>
                  <a:pt x="1687" y="630"/>
                  <a:pt x="1687" y="630"/>
                </a:cubicBezTo>
                <a:cubicBezTo>
                  <a:pt x="1687" y="638"/>
                  <a:pt x="1687" y="638"/>
                  <a:pt x="1687" y="638"/>
                </a:cubicBezTo>
                <a:cubicBezTo>
                  <a:pt x="1693" y="638"/>
                  <a:pt x="1694" y="641"/>
                  <a:pt x="1694" y="644"/>
                </a:cubicBezTo>
                <a:cubicBezTo>
                  <a:pt x="1694" y="646"/>
                  <a:pt x="1693" y="648"/>
                  <a:pt x="1693" y="651"/>
                </a:cubicBezTo>
                <a:cubicBezTo>
                  <a:pt x="1693" y="654"/>
                  <a:pt x="1692" y="656"/>
                  <a:pt x="1692" y="658"/>
                </a:cubicBezTo>
                <a:cubicBezTo>
                  <a:pt x="1692" y="668"/>
                  <a:pt x="1698" y="671"/>
                  <a:pt x="1707" y="671"/>
                </a:cubicBezTo>
                <a:cubicBezTo>
                  <a:pt x="1707" y="671"/>
                  <a:pt x="1707" y="671"/>
                  <a:pt x="1711" y="671"/>
                </a:cubicBezTo>
                <a:cubicBezTo>
                  <a:pt x="1711" y="671"/>
                  <a:pt x="1711" y="671"/>
                  <a:pt x="1711" y="662"/>
                </a:cubicBezTo>
                <a:cubicBezTo>
                  <a:pt x="1711" y="662"/>
                  <a:pt x="1711" y="662"/>
                  <a:pt x="1709" y="662"/>
                </a:cubicBezTo>
                <a:cubicBezTo>
                  <a:pt x="1705" y="662"/>
                  <a:pt x="1704" y="659"/>
                  <a:pt x="1704" y="656"/>
                </a:cubicBezTo>
                <a:cubicBezTo>
                  <a:pt x="1704" y="654"/>
                  <a:pt x="1704" y="653"/>
                  <a:pt x="1705" y="651"/>
                </a:cubicBezTo>
                <a:cubicBezTo>
                  <a:pt x="1705" y="650"/>
                  <a:pt x="1705" y="647"/>
                  <a:pt x="1705" y="645"/>
                </a:cubicBezTo>
                <a:cubicBezTo>
                  <a:pt x="1705" y="638"/>
                  <a:pt x="1702" y="635"/>
                  <a:pt x="1697" y="634"/>
                </a:cubicBezTo>
                <a:cubicBezTo>
                  <a:pt x="1697" y="634"/>
                  <a:pt x="1697" y="634"/>
                  <a:pt x="1697" y="634"/>
                </a:cubicBezTo>
                <a:cubicBezTo>
                  <a:pt x="1702" y="632"/>
                  <a:pt x="1705" y="630"/>
                  <a:pt x="1705" y="623"/>
                </a:cubicBezTo>
                <a:cubicBezTo>
                  <a:pt x="1705" y="620"/>
                  <a:pt x="1705" y="618"/>
                  <a:pt x="1705" y="616"/>
                </a:cubicBezTo>
                <a:cubicBezTo>
                  <a:pt x="1704" y="615"/>
                  <a:pt x="1704" y="613"/>
                  <a:pt x="1704" y="612"/>
                </a:cubicBezTo>
                <a:cubicBezTo>
                  <a:pt x="1704" y="608"/>
                  <a:pt x="1705" y="606"/>
                  <a:pt x="1709" y="606"/>
                </a:cubicBezTo>
                <a:cubicBezTo>
                  <a:pt x="1709" y="606"/>
                  <a:pt x="1709" y="606"/>
                  <a:pt x="1711" y="606"/>
                </a:cubicBezTo>
                <a:cubicBezTo>
                  <a:pt x="1711" y="606"/>
                  <a:pt x="1711" y="606"/>
                  <a:pt x="1711" y="597"/>
                </a:cubicBezTo>
                <a:cubicBezTo>
                  <a:pt x="1711" y="597"/>
                  <a:pt x="1711" y="597"/>
                  <a:pt x="1707" y="597"/>
                </a:cubicBezTo>
                <a:cubicBezTo>
                  <a:pt x="1698" y="597"/>
                  <a:pt x="1692" y="601"/>
                  <a:pt x="1692" y="609"/>
                </a:cubicBezTo>
                <a:cubicBezTo>
                  <a:pt x="1692" y="611"/>
                  <a:pt x="1693" y="614"/>
                  <a:pt x="1693" y="617"/>
                </a:cubicBezTo>
                <a:cubicBezTo>
                  <a:pt x="1693" y="619"/>
                  <a:pt x="1694" y="622"/>
                  <a:pt x="1694" y="623"/>
                </a:cubicBezTo>
                <a:cubicBezTo>
                  <a:pt x="1694" y="626"/>
                  <a:pt x="1693" y="629"/>
                  <a:pt x="1687" y="630"/>
                </a:cubicBezTo>
                <a:close/>
                <a:moveTo>
                  <a:pt x="1742" y="638"/>
                </a:moveTo>
                <a:cubicBezTo>
                  <a:pt x="1742" y="638"/>
                  <a:pt x="1742" y="638"/>
                  <a:pt x="1742" y="638"/>
                </a:cubicBezTo>
                <a:cubicBezTo>
                  <a:pt x="1742" y="630"/>
                  <a:pt x="1742" y="630"/>
                  <a:pt x="1742" y="630"/>
                </a:cubicBezTo>
                <a:cubicBezTo>
                  <a:pt x="1735" y="629"/>
                  <a:pt x="1735" y="626"/>
                  <a:pt x="1735" y="623"/>
                </a:cubicBezTo>
                <a:cubicBezTo>
                  <a:pt x="1735" y="622"/>
                  <a:pt x="1735" y="619"/>
                  <a:pt x="1735" y="617"/>
                </a:cubicBezTo>
                <a:cubicBezTo>
                  <a:pt x="1736" y="614"/>
                  <a:pt x="1736" y="611"/>
                  <a:pt x="1736" y="609"/>
                </a:cubicBezTo>
                <a:cubicBezTo>
                  <a:pt x="1736" y="601"/>
                  <a:pt x="1731" y="597"/>
                  <a:pt x="1721" y="597"/>
                </a:cubicBezTo>
                <a:cubicBezTo>
                  <a:pt x="1721" y="597"/>
                  <a:pt x="1721" y="597"/>
                  <a:pt x="1718" y="597"/>
                </a:cubicBezTo>
                <a:cubicBezTo>
                  <a:pt x="1718" y="597"/>
                  <a:pt x="1718" y="597"/>
                  <a:pt x="1718" y="606"/>
                </a:cubicBezTo>
                <a:cubicBezTo>
                  <a:pt x="1718" y="606"/>
                  <a:pt x="1718" y="606"/>
                  <a:pt x="1719" y="606"/>
                </a:cubicBezTo>
                <a:cubicBezTo>
                  <a:pt x="1723" y="606"/>
                  <a:pt x="1724" y="608"/>
                  <a:pt x="1724" y="612"/>
                </a:cubicBezTo>
                <a:cubicBezTo>
                  <a:pt x="1724" y="613"/>
                  <a:pt x="1724" y="615"/>
                  <a:pt x="1724" y="616"/>
                </a:cubicBezTo>
                <a:cubicBezTo>
                  <a:pt x="1724" y="618"/>
                  <a:pt x="1724" y="620"/>
                  <a:pt x="1724" y="623"/>
                </a:cubicBezTo>
                <a:cubicBezTo>
                  <a:pt x="1724" y="630"/>
                  <a:pt x="1726" y="632"/>
                  <a:pt x="1732" y="634"/>
                </a:cubicBezTo>
                <a:cubicBezTo>
                  <a:pt x="1732" y="634"/>
                  <a:pt x="1732" y="634"/>
                  <a:pt x="1732" y="634"/>
                </a:cubicBezTo>
                <a:cubicBezTo>
                  <a:pt x="1726" y="635"/>
                  <a:pt x="1724" y="638"/>
                  <a:pt x="1724" y="645"/>
                </a:cubicBezTo>
                <a:cubicBezTo>
                  <a:pt x="1724" y="647"/>
                  <a:pt x="1724" y="650"/>
                  <a:pt x="1724" y="651"/>
                </a:cubicBezTo>
                <a:cubicBezTo>
                  <a:pt x="1724" y="653"/>
                  <a:pt x="1724" y="654"/>
                  <a:pt x="1724" y="656"/>
                </a:cubicBezTo>
                <a:cubicBezTo>
                  <a:pt x="1724" y="659"/>
                  <a:pt x="1723" y="662"/>
                  <a:pt x="1719" y="662"/>
                </a:cubicBezTo>
                <a:cubicBezTo>
                  <a:pt x="1719" y="662"/>
                  <a:pt x="1719" y="662"/>
                  <a:pt x="1718" y="662"/>
                </a:cubicBezTo>
                <a:cubicBezTo>
                  <a:pt x="1718" y="662"/>
                  <a:pt x="1718" y="662"/>
                  <a:pt x="1718" y="671"/>
                </a:cubicBezTo>
                <a:cubicBezTo>
                  <a:pt x="1718" y="671"/>
                  <a:pt x="1718" y="671"/>
                  <a:pt x="1721" y="671"/>
                </a:cubicBezTo>
                <a:cubicBezTo>
                  <a:pt x="1730" y="671"/>
                  <a:pt x="1736" y="668"/>
                  <a:pt x="1736" y="658"/>
                </a:cubicBezTo>
                <a:cubicBezTo>
                  <a:pt x="1736" y="656"/>
                  <a:pt x="1736" y="654"/>
                  <a:pt x="1735" y="651"/>
                </a:cubicBezTo>
                <a:cubicBezTo>
                  <a:pt x="1735" y="648"/>
                  <a:pt x="1735" y="646"/>
                  <a:pt x="1735" y="644"/>
                </a:cubicBezTo>
                <a:cubicBezTo>
                  <a:pt x="1735" y="641"/>
                  <a:pt x="1735" y="638"/>
                  <a:pt x="1742" y="638"/>
                </a:cubicBezTo>
                <a:close/>
                <a:moveTo>
                  <a:pt x="1862" y="671"/>
                </a:moveTo>
                <a:cubicBezTo>
                  <a:pt x="1855" y="671"/>
                  <a:pt x="1848" y="668"/>
                  <a:pt x="1844" y="662"/>
                </a:cubicBezTo>
                <a:cubicBezTo>
                  <a:pt x="1840" y="656"/>
                  <a:pt x="1838" y="647"/>
                  <a:pt x="1838" y="634"/>
                </a:cubicBezTo>
                <a:cubicBezTo>
                  <a:pt x="1838" y="621"/>
                  <a:pt x="1840" y="612"/>
                  <a:pt x="1844" y="605"/>
                </a:cubicBezTo>
                <a:cubicBezTo>
                  <a:pt x="1849" y="599"/>
                  <a:pt x="1855" y="595"/>
                  <a:pt x="1864" y="595"/>
                </a:cubicBezTo>
                <a:cubicBezTo>
                  <a:pt x="1880" y="595"/>
                  <a:pt x="1888" y="607"/>
                  <a:pt x="1888" y="633"/>
                </a:cubicBezTo>
                <a:cubicBezTo>
                  <a:pt x="1888" y="645"/>
                  <a:pt x="1886" y="655"/>
                  <a:pt x="1881" y="661"/>
                </a:cubicBezTo>
                <a:cubicBezTo>
                  <a:pt x="1876" y="668"/>
                  <a:pt x="1870" y="671"/>
                  <a:pt x="1862" y="671"/>
                </a:cubicBezTo>
                <a:close/>
                <a:moveTo>
                  <a:pt x="1863" y="605"/>
                </a:moveTo>
                <a:cubicBezTo>
                  <a:pt x="1854" y="605"/>
                  <a:pt x="1849" y="615"/>
                  <a:pt x="1849" y="634"/>
                </a:cubicBezTo>
                <a:cubicBezTo>
                  <a:pt x="1849" y="653"/>
                  <a:pt x="1854" y="661"/>
                  <a:pt x="1863" y="661"/>
                </a:cubicBezTo>
                <a:cubicBezTo>
                  <a:pt x="1871" y="661"/>
                  <a:pt x="1876" y="653"/>
                  <a:pt x="1876" y="634"/>
                </a:cubicBezTo>
                <a:cubicBezTo>
                  <a:pt x="1876" y="614"/>
                  <a:pt x="1871" y="605"/>
                  <a:pt x="1863" y="605"/>
                </a:cubicBezTo>
                <a:close/>
                <a:moveTo>
                  <a:pt x="1932" y="597"/>
                </a:moveTo>
                <a:cubicBezTo>
                  <a:pt x="1932" y="597"/>
                  <a:pt x="1932" y="597"/>
                  <a:pt x="1932" y="597"/>
                </a:cubicBezTo>
                <a:cubicBezTo>
                  <a:pt x="1927" y="597"/>
                  <a:pt x="1927" y="597"/>
                  <a:pt x="1927" y="597"/>
                </a:cubicBezTo>
                <a:cubicBezTo>
                  <a:pt x="1924" y="599"/>
                  <a:pt x="1923" y="600"/>
                  <a:pt x="1921" y="601"/>
                </a:cubicBezTo>
                <a:cubicBezTo>
                  <a:pt x="1919" y="603"/>
                  <a:pt x="1917" y="603"/>
                  <a:pt x="1916" y="604"/>
                </a:cubicBezTo>
                <a:cubicBezTo>
                  <a:pt x="1913" y="605"/>
                  <a:pt x="1912" y="605"/>
                  <a:pt x="1910" y="606"/>
                </a:cubicBezTo>
                <a:cubicBezTo>
                  <a:pt x="1908" y="607"/>
                  <a:pt x="1907" y="608"/>
                  <a:pt x="1904" y="608"/>
                </a:cubicBezTo>
                <a:cubicBezTo>
                  <a:pt x="1904" y="608"/>
                  <a:pt x="1904" y="608"/>
                  <a:pt x="1904" y="619"/>
                </a:cubicBezTo>
                <a:cubicBezTo>
                  <a:pt x="1907" y="618"/>
                  <a:pt x="1910" y="616"/>
                  <a:pt x="1913" y="616"/>
                </a:cubicBezTo>
                <a:cubicBezTo>
                  <a:pt x="1916" y="615"/>
                  <a:pt x="1918" y="613"/>
                  <a:pt x="1920" y="612"/>
                </a:cubicBezTo>
                <a:cubicBezTo>
                  <a:pt x="1920" y="612"/>
                  <a:pt x="1920" y="612"/>
                  <a:pt x="1920" y="671"/>
                </a:cubicBezTo>
                <a:cubicBezTo>
                  <a:pt x="1920" y="671"/>
                  <a:pt x="1920" y="671"/>
                  <a:pt x="1932" y="671"/>
                </a:cubicBezTo>
                <a:cubicBezTo>
                  <a:pt x="1932" y="671"/>
                  <a:pt x="1932" y="671"/>
                  <a:pt x="1932" y="597"/>
                </a:cubicBezTo>
                <a:close/>
                <a:moveTo>
                  <a:pt x="128" y="540"/>
                </a:moveTo>
                <a:cubicBezTo>
                  <a:pt x="128" y="541"/>
                  <a:pt x="129" y="542"/>
                  <a:pt x="130" y="544"/>
                </a:cubicBezTo>
                <a:cubicBezTo>
                  <a:pt x="130" y="546"/>
                  <a:pt x="130" y="548"/>
                  <a:pt x="131" y="549"/>
                </a:cubicBezTo>
                <a:cubicBezTo>
                  <a:pt x="131" y="551"/>
                  <a:pt x="131" y="552"/>
                  <a:pt x="131" y="554"/>
                </a:cubicBezTo>
                <a:cubicBezTo>
                  <a:pt x="132" y="557"/>
                  <a:pt x="131" y="559"/>
                  <a:pt x="128" y="559"/>
                </a:cubicBezTo>
                <a:cubicBezTo>
                  <a:pt x="125" y="559"/>
                  <a:pt x="122" y="558"/>
                  <a:pt x="119" y="558"/>
                </a:cubicBezTo>
                <a:cubicBezTo>
                  <a:pt x="119" y="558"/>
                  <a:pt x="118" y="558"/>
                  <a:pt x="118" y="559"/>
                </a:cubicBezTo>
                <a:cubicBezTo>
                  <a:pt x="116" y="560"/>
                  <a:pt x="115" y="561"/>
                  <a:pt x="114" y="563"/>
                </a:cubicBezTo>
                <a:cubicBezTo>
                  <a:pt x="112" y="565"/>
                  <a:pt x="108" y="566"/>
                  <a:pt x="106" y="564"/>
                </a:cubicBezTo>
                <a:cubicBezTo>
                  <a:pt x="104" y="561"/>
                  <a:pt x="103" y="559"/>
                  <a:pt x="101" y="556"/>
                </a:cubicBezTo>
                <a:cubicBezTo>
                  <a:pt x="101" y="555"/>
                  <a:pt x="101" y="553"/>
                  <a:pt x="103" y="552"/>
                </a:cubicBezTo>
                <a:cubicBezTo>
                  <a:pt x="101" y="552"/>
                  <a:pt x="99" y="552"/>
                  <a:pt x="97" y="552"/>
                </a:cubicBezTo>
                <a:cubicBezTo>
                  <a:pt x="97" y="554"/>
                  <a:pt x="95" y="556"/>
                  <a:pt x="95" y="557"/>
                </a:cubicBezTo>
                <a:cubicBezTo>
                  <a:pt x="95" y="558"/>
                  <a:pt x="94" y="559"/>
                  <a:pt x="94" y="560"/>
                </a:cubicBezTo>
                <a:cubicBezTo>
                  <a:pt x="94" y="563"/>
                  <a:pt x="93" y="564"/>
                  <a:pt x="90" y="564"/>
                </a:cubicBezTo>
                <a:cubicBezTo>
                  <a:pt x="87" y="563"/>
                  <a:pt x="84" y="563"/>
                  <a:pt x="81" y="561"/>
                </a:cubicBezTo>
                <a:cubicBezTo>
                  <a:pt x="79" y="561"/>
                  <a:pt x="79" y="559"/>
                  <a:pt x="79" y="557"/>
                </a:cubicBezTo>
                <a:cubicBezTo>
                  <a:pt x="79" y="557"/>
                  <a:pt x="79" y="556"/>
                  <a:pt x="80" y="556"/>
                </a:cubicBezTo>
                <a:cubicBezTo>
                  <a:pt x="77" y="555"/>
                  <a:pt x="75" y="554"/>
                  <a:pt x="73" y="552"/>
                </a:cubicBezTo>
                <a:cubicBezTo>
                  <a:pt x="72" y="552"/>
                  <a:pt x="71" y="550"/>
                  <a:pt x="70" y="548"/>
                </a:cubicBezTo>
                <a:cubicBezTo>
                  <a:pt x="69" y="546"/>
                  <a:pt x="69" y="544"/>
                  <a:pt x="71" y="543"/>
                </a:cubicBezTo>
                <a:cubicBezTo>
                  <a:pt x="74" y="540"/>
                  <a:pt x="75" y="538"/>
                  <a:pt x="74" y="534"/>
                </a:cubicBezTo>
                <a:cubicBezTo>
                  <a:pt x="74" y="532"/>
                  <a:pt x="74" y="529"/>
                  <a:pt x="74" y="528"/>
                </a:cubicBezTo>
                <a:cubicBezTo>
                  <a:pt x="73" y="527"/>
                  <a:pt x="71" y="527"/>
                  <a:pt x="70" y="525"/>
                </a:cubicBezTo>
                <a:cubicBezTo>
                  <a:pt x="69" y="524"/>
                  <a:pt x="68" y="522"/>
                  <a:pt x="68" y="520"/>
                </a:cubicBezTo>
                <a:cubicBezTo>
                  <a:pt x="68" y="517"/>
                  <a:pt x="72" y="514"/>
                  <a:pt x="74" y="514"/>
                </a:cubicBezTo>
                <a:cubicBezTo>
                  <a:pt x="75" y="514"/>
                  <a:pt x="75" y="515"/>
                  <a:pt x="75" y="516"/>
                </a:cubicBezTo>
                <a:cubicBezTo>
                  <a:pt x="75" y="517"/>
                  <a:pt x="75" y="518"/>
                  <a:pt x="75" y="519"/>
                </a:cubicBezTo>
                <a:cubicBezTo>
                  <a:pt x="75" y="519"/>
                  <a:pt x="74" y="519"/>
                  <a:pt x="74" y="519"/>
                </a:cubicBezTo>
                <a:cubicBezTo>
                  <a:pt x="74" y="520"/>
                  <a:pt x="73" y="521"/>
                  <a:pt x="72" y="523"/>
                </a:cubicBezTo>
                <a:cubicBezTo>
                  <a:pt x="74" y="523"/>
                  <a:pt x="74" y="523"/>
                  <a:pt x="75" y="522"/>
                </a:cubicBezTo>
                <a:cubicBezTo>
                  <a:pt x="76" y="521"/>
                  <a:pt x="77" y="520"/>
                  <a:pt x="77" y="519"/>
                </a:cubicBezTo>
                <a:cubicBezTo>
                  <a:pt x="82" y="512"/>
                  <a:pt x="88" y="508"/>
                  <a:pt x="95" y="507"/>
                </a:cubicBezTo>
                <a:cubicBezTo>
                  <a:pt x="99" y="506"/>
                  <a:pt x="102" y="505"/>
                  <a:pt x="104" y="502"/>
                </a:cubicBezTo>
                <a:cubicBezTo>
                  <a:pt x="104" y="502"/>
                  <a:pt x="105" y="502"/>
                  <a:pt x="105" y="502"/>
                </a:cubicBezTo>
                <a:cubicBezTo>
                  <a:pt x="108" y="501"/>
                  <a:pt x="110" y="499"/>
                  <a:pt x="112" y="497"/>
                </a:cubicBezTo>
                <a:cubicBezTo>
                  <a:pt x="119" y="489"/>
                  <a:pt x="131" y="489"/>
                  <a:pt x="139" y="496"/>
                </a:cubicBezTo>
                <a:cubicBezTo>
                  <a:pt x="141" y="498"/>
                  <a:pt x="144" y="500"/>
                  <a:pt x="146" y="502"/>
                </a:cubicBezTo>
                <a:cubicBezTo>
                  <a:pt x="148" y="503"/>
                  <a:pt x="149" y="504"/>
                  <a:pt x="150" y="506"/>
                </a:cubicBezTo>
                <a:cubicBezTo>
                  <a:pt x="151" y="508"/>
                  <a:pt x="152" y="508"/>
                  <a:pt x="153" y="507"/>
                </a:cubicBezTo>
                <a:cubicBezTo>
                  <a:pt x="154" y="506"/>
                  <a:pt x="154" y="506"/>
                  <a:pt x="155" y="505"/>
                </a:cubicBezTo>
                <a:cubicBezTo>
                  <a:pt x="157" y="502"/>
                  <a:pt x="160" y="502"/>
                  <a:pt x="161" y="505"/>
                </a:cubicBezTo>
                <a:cubicBezTo>
                  <a:pt x="163" y="508"/>
                  <a:pt x="163" y="511"/>
                  <a:pt x="164" y="514"/>
                </a:cubicBezTo>
                <a:cubicBezTo>
                  <a:pt x="164" y="519"/>
                  <a:pt x="164" y="523"/>
                  <a:pt x="163" y="527"/>
                </a:cubicBezTo>
                <a:cubicBezTo>
                  <a:pt x="160" y="534"/>
                  <a:pt x="155" y="537"/>
                  <a:pt x="149" y="537"/>
                </a:cubicBezTo>
                <a:cubicBezTo>
                  <a:pt x="148" y="537"/>
                  <a:pt x="148" y="537"/>
                  <a:pt x="147" y="537"/>
                </a:cubicBezTo>
                <a:cubicBezTo>
                  <a:pt x="144" y="537"/>
                  <a:pt x="143" y="537"/>
                  <a:pt x="143" y="540"/>
                </a:cubicBezTo>
                <a:cubicBezTo>
                  <a:pt x="141" y="544"/>
                  <a:pt x="135" y="546"/>
                  <a:pt x="132" y="542"/>
                </a:cubicBezTo>
                <a:cubicBezTo>
                  <a:pt x="131" y="541"/>
                  <a:pt x="130" y="540"/>
                  <a:pt x="129" y="539"/>
                </a:cubicBezTo>
                <a:cubicBezTo>
                  <a:pt x="128" y="540"/>
                  <a:pt x="128" y="540"/>
                  <a:pt x="128" y="540"/>
                </a:cubicBezTo>
                <a:close/>
                <a:moveTo>
                  <a:pt x="123" y="535"/>
                </a:moveTo>
                <a:cubicBezTo>
                  <a:pt x="126" y="537"/>
                  <a:pt x="130" y="538"/>
                  <a:pt x="132" y="541"/>
                </a:cubicBezTo>
                <a:cubicBezTo>
                  <a:pt x="134" y="542"/>
                  <a:pt x="136" y="543"/>
                  <a:pt x="138" y="542"/>
                </a:cubicBezTo>
                <a:cubicBezTo>
                  <a:pt x="141" y="542"/>
                  <a:pt x="142" y="540"/>
                  <a:pt x="142" y="537"/>
                </a:cubicBezTo>
                <a:cubicBezTo>
                  <a:pt x="142" y="537"/>
                  <a:pt x="141" y="537"/>
                  <a:pt x="141" y="537"/>
                </a:cubicBezTo>
                <a:cubicBezTo>
                  <a:pt x="141" y="539"/>
                  <a:pt x="139" y="540"/>
                  <a:pt x="139" y="541"/>
                </a:cubicBezTo>
                <a:cubicBezTo>
                  <a:pt x="137" y="542"/>
                  <a:pt x="136" y="542"/>
                  <a:pt x="135" y="541"/>
                </a:cubicBezTo>
                <a:cubicBezTo>
                  <a:pt x="135" y="541"/>
                  <a:pt x="134" y="540"/>
                  <a:pt x="134" y="539"/>
                </a:cubicBezTo>
                <a:cubicBezTo>
                  <a:pt x="134" y="537"/>
                  <a:pt x="135" y="535"/>
                  <a:pt x="135" y="533"/>
                </a:cubicBezTo>
                <a:cubicBezTo>
                  <a:pt x="138" y="534"/>
                  <a:pt x="141" y="535"/>
                  <a:pt x="145" y="535"/>
                </a:cubicBezTo>
                <a:cubicBezTo>
                  <a:pt x="152" y="537"/>
                  <a:pt x="158" y="535"/>
                  <a:pt x="161" y="526"/>
                </a:cubicBezTo>
                <a:cubicBezTo>
                  <a:pt x="163" y="521"/>
                  <a:pt x="163" y="517"/>
                  <a:pt x="162" y="512"/>
                </a:cubicBezTo>
                <a:cubicBezTo>
                  <a:pt x="161" y="510"/>
                  <a:pt x="161" y="508"/>
                  <a:pt x="160" y="506"/>
                </a:cubicBezTo>
                <a:cubicBezTo>
                  <a:pt x="159" y="504"/>
                  <a:pt x="158" y="504"/>
                  <a:pt x="157" y="506"/>
                </a:cubicBezTo>
                <a:cubicBezTo>
                  <a:pt x="155" y="507"/>
                  <a:pt x="154" y="509"/>
                  <a:pt x="152" y="510"/>
                </a:cubicBezTo>
                <a:cubicBezTo>
                  <a:pt x="151" y="510"/>
                  <a:pt x="150" y="511"/>
                  <a:pt x="150" y="512"/>
                </a:cubicBezTo>
                <a:cubicBezTo>
                  <a:pt x="151" y="515"/>
                  <a:pt x="150" y="518"/>
                  <a:pt x="149" y="521"/>
                </a:cubicBezTo>
                <a:cubicBezTo>
                  <a:pt x="149" y="519"/>
                  <a:pt x="150" y="518"/>
                  <a:pt x="150" y="516"/>
                </a:cubicBezTo>
                <a:cubicBezTo>
                  <a:pt x="150" y="515"/>
                  <a:pt x="149" y="515"/>
                  <a:pt x="149" y="514"/>
                </a:cubicBezTo>
                <a:cubicBezTo>
                  <a:pt x="148" y="515"/>
                  <a:pt x="148" y="515"/>
                  <a:pt x="148" y="515"/>
                </a:cubicBezTo>
                <a:cubicBezTo>
                  <a:pt x="147" y="516"/>
                  <a:pt x="146" y="518"/>
                  <a:pt x="145" y="519"/>
                </a:cubicBezTo>
                <a:cubicBezTo>
                  <a:pt x="145" y="519"/>
                  <a:pt x="145" y="519"/>
                  <a:pt x="145" y="519"/>
                </a:cubicBezTo>
                <a:cubicBezTo>
                  <a:pt x="145" y="518"/>
                  <a:pt x="146" y="516"/>
                  <a:pt x="146" y="514"/>
                </a:cubicBezTo>
                <a:cubicBezTo>
                  <a:pt x="145" y="514"/>
                  <a:pt x="144" y="515"/>
                  <a:pt x="144" y="516"/>
                </a:cubicBezTo>
                <a:cubicBezTo>
                  <a:pt x="143" y="516"/>
                  <a:pt x="143" y="517"/>
                  <a:pt x="143" y="518"/>
                </a:cubicBezTo>
                <a:cubicBezTo>
                  <a:pt x="143" y="514"/>
                  <a:pt x="143" y="514"/>
                  <a:pt x="149" y="513"/>
                </a:cubicBezTo>
                <a:cubicBezTo>
                  <a:pt x="149" y="512"/>
                  <a:pt x="148" y="512"/>
                  <a:pt x="148" y="512"/>
                </a:cubicBezTo>
                <a:cubicBezTo>
                  <a:pt x="145" y="512"/>
                  <a:pt x="144" y="511"/>
                  <a:pt x="144" y="508"/>
                </a:cubicBezTo>
                <a:cubicBezTo>
                  <a:pt x="146" y="508"/>
                  <a:pt x="147" y="508"/>
                  <a:pt x="149" y="507"/>
                </a:cubicBezTo>
                <a:cubicBezTo>
                  <a:pt x="147" y="505"/>
                  <a:pt x="146" y="502"/>
                  <a:pt x="143" y="502"/>
                </a:cubicBezTo>
                <a:cubicBezTo>
                  <a:pt x="142" y="502"/>
                  <a:pt x="142" y="501"/>
                  <a:pt x="142" y="501"/>
                </a:cubicBezTo>
                <a:cubicBezTo>
                  <a:pt x="139" y="499"/>
                  <a:pt x="137" y="497"/>
                  <a:pt x="134" y="495"/>
                </a:cubicBezTo>
                <a:cubicBezTo>
                  <a:pt x="132" y="493"/>
                  <a:pt x="129" y="493"/>
                  <a:pt x="127" y="493"/>
                </a:cubicBezTo>
                <a:cubicBezTo>
                  <a:pt x="124" y="493"/>
                  <a:pt x="121" y="494"/>
                  <a:pt x="117" y="495"/>
                </a:cubicBezTo>
                <a:cubicBezTo>
                  <a:pt x="115" y="496"/>
                  <a:pt x="112" y="498"/>
                  <a:pt x="110" y="501"/>
                </a:cubicBezTo>
                <a:cubicBezTo>
                  <a:pt x="112" y="501"/>
                  <a:pt x="113" y="501"/>
                  <a:pt x="114" y="501"/>
                </a:cubicBezTo>
                <a:cubicBezTo>
                  <a:pt x="114" y="501"/>
                  <a:pt x="113" y="502"/>
                  <a:pt x="112" y="502"/>
                </a:cubicBezTo>
                <a:cubicBezTo>
                  <a:pt x="110" y="502"/>
                  <a:pt x="107" y="502"/>
                  <a:pt x="105" y="504"/>
                </a:cubicBezTo>
                <a:cubicBezTo>
                  <a:pt x="102" y="508"/>
                  <a:pt x="98" y="512"/>
                  <a:pt x="94" y="516"/>
                </a:cubicBezTo>
                <a:cubicBezTo>
                  <a:pt x="93" y="518"/>
                  <a:pt x="92" y="520"/>
                  <a:pt x="91" y="523"/>
                </a:cubicBezTo>
                <a:cubicBezTo>
                  <a:pt x="91" y="523"/>
                  <a:pt x="91" y="524"/>
                  <a:pt x="91" y="524"/>
                </a:cubicBezTo>
                <a:cubicBezTo>
                  <a:pt x="92" y="526"/>
                  <a:pt x="94" y="528"/>
                  <a:pt x="95" y="530"/>
                </a:cubicBezTo>
                <a:cubicBezTo>
                  <a:pt x="96" y="529"/>
                  <a:pt x="97" y="527"/>
                  <a:pt x="99" y="526"/>
                </a:cubicBezTo>
                <a:cubicBezTo>
                  <a:pt x="98" y="527"/>
                  <a:pt x="98" y="528"/>
                  <a:pt x="97" y="530"/>
                </a:cubicBezTo>
                <a:cubicBezTo>
                  <a:pt x="96" y="531"/>
                  <a:pt x="95" y="532"/>
                  <a:pt x="95" y="534"/>
                </a:cubicBezTo>
                <a:cubicBezTo>
                  <a:pt x="95" y="535"/>
                  <a:pt x="95" y="536"/>
                  <a:pt x="95" y="537"/>
                </a:cubicBezTo>
                <a:cubicBezTo>
                  <a:pt x="98" y="540"/>
                  <a:pt x="101" y="540"/>
                  <a:pt x="105" y="538"/>
                </a:cubicBezTo>
                <a:cubicBezTo>
                  <a:pt x="107" y="537"/>
                  <a:pt x="110" y="535"/>
                  <a:pt x="113" y="535"/>
                </a:cubicBezTo>
                <a:cubicBezTo>
                  <a:pt x="114" y="534"/>
                  <a:pt x="115" y="533"/>
                  <a:pt x="115" y="532"/>
                </a:cubicBezTo>
                <a:cubicBezTo>
                  <a:pt x="115" y="529"/>
                  <a:pt x="115" y="525"/>
                  <a:pt x="115" y="522"/>
                </a:cubicBezTo>
                <a:cubicBezTo>
                  <a:pt x="115" y="519"/>
                  <a:pt x="115" y="516"/>
                  <a:pt x="115" y="513"/>
                </a:cubicBezTo>
                <a:cubicBezTo>
                  <a:pt x="116" y="516"/>
                  <a:pt x="117" y="518"/>
                  <a:pt x="117" y="521"/>
                </a:cubicBezTo>
                <a:cubicBezTo>
                  <a:pt x="118" y="525"/>
                  <a:pt x="118" y="530"/>
                  <a:pt x="117" y="534"/>
                </a:cubicBezTo>
                <a:cubicBezTo>
                  <a:pt x="116" y="535"/>
                  <a:pt x="115" y="536"/>
                  <a:pt x="115" y="536"/>
                </a:cubicBezTo>
                <a:cubicBezTo>
                  <a:pt x="112" y="536"/>
                  <a:pt x="108" y="538"/>
                  <a:pt x="105" y="540"/>
                </a:cubicBezTo>
                <a:cubicBezTo>
                  <a:pt x="100" y="543"/>
                  <a:pt x="97" y="541"/>
                  <a:pt x="93" y="537"/>
                </a:cubicBezTo>
                <a:cubicBezTo>
                  <a:pt x="93" y="537"/>
                  <a:pt x="93" y="535"/>
                  <a:pt x="93" y="535"/>
                </a:cubicBezTo>
                <a:cubicBezTo>
                  <a:pt x="94" y="533"/>
                  <a:pt x="93" y="531"/>
                  <a:pt x="92" y="529"/>
                </a:cubicBezTo>
                <a:cubicBezTo>
                  <a:pt x="90" y="527"/>
                  <a:pt x="88" y="524"/>
                  <a:pt x="90" y="521"/>
                </a:cubicBezTo>
                <a:cubicBezTo>
                  <a:pt x="90" y="519"/>
                  <a:pt x="91" y="518"/>
                  <a:pt x="92" y="516"/>
                </a:cubicBezTo>
                <a:cubicBezTo>
                  <a:pt x="94" y="514"/>
                  <a:pt x="96" y="511"/>
                  <a:pt x="98" y="508"/>
                </a:cubicBezTo>
                <a:cubicBezTo>
                  <a:pt x="98" y="508"/>
                  <a:pt x="97" y="508"/>
                  <a:pt x="97" y="508"/>
                </a:cubicBezTo>
                <a:cubicBezTo>
                  <a:pt x="92" y="510"/>
                  <a:pt x="88" y="511"/>
                  <a:pt x="84" y="514"/>
                </a:cubicBezTo>
                <a:cubicBezTo>
                  <a:pt x="79" y="519"/>
                  <a:pt x="76" y="524"/>
                  <a:pt x="76" y="531"/>
                </a:cubicBezTo>
                <a:cubicBezTo>
                  <a:pt x="75" y="537"/>
                  <a:pt x="78" y="543"/>
                  <a:pt x="81" y="549"/>
                </a:cubicBezTo>
                <a:cubicBezTo>
                  <a:pt x="82" y="550"/>
                  <a:pt x="83" y="552"/>
                  <a:pt x="82" y="553"/>
                </a:cubicBezTo>
                <a:cubicBezTo>
                  <a:pt x="82" y="554"/>
                  <a:pt x="82" y="556"/>
                  <a:pt x="81" y="557"/>
                </a:cubicBezTo>
                <a:cubicBezTo>
                  <a:pt x="81" y="559"/>
                  <a:pt x="81" y="560"/>
                  <a:pt x="82" y="560"/>
                </a:cubicBezTo>
                <a:cubicBezTo>
                  <a:pt x="85" y="561"/>
                  <a:pt x="88" y="561"/>
                  <a:pt x="91" y="562"/>
                </a:cubicBezTo>
                <a:cubicBezTo>
                  <a:pt x="92" y="562"/>
                  <a:pt x="92" y="561"/>
                  <a:pt x="92" y="561"/>
                </a:cubicBezTo>
                <a:cubicBezTo>
                  <a:pt x="93" y="559"/>
                  <a:pt x="93" y="558"/>
                  <a:pt x="94" y="557"/>
                </a:cubicBezTo>
                <a:cubicBezTo>
                  <a:pt x="95" y="555"/>
                  <a:pt x="95" y="552"/>
                  <a:pt x="95" y="549"/>
                </a:cubicBezTo>
                <a:cubicBezTo>
                  <a:pt x="95" y="549"/>
                  <a:pt x="95" y="548"/>
                  <a:pt x="95" y="548"/>
                </a:cubicBezTo>
                <a:cubicBezTo>
                  <a:pt x="95" y="548"/>
                  <a:pt x="95" y="548"/>
                  <a:pt x="95" y="547"/>
                </a:cubicBezTo>
                <a:cubicBezTo>
                  <a:pt x="96" y="550"/>
                  <a:pt x="97" y="550"/>
                  <a:pt x="99" y="550"/>
                </a:cubicBezTo>
                <a:cubicBezTo>
                  <a:pt x="100" y="550"/>
                  <a:pt x="101" y="550"/>
                  <a:pt x="102" y="550"/>
                </a:cubicBezTo>
                <a:cubicBezTo>
                  <a:pt x="104" y="550"/>
                  <a:pt x="108" y="551"/>
                  <a:pt x="108" y="546"/>
                </a:cubicBezTo>
                <a:cubicBezTo>
                  <a:pt x="108" y="549"/>
                  <a:pt x="108" y="550"/>
                  <a:pt x="108" y="551"/>
                </a:cubicBezTo>
                <a:cubicBezTo>
                  <a:pt x="107" y="552"/>
                  <a:pt x="106" y="553"/>
                  <a:pt x="104" y="553"/>
                </a:cubicBezTo>
                <a:cubicBezTo>
                  <a:pt x="103" y="554"/>
                  <a:pt x="103" y="556"/>
                  <a:pt x="103" y="556"/>
                </a:cubicBezTo>
                <a:cubicBezTo>
                  <a:pt x="104" y="559"/>
                  <a:pt x="106" y="561"/>
                  <a:pt x="107" y="563"/>
                </a:cubicBezTo>
                <a:cubicBezTo>
                  <a:pt x="109" y="564"/>
                  <a:pt x="111" y="563"/>
                  <a:pt x="112" y="562"/>
                </a:cubicBezTo>
                <a:cubicBezTo>
                  <a:pt x="113" y="561"/>
                  <a:pt x="114" y="560"/>
                  <a:pt x="114" y="560"/>
                </a:cubicBezTo>
                <a:cubicBezTo>
                  <a:pt x="116" y="558"/>
                  <a:pt x="117" y="557"/>
                  <a:pt x="119" y="556"/>
                </a:cubicBezTo>
                <a:cubicBezTo>
                  <a:pt x="123" y="552"/>
                  <a:pt x="125" y="546"/>
                  <a:pt x="127" y="540"/>
                </a:cubicBezTo>
                <a:cubicBezTo>
                  <a:pt x="127" y="539"/>
                  <a:pt x="126" y="538"/>
                  <a:pt x="126" y="538"/>
                </a:cubicBezTo>
                <a:cubicBezTo>
                  <a:pt x="125" y="537"/>
                  <a:pt x="124" y="536"/>
                  <a:pt x="123" y="535"/>
                </a:cubicBezTo>
                <a:close/>
                <a:moveTo>
                  <a:pt x="75" y="542"/>
                </a:moveTo>
                <a:cubicBezTo>
                  <a:pt x="75" y="542"/>
                  <a:pt x="73" y="543"/>
                  <a:pt x="72" y="544"/>
                </a:cubicBezTo>
                <a:cubicBezTo>
                  <a:pt x="72" y="545"/>
                  <a:pt x="71" y="546"/>
                  <a:pt x="71" y="546"/>
                </a:cubicBezTo>
                <a:cubicBezTo>
                  <a:pt x="71" y="549"/>
                  <a:pt x="75" y="554"/>
                  <a:pt x="79" y="553"/>
                </a:cubicBezTo>
                <a:cubicBezTo>
                  <a:pt x="80" y="553"/>
                  <a:pt x="81" y="552"/>
                  <a:pt x="80" y="550"/>
                </a:cubicBezTo>
                <a:cubicBezTo>
                  <a:pt x="79" y="547"/>
                  <a:pt x="77" y="544"/>
                  <a:pt x="75" y="542"/>
                </a:cubicBezTo>
                <a:close/>
                <a:moveTo>
                  <a:pt x="128" y="544"/>
                </a:moveTo>
                <a:cubicBezTo>
                  <a:pt x="126" y="548"/>
                  <a:pt x="123" y="553"/>
                  <a:pt x="121" y="557"/>
                </a:cubicBezTo>
                <a:cubicBezTo>
                  <a:pt x="124" y="557"/>
                  <a:pt x="126" y="557"/>
                  <a:pt x="129" y="557"/>
                </a:cubicBezTo>
                <a:cubicBezTo>
                  <a:pt x="129" y="557"/>
                  <a:pt x="130" y="556"/>
                  <a:pt x="130" y="556"/>
                </a:cubicBezTo>
                <a:cubicBezTo>
                  <a:pt x="130" y="553"/>
                  <a:pt x="130" y="550"/>
                  <a:pt x="129" y="548"/>
                </a:cubicBezTo>
                <a:cubicBezTo>
                  <a:pt x="129" y="546"/>
                  <a:pt x="128" y="545"/>
                  <a:pt x="128" y="544"/>
                </a:cubicBezTo>
                <a:close/>
                <a:moveTo>
                  <a:pt x="75" y="523"/>
                </a:moveTo>
                <a:cubicBezTo>
                  <a:pt x="75" y="524"/>
                  <a:pt x="74" y="524"/>
                  <a:pt x="74" y="524"/>
                </a:cubicBezTo>
                <a:cubicBezTo>
                  <a:pt x="73" y="524"/>
                  <a:pt x="72" y="524"/>
                  <a:pt x="72" y="524"/>
                </a:cubicBezTo>
                <a:cubicBezTo>
                  <a:pt x="72" y="523"/>
                  <a:pt x="71" y="523"/>
                  <a:pt x="71" y="522"/>
                </a:cubicBezTo>
                <a:cubicBezTo>
                  <a:pt x="72" y="520"/>
                  <a:pt x="72" y="518"/>
                  <a:pt x="73" y="516"/>
                </a:cubicBezTo>
                <a:cubicBezTo>
                  <a:pt x="73" y="516"/>
                  <a:pt x="73" y="516"/>
                  <a:pt x="72" y="516"/>
                </a:cubicBezTo>
                <a:cubicBezTo>
                  <a:pt x="72" y="517"/>
                  <a:pt x="70" y="518"/>
                  <a:pt x="70" y="519"/>
                </a:cubicBezTo>
                <a:cubicBezTo>
                  <a:pt x="69" y="520"/>
                  <a:pt x="70" y="525"/>
                  <a:pt x="72" y="526"/>
                </a:cubicBezTo>
                <a:cubicBezTo>
                  <a:pt x="74" y="527"/>
                  <a:pt x="75" y="525"/>
                  <a:pt x="75" y="523"/>
                </a:cubicBezTo>
                <a:close/>
                <a:moveTo>
                  <a:pt x="76" y="542"/>
                </a:moveTo>
                <a:cubicBezTo>
                  <a:pt x="75" y="543"/>
                  <a:pt x="73" y="543"/>
                  <a:pt x="72" y="544"/>
                </a:cubicBezTo>
                <a:cubicBezTo>
                  <a:pt x="72" y="545"/>
                  <a:pt x="71" y="546"/>
                  <a:pt x="71" y="546"/>
                </a:cubicBezTo>
                <a:cubicBezTo>
                  <a:pt x="71" y="549"/>
                  <a:pt x="76" y="553"/>
                  <a:pt x="79" y="553"/>
                </a:cubicBezTo>
                <a:cubicBezTo>
                  <a:pt x="80" y="553"/>
                  <a:pt x="81" y="552"/>
                  <a:pt x="80" y="550"/>
                </a:cubicBezTo>
                <a:cubicBezTo>
                  <a:pt x="79" y="547"/>
                  <a:pt x="77" y="544"/>
                  <a:pt x="76" y="542"/>
                </a:cubicBezTo>
                <a:close/>
                <a:moveTo>
                  <a:pt x="128" y="544"/>
                </a:moveTo>
                <a:cubicBezTo>
                  <a:pt x="126" y="548"/>
                  <a:pt x="124" y="553"/>
                  <a:pt x="121" y="557"/>
                </a:cubicBezTo>
                <a:cubicBezTo>
                  <a:pt x="124" y="557"/>
                  <a:pt x="126" y="558"/>
                  <a:pt x="129" y="557"/>
                </a:cubicBezTo>
                <a:cubicBezTo>
                  <a:pt x="129" y="557"/>
                  <a:pt x="129" y="556"/>
                  <a:pt x="129" y="556"/>
                </a:cubicBezTo>
                <a:cubicBezTo>
                  <a:pt x="129" y="553"/>
                  <a:pt x="129" y="550"/>
                  <a:pt x="129" y="548"/>
                </a:cubicBezTo>
                <a:cubicBezTo>
                  <a:pt x="129" y="547"/>
                  <a:pt x="128" y="545"/>
                  <a:pt x="128" y="544"/>
                </a:cubicBezTo>
                <a:close/>
                <a:moveTo>
                  <a:pt x="76" y="523"/>
                </a:moveTo>
                <a:cubicBezTo>
                  <a:pt x="75" y="524"/>
                  <a:pt x="74" y="524"/>
                  <a:pt x="74" y="524"/>
                </a:cubicBezTo>
                <a:cubicBezTo>
                  <a:pt x="73" y="524"/>
                  <a:pt x="72" y="524"/>
                  <a:pt x="72" y="524"/>
                </a:cubicBezTo>
                <a:cubicBezTo>
                  <a:pt x="72" y="523"/>
                  <a:pt x="71" y="523"/>
                  <a:pt x="71" y="522"/>
                </a:cubicBezTo>
                <a:cubicBezTo>
                  <a:pt x="72" y="520"/>
                  <a:pt x="73" y="518"/>
                  <a:pt x="73" y="516"/>
                </a:cubicBezTo>
                <a:cubicBezTo>
                  <a:pt x="73" y="516"/>
                  <a:pt x="73" y="516"/>
                  <a:pt x="73" y="516"/>
                </a:cubicBezTo>
                <a:cubicBezTo>
                  <a:pt x="72" y="517"/>
                  <a:pt x="71" y="517"/>
                  <a:pt x="70" y="519"/>
                </a:cubicBezTo>
                <a:cubicBezTo>
                  <a:pt x="69" y="520"/>
                  <a:pt x="71" y="525"/>
                  <a:pt x="72" y="526"/>
                </a:cubicBezTo>
                <a:cubicBezTo>
                  <a:pt x="74" y="526"/>
                  <a:pt x="76" y="525"/>
                  <a:pt x="76" y="523"/>
                </a:cubicBezTo>
                <a:close/>
                <a:moveTo>
                  <a:pt x="128" y="515"/>
                </a:moveTo>
                <a:cubicBezTo>
                  <a:pt x="131" y="512"/>
                  <a:pt x="131" y="512"/>
                  <a:pt x="135" y="511"/>
                </a:cubicBezTo>
                <a:cubicBezTo>
                  <a:pt x="135" y="512"/>
                  <a:pt x="136" y="514"/>
                  <a:pt x="138" y="514"/>
                </a:cubicBezTo>
                <a:cubicBezTo>
                  <a:pt x="135" y="515"/>
                  <a:pt x="133" y="516"/>
                  <a:pt x="131" y="517"/>
                </a:cubicBezTo>
                <a:cubicBezTo>
                  <a:pt x="130" y="517"/>
                  <a:pt x="130" y="516"/>
                  <a:pt x="129" y="515"/>
                </a:cubicBezTo>
                <a:cubicBezTo>
                  <a:pt x="129" y="515"/>
                  <a:pt x="128" y="515"/>
                  <a:pt x="128" y="515"/>
                </a:cubicBezTo>
                <a:close/>
                <a:moveTo>
                  <a:pt x="134" y="515"/>
                </a:moveTo>
                <a:cubicBezTo>
                  <a:pt x="133" y="514"/>
                  <a:pt x="132" y="514"/>
                  <a:pt x="132" y="514"/>
                </a:cubicBezTo>
                <a:cubicBezTo>
                  <a:pt x="131" y="514"/>
                  <a:pt x="130" y="515"/>
                  <a:pt x="130" y="515"/>
                </a:cubicBezTo>
                <a:cubicBezTo>
                  <a:pt x="130" y="515"/>
                  <a:pt x="131" y="516"/>
                  <a:pt x="131" y="516"/>
                </a:cubicBezTo>
                <a:cubicBezTo>
                  <a:pt x="132" y="516"/>
                  <a:pt x="132" y="515"/>
                  <a:pt x="134" y="515"/>
                </a:cubicBezTo>
                <a:close/>
                <a:moveTo>
                  <a:pt x="115" y="505"/>
                </a:moveTo>
                <a:cubicBezTo>
                  <a:pt x="108" y="504"/>
                  <a:pt x="105" y="507"/>
                  <a:pt x="104" y="515"/>
                </a:cubicBezTo>
                <a:cubicBezTo>
                  <a:pt x="105" y="513"/>
                  <a:pt x="106" y="510"/>
                  <a:pt x="108" y="508"/>
                </a:cubicBezTo>
                <a:cubicBezTo>
                  <a:pt x="108" y="508"/>
                  <a:pt x="108" y="508"/>
                  <a:pt x="108" y="508"/>
                </a:cubicBezTo>
                <a:cubicBezTo>
                  <a:pt x="108" y="509"/>
                  <a:pt x="108" y="510"/>
                  <a:pt x="108" y="511"/>
                </a:cubicBezTo>
                <a:cubicBezTo>
                  <a:pt x="109" y="508"/>
                  <a:pt x="111" y="506"/>
                  <a:pt x="115" y="505"/>
                </a:cubicBezTo>
                <a:close/>
                <a:moveTo>
                  <a:pt x="158" y="507"/>
                </a:moveTo>
                <a:cubicBezTo>
                  <a:pt x="156" y="508"/>
                  <a:pt x="154" y="510"/>
                  <a:pt x="153" y="511"/>
                </a:cubicBezTo>
                <a:cubicBezTo>
                  <a:pt x="155" y="511"/>
                  <a:pt x="157" y="510"/>
                  <a:pt x="158" y="507"/>
                </a:cubicBezTo>
                <a:close/>
                <a:moveTo>
                  <a:pt x="125" y="509"/>
                </a:moveTo>
                <a:cubicBezTo>
                  <a:pt x="126" y="508"/>
                  <a:pt x="127" y="506"/>
                  <a:pt x="128" y="505"/>
                </a:cubicBezTo>
                <a:cubicBezTo>
                  <a:pt x="125" y="506"/>
                  <a:pt x="125" y="507"/>
                  <a:pt x="125" y="509"/>
                </a:cubicBezTo>
                <a:close/>
                <a:moveTo>
                  <a:pt x="135" y="530"/>
                </a:moveTo>
                <a:cubicBezTo>
                  <a:pt x="133" y="531"/>
                  <a:pt x="132" y="531"/>
                  <a:pt x="132" y="532"/>
                </a:cubicBezTo>
                <a:cubicBezTo>
                  <a:pt x="133" y="532"/>
                  <a:pt x="134" y="531"/>
                  <a:pt x="135" y="530"/>
                </a:cubicBezTo>
                <a:close/>
                <a:moveTo>
                  <a:pt x="134" y="515"/>
                </a:moveTo>
                <a:cubicBezTo>
                  <a:pt x="133" y="514"/>
                  <a:pt x="132" y="514"/>
                  <a:pt x="132" y="514"/>
                </a:cubicBezTo>
                <a:cubicBezTo>
                  <a:pt x="131" y="514"/>
                  <a:pt x="130" y="515"/>
                  <a:pt x="130" y="515"/>
                </a:cubicBezTo>
                <a:cubicBezTo>
                  <a:pt x="130" y="516"/>
                  <a:pt x="131" y="516"/>
                  <a:pt x="131" y="516"/>
                </a:cubicBezTo>
                <a:cubicBezTo>
                  <a:pt x="132" y="516"/>
                  <a:pt x="133" y="516"/>
                  <a:pt x="134" y="515"/>
                </a:cubicBezTo>
                <a:close/>
                <a:moveTo>
                  <a:pt x="1768" y="671"/>
                </a:moveTo>
                <a:cubicBezTo>
                  <a:pt x="1771" y="652"/>
                  <a:pt x="1771" y="652"/>
                  <a:pt x="1771" y="652"/>
                </a:cubicBezTo>
                <a:cubicBezTo>
                  <a:pt x="1762" y="652"/>
                  <a:pt x="1762" y="652"/>
                  <a:pt x="1762" y="652"/>
                </a:cubicBezTo>
                <a:cubicBezTo>
                  <a:pt x="1762" y="640"/>
                  <a:pt x="1762" y="640"/>
                  <a:pt x="1762" y="640"/>
                </a:cubicBezTo>
                <a:cubicBezTo>
                  <a:pt x="1773" y="640"/>
                  <a:pt x="1773" y="640"/>
                  <a:pt x="1773" y="640"/>
                </a:cubicBezTo>
                <a:cubicBezTo>
                  <a:pt x="1774" y="629"/>
                  <a:pt x="1774" y="629"/>
                  <a:pt x="1774" y="629"/>
                </a:cubicBezTo>
                <a:cubicBezTo>
                  <a:pt x="1765" y="629"/>
                  <a:pt x="1765" y="629"/>
                  <a:pt x="1765" y="629"/>
                </a:cubicBezTo>
                <a:cubicBezTo>
                  <a:pt x="1765" y="617"/>
                  <a:pt x="1765" y="617"/>
                  <a:pt x="1765" y="617"/>
                </a:cubicBezTo>
                <a:cubicBezTo>
                  <a:pt x="1776" y="617"/>
                  <a:pt x="1776" y="617"/>
                  <a:pt x="1776" y="617"/>
                </a:cubicBezTo>
                <a:cubicBezTo>
                  <a:pt x="1779" y="598"/>
                  <a:pt x="1779" y="598"/>
                  <a:pt x="1779" y="598"/>
                </a:cubicBezTo>
                <a:cubicBezTo>
                  <a:pt x="1790" y="598"/>
                  <a:pt x="1790" y="598"/>
                  <a:pt x="1790" y="598"/>
                </a:cubicBezTo>
                <a:cubicBezTo>
                  <a:pt x="1787" y="617"/>
                  <a:pt x="1787" y="617"/>
                  <a:pt x="1787" y="617"/>
                </a:cubicBezTo>
                <a:cubicBezTo>
                  <a:pt x="1797" y="617"/>
                  <a:pt x="1797" y="617"/>
                  <a:pt x="1797" y="617"/>
                </a:cubicBezTo>
                <a:cubicBezTo>
                  <a:pt x="1800" y="598"/>
                  <a:pt x="1800" y="598"/>
                  <a:pt x="1800" y="598"/>
                </a:cubicBezTo>
                <a:cubicBezTo>
                  <a:pt x="1811" y="598"/>
                  <a:pt x="1811" y="598"/>
                  <a:pt x="1811" y="598"/>
                </a:cubicBezTo>
                <a:cubicBezTo>
                  <a:pt x="1808" y="617"/>
                  <a:pt x="1808" y="617"/>
                  <a:pt x="1808" y="617"/>
                </a:cubicBezTo>
                <a:cubicBezTo>
                  <a:pt x="1817" y="617"/>
                  <a:pt x="1817" y="617"/>
                  <a:pt x="1817" y="617"/>
                </a:cubicBezTo>
                <a:cubicBezTo>
                  <a:pt x="1817" y="629"/>
                  <a:pt x="1817" y="629"/>
                  <a:pt x="1817" y="629"/>
                </a:cubicBezTo>
                <a:cubicBezTo>
                  <a:pt x="1806" y="629"/>
                  <a:pt x="1806" y="629"/>
                  <a:pt x="1806" y="629"/>
                </a:cubicBezTo>
                <a:cubicBezTo>
                  <a:pt x="1805" y="640"/>
                  <a:pt x="1805" y="640"/>
                  <a:pt x="1805" y="640"/>
                </a:cubicBezTo>
                <a:cubicBezTo>
                  <a:pt x="1814" y="640"/>
                  <a:pt x="1814" y="640"/>
                  <a:pt x="1814" y="640"/>
                </a:cubicBezTo>
                <a:cubicBezTo>
                  <a:pt x="1814" y="652"/>
                  <a:pt x="1814" y="652"/>
                  <a:pt x="1814" y="652"/>
                </a:cubicBezTo>
                <a:cubicBezTo>
                  <a:pt x="1803" y="652"/>
                  <a:pt x="1803" y="652"/>
                  <a:pt x="1803" y="652"/>
                </a:cubicBezTo>
                <a:cubicBezTo>
                  <a:pt x="1800" y="671"/>
                  <a:pt x="1800" y="671"/>
                  <a:pt x="1800" y="671"/>
                </a:cubicBezTo>
                <a:cubicBezTo>
                  <a:pt x="1789" y="671"/>
                  <a:pt x="1789" y="671"/>
                  <a:pt x="1789" y="671"/>
                </a:cubicBezTo>
                <a:cubicBezTo>
                  <a:pt x="1792" y="652"/>
                  <a:pt x="1792" y="652"/>
                  <a:pt x="1792" y="652"/>
                </a:cubicBezTo>
                <a:cubicBezTo>
                  <a:pt x="1782" y="652"/>
                  <a:pt x="1782" y="652"/>
                  <a:pt x="1782" y="652"/>
                </a:cubicBezTo>
                <a:cubicBezTo>
                  <a:pt x="1779" y="671"/>
                  <a:pt x="1779" y="671"/>
                  <a:pt x="1779" y="671"/>
                </a:cubicBezTo>
                <a:cubicBezTo>
                  <a:pt x="1768" y="671"/>
                  <a:pt x="1768" y="671"/>
                  <a:pt x="1768" y="671"/>
                </a:cubicBezTo>
                <a:cubicBezTo>
                  <a:pt x="1768" y="671"/>
                  <a:pt x="1768" y="671"/>
                  <a:pt x="1768" y="671"/>
                </a:cubicBezTo>
                <a:close/>
                <a:moveTo>
                  <a:pt x="1793" y="640"/>
                </a:moveTo>
                <a:cubicBezTo>
                  <a:pt x="1795" y="629"/>
                  <a:pt x="1795" y="629"/>
                  <a:pt x="1795" y="629"/>
                </a:cubicBezTo>
                <a:cubicBezTo>
                  <a:pt x="1785" y="629"/>
                  <a:pt x="1785" y="629"/>
                  <a:pt x="1785" y="629"/>
                </a:cubicBezTo>
                <a:cubicBezTo>
                  <a:pt x="1784" y="640"/>
                  <a:pt x="1784" y="640"/>
                  <a:pt x="1784" y="640"/>
                </a:cubicBezTo>
                <a:cubicBezTo>
                  <a:pt x="1793" y="640"/>
                  <a:pt x="1793" y="640"/>
                  <a:pt x="1793" y="640"/>
                </a:cubicBezTo>
                <a:cubicBezTo>
                  <a:pt x="1793" y="640"/>
                  <a:pt x="1793" y="640"/>
                  <a:pt x="1793" y="640"/>
                </a:cubicBezTo>
                <a:close/>
                <a:moveTo>
                  <a:pt x="653" y="645"/>
                </a:moveTo>
                <a:cubicBezTo>
                  <a:pt x="653" y="646"/>
                  <a:pt x="654" y="648"/>
                  <a:pt x="655" y="649"/>
                </a:cubicBezTo>
                <a:cubicBezTo>
                  <a:pt x="655" y="651"/>
                  <a:pt x="655" y="653"/>
                  <a:pt x="656" y="654"/>
                </a:cubicBezTo>
                <a:cubicBezTo>
                  <a:pt x="656" y="656"/>
                  <a:pt x="656" y="657"/>
                  <a:pt x="656" y="659"/>
                </a:cubicBezTo>
                <a:cubicBezTo>
                  <a:pt x="657" y="662"/>
                  <a:pt x="656" y="664"/>
                  <a:pt x="653" y="664"/>
                </a:cubicBezTo>
                <a:cubicBezTo>
                  <a:pt x="650" y="664"/>
                  <a:pt x="647" y="663"/>
                  <a:pt x="644" y="663"/>
                </a:cubicBezTo>
                <a:cubicBezTo>
                  <a:pt x="644" y="663"/>
                  <a:pt x="643" y="663"/>
                  <a:pt x="643" y="664"/>
                </a:cubicBezTo>
                <a:cubicBezTo>
                  <a:pt x="641" y="665"/>
                  <a:pt x="640" y="667"/>
                  <a:pt x="638" y="668"/>
                </a:cubicBezTo>
                <a:cubicBezTo>
                  <a:pt x="636" y="671"/>
                  <a:pt x="633" y="671"/>
                  <a:pt x="631" y="669"/>
                </a:cubicBezTo>
                <a:cubicBezTo>
                  <a:pt x="629" y="667"/>
                  <a:pt x="628" y="664"/>
                  <a:pt x="626" y="661"/>
                </a:cubicBezTo>
                <a:cubicBezTo>
                  <a:pt x="625" y="660"/>
                  <a:pt x="626" y="658"/>
                  <a:pt x="628" y="657"/>
                </a:cubicBezTo>
                <a:cubicBezTo>
                  <a:pt x="625" y="657"/>
                  <a:pt x="624" y="657"/>
                  <a:pt x="622" y="657"/>
                </a:cubicBezTo>
                <a:cubicBezTo>
                  <a:pt x="621" y="659"/>
                  <a:pt x="620" y="661"/>
                  <a:pt x="619" y="663"/>
                </a:cubicBezTo>
                <a:cubicBezTo>
                  <a:pt x="619" y="663"/>
                  <a:pt x="619" y="664"/>
                  <a:pt x="619" y="665"/>
                </a:cubicBezTo>
                <a:cubicBezTo>
                  <a:pt x="619" y="668"/>
                  <a:pt x="618" y="669"/>
                  <a:pt x="615" y="669"/>
                </a:cubicBezTo>
                <a:cubicBezTo>
                  <a:pt x="612" y="669"/>
                  <a:pt x="609" y="668"/>
                  <a:pt x="606" y="667"/>
                </a:cubicBezTo>
                <a:cubicBezTo>
                  <a:pt x="604" y="666"/>
                  <a:pt x="603" y="665"/>
                  <a:pt x="604" y="663"/>
                </a:cubicBezTo>
                <a:cubicBezTo>
                  <a:pt x="604" y="662"/>
                  <a:pt x="604" y="661"/>
                  <a:pt x="604" y="661"/>
                </a:cubicBezTo>
                <a:cubicBezTo>
                  <a:pt x="602" y="660"/>
                  <a:pt x="600" y="659"/>
                  <a:pt x="598" y="657"/>
                </a:cubicBezTo>
                <a:cubicBezTo>
                  <a:pt x="597" y="657"/>
                  <a:pt x="595" y="655"/>
                  <a:pt x="595" y="653"/>
                </a:cubicBezTo>
                <a:cubicBezTo>
                  <a:pt x="594" y="651"/>
                  <a:pt x="594" y="650"/>
                  <a:pt x="596" y="648"/>
                </a:cubicBezTo>
                <a:cubicBezTo>
                  <a:pt x="599" y="646"/>
                  <a:pt x="600" y="643"/>
                  <a:pt x="599" y="639"/>
                </a:cubicBezTo>
                <a:cubicBezTo>
                  <a:pt x="599" y="637"/>
                  <a:pt x="599" y="635"/>
                  <a:pt x="599" y="633"/>
                </a:cubicBezTo>
                <a:cubicBezTo>
                  <a:pt x="598" y="632"/>
                  <a:pt x="596" y="632"/>
                  <a:pt x="595" y="631"/>
                </a:cubicBezTo>
                <a:cubicBezTo>
                  <a:pt x="594" y="629"/>
                  <a:pt x="593" y="627"/>
                  <a:pt x="593" y="625"/>
                </a:cubicBezTo>
                <a:cubicBezTo>
                  <a:pt x="593" y="622"/>
                  <a:pt x="596" y="619"/>
                  <a:pt x="599" y="619"/>
                </a:cubicBezTo>
                <a:cubicBezTo>
                  <a:pt x="599" y="619"/>
                  <a:pt x="599" y="620"/>
                  <a:pt x="600" y="621"/>
                </a:cubicBezTo>
                <a:cubicBezTo>
                  <a:pt x="600" y="622"/>
                  <a:pt x="600" y="623"/>
                  <a:pt x="600" y="624"/>
                </a:cubicBezTo>
                <a:cubicBezTo>
                  <a:pt x="599" y="624"/>
                  <a:pt x="599" y="624"/>
                  <a:pt x="599" y="624"/>
                </a:cubicBezTo>
                <a:cubicBezTo>
                  <a:pt x="598" y="625"/>
                  <a:pt x="598" y="626"/>
                  <a:pt x="597" y="628"/>
                </a:cubicBezTo>
                <a:cubicBezTo>
                  <a:pt x="598" y="628"/>
                  <a:pt x="599" y="628"/>
                  <a:pt x="599" y="627"/>
                </a:cubicBezTo>
                <a:cubicBezTo>
                  <a:pt x="601" y="626"/>
                  <a:pt x="601" y="625"/>
                  <a:pt x="602" y="624"/>
                </a:cubicBezTo>
                <a:cubicBezTo>
                  <a:pt x="606" y="617"/>
                  <a:pt x="612" y="614"/>
                  <a:pt x="620" y="612"/>
                </a:cubicBezTo>
                <a:cubicBezTo>
                  <a:pt x="623" y="612"/>
                  <a:pt x="627" y="610"/>
                  <a:pt x="629" y="608"/>
                </a:cubicBezTo>
                <a:cubicBezTo>
                  <a:pt x="629" y="607"/>
                  <a:pt x="630" y="607"/>
                  <a:pt x="630" y="607"/>
                </a:cubicBezTo>
                <a:cubicBezTo>
                  <a:pt x="633" y="606"/>
                  <a:pt x="634" y="604"/>
                  <a:pt x="636" y="602"/>
                </a:cubicBezTo>
                <a:cubicBezTo>
                  <a:pt x="644" y="595"/>
                  <a:pt x="656" y="594"/>
                  <a:pt x="664" y="601"/>
                </a:cubicBezTo>
                <a:cubicBezTo>
                  <a:pt x="666" y="603"/>
                  <a:pt x="669" y="605"/>
                  <a:pt x="671" y="607"/>
                </a:cubicBezTo>
                <a:cubicBezTo>
                  <a:pt x="673" y="608"/>
                  <a:pt x="674" y="610"/>
                  <a:pt x="675" y="612"/>
                </a:cubicBezTo>
                <a:cubicBezTo>
                  <a:pt x="676" y="613"/>
                  <a:pt x="677" y="613"/>
                  <a:pt x="678" y="612"/>
                </a:cubicBezTo>
                <a:cubicBezTo>
                  <a:pt x="679" y="612"/>
                  <a:pt x="679" y="611"/>
                  <a:pt x="680" y="610"/>
                </a:cubicBezTo>
                <a:cubicBezTo>
                  <a:pt x="682" y="607"/>
                  <a:pt x="685" y="607"/>
                  <a:pt x="686" y="610"/>
                </a:cubicBezTo>
                <a:cubicBezTo>
                  <a:pt x="688" y="614"/>
                  <a:pt x="688" y="616"/>
                  <a:pt x="689" y="619"/>
                </a:cubicBezTo>
                <a:cubicBezTo>
                  <a:pt x="690" y="624"/>
                  <a:pt x="689" y="628"/>
                  <a:pt x="688" y="633"/>
                </a:cubicBezTo>
                <a:cubicBezTo>
                  <a:pt x="685" y="639"/>
                  <a:pt x="681" y="642"/>
                  <a:pt x="674" y="642"/>
                </a:cubicBezTo>
                <a:cubicBezTo>
                  <a:pt x="673" y="642"/>
                  <a:pt x="673" y="642"/>
                  <a:pt x="672" y="642"/>
                </a:cubicBezTo>
                <a:cubicBezTo>
                  <a:pt x="670" y="642"/>
                  <a:pt x="668" y="642"/>
                  <a:pt x="668" y="645"/>
                </a:cubicBezTo>
                <a:cubicBezTo>
                  <a:pt x="666" y="649"/>
                  <a:pt x="660" y="651"/>
                  <a:pt x="657" y="648"/>
                </a:cubicBezTo>
                <a:cubicBezTo>
                  <a:pt x="656" y="646"/>
                  <a:pt x="655" y="646"/>
                  <a:pt x="654" y="644"/>
                </a:cubicBezTo>
                <a:cubicBezTo>
                  <a:pt x="653" y="645"/>
                  <a:pt x="653" y="645"/>
                  <a:pt x="653" y="645"/>
                </a:cubicBezTo>
                <a:close/>
                <a:moveTo>
                  <a:pt x="647" y="640"/>
                </a:moveTo>
                <a:cubicBezTo>
                  <a:pt x="651" y="642"/>
                  <a:pt x="655" y="643"/>
                  <a:pt x="657" y="646"/>
                </a:cubicBezTo>
                <a:cubicBezTo>
                  <a:pt x="659" y="648"/>
                  <a:pt x="661" y="648"/>
                  <a:pt x="663" y="648"/>
                </a:cubicBezTo>
                <a:cubicBezTo>
                  <a:pt x="666" y="647"/>
                  <a:pt x="667" y="645"/>
                  <a:pt x="667" y="642"/>
                </a:cubicBezTo>
                <a:cubicBezTo>
                  <a:pt x="667" y="642"/>
                  <a:pt x="666" y="642"/>
                  <a:pt x="666" y="642"/>
                </a:cubicBezTo>
                <a:cubicBezTo>
                  <a:pt x="666" y="644"/>
                  <a:pt x="664" y="645"/>
                  <a:pt x="664" y="646"/>
                </a:cubicBezTo>
                <a:cubicBezTo>
                  <a:pt x="662" y="647"/>
                  <a:pt x="661" y="647"/>
                  <a:pt x="660" y="646"/>
                </a:cubicBezTo>
                <a:cubicBezTo>
                  <a:pt x="660" y="646"/>
                  <a:pt x="659" y="645"/>
                  <a:pt x="659" y="644"/>
                </a:cubicBezTo>
                <a:cubicBezTo>
                  <a:pt x="659" y="642"/>
                  <a:pt x="660" y="640"/>
                  <a:pt x="660" y="638"/>
                </a:cubicBezTo>
                <a:cubicBezTo>
                  <a:pt x="663" y="639"/>
                  <a:pt x="666" y="640"/>
                  <a:pt x="670" y="640"/>
                </a:cubicBezTo>
                <a:cubicBezTo>
                  <a:pt x="677" y="642"/>
                  <a:pt x="683" y="640"/>
                  <a:pt x="686" y="631"/>
                </a:cubicBezTo>
                <a:cubicBezTo>
                  <a:pt x="688" y="627"/>
                  <a:pt x="688" y="622"/>
                  <a:pt x="687" y="617"/>
                </a:cubicBezTo>
                <a:cubicBezTo>
                  <a:pt x="686" y="615"/>
                  <a:pt x="686" y="613"/>
                  <a:pt x="685" y="611"/>
                </a:cubicBezTo>
                <a:cubicBezTo>
                  <a:pt x="684" y="610"/>
                  <a:pt x="683" y="609"/>
                  <a:pt x="682" y="611"/>
                </a:cubicBezTo>
                <a:cubicBezTo>
                  <a:pt x="680" y="612"/>
                  <a:pt x="679" y="614"/>
                  <a:pt x="677" y="615"/>
                </a:cubicBezTo>
                <a:cubicBezTo>
                  <a:pt x="676" y="615"/>
                  <a:pt x="675" y="616"/>
                  <a:pt x="675" y="617"/>
                </a:cubicBezTo>
                <a:cubicBezTo>
                  <a:pt x="676" y="620"/>
                  <a:pt x="675" y="623"/>
                  <a:pt x="674" y="627"/>
                </a:cubicBezTo>
                <a:cubicBezTo>
                  <a:pt x="674" y="625"/>
                  <a:pt x="675" y="623"/>
                  <a:pt x="675" y="621"/>
                </a:cubicBezTo>
                <a:cubicBezTo>
                  <a:pt x="675" y="620"/>
                  <a:pt x="674" y="620"/>
                  <a:pt x="674" y="619"/>
                </a:cubicBezTo>
                <a:cubicBezTo>
                  <a:pt x="673" y="620"/>
                  <a:pt x="673" y="620"/>
                  <a:pt x="673" y="620"/>
                </a:cubicBezTo>
                <a:cubicBezTo>
                  <a:pt x="672" y="621"/>
                  <a:pt x="671" y="623"/>
                  <a:pt x="670" y="624"/>
                </a:cubicBezTo>
                <a:cubicBezTo>
                  <a:pt x="670" y="624"/>
                  <a:pt x="670" y="624"/>
                  <a:pt x="670" y="624"/>
                </a:cubicBezTo>
                <a:cubicBezTo>
                  <a:pt x="670" y="623"/>
                  <a:pt x="671" y="621"/>
                  <a:pt x="671" y="619"/>
                </a:cubicBezTo>
                <a:cubicBezTo>
                  <a:pt x="670" y="619"/>
                  <a:pt x="670" y="620"/>
                  <a:pt x="669" y="621"/>
                </a:cubicBezTo>
                <a:cubicBezTo>
                  <a:pt x="668" y="621"/>
                  <a:pt x="668" y="622"/>
                  <a:pt x="668" y="623"/>
                </a:cubicBezTo>
                <a:cubicBezTo>
                  <a:pt x="668" y="619"/>
                  <a:pt x="668" y="619"/>
                  <a:pt x="674" y="618"/>
                </a:cubicBezTo>
                <a:cubicBezTo>
                  <a:pt x="674" y="617"/>
                  <a:pt x="673" y="617"/>
                  <a:pt x="673" y="617"/>
                </a:cubicBezTo>
                <a:cubicBezTo>
                  <a:pt x="670" y="617"/>
                  <a:pt x="670" y="616"/>
                  <a:pt x="669" y="614"/>
                </a:cubicBezTo>
                <a:cubicBezTo>
                  <a:pt x="671" y="613"/>
                  <a:pt x="672" y="613"/>
                  <a:pt x="674" y="612"/>
                </a:cubicBezTo>
                <a:cubicBezTo>
                  <a:pt x="672" y="610"/>
                  <a:pt x="671" y="607"/>
                  <a:pt x="668" y="607"/>
                </a:cubicBezTo>
                <a:cubicBezTo>
                  <a:pt x="667" y="607"/>
                  <a:pt x="667" y="606"/>
                  <a:pt x="667" y="606"/>
                </a:cubicBezTo>
                <a:cubicBezTo>
                  <a:pt x="664" y="604"/>
                  <a:pt x="662" y="602"/>
                  <a:pt x="659" y="600"/>
                </a:cubicBezTo>
                <a:cubicBezTo>
                  <a:pt x="657" y="598"/>
                  <a:pt x="654" y="598"/>
                  <a:pt x="652" y="598"/>
                </a:cubicBezTo>
                <a:cubicBezTo>
                  <a:pt x="649" y="598"/>
                  <a:pt x="645" y="599"/>
                  <a:pt x="642" y="600"/>
                </a:cubicBezTo>
                <a:cubicBezTo>
                  <a:pt x="640" y="601"/>
                  <a:pt x="637" y="603"/>
                  <a:pt x="635" y="606"/>
                </a:cubicBezTo>
                <a:cubicBezTo>
                  <a:pt x="637" y="606"/>
                  <a:pt x="638" y="606"/>
                  <a:pt x="639" y="606"/>
                </a:cubicBezTo>
                <a:cubicBezTo>
                  <a:pt x="639" y="606"/>
                  <a:pt x="638" y="607"/>
                  <a:pt x="637" y="607"/>
                </a:cubicBezTo>
                <a:cubicBezTo>
                  <a:pt x="635" y="608"/>
                  <a:pt x="632" y="607"/>
                  <a:pt x="630" y="609"/>
                </a:cubicBezTo>
                <a:cubicBezTo>
                  <a:pt x="627" y="613"/>
                  <a:pt x="623" y="617"/>
                  <a:pt x="619" y="621"/>
                </a:cubicBezTo>
                <a:cubicBezTo>
                  <a:pt x="617" y="623"/>
                  <a:pt x="617" y="625"/>
                  <a:pt x="616" y="628"/>
                </a:cubicBezTo>
                <a:cubicBezTo>
                  <a:pt x="616" y="628"/>
                  <a:pt x="616" y="629"/>
                  <a:pt x="616" y="629"/>
                </a:cubicBezTo>
                <a:cubicBezTo>
                  <a:pt x="617" y="631"/>
                  <a:pt x="618" y="633"/>
                  <a:pt x="620" y="635"/>
                </a:cubicBezTo>
                <a:cubicBezTo>
                  <a:pt x="621" y="634"/>
                  <a:pt x="622" y="632"/>
                  <a:pt x="623" y="631"/>
                </a:cubicBezTo>
                <a:cubicBezTo>
                  <a:pt x="623" y="632"/>
                  <a:pt x="623" y="633"/>
                  <a:pt x="622" y="635"/>
                </a:cubicBezTo>
                <a:cubicBezTo>
                  <a:pt x="621" y="636"/>
                  <a:pt x="620" y="637"/>
                  <a:pt x="620" y="639"/>
                </a:cubicBezTo>
                <a:cubicBezTo>
                  <a:pt x="619" y="640"/>
                  <a:pt x="620" y="641"/>
                  <a:pt x="620" y="642"/>
                </a:cubicBezTo>
                <a:cubicBezTo>
                  <a:pt x="623" y="645"/>
                  <a:pt x="626" y="645"/>
                  <a:pt x="630" y="643"/>
                </a:cubicBezTo>
                <a:cubicBezTo>
                  <a:pt x="632" y="642"/>
                  <a:pt x="635" y="640"/>
                  <a:pt x="638" y="640"/>
                </a:cubicBezTo>
                <a:cubicBezTo>
                  <a:pt x="639" y="639"/>
                  <a:pt x="640" y="638"/>
                  <a:pt x="640" y="637"/>
                </a:cubicBezTo>
                <a:cubicBezTo>
                  <a:pt x="640" y="634"/>
                  <a:pt x="640" y="630"/>
                  <a:pt x="640" y="627"/>
                </a:cubicBezTo>
                <a:cubicBezTo>
                  <a:pt x="640" y="624"/>
                  <a:pt x="640" y="621"/>
                  <a:pt x="640" y="618"/>
                </a:cubicBezTo>
                <a:cubicBezTo>
                  <a:pt x="641" y="621"/>
                  <a:pt x="642" y="623"/>
                  <a:pt x="642" y="626"/>
                </a:cubicBezTo>
                <a:cubicBezTo>
                  <a:pt x="643" y="631"/>
                  <a:pt x="643" y="635"/>
                  <a:pt x="642" y="639"/>
                </a:cubicBezTo>
                <a:cubicBezTo>
                  <a:pt x="641" y="640"/>
                  <a:pt x="640" y="641"/>
                  <a:pt x="640" y="641"/>
                </a:cubicBezTo>
                <a:cubicBezTo>
                  <a:pt x="636" y="641"/>
                  <a:pt x="633" y="643"/>
                  <a:pt x="630" y="645"/>
                </a:cubicBezTo>
                <a:cubicBezTo>
                  <a:pt x="625" y="648"/>
                  <a:pt x="621" y="646"/>
                  <a:pt x="618" y="642"/>
                </a:cubicBezTo>
                <a:cubicBezTo>
                  <a:pt x="617" y="642"/>
                  <a:pt x="617" y="640"/>
                  <a:pt x="618" y="640"/>
                </a:cubicBezTo>
                <a:cubicBezTo>
                  <a:pt x="619" y="638"/>
                  <a:pt x="618" y="636"/>
                  <a:pt x="616" y="634"/>
                </a:cubicBezTo>
                <a:cubicBezTo>
                  <a:pt x="615" y="632"/>
                  <a:pt x="613" y="629"/>
                  <a:pt x="614" y="627"/>
                </a:cubicBezTo>
                <a:cubicBezTo>
                  <a:pt x="615" y="625"/>
                  <a:pt x="616" y="623"/>
                  <a:pt x="617" y="621"/>
                </a:cubicBezTo>
                <a:cubicBezTo>
                  <a:pt x="619" y="619"/>
                  <a:pt x="621" y="616"/>
                  <a:pt x="623" y="614"/>
                </a:cubicBezTo>
                <a:cubicBezTo>
                  <a:pt x="623" y="614"/>
                  <a:pt x="622" y="614"/>
                  <a:pt x="622" y="614"/>
                </a:cubicBezTo>
                <a:cubicBezTo>
                  <a:pt x="617" y="615"/>
                  <a:pt x="612" y="616"/>
                  <a:pt x="608" y="619"/>
                </a:cubicBezTo>
                <a:cubicBezTo>
                  <a:pt x="604" y="624"/>
                  <a:pt x="601" y="629"/>
                  <a:pt x="601" y="636"/>
                </a:cubicBezTo>
                <a:cubicBezTo>
                  <a:pt x="600" y="642"/>
                  <a:pt x="603" y="648"/>
                  <a:pt x="606" y="654"/>
                </a:cubicBezTo>
                <a:cubicBezTo>
                  <a:pt x="606" y="655"/>
                  <a:pt x="607" y="657"/>
                  <a:pt x="607" y="658"/>
                </a:cubicBezTo>
                <a:cubicBezTo>
                  <a:pt x="607" y="659"/>
                  <a:pt x="606" y="661"/>
                  <a:pt x="606" y="662"/>
                </a:cubicBezTo>
                <a:cubicBezTo>
                  <a:pt x="605" y="664"/>
                  <a:pt x="606" y="665"/>
                  <a:pt x="607" y="665"/>
                </a:cubicBezTo>
                <a:cubicBezTo>
                  <a:pt x="610" y="666"/>
                  <a:pt x="613" y="667"/>
                  <a:pt x="616" y="667"/>
                </a:cubicBezTo>
                <a:cubicBezTo>
                  <a:pt x="616" y="667"/>
                  <a:pt x="617" y="666"/>
                  <a:pt x="617" y="666"/>
                </a:cubicBezTo>
                <a:cubicBezTo>
                  <a:pt x="617" y="665"/>
                  <a:pt x="617" y="663"/>
                  <a:pt x="618" y="662"/>
                </a:cubicBezTo>
                <a:cubicBezTo>
                  <a:pt x="620" y="660"/>
                  <a:pt x="620" y="657"/>
                  <a:pt x="620" y="654"/>
                </a:cubicBezTo>
                <a:cubicBezTo>
                  <a:pt x="620" y="654"/>
                  <a:pt x="620" y="654"/>
                  <a:pt x="620" y="653"/>
                </a:cubicBezTo>
                <a:cubicBezTo>
                  <a:pt x="620" y="653"/>
                  <a:pt x="620" y="653"/>
                  <a:pt x="620" y="652"/>
                </a:cubicBezTo>
                <a:cubicBezTo>
                  <a:pt x="621" y="655"/>
                  <a:pt x="622" y="655"/>
                  <a:pt x="624" y="655"/>
                </a:cubicBezTo>
                <a:cubicBezTo>
                  <a:pt x="625" y="655"/>
                  <a:pt x="626" y="655"/>
                  <a:pt x="627" y="655"/>
                </a:cubicBezTo>
                <a:cubicBezTo>
                  <a:pt x="629" y="655"/>
                  <a:pt x="632" y="656"/>
                  <a:pt x="633" y="652"/>
                </a:cubicBezTo>
                <a:cubicBezTo>
                  <a:pt x="633" y="654"/>
                  <a:pt x="633" y="655"/>
                  <a:pt x="633" y="656"/>
                </a:cubicBezTo>
                <a:cubicBezTo>
                  <a:pt x="632" y="657"/>
                  <a:pt x="630" y="658"/>
                  <a:pt x="629" y="658"/>
                </a:cubicBezTo>
                <a:cubicBezTo>
                  <a:pt x="628" y="659"/>
                  <a:pt x="627" y="661"/>
                  <a:pt x="628" y="661"/>
                </a:cubicBezTo>
                <a:cubicBezTo>
                  <a:pt x="629" y="664"/>
                  <a:pt x="630" y="666"/>
                  <a:pt x="632" y="668"/>
                </a:cubicBezTo>
                <a:cubicBezTo>
                  <a:pt x="634" y="669"/>
                  <a:pt x="636" y="669"/>
                  <a:pt x="637" y="667"/>
                </a:cubicBezTo>
                <a:cubicBezTo>
                  <a:pt x="638" y="666"/>
                  <a:pt x="638" y="665"/>
                  <a:pt x="639" y="665"/>
                </a:cubicBezTo>
                <a:cubicBezTo>
                  <a:pt x="641" y="663"/>
                  <a:pt x="642" y="662"/>
                  <a:pt x="644" y="661"/>
                </a:cubicBezTo>
                <a:cubicBezTo>
                  <a:pt x="648" y="657"/>
                  <a:pt x="650" y="651"/>
                  <a:pt x="652" y="645"/>
                </a:cubicBezTo>
                <a:cubicBezTo>
                  <a:pt x="652" y="644"/>
                  <a:pt x="651" y="644"/>
                  <a:pt x="651" y="643"/>
                </a:cubicBezTo>
                <a:cubicBezTo>
                  <a:pt x="650" y="642"/>
                  <a:pt x="649" y="641"/>
                  <a:pt x="647" y="640"/>
                </a:cubicBezTo>
                <a:close/>
                <a:moveTo>
                  <a:pt x="600" y="647"/>
                </a:moveTo>
                <a:cubicBezTo>
                  <a:pt x="599" y="648"/>
                  <a:pt x="598" y="648"/>
                  <a:pt x="597" y="650"/>
                </a:cubicBezTo>
                <a:cubicBezTo>
                  <a:pt x="596" y="650"/>
                  <a:pt x="596" y="651"/>
                  <a:pt x="596" y="652"/>
                </a:cubicBezTo>
                <a:cubicBezTo>
                  <a:pt x="596" y="654"/>
                  <a:pt x="600" y="659"/>
                  <a:pt x="603" y="658"/>
                </a:cubicBezTo>
                <a:cubicBezTo>
                  <a:pt x="605" y="658"/>
                  <a:pt x="606" y="657"/>
                  <a:pt x="605" y="655"/>
                </a:cubicBezTo>
                <a:cubicBezTo>
                  <a:pt x="603" y="652"/>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5"/>
                  <a:pt x="654" y="653"/>
                </a:cubicBezTo>
                <a:cubicBezTo>
                  <a:pt x="654" y="652"/>
                  <a:pt x="653" y="650"/>
                  <a:pt x="653" y="649"/>
                </a:cubicBezTo>
                <a:close/>
                <a:moveTo>
                  <a:pt x="600" y="629"/>
                </a:moveTo>
                <a:cubicBezTo>
                  <a:pt x="599" y="629"/>
                  <a:pt x="599" y="629"/>
                  <a:pt x="598" y="629"/>
                </a:cubicBezTo>
                <a:cubicBezTo>
                  <a:pt x="597" y="629"/>
                  <a:pt x="597" y="629"/>
                  <a:pt x="597" y="629"/>
                </a:cubicBezTo>
                <a:cubicBezTo>
                  <a:pt x="596" y="629"/>
                  <a:pt x="596" y="628"/>
                  <a:pt x="596" y="627"/>
                </a:cubicBezTo>
                <a:cubicBezTo>
                  <a:pt x="597" y="625"/>
                  <a:pt x="597" y="623"/>
                  <a:pt x="598" y="621"/>
                </a:cubicBezTo>
                <a:cubicBezTo>
                  <a:pt x="597" y="621"/>
                  <a:pt x="597" y="621"/>
                  <a:pt x="597" y="621"/>
                </a:cubicBezTo>
                <a:cubicBezTo>
                  <a:pt x="596" y="622"/>
                  <a:pt x="595" y="623"/>
                  <a:pt x="594" y="624"/>
                </a:cubicBezTo>
                <a:cubicBezTo>
                  <a:pt x="593" y="625"/>
                  <a:pt x="595" y="630"/>
                  <a:pt x="597" y="631"/>
                </a:cubicBezTo>
                <a:cubicBezTo>
                  <a:pt x="598" y="632"/>
                  <a:pt x="600" y="631"/>
                  <a:pt x="600" y="629"/>
                </a:cubicBezTo>
                <a:close/>
                <a:moveTo>
                  <a:pt x="600" y="647"/>
                </a:moveTo>
                <a:cubicBezTo>
                  <a:pt x="599" y="648"/>
                  <a:pt x="598" y="649"/>
                  <a:pt x="597" y="650"/>
                </a:cubicBezTo>
                <a:cubicBezTo>
                  <a:pt x="596" y="650"/>
                  <a:pt x="596" y="651"/>
                  <a:pt x="596" y="652"/>
                </a:cubicBezTo>
                <a:cubicBezTo>
                  <a:pt x="596" y="655"/>
                  <a:pt x="600" y="659"/>
                  <a:pt x="603" y="659"/>
                </a:cubicBezTo>
                <a:cubicBezTo>
                  <a:pt x="605" y="659"/>
                  <a:pt x="606" y="657"/>
                  <a:pt x="605" y="656"/>
                </a:cubicBezTo>
                <a:cubicBezTo>
                  <a:pt x="603" y="653"/>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6"/>
                  <a:pt x="654" y="653"/>
                </a:cubicBezTo>
                <a:cubicBezTo>
                  <a:pt x="654" y="652"/>
                  <a:pt x="653" y="650"/>
                  <a:pt x="653" y="649"/>
                </a:cubicBezTo>
                <a:close/>
                <a:moveTo>
                  <a:pt x="600" y="629"/>
                </a:moveTo>
                <a:cubicBezTo>
                  <a:pt x="600" y="629"/>
                  <a:pt x="599" y="630"/>
                  <a:pt x="598" y="630"/>
                </a:cubicBezTo>
                <a:cubicBezTo>
                  <a:pt x="598" y="630"/>
                  <a:pt x="597" y="630"/>
                  <a:pt x="597" y="629"/>
                </a:cubicBezTo>
                <a:cubicBezTo>
                  <a:pt x="596" y="629"/>
                  <a:pt x="596" y="628"/>
                  <a:pt x="596" y="627"/>
                </a:cubicBezTo>
                <a:cubicBezTo>
                  <a:pt x="597" y="625"/>
                  <a:pt x="597" y="623"/>
                  <a:pt x="598" y="621"/>
                </a:cubicBezTo>
                <a:cubicBezTo>
                  <a:pt x="598" y="621"/>
                  <a:pt x="598" y="621"/>
                  <a:pt x="597" y="621"/>
                </a:cubicBezTo>
                <a:cubicBezTo>
                  <a:pt x="596" y="622"/>
                  <a:pt x="595" y="623"/>
                  <a:pt x="594" y="624"/>
                </a:cubicBezTo>
                <a:cubicBezTo>
                  <a:pt x="594" y="625"/>
                  <a:pt x="595" y="630"/>
                  <a:pt x="597" y="631"/>
                </a:cubicBezTo>
                <a:cubicBezTo>
                  <a:pt x="598" y="632"/>
                  <a:pt x="600" y="631"/>
                  <a:pt x="600" y="629"/>
                </a:cubicBezTo>
                <a:close/>
                <a:moveTo>
                  <a:pt x="653" y="621"/>
                </a:moveTo>
                <a:cubicBezTo>
                  <a:pt x="656" y="617"/>
                  <a:pt x="656" y="617"/>
                  <a:pt x="660" y="616"/>
                </a:cubicBezTo>
                <a:cubicBezTo>
                  <a:pt x="660" y="618"/>
                  <a:pt x="661" y="619"/>
                  <a:pt x="662" y="619"/>
                </a:cubicBezTo>
                <a:cubicBezTo>
                  <a:pt x="660" y="620"/>
                  <a:pt x="658" y="622"/>
                  <a:pt x="656" y="623"/>
                </a:cubicBezTo>
                <a:cubicBezTo>
                  <a:pt x="655" y="622"/>
                  <a:pt x="655" y="621"/>
                  <a:pt x="654" y="620"/>
                </a:cubicBezTo>
                <a:cubicBezTo>
                  <a:pt x="654" y="620"/>
                  <a:pt x="653" y="620"/>
                  <a:pt x="653" y="621"/>
                </a:cubicBezTo>
                <a:close/>
                <a:moveTo>
                  <a:pt x="658" y="620"/>
                </a:moveTo>
                <a:cubicBezTo>
                  <a:pt x="658" y="620"/>
                  <a:pt x="657" y="619"/>
                  <a:pt x="656" y="619"/>
                </a:cubicBezTo>
                <a:cubicBezTo>
                  <a:pt x="656" y="619"/>
                  <a:pt x="655" y="620"/>
                  <a:pt x="655" y="621"/>
                </a:cubicBezTo>
                <a:cubicBezTo>
                  <a:pt x="655" y="621"/>
                  <a:pt x="656" y="621"/>
                  <a:pt x="656" y="622"/>
                </a:cubicBezTo>
                <a:cubicBezTo>
                  <a:pt x="657" y="621"/>
                  <a:pt x="657" y="621"/>
                  <a:pt x="658" y="620"/>
                </a:cubicBezTo>
                <a:close/>
                <a:moveTo>
                  <a:pt x="640" y="610"/>
                </a:moveTo>
                <a:cubicBezTo>
                  <a:pt x="633" y="609"/>
                  <a:pt x="630" y="612"/>
                  <a:pt x="629" y="620"/>
                </a:cubicBezTo>
                <a:cubicBezTo>
                  <a:pt x="630" y="618"/>
                  <a:pt x="631" y="616"/>
                  <a:pt x="632" y="613"/>
                </a:cubicBezTo>
                <a:cubicBezTo>
                  <a:pt x="633" y="613"/>
                  <a:pt x="633" y="613"/>
                  <a:pt x="633" y="613"/>
                </a:cubicBezTo>
                <a:cubicBezTo>
                  <a:pt x="633" y="614"/>
                  <a:pt x="633" y="615"/>
                  <a:pt x="633" y="616"/>
                </a:cubicBezTo>
                <a:cubicBezTo>
                  <a:pt x="634" y="613"/>
                  <a:pt x="636" y="611"/>
                  <a:pt x="640" y="610"/>
                </a:cubicBezTo>
                <a:close/>
                <a:moveTo>
                  <a:pt x="683" y="612"/>
                </a:moveTo>
                <a:cubicBezTo>
                  <a:pt x="681" y="613"/>
                  <a:pt x="679" y="615"/>
                  <a:pt x="678" y="616"/>
                </a:cubicBezTo>
                <a:cubicBezTo>
                  <a:pt x="679" y="617"/>
                  <a:pt x="682" y="615"/>
                  <a:pt x="683" y="612"/>
                </a:cubicBezTo>
                <a:close/>
                <a:moveTo>
                  <a:pt x="650" y="614"/>
                </a:moveTo>
                <a:cubicBezTo>
                  <a:pt x="651" y="613"/>
                  <a:pt x="652" y="611"/>
                  <a:pt x="653" y="610"/>
                </a:cubicBezTo>
                <a:cubicBezTo>
                  <a:pt x="650" y="611"/>
                  <a:pt x="649" y="612"/>
                  <a:pt x="650" y="614"/>
                </a:cubicBezTo>
                <a:close/>
                <a:moveTo>
                  <a:pt x="659" y="635"/>
                </a:moveTo>
                <a:cubicBezTo>
                  <a:pt x="658" y="636"/>
                  <a:pt x="657" y="637"/>
                  <a:pt x="657" y="637"/>
                </a:cubicBezTo>
                <a:cubicBezTo>
                  <a:pt x="657" y="637"/>
                  <a:pt x="659" y="636"/>
                  <a:pt x="659" y="635"/>
                </a:cubicBezTo>
                <a:close/>
                <a:moveTo>
                  <a:pt x="658" y="620"/>
                </a:moveTo>
                <a:cubicBezTo>
                  <a:pt x="658" y="619"/>
                  <a:pt x="657" y="619"/>
                  <a:pt x="656" y="619"/>
                </a:cubicBezTo>
                <a:cubicBezTo>
                  <a:pt x="656" y="619"/>
                  <a:pt x="655" y="620"/>
                  <a:pt x="655" y="620"/>
                </a:cubicBezTo>
                <a:cubicBezTo>
                  <a:pt x="655" y="621"/>
                  <a:pt x="655" y="621"/>
                  <a:pt x="656" y="621"/>
                </a:cubicBezTo>
                <a:cubicBezTo>
                  <a:pt x="657" y="621"/>
                  <a:pt x="657" y="621"/>
                  <a:pt x="658" y="620"/>
                </a:cubicBezTo>
                <a:close/>
                <a:moveTo>
                  <a:pt x="1312" y="597"/>
                </a:moveTo>
                <a:cubicBezTo>
                  <a:pt x="1312" y="597"/>
                  <a:pt x="1312" y="597"/>
                  <a:pt x="1312" y="597"/>
                </a:cubicBezTo>
                <a:cubicBezTo>
                  <a:pt x="1307" y="597"/>
                  <a:pt x="1307" y="597"/>
                  <a:pt x="1307" y="597"/>
                </a:cubicBezTo>
                <a:cubicBezTo>
                  <a:pt x="1305" y="599"/>
                  <a:pt x="1303" y="600"/>
                  <a:pt x="1301" y="601"/>
                </a:cubicBezTo>
                <a:cubicBezTo>
                  <a:pt x="1300" y="603"/>
                  <a:pt x="1298" y="603"/>
                  <a:pt x="1296" y="604"/>
                </a:cubicBezTo>
                <a:cubicBezTo>
                  <a:pt x="1295" y="605"/>
                  <a:pt x="1293" y="606"/>
                  <a:pt x="1291" y="607"/>
                </a:cubicBezTo>
                <a:cubicBezTo>
                  <a:pt x="1289" y="608"/>
                  <a:pt x="1287" y="608"/>
                  <a:pt x="1285" y="608"/>
                </a:cubicBezTo>
                <a:cubicBezTo>
                  <a:pt x="1285" y="608"/>
                  <a:pt x="1285" y="608"/>
                  <a:pt x="1285" y="619"/>
                </a:cubicBezTo>
                <a:cubicBezTo>
                  <a:pt x="1288" y="618"/>
                  <a:pt x="1291" y="617"/>
                  <a:pt x="1294" y="616"/>
                </a:cubicBezTo>
                <a:cubicBezTo>
                  <a:pt x="1296" y="615"/>
                  <a:pt x="1298" y="613"/>
                  <a:pt x="1301" y="612"/>
                </a:cubicBezTo>
                <a:cubicBezTo>
                  <a:pt x="1301" y="612"/>
                  <a:pt x="1301" y="612"/>
                  <a:pt x="1301" y="671"/>
                </a:cubicBezTo>
                <a:cubicBezTo>
                  <a:pt x="1301" y="671"/>
                  <a:pt x="1301" y="671"/>
                  <a:pt x="1312" y="671"/>
                </a:cubicBezTo>
                <a:cubicBezTo>
                  <a:pt x="1312" y="671"/>
                  <a:pt x="1312" y="671"/>
                  <a:pt x="1312" y="597"/>
                </a:cubicBezTo>
                <a:close/>
                <a:moveTo>
                  <a:pt x="1360" y="597"/>
                </a:moveTo>
                <a:cubicBezTo>
                  <a:pt x="1360" y="597"/>
                  <a:pt x="1360" y="597"/>
                  <a:pt x="1360" y="597"/>
                </a:cubicBezTo>
                <a:cubicBezTo>
                  <a:pt x="1355" y="597"/>
                  <a:pt x="1355" y="597"/>
                  <a:pt x="1355" y="597"/>
                </a:cubicBezTo>
                <a:cubicBezTo>
                  <a:pt x="1352" y="599"/>
                  <a:pt x="1351" y="600"/>
                  <a:pt x="1349" y="601"/>
                </a:cubicBezTo>
                <a:cubicBezTo>
                  <a:pt x="1347" y="603"/>
                  <a:pt x="1345" y="603"/>
                  <a:pt x="1344" y="604"/>
                </a:cubicBezTo>
                <a:cubicBezTo>
                  <a:pt x="1342" y="605"/>
                  <a:pt x="1340" y="606"/>
                  <a:pt x="1339" y="607"/>
                </a:cubicBezTo>
                <a:cubicBezTo>
                  <a:pt x="1336" y="608"/>
                  <a:pt x="1335" y="608"/>
                  <a:pt x="1333" y="608"/>
                </a:cubicBezTo>
                <a:cubicBezTo>
                  <a:pt x="1333" y="608"/>
                  <a:pt x="1333" y="608"/>
                  <a:pt x="1333" y="619"/>
                </a:cubicBezTo>
                <a:cubicBezTo>
                  <a:pt x="1336" y="618"/>
                  <a:pt x="1339" y="617"/>
                  <a:pt x="1341" y="616"/>
                </a:cubicBezTo>
                <a:cubicBezTo>
                  <a:pt x="1344" y="615"/>
                  <a:pt x="1346" y="613"/>
                  <a:pt x="1348" y="612"/>
                </a:cubicBezTo>
                <a:cubicBezTo>
                  <a:pt x="1348" y="612"/>
                  <a:pt x="1348" y="612"/>
                  <a:pt x="1348" y="671"/>
                </a:cubicBezTo>
                <a:cubicBezTo>
                  <a:pt x="1348" y="671"/>
                  <a:pt x="1348" y="671"/>
                  <a:pt x="1360" y="671"/>
                </a:cubicBezTo>
                <a:cubicBezTo>
                  <a:pt x="1360" y="671"/>
                  <a:pt x="1360" y="671"/>
                  <a:pt x="1360" y="597"/>
                </a:cubicBezTo>
                <a:close/>
                <a:moveTo>
                  <a:pt x="1406" y="597"/>
                </a:moveTo>
                <a:cubicBezTo>
                  <a:pt x="1406" y="597"/>
                  <a:pt x="1406" y="597"/>
                  <a:pt x="1406" y="597"/>
                </a:cubicBezTo>
                <a:cubicBezTo>
                  <a:pt x="1402" y="597"/>
                  <a:pt x="1402" y="597"/>
                  <a:pt x="1402" y="597"/>
                </a:cubicBezTo>
                <a:cubicBezTo>
                  <a:pt x="1400" y="599"/>
                  <a:pt x="1398" y="600"/>
                  <a:pt x="1396" y="601"/>
                </a:cubicBezTo>
                <a:cubicBezTo>
                  <a:pt x="1395" y="603"/>
                  <a:pt x="1393" y="603"/>
                  <a:pt x="1391" y="604"/>
                </a:cubicBezTo>
                <a:cubicBezTo>
                  <a:pt x="1389" y="605"/>
                  <a:pt x="1388" y="605"/>
                  <a:pt x="1385" y="606"/>
                </a:cubicBezTo>
                <a:cubicBezTo>
                  <a:pt x="1384" y="607"/>
                  <a:pt x="1382" y="608"/>
                  <a:pt x="1380" y="608"/>
                </a:cubicBezTo>
                <a:cubicBezTo>
                  <a:pt x="1380" y="608"/>
                  <a:pt x="1380" y="608"/>
                  <a:pt x="1380" y="619"/>
                </a:cubicBezTo>
                <a:cubicBezTo>
                  <a:pt x="1383" y="618"/>
                  <a:pt x="1386" y="616"/>
                  <a:pt x="1388" y="616"/>
                </a:cubicBezTo>
                <a:cubicBezTo>
                  <a:pt x="1390" y="615"/>
                  <a:pt x="1393" y="613"/>
                  <a:pt x="1395" y="612"/>
                </a:cubicBezTo>
                <a:cubicBezTo>
                  <a:pt x="1395" y="612"/>
                  <a:pt x="1395" y="612"/>
                  <a:pt x="1395" y="671"/>
                </a:cubicBezTo>
                <a:cubicBezTo>
                  <a:pt x="1395" y="671"/>
                  <a:pt x="1395" y="671"/>
                  <a:pt x="1406" y="671"/>
                </a:cubicBezTo>
                <a:cubicBezTo>
                  <a:pt x="1406" y="671"/>
                  <a:pt x="1406" y="671"/>
                  <a:pt x="1406" y="597"/>
                </a:cubicBezTo>
                <a:close/>
                <a:moveTo>
                  <a:pt x="1617" y="492"/>
                </a:moveTo>
                <a:cubicBezTo>
                  <a:pt x="1617" y="492"/>
                  <a:pt x="1617" y="492"/>
                  <a:pt x="1617" y="492"/>
                </a:cubicBezTo>
                <a:cubicBezTo>
                  <a:pt x="1612" y="492"/>
                  <a:pt x="1612" y="492"/>
                  <a:pt x="1612" y="492"/>
                </a:cubicBezTo>
                <a:cubicBezTo>
                  <a:pt x="1610" y="494"/>
                  <a:pt x="1609" y="495"/>
                  <a:pt x="1606" y="496"/>
                </a:cubicBezTo>
                <a:cubicBezTo>
                  <a:pt x="1605" y="497"/>
                  <a:pt x="1603" y="498"/>
                  <a:pt x="1601" y="499"/>
                </a:cubicBezTo>
                <a:cubicBezTo>
                  <a:pt x="1599" y="500"/>
                  <a:pt x="1597" y="500"/>
                  <a:pt x="1596" y="501"/>
                </a:cubicBezTo>
                <a:cubicBezTo>
                  <a:pt x="1594" y="502"/>
                  <a:pt x="1592" y="503"/>
                  <a:pt x="1590" y="503"/>
                </a:cubicBezTo>
                <a:cubicBezTo>
                  <a:pt x="1590" y="503"/>
                  <a:pt x="1590" y="503"/>
                  <a:pt x="1590" y="513"/>
                </a:cubicBezTo>
                <a:cubicBezTo>
                  <a:pt x="1593" y="513"/>
                  <a:pt x="1596" y="511"/>
                  <a:pt x="1598" y="511"/>
                </a:cubicBezTo>
                <a:cubicBezTo>
                  <a:pt x="1601" y="510"/>
                  <a:pt x="1603" y="508"/>
                  <a:pt x="1606" y="507"/>
                </a:cubicBezTo>
                <a:cubicBezTo>
                  <a:pt x="1606" y="507"/>
                  <a:pt x="1606" y="507"/>
                  <a:pt x="1606" y="566"/>
                </a:cubicBezTo>
                <a:cubicBezTo>
                  <a:pt x="1606" y="566"/>
                  <a:pt x="1606" y="566"/>
                  <a:pt x="1617" y="566"/>
                </a:cubicBezTo>
                <a:cubicBezTo>
                  <a:pt x="1617" y="566"/>
                  <a:pt x="1617" y="566"/>
                  <a:pt x="1617" y="492"/>
                </a:cubicBezTo>
                <a:close/>
                <a:moveTo>
                  <a:pt x="1664" y="492"/>
                </a:moveTo>
                <a:cubicBezTo>
                  <a:pt x="1664" y="492"/>
                  <a:pt x="1664" y="492"/>
                  <a:pt x="1664" y="492"/>
                </a:cubicBezTo>
                <a:cubicBezTo>
                  <a:pt x="1659" y="492"/>
                  <a:pt x="1659" y="492"/>
                  <a:pt x="1659" y="492"/>
                </a:cubicBezTo>
                <a:cubicBezTo>
                  <a:pt x="1656" y="494"/>
                  <a:pt x="1655" y="495"/>
                  <a:pt x="1653" y="496"/>
                </a:cubicBezTo>
                <a:cubicBezTo>
                  <a:pt x="1651" y="497"/>
                  <a:pt x="1649" y="498"/>
                  <a:pt x="1648" y="499"/>
                </a:cubicBezTo>
                <a:cubicBezTo>
                  <a:pt x="1646" y="500"/>
                  <a:pt x="1644" y="501"/>
                  <a:pt x="1643" y="502"/>
                </a:cubicBezTo>
                <a:cubicBezTo>
                  <a:pt x="1641" y="503"/>
                  <a:pt x="1639" y="503"/>
                  <a:pt x="1637" y="503"/>
                </a:cubicBezTo>
                <a:cubicBezTo>
                  <a:pt x="1637" y="503"/>
                  <a:pt x="1637" y="503"/>
                  <a:pt x="1637" y="513"/>
                </a:cubicBezTo>
                <a:cubicBezTo>
                  <a:pt x="1640" y="513"/>
                  <a:pt x="1643" y="512"/>
                  <a:pt x="1645" y="511"/>
                </a:cubicBezTo>
                <a:cubicBezTo>
                  <a:pt x="1648" y="510"/>
                  <a:pt x="1650" y="508"/>
                  <a:pt x="1652" y="507"/>
                </a:cubicBezTo>
                <a:cubicBezTo>
                  <a:pt x="1652" y="507"/>
                  <a:pt x="1652" y="507"/>
                  <a:pt x="1652" y="566"/>
                </a:cubicBezTo>
                <a:cubicBezTo>
                  <a:pt x="1652" y="566"/>
                  <a:pt x="1652" y="566"/>
                  <a:pt x="1664" y="566"/>
                </a:cubicBezTo>
                <a:cubicBezTo>
                  <a:pt x="1664" y="566"/>
                  <a:pt x="1664" y="566"/>
                  <a:pt x="1664" y="492"/>
                </a:cubicBezTo>
                <a:close/>
                <a:moveTo>
                  <a:pt x="1709" y="492"/>
                </a:moveTo>
                <a:cubicBezTo>
                  <a:pt x="1709" y="492"/>
                  <a:pt x="1709" y="492"/>
                  <a:pt x="1709" y="492"/>
                </a:cubicBezTo>
                <a:cubicBezTo>
                  <a:pt x="1705" y="492"/>
                  <a:pt x="1705" y="492"/>
                  <a:pt x="1705" y="492"/>
                </a:cubicBezTo>
                <a:cubicBezTo>
                  <a:pt x="1703" y="494"/>
                  <a:pt x="1701" y="495"/>
                  <a:pt x="1699" y="496"/>
                </a:cubicBezTo>
                <a:cubicBezTo>
                  <a:pt x="1698" y="497"/>
                  <a:pt x="1695" y="498"/>
                  <a:pt x="1694" y="499"/>
                </a:cubicBezTo>
                <a:cubicBezTo>
                  <a:pt x="1692" y="500"/>
                  <a:pt x="1690" y="501"/>
                  <a:pt x="1688" y="502"/>
                </a:cubicBezTo>
                <a:cubicBezTo>
                  <a:pt x="1687" y="503"/>
                  <a:pt x="1685" y="503"/>
                  <a:pt x="1683" y="503"/>
                </a:cubicBezTo>
                <a:cubicBezTo>
                  <a:pt x="1683" y="503"/>
                  <a:pt x="1683" y="503"/>
                  <a:pt x="1683" y="513"/>
                </a:cubicBezTo>
                <a:cubicBezTo>
                  <a:pt x="1686" y="513"/>
                  <a:pt x="1689" y="512"/>
                  <a:pt x="1691" y="511"/>
                </a:cubicBezTo>
                <a:cubicBezTo>
                  <a:pt x="1693" y="510"/>
                  <a:pt x="1696" y="508"/>
                  <a:pt x="1698" y="507"/>
                </a:cubicBezTo>
                <a:cubicBezTo>
                  <a:pt x="1698" y="507"/>
                  <a:pt x="1698" y="507"/>
                  <a:pt x="1698" y="566"/>
                </a:cubicBezTo>
                <a:cubicBezTo>
                  <a:pt x="1698" y="566"/>
                  <a:pt x="1698" y="566"/>
                  <a:pt x="1709" y="566"/>
                </a:cubicBezTo>
                <a:cubicBezTo>
                  <a:pt x="1709" y="566"/>
                  <a:pt x="1709" y="566"/>
                  <a:pt x="1709" y="492"/>
                </a:cubicBezTo>
                <a:close/>
                <a:moveTo>
                  <a:pt x="1756" y="492"/>
                </a:moveTo>
                <a:cubicBezTo>
                  <a:pt x="1756" y="492"/>
                  <a:pt x="1756" y="492"/>
                  <a:pt x="1756" y="492"/>
                </a:cubicBezTo>
                <a:cubicBezTo>
                  <a:pt x="1751" y="492"/>
                  <a:pt x="1751" y="492"/>
                  <a:pt x="1751" y="492"/>
                </a:cubicBezTo>
                <a:cubicBezTo>
                  <a:pt x="1749" y="494"/>
                  <a:pt x="1747" y="495"/>
                  <a:pt x="1745" y="496"/>
                </a:cubicBezTo>
                <a:cubicBezTo>
                  <a:pt x="1744" y="497"/>
                  <a:pt x="1742" y="498"/>
                  <a:pt x="1740" y="499"/>
                </a:cubicBezTo>
                <a:cubicBezTo>
                  <a:pt x="1738" y="500"/>
                  <a:pt x="1736" y="501"/>
                  <a:pt x="1735" y="502"/>
                </a:cubicBezTo>
                <a:cubicBezTo>
                  <a:pt x="1733" y="503"/>
                  <a:pt x="1731" y="503"/>
                  <a:pt x="1729" y="503"/>
                </a:cubicBezTo>
                <a:cubicBezTo>
                  <a:pt x="1729" y="503"/>
                  <a:pt x="1729" y="503"/>
                  <a:pt x="1729" y="513"/>
                </a:cubicBezTo>
                <a:cubicBezTo>
                  <a:pt x="1732" y="513"/>
                  <a:pt x="1735" y="512"/>
                  <a:pt x="1737" y="511"/>
                </a:cubicBezTo>
                <a:cubicBezTo>
                  <a:pt x="1740" y="510"/>
                  <a:pt x="1742" y="508"/>
                  <a:pt x="1744" y="507"/>
                </a:cubicBezTo>
                <a:cubicBezTo>
                  <a:pt x="1744" y="507"/>
                  <a:pt x="1744" y="507"/>
                  <a:pt x="1744" y="566"/>
                </a:cubicBezTo>
                <a:cubicBezTo>
                  <a:pt x="1744" y="566"/>
                  <a:pt x="1744" y="566"/>
                  <a:pt x="1756" y="566"/>
                </a:cubicBezTo>
                <a:cubicBezTo>
                  <a:pt x="1756" y="566"/>
                  <a:pt x="1756" y="566"/>
                  <a:pt x="1756" y="492"/>
                </a:cubicBezTo>
                <a:close/>
                <a:moveTo>
                  <a:pt x="1878" y="492"/>
                </a:moveTo>
                <a:cubicBezTo>
                  <a:pt x="1878" y="492"/>
                  <a:pt x="1878" y="492"/>
                  <a:pt x="1878" y="492"/>
                </a:cubicBezTo>
                <a:cubicBezTo>
                  <a:pt x="1873" y="492"/>
                  <a:pt x="1873" y="492"/>
                  <a:pt x="1873" y="492"/>
                </a:cubicBezTo>
                <a:cubicBezTo>
                  <a:pt x="1870" y="494"/>
                  <a:pt x="1869" y="495"/>
                  <a:pt x="1867" y="496"/>
                </a:cubicBezTo>
                <a:cubicBezTo>
                  <a:pt x="1865" y="497"/>
                  <a:pt x="1864" y="498"/>
                  <a:pt x="1862" y="499"/>
                </a:cubicBezTo>
                <a:cubicBezTo>
                  <a:pt x="1860" y="500"/>
                  <a:pt x="1858" y="501"/>
                  <a:pt x="1857" y="502"/>
                </a:cubicBezTo>
                <a:cubicBezTo>
                  <a:pt x="1854" y="503"/>
                  <a:pt x="1853" y="503"/>
                  <a:pt x="1851" y="503"/>
                </a:cubicBezTo>
                <a:cubicBezTo>
                  <a:pt x="1851" y="503"/>
                  <a:pt x="1851" y="503"/>
                  <a:pt x="1851" y="513"/>
                </a:cubicBezTo>
                <a:cubicBezTo>
                  <a:pt x="1854" y="513"/>
                  <a:pt x="1857" y="512"/>
                  <a:pt x="1859" y="511"/>
                </a:cubicBezTo>
                <a:cubicBezTo>
                  <a:pt x="1862" y="510"/>
                  <a:pt x="1864" y="508"/>
                  <a:pt x="1866" y="507"/>
                </a:cubicBezTo>
                <a:cubicBezTo>
                  <a:pt x="1866" y="507"/>
                  <a:pt x="1866" y="507"/>
                  <a:pt x="1866" y="566"/>
                </a:cubicBezTo>
                <a:cubicBezTo>
                  <a:pt x="1866" y="566"/>
                  <a:pt x="1866" y="566"/>
                  <a:pt x="1878" y="566"/>
                </a:cubicBezTo>
                <a:cubicBezTo>
                  <a:pt x="1878" y="566"/>
                  <a:pt x="1878" y="566"/>
                  <a:pt x="1878" y="492"/>
                </a:cubicBezTo>
                <a:close/>
                <a:moveTo>
                  <a:pt x="1925" y="492"/>
                </a:moveTo>
                <a:cubicBezTo>
                  <a:pt x="1925" y="492"/>
                  <a:pt x="1925" y="492"/>
                  <a:pt x="1925" y="492"/>
                </a:cubicBezTo>
                <a:cubicBezTo>
                  <a:pt x="1919" y="492"/>
                  <a:pt x="1919" y="492"/>
                  <a:pt x="1919" y="492"/>
                </a:cubicBezTo>
                <a:cubicBezTo>
                  <a:pt x="1917" y="494"/>
                  <a:pt x="1916" y="495"/>
                  <a:pt x="1914" y="496"/>
                </a:cubicBezTo>
                <a:cubicBezTo>
                  <a:pt x="1912" y="497"/>
                  <a:pt x="1910" y="498"/>
                  <a:pt x="1908" y="499"/>
                </a:cubicBezTo>
                <a:cubicBezTo>
                  <a:pt x="1907" y="500"/>
                  <a:pt x="1905" y="501"/>
                  <a:pt x="1903" y="502"/>
                </a:cubicBezTo>
                <a:cubicBezTo>
                  <a:pt x="1901" y="503"/>
                  <a:pt x="1900" y="503"/>
                  <a:pt x="1897" y="503"/>
                </a:cubicBezTo>
                <a:cubicBezTo>
                  <a:pt x="1897" y="503"/>
                  <a:pt x="1897" y="503"/>
                  <a:pt x="1897" y="513"/>
                </a:cubicBezTo>
                <a:cubicBezTo>
                  <a:pt x="1900" y="513"/>
                  <a:pt x="1903" y="512"/>
                  <a:pt x="1905" y="511"/>
                </a:cubicBezTo>
                <a:cubicBezTo>
                  <a:pt x="1908" y="510"/>
                  <a:pt x="1911" y="508"/>
                  <a:pt x="1913" y="507"/>
                </a:cubicBezTo>
                <a:cubicBezTo>
                  <a:pt x="1913" y="507"/>
                  <a:pt x="1913" y="507"/>
                  <a:pt x="1913" y="566"/>
                </a:cubicBezTo>
                <a:cubicBezTo>
                  <a:pt x="1913" y="566"/>
                  <a:pt x="1913" y="566"/>
                  <a:pt x="1925" y="566"/>
                </a:cubicBezTo>
                <a:cubicBezTo>
                  <a:pt x="1925" y="566"/>
                  <a:pt x="1925" y="566"/>
                  <a:pt x="1925" y="492"/>
                </a:cubicBezTo>
                <a:close/>
                <a:moveTo>
                  <a:pt x="1776" y="525"/>
                </a:moveTo>
                <a:cubicBezTo>
                  <a:pt x="1776" y="525"/>
                  <a:pt x="1776" y="525"/>
                  <a:pt x="1776" y="525"/>
                </a:cubicBezTo>
                <a:cubicBezTo>
                  <a:pt x="1776" y="533"/>
                  <a:pt x="1776" y="533"/>
                  <a:pt x="1776" y="533"/>
                </a:cubicBezTo>
                <a:cubicBezTo>
                  <a:pt x="1782" y="533"/>
                  <a:pt x="1783" y="536"/>
                  <a:pt x="1783" y="539"/>
                </a:cubicBezTo>
                <a:cubicBezTo>
                  <a:pt x="1783" y="541"/>
                  <a:pt x="1782" y="543"/>
                  <a:pt x="1782" y="546"/>
                </a:cubicBezTo>
                <a:cubicBezTo>
                  <a:pt x="1782" y="549"/>
                  <a:pt x="1782" y="551"/>
                  <a:pt x="1782" y="553"/>
                </a:cubicBezTo>
                <a:cubicBezTo>
                  <a:pt x="1782" y="562"/>
                  <a:pt x="1788" y="566"/>
                  <a:pt x="1796" y="566"/>
                </a:cubicBezTo>
                <a:cubicBezTo>
                  <a:pt x="1796" y="566"/>
                  <a:pt x="1796" y="566"/>
                  <a:pt x="1800" y="566"/>
                </a:cubicBezTo>
                <a:cubicBezTo>
                  <a:pt x="1800" y="566"/>
                  <a:pt x="1800" y="566"/>
                  <a:pt x="1800" y="557"/>
                </a:cubicBezTo>
                <a:cubicBezTo>
                  <a:pt x="1800" y="557"/>
                  <a:pt x="1800" y="557"/>
                  <a:pt x="1798" y="557"/>
                </a:cubicBezTo>
                <a:cubicBezTo>
                  <a:pt x="1795" y="557"/>
                  <a:pt x="1794" y="554"/>
                  <a:pt x="1794" y="551"/>
                </a:cubicBezTo>
                <a:cubicBezTo>
                  <a:pt x="1794" y="549"/>
                  <a:pt x="1794" y="548"/>
                  <a:pt x="1794" y="546"/>
                </a:cubicBezTo>
                <a:cubicBezTo>
                  <a:pt x="1794" y="544"/>
                  <a:pt x="1794" y="542"/>
                  <a:pt x="1794" y="540"/>
                </a:cubicBezTo>
                <a:cubicBezTo>
                  <a:pt x="1794" y="533"/>
                  <a:pt x="1791" y="530"/>
                  <a:pt x="1786" y="529"/>
                </a:cubicBezTo>
                <a:cubicBezTo>
                  <a:pt x="1786" y="529"/>
                  <a:pt x="1786" y="529"/>
                  <a:pt x="1786" y="528"/>
                </a:cubicBezTo>
                <a:cubicBezTo>
                  <a:pt x="1791" y="527"/>
                  <a:pt x="1794" y="525"/>
                  <a:pt x="1794" y="518"/>
                </a:cubicBezTo>
                <a:cubicBezTo>
                  <a:pt x="1794" y="515"/>
                  <a:pt x="1794" y="513"/>
                  <a:pt x="1794" y="511"/>
                </a:cubicBezTo>
                <a:cubicBezTo>
                  <a:pt x="1794" y="510"/>
                  <a:pt x="1794" y="508"/>
                  <a:pt x="1794" y="507"/>
                </a:cubicBezTo>
                <a:cubicBezTo>
                  <a:pt x="1794" y="503"/>
                  <a:pt x="1795" y="501"/>
                  <a:pt x="1798" y="501"/>
                </a:cubicBezTo>
                <a:cubicBezTo>
                  <a:pt x="1798" y="501"/>
                  <a:pt x="1798" y="501"/>
                  <a:pt x="1800" y="501"/>
                </a:cubicBezTo>
                <a:cubicBezTo>
                  <a:pt x="1800" y="501"/>
                  <a:pt x="1800" y="501"/>
                  <a:pt x="1800" y="491"/>
                </a:cubicBezTo>
                <a:cubicBezTo>
                  <a:pt x="1800" y="491"/>
                  <a:pt x="1800" y="491"/>
                  <a:pt x="1796" y="491"/>
                </a:cubicBezTo>
                <a:cubicBezTo>
                  <a:pt x="1787" y="491"/>
                  <a:pt x="1782" y="496"/>
                  <a:pt x="1782" y="504"/>
                </a:cubicBezTo>
                <a:cubicBezTo>
                  <a:pt x="1782" y="506"/>
                  <a:pt x="1782" y="509"/>
                  <a:pt x="1782" y="512"/>
                </a:cubicBezTo>
                <a:cubicBezTo>
                  <a:pt x="1782" y="514"/>
                  <a:pt x="1783" y="516"/>
                  <a:pt x="1783" y="518"/>
                </a:cubicBezTo>
                <a:cubicBezTo>
                  <a:pt x="1783" y="521"/>
                  <a:pt x="1782" y="524"/>
                  <a:pt x="1776" y="525"/>
                </a:cubicBezTo>
                <a:close/>
                <a:moveTo>
                  <a:pt x="1831" y="533"/>
                </a:moveTo>
                <a:cubicBezTo>
                  <a:pt x="1831" y="533"/>
                  <a:pt x="1831" y="533"/>
                  <a:pt x="1831" y="533"/>
                </a:cubicBezTo>
                <a:cubicBezTo>
                  <a:pt x="1831" y="525"/>
                  <a:pt x="1831" y="525"/>
                  <a:pt x="1831" y="525"/>
                </a:cubicBezTo>
                <a:cubicBezTo>
                  <a:pt x="1825" y="524"/>
                  <a:pt x="1824" y="521"/>
                  <a:pt x="1824" y="518"/>
                </a:cubicBezTo>
                <a:cubicBezTo>
                  <a:pt x="1824" y="516"/>
                  <a:pt x="1824" y="514"/>
                  <a:pt x="1825" y="512"/>
                </a:cubicBezTo>
                <a:cubicBezTo>
                  <a:pt x="1825" y="509"/>
                  <a:pt x="1825" y="506"/>
                  <a:pt x="1825" y="504"/>
                </a:cubicBezTo>
                <a:cubicBezTo>
                  <a:pt x="1825" y="496"/>
                  <a:pt x="1820" y="491"/>
                  <a:pt x="1810" y="491"/>
                </a:cubicBezTo>
                <a:cubicBezTo>
                  <a:pt x="1810" y="491"/>
                  <a:pt x="1810" y="491"/>
                  <a:pt x="1807" y="491"/>
                </a:cubicBezTo>
                <a:cubicBezTo>
                  <a:pt x="1807" y="491"/>
                  <a:pt x="1807" y="491"/>
                  <a:pt x="1807" y="501"/>
                </a:cubicBezTo>
                <a:cubicBezTo>
                  <a:pt x="1807" y="501"/>
                  <a:pt x="1807" y="501"/>
                  <a:pt x="1808" y="501"/>
                </a:cubicBezTo>
                <a:cubicBezTo>
                  <a:pt x="1812" y="501"/>
                  <a:pt x="1813" y="503"/>
                  <a:pt x="1813" y="507"/>
                </a:cubicBezTo>
                <a:cubicBezTo>
                  <a:pt x="1813" y="508"/>
                  <a:pt x="1813" y="510"/>
                  <a:pt x="1813" y="511"/>
                </a:cubicBezTo>
                <a:cubicBezTo>
                  <a:pt x="1813" y="513"/>
                  <a:pt x="1813" y="515"/>
                  <a:pt x="1813" y="518"/>
                </a:cubicBezTo>
                <a:cubicBezTo>
                  <a:pt x="1813" y="525"/>
                  <a:pt x="1815" y="527"/>
                  <a:pt x="1821" y="528"/>
                </a:cubicBezTo>
                <a:cubicBezTo>
                  <a:pt x="1821" y="528"/>
                  <a:pt x="1821" y="528"/>
                  <a:pt x="1821" y="529"/>
                </a:cubicBezTo>
                <a:cubicBezTo>
                  <a:pt x="1815" y="530"/>
                  <a:pt x="1813" y="533"/>
                  <a:pt x="1813" y="540"/>
                </a:cubicBezTo>
                <a:cubicBezTo>
                  <a:pt x="1813" y="542"/>
                  <a:pt x="1813" y="544"/>
                  <a:pt x="1813" y="546"/>
                </a:cubicBezTo>
                <a:cubicBezTo>
                  <a:pt x="1813" y="548"/>
                  <a:pt x="1813" y="549"/>
                  <a:pt x="1813" y="551"/>
                </a:cubicBezTo>
                <a:cubicBezTo>
                  <a:pt x="1813" y="554"/>
                  <a:pt x="1812" y="557"/>
                  <a:pt x="1808" y="557"/>
                </a:cubicBezTo>
                <a:cubicBezTo>
                  <a:pt x="1808" y="557"/>
                  <a:pt x="1808" y="557"/>
                  <a:pt x="1807" y="557"/>
                </a:cubicBezTo>
                <a:cubicBezTo>
                  <a:pt x="1807" y="557"/>
                  <a:pt x="1807" y="557"/>
                  <a:pt x="1807" y="566"/>
                </a:cubicBezTo>
                <a:cubicBezTo>
                  <a:pt x="1807" y="566"/>
                  <a:pt x="1807" y="566"/>
                  <a:pt x="1810" y="566"/>
                </a:cubicBezTo>
                <a:cubicBezTo>
                  <a:pt x="1819" y="566"/>
                  <a:pt x="1825" y="562"/>
                  <a:pt x="1825" y="553"/>
                </a:cubicBezTo>
                <a:cubicBezTo>
                  <a:pt x="1825" y="551"/>
                  <a:pt x="1825" y="549"/>
                  <a:pt x="1825" y="546"/>
                </a:cubicBezTo>
                <a:cubicBezTo>
                  <a:pt x="1824" y="543"/>
                  <a:pt x="1824" y="541"/>
                  <a:pt x="1824" y="539"/>
                </a:cubicBezTo>
                <a:cubicBezTo>
                  <a:pt x="1824" y="536"/>
                  <a:pt x="1825" y="533"/>
                  <a:pt x="1831" y="533"/>
                </a:cubicBezTo>
                <a:close/>
                <a:moveTo>
                  <a:pt x="1218" y="566"/>
                </a:moveTo>
                <a:cubicBezTo>
                  <a:pt x="1210" y="566"/>
                  <a:pt x="1204" y="563"/>
                  <a:pt x="1199" y="557"/>
                </a:cubicBezTo>
                <a:cubicBezTo>
                  <a:pt x="1196" y="550"/>
                  <a:pt x="1194" y="542"/>
                  <a:pt x="1194" y="529"/>
                </a:cubicBezTo>
                <a:cubicBezTo>
                  <a:pt x="1194" y="516"/>
                  <a:pt x="1196" y="507"/>
                  <a:pt x="1200" y="500"/>
                </a:cubicBezTo>
                <a:cubicBezTo>
                  <a:pt x="1205" y="494"/>
                  <a:pt x="1211" y="490"/>
                  <a:pt x="1220" y="490"/>
                </a:cubicBezTo>
                <a:cubicBezTo>
                  <a:pt x="1236" y="490"/>
                  <a:pt x="1244" y="502"/>
                  <a:pt x="1244" y="528"/>
                </a:cubicBezTo>
                <a:cubicBezTo>
                  <a:pt x="1244" y="540"/>
                  <a:pt x="1242" y="550"/>
                  <a:pt x="1237" y="556"/>
                </a:cubicBezTo>
                <a:cubicBezTo>
                  <a:pt x="1232" y="563"/>
                  <a:pt x="1226" y="566"/>
                  <a:pt x="1218" y="566"/>
                </a:cubicBezTo>
                <a:close/>
                <a:moveTo>
                  <a:pt x="1219" y="499"/>
                </a:moveTo>
                <a:cubicBezTo>
                  <a:pt x="1210" y="499"/>
                  <a:pt x="1205" y="510"/>
                  <a:pt x="1205" y="529"/>
                </a:cubicBezTo>
                <a:cubicBezTo>
                  <a:pt x="1205" y="548"/>
                  <a:pt x="1210" y="556"/>
                  <a:pt x="1218" y="556"/>
                </a:cubicBezTo>
                <a:cubicBezTo>
                  <a:pt x="1227" y="556"/>
                  <a:pt x="1232" y="548"/>
                  <a:pt x="1232" y="529"/>
                </a:cubicBezTo>
                <a:cubicBezTo>
                  <a:pt x="1232" y="509"/>
                  <a:pt x="1227" y="499"/>
                  <a:pt x="1219" y="499"/>
                </a:cubicBezTo>
                <a:close/>
                <a:moveTo>
                  <a:pt x="1288" y="566"/>
                </a:moveTo>
                <a:cubicBezTo>
                  <a:pt x="1281" y="566"/>
                  <a:pt x="1274" y="563"/>
                  <a:pt x="1271" y="557"/>
                </a:cubicBezTo>
                <a:cubicBezTo>
                  <a:pt x="1266" y="550"/>
                  <a:pt x="1264" y="542"/>
                  <a:pt x="1264" y="529"/>
                </a:cubicBezTo>
                <a:cubicBezTo>
                  <a:pt x="1264" y="516"/>
                  <a:pt x="1266" y="507"/>
                  <a:pt x="1271" y="500"/>
                </a:cubicBezTo>
                <a:cubicBezTo>
                  <a:pt x="1275" y="494"/>
                  <a:pt x="1282" y="490"/>
                  <a:pt x="1290" y="490"/>
                </a:cubicBezTo>
                <a:cubicBezTo>
                  <a:pt x="1307" y="490"/>
                  <a:pt x="1315" y="502"/>
                  <a:pt x="1315" y="528"/>
                </a:cubicBezTo>
                <a:cubicBezTo>
                  <a:pt x="1315" y="540"/>
                  <a:pt x="1312" y="550"/>
                  <a:pt x="1308" y="556"/>
                </a:cubicBezTo>
                <a:cubicBezTo>
                  <a:pt x="1303" y="563"/>
                  <a:pt x="1297" y="566"/>
                  <a:pt x="1288" y="566"/>
                </a:cubicBezTo>
                <a:close/>
                <a:moveTo>
                  <a:pt x="1290" y="499"/>
                </a:moveTo>
                <a:cubicBezTo>
                  <a:pt x="1281" y="499"/>
                  <a:pt x="1276" y="510"/>
                  <a:pt x="1276" y="529"/>
                </a:cubicBezTo>
                <a:cubicBezTo>
                  <a:pt x="1276" y="548"/>
                  <a:pt x="1280" y="556"/>
                  <a:pt x="1289" y="556"/>
                </a:cubicBezTo>
                <a:cubicBezTo>
                  <a:pt x="1298" y="556"/>
                  <a:pt x="1302" y="548"/>
                  <a:pt x="1302" y="529"/>
                </a:cubicBezTo>
                <a:cubicBezTo>
                  <a:pt x="1302" y="509"/>
                  <a:pt x="1298" y="499"/>
                  <a:pt x="1290" y="499"/>
                </a:cubicBezTo>
                <a:close/>
                <a:moveTo>
                  <a:pt x="1498" y="576"/>
                </a:moveTo>
                <a:cubicBezTo>
                  <a:pt x="1490" y="576"/>
                  <a:pt x="1485" y="573"/>
                  <a:pt x="1480" y="566"/>
                </a:cubicBezTo>
                <a:cubicBezTo>
                  <a:pt x="1476" y="561"/>
                  <a:pt x="1473" y="551"/>
                  <a:pt x="1473" y="539"/>
                </a:cubicBezTo>
                <a:cubicBezTo>
                  <a:pt x="1473" y="526"/>
                  <a:pt x="1476" y="517"/>
                  <a:pt x="1480" y="510"/>
                </a:cubicBezTo>
                <a:cubicBezTo>
                  <a:pt x="1485" y="503"/>
                  <a:pt x="1491" y="500"/>
                  <a:pt x="1500" y="500"/>
                </a:cubicBezTo>
                <a:cubicBezTo>
                  <a:pt x="1516" y="500"/>
                  <a:pt x="1524" y="512"/>
                  <a:pt x="1524" y="537"/>
                </a:cubicBezTo>
                <a:cubicBezTo>
                  <a:pt x="1524" y="550"/>
                  <a:pt x="1522" y="560"/>
                  <a:pt x="1518" y="566"/>
                </a:cubicBezTo>
                <a:cubicBezTo>
                  <a:pt x="1513" y="573"/>
                  <a:pt x="1507" y="576"/>
                  <a:pt x="1498" y="576"/>
                </a:cubicBezTo>
                <a:close/>
                <a:moveTo>
                  <a:pt x="1499" y="510"/>
                </a:moveTo>
                <a:cubicBezTo>
                  <a:pt x="1490" y="510"/>
                  <a:pt x="1486" y="519"/>
                  <a:pt x="1486" y="539"/>
                </a:cubicBezTo>
                <a:cubicBezTo>
                  <a:pt x="1486" y="557"/>
                  <a:pt x="1490" y="566"/>
                  <a:pt x="1499" y="566"/>
                </a:cubicBezTo>
                <a:cubicBezTo>
                  <a:pt x="1507" y="566"/>
                  <a:pt x="1512" y="557"/>
                  <a:pt x="1512" y="539"/>
                </a:cubicBezTo>
                <a:cubicBezTo>
                  <a:pt x="1512" y="519"/>
                  <a:pt x="1508" y="510"/>
                  <a:pt x="1499" y="510"/>
                </a:cubicBezTo>
                <a:close/>
                <a:moveTo>
                  <a:pt x="1570" y="492"/>
                </a:moveTo>
                <a:cubicBezTo>
                  <a:pt x="1570" y="492"/>
                  <a:pt x="1570" y="492"/>
                  <a:pt x="1570" y="492"/>
                </a:cubicBezTo>
                <a:cubicBezTo>
                  <a:pt x="1565" y="492"/>
                  <a:pt x="1565" y="492"/>
                  <a:pt x="1565" y="492"/>
                </a:cubicBezTo>
                <a:cubicBezTo>
                  <a:pt x="1563" y="494"/>
                  <a:pt x="1562" y="495"/>
                  <a:pt x="1560" y="496"/>
                </a:cubicBezTo>
                <a:cubicBezTo>
                  <a:pt x="1558" y="497"/>
                  <a:pt x="1556" y="498"/>
                  <a:pt x="1555" y="499"/>
                </a:cubicBezTo>
                <a:cubicBezTo>
                  <a:pt x="1553" y="500"/>
                  <a:pt x="1551" y="500"/>
                  <a:pt x="1550" y="501"/>
                </a:cubicBezTo>
                <a:cubicBezTo>
                  <a:pt x="1548" y="502"/>
                  <a:pt x="1546" y="503"/>
                  <a:pt x="1544" y="503"/>
                </a:cubicBezTo>
                <a:cubicBezTo>
                  <a:pt x="1544" y="503"/>
                  <a:pt x="1544" y="503"/>
                  <a:pt x="1544" y="513"/>
                </a:cubicBezTo>
                <a:cubicBezTo>
                  <a:pt x="1547" y="513"/>
                  <a:pt x="1550" y="511"/>
                  <a:pt x="1552" y="511"/>
                </a:cubicBezTo>
                <a:cubicBezTo>
                  <a:pt x="1555" y="510"/>
                  <a:pt x="1557" y="508"/>
                  <a:pt x="1559" y="507"/>
                </a:cubicBezTo>
                <a:cubicBezTo>
                  <a:pt x="1559" y="507"/>
                  <a:pt x="1559" y="507"/>
                  <a:pt x="1559" y="566"/>
                </a:cubicBezTo>
                <a:cubicBezTo>
                  <a:pt x="1559" y="566"/>
                  <a:pt x="1559" y="566"/>
                  <a:pt x="1570" y="566"/>
                </a:cubicBezTo>
                <a:cubicBezTo>
                  <a:pt x="1570" y="566"/>
                  <a:pt x="1570" y="566"/>
                  <a:pt x="1570" y="492"/>
                </a:cubicBezTo>
                <a:close/>
                <a:moveTo>
                  <a:pt x="1361" y="492"/>
                </a:moveTo>
                <a:cubicBezTo>
                  <a:pt x="1361" y="492"/>
                  <a:pt x="1361" y="492"/>
                  <a:pt x="1361" y="492"/>
                </a:cubicBezTo>
                <a:cubicBezTo>
                  <a:pt x="1356" y="492"/>
                  <a:pt x="1356" y="492"/>
                  <a:pt x="1356" y="492"/>
                </a:cubicBezTo>
                <a:cubicBezTo>
                  <a:pt x="1354" y="494"/>
                  <a:pt x="1352" y="495"/>
                  <a:pt x="1350" y="496"/>
                </a:cubicBezTo>
                <a:cubicBezTo>
                  <a:pt x="1349" y="497"/>
                  <a:pt x="1347" y="498"/>
                  <a:pt x="1345" y="499"/>
                </a:cubicBezTo>
                <a:cubicBezTo>
                  <a:pt x="1344" y="500"/>
                  <a:pt x="1342" y="501"/>
                  <a:pt x="1340" y="502"/>
                </a:cubicBezTo>
                <a:cubicBezTo>
                  <a:pt x="1338" y="503"/>
                  <a:pt x="1336" y="503"/>
                  <a:pt x="1334" y="503"/>
                </a:cubicBezTo>
                <a:cubicBezTo>
                  <a:pt x="1334" y="503"/>
                  <a:pt x="1334" y="503"/>
                  <a:pt x="1334" y="513"/>
                </a:cubicBezTo>
                <a:cubicBezTo>
                  <a:pt x="1337" y="513"/>
                  <a:pt x="1340" y="512"/>
                  <a:pt x="1343" y="511"/>
                </a:cubicBezTo>
                <a:cubicBezTo>
                  <a:pt x="1345" y="510"/>
                  <a:pt x="1347" y="508"/>
                  <a:pt x="1350" y="507"/>
                </a:cubicBezTo>
                <a:cubicBezTo>
                  <a:pt x="1350" y="507"/>
                  <a:pt x="1350" y="507"/>
                  <a:pt x="1350" y="566"/>
                </a:cubicBezTo>
                <a:cubicBezTo>
                  <a:pt x="1350" y="566"/>
                  <a:pt x="1350" y="566"/>
                  <a:pt x="1361" y="566"/>
                </a:cubicBezTo>
                <a:cubicBezTo>
                  <a:pt x="1361" y="566"/>
                  <a:pt x="1361" y="566"/>
                  <a:pt x="1361" y="492"/>
                </a:cubicBezTo>
                <a:close/>
                <a:moveTo>
                  <a:pt x="1408" y="492"/>
                </a:moveTo>
                <a:cubicBezTo>
                  <a:pt x="1408" y="492"/>
                  <a:pt x="1408" y="492"/>
                  <a:pt x="1408" y="492"/>
                </a:cubicBezTo>
                <a:cubicBezTo>
                  <a:pt x="1403" y="492"/>
                  <a:pt x="1403" y="492"/>
                  <a:pt x="1403" y="492"/>
                </a:cubicBezTo>
                <a:cubicBezTo>
                  <a:pt x="1401" y="494"/>
                  <a:pt x="1399" y="495"/>
                  <a:pt x="1397" y="496"/>
                </a:cubicBezTo>
                <a:cubicBezTo>
                  <a:pt x="1396" y="497"/>
                  <a:pt x="1393" y="498"/>
                  <a:pt x="1392" y="499"/>
                </a:cubicBezTo>
                <a:cubicBezTo>
                  <a:pt x="1390" y="500"/>
                  <a:pt x="1388" y="501"/>
                  <a:pt x="1387" y="502"/>
                </a:cubicBezTo>
                <a:cubicBezTo>
                  <a:pt x="1385" y="503"/>
                  <a:pt x="1383" y="503"/>
                  <a:pt x="1381" y="503"/>
                </a:cubicBezTo>
                <a:cubicBezTo>
                  <a:pt x="1381" y="503"/>
                  <a:pt x="1381" y="503"/>
                  <a:pt x="1381" y="513"/>
                </a:cubicBezTo>
                <a:cubicBezTo>
                  <a:pt x="1384" y="513"/>
                  <a:pt x="1387" y="512"/>
                  <a:pt x="1389" y="511"/>
                </a:cubicBezTo>
                <a:cubicBezTo>
                  <a:pt x="1392" y="510"/>
                  <a:pt x="1394" y="508"/>
                  <a:pt x="1396" y="507"/>
                </a:cubicBezTo>
                <a:cubicBezTo>
                  <a:pt x="1396" y="507"/>
                  <a:pt x="1396" y="507"/>
                  <a:pt x="1396" y="566"/>
                </a:cubicBezTo>
                <a:cubicBezTo>
                  <a:pt x="1396" y="566"/>
                  <a:pt x="1396" y="566"/>
                  <a:pt x="1408" y="566"/>
                </a:cubicBezTo>
                <a:cubicBezTo>
                  <a:pt x="1408" y="566"/>
                  <a:pt x="1408" y="566"/>
                  <a:pt x="1408" y="492"/>
                </a:cubicBezTo>
                <a:close/>
                <a:moveTo>
                  <a:pt x="1454" y="492"/>
                </a:moveTo>
                <a:cubicBezTo>
                  <a:pt x="1454" y="492"/>
                  <a:pt x="1454" y="492"/>
                  <a:pt x="1454" y="492"/>
                </a:cubicBezTo>
                <a:cubicBezTo>
                  <a:pt x="1449" y="492"/>
                  <a:pt x="1449" y="492"/>
                  <a:pt x="1449" y="492"/>
                </a:cubicBezTo>
                <a:cubicBezTo>
                  <a:pt x="1447" y="494"/>
                  <a:pt x="1446" y="495"/>
                  <a:pt x="1444" y="496"/>
                </a:cubicBezTo>
                <a:cubicBezTo>
                  <a:pt x="1442" y="497"/>
                  <a:pt x="1440" y="498"/>
                  <a:pt x="1439" y="499"/>
                </a:cubicBezTo>
                <a:cubicBezTo>
                  <a:pt x="1436" y="500"/>
                  <a:pt x="1435" y="500"/>
                  <a:pt x="1433" y="501"/>
                </a:cubicBezTo>
                <a:cubicBezTo>
                  <a:pt x="1431" y="502"/>
                  <a:pt x="1429" y="503"/>
                  <a:pt x="1428" y="503"/>
                </a:cubicBezTo>
                <a:cubicBezTo>
                  <a:pt x="1428" y="503"/>
                  <a:pt x="1428" y="503"/>
                  <a:pt x="1428" y="513"/>
                </a:cubicBezTo>
                <a:cubicBezTo>
                  <a:pt x="1431" y="513"/>
                  <a:pt x="1434" y="511"/>
                  <a:pt x="1436" y="511"/>
                </a:cubicBezTo>
                <a:cubicBezTo>
                  <a:pt x="1438" y="510"/>
                  <a:pt x="1441" y="508"/>
                  <a:pt x="1442" y="507"/>
                </a:cubicBezTo>
                <a:cubicBezTo>
                  <a:pt x="1442" y="507"/>
                  <a:pt x="1442" y="507"/>
                  <a:pt x="1442" y="566"/>
                </a:cubicBezTo>
                <a:cubicBezTo>
                  <a:pt x="1442" y="566"/>
                  <a:pt x="1442" y="566"/>
                  <a:pt x="1454" y="566"/>
                </a:cubicBezTo>
                <a:cubicBezTo>
                  <a:pt x="1454" y="566"/>
                  <a:pt x="1454" y="566"/>
                  <a:pt x="1454" y="492"/>
                </a:cubicBezTo>
                <a:close/>
                <a:moveTo>
                  <a:pt x="212" y="492"/>
                </a:moveTo>
                <a:cubicBezTo>
                  <a:pt x="212" y="492"/>
                  <a:pt x="212" y="492"/>
                  <a:pt x="212" y="492"/>
                </a:cubicBezTo>
                <a:cubicBezTo>
                  <a:pt x="206" y="492"/>
                  <a:pt x="206" y="492"/>
                  <a:pt x="206" y="492"/>
                </a:cubicBezTo>
                <a:cubicBezTo>
                  <a:pt x="204" y="494"/>
                  <a:pt x="203" y="495"/>
                  <a:pt x="201" y="496"/>
                </a:cubicBezTo>
                <a:cubicBezTo>
                  <a:pt x="199" y="497"/>
                  <a:pt x="197" y="498"/>
                  <a:pt x="196" y="499"/>
                </a:cubicBezTo>
                <a:cubicBezTo>
                  <a:pt x="194" y="500"/>
                  <a:pt x="192" y="501"/>
                  <a:pt x="190" y="502"/>
                </a:cubicBezTo>
                <a:cubicBezTo>
                  <a:pt x="188" y="503"/>
                  <a:pt x="187" y="503"/>
                  <a:pt x="185" y="503"/>
                </a:cubicBezTo>
                <a:cubicBezTo>
                  <a:pt x="185" y="503"/>
                  <a:pt x="185" y="503"/>
                  <a:pt x="185" y="513"/>
                </a:cubicBezTo>
                <a:cubicBezTo>
                  <a:pt x="188" y="513"/>
                  <a:pt x="190" y="512"/>
                  <a:pt x="193" y="511"/>
                </a:cubicBezTo>
                <a:cubicBezTo>
                  <a:pt x="196" y="510"/>
                  <a:pt x="198" y="508"/>
                  <a:pt x="200" y="507"/>
                </a:cubicBezTo>
                <a:cubicBezTo>
                  <a:pt x="200" y="507"/>
                  <a:pt x="200" y="507"/>
                  <a:pt x="200" y="566"/>
                </a:cubicBezTo>
                <a:cubicBezTo>
                  <a:pt x="200" y="566"/>
                  <a:pt x="200" y="566"/>
                  <a:pt x="212" y="566"/>
                </a:cubicBezTo>
                <a:cubicBezTo>
                  <a:pt x="212" y="566"/>
                  <a:pt x="212" y="566"/>
                  <a:pt x="212" y="492"/>
                </a:cubicBezTo>
                <a:close/>
                <a:moveTo>
                  <a:pt x="258" y="492"/>
                </a:moveTo>
                <a:cubicBezTo>
                  <a:pt x="258" y="492"/>
                  <a:pt x="258" y="492"/>
                  <a:pt x="258" y="492"/>
                </a:cubicBezTo>
                <a:cubicBezTo>
                  <a:pt x="253" y="492"/>
                  <a:pt x="253" y="492"/>
                  <a:pt x="253" y="492"/>
                </a:cubicBezTo>
                <a:cubicBezTo>
                  <a:pt x="252" y="494"/>
                  <a:pt x="249" y="495"/>
                  <a:pt x="248" y="496"/>
                </a:cubicBezTo>
                <a:cubicBezTo>
                  <a:pt x="246" y="497"/>
                  <a:pt x="244" y="498"/>
                  <a:pt x="242" y="499"/>
                </a:cubicBezTo>
                <a:cubicBezTo>
                  <a:pt x="241" y="500"/>
                  <a:pt x="238" y="501"/>
                  <a:pt x="237" y="502"/>
                </a:cubicBezTo>
                <a:cubicBezTo>
                  <a:pt x="235" y="503"/>
                  <a:pt x="233" y="503"/>
                  <a:pt x="231" y="503"/>
                </a:cubicBezTo>
                <a:cubicBezTo>
                  <a:pt x="231" y="503"/>
                  <a:pt x="231" y="503"/>
                  <a:pt x="231" y="513"/>
                </a:cubicBezTo>
                <a:cubicBezTo>
                  <a:pt x="234" y="513"/>
                  <a:pt x="237" y="512"/>
                  <a:pt x="240" y="511"/>
                </a:cubicBezTo>
                <a:cubicBezTo>
                  <a:pt x="242" y="510"/>
                  <a:pt x="244" y="508"/>
                  <a:pt x="246" y="507"/>
                </a:cubicBezTo>
                <a:cubicBezTo>
                  <a:pt x="246" y="507"/>
                  <a:pt x="246" y="507"/>
                  <a:pt x="246" y="566"/>
                </a:cubicBezTo>
                <a:cubicBezTo>
                  <a:pt x="246" y="566"/>
                  <a:pt x="246" y="566"/>
                  <a:pt x="258" y="566"/>
                </a:cubicBezTo>
                <a:cubicBezTo>
                  <a:pt x="258" y="566"/>
                  <a:pt x="258" y="566"/>
                  <a:pt x="258" y="492"/>
                </a:cubicBezTo>
                <a:close/>
                <a:moveTo>
                  <a:pt x="304" y="492"/>
                </a:moveTo>
                <a:cubicBezTo>
                  <a:pt x="304" y="492"/>
                  <a:pt x="304" y="492"/>
                  <a:pt x="304" y="492"/>
                </a:cubicBezTo>
                <a:cubicBezTo>
                  <a:pt x="300" y="492"/>
                  <a:pt x="300" y="492"/>
                  <a:pt x="300" y="492"/>
                </a:cubicBezTo>
                <a:cubicBezTo>
                  <a:pt x="298" y="494"/>
                  <a:pt x="296" y="495"/>
                  <a:pt x="294" y="496"/>
                </a:cubicBezTo>
                <a:cubicBezTo>
                  <a:pt x="293" y="497"/>
                  <a:pt x="290" y="498"/>
                  <a:pt x="289" y="499"/>
                </a:cubicBezTo>
                <a:cubicBezTo>
                  <a:pt x="287" y="500"/>
                  <a:pt x="285" y="500"/>
                  <a:pt x="283" y="501"/>
                </a:cubicBezTo>
                <a:cubicBezTo>
                  <a:pt x="282" y="502"/>
                  <a:pt x="280" y="503"/>
                  <a:pt x="278" y="503"/>
                </a:cubicBezTo>
                <a:cubicBezTo>
                  <a:pt x="278" y="503"/>
                  <a:pt x="278" y="503"/>
                  <a:pt x="278" y="513"/>
                </a:cubicBezTo>
                <a:cubicBezTo>
                  <a:pt x="281" y="513"/>
                  <a:pt x="284" y="511"/>
                  <a:pt x="286" y="511"/>
                </a:cubicBezTo>
                <a:cubicBezTo>
                  <a:pt x="288" y="510"/>
                  <a:pt x="291" y="508"/>
                  <a:pt x="293" y="507"/>
                </a:cubicBezTo>
                <a:cubicBezTo>
                  <a:pt x="293" y="507"/>
                  <a:pt x="293" y="507"/>
                  <a:pt x="293" y="566"/>
                </a:cubicBezTo>
                <a:cubicBezTo>
                  <a:pt x="293" y="566"/>
                  <a:pt x="293" y="566"/>
                  <a:pt x="304" y="566"/>
                </a:cubicBezTo>
                <a:cubicBezTo>
                  <a:pt x="304" y="566"/>
                  <a:pt x="304" y="566"/>
                  <a:pt x="304" y="492"/>
                </a:cubicBezTo>
                <a:close/>
                <a:moveTo>
                  <a:pt x="440" y="525"/>
                </a:moveTo>
                <a:cubicBezTo>
                  <a:pt x="440" y="525"/>
                  <a:pt x="440" y="525"/>
                  <a:pt x="440" y="525"/>
                </a:cubicBezTo>
                <a:cubicBezTo>
                  <a:pt x="440" y="533"/>
                  <a:pt x="440" y="533"/>
                  <a:pt x="440" y="533"/>
                </a:cubicBezTo>
                <a:cubicBezTo>
                  <a:pt x="446" y="533"/>
                  <a:pt x="447" y="536"/>
                  <a:pt x="447" y="539"/>
                </a:cubicBezTo>
                <a:cubicBezTo>
                  <a:pt x="447" y="541"/>
                  <a:pt x="447" y="543"/>
                  <a:pt x="447" y="546"/>
                </a:cubicBezTo>
                <a:cubicBezTo>
                  <a:pt x="446" y="549"/>
                  <a:pt x="446" y="551"/>
                  <a:pt x="446" y="553"/>
                </a:cubicBezTo>
                <a:cubicBezTo>
                  <a:pt x="446" y="562"/>
                  <a:pt x="452" y="566"/>
                  <a:pt x="461" y="566"/>
                </a:cubicBezTo>
                <a:cubicBezTo>
                  <a:pt x="461" y="566"/>
                  <a:pt x="461" y="566"/>
                  <a:pt x="464" y="566"/>
                </a:cubicBezTo>
                <a:cubicBezTo>
                  <a:pt x="464" y="566"/>
                  <a:pt x="464" y="566"/>
                  <a:pt x="464" y="557"/>
                </a:cubicBezTo>
                <a:cubicBezTo>
                  <a:pt x="464" y="557"/>
                  <a:pt x="464" y="557"/>
                  <a:pt x="463" y="557"/>
                </a:cubicBezTo>
                <a:cubicBezTo>
                  <a:pt x="459" y="557"/>
                  <a:pt x="458" y="554"/>
                  <a:pt x="458" y="551"/>
                </a:cubicBezTo>
                <a:cubicBezTo>
                  <a:pt x="458" y="549"/>
                  <a:pt x="458" y="548"/>
                  <a:pt x="458" y="546"/>
                </a:cubicBezTo>
                <a:cubicBezTo>
                  <a:pt x="458" y="544"/>
                  <a:pt x="459" y="542"/>
                  <a:pt x="459" y="540"/>
                </a:cubicBezTo>
                <a:cubicBezTo>
                  <a:pt x="459" y="533"/>
                  <a:pt x="456" y="530"/>
                  <a:pt x="450" y="529"/>
                </a:cubicBezTo>
                <a:cubicBezTo>
                  <a:pt x="450" y="529"/>
                  <a:pt x="450" y="529"/>
                  <a:pt x="450" y="528"/>
                </a:cubicBezTo>
                <a:cubicBezTo>
                  <a:pt x="456" y="527"/>
                  <a:pt x="459" y="525"/>
                  <a:pt x="459" y="518"/>
                </a:cubicBezTo>
                <a:cubicBezTo>
                  <a:pt x="459" y="515"/>
                  <a:pt x="458" y="513"/>
                  <a:pt x="458" y="511"/>
                </a:cubicBezTo>
                <a:cubicBezTo>
                  <a:pt x="458" y="510"/>
                  <a:pt x="458" y="508"/>
                  <a:pt x="458" y="507"/>
                </a:cubicBezTo>
                <a:cubicBezTo>
                  <a:pt x="458" y="503"/>
                  <a:pt x="459" y="501"/>
                  <a:pt x="463" y="501"/>
                </a:cubicBezTo>
                <a:cubicBezTo>
                  <a:pt x="463" y="501"/>
                  <a:pt x="463" y="501"/>
                  <a:pt x="464" y="501"/>
                </a:cubicBezTo>
                <a:cubicBezTo>
                  <a:pt x="464" y="501"/>
                  <a:pt x="464" y="501"/>
                  <a:pt x="464" y="491"/>
                </a:cubicBezTo>
                <a:cubicBezTo>
                  <a:pt x="464" y="491"/>
                  <a:pt x="464" y="491"/>
                  <a:pt x="461" y="491"/>
                </a:cubicBezTo>
                <a:cubicBezTo>
                  <a:pt x="452" y="491"/>
                  <a:pt x="446" y="496"/>
                  <a:pt x="446" y="504"/>
                </a:cubicBezTo>
                <a:cubicBezTo>
                  <a:pt x="446" y="506"/>
                  <a:pt x="446" y="509"/>
                  <a:pt x="446" y="512"/>
                </a:cubicBezTo>
                <a:cubicBezTo>
                  <a:pt x="447" y="514"/>
                  <a:pt x="447" y="516"/>
                  <a:pt x="447" y="518"/>
                </a:cubicBezTo>
                <a:cubicBezTo>
                  <a:pt x="447" y="521"/>
                  <a:pt x="446" y="524"/>
                  <a:pt x="440" y="525"/>
                </a:cubicBezTo>
                <a:close/>
                <a:moveTo>
                  <a:pt x="495" y="533"/>
                </a:moveTo>
                <a:cubicBezTo>
                  <a:pt x="495" y="533"/>
                  <a:pt x="495" y="533"/>
                  <a:pt x="495" y="533"/>
                </a:cubicBezTo>
                <a:cubicBezTo>
                  <a:pt x="495" y="525"/>
                  <a:pt x="495" y="525"/>
                  <a:pt x="495" y="525"/>
                </a:cubicBezTo>
                <a:cubicBezTo>
                  <a:pt x="489" y="524"/>
                  <a:pt x="489" y="521"/>
                  <a:pt x="489" y="518"/>
                </a:cubicBezTo>
                <a:cubicBezTo>
                  <a:pt x="489" y="516"/>
                  <a:pt x="489" y="514"/>
                  <a:pt x="489" y="512"/>
                </a:cubicBezTo>
                <a:cubicBezTo>
                  <a:pt x="489" y="509"/>
                  <a:pt x="489" y="506"/>
                  <a:pt x="489" y="504"/>
                </a:cubicBezTo>
                <a:cubicBezTo>
                  <a:pt x="489" y="496"/>
                  <a:pt x="484" y="491"/>
                  <a:pt x="475" y="491"/>
                </a:cubicBezTo>
                <a:cubicBezTo>
                  <a:pt x="475" y="491"/>
                  <a:pt x="475" y="491"/>
                  <a:pt x="471" y="491"/>
                </a:cubicBezTo>
                <a:cubicBezTo>
                  <a:pt x="471" y="491"/>
                  <a:pt x="471" y="491"/>
                  <a:pt x="471" y="501"/>
                </a:cubicBezTo>
                <a:cubicBezTo>
                  <a:pt x="471" y="501"/>
                  <a:pt x="471" y="501"/>
                  <a:pt x="473" y="501"/>
                </a:cubicBezTo>
                <a:cubicBezTo>
                  <a:pt x="476" y="501"/>
                  <a:pt x="478" y="503"/>
                  <a:pt x="478" y="507"/>
                </a:cubicBezTo>
                <a:cubicBezTo>
                  <a:pt x="478" y="508"/>
                  <a:pt x="477" y="510"/>
                  <a:pt x="477" y="511"/>
                </a:cubicBezTo>
                <a:cubicBezTo>
                  <a:pt x="477" y="513"/>
                  <a:pt x="477" y="515"/>
                  <a:pt x="477" y="518"/>
                </a:cubicBezTo>
                <a:cubicBezTo>
                  <a:pt x="477" y="525"/>
                  <a:pt x="480" y="527"/>
                  <a:pt x="486" y="528"/>
                </a:cubicBezTo>
                <a:cubicBezTo>
                  <a:pt x="486" y="528"/>
                  <a:pt x="486" y="528"/>
                  <a:pt x="486" y="529"/>
                </a:cubicBezTo>
                <a:cubicBezTo>
                  <a:pt x="480" y="530"/>
                  <a:pt x="477" y="533"/>
                  <a:pt x="477" y="540"/>
                </a:cubicBezTo>
                <a:cubicBezTo>
                  <a:pt x="477" y="542"/>
                  <a:pt x="477" y="544"/>
                  <a:pt x="477" y="546"/>
                </a:cubicBezTo>
                <a:cubicBezTo>
                  <a:pt x="477" y="548"/>
                  <a:pt x="478" y="549"/>
                  <a:pt x="478" y="551"/>
                </a:cubicBezTo>
                <a:cubicBezTo>
                  <a:pt x="478" y="554"/>
                  <a:pt x="477" y="557"/>
                  <a:pt x="473" y="557"/>
                </a:cubicBezTo>
                <a:cubicBezTo>
                  <a:pt x="473" y="557"/>
                  <a:pt x="473" y="557"/>
                  <a:pt x="471" y="557"/>
                </a:cubicBezTo>
                <a:cubicBezTo>
                  <a:pt x="471" y="557"/>
                  <a:pt x="471" y="557"/>
                  <a:pt x="471" y="566"/>
                </a:cubicBezTo>
                <a:cubicBezTo>
                  <a:pt x="471" y="566"/>
                  <a:pt x="471" y="566"/>
                  <a:pt x="475" y="566"/>
                </a:cubicBezTo>
                <a:cubicBezTo>
                  <a:pt x="484" y="566"/>
                  <a:pt x="489" y="562"/>
                  <a:pt x="489" y="553"/>
                </a:cubicBezTo>
                <a:cubicBezTo>
                  <a:pt x="489" y="551"/>
                  <a:pt x="489" y="549"/>
                  <a:pt x="489" y="546"/>
                </a:cubicBezTo>
                <a:cubicBezTo>
                  <a:pt x="489" y="543"/>
                  <a:pt x="489" y="541"/>
                  <a:pt x="489" y="539"/>
                </a:cubicBezTo>
                <a:cubicBezTo>
                  <a:pt x="489" y="536"/>
                  <a:pt x="489" y="533"/>
                  <a:pt x="495" y="533"/>
                </a:cubicBezTo>
                <a:close/>
                <a:moveTo>
                  <a:pt x="542" y="492"/>
                </a:moveTo>
                <a:cubicBezTo>
                  <a:pt x="542" y="492"/>
                  <a:pt x="542" y="492"/>
                  <a:pt x="542" y="492"/>
                </a:cubicBezTo>
                <a:cubicBezTo>
                  <a:pt x="537" y="492"/>
                  <a:pt x="537" y="492"/>
                  <a:pt x="537" y="492"/>
                </a:cubicBezTo>
                <a:cubicBezTo>
                  <a:pt x="535" y="494"/>
                  <a:pt x="533" y="495"/>
                  <a:pt x="531" y="496"/>
                </a:cubicBezTo>
                <a:cubicBezTo>
                  <a:pt x="530" y="497"/>
                  <a:pt x="527" y="498"/>
                  <a:pt x="526" y="499"/>
                </a:cubicBezTo>
                <a:cubicBezTo>
                  <a:pt x="524" y="500"/>
                  <a:pt x="522" y="500"/>
                  <a:pt x="521" y="501"/>
                </a:cubicBezTo>
                <a:cubicBezTo>
                  <a:pt x="519" y="502"/>
                  <a:pt x="517" y="503"/>
                  <a:pt x="515" y="503"/>
                </a:cubicBezTo>
                <a:cubicBezTo>
                  <a:pt x="515" y="503"/>
                  <a:pt x="515" y="503"/>
                  <a:pt x="515" y="513"/>
                </a:cubicBezTo>
                <a:cubicBezTo>
                  <a:pt x="518" y="513"/>
                  <a:pt x="521" y="511"/>
                  <a:pt x="523" y="511"/>
                </a:cubicBezTo>
                <a:cubicBezTo>
                  <a:pt x="526" y="510"/>
                  <a:pt x="528" y="508"/>
                  <a:pt x="530" y="507"/>
                </a:cubicBezTo>
                <a:cubicBezTo>
                  <a:pt x="530" y="507"/>
                  <a:pt x="530" y="507"/>
                  <a:pt x="530" y="566"/>
                </a:cubicBezTo>
                <a:cubicBezTo>
                  <a:pt x="530" y="566"/>
                  <a:pt x="530" y="566"/>
                  <a:pt x="542" y="566"/>
                </a:cubicBezTo>
                <a:cubicBezTo>
                  <a:pt x="542" y="566"/>
                  <a:pt x="542" y="566"/>
                  <a:pt x="542" y="492"/>
                </a:cubicBezTo>
                <a:close/>
                <a:moveTo>
                  <a:pt x="588" y="492"/>
                </a:moveTo>
                <a:cubicBezTo>
                  <a:pt x="588" y="492"/>
                  <a:pt x="588" y="492"/>
                  <a:pt x="588" y="492"/>
                </a:cubicBezTo>
                <a:cubicBezTo>
                  <a:pt x="583" y="492"/>
                  <a:pt x="583" y="492"/>
                  <a:pt x="583" y="492"/>
                </a:cubicBezTo>
                <a:cubicBezTo>
                  <a:pt x="581" y="494"/>
                  <a:pt x="580" y="495"/>
                  <a:pt x="578" y="496"/>
                </a:cubicBezTo>
                <a:cubicBezTo>
                  <a:pt x="576" y="497"/>
                  <a:pt x="574" y="498"/>
                  <a:pt x="573" y="499"/>
                </a:cubicBezTo>
                <a:cubicBezTo>
                  <a:pt x="571" y="500"/>
                  <a:pt x="569" y="501"/>
                  <a:pt x="568" y="502"/>
                </a:cubicBezTo>
                <a:cubicBezTo>
                  <a:pt x="566" y="503"/>
                  <a:pt x="564" y="503"/>
                  <a:pt x="562" y="503"/>
                </a:cubicBezTo>
                <a:cubicBezTo>
                  <a:pt x="562" y="503"/>
                  <a:pt x="562" y="503"/>
                  <a:pt x="562" y="513"/>
                </a:cubicBezTo>
                <a:cubicBezTo>
                  <a:pt x="565" y="513"/>
                  <a:pt x="568" y="512"/>
                  <a:pt x="570" y="511"/>
                </a:cubicBezTo>
                <a:cubicBezTo>
                  <a:pt x="573" y="510"/>
                  <a:pt x="575" y="508"/>
                  <a:pt x="577" y="507"/>
                </a:cubicBezTo>
                <a:cubicBezTo>
                  <a:pt x="577" y="507"/>
                  <a:pt x="577" y="507"/>
                  <a:pt x="577" y="566"/>
                </a:cubicBezTo>
                <a:cubicBezTo>
                  <a:pt x="577" y="566"/>
                  <a:pt x="577" y="566"/>
                  <a:pt x="588" y="566"/>
                </a:cubicBezTo>
                <a:cubicBezTo>
                  <a:pt x="588" y="566"/>
                  <a:pt x="588" y="566"/>
                  <a:pt x="588" y="492"/>
                </a:cubicBezTo>
                <a:close/>
                <a:moveTo>
                  <a:pt x="634" y="492"/>
                </a:moveTo>
                <a:cubicBezTo>
                  <a:pt x="634" y="492"/>
                  <a:pt x="634" y="492"/>
                  <a:pt x="634" y="492"/>
                </a:cubicBezTo>
                <a:cubicBezTo>
                  <a:pt x="630" y="492"/>
                  <a:pt x="630" y="492"/>
                  <a:pt x="630" y="492"/>
                </a:cubicBezTo>
                <a:cubicBezTo>
                  <a:pt x="627" y="494"/>
                  <a:pt x="626" y="495"/>
                  <a:pt x="624" y="496"/>
                </a:cubicBezTo>
                <a:cubicBezTo>
                  <a:pt x="622" y="497"/>
                  <a:pt x="620" y="498"/>
                  <a:pt x="619" y="499"/>
                </a:cubicBezTo>
                <a:cubicBezTo>
                  <a:pt x="617" y="500"/>
                  <a:pt x="615" y="501"/>
                  <a:pt x="613" y="502"/>
                </a:cubicBezTo>
                <a:cubicBezTo>
                  <a:pt x="612" y="503"/>
                  <a:pt x="609" y="503"/>
                  <a:pt x="608" y="503"/>
                </a:cubicBezTo>
                <a:cubicBezTo>
                  <a:pt x="608" y="503"/>
                  <a:pt x="608" y="503"/>
                  <a:pt x="608" y="513"/>
                </a:cubicBezTo>
                <a:cubicBezTo>
                  <a:pt x="611" y="513"/>
                  <a:pt x="614" y="512"/>
                  <a:pt x="616" y="511"/>
                </a:cubicBezTo>
                <a:cubicBezTo>
                  <a:pt x="618" y="510"/>
                  <a:pt x="621" y="508"/>
                  <a:pt x="622" y="507"/>
                </a:cubicBezTo>
                <a:cubicBezTo>
                  <a:pt x="622" y="507"/>
                  <a:pt x="622" y="507"/>
                  <a:pt x="622" y="566"/>
                </a:cubicBezTo>
                <a:cubicBezTo>
                  <a:pt x="622" y="566"/>
                  <a:pt x="622" y="566"/>
                  <a:pt x="634" y="566"/>
                </a:cubicBezTo>
                <a:cubicBezTo>
                  <a:pt x="634" y="566"/>
                  <a:pt x="634" y="566"/>
                  <a:pt x="634" y="492"/>
                </a:cubicBezTo>
                <a:close/>
                <a:moveTo>
                  <a:pt x="384" y="540"/>
                </a:moveTo>
                <a:cubicBezTo>
                  <a:pt x="384" y="541"/>
                  <a:pt x="385" y="542"/>
                  <a:pt x="385" y="544"/>
                </a:cubicBezTo>
                <a:cubicBezTo>
                  <a:pt x="386" y="546"/>
                  <a:pt x="386" y="548"/>
                  <a:pt x="387" y="549"/>
                </a:cubicBezTo>
                <a:cubicBezTo>
                  <a:pt x="387" y="551"/>
                  <a:pt x="387" y="552"/>
                  <a:pt x="387" y="554"/>
                </a:cubicBezTo>
                <a:cubicBezTo>
                  <a:pt x="388" y="557"/>
                  <a:pt x="387" y="559"/>
                  <a:pt x="383" y="559"/>
                </a:cubicBezTo>
                <a:cubicBezTo>
                  <a:pt x="381" y="559"/>
                  <a:pt x="378" y="558"/>
                  <a:pt x="375" y="558"/>
                </a:cubicBezTo>
                <a:cubicBezTo>
                  <a:pt x="375" y="558"/>
                  <a:pt x="374" y="558"/>
                  <a:pt x="374" y="559"/>
                </a:cubicBezTo>
                <a:cubicBezTo>
                  <a:pt x="372" y="560"/>
                  <a:pt x="371" y="561"/>
                  <a:pt x="369" y="563"/>
                </a:cubicBezTo>
                <a:cubicBezTo>
                  <a:pt x="367" y="565"/>
                  <a:pt x="364" y="566"/>
                  <a:pt x="362" y="564"/>
                </a:cubicBezTo>
                <a:cubicBezTo>
                  <a:pt x="360" y="561"/>
                  <a:pt x="359" y="559"/>
                  <a:pt x="357" y="556"/>
                </a:cubicBezTo>
                <a:cubicBezTo>
                  <a:pt x="356" y="555"/>
                  <a:pt x="357" y="553"/>
                  <a:pt x="359" y="552"/>
                </a:cubicBezTo>
                <a:cubicBezTo>
                  <a:pt x="356" y="552"/>
                  <a:pt x="355" y="552"/>
                  <a:pt x="353" y="552"/>
                </a:cubicBezTo>
                <a:cubicBezTo>
                  <a:pt x="352" y="554"/>
                  <a:pt x="351" y="556"/>
                  <a:pt x="351" y="557"/>
                </a:cubicBezTo>
                <a:cubicBezTo>
                  <a:pt x="351" y="558"/>
                  <a:pt x="350" y="559"/>
                  <a:pt x="350" y="560"/>
                </a:cubicBezTo>
                <a:cubicBezTo>
                  <a:pt x="350" y="563"/>
                  <a:pt x="349" y="564"/>
                  <a:pt x="346" y="564"/>
                </a:cubicBezTo>
                <a:cubicBezTo>
                  <a:pt x="343" y="563"/>
                  <a:pt x="340" y="563"/>
                  <a:pt x="337" y="561"/>
                </a:cubicBezTo>
                <a:cubicBezTo>
                  <a:pt x="335" y="561"/>
                  <a:pt x="334" y="559"/>
                  <a:pt x="335" y="557"/>
                </a:cubicBezTo>
                <a:cubicBezTo>
                  <a:pt x="335" y="557"/>
                  <a:pt x="335" y="556"/>
                  <a:pt x="336" y="556"/>
                </a:cubicBezTo>
                <a:cubicBezTo>
                  <a:pt x="333" y="555"/>
                  <a:pt x="331" y="554"/>
                  <a:pt x="329" y="552"/>
                </a:cubicBezTo>
                <a:cubicBezTo>
                  <a:pt x="328" y="552"/>
                  <a:pt x="327" y="550"/>
                  <a:pt x="326" y="548"/>
                </a:cubicBezTo>
                <a:cubicBezTo>
                  <a:pt x="325" y="546"/>
                  <a:pt x="325" y="544"/>
                  <a:pt x="327" y="543"/>
                </a:cubicBezTo>
                <a:cubicBezTo>
                  <a:pt x="330" y="540"/>
                  <a:pt x="331" y="538"/>
                  <a:pt x="330" y="534"/>
                </a:cubicBezTo>
                <a:cubicBezTo>
                  <a:pt x="330" y="532"/>
                  <a:pt x="330" y="529"/>
                  <a:pt x="330" y="528"/>
                </a:cubicBezTo>
                <a:cubicBezTo>
                  <a:pt x="329" y="527"/>
                  <a:pt x="327" y="527"/>
                  <a:pt x="326" y="525"/>
                </a:cubicBezTo>
                <a:cubicBezTo>
                  <a:pt x="325" y="524"/>
                  <a:pt x="324" y="522"/>
                  <a:pt x="324" y="520"/>
                </a:cubicBezTo>
                <a:cubicBezTo>
                  <a:pt x="324" y="517"/>
                  <a:pt x="327" y="514"/>
                  <a:pt x="330" y="514"/>
                </a:cubicBezTo>
                <a:cubicBezTo>
                  <a:pt x="331" y="514"/>
                  <a:pt x="331" y="515"/>
                  <a:pt x="331" y="516"/>
                </a:cubicBezTo>
                <a:cubicBezTo>
                  <a:pt x="331" y="517"/>
                  <a:pt x="331" y="518"/>
                  <a:pt x="331" y="519"/>
                </a:cubicBezTo>
                <a:cubicBezTo>
                  <a:pt x="331" y="519"/>
                  <a:pt x="330" y="519"/>
                  <a:pt x="330" y="519"/>
                </a:cubicBezTo>
                <a:cubicBezTo>
                  <a:pt x="329" y="520"/>
                  <a:pt x="329" y="521"/>
                  <a:pt x="328" y="523"/>
                </a:cubicBezTo>
                <a:cubicBezTo>
                  <a:pt x="329" y="523"/>
                  <a:pt x="330" y="523"/>
                  <a:pt x="331" y="522"/>
                </a:cubicBezTo>
                <a:cubicBezTo>
                  <a:pt x="332" y="521"/>
                  <a:pt x="332" y="520"/>
                  <a:pt x="333" y="519"/>
                </a:cubicBezTo>
                <a:cubicBezTo>
                  <a:pt x="338" y="512"/>
                  <a:pt x="343" y="508"/>
                  <a:pt x="351" y="507"/>
                </a:cubicBezTo>
                <a:cubicBezTo>
                  <a:pt x="354" y="506"/>
                  <a:pt x="358" y="505"/>
                  <a:pt x="360" y="502"/>
                </a:cubicBezTo>
                <a:cubicBezTo>
                  <a:pt x="360" y="502"/>
                  <a:pt x="361" y="502"/>
                  <a:pt x="361" y="502"/>
                </a:cubicBezTo>
                <a:cubicBezTo>
                  <a:pt x="364" y="501"/>
                  <a:pt x="365" y="499"/>
                  <a:pt x="367" y="497"/>
                </a:cubicBezTo>
                <a:cubicBezTo>
                  <a:pt x="375" y="489"/>
                  <a:pt x="387" y="489"/>
                  <a:pt x="394" y="496"/>
                </a:cubicBezTo>
                <a:cubicBezTo>
                  <a:pt x="397" y="498"/>
                  <a:pt x="400" y="500"/>
                  <a:pt x="402" y="502"/>
                </a:cubicBezTo>
                <a:cubicBezTo>
                  <a:pt x="403" y="503"/>
                  <a:pt x="405" y="504"/>
                  <a:pt x="406" y="506"/>
                </a:cubicBezTo>
                <a:cubicBezTo>
                  <a:pt x="407" y="508"/>
                  <a:pt x="407" y="508"/>
                  <a:pt x="409" y="507"/>
                </a:cubicBezTo>
                <a:cubicBezTo>
                  <a:pt x="409" y="506"/>
                  <a:pt x="410" y="506"/>
                  <a:pt x="411" y="505"/>
                </a:cubicBezTo>
                <a:cubicBezTo>
                  <a:pt x="413" y="502"/>
                  <a:pt x="416" y="502"/>
                  <a:pt x="417" y="505"/>
                </a:cubicBezTo>
                <a:cubicBezTo>
                  <a:pt x="418" y="508"/>
                  <a:pt x="419" y="511"/>
                  <a:pt x="420" y="514"/>
                </a:cubicBezTo>
                <a:cubicBezTo>
                  <a:pt x="420" y="519"/>
                  <a:pt x="420" y="523"/>
                  <a:pt x="418" y="527"/>
                </a:cubicBezTo>
                <a:cubicBezTo>
                  <a:pt x="416" y="534"/>
                  <a:pt x="411" y="537"/>
                  <a:pt x="405" y="537"/>
                </a:cubicBezTo>
                <a:cubicBezTo>
                  <a:pt x="404" y="537"/>
                  <a:pt x="403" y="537"/>
                  <a:pt x="403" y="537"/>
                </a:cubicBezTo>
                <a:cubicBezTo>
                  <a:pt x="400" y="537"/>
                  <a:pt x="399" y="537"/>
                  <a:pt x="398" y="540"/>
                </a:cubicBezTo>
                <a:cubicBezTo>
                  <a:pt x="397" y="544"/>
                  <a:pt x="391" y="546"/>
                  <a:pt x="388" y="542"/>
                </a:cubicBezTo>
                <a:cubicBezTo>
                  <a:pt x="387" y="541"/>
                  <a:pt x="386" y="540"/>
                  <a:pt x="385" y="539"/>
                </a:cubicBezTo>
                <a:cubicBezTo>
                  <a:pt x="384" y="540"/>
                  <a:pt x="384" y="540"/>
                  <a:pt x="384" y="540"/>
                </a:cubicBezTo>
                <a:close/>
                <a:moveTo>
                  <a:pt x="378" y="535"/>
                </a:moveTo>
                <a:cubicBezTo>
                  <a:pt x="382" y="537"/>
                  <a:pt x="385" y="538"/>
                  <a:pt x="388" y="541"/>
                </a:cubicBezTo>
                <a:cubicBezTo>
                  <a:pt x="390" y="542"/>
                  <a:pt x="392" y="543"/>
                  <a:pt x="394" y="542"/>
                </a:cubicBezTo>
                <a:cubicBezTo>
                  <a:pt x="396" y="542"/>
                  <a:pt x="398" y="540"/>
                  <a:pt x="398" y="537"/>
                </a:cubicBezTo>
                <a:cubicBezTo>
                  <a:pt x="398" y="537"/>
                  <a:pt x="397" y="537"/>
                  <a:pt x="397" y="537"/>
                </a:cubicBezTo>
                <a:cubicBezTo>
                  <a:pt x="396" y="539"/>
                  <a:pt x="395" y="540"/>
                  <a:pt x="394" y="541"/>
                </a:cubicBezTo>
                <a:cubicBezTo>
                  <a:pt x="393" y="542"/>
                  <a:pt x="392" y="542"/>
                  <a:pt x="391" y="541"/>
                </a:cubicBezTo>
                <a:cubicBezTo>
                  <a:pt x="391" y="541"/>
                  <a:pt x="390" y="540"/>
                  <a:pt x="390" y="539"/>
                </a:cubicBezTo>
                <a:cubicBezTo>
                  <a:pt x="390" y="537"/>
                  <a:pt x="391" y="535"/>
                  <a:pt x="391" y="533"/>
                </a:cubicBezTo>
                <a:cubicBezTo>
                  <a:pt x="394" y="534"/>
                  <a:pt x="397" y="535"/>
                  <a:pt x="401" y="535"/>
                </a:cubicBezTo>
                <a:cubicBezTo>
                  <a:pt x="408" y="537"/>
                  <a:pt x="414" y="535"/>
                  <a:pt x="417" y="526"/>
                </a:cubicBezTo>
                <a:cubicBezTo>
                  <a:pt x="419" y="521"/>
                  <a:pt x="418" y="517"/>
                  <a:pt x="418" y="512"/>
                </a:cubicBezTo>
                <a:cubicBezTo>
                  <a:pt x="417" y="510"/>
                  <a:pt x="416" y="508"/>
                  <a:pt x="416" y="506"/>
                </a:cubicBezTo>
                <a:cubicBezTo>
                  <a:pt x="415" y="504"/>
                  <a:pt x="414" y="504"/>
                  <a:pt x="412" y="506"/>
                </a:cubicBezTo>
                <a:cubicBezTo>
                  <a:pt x="411" y="507"/>
                  <a:pt x="409" y="509"/>
                  <a:pt x="407" y="510"/>
                </a:cubicBezTo>
                <a:cubicBezTo>
                  <a:pt x="407" y="510"/>
                  <a:pt x="406" y="511"/>
                  <a:pt x="406" y="512"/>
                </a:cubicBezTo>
                <a:cubicBezTo>
                  <a:pt x="407" y="515"/>
                  <a:pt x="406" y="518"/>
                  <a:pt x="405" y="521"/>
                </a:cubicBezTo>
                <a:cubicBezTo>
                  <a:pt x="405" y="519"/>
                  <a:pt x="405" y="518"/>
                  <a:pt x="405" y="516"/>
                </a:cubicBezTo>
                <a:cubicBezTo>
                  <a:pt x="405" y="515"/>
                  <a:pt x="405" y="515"/>
                  <a:pt x="405" y="514"/>
                </a:cubicBezTo>
                <a:cubicBezTo>
                  <a:pt x="404" y="515"/>
                  <a:pt x="403" y="515"/>
                  <a:pt x="403" y="515"/>
                </a:cubicBezTo>
                <a:cubicBezTo>
                  <a:pt x="403" y="516"/>
                  <a:pt x="402" y="518"/>
                  <a:pt x="401" y="519"/>
                </a:cubicBezTo>
                <a:cubicBezTo>
                  <a:pt x="401" y="519"/>
                  <a:pt x="401" y="519"/>
                  <a:pt x="401" y="519"/>
                </a:cubicBezTo>
                <a:cubicBezTo>
                  <a:pt x="401" y="518"/>
                  <a:pt x="402" y="516"/>
                  <a:pt x="402" y="514"/>
                </a:cubicBezTo>
                <a:cubicBezTo>
                  <a:pt x="401" y="514"/>
                  <a:pt x="400" y="515"/>
                  <a:pt x="400" y="516"/>
                </a:cubicBezTo>
                <a:cubicBezTo>
                  <a:pt x="399" y="516"/>
                  <a:pt x="399" y="517"/>
                  <a:pt x="398" y="518"/>
                </a:cubicBezTo>
                <a:cubicBezTo>
                  <a:pt x="399" y="514"/>
                  <a:pt x="399" y="514"/>
                  <a:pt x="405" y="513"/>
                </a:cubicBezTo>
                <a:cubicBezTo>
                  <a:pt x="405" y="512"/>
                  <a:pt x="404" y="512"/>
                  <a:pt x="404" y="512"/>
                </a:cubicBezTo>
                <a:cubicBezTo>
                  <a:pt x="401" y="512"/>
                  <a:pt x="400" y="511"/>
                  <a:pt x="400" y="508"/>
                </a:cubicBezTo>
                <a:cubicBezTo>
                  <a:pt x="402" y="508"/>
                  <a:pt x="403" y="508"/>
                  <a:pt x="405" y="507"/>
                </a:cubicBezTo>
                <a:cubicBezTo>
                  <a:pt x="403" y="505"/>
                  <a:pt x="402" y="502"/>
                  <a:pt x="398" y="502"/>
                </a:cubicBezTo>
                <a:cubicBezTo>
                  <a:pt x="398" y="502"/>
                  <a:pt x="398" y="501"/>
                  <a:pt x="398" y="501"/>
                </a:cubicBezTo>
                <a:cubicBezTo>
                  <a:pt x="395" y="499"/>
                  <a:pt x="393" y="497"/>
                  <a:pt x="390" y="495"/>
                </a:cubicBezTo>
                <a:cubicBezTo>
                  <a:pt x="388" y="493"/>
                  <a:pt x="385" y="493"/>
                  <a:pt x="383" y="493"/>
                </a:cubicBezTo>
                <a:cubicBezTo>
                  <a:pt x="380" y="493"/>
                  <a:pt x="376" y="494"/>
                  <a:pt x="373" y="495"/>
                </a:cubicBezTo>
                <a:cubicBezTo>
                  <a:pt x="371" y="496"/>
                  <a:pt x="368" y="498"/>
                  <a:pt x="366" y="501"/>
                </a:cubicBezTo>
                <a:cubicBezTo>
                  <a:pt x="368" y="501"/>
                  <a:pt x="369" y="501"/>
                  <a:pt x="370" y="501"/>
                </a:cubicBezTo>
                <a:cubicBezTo>
                  <a:pt x="370" y="501"/>
                  <a:pt x="369" y="502"/>
                  <a:pt x="368" y="502"/>
                </a:cubicBezTo>
                <a:cubicBezTo>
                  <a:pt x="366" y="502"/>
                  <a:pt x="363" y="502"/>
                  <a:pt x="361" y="504"/>
                </a:cubicBezTo>
                <a:cubicBezTo>
                  <a:pt x="358" y="508"/>
                  <a:pt x="354" y="512"/>
                  <a:pt x="350" y="516"/>
                </a:cubicBezTo>
                <a:cubicBezTo>
                  <a:pt x="349" y="518"/>
                  <a:pt x="348" y="520"/>
                  <a:pt x="347" y="523"/>
                </a:cubicBezTo>
                <a:cubicBezTo>
                  <a:pt x="347" y="523"/>
                  <a:pt x="347" y="524"/>
                  <a:pt x="347" y="524"/>
                </a:cubicBezTo>
                <a:cubicBezTo>
                  <a:pt x="348" y="526"/>
                  <a:pt x="349" y="528"/>
                  <a:pt x="351" y="530"/>
                </a:cubicBezTo>
                <a:cubicBezTo>
                  <a:pt x="352" y="529"/>
                  <a:pt x="353" y="527"/>
                  <a:pt x="354" y="526"/>
                </a:cubicBezTo>
                <a:cubicBezTo>
                  <a:pt x="354" y="527"/>
                  <a:pt x="354" y="528"/>
                  <a:pt x="353" y="530"/>
                </a:cubicBezTo>
                <a:cubicBezTo>
                  <a:pt x="352" y="531"/>
                  <a:pt x="351" y="532"/>
                  <a:pt x="351" y="534"/>
                </a:cubicBezTo>
                <a:cubicBezTo>
                  <a:pt x="351" y="535"/>
                  <a:pt x="351" y="536"/>
                  <a:pt x="351" y="537"/>
                </a:cubicBezTo>
                <a:cubicBezTo>
                  <a:pt x="354" y="540"/>
                  <a:pt x="357" y="540"/>
                  <a:pt x="361" y="538"/>
                </a:cubicBezTo>
                <a:cubicBezTo>
                  <a:pt x="363" y="537"/>
                  <a:pt x="366" y="535"/>
                  <a:pt x="369" y="535"/>
                </a:cubicBezTo>
                <a:cubicBezTo>
                  <a:pt x="370" y="534"/>
                  <a:pt x="371" y="533"/>
                  <a:pt x="371" y="532"/>
                </a:cubicBezTo>
                <a:cubicBezTo>
                  <a:pt x="371" y="529"/>
                  <a:pt x="371" y="525"/>
                  <a:pt x="371" y="522"/>
                </a:cubicBezTo>
                <a:cubicBezTo>
                  <a:pt x="371" y="519"/>
                  <a:pt x="371" y="516"/>
                  <a:pt x="371" y="513"/>
                </a:cubicBezTo>
                <a:cubicBezTo>
                  <a:pt x="372" y="516"/>
                  <a:pt x="372" y="518"/>
                  <a:pt x="373" y="521"/>
                </a:cubicBezTo>
                <a:cubicBezTo>
                  <a:pt x="374" y="525"/>
                  <a:pt x="374" y="530"/>
                  <a:pt x="372" y="534"/>
                </a:cubicBezTo>
                <a:cubicBezTo>
                  <a:pt x="372" y="535"/>
                  <a:pt x="371" y="536"/>
                  <a:pt x="371" y="536"/>
                </a:cubicBezTo>
                <a:cubicBezTo>
                  <a:pt x="367" y="536"/>
                  <a:pt x="364" y="538"/>
                  <a:pt x="361" y="540"/>
                </a:cubicBezTo>
                <a:cubicBezTo>
                  <a:pt x="356" y="543"/>
                  <a:pt x="352" y="541"/>
                  <a:pt x="349" y="537"/>
                </a:cubicBezTo>
                <a:cubicBezTo>
                  <a:pt x="349" y="537"/>
                  <a:pt x="349" y="535"/>
                  <a:pt x="349" y="535"/>
                </a:cubicBezTo>
                <a:cubicBezTo>
                  <a:pt x="350" y="533"/>
                  <a:pt x="349" y="531"/>
                  <a:pt x="347" y="529"/>
                </a:cubicBezTo>
                <a:cubicBezTo>
                  <a:pt x="346" y="527"/>
                  <a:pt x="344" y="524"/>
                  <a:pt x="345" y="521"/>
                </a:cubicBezTo>
                <a:cubicBezTo>
                  <a:pt x="346" y="519"/>
                  <a:pt x="347" y="518"/>
                  <a:pt x="348" y="516"/>
                </a:cubicBezTo>
                <a:cubicBezTo>
                  <a:pt x="350" y="514"/>
                  <a:pt x="352" y="511"/>
                  <a:pt x="354" y="508"/>
                </a:cubicBezTo>
                <a:cubicBezTo>
                  <a:pt x="354" y="508"/>
                  <a:pt x="353" y="508"/>
                  <a:pt x="353" y="508"/>
                </a:cubicBezTo>
                <a:cubicBezTo>
                  <a:pt x="348" y="510"/>
                  <a:pt x="343" y="511"/>
                  <a:pt x="340" y="514"/>
                </a:cubicBezTo>
                <a:cubicBezTo>
                  <a:pt x="335" y="519"/>
                  <a:pt x="332" y="524"/>
                  <a:pt x="332" y="531"/>
                </a:cubicBezTo>
                <a:cubicBezTo>
                  <a:pt x="331" y="537"/>
                  <a:pt x="334" y="543"/>
                  <a:pt x="337" y="549"/>
                </a:cubicBezTo>
                <a:cubicBezTo>
                  <a:pt x="338" y="550"/>
                  <a:pt x="338" y="552"/>
                  <a:pt x="338" y="553"/>
                </a:cubicBezTo>
                <a:cubicBezTo>
                  <a:pt x="338" y="554"/>
                  <a:pt x="338" y="556"/>
                  <a:pt x="337" y="557"/>
                </a:cubicBezTo>
                <a:cubicBezTo>
                  <a:pt x="336" y="559"/>
                  <a:pt x="337" y="560"/>
                  <a:pt x="338" y="560"/>
                </a:cubicBezTo>
                <a:cubicBezTo>
                  <a:pt x="341" y="561"/>
                  <a:pt x="344" y="561"/>
                  <a:pt x="347" y="562"/>
                </a:cubicBezTo>
                <a:cubicBezTo>
                  <a:pt x="347" y="562"/>
                  <a:pt x="348" y="561"/>
                  <a:pt x="348" y="561"/>
                </a:cubicBezTo>
                <a:cubicBezTo>
                  <a:pt x="349" y="559"/>
                  <a:pt x="349" y="558"/>
                  <a:pt x="349" y="557"/>
                </a:cubicBezTo>
                <a:cubicBezTo>
                  <a:pt x="351" y="555"/>
                  <a:pt x="351" y="552"/>
                  <a:pt x="351" y="549"/>
                </a:cubicBezTo>
                <a:cubicBezTo>
                  <a:pt x="351" y="549"/>
                  <a:pt x="351" y="548"/>
                  <a:pt x="351" y="548"/>
                </a:cubicBezTo>
                <a:cubicBezTo>
                  <a:pt x="351" y="548"/>
                  <a:pt x="351" y="548"/>
                  <a:pt x="351" y="547"/>
                </a:cubicBezTo>
                <a:cubicBezTo>
                  <a:pt x="352" y="550"/>
                  <a:pt x="353" y="550"/>
                  <a:pt x="355" y="550"/>
                </a:cubicBezTo>
                <a:cubicBezTo>
                  <a:pt x="356" y="550"/>
                  <a:pt x="357" y="550"/>
                  <a:pt x="358" y="550"/>
                </a:cubicBezTo>
                <a:cubicBezTo>
                  <a:pt x="360" y="550"/>
                  <a:pt x="363" y="551"/>
                  <a:pt x="364" y="546"/>
                </a:cubicBezTo>
                <a:cubicBezTo>
                  <a:pt x="364" y="549"/>
                  <a:pt x="364" y="550"/>
                  <a:pt x="364" y="551"/>
                </a:cubicBezTo>
                <a:cubicBezTo>
                  <a:pt x="363" y="552"/>
                  <a:pt x="362" y="553"/>
                  <a:pt x="360" y="553"/>
                </a:cubicBezTo>
                <a:cubicBezTo>
                  <a:pt x="359" y="554"/>
                  <a:pt x="358" y="556"/>
                  <a:pt x="359" y="556"/>
                </a:cubicBezTo>
                <a:cubicBezTo>
                  <a:pt x="360" y="559"/>
                  <a:pt x="362" y="561"/>
                  <a:pt x="363" y="563"/>
                </a:cubicBezTo>
                <a:cubicBezTo>
                  <a:pt x="365" y="564"/>
                  <a:pt x="367" y="563"/>
                  <a:pt x="368" y="562"/>
                </a:cubicBezTo>
                <a:cubicBezTo>
                  <a:pt x="369" y="561"/>
                  <a:pt x="369" y="560"/>
                  <a:pt x="370" y="560"/>
                </a:cubicBezTo>
                <a:cubicBezTo>
                  <a:pt x="372" y="558"/>
                  <a:pt x="373" y="557"/>
                  <a:pt x="375" y="556"/>
                </a:cubicBezTo>
                <a:cubicBezTo>
                  <a:pt x="379" y="552"/>
                  <a:pt x="381" y="546"/>
                  <a:pt x="383" y="540"/>
                </a:cubicBezTo>
                <a:cubicBezTo>
                  <a:pt x="383" y="539"/>
                  <a:pt x="382" y="538"/>
                  <a:pt x="382" y="538"/>
                </a:cubicBezTo>
                <a:cubicBezTo>
                  <a:pt x="381" y="537"/>
                  <a:pt x="380" y="536"/>
                  <a:pt x="378" y="535"/>
                </a:cubicBezTo>
                <a:close/>
                <a:moveTo>
                  <a:pt x="331" y="542"/>
                </a:moveTo>
                <a:cubicBezTo>
                  <a:pt x="331" y="542"/>
                  <a:pt x="329" y="543"/>
                  <a:pt x="328" y="544"/>
                </a:cubicBezTo>
                <a:cubicBezTo>
                  <a:pt x="327" y="545"/>
                  <a:pt x="327" y="546"/>
                  <a:pt x="327" y="546"/>
                </a:cubicBezTo>
                <a:cubicBezTo>
                  <a:pt x="327" y="549"/>
                  <a:pt x="331" y="554"/>
                  <a:pt x="334" y="553"/>
                </a:cubicBezTo>
                <a:cubicBezTo>
                  <a:pt x="336" y="553"/>
                  <a:pt x="337" y="552"/>
                  <a:pt x="336" y="550"/>
                </a:cubicBezTo>
                <a:cubicBezTo>
                  <a:pt x="334" y="547"/>
                  <a:pt x="333" y="544"/>
                  <a:pt x="331" y="542"/>
                </a:cubicBezTo>
                <a:close/>
                <a:moveTo>
                  <a:pt x="384" y="544"/>
                </a:moveTo>
                <a:cubicBezTo>
                  <a:pt x="382" y="548"/>
                  <a:pt x="379" y="553"/>
                  <a:pt x="377" y="557"/>
                </a:cubicBezTo>
                <a:cubicBezTo>
                  <a:pt x="380" y="557"/>
                  <a:pt x="382" y="557"/>
                  <a:pt x="385" y="557"/>
                </a:cubicBezTo>
                <a:cubicBezTo>
                  <a:pt x="385" y="557"/>
                  <a:pt x="385" y="556"/>
                  <a:pt x="385" y="556"/>
                </a:cubicBezTo>
                <a:cubicBezTo>
                  <a:pt x="385" y="553"/>
                  <a:pt x="385" y="550"/>
                  <a:pt x="385" y="548"/>
                </a:cubicBezTo>
                <a:cubicBezTo>
                  <a:pt x="385" y="546"/>
                  <a:pt x="384" y="545"/>
                  <a:pt x="384" y="544"/>
                </a:cubicBezTo>
                <a:close/>
                <a:moveTo>
                  <a:pt x="331" y="523"/>
                </a:moveTo>
                <a:cubicBezTo>
                  <a:pt x="331" y="524"/>
                  <a:pt x="330" y="524"/>
                  <a:pt x="329" y="524"/>
                </a:cubicBezTo>
                <a:cubicBezTo>
                  <a:pt x="329" y="524"/>
                  <a:pt x="328" y="524"/>
                  <a:pt x="328" y="524"/>
                </a:cubicBezTo>
                <a:cubicBezTo>
                  <a:pt x="327" y="523"/>
                  <a:pt x="327" y="523"/>
                  <a:pt x="327" y="522"/>
                </a:cubicBezTo>
                <a:cubicBezTo>
                  <a:pt x="328" y="520"/>
                  <a:pt x="328" y="518"/>
                  <a:pt x="329" y="516"/>
                </a:cubicBezTo>
                <a:cubicBezTo>
                  <a:pt x="329" y="516"/>
                  <a:pt x="329" y="516"/>
                  <a:pt x="328" y="516"/>
                </a:cubicBezTo>
                <a:cubicBezTo>
                  <a:pt x="327" y="517"/>
                  <a:pt x="326" y="518"/>
                  <a:pt x="325" y="519"/>
                </a:cubicBezTo>
                <a:cubicBezTo>
                  <a:pt x="325" y="520"/>
                  <a:pt x="326" y="525"/>
                  <a:pt x="328" y="526"/>
                </a:cubicBezTo>
                <a:cubicBezTo>
                  <a:pt x="329" y="527"/>
                  <a:pt x="331" y="525"/>
                  <a:pt x="331" y="523"/>
                </a:cubicBezTo>
                <a:close/>
                <a:moveTo>
                  <a:pt x="331" y="542"/>
                </a:moveTo>
                <a:cubicBezTo>
                  <a:pt x="330" y="543"/>
                  <a:pt x="329" y="543"/>
                  <a:pt x="328" y="544"/>
                </a:cubicBezTo>
                <a:cubicBezTo>
                  <a:pt x="327" y="545"/>
                  <a:pt x="327" y="546"/>
                  <a:pt x="327" y="546"/>
                </a:cubicBezTo>
                <a:cubicBezTo>
                  <a:pt x="327" y="549"/>
                  <a:pt x="331" y="553"/>
                  <a:pt x="334" y="553"/>
                </a:cubicBezTo>
                <a:cubicBezTo>
                  <a:pt x="336" y="553"/>
                  <a:pt x="337" y="552"/>
                  <a:pt x="336" y="550"/>
                </a:cubicBezTo>
                <a:cubicBezTo>
                  <a:pt x="334" y="547"/>
                  <a:pt x="333" y="544"/>
                  <a:pt x="331" y="542"/>
                </a:cubicBezTo>
                <a:close/>
                <a:moveTo>
                  <a:pt x="384" y="544"/>
                </a:moveTo>
                <a:cubicBezTo>
                  <a:pt x="381" y="548"/>
                  <a:pt x="379" y="553"/>
                  <a:pt x="377" y="557"/>
                </a:cubicBezTo>
                <a:cubicBezTo>
                  <a:pt x="379" y="557"/>
                  <a:pt x="382" y="558"/>
                  <a:pt x="385" y="557"/>
                </a:cubicBezTo>
                <a:cubicBezTo>
                  <a:pt x="385" y="557"/>
                  <a:pt x="385" y="556"/>
                  <a:pt x="385" y="556"/>
                </a:cubicBezTo>
                <a:cubicBezTo>
                  <a:pt x="385" y="553"/>
                  <a:pt x="385" y="550"/>
                  <a:pt x="385" y="548"/>
                </a:cubicBezTo>
                <a:cubicBezTo>
                  <a:pt x="385" y="547"/>
                  <a:pt x="384" y="545"/>
                  <a:pt x="384" y="544"/>
                </a:cubicBezTo>
                <a:close/>
                <a:moveTo>
                  <a:pt x="331" y="523"/>
                </a:moveTo>
                <a:cubicBezTo>
                  <a:pt x="330" y="524"/>
                  <a:pt x="330" y="524"/>
                  <a:pt x="329" y="524"/>
                </a:cubicBezTo>
                <a:cubicBezTo>
                  <a:pt x="328" y="524"/>
                  <a:pt x="328" y="524"/>
                  <a:pt x="328" y="524"/>
                </a:cubicBezTo>
                <a:cubicBezTo>
                  <a:pt x="327" y="523"/>
                  <a:pt x="327" y="523"/>
                  <a:pt x="327" y="522"/>
                </a:cubicBezTo>
                <a:cubicBezTo>
                  <a:pt x="328" y="520"/>
                  <a:pt x="328" y="518"/>
                  <a:pt x="329" y="516"/>
                </a:cubicBezTo>
                <a:cubicBezTo>
                  <a:pt x="328" y="516"/>
                  <a:pt x="328" y="516"/>
                  <a:pt x="328" y="516"/>
                </a:cubicBezTo>
                <a:cubicBezTo>
                  <a:pt x="327" y="517"/>
                  <a:pt x="326" y="517"/>
                  <a:pt x="326" y="519"/>
                </a:cubicBezTo>
                <a:cubicBezTo>
                  <a:pt x="325" y="520"/>
                  <a:pt x="326" y="525"/>
                  <a:pt x="328" y="526"/>
                </a:cubicBezTo>
                <a:cubicBezTo>
                  <a:pt x="329" y="526"/>
                  <a:pt x="331" y="525"/>
                  <a:pt x="331" y="523"/>
                </a:cubicBezTo>
                <a:close/>
                <a:moveTo>
                  <a:pt x="383" y="515"/>
                </a:moveTo>
                <a:cubicBezTo>
                  <a:pt x="387" y="512"/>
                  <a:pt x="387" y="512"/>
                  <a:pt x="391" y="511"/>
                </a:cubicBezTo>
                <a:cubicBezTo>
                  <a:pt x="391" y="512"/>
                  <a:pt x="392" y="514"/>
                  <a:pt x="393" y="514"/>
                </a:cubicBezTo>
                <a:cubicBezTo>
                  <a:pt x="391" y="515"/>
                  <a:pt x="389" y="516"/>
                  <a:pt x="387" y="517"/>
                </a:cubicBezTo>
                <a:cubicBezTo>
                  <a:pt x="386" y="517"/>
                  <a:pt x="386" y="516"/>
                  <a:pt x="385" y="515"/>
                </a:cubicBezTo>
                <a:cubicBezTo>
                  <a:pt x="385" y="515"/>
                  <a:pt x="384" y="515"/>
                  <a:pt x="383" y="515"/>
                </a:cubicBezTo>
                <a:close/>
                <a:moveTo>
                  <a:pt x="389" y="515"/>
                </a:moveTo>
                <a:cubicBezTo>
                  <a:pt x="389" y="514"/>
                  <a:pt x="388" y="514"/>
                  <a:pt x="387" y="514"/>
                </a:cubicBezTo>
                <a:cubicBezTo>
                  <a:pt x="387" y="514"/>
                  <a:pt x="386" y="515"/>
                  <a:pt x="386" y="515"/>
                </a:cubicBezTo>
                <a:cubicBezTo>
                  <a:pt x="386" y="515"/>
                  <a:pt x="387" y="516"/>
                  <a:pt x="387" y="516"/>
                </a:cubicBezTo>
                <a:cubicBezTo>
                  <a:pt x="388" y="516"/>
                  <a:pt x="388" y="515"/>
                  <a:pt x="389" y="515"/>
                </a:cubicBezTo>
                <a:close/>
                <a:moveTo>
                  <a:pt x="370" y="505"/>
                </a:moveTo>
                <a:cubicBezTo>
                  <a:pt x="364" y="504"/>
                  <a:pt x="361" y="507"/>
                  <a:pt x="360" y="515"/>
                </a:cubicBezTo>
                <a:cubicBezTo>
                  <a:pt x="361" y="513"/>
                  <a:pt x="362" y="510"/>
                  <a:pt x="363" y="508"/>
                </a:cubicBezTo>
                <a:cubicBezTo>
                  <a:pt x="364" y="508"/>
                  <a:pt x="364" y="508"/>
                  <a:pt x="364" y="508"/>
                </a:cubicBezTo>
                <a:cubicBezTo>
                  <a:pt x="364" y="509"/>
                  <a:pt x="364" y="510"/>
                  <a:pt x="364" y="511"/>
                </a:cubicBezTo>
                <a:cubicBezTo>
                  <a:pt x="365" y="508"/>
                  <a:pt x="367" y="506"/>
                  <a:pt x="370" y="505"/>
                </a:cubicBezTo>
                <a:close/>
                <a:moveTo>
                  <a:pt x="414" y="507"/>
                </a:moveTo>
                <a:cubicBezTo>
                  <a:pt x="412" y="508"/>
                  <a:pt x="410" y="510"/>
                  <a:pt x="409" y="511"/>
                </a:cubicBezTo>
                <a:cubicBezTo>
                  <a:pt x="411" y="511"/>
                  <a:pt x="413" y="510"/>
                  <a:pt x="414" y="507"/>
                </a:cubicBezTo>
                <a:close/>
                <a:moveTo>
                  <a:pt x="381" y="509"/>
                </a:moveTo>
                <a:cubicBezTo>
                  <a:pt x="382" y="508"/>
                  <a:pt x="383" y="506"/>
                  <a:pt x="384" y="505"/>
                </a:cubicBezTo>
                <a:cubicBezTo>
                  <a:pt x="381" y="506"/>
                  <a:pt x="380" y="507"/>
                  <a:pt x="381" y="509"/>
                </a:cubicBezTo>
                <a:close/>
                <a:moveTo>
                  <a:pt x="391" y="530"/>
                </a:moveTo>
                <a:cubicBezTo>
                  <a:pt x="389" y="531"/>
                  <a:pt x="388" y="531"/>
                  <a:pt x="388" y="532"/>
                </a:cubicBezTo>
                <a:cubicBezTo>
                  <a:pt x="389" y="532"/>
                  <a:pt x="390" y="531"/>
                  <a:pt x="391" y="530"/>
                </a:cubicBezTo>
                <a:close/>
                <a:moveTo>
                  <a:pt x="390" y="515"/>
                </a:moveTo>
                <a:cubicBezTo>
                  <a:pt x="389" y="514"/>
                  <a:pt x="388" y="514"/>
                  <a:pt x="388" y="514"/>
                </a:cubicBezTo>
                <a:cubicBezTo>
                  <a:pt x="387" y="514"/>
                  <a:pt x="386" y="515"/>
                  <a:pt x="386" y="515"/>
                </a:cubicBezTo>
                <a:cubicBezTo>
                  <a:pt x="386" y="516"/>
                  <a:pt x="387" y="516"/>
                  <a:pt x="387" y="516"/>
                </a:cubicBezTo>
                <a:cubicBezTo>
                  <a:pt x="388" y="516"/>
                  <a:pt x="388" y="516"/>
                  <a:pt x="390" y="515"/>
                </a:cubicBezTo>
                <a:close/>
                <a:moveTo>
                  <a:pt x="680" y="492"/>
                </a:moveTo>
                <a:cubicBezTo>
                  <a:pt x="680" y="492"/>
                  <a:pt x="680" y="492"/>
                  <a:pt x="680" y="492"/>
                </a:cubicBezTo>
                <a:cubicBezTo>
                  <a:pt x="676" y="492"/>
                  <a:pt x="676" y="492"/>
                  <a:pt x="676" y="492"/>
                </a:cubicBezTo>
                <a:cubicBezTo>
                  <a:pt x="674" y="494"/>
                  <a:pt x="672" y="495"/>
                  <a:pt x="670" y="496"/>
                </a:cubicBezTo>
                <a:cubicBezTo>
                  <a:pt x="668" y="497"/>
                  <a:pt x="666" y="498"/>
                  <a:pt x="665" y="499"/>
                </a:cubicBezTo>
                <a:cubicBezTo>
                  <a:pt x="663" y="500"/>
                  <a:pt x="661" y="501"/>
                  <a:pt x="659" y="502"/>
                </a:cubicBezTo>
                <a:cubicBezTo>
                  <a:pt x="658" y="503"/>
                  <a:pt x="656" y="503"/>
                  <a:pt x="654" y="503"/>
                </a:cubicBezTo>
                <a:cubicBezTo>
                  <a:pt x="654" y="503"/>
                  <a:pt x="654" y="503"/>
                  <a:pt x="654" y="513"/>
                </a:cubicBezTo>
                <a:cubicBezTo>
                  <a:pt x="657" y="513"/>
                  <a:pt x="660" y="512"/>
                  <a:pt x="662" y="511"/>
                </a:cubicBezTo>
                <a:cubicBezTo>
                  <a:pt x="664" y="510"/>
                  <a:pt x="667" y="508"/>
                  <a:pt x="668" y="507"/>
                </a:cubicBezTo>
                <a:cubicBezTo>
                  <a:pt x="668" y="507"/>
                  <a:pt x="668" y="507"/>
                  <a:pt x="668" y="566"/>
                </a:cubicBezTo>
                <a:cubicBezTo>
                  <a:pt x="668" y="566"/>
                  <a:pt x="668" y="566"/>
                  <a:pt x="680" y="566"/>
                </a:cubicBezTo>
                <a:cubicBezTo>
                  <a:pt x="680" y="566"/>
                  <a:pt x="680" y="566"/>
                  <a:pt x="680" y="492"/>
                </a:cubicBezTo>
                <a:close/>
                <a:moveTo>
                  <a:pt x="801" y="492"/>
                </a:moveTo>
                <a:cubicBezTo>
                  <a:pt x="801" y="492"/>
                  <a:pt x="801" y="492"/>
                  <a:pt x="801" y="492"/>
                </a:cubicBezTo>
                <a:cubicBezTo>
                  <a:pt x="796" y="492"/>
                  <a:pt x="796" y="492"/>
                  <a:pt x="796" y="492"/>
                </a:cubicBezTo>
                <a:cubicBezTo>
                  <a:pt x="794" y="494"/>
                  <a:pt x="793" y="495"/>
                  <a:pt x="791" y="496"/>
                </a:cubicBezTo>
                <a:cubicBezTo>
                  <a:pt x="789" y="497"/>
                  <a:pt x="788" y="498"/>
                  <a:pt x="785" y="499"/>
                </a:cubicBezTo>
                <a:cubicBezTo>
                  <a:pt x="784" y="500"/>
                  <a:pt x="782" y="501"/>
                  <a:pt x="780" y="502"/>
                </a:cubicBezTo>
                <a:cubicBezTo>
                  <a:pt x="778" y="503"/>
                  <a:pt x="777" y="503"/>
                  <a:pt x="775" y="503"/>
                </a:cubicBezTo>
                <a:cubicBezTo>
                  <a:pt x="775" y="503"/>
                  <a:pt x="775" y="503"/>
                  <a:pt x="775" y="513"/>
                </a:cubicBezTo>
                <a:cubicBezTo>
                  <a:pt x="777" y="513"/>
                  <a:pt x="780" y="512"/>
                  <a:pt x="783" y="511"/>
                </a:cubicBezTo>
                <a:cubicBezTo>
                  <a:pt x="785" y="510"/>
                  <a:pt x="788" y="508"/>
                  <a:pt x="790" y="507"/>
                </a:cubicBezTo>
                <a:cubicBezTo>
                  <a:pt x="790" y="507"/>
                  <a:pt x="790" y="507"/>
                  <a:pt x="790" y="566"/>
                </a:cubicBezTo>
                <a:cubicBezTo>
                  <a:pt x="790" y="566"/>
                  <a:pt x="790" y="566"/>
                  <a:pt x="801" y="566"/>
                </a:cubicBezTo>
                <a:cubicBezTo>
                  <a:pt x="801" y="566"/>
                  <a:pt x="801" y="566"/>
                  <a:pt x="801" y="492"/>
                </a:cubicBezTo>
                <a:close/>
                <a:moveTo>
                  <a:pt x="848" y="492"/>
                </a:moveTo>
                <a:cubicBezTo>
                  <a:pt x="848" y="492"/>
                  <a:pt x="848" y="492"/>
                  <a:pt x="848" y="492"/>
                </a:cubicBezTo>
                <a:cubicBezTo>
                  <a:pt x="843" y="492"/>
                  <a:pt x="843" y="492"/>
                  <a:pt x="843" y="492"/>
                </a:cubicBezTo>
                <a:cubicBezTo>
                  <a:pt x="841" y="494"/>
                  <a:pt x="840" y="495"/>
                  <a:pt x="837" y="496"/>
                </a:cubicBezTo>
                <a:cubicBezTo>
                  <a:pt x="836" y="497"/>
                  <a:pt x="834" y="498"/>
                  <a:pt x="832" y="499"/>
                </a:cubicBezTo>
                <a:cubicBezTo>
                  <a:pt x="831" y="500"/>
                  <a:pt x="829" y="501"/>
                  <a:pt x="827" y="502"/>
                </a:cubicBezTo>
                <a:cubicBezTo>
                  <a:pt x="825" y="503"/>
                  <a:pt x="823" y="503"/>
                  <a:pt x="821" y="503"/>
                </a:cubicBezTo>
                <a:cubicBezTo>
                  <a:pt x="821" y="503"/>
                  <a:pt x="821" y="503"/>
                  <a:pt x="821" y="513"/>
                </a:cubicBezTo>
                <a:cubicBezTo>
                  <a:pt x="824" y="513"/>
                  <a:pt x="827" y="512"/>
                  <a:pt x="829" y="511"/>
                </a:cubicBezTo>
                <a:cubicBezTo>
                  <a:pt x="832" y="510"/>
                  <a:pt x="834" y="508"/>
                  <a:pt x="837" y="507"/>
                </a:cubicBezTo>
                <a:cubicBezTo>
                  <a:pt x="837" y="507"/>
                  <a:pt x="837" y="507"/>
                  <a:pt x="837" y="566"/>
                </a:cubicBezTo>
                <a:cubicBezTo>
                  <a:pt x="837" y="566"/>
                  <a:pt x="837" y="566"/>
                  <a:pt x="848" y="566"/>
                </a:cubicBezTo>
                <a:cubicBezTo>
                  <a:pt x="848" y="566"/>
                  <a:pt x="848" y="566"/>
                  <a:pt x="848" y="492"/>
                </a:cubicBezTo>
                <a:close/>
                <a:moveTo>
                  <a:pt x="894" y="492"/>
                </a:moveTo>
                <a:cubicBezTo>
                  <a:pt x="894" y="492"/>
                  <a:pt x="894" y="492"/>
                  <a:pt x="894" y="492"/>
                </a:cubicBezTo>
                <a:cubicBezTo>
                  <a:pt x="890" y="492"/>
                  <a:pt x="890" y="492"/>
                  <a:pt x="890" y="492"/>
                </a:cubicBezTo>
                <a:cubicBezTo>
                  <a:pt x="888" y="494"/>
                  <a:pt x="886" y="495"/>
                  <a:pt x="884" y="496"/>
                </a:cubicBezTo>
                <a:cubicBezTo>
                  <a:pt x="883" y="497"/>
                  <a:pt x="880" y="498"/>
                  <a:pt x="879" y="499"/>
                </a:cubicBezTo>
                <a:cubicBezTo>
                  <a:pt x="877" y="500"/>
                  <a:pt x="875" y="500"/>
                  <a:pt x="873" y="501"/>
                </a:cubicBezTo>
                <a:cubicBezTo>
                  <a:pt x="872" y="502"/>
                  <a:pt x="870" y="503"/>
                  <a:pt x="868" y="503"/>
                </a:cubicBezTo>
                <a:cubicBezTo>
                  <a:pt x="868" y="503"/>
                  <a:pt x="868" y="503"/>
                  <a:pt x="868" y="513"/>
                </a:cubicBezTo>
                <a:cubicBezTo>
                  <a:pt x="871" y="513"/>
                  <a:pt x="874" y="511"/>
                  <a:pt x="876" y="511"/>
                </a:cubicBezTo>
                <a:cubicBezTo>
                  <a:pt x="878" y="510"/>
                  <a:pt x="881" y="508"/>
                  <a:pt x="883" y="507"/>
                </a:cubicBezTo>
                <a:cubicBezTo>
                  <a:pt x="883" y="507"/>
                  <a:pt x="883" y="507"/>
                  <a:pt x="883" y="566"/>
                </a:cubicBezTo>
                <a:cubicBezTo>
                  <a:pt x="883" y="566"/>
                  <a:pt x="883" y="566"/>
                  <a:pt x="894" y="566"/>
                </a:cubicBezTo>
                <a:cubicBezTo>
                  <a:pt x="894" y="566"/>
                  <a:pt x="894" y="566"/>
                  <a:pt x="894" y="492"/>
                </a:cubicBezTo>
                <a:close/>
                <a:moveTo>
                  <a:pt x="700" y="525"/>
                </a:moveTo>
                <a:cubicBezTo>
                  <a:pt x="700" y="525"/>
                  <a:pt x="700" y="525"/>
                  <a:pt x="700" y="525"/>
                </a:cubicBezTo>
                <a:cubicBezTo>
                  <a:pt x="700" y="533"/>
                  <a:pt x="700" y="533"/>
                  <a:pt x="700" y="533"/>
                </a:cubicBezTo>
                <a:cubicBezTo>
                  <a:pt x="706" y="533"/>
                  <a:pt x="707" y="536"/>
                  <a:pt x="707" y="539"/>
                </a:cubicBezTo>
                <a:cubicBezTo>
                  <a:pt x="707" y="541"/>
                  <a:pt x="706" y="543"/>
                  <a:pt x="706" y="546"/>
                </a:cubicBezTo>
                <a:cubicBezTo>
                  <a:pt x="706" y="549"/>
                  <a:pt x="706" y="551"/>
                  <a:pt x="706" y="553"/>
                </a:cubicBezTo>
                <a:cubicBezTo>
                  <a:pt x="706" y="562"/>
                  <a:pt x="712" y="566"/>
                  <a:pt x="720" y="566"/>
                </a:cubicBezTo>
                <a:cubicBezTo>
                  <a:pt x="720" y="566"/>
                  <a:pt x="720" y="566"/>
                  <a:pt x="724" y="566"/>
                </a:cubicBezTo>
                <a:cubicBezTo>
                  <a:pt x="724" y="566"/>
                  <a:pt x="724" y="566"/>
                  <a:pt x="724" y="557"/>
                </a:cubicBezTo>
                <a:cubicBezTo>
                  <a:pt x="724" y="557"/>
                  <a:pt x="724" y="557"/>
                  <a:pt x="722" y="557"/>
                </a:cubicBezTo>
                <a:cubicBezTo>
                  <a:pt x="719" y="557"/>
                  <a:pt x="717" y="554"/>
                  <a:pt x="717" y="551"/>
                </a:cubicBezTo>
                <a:cubicBezTo>
                  <a:pt x="717" y="549"/>
                  <a:pt x="717" y="548"/>
                  <a:pt x="718" y="546"/>
                </a:cubicBezTo>
                <a:cubicBezTo>
                  <a:pt x="718" y="544"/>
                  <a:pt x="718" y="542"/>
                  <a:pt x="718" y="540"/>
                </a:cubicBezTo>
                <a:cubicBezTo>
                  <a:pt x="718" y="533"/>
                  <a:pt x="715" y="530"/>
                  <a:pt x="710" y="529"/>
                </a:cubicBezTo>
                <a:cubicBezTo>
                  <a:pt x="710" y="529"/>
                  <a:pt x="710" y="529"/>
                  <a:pt x="710" y="528"/>
                </a:cubicBezTo>
                <a:cubicBezTo>
                  <a:pt x="715" y="527"/>
                  <a:pt x="718" y="525"/>
                  <a:pt x="718" y="518"/>
                </a:cubicBezTo>
                <a:cubicBezTo>
                  <a:pt x="718" y="515"/>
                  <a:pt x="718" y="513"/>
                  <a:pt x="718" y="511"/>
                </a:cubicBezTo>
                <a:cubicBezTo>
                  <a:pt x="717" y="510"/>
                  <a:pt x="717" y="508"/>
                  <a:pt x="717" y="507"/>
                </a:cubicBezTo>
                <a:cubicBezTo>
                  <a:pt x="717" y="503"/>
                  <a:pt x="719" y="501"/>
                  <a:pt x="722" y="501"/>
                </a:cubicBezTo>
                <a:cubicBezTo>
                  <a:pt x="722" y="501"/>
                  <a:pt x="722" y="501"/>
                  <a:pt x="724" y="501"/>
                </a:cubicBezTo>
                <a:cubicBezTo>
                  <a:pt x="724" y="501"/>
                  <a:pt x="724" y="501"/>
                  <a:pt x="724" y="491"/>
                </a:cubicBezTo>
                <a:cubicBezTo>
                  <a:pt x="724" y="491"/>
                  <a:pt x="724" y="491"/>
                  <a:pt x="720" y="491"/>
                </a:cubicBezTo>
                <a:cubicBezTo>
                  <a:pt x="711" y="491"/>
                  <a:pt x="706" y="496"/>
                  <a:pt x="706" y="504"/>
                </a:cubicBezTo>
                <a:cubicBezTo>
                  <a:pt x="706" y="506"/>
                  <a:pt x="706" y="509"/>
                  <a:pt x="706" y="512"/>
                </a:cubicBezTo>
                <a:cubicBezTo>
                  <a:pt x="706" y="514"/>
                  <a:pt x="707" y="516"/>
                  <a:pt x="707" y="518"/>
                </a:cubicBezTo>
                <a:cubicBezTo>
                  <a:pt x="707" y="521"/>
                  <a:pt x="706" y="524"/>
                  <a:pt x="700" y="525"/>
                </a:cubicBezTo>
                <a:close/>
                <a:moveTo>
                  <a:pt x="755" y="533"/>
                </a:moveTo>
                <a:cubicBezTo>
                  <a:pt x="755" y="533"/>
                  <a:pt x="755" y="533"/>
                  <a:pt x="755" y="533"/>
                </a:cubicBezTo>
                <a:cubicBezTo>
                  <a:pt x="755" y="525"/>
                  <a:pt x="755" y="525"/>
                  <a:pt x="755" y="525"/>
                </a:cubicBezTo>
                <a:cubicBezTo>
                  <a:pt x="748" y="524"/>
                  <a:pt x="748" y="521"/>
                  <a:pt x="748" y="518"/>
                </a:cubicBezTo>
                <a:cubicBezTo>
                  <a:pt x="748" y="516"/>
                  <a:pt x="748" y="514"/>
                  <a:pt x="748" y="512"/>
                </a:cubicBezTo>
                <a:cubicBezTo>
                  <a:pt x="749" y="509"/>
                  <a:pt x="749" y="506"/>
                  <a:pt x="749" y="504"/>
                </a:cubicBezTo>
                <a:cubicBezTo>
                  <a:pt x="749" y="496"/>
                  <a:pt x="744" y="491"/>
                  <a:pt x="734" y="491"/>
                </a:cubicBezTo>
                <a:cubicBezTo>
                  <a:pt x="734" y="491"/>
                  <a:pt x="734" y="491"/>
                  <a:pt x="730" y="491"/>
                </a:cubicBezTo>
                <a:cubicBezTo>
                  <a:pt x="730" y="491"/>
                  <a:pt x="730" y="491"/>
                  <a:pt x="730" y="501"/>
                </a:cubicBezTo>
                <a:cubicBezTo>
                  <a:pt x="730" y="501"/>
                  <a:pt x="730" y="501"/>
                  <a:pt x="732" y="501"/>
                </a:cubicBezTo>
                <a:cubicBezTo>
                  <a:pt x="736" y="501"/>
                  <a:pt x="737" y="503"/>
                  <a:pt x="737" y="507"/>
                </a:cubicBezTo>
                <a:cubicBezTo>
                  <a:pt x="737" y="508"/>
                  <a:pt x="737" y="510"/>
                  <a:pt x="737" y="511"/>
                </a:cubicBezTo>
                <a:cubicBezTo>
                  <a:pt x="736" y="513"/>
                  <a:pt x="736" y="515"/>
                  <a:pt x="736" y="518"/>
                </a:cubicBezTo>
                <a:cubicBezTo>
                  <a:pt x="736" y="525"/>
                  <a:pt x="739" y="527"/>
                  <a:pt x="745" y="528"/>
                </a:cubicBezTo>
                <a:cubicBezTo>
                  <a:pt x="745" y="528"/>
                  <a:pt x="745" y="528"/>
                  <a:pt x="745" y="529"/>
                </a:cubicBezTo>
                <a:cubicBezTo>
                  <a:pt x="739" y="530"/>
                  <a:pt x="736" y="533"/>
                  <a:pt x="736" y="540"/>
                </a:cubicBezTo>
                <a:cubicBezTo>
                  <a:pt x="736" y="542"/>
                  <a:pt x="736" y="544"/>
                  <a:pt x="737" y="546"/>
                </a:cubicBezTo>
                <a:cubicBezTo>
                  <a:pt x="737" y="548"/>
                  <a:pt x="737" y="549"/>
                  <a:pt x="737" y="551"/>
                </a:cubicBezTo>
                <a:cubicBezTo>
                  <a:pt x="737" y="554"/>
                  <a:pt x="736" y="557"/>
                  <a:pt x="732" y="557"/>
                </a:cubicBezTo>
                <a:cubicBezTo>
                  <a:pt x="732" y="557"/>
                  <a:pt x="732" y="557"/>
                  <a:pt x="730" y="557"/>
                </a:cubicBezTo>
                <a:cubicBezTo>
                  <a:pt x="730" y="557"/>
                  <a:pt x="730" y="557"/>
                  <a:pt x="730" y="566"/>
                </a:cubicBezTo>
                <a:cubicBezTo>
                  <a:pt x="730" y="566"/>
                  <a:pt x="730" y="566"/>
                  <a:pt x="734" y="566"/>
                </a:cubicBezTo>
                <a:cubicBezTo>
                  <a:pt x="743" y="566"/>
                  <a:pt x="749" y="562"/>
                  <a:pt x="749" y="553"/>
                </a:cubicBezTo>
                <a:cubicBezTo>
                  <a:pt x="749" y="551"/>
                  <a:pt x="749" y="549"/>
                  <a:pt x="748" y="546"/>
                </a:cubicBezTo>
                <a:cubicBezTo>
                  <a:pt x="748" y="543"/>
                  <a:pt x="748" y="541"/>
                  <a:pt x="748" y="539"/>
                </a:cubicBezTo>
                <a:cubicBezTo>
                  <a:pt x="748" y="536"/>
                  <a:pt x="748" y="533"/>
                  <a:pt x="755" y="533"/>
                </a:cubicBezTo>
                <a:close/>
                <a:moveTo>
                  <a:pt x="938" y="566"/>
                </a:moveTo>
                <a:cubicBezTo>
                  <a:pt x="931" y="566"/>
                  <a:pt x="924" y="563"/>
                  <a:pt x="920" y="557"/>
                </a:cubicBezTo>
                <a:cubicBezTo>
                  <a:pt x="916" y="550"/>
                  <a:pt x="914" y="542"/>
                  <a:pt x="914" y="529"/>
                </a:cubicBezTo>
                <a:cubicBezTo>
                  <a:pt x="914" y="516"/>
                  <a:pt x="916" y="507"/>
                  <a:pt x="920" y="500"/>
                </a:cubicBezTo>
                <a:cubicBezTo>
                  <a:pt x="925" y="494"/>
                  <a:pt x="931" y="490"/>
                  <a:pt x="940" y="490"/>
                </a:cubicBezTo>
                <a:cubicBezTo>
                  <a:pt x="956" y="490"/>
                  <a:pt x="964" y="502"/>
                  <a:pt x="964" y="528"/>
                </a:cubicBezTo>
                <a:cubicBezTo>
                  <a:pt x="964" y="540"/>
                  <a:pt x="962" y="550"/>
                  <a:pt x="957" y="556"/>
                </a:cubicBezTo>
                <a:cubicBezTo>
                  <a:pt x="952" y="563"/>
                  <a:pt x="946" y="566"/>
                  <a:pt x="938" y="566"/>
                </a:cubicBezTo>
                <a:close/>
                <a:moveTo>
                  <a:pt x="939" y="499"/>
                </a:moveTo>
                <a:cubicBezTo>
                  <a:pt x="930" y="499"/>
                  <a:pt x="925" y="510"/>
                  <a:pt x="925" y="529"/>
                </a:cubicBezTo>
                <a:cubicBezTo>
                  <a:pt x="925" y="548"/>
                  <a:pt x="930" y="556"/>
                  <a:pt x="939" y="556"/>
                </a:cubicBezTo>
                <a:cubicBezTo>
                  <a:pt x="947" y="556"/>
                  <a:pt x="952" y="548"/>
                  <a:pt x="952" y="529"/>
                </a:cubicBezTo>
                <a:cubicBezTo>
                  <a:pt x="952" y="509"/>
                  <a:pt x="947" y="499"/>
                  <a:pt x="939" y="499"/>
                </a:cubicBezTo>
                <a:close/>
                <a:moveTo>
                  <a:pt x="1008" y="566"/>
                </a:moveTo>
                <a:cubicBezTo>
                  <a:pt x="1001" y="566"/>
                  <a:pt x="994" y="563"/>
                  <a:pt x="990" y="557"/>
                </a:cubicBezTo>
                <a:cubicBezTo>
                  <a:pt x="986" y="550"/>
                  <a:pt x="984" y="542"/>
                  <a:pt x="984" y="529"/>
                </a:cubicBezTo>
                <a:cubicBezTo>
                  <a:pt x="984" y="516"/>
                  <a:pt x="986" y="507"/>
                  <a:pt x="990" y="500"/>
                </a:cubicBezTo>
                <a:cubicBezTo>
                  <a:pt x="995" y="494"/>
                  <a:pt x="1002" y="490"/>
                  <a:pt x="1010" y="490"/>
                </a:cubicBezTo>
                <a:cubicBezTo>
                  <a:pt x="1027" y="490"/>
                  <a:pt x="1035" y="502"/>
                  <a:pt x="1035" y="528"/>
                </a:cubicBezTo>
                <a:cubicBezTo>
                  <a:pt x="1035" y="540"/>
                  <a:pt x="1033" y="550"/>
                  <a:pt x="1028" y="556"/>
                </a:cubicBezTo>
                <a:cubicBezTo>
                  <a:pt x="1023" y="563"/>
                  <a:pt x="1017" y="566"/>
                  <a:pt x="1008" y="566"/>
                </a:cubicBezTo>
                <a:close/>
                <a:moveTo>
                  <a:pt x="1010" y="499"/>
                </a:moveTo>
                <a:cubicBezTo>
                  <a:pt x="1001" y="499"/>
                  <a:pt x="996" y="510"/>
                  <a:pt x="996" y="529"/>
                </a:cubicBezTo>
                <a:cubicBezTo>
                  <a:pt x="996" y="548"/>
                  <a:pt x="1000" y="556"/>
                  <a:pt x="1009" y="556"/>
                </a:cubicBezTo>
                <a:cubicBezTo>
                  <a:pt x="1018" y="556"/>
                  <a:pt x="1022" y="548"/>
                  <a:pt x="1022" y="529"/>
                </a:cubicBezTo>
                <a:cubicBezTo>
                  <a:pt x="1022" y="509"/>
                  <a:pt x="1018" y="499"/>
                  <a:pt x="1010" y="499"/>
                </a:cubicBezTo>
                <a:close/>
                <a:moveTo>
                  <a:pt x="1081" y="492"/>
                </a:moveTo>
                <a:cubicBezTo>
                  <a:pt x="1081" y="492"/>
                  <a:pt x="1081" y="492"/>
                  <a:pt x="1081" y="492"/>
                </a:cubicBezTo>
                <a:cubicBezTo>
                  <a:pt x="1076" y="492"/>
                  <a:pt x="1076" y="492"/>
                  <a:pt x="1076" y="492"/>
                </a:cubicBezTo>
                <a:cubicBezTo>
                  <a:pt x="1074" y="494"/>
                  <a:pt x="1073" y="495"/>
                  <a:pt x="1070" y="496"/>
                </a:cubicBezTo>
                <a:cubicBezTo>
                  <a:pt x="1069" y="497"/>
                  <a:pt x="1067" y="498"/>
                  <a:pt x="1065" y="499"/>
                </a:cubicBezTo>
                <a:cubicBezTo>
                  <a:pt x="1064" y="500"/>
                  <a:pt x="1062" y="501"/>
                  <a:pt x="1060" y="502"/>
                </a:cubicBezTo>
                <a:cubicBezTo>
                  <a:pt x="1058" y="503"/>
                  <a:pt x="1057" y="503"/>
                  <a:pt x="1054" y="503"/>
                </a:cubicBezTo>
                <a:cubicBezTo>
                  <a:pt x="1054" y="503"/>
                  <a:pt x="1054" y="503"/>
                  <a:pt x="1054" y="513"/>
                </a:cubicBezTo>
                <a:cubicBezTo>
                  <a:pt x="1057" y="513"/>
                  <a:pt x="1060" y="512"/>
                  <a:pt x="1063" y="511"/>
                </a:cubicBezTo>
                <a:cubicBezTo>
                  <a:pt x="1065" y="510"/>
                  <a:pt x="1067" y="508"/>
                  <a:pt x="1070" y="507"/>
                </a:cubicBezTo>
                <a:cubicBezTo>
                  <a:pt x="1070" y="507"/>
                  <a:pt x="1070" y="507"/>
                  <a:pt x="1070" y="566"/>
                </a:cubicBezTo>
                <a:cubicBezTo>
                  <a:pt x="1070" y="566"/>
                  <a:pt x="1070" y="566"/>
                  <a:pt x="1081" y="566"/>
                </a:cubicBezTo>
                <a:cubicBezTo>
                  <a:pt x="1081" y="566"/>
                  <a:pt x="1081" y="566"/>
                  <a:pt x="1081" y="492"/>
                </a:cubicBezTo>
                <a:close/>
                <a:moveTo>
                  <a:pt x="1128" y="492"/>
                </a:moveTo>
                <a:cubicBezTo>
                  <a:pt x="1128" y="492"/>
                  <a:pt x="1128" y="492"/>
                  <a:pt x="1128" y="492"/>
                </a:cubicBezTo>
                <a:cubicBezTo>
                  <a:pt x="1123" y="492"/>
                  <a:pt x="1123" y="492"/>
                  <a:pt x="1123" y="492"/>
                </a:cubicBezTo>
                <a:cubicBezTo>
                  <a:pt x="1121" y="494"/>
                  <a:pt x="1119" y="495"/>
                  <a:pt x="1117" y="496"/>
                </a:cubicBezTo>
                <a:cubicBezTo>
                  <a:pt x="1116" y="497"/>
                  <a:pt x="1114" y="498"/>
                  <a:pt x="1112" y="499"/>
                </a:cubicBezTo>
                <a:cubicBezTo>
                  <a:pt x="1111" y="500"/>
                  <a:pt x="1108" y="501"/>
                  <a:pt x="1107" y="502"/>
                </a:cubicBezTo>
                <a:cubicBezTo>
                  <a:pt x="1105" y="503"/>
                  <a:pt x="1103" y="503"/>
                  <a:pt x="1101" y="503"/>
                </a:cubicBezTo>
                <a:cubicBezTo>
                  <a:pt x="1101" y="503"/>
                  <a:pt x="1101" y="503"/>
                  <a:pt x="1101" y="513"/>
                </a:cubicBezTo>
                <a:cubicBezTo>
                  <a:pt x="1104" y="513"/>
                  <a:pt x="1107" y="512"/>
                  <a:pt x="1109" y="511"/>
                </a:cubicBezTo>
                <a:cubicBezTo>
                  <a:pt x="1112" y="510"/>
                  <a:pt x="1114" y="508"/>
                  <a:pt x="1117" y="507"/>
                </a:cubicBezTo>
                <a:cubicBezTo>
                  <a:pt x="1117" y="507"/>
                  <a:pt x="1117" y="507"/>
                  <a:pt x="1117" y="566"/>
                </a:cubicBezTo>
                <a:cubicBezTo>
                  <a:pt x="1117" y="566"/>
                  <a:pt x="1117" y="566"/>
                  <a:pt x="1128" y="566"/>
                </a:cubicBezTo>
                <a:cubicBezTo>
                  <a:pt x="1128" y="566"/>
                  <a:pt x="1128" y="566"/>
                  <a:pt x="1128" y="492"/>
                </a:cubicBezTo>
                <a:close/>
                <a:moveTo>
                  <a:pt x="1174" y="492"/>
                </a:moveTo>
                <a:cubicBezTo>
                  <a:pt x="1174" y="492"/>
                  <a:pt x="1174" y="492"/>
                  <a:pt x="1174" y="492"/>
                </a:cubicBezTo>
                <a:cubicBezTo>
                  <a:pt x="1170" y="492"/>
                  <a:pt x="1170" y="492"/>
                  <a:pt x="1170" y="492"/>
                </a:cubicBezTo>
                <a:cubicBezTo>
                  <a:pt x="1167" y="494"/>
                  <a:pt x="1166" y="495"/>
                  <a:pt x="1164" y="496"/>
                </a:cubicBezTo>
                <a:cubicBezTo>
                  <a:pt x="1162" y="497"/>
                  <a:pt x="1160" y="498"/>
                  <a:pt x="1159" y="499"/>
                </a:cubicBezTo>
                <a:cubicBezTo>
                  <a:pt x="1157" y="500"/>
                  <a:pt x="1155" y="500"/>
                  <a:pt x="1153" y="501"/>
                </a:cubicBezTo>
                <a:cubicBezTo>
                  <a:pt x="1152" y="502"/>
                  <a:pt x="1149" y="503"/>
                  <a:pt x="1148" y="503"/>
                </a:cubicBezTo>
                <a:cubicBezTo>
                  <a:pt x="1148" y="503"/>
                  <a:pt x="1148" y="503"/>
                  <a:pt x="1148" y="513"/>
                </a:cubicBezTo>
                <a:cubicBezTo>
                  <a:pt x="1151" y="513"/>
                  <a:pt x="1154" y="511"/>
                  <a:pt x="1156" y="511"/>
                </a:cubicBezTo>
                <a:cubicBezTo>
                  <a:pt x="1158" y="510"/>
                  <a:pt x="1161" y="508"/>
                  <a:pt x="1162" y="507"/>
                </a:cubicBezTo>
                <a:cubicBezTo>
                  <a:pt x="1162" y="507"/>
                  <a:pt x="1162" y="507"/>
                  <a:pt x="1162" y="566"/>
                </a:cubicBezTo>
                <a:cubicBezTo>
                  <a:pt x="1162" y="566"/>
                  <a:pt x="1162" y="566"/>
                  <a:pt x="1174" y="566"/>
                </a:cubicBezTo>
                <a:cubicBezTo>
                  <a:pt x="1174" y="566"/>
                  <a:pt x="1174" y="566"/>
                  <a:pt x="1174" y="492"/>
                </a:cubicBezTo>
                <a:close/>
                <a:moveTo>
                  <a:pt x="983" y="467"/>
                </a:moveTo>
                <a:cubicBezTo>
                  <a:pt x="976" y="467"/>
                  <a:pt x="969" y="464"/>
                  <a:pt x="965" y="459"/>
                </a:cubicBezTo>
                <a:cubicBezTo>
                  <a:pt x="961" y="452"/>
                  <a:pt x="959" y="443"/>
                  <a:pt x="959" y="431"/>
                </a:cubicBezTo>
                <a:cubicBezTo>
                  <a:pt x="959" y="417"/>
                  <a:pt x="961" y="408"/>
                  <a:pt x="965" y="401"/>
                </a:cubicBezTo>
                <a:cubicBezTo>
                  <a:pt x="970" y="395"/>
                  <a:pt x="976" y="391"/>
                  <a:pt x="985" y="391"/>
                </a:cubicBezTo>
                <a:cubicBezTo>
                  <a:pt x="1001" y="391"/>
                  <a:pt x="1009" y="404"/>
                  <a:pt x="1009" y="429"/>
                </a:cubicBezTo>
                <a:cubicBezTo>
                  <a:pt x="1009" y="442"/>
                  <a:pt x="1007" y="451"/>
                  <a:pt x="1002" y="458"/>
                </a:cubicBezTo>
                <a:cubicBezTo>
                  <a:pt x="998" y="464"/>
                  <a:pt x="991" y="467"/>
                  <a:pt x="983" y="467"/>
                </a:cubicBezTo>
                <a:close/>
                <a:moveTo>
                  <a:pt x="984" y="401"/>
                </a:moveTo>
                <a:cubicBezTo>
                  <a:pt x="975" y="401"/>
                  <a:pt x="971" y="411"/>
                  <a:pt x="971" y="431"/>
                </a:cubicBezTo>
                <a:cubicBezTo>
                  <a:pt x="971" y="449"/>
                  <a:pt x="975" y="458"/>
                  <a:pt x="984" y="458"/>
                </a:cubicBezTo>
                <a:cubicBezTo>
                  <a:pt x="992" y="458"/>
                  <a:pt x="997" y="449"/>
                  <a:pt x="997" y="430"/>
                </a:cubicBezTo>
                <a:cubicBezTo>
                  <a:pt x="997" y="410"/>
                  <a:pt x="992" y="401"/>
                  <a:pt x="984" y="401"/>
                </a:cubicBezTo>
                <a:close/>
                <a:moveTo>
                  <a:pt x="1057" y="394"/>
                </a:moveTo>
                <a:cubicBezTo>
                  <a:pt x="1057" y="394"/>
                  <a:pt x="1057" y="394"/>
                  <a:pt x="1057" y="394"/>
                </a:cubicBezTo>
                <a:cubicBezTo>
                  <a:pt x="1052" y="394"/>
                  <a:pt x="1052" y="394"/>
                  <a:pt x="1052" y="394"/>
                </a:cubicBezTo>
                <a:cubicBezTo>
                  <a:pt x="1050" y="395"/>
                  <a:pt x="1048" y="397"/>
                  <a:pt x="1046" y="398"/>
                </a:cubicBezTo>
                <a:cubicBezTo>
                  <a:pt x="1044" y="399"/>
                  <a:pt x="1042" y="400"/>
                  <a:pt x="1041" y="401"/>
                </a:cubicBezTo>
                <a:cubicBezTo>
                  <a:pt x="1039" y="401"/>
                  <a:pt x="1037" y="402"/>
                  <a:pt x="1036" y="403"/>
                </a:cubicBezTo>
                <a:cubicBezTo>
                  <a:pt x="1034" y="403"/>
                  <a:pt x="1032" y="404"/>
                  <a:pt x="1030" y="405"/>
                </a:cubicBezTo>
                <a:cubicBezTo>
                  <a:pt x="1030" y="405"/>
                  <a:pt x="1030" y="405"/>
                  <a:pt x="1030" y="415"/>
                </a:cubicBezTo>
                <a:cubicBezTo>
                  <a:pt x="1033" y="414"/>
                  <a:pt x="1036" y="413"/>
                  <a:pt x="1038" y="412"/>
                </a:cubicBezTo>
                <a:cubicBezTo>
                  <a:pt x="1041" y="411"/>
                  <a:pt x="1043" y="410"/>
                  <a:pt x="1045" y="409"/>
                </a:cubicBezTo>
                <a:cubicBezTo>
                  <a:pt x="1045" y="409"/>
                  <a:pt x="1045" y="409"/>
                  <a:pt x="1045" y="467"/>
                </a:cubicBezTo>
                <a:cubicBezTo>
                  <a:pt x="1045" y="467"/>
                  <a:pt x="1045" y="467"/>
                  <a:pt x="1057" y="467"/>
                </a:cubicBezTo>
                <a:cubicBezTo>
                  <a:pt x="1057" y="467"/>
                  <a:pt x="1057" y="467"/>
                  <a:pt x="1057" y="394"/>
                </a:cubicBezTo>
                <a:close/>
                <a:moveTo>
                  <a:pt x="1104" y="394"/>
                </a:moveTo>
                <a:cubicBezTo>
                  <a:pt x="1104" y="394"/>
                  <a:pt x="1104" y="394"/>
                  <a:pt x="1104" y="394"/>
                </a:cubicBezTo>
                <a:cubicBezTo>
                  <a:pt x="1099" y="394"/>
                  <a:pt x="1099" y="394"/>
                  <a:pt x="1099" y="394"/>
                </a:cubicBezTo>
                <a:cubicBezTo>
                  <a:pt x="1097" y="395"/>
                  <a:pt x="1095" y="397"/>
                  <a:pt x="1093" y="398"/>
                </a:cubicBezTo>
                <a:cubicBezTo>
                  <a:pt x="1092" y="399"/>
                  <a:pt x="1090" y="400"/>
                  <a:pt x="1088" y="401"/>
                </a:cubicBezTo>
                <a:cubicBezTo>
                  <a:pt x="1087" y="402"/>
                  <a:pt x="1085" y="403"/>
                  <a:pt x="1083" y="403"/>
                </a:cubicBezTo>
                <a:cubicBezTo>
                  <a:pt x="1081" y="404"/>
                  <a:pt x="1080" y="405"/>
                  <a:pt x="1077" y="405"/>
                </a:cubicBezTo>
                <a:cubicBezTo>
                  <a:pt x="1077" y="405"/>
                  <a:pt x="1077" y="405"/>
                  <a:pt x="1077" y="415"/>
                </a:cubicBezTo>
                <a:cubicBezTo>
                  <a:pt x="1080" y="414"/>
                  <a:pt x="1083" y="414"/>
                  <a:pt x="1085" y="412"/>
                </a:cubicBezTo>
                <a:cubicBezTo>
                  <a:pt x="1088" y="411"/>
                  <a:pt x="1090" y="410"/>
                  <a:pt x="1092" y="409"/>
                </a:cubicBezTo>
                <a:cubicBezTo>
                  <a:pt x="1092" y="409"/>
                  <a:pt x="1092" y="409"/>
                  <a:pt x="1092" y="467"/>
                </a:cubicBezTo>
                <a:cubicBezTo>
                  <a:pt x="1092" y="467"/>
                  <a:pt x="1092" y="467"/>
                  <a:pt x="1104" y="467"/>
                </a:cubicBezTo>
                <a:cubicBezTo>
                  <a:pt x="1104" y="467"/>
                  <a:pt x="1104" y="467"/>
                  <a:pt x="1104" y="394"/>
                </a:cubicBezTo>
                <a:close/>
                <a:moveTo>
                  <a:pt x="1150" y="394"/>
                </a:moveTo>
                <a:cubicBezTo>
                  <a:pt x="1150" y="394"/>
                  <a:pt x="1150" y="394"/>
                  <a:pt x="1150" y="394"/>
                </a:cubicBezTo>
                <a:cubicBezTo>
                  <a:pt x="1146" y="394"/>
                  <a:pt x="1146" y="394"/>
                  <a:pt x="1146" y="394"/>
                </a:cubicBezTo>
                <a:cubicBezTo>
                  <a:pt x="1144" y="395"/>
                  <a:pt x="1142" y="397"/>
                  <a:pt x="1140" y="398"/>
                </a:cubicBezTo>
                <a:cubicBezTo>
                  <a:pt x="1139" y="399"/>
                  <a:pt x="1137" y="400"/>
                  <a:pt x="1135" y="401"/>
                </a:cubicBezTo>
                <a:cubicBezTo>
                  <a:pt x="1133" y="402"/>
                  <a:pt x="1132" y="403"/>
                  <a:pt x="1130" y="403"/>
                </a:cubicBezTo>
                <a:cubicBezTo>
                  <a:pt x="1128" y="404"/>
                  <a:pt x="1126" y="405"/>
                  <a:pt x="1124" y="405"/>
                </a:cubicBezTo>
                <a:cubicBezTo>
                  <a:pt x="1124" y="405"/>
                  <a:pt x="1124" y="405"/>
                  <a:pt x="1124" y="415"/>
                </a:cubicBezTo>
                <a:cubicBezTo>
                  <a:pt x="1127" y="414"/>
                  <a:pt x="1130" y="414"/>
                  <a:pt x="1132" y="412"/>
                </a:cubicBezTo>
                <a:cubicBezTo>
                  <a:pt x="1135" y="411"/>
                  <a:pt x="1137" y="410"/>
                  <a:pt x="1139" y="409"/>
                </a:cubicBezTo>
                <a:cubicBezTo>
                  <a:pt x="1139" y="409"/>
                  <a:pt x="1139" y="409"/>
                  <a:pt x="1139" y="467"/>
                </a:cubicBezTo>
                <a:cubicBezTo>
                  <a:pt x="1139" y="467"/>
                  <a:pt x="1139" y="467"/>
                  <a:pt x="1150" y="467"/>
                </a:cubicBezTo>
                <a:cubicBezTo>
                  <a:pt x="1150" y="467"/>
                  <a:pt x="1150" y="467"/>
                  <a:pt x="1150" y="394"/>
                </a:cubicBezTo>
                <a:close/>
                <a:moveTo>
                  <a:pt x="1198" y="394"/>
                </a:moveTo>
                <a:cubicBezTo>
                  <a:pt x="1198" y="394"/>
                  <a:pt x="1198" y="394"/>
                  <a:pt x="1198" y="394"/>
                </a:cubicBezTo>
                <a:cubicBezTo>
                  <a:pt x="1193" y="394"/>
                  <a:pt x="1193" y="394"/>
                  <a:pt x="1193" y="394"/>
                </a:cubicBezTo>
                <a:cubicBezTo>
                  <a:pt x="1191" y="395"/>
                  <a:pt x="1190" y="397"/>
                  <a:pt x="1187" y="398"/>
                </a:cubicBezTo>
                <a:cubicBezTo>
                  <a:pt x="1186" y="399"/>
                  <a:pt x="1184" y="400"/>
                  <a:pt x="1182" y="401"/>
                </a:cubicBezTo>
                <a:cubicBezTo>
                  <a:pt x="1181" y="402"/>
                  <a:pt x="1178" y="403"/>
                  <a:pt x="1177" y="403"/>
                </a:cubicBezTo>
                <a:cubicBezTo>
                  <a:pt x="1175" y="404"/>
                  <a:pt x="1173" y="405"/>
                  <a:pt x="1171" y="405"/>
                </a:cubicBezTo>
                <a:cubicBezTo>
                  <a:pt x="1171" y="405"/>
                  <a:pt x="1171" y="405"/>
                  <a:pt x="1171" y="415"/>
                </a:cubicBezTo>
                <a:cubicBezTo>
                  <a:pt x="1174" y="414"/>
                  <a:pt x="1177" y="414"/>
                  <a:pt x="1179" y="412"/>
                </a:cubicBezTo>
                <a:cubicBezTo>
                  <a:pt x="1182" y="411"/>
                  <a:pt x="1184" y="410"/>
                  <a:pt x="1187" y="409"/>
                </a:cubicBezTo>
                <a:cubicBezTo>
                  <a:pt x="1187" y="409"/>
                  <a:pt x="1187" y="409"/>
                  <a:pt x="1187" y="467"/>
                </a:cubicBezTo>
                <a:cubicBezTo>
                  <a:pt x="1187" y="467"/>
                  <a:pt x="1187" y="467"/>
                  <a:pt x="1198" y="467"/>
                </a:cubicBezTo>
                <a:cubicBezTo>
                  <a:pt x="1198" y="467"/>
                  <a:pt x="1198" y="467"/>
                  <a:pt x="1198" y="394"/>
                </a:cubicBezTo>
                <a:close/>
                <a:moveTo>
                  <a:pt x="1321" y="394"/>
                </a:moveTo>
                <a:cubicBezTo>
                  <a:pt x="1321" y="394"/>
                  <a:pt x="1321" y="394"/>
                  <a:pt x="1321" y="394"/>
                </a:cubicBezTo>
                <a:cubicBezTo>
                  <a:pt x="1316" y="394"/>
                  <a:pt x="1316" y="394"/>
                  <a:pt x="1316" y="394"/>
                </a:cubicBezTo>
                <a:cubicBezTo>
                  <a:pt x="1314" y="395"/>
                  <a:pt x="1313" y="397"/>
                  <a:pt x="1310" y="398"/>
                </a:cubicBezTo>
                <a:cubicBezTo>
                  <a:pt x="1309" y="399"/>
                  <a:pt x="1307" y="400"/>
                  <a:pt x="1305" y="401"/>
                </a:cubicBezTo>
                <a:cubicBezTo>
                  <a:pt x="1304" y="402"/>
                  <a:pt x="1302" y="403"/>
                  <a:pt x="1300" y="403"/>
                </a:cubicBezTo>
                <a:cubicBezTo>
                  <a:pt x="1298" y="404"/>
                  <a:pt x="1297" y="405"/>
                  <a:pt x="1294" y="405"/>
                </a:cubicBezTo>
                <a:cubicBezTo>
                  <a:pt x="1294" y="405"/>
                  <a:pt x="1294" y="405"/>
                  <a:pt x="1294" y="415"/>
                </a:cubicBezTo>
                <a:cubicBezTo>
                  <a:pt x="1297" y="414"/>
                  <a:pt x="1300" y="414"/>
                  <a:pt x="1303" y="412"/>
                </a:cubicBezTo>
                <a:cubicBezTo>
                  <a:pt x="1305" y="411"/>
                  <a:pt x="1307" y="410"/>
                  <a:pt x="1310" y="409"/>
                </a:cubicBezTo>
                <a:cubicBezTo>
                  <a:pt x="1310" y="409"/>
                  <a:pt x="1310" y="409"/>
                  <a:pt x="1310" y="467"/>
                </a:cubicBezTo>
                <a:cubicBezTo>
                  <a:pt x="1310" y="467"/>
                  <a:pt x="1310" y="467"/>
                  <a:pt x="1321" y="467"/>
                </a:cubicBezTo>
                <a:cubicBezTo>
                  <a:pt x="1321" y="467"/>
                  <a:pt x="1321" y="467"/>
                  <a:pt x="1321" y="394"/>
                </a:cubicBezTo>
                <a:close/>
                <a:moveTo>
                  <a:pt x="1369" y="394"/>
                </a:moveTo>
                <a:cubicBezTo>
                  <a:pt x="1369" y="394"/>
                  <a:pt x="1369" y="394"/>
                  <a:pt x="1369" y="394"/>
                </a:cubicBezTo>
                <a:cubicBezTo>
                  <a:pt x="1364" y="394"/>
                  <a:pt x="1364" y="394"/>
                  <a:pt x="1364" y="394"/>
                </a:cubicBezTo>
                <a:cubicBezTo>
                  <a:pt x="1362" y="395"/>
                  <a:pt x="1360" y="397"/>
                  <a:pt x="1358" y="398"/>
                </a:cubicBezTo>
                <a:cubicBezTo>
                  <a:pt x="1356" y="399"/>
                  <a:pt x="1354" y="400"/>
                  <a:pt x="1353" y="401"/>
                </a:cubicBezTo>
                <a:cubicBezTo>
                  <a:pt x="1351" y="402"/>
                  <a:pt x="1349" y="403"/>
                  <a:pt x="1348" y="403"/>
                </a:cubicBezTo>
                <a:cubicBezTo>
                  <a:pt x="1346" y="404"/>
                  <a:pt x="1344" y="405"/>
                  <a:pt x="1342" y="405"/>
                </a:cubicBezTo>
                <a:cubicBezTo>
                  <a:pt x="1342" y="405"/>
                  <a:pt x="1342" y="405"/>
                  <a:pt x="1342" y="415"/>
                </a:cubicBezTo>
                <a:cubicBezTo>
                  <a:pt x="1345" y="414"/>
                  <a:pt x="1348" y="414"/>
                  <a:pt x="1350" y="412"/>
                </a:cubicBezTo>
                <a:cubicBezTo>
                  <a:pt x="1353" y="411"/>
                  <a:pt x="1355" y="410"/>
                  <a:pt x="1357" y="409"/>
                </a:cubicBezTo>
                <a:cubicBezTo>
                  <a:pt x="1357" y="409"/>
                  <a:pt x="1357" y="409"/>
                  <a:pt x="1357" y="467"/>
                </a:cubicBezTo>
                <a:cubicBezTo>
                  <a:pt x="1357" y="467"/>
                  <a:pt x="1357" y="467"/>
                  <a:pt x="1369" y="467"/>
                </a:cubicBezTo>
                <a:cubicBezTo>
                  <a:pt x="1369" y="467"/>
                  <a:pt x="1369" y="467"/>
                  <a:pt x="1369" y="394"/>
                </a:cubicBezTo>
                <a:close/>
                <a:moveTo>
                  <a:pt x="1416" y="394"/>
                </a:moveTo>
                <a:cubicBezTo>
                  <a:pt x="1416" y="394"/>
                  <a:pt x="1416" y="394"/>
                  <a:pt x="1416" y="394"/>
                </a:cubicBezTo>
                <a:cubicBezTo>
                  <a:pt x="1411" y="394"/>
                  <a:pt x="1411" y="394"/>
                  <a:pt x="1411" y="394"/>
                </a:cubicBezTo>
                <a:cubicBezTo>
                  <a:pt x="1410" y="395"/>
                  <a:pt x="1408" y="397"/>
                  <a:pt x="1406" y="398"/>
                </a:cubicBezTo>
                <a:cubicBezTo>
                  <a:pt x="1404" y="399"/>
                  <a:pt x="1403" y="400"/>
                  <a:pt x="1400" y="401"/>
                </a:cubicBezTo>
                <a:cubicBezTo>
                  <a:pt x="1399" y="402"/>
                  <a:pt x="1397" y="403"/>
                  <a:pt x="1395" y="403"/>
                </a:cubicBezTo>
                <a:cubicBezTo>
                  <a:pt x="1393" y="404"/>
                  <a:pt x="1392" y="405"/>
                  <a:pt x="1389" y="405"/>
                </a:cubicBezTo>
                <a:cubicBezTo>
                  <a:pt x="1389" y="405"/>
                  <a:pt x="1389" y="405"/>
                  <a:pt x="1389" y="415"/>
                </a:cubicBezTo>
                <a:cubicBezTo>
                  <a:pt x="1392" y="414"/>
                  <a:pt x="1395" y="414"/>
                  <a:pt x="1398" y="412"/>
                </a:cubicBezTo>
                <a:cubicBezTo>
                  <a:pt x="1400" y="411"/>
                  <a:pt x="1403" y="410"/>
                  <a:pt x="1405" y="409"/>
                </a:cubicBezTo>
                <a:cubicBezTo>
                  <a:pt x="1405" y="409"/>
                  <a:pt x="1405" y="409"/>
                  <a:pt x="1405" y="467"/>
                </a:cubicBezTo>
                <a:cubicBezTo>
                  <a:pt x="1405" y="467"/>
                  <a:pt x="1405" y="467"/>
                  <a:pt x="1416" y="467"/>
                </a:cubicBezTo>
                <a:cubicBezTo>
                  <a:pt x="1416" y="467"/>
                  <a:pt x="1416" y="467"/>
                  <a:pt x="1416" y="394"/>
                </a:cubicBezTo>
                <a:close/>
                <a:moveTo>
                  <a:pt x="1463" y="394"/>
                </a:moveTo>
                <a:cubicBezTo>
                  <a:pt x="1463" y="394"/>
                  <a:pt x="1463" y="394"/>
                  <a:pt x="1463" y="394"/>
                </a:cubicBezTo>
                <a:cubicBezTo>
                  <a:pt x="1459" y="394"/>
                  <a:pt x="1459" y="394"/>
                  <a:pt x="1459" y="394"/>
                </a:cubicBezTo>
                <a:cubicBezTo>
                  <a:pt x="1456" y="395"/>
                  <a:pt x="1455" y="397"/>
                  <a:pt x="1453" y="398"/>
                </a:cubicBezTo>
                <a:cubicBezTo>
                  <a:pt x="1451" y="399"/>
                  <a:pt x="1449" y="400"/>
                  <a:pt x="1448" y="401"/>
                </a:cubicBezTo>
                <a:cubicBezTo>
                  <a:pt x="1446" y="401"/>
                  <a:pt x="1444" y="402"/>
                  <a:pt x="1442" y="403"/>
                </a:cubicBezTo>
                <a:cubicBezTo>
                  <a:pt x="1441" y="403"/>
                  <a:pt x="1438" y="404"/>
                  <a:pt x="1437" y="405"/>
                </a:cubicBezTo>
                <a:cubicBezTo>
                  <a:pt x="1437" y="405"/>
                  <a:pt x="1437" y="405"/>
                  <a:pt x="1437" y="415"/>
                </a:cubicBezTo>
                <a:cubicBezTo>
                  <a:pt x="1440" y="414"/>
                  <a:pt x="1443" y="413"/>
                  <a:pt x="1445" y="412"/>
                </a:cubicBezTo>
                <a:cubicBezTo>
                  <a:pt x="1447" y="411"/>
                  <a:pt x="1450" y="410"/>
                  <a:pt x="1451" y="409"/>
                </a:cubicBezTo>
                <a:cubicBezTo>
                  <a:pt x="1451" y="409"/>
                  <a:pt x="1451" y="409"/>
                  <a:pt x="1451" y="467"/>
                </a:cubicBezTo>
                <a:cubicBezTo>
                  <a:pt x="1451" y="467"/>
                  <a:pt x="1451" y="467"/>
                  <a:pt x="1463" y="467"/>
                </a:cubicBezTo>
                <a:cubicBezTo>
                  <a:pt x="1463" y="467"/>
                  <a:pt x="1463" y="467"/>
                  <a:pt x="1463" y="394"/>
                </a:cubicBezTo>
                <a:close/>
                <a:moveTo>
                  <a:pt x="1219" y="426"/>
                </a:moveTo>
                <a:cubicBezTo>
                  <a:pt x="1219" y="426"/>
                  <a:pt x="1219" y="426"/>
                  <a:pt x="1219" y="426"/>
                </a:cubicBezTo>
                <a:cubicBezTo>
                  <a:pt x="1219" y="435"/>
                  <a:pt x="1219" y="435"/>
                  <a:pt x="1219" y="435"/>
                </a:cubicBezTo>
                <a:cubicBezTo>
                  <a:pt x="1225" y="435"/>
                  <a:pt x="1226" y="438"/>
                  <a:pt x="1226" y="440"/>
                </a:cubicBezTo>
                <a:cubicBezTo>
                  <a:pt x="1226" y="443"/>
                  <a:pt x="1225" y="445"/>
                  <a:pt x="1225" y="448"/>
                </a:cubicBezTo>
                <a:cubicBezTo>
                  <a:pt x="1225" y="450"/>
                  <a:pt x="1225" y="452"/>
                  <a:pt x="1225" y="455"/>
                </a:cubicBezTo>
                <a:cubicBezTo>
                  <a:pt x="1225" y="464"/>
                  <a:pt x="1231" y="467"/>
                  <a:pt x="1239" y="467"/>
                </a:cubicBezTo>
                <a:cubicBezTo>
                  <a:pt x="1239" y="467"/>
                  <a:pt x="1239" y="467"/>
                  <a:pt x="1243" y="467"/>
                </a:cubicBezTo>
                <a:cubicBezTo>
                  <a:pt x="1243" y="467"/>
                  <a:pt x="1243" y="467"/>
                  <a:pt x="1243" y="458"/>
                </a:cubicBezTo>
                <a:cubicBezTo>
                  <a:pt x="1243" y="458"/>
                  <a:pt x="1243" y="458"/>
                  <a:pt x="1242" y="458"/>
                </a:cubicBezTo>
                <a:cubicBezTo>
                  <a:pt x="1238" y="458"/>
                  <a:pt x="1237" y="456"/>
                  <a:pt x="1237" y="452"/>
                </a:cubicBezTo>
                <a:cubicBezTo>
                  <a:pt x="1237" y="451"/>
                  <a:pt x="1237" y="449"/>
                  <a:pt x="1237" y="448"/>
                </a:cubicBezTo>
                <a:cubicBezTo>
                  <a:pt x="1237" y="446"/>
                  <a:pt x="1237" y="444"/>
                  <a:pt x="1237" y="442"/>
                </a:cubicBezTo>
                <a:cubicBezTo>
                  <a:pt x="1237" y="434"/>
                  <a:pt x="1234" y="432"/>
                  <a:pt x="1229" y="430"/>
                </a:cubicBezTo>
                <a:cubicBezTo>
                  <a:pt x="1229" y="430"/>
                  <a:pt x="1229" y="430"/>
                  <a:pt x="1229" y="430"/>
                </a:cubicBezTo>
                <a:cubicBezTo>
                  <a:pt x="1234" y="429"/>
                  <a:pt x="1237" y="427"/>
                  <a:pt x="1237" y="419"/>
                </a:cubicBezTo>
                <a:cubicBezTo>
                  <a:pt x="1237" y="417"/>
                  <a:pt x="1237" y="415"/>
                  <a:pt x="1237" y="413"/>
                </a:cubicBezTo>
                <a:cubicBezTo>
                  <a:pt x="1237" y="411"/>
                  <a:pt x="1237" y="409"/>
                  <a:pt x="1237" y="408"/>
                </a:cubicBezTo>
                <a:cubicBezTo>
                  <a:pt x="1237" y="405"/>
                  <a:pt x="1238" y="402"/>
                  <a:pt x="1242" y="402"/>
                </a:cubicBezTo>
                <a:cubicBezTo>
                  <a:pt x="1242" y="402"/>
                  <a:pt x="1242" y="402"/>
                  <a:pt x="1243" y="402"/>
                </a:cubicBezTo>
                <a:cubicBezTo>
                  <a:pt x="1243" y="402"/>
                  <a:pt x="1243" y="402"/>
                  <a:pt x="1243" y="393"/>
                </a:cubicBezTo>
                <a:cubicBezTo>
                  <a:pt x="1243" y="393"/>
                  <a:pt x="1243" y="393"/>
                  <a:pt x="1239" y="393"/>
                </a:cubicBezTo>
                <a:cubicBezTo>
                  <a:pt x="1230" y="393"/>
                  <a:pt x="1225" y="397"/>
                  <a:pt x="1225" y="406"/>
                </a:cubicBezTo>
                <a:cubicBezTo>
                  <a:pt x="1225" y="408"/>
                  <a:pt x="1225" y="411"/>
                  <a:pt x="1225" y="413"/>
                </a:cubicBezTo>
                <a:cubicBezTo>
                  <a:pt x="1225" y="415"/>
                  <a:pt x="1226" y="418"/>
                  <a:pt x="1226" y="420"/>
                </a:cubicBezTo>
                <a:cubicBezTo>
                  <a:pt x="1226" y="423"/>
                  <a:pt x="1225" y="426"/>
                  <a:pt x="1219" y="426"/>
                </a:cubicBezTo>
                <a:close/>
                <a:moveTo>
                  <a:pt x="1274" y="435"/>
                </a:moveTo>
                <a:cubicBezTo>
                  <a:pt x="1274" y="435"/>
                  <a:pt x="1274" y="435"/>
                  <a:pt x="1274" y="435"/>
                </a:cubicBezTo>
                <a:cubicBezTo>
                  <a:pt x="1274" y="426"/>
                  <a:pt x="1274" y="426"/>
                  <a:pt x="1274" y="426"/>
                </a:cubicBezTo>
                <a:cubicBezTo>
                  <a:pt x="1267" y="426"/>
                  <a:pt x="1267" y="423"/>
                  <a:pt x="1267" y="420"/>
                </a:cubicBezTo>
                <a:cubicBezTo>
                  <a:pt x="1267" y="418"/>
                  <a:pt x="1267" y="415"/>
                  <a:pt x="1267" y="413"/>
                </a:cubicBezTo>
                <a:cubicBezTo>
                  <a:pt x="1268" y="411"/>
                  <a:pt x="1268" y="408"/>
                  <a:pt x="1268" y="406"/>
                </a:cubicBezTo>
                <a:cubicBezTo>
                  <a:pt x="1268" y="397"/>
                  <a:pt x="1263" y="393"/>
                  <a:pt x="1253" y="393"/>
                </a:cubicBezTo>
                <a:cubicBezTo>
                  <a:pt x="1253" y="393"/>
                  <a:pt x="1253" y="393"/>
                  <a:pt x="1250" y="393"/>
                </a:cubicBezTo>
                <a:cubicBezTo>
                  <a:pt x="1250" y="393"/>
                  <a:pt x="1250" y="393"/>
                  <a:pt x="1250" y="402"/>
                </a:cubicBezTo>
                <a:cubicBezTo>
                  <a:pt x="1250" y="402"/>
                  <a:pt x="1250" y="402"/>
                  <a:pt x="1251" y="402"/>
                </a:cubicBezTo>
                <a:cubicBezTo>
                  <a:pt x="1255" y="402"/>
                  <a:pt x="1256" y="405"/>
                  <a:pt x="1256" y="408"/>
                </a:cubicBezTo>
                <a:cubicBezTo>
                  <a:pt x="1256" y="409"/>
                  <a:pt x="1256" y="411"/>
                  <a:pt x="1256" y="413"/>
                </a:cubicBezTo>
                <a:cubicBezTo>
                  <a:pt x="1256" y="415"/>
                  <a:pt x="1256" y="417"/>
                  <a:pt x="1256" y="419"/>
                </a:cubicBezTo>
                <a:cubicBezTo>
                  <a:pt x="1256" y="427"/>
                  <a:pt x="1258" y="429"/>
                  <a:pt x="1264" y="430"/>
                </a:cubicBezTo>
                <a:cubicBezTo>
                  <a:pt x="1264" y="430"/>
                  <a:pt x="1264" y="430"/>
                  <a:pt x="1264" y="430"/>
                </a:cubicBezTo>
                <a:cubicBezTo>
                  <a:pt x="1258" y="432"/>
                  <a:pt x="1256" y="434"/>
                  <a:pt x="1256" y="442"/>
                </a:cubicBezTo>
                <a:cubicBezTo>
                  <a:pt x="1256" y="444"/>
                  <a:pt x="1256" y="446"/>
                  <a:pt x="1256" y="448"/>
                </a:cubicBezTo>
                <a:cubicBezTo>
                  <a:pt x="1256" y="449"/>
                  <a:pt x="1256" y="451"/>
                  <a:pt x="1256" y="452"/>
                </a:cubicBezTo>
                <a:cubicBezTo>
                  <a:pt x="1256" y="456"/>
                  <a:pt x="1255" y="458"/>
                  <a:pt x="1251" y="458"/>
                </a:cubicBezTo>
                <a:cubicBezTo>
                  <a:pt x="1251" y="458"/>
                  <a:pt x="1251" y="458"/>
                  <a:pt x="1250" y="458"/>
                </a:cubicBezTo>
                <a:cubicBezTo>
                  <a:pt x="1250" y="458"/>
                  <a:pt x="1250" y="458"/>
                  <a:pt x="1250" y="467"/>
                </a:cubicBezTo>
                <a:cubicBezTo>
                  <a:pt x="1250" y="467"/>
                  <a:pt x="1250" y="467"/>
                  <a:pt x="1253" y="467"/>
                </a:cubicBezTo>
                <a:cubicBezTo>
                  <a:pt x="1262" y="467"/>
                  <a:pt x="1268" y="464"/>
                  <a:pt x="1268" y="455"/>
                </a:cubicBezTo>
                <a:cubicBezTo>
                  <a:pt x="1268" y="452"/>
                  <a:pt x="1268" y="450"/>
                  <a:pt x="1267" y="448"/>
                </a:cubicBezTo>
                <a:cubicBezTo>
                  <a:pt x="1267" y="445"/>
                  <a:pt x="1267" y="443"/>
                  <a:pt x="1267" y="440"/>
                </a:cubicBezTo>
                <a:cubicBezTo>
                  <a:pt x="1267" y="438"/>
                  <a:pt x="1267" y="435"/>
                  <a:pt x="1274" y="435"/>
                </a:cubicBezTo>
                <a:close/>
                <a:moveTo>
                  <a:pt x="1601" y="426"/>
                </a:moveTo>
                <a:cubicBezTo>
                  <a:pt x="1601" y="426"/>
                  <a:pt x="1601" y="426"/>
                  <a:pt x="1601" y="426"/>
                </a:cubicBezTo>
                <a:cubicBezTo>
                  <a:pt x="1601" y="435"/>
                  <a:pt x="1601" y="435"/>
                  <a:pt x="1601" y="435"/>
                </a:cubicBezTo>
                <a:cubicBezTo>
                  <a:pt x="1607" y="435"/>
                  <a:pt x="1608" y="438"/>
                  <a:pt x="1608" y="440"/>
                </a:cubicBezTo>
                <a:cubicBezTo>
                  <a:pt x="1608" y="443"/>
                  <a:pt x="1607" y="445"/>
                  <a:pt x="1607" y="448"/>
                </a:cubicBezTo>
                <a:cubicBezTo>
                  <a:pt x="1607" y="450"/>
                  <a:pt x="1607" y="452"/>
                  <a:pt x="1607" y="455"/>
                </a:cubicBezTo>
                <a:cubicBezTo>
                  <a:pt x="1607" y="464"/>
                  <a:pt x="1613" y="467"/>
                  <a:pt x="1621" y="467"/>
                </a:cubicBezTo>
                <a:cubicBezTo>
                  <a:pt x="1621" y="467"/>
                  <a:pt x="1621" y="467"/>
                  <a:pt x="1625" y="467"/>
                </a:cubicBezTo>
                <a:cubicBezTo>
                  <a:pt x="1625" y="467"/>
                  <a:pt x="1625" y="467"/>
                  <a:pt x="1625" y="458"/>
                </a:cubicBezTo>
                <a:cubicBezTo>
                  <a:pt x="1625" y="458"/>
                  <a:pt x="1625" y="458"/>
                  <a:pt x="1624" y="458"/>
                </a:cubicBezTo>
                <a:cubicBezTo>
                  <a:pt x="1620" y="458"/>
                  <a:pt x="1619" y="456"/>
                  <a:pt x="1619" y="452"/>
                </a:cubicBezTo>
                <a:cubicBezTo>
                  <a:pt x="1619" y="451"/>
                  <a:pt x="1619" y="449"/>
                  <a:pt x="1619" y="448"/>
                </a:cubicBezTo>
                <a:cubicBezTo>
                  <a:pt x="1619" y="446"/>
                  <a:pt x="1619" y="444"/>
                  <a:pt x="1619" y="442"/>
                </a:cubicBezTo>
                <a:cubicBezTo>
                  <a:pt x="1619" y="434"/>
                  <a:pt x="1616" y="432"/>
                  <a:pt x="1611" y="430"/>
                </a:cubicBezTo>
                <a:cubicBezTo>
                  <a:pt x="1611" y="430"/>
                  <a:pt x="1611" y="430"/>
                  <a:pt x="1611" y="430"/>
                </a:cubicBezTo>
                <a:cubicBezTo>
                  <a:pt x="1616" y="429"/>
                  <a:pt x="1619" y="427"/>
                  <a:pt x="1619" y="419"/>
                </a:cubicBezTo>
                <a:cubicBezTo>
                  <a:pt x="1619" y="417"/>
                  <a:pt x="1619" y="415"/>
                  <a:pt x="1619" y="413"/>
                </a:cubicBezTo>
                <a:cubicBezTo>
                  <a:pt x="1619" y="411"/>
                  <a:pt x="1619" y="409"/>
                  <a:pt x="1619" y="408"/>
                </a:cubicBezTo>
                <a:cubicBezTo>
                  <a:pt x="1619" y="405"/>
                  <a:pt x="1620" y="402"/>
                  <a:pt x="1624" y="402"/>
                </a:cubicBezTo>
                <a:cubicBezTo>
                  <a:pt x="1624" y="402"/>
                  <a:pt x="1624" y="402"/>
                  <a:pt x="1625" y="402"/>
                </a:cubicBezTo>
                <a:cubicBezTo>
                  <a:pt x="1625" y="402"/>
                  <a:pt x="1625" y="402"/>
                  <a:pt x="1625" y="393"/>
                </a:cubicBezTo>
                <a:cubicBezTo>
                  <a:pt x="1625" y="393"/>
                  <a:pt x="1625" y="393"/>
                  <a:pt x="1621" y="393"/>
                </a:cubicBezTo>
                <a:cubicBezTo>
                  <a:pt x="1612" y="393"/>
                  <a:pt x="1607" y="397"/>
                  <a:pt x="1607" y="406"/>
                </a:cubicBezTo>
                <a:cubicBezTo>
                  <a:pt x="1607" y="408"/>
                  <a:pt x="1607" y="411"/>
                  <a:pt x="1607" y="413"/>
                </a:cubicBezTo>
                <a:cubicBezTo>
                  <a:pt x="1607" y="415"/>
                  <a:pt x="1608" y="418"/>
                  <a:pt x="1608" y="420"/>
                </a:cubicBezTo>
                <a:cubicBezTo>
                  <a:pt x="1608" y="423"/>
                  <a:pt x="1607" y="426"/>
                  <a:pt x="1601" y="426"/>
                </a:cubicBezTo>
                <a:close/>
                <a:moveTo>
                  <a:pt x="1656" y="435"/>
                </a:moveTo>
                <a:cubicBezTo>
                  <a:pt x="1656" y="435"/>
                  <a:pt x="1656" y="435"/>
                  <a:pt x="1656" y="435"/>
                </a:cubicBezTo>
                <a:cubicBezTo>
                  <a:pt x="1656" y="426"/>
                  <a:pt x="1656" y="426"/>
                  <a:pt x="1656" y="426"/>
                </a:cubicBezTo>
                <a:cubicBezTo>
                  <a:pt x="1650" y="426"/>
                  <a:pt x="1649" y="423"/>
                  <a:pt x="1649" y="420"/>
                </a:cubicBezTo>
                <a:cubicBezTo>
                  <a:pt x="1649" y="418"/>
                  <a:pt x="1649" y="415"/>
                  <a:pt x="1650" y="413"/>
                </a:cubicBezTo>
                <a:cubicBezTo>
                  <a:pt x="1650" y="411"/>
                  <a:pt x="1650" y="408"/>
                  <a:pt x="1650" y="406"/>
                </a:cubicBezTo>
                <a:cubicBezTo>
                  <a:pt x="1650" y="397"/>
                  <a:pt x="1645" y="393"/>
                  <a:pt x="1636" y="393"/>
                </a:cubicBezTo>
                <a:cubicBezTo>
                  <a:pt x="1636" y="393"/>
                  <a:pt x="1636" y="393"/>
                  <a:pt x="1632" y="393"/>
                </a:cubicBezTo>
                <a:cubicBezTo>
                  <a:pt x="1632" y="393"/>
                  <a:pt x="1632" y="393"/>
                  <a:pt x="1632" y="402"/>
                </a:cubicBezTo>
                <a:cubicBezTo>
                  <a:pt x="1632" y="402"/>
                  <a:pt x="1632" y="402"/>
                  <a:pt x="1633" y="402"/>
                </a:cubicBezTo>
                <a:cubicBezTo>
                  <a:pt x="1637" y="402"/>
                  <a:pt x="1638" y="405"/>
                  <a:pt x="1638" y="408"/>
                </a:cubicBezTo>
                <a:cubicBezTo>
                  <a:pt x="1638" y="409"/>
                  <a:pt x="1638" y="411"/>
                  <a:pt x="1638" y="413"/>
                </a:cubicBezTo>
                <a:cubicBezTo>
                  <a:pt x="1638" y="415"/>
                  <a:pt x="1638" y="417"/>
                  <a:pt x="1638" y="419"/>
                </a:cubicBezTo>
                <a:cubicBezTo>
                  <a:pt x="1638" y="427"/>
                  <a:pt x="1640" y="429"/>
                  <a:pt x="1646" y="430"/>
                </a:cubicBezTo>
                <a:cubicBezTo>
                  <a:pt x="1646" y="430"/>
                  <a:pt x="1646" y="430"/>
                  <a:pt x="1646" y="430"/>
                </a:cubicBezTo>
                <a:cubicBezTo>
                  <a:pt x="1640" y="432"/>
                  <a:pt x="1638" y="434"/>
                  <a:pt x="1638" y="442"/>
                </a:cubicBezTo>
                <a:cubicBezTo>
                  <a:pt x="1638" y="444"/>
                  <a:pt x="1638" y="446"/>
                  <a:pt x="1638" y="448"/>
                </a:cubicBezTo>
                <a:cubicBezTo>
                  <a:pt x="1638" y="449"/>
                  <a:pt x="1638" y="451"/>
                  <a:pt x="1638" y="452"/>
                </a:cubicBezTo>
                <a:cubicBezTo>
                  <a:pt x="1638" y="456"/>
                  <a:pt x="1637" y="458"/>
                  <a:pt x="1633" y="458"/>
                </a:cubicBezTo>
                <a:cubicBezTo>
                  <a:pt x="1633" y="458"/>
                  <a:pt x="1633" y="458"/>
                  <a:pt x="1632" y="458"/>
                </a:cubicBezTo>
                <a:cubicBezTo>
                  <a:pt x="1632" y="458"/>
                  <a:pt x="1632" y="458"/>
                  <a:pt x="1632" y="467"/>
                </a:cubicBezTo>
                <a:cubicBezTo>
                  <a:pt x="1632" y="467"/>
                  <a:pt x="1632" y="467"/>
                  <a:pt x="1636" y="467"/>
                </a:cubicBezTo>
                <a:cubicBezTo>
                  <a:pt x="1644" y="467"/>
                  <a:pt x="1650" y="464"/>
                  <a:pt x="1650" y="455"/>
                </a:cubicBezTo>
                <a:cubicBezTo>
                  <a:pt x="1650" y="452"/>
                  <a:pt x="1650" y="450"/>
                  <a:pt x="1650" y="448"/>
                </a:cubicBezTo>
                <a:cubicBezTo>
                  <a:pt x="1649" y="445"/>
                  <a:pt x="1649" y="443"/>
                  <a:pt x="1649" y="440"/>
                </a:cubicBezTo>
                <a:cubicBezTo>
                  <a:pt x="1649" y="438"/>
                  <a:pt x="1650" y="435"/>
                  <a:pt x="1656" y="435"/>
                </a:cubicBezTo>
                <a:close/>
                <a:moveTo>
                  <a:pt x="1703" y="394"/>
                </a:moveTo>
                <a:cubicBezTo>
                  <a:pt x="1703" y="394"/>
                  <a:pt x="1703" y="394"/>
                  <a:pt x="1703" y="394"/>
                </a:cubicBezTo>
                <a:cubicBezTo>
                  <a:pt x="1698" y="394"/>
                  <a:pt x="1698" y="394"/>
                  <a:pt x="1698" y="394"/>
                </a:cubicBezTo>
                <a:cubicBezTo>
                  <a:pt x="1696" y="395"/>
                  <a:pt x="1695" y="397"/>
                  <a:pt x="1692" y="398"/>
                </a:cubicBezTo>
                <a:cubicBezTo>
                  <a:pt x="1691" y="399"/>
                  <a:pt x="1689" y="400"/>
                  <a:pt x="1687" y="401"/>
                </a:cubicBezTo>
                <a:cubicBezTo>
                  <a:pt x="1685" y="401"/>
                  <a:pt x="1684" y="402"/>
                  <a:pt x="1682" y="403"/>
                </a:cubicBezTo>
                <a:cubicBezTo>
                  <a:pt x="1680" y="403"/>
                  <a:pt x="1679" y="404"/>
                  <a:pt x="1676" y="405"/>
                </a:cubicBezTo>
                <a:cubicBezTo>
                  <a:pt x="1676" y="405"/>
                  <a:pt x="1676" y="405"/>
                  <a:pt x="1676" y="415"/>
                </a:cubicBezTo>
                <a:cubicBezTo>
                  <a:pt x="1679" y="414"/>
                  <a:pt x="1682" y="413"/>
                  <a:pt x="1684" y="412"/>
                </a:cubicBezTo>
                <a:cubicBezTo>
                  <a:pt x="1687" y="411"/>
                  <a:pt x="1690" y="410"/>
                  <a:pt x="1692" y="409"/>
                </a:cubicBezTo>
                <a:cubicBezTo>
                  <a:pt x="1692" y="409"/>
                  <a:pt x="1692" y="409"/>
                  <a:pt x="1692" y="467"/>
                </a:cubicBezTo>
                <a:cubicBezTo>
                  <a:pt x="1692" y="467"/>
                  <a:pt x="1692" y="467"/>
                  <a:pt x="1703" y="467"/>
                </a:cubicBezTo>
                <a:cubicBezTo>
                  <a:pt x="1703" y="467"/>
                  <a:pt x="1703" y="467"/>
                  <a:pt x="1703" y="394"/>
                </a:cubicBezTo>
                <a:close/>
                <a:moveTo>
                  <a:pt x="1750" y="394"/>
                </a:moveTo>
                <a:cubicBezTo>
                  <a:pt x="1750" y="394"/>
                  <a:pt x="1750" y="394"/>
                  <a:pt x="1750" y="394"/>
                </a:cubicBezTo>
                <a:cubicBezTo>
                  <a:pt x="1745" y="394"/>
                  <a:pt x="1745" y="394"/>
                  <a:pt x="1745" y="394"/>
                </a:cubicBezTo>
                <a:cubicBezTo>
                  <a:pt x="1743" y="395"/>
                  <a:pt x="1742" y="397"/>
                  <a:pt x="1740" y="398"/>
                </a:cubicBezTo>
                <a:cubicBezTo>
                  <a:pt x="1738" y="399"/>
                  <a:pt x="1736" y="400"/>
                  <a:pt x="1735" y="401"/>
                </a:cubicBezTo>
                <a:cubicBezTo>
                  <a:pt x="1733" y="402"/>
                  <a:pt x="1731" y="403"/>
                  <a:pt x="1730" y="403"/>
                </a:cubicBezTo>
                <a:cubicBezTo>
                  <a:pt x="1728" y="404"/>
                  <a:pt x="1726" y="405"/>
                  <a:pt x="1724" y="405"/>
                </a:cubicBezTo>
                <a:cubicBezTo>
                  <a:pt x="1724" y="405"/>
                  <a:pt x="1724" y="405"/>
                  <a:pt x="1724" y="415"/>
                </a:cubicBezTo>
                <a:cubicBezTo>
                  <a:pt x="1727" y="414"/>
                  <a:pt x="1730" y="414"/>
                  <a:pt x="1732" y="412"/>
                </a:cubicBezTo>
                <a:cubicBezTo>
                  <a:pt x="1735" y="411"/>
                  <a:pt x="1737" y="410"/>
                  <a:pt x="1739" y="409"/>
                </a:cubicBezTo>
                <a:cubicBezTo>
                  <a:pt x="1739" y="409"/>
                  <a:pt x="1739" y="409"/>
                  <a:pt x="1739" y="467"/>
                </a:cubicBezTo>
                <a:cubicBezTo>
                  <a:pt x="1739" y="467"/>
                  <a:pt x="1739" y="467"/>
                  <a:pt x="1750" y="467"/>
                </a:cubicBezTo>
                <a:cubicBezTo>
                  <a:pt x="1750" y="467"/>
                  <a:pt x="1750" y="467"/>
                  <a:pt x="1750" y="394"/>
                </a:cubicBezTo>
                <a:close/>
                <a:moveTo>
                  <a:pt x="1797" y="394"/>
                </a:moveTo>
                <a:cubicBezTo>
                  <a:pt x="1797" y="394"/>
                  <a:pt x="1797" y="394"/>
                  <a:pt x="1797" y="394"/>
                </a:cubicBezTo>
                <a:cubicBezTo>
                  <a:pt x="1793" y="394"/>
                  <a:pt x="1793" y="394"/>
                  <a:pt x="1793" y="394"/>
                </a:cubicBezTo>
                <a:cubicBezTo>
                  <a:pt x="1790" y="395"/>
                  <a:pt x="1789" y="397"/>
                  <a:pt x="1787" y="398"/>
                </a:cubicBezTo>
                <a:cubicBezTo>
                  <a:pt x="1785" y="399"/>
                  <a:pt x="1783" y="400"/>
                  <a:pt x="1782" y="401"/>
                </a:cubicBezTo>
                <a:cubicBezTo>
                  <a:pt x="1780" y="402"/>
                  <a:pt x="1778" y="403"/>
                  <a:pt x="1776" y="403"/>
                </a:cubicBezTo>
                <a:cubicBezTo>
                  <a:pt x="1775" y="404"/>
                  <a:pt x="1772" y="405"/>
                  <a:pt x="1771" y="405"/>
                </a:cubicBezTo>
                <a:cubicBezTo>
                  <a:pt x="1771" y="405"/>
                  <a:pt x="1771" y="405"/>
                  <a:pt x="1771" y="415"/>
                </a:cubicBezTo>
                <a:cubicBezTo>
                  <a:pt x="1774" y="414"/>
                  <a:pt x="1777" y="414"/>
                  <a:pt x="1779" y="412"/>
                </a:cubicBezTo>
                <a:cubicBezTo>
                  <a:pt x="1781" y="411"/>
                  <a:pt x="1784" y="410"/>
                  <a:pt x="1785" y="409"/>
                </a:cubicBezTo>
                <a:cubicBezTo>
                  <a:pt x="1785" y="409"/>
                  <a:pt x="1785" y="409"/>
                  <a:pt x="1785" y="467"/>
                </a:cubicBezTo>
                <a:cubicBezTo>
                  <a:pt x="1785" y="467"/>
                  <a:pt x="1785" y="467"/>
                  <a:pt x="1797" y="467"/>
                </a:cubicBezTo>
                <a:cubicBezTo>
                  <a:pt x="1797" y="467"/>
                  <a:pt x="1797" y="467"/>
                  <a:pt x="1797" y="394"/>
                </a:cubicBezTo>
                <a:close/>
                <a:moveTo>
                  <a:pt x="1920" y="394"/>
                </a:moveTo>
                <a:cubicBezTo>
                  <a:pt x="1920" y="394"/>
                  <a:pt x="1920" y="394"/>
                  <a:pt x="1920" y="394"/>
                </a:cubicBezTo>
                <a:cubicBezTo>
                  <a:pt x="1915" y="394"/>
                  <a:pt x="1915" y="394"/>
                  <a:pt x="1915" y="394"/>
                </a:cubicBezTo>
                <a:cubicBezTo>
                  <a:pt x="1913" y="395"/>
                  <a:pt x="1911" y="397"/>
                  <a:pt x="1909" y="398"/>
                </a:cubicBezTo>
                <a:cubicBezTo>
                  <a:pt x="1908" y="399"/>
                  <a:pt x="1906" y="400"/>
                  <a:pt x="1904" y="401"/>
                </a:cubicBezTo>
                <a:cubicBezTo>
                  <a:pt x="1903" y="402"/>
                  <a:pt x="1900" y="403"/>
                  <a:pt x="1899" y="403"/>
                </a:cubicBezTo>
                <a:cubicBezTo>
                  <a:pt x="1897" y="404"/>
                  <a:pt x="1895" y="405"/>
                  <a:pt x="1893" y="405"/>
                </a:cubicBezTo>
                <a:cubicBezTo>
                  <a:pt x="1893" y="405"/>
                  <a:pt x="1893" y="405"/>
                  <a:pt x="1893" y="415"/>
                </a:cubicBezTo>
                <a:cubicBezTo>
                  <a:pt x="1896" y="414"/>
                  <a:pt x="1899" y="414"/>
                  <a:pt x="1902" y="412"/>
                </a:cubicBezTo>
                <a:cubicBezTo>
                  <a:pt x="1904" y="411"/>
                  <a:pt x="1906" y="410"/>
                  <a:pt x="1909" y="409"/>
                </a:cubicBezTo>
                <a:cubicBezTo>
                  <a:pt x="1909" y="409"/>
                  <a:pt x="1909" y="409"/>
                  <a:pt x="1909" y="467"/>
                </a:cubicBezTo>
                <a:cubicBezTo>
                  <a:pt x="1909" y="467"/>
                  <a:pt x="1909" y="467"/>
                  <a:pt x="1920" y="467"/>
                </a:cubicBezTo>
                <a:cubicBezTo>
                  <a:pt x="1920" y="467"/>
                  <a:pt x="1920" y="467"/>
                  <a:pt x="1920" y="394"/>
                </a:cubicBezTo>
                <a:close/>
                <a:moveTo>
                  <a:pt x="1818" y="426"/>
                </a:moveTo>
                <a:cubicBezTo>
                  <a:pt x="1818" y="426"/>
                  <a:pt x="1818" y="426"/>
                  <a:pt x="1818" y="426"/>
                </a:cubicBezTo>
                <a:cubicBezTo>
                  <a:pt x="1818" y="435"/>
                  <a:pt x="1818" y="435"/>
                  <a:pt x="1818" y="435"/>
                </a:cubicBezTo>
                <a:cubicBezTo>
                  <a:pt x="1824" y="435"/>
                  <a:pt x="1825" y="438"/>
                  <a:pt x="1825" y="440"/>
                </a:cubicBezTo>
                <a:cubicBezTo>
                  <a:pt x="1825" y="443"/>
                  <a:pt x="1824" y="445"/>
                  <a:pt x="1824" y="448"/>
                </a:cubicBezTo>
                <a:cubicBezTo>
                  <a:pt x="1824" y="450"/>
                  <a:pt x="1824" y="452"/>
                  <a:pt x="1824" y="455"/>
                </a:cubicBezTo>
                <a:cubicBezTo>
                  <a:pt x="1824" y="464"/>
                  <a:pt x="1829" y="467"/>
                  <a:pt x="1838" y="467"/>
                </a:cubicBezTo>
                <a:cubicBezTo>
                  <a:pt x="1838" y="467"/>
                  <a:pt x="1838" y="467"/>
                  <a:pt x="1842" y="467"/>
                </a:cubicBezTo>
                <a:cubicBezTo>
                  <a:pt x="1842" y="467"/>
                  <a:pt x="1842" y="467"/>
                  <a:pt x="1842" y="458"/>
                </a:cubicBezTo>
                <a:cubicBezTo>
                  <a:pt x="1842" y="458"/>
                  <a:pt x="1842" y="458"/>
                  <a:pt x="1840" y="458"/>
                </a:cubicBezTo>
                <a:cubicBezTo>
                  <a:pt x="1836" y="458"/>
                  <a:pt x="1835" y="456"/>
                  <a:pt x="1835" y="452"/>
                </a:cubicBezTo>
                <a:cubicBezTo>
                  <a:pt x="1835" y="451"/>
                  <a:pt x="1835" y="449"/>
                  <a:pt x="1836" y="448"/>
                </a:cubicBezTo>
                <a:cubicBezTo>
                  <a:pt x="1836" y="446"/>
                  <a:pt x="1836" y="444"/>
                  <a:pt x="1836" y="442"/>
                </a:cubicBezTo>
                <a:cubicBezTo>
                  <a:pt x="1836" y="434"/>
                  <a:pt x="1833" y="432"/>
                  <a:pt x="1828" y="430"/>
                </a:cubicBezTo>
                <a:cubicBezTo>
                  <a:pt x="1828" y="430"/>
                  <a:pt x="1828" y="430"/>
                  <a:pt x="1828" y="430"/>
                </a:cubicBezTo>
                <a:cubicBezTo>
                  <a:pt x="1833" y="429"/>
                  <a:pt x="1836" y="427"/>
                  <a:pt x="1836" y="419"/>
                </a:cubicBezTo>
                <a:cubicBezTo>
                  <a:pt x="1836" y="417"/>
                  <a:pt x="1836" y="415"/>
                  <a:pt x="1836" y="413"/>
                </a:cubicBezTo>
                <a:cubicBezTo>
                  <a:pt x="1835" y="411"/>
                  <a:pt x="1835" y="409"/>
                  <a:pt x="1835" y="408"/>
                </a:cubicBezTo>
                <a:cubicBezTo>
                  <a:pt x="1835" y="405"/>
                  <a:pt x="1836" y="402"/>
                  <a:pt x="1840" y="402"/>
                </a:cubicBezTo>
                <a:cubicBezTo>
                  <a:pt x="1840" y="402"/>
                  <a:pt x="1840" y="402"/>
                  <a:pt x="1842" y="402"/>
                </a:cubicBezTo>
                <a:cubicBezTo>
                  <a:pt x="1842" y="402"/>
                  <a:pt x="1842" y="402"/>
                  <a:pt x="1842" y="393"/>
                </a:cubicBezTo>
                <a:cubicBezTo>
                  <a:pt x="1842" y="393"/>
                  <a:pt x="1842" y="393"/>
                  <a:pt x="1838" y="393"/>
                </a:cubicBezTo>
                <a:cubicBezTo>
                  <a:pt x="1829" y="393"/>
                  <a:pt x="1824" y="397"/>
                  <a:pt x="1824" y="406"/>
                </a:cubicBezTo>
                <a:cubicBezTo>
                  <a:pt x="1824" y="408"/>
                  <a:pt x="1824" y="411"/>
                  <a:pt x="1824" y="413"/>
                </a:cubicBezTo>
                <a:cubicBezTo>
                  <a:pt x="1824" y="415"/>
                  <a:pt x="1825" y="418"/>
                  <a:pt x="1825" y="420"/>
                </a:cubicBezTo>
                <a:cubicBezTo>
                  <a:pt x="1825" y="423"/>
                  <a:pt x="1824" y="426"/>
                  <a:pt x="1818" y="426"/>
                </a:cubicBezTo>
                <a:close/>
                <a:moveTo>
                  <a:pt x="1873" y="435"/>
                </a:moveTo>
                <a:cubicBezTo>
                  <a:pt x="1873" y="435"/>
                  <a:pt x="1873" y="435"/>
                  <a:pt x="1873" y="435"/>
                </a:cubicBezTo>
                <a:cubicBezTo>
                  <a:pt x="1873" y="426"/>
                  <a:pt x="1873" y="426"/>
                  <a:pt x="1873" y="426"/>
                </a:cubicBezTo>
                <a:cubicBezTo>
                  <a:pt x="1866" y="426"/>
                  <a:pt x="1866" y="423"/>
                  <a:pt x="1866" y="420"/>
                </a:cubicBezTo>
                <a:cubicBezTo>
                  <a:pt x="1866" y="418"/>
                  <a:pt x="1866" y="415"/>
                  <a:pt x="1866" y="413"/>
                </a:cubicBezTo>
                <a:cubicBezTo>
                  <a:pt x="1867" y="411"/>
                  <a:pt x="1867" y="408"/>
                  <a:pt x="1867" y="406"/>
                </a:cubicBezTo>
                <a:cubicBezTo>
                  <a:pt x="1867" y="397"/>
                  <a:pt x="1862" y="393"/>
                  <a:pt x="1852" y="393"/>
                </a:cubicBezTo>
                <a:cubicBezTo>
                  <a:pt x="1852" y="393"/>
                  <a:pt x="1852" y="393"/>
                  <a:pt x="1848" y="393"/>
                </a:cubicBezTo>
                <a:cubicBezTo>
                  <a:pt x="1848" y="393"/>
                  <a:pt x="1848" y="393"/>
                  <a:pt x="1848" y="402"/>
                </a:cubicBezTo>
                <a:cubicBezTo>
                  <a:pt x="1848" y="402"/>
                  <a:pt x="1848" y="402"/>
                  <a:pt x="1850" y="402"/>
                </a:cubicBezTo>
                <a:cubicBezTo>
                  <a:pt x="1854" y="402"/>
                  <a:pt x="1855" y="405"/>
                  <a:pt x="1855" y="408"/>
                </a:cubicBezTo>
                <a:cubicBezTo>
                  <a:pt x="1855" y="409"/>
                  <a:pt x="1855" y="411"/>
                  <a:pt x="1855" y="413"/>
                </a:cubicBezTo>
                <a:cubicBezTo>
                  <a:pt x="1854" y="415"/>
                  <a:pt x="1854" y="417"/>
                  <a:pt x="1854" y="419"/>
                </a:cubicBezTo>
                <a:cubicBezTo>
                  <a:pt x="1854" y="427"/>
                  <a:pt x="1857" y="429"/>
                  <a:pt x="1863" y="430"/>
                </a:cubicBezTo>
                <a:cubicBezTo>
                  <a:pt x="1863" y="430"/>
                  <a:pt x="1863" y="430"/>
                  <a:pt x="1863" y="430"/>
                </a:cubicBezTo>
                <a:cubicBezTo>
                  <a:pt x="1857" y="432"/>
                  <a:pt x="1854" y="434"/>
                  <a:pt x="1854" y="442"/>
                </a:cubicBezTo>
                <a:cubicBezTo>
                  <a:pt x="1854" y="444"/>
                  <a:pt x="1854" y="446"/>
                  <a:pt x="1855" y="448"/>
                </a:cubicBezTo>
                <a:cubicBezTo>
                  <a:pt x="1855" y="449"/>
                  <a:pt x="1855" y="451"/>
                  <a:pt x="1855" y="452"/>
                </a:cubicBezTo>
                <a:cubicBezTo>
                  <a:pt x="1855" y="456"/>
                  <a:pt x="1854" y="458"/>
                  <a:pt x="1850" y="458"/>
                </a:cubicBezTo>
                <a:cubicBezTo>
                  <a:pt x="1850" y="458"/>
                  <a:pt x="1850" y="458"/>
                  <a:pt x="1848" y="458"/>
                </a:cubicBezTo>
                <a:cubicBezTo>
                  <a:pt x="1848" y="458"/>
                  <a:pt x="1848" y="458"/>
                  <a:pt x="1848" y="467"/>
                </a:cubicBezTo>
                <a:cubicBezTo>
                  <a:pt x="1848" y="467"/>
                  <a:pt x="1848" y="467"/>
                  <a:pt x="1852" y="467"/>
                </a:cubicBezTo>
                <a:cubicBezTo>
                  <a:pt x="1861" y="467"/>
                  <a:pt x="1867" y="464"/>
                  <a:pt x="1867" y="455"/>
                </a:cubicBezTo>
                <a:cubicBezTo>
                  <a:pt x="1867" y="452"/>
                  <a:pt x="1867" y="450"/>
                  <a:pt x="1866" y="448"/>
                </a:cubicBezTo>
                <a:cubicBezTo>
                  <a:pt x="1866" y="445"/>
                  <a:pt x="1866" y="443"/>
                  <a:pt x="1866" y="440"/>
                </a:cubicBezTo>
                <a:cubicBezTo>
                  <a:pt x="1866" y="438"/>
                  <a:pt x="1866" y="435"/>
                  <a:pt x="1873" y="435"/>
                </a:cubicBezTo>
                <a:close/>
                <a:moveTo>
                  <a:pt x="1014" y="345"/>
                </a:moveTo>
                <a:cubicBezTo>
                  <a:pt x="1014" y="347"/>
                  <a:pt x="1015" y="348"/>
                  <a:pt x="1015" y="350"/>
                </a:cubicBezTo>
                <a:cubicBezTo>
                  <a:pt x="1016" y="351"/>
                  <a:pt x="1016" y="353"/>
                  <a:pt x="1017" y="355"/>
                </a:cubicBezTo>
                <a:cubicBezTo>
                  <a:pt x="1017" y="356"/>
                  <a:pt x="1017" y="358"/>
                  <a:pt x="1017" y="360"/>
                </a:cubicBezTo>
                <a:cubicBezTo>
                  <a:pt x="1018" y="363"/>
                  <a:pt x="1017" y="364"/>
                  <a:pt x="1014" y="364"/>
                </a:cubicBezTo>
                <a:cubicBezTo>
                  <a:pt x="1011" y="364"/>
                  <a:pt x="1008" y="364"/>
                  <a:pt x="1005" y="364"/>
                </a:cubicBezTo>
                <a:cubicBezTo>
                  <a:pt x="1005" y="364"/>
                  <a:pt x="1004" y="364"/>
                  <a:pt x="1004" y="364"/>
                </a:cubicBezTo>
                <a:cubicBezTo>
                  <a:pt x="1002" y="366"/>
                  <a:pt x="1001" y="367"/>
                  <a:pt x="999" y="369"/>
                </a:cubicBezTo>
                <a:cubicBezTo>
                  <a:pt x="997" y="371"/>
                  <a:pt x="994" y="371"/>
                  <a:pt x="992" y="369"/>
                </a:cubicBezTo>
                <a:cubicBezTo>
                  <a:pt x="990" y="367"/>
                  <a:pt x="989" y="365"/>
                  <a:pt x="987" y="362"/>
                </a:cubicBezTo>
                <a:cubicBezTo>
                  <a:pt x="986" y="360"/>
                  <a:pt x="987" y="359"/>
                  <a:pt x="989" y="357"/>
                </a:cubicBezTo>
                <a:cubicBezTo>
                  <a:pt x="986" y="357"/>
                  <a:pt x="985" y="357"/>
                  <a:pt x="983" y="357"/>
                </a:cubicBezTo>
                <a:cubicBezTo>
                  <a:pt x="982" y="359"/>
                  <a:pt x="981" y="361"/>
                  <a:pt x="980" y="363"/>
                </a:cubicBezTo>
                <a:cubicBezTo>
                  <a:pt x="980" y="364"/>
                  <a:pt x="980" y="365"/>
                  <a:pt x="980" y="365"/>
                </a:cubicBezTo>
                <a:cubicBezTo>
                  <a:pt x="980" y="369"/>
                  <a:pt x="979" y="370"/>
                  <a:pt x="976" y="369"/>
                </a:cubicBezTo>
                <a:cubicBezTo>
                  <a:pt x="973" y="369"/>
                  <a:pt x="970" y="368"/>
                  <a:pt x="967" y="367"/>
                </a:cubicBezTo>
                <a:cubicBezTo>
                  <a:pt x="965" y="367"/>
                  <a:pt x="964" y="365"/>
                  <a:pt x="965" y="363"/>
                </a:cubicBezTo>
                <a:cubicBezTo>
                  <a:pt x="965" y="362"/>
                  <a:pt x="965" y="362"/>
                  <a:pt x="965" y="362"/>
                </a:cubicBezTo>
                <a:cubicBezTo>
                  <a:pt x="963" y="360"/>
                  <a:pt x="961" y="360"/>
                  <a:pt x="959" y="358"/>
                </a:cubicBezTo>
                <a:cubicBezTo>
                  <a:pt x="958" y="357"/>
                  <a:pt x="956" y="355"/>
                  <a:pt x="956" y="354"/>
                </a:cubicBezTo>
                <a:cubicBezTo>
                  <a:pt x="955" y="352"/>
                  <a:pt x="955" y="350"/>
                  <a:pt x="957" y="348"/>
                </a:cubicBezTo>
                <a:cubicBezTo>
                  <a:pt x="960" y="346"/>
                  <a:pt x="961" y="343"/>
                  <a:pt x="960" y="339"/>
                </a:cubicBezTo>
                <a:cubicBezTo>
                  <a:pt x="960" y="337"/>
                  <a:pt x="960" y="335"/>
                  <a:pt x="960" y="333"/>
                </a:cubicBezTo>
                <a:cubicBezTo>
                  <a:pt x="959" y="333"/>
                  <a:pt x="957" y="332"/>
                  <a:pt x="956" y="331"/>
                </a:cubicBezTo>
                <a:cubicBezTo>
                  <a:pt x="955" y="329"/>
                  <a:pt x="954" y="327"/>
                  <a:pt x="954" y="325"/>
                </a:cubicBezTo>
                <a:cubicBezTo>
                  <a:pt x="954" y="323"/>
                  <a:pt x="957" y="320"/>
                  <a:pt x="960" y="319"/>
                </a:cubicBezTo>
                <a:cubicBezTo>
                  <a:pt x="960" y="320"/>
                  <a:pt x="960" y="321"/>
                  <a:pt x="961" y="322"/>
                </a:cubicBezTo>
                <a:cubicBezTo>
                  <a:pt x="961" y="323"/>
                  <a:pt x="961" y="323"/>
                  <a:pt x="961" y="325"/>
                </a:cubicBezTo>
                <a:cubicBezTo>
                  <a:pt x="960" y="324"/>
                  <a:pt x="960" y="324"/>
                  <a:pt x="960" y="324"/>
                </a:cubicBezTo>
                <a:cubicBezTo>
                  <a:pt x="959" y="325"/>
                  <a:pt x="959" y="327"/>
                  <a:pt x="958" y="329"/>
                </a:cubicBezTo>
                <a:cubicBezTo>
                  <a:pt x="959" y="328"/>
                  <a:pt x="960" y="328"/>
                  <a:pt x="960" y="328"/>
                </a:cubicBezTo>
                <a:cubicBezTo>
                  <a:pt x="961" y="327"/>
                  <a:pt x="962" y="326"/>
                  <a:pt x="963" y="325"/>
                </a:cubicBezTo>
                <a:cubicBezTo>
                  <a:pt x="967" y="318"/>
                  <a:pt x="973" y="314"/>
                  <a:pt x="981" y="312"/>
                </a:cubicBezTo>
                <a:cubicBezTo>
                  <a:pt x="984" y="312"/>
                  <a:pt x="988" y="311"/>
                  <a:pt x="990" y="308"/>
                </a:cubicBezTo>
                <a:cubicBezTo>
                  <a:pt x="990" y="308"/>
                  <a:pt x="991" y="307"/>
                  <a:pt x="991" y="307"/>
                </a:cubicBezTo>
                <a:cubicBezTo>
                  <a:pt x="994" y="307"/>
                  <a:pt x="995" y="304"/>
                  <a:pt x="997" y="303"/>
                </a:cubicBezTo>
                <a:cubicBezTo>
                  <a:pt x="1005" y="295"/>
                  <a:pt x="1017" y="295"/>
                  <a:pt x="1025" y="301"/>
                </a:cubicBezTo>
                <a:cubicBezTo>
                  <a:pt x="1027" y="303"/>
                  <a:pt x="1030" y="305"/>
                  <a:pt x="1032" y="307"/>
                </a:cubicBezTo>
                <a:cubicBezTo>
                  <a:pt x="1034" y="308"/>
                  <a:pt x="1035" y="310"/>
                  <a:pt x="1036" y="312"/>
                </a:cubicBezTo>
                <a:cubicBezTo>
                  <a:pt x="1037" y="314"/>
                  <a:pt x="1038" y="314"/>
                  <a:pt x="1039" y="312"/>
                </a:cubicBezTo>
                <a:cubicBezTo>
                  <a:pt x="1040" y="312"/>
                  <a:pt x="1040" y="311"/>
                  <a:pt x="1041" y="310"/>
                </a:cubicBezTo>
                <a:cubicBezTo>
                  <a:pt x="1043" y="308"/>
                  <a:pt x="1046" y="308"/>
                  <a:pt x="1047" y="311"/>
                </a:cubicBezTo>
                <a:cubicBezTo>
                  <a:pt x="1049" y="314"/>
                  <a:pt x="1049" y="317"/>
                  <a:pt x="1050" y="320"/>
                </a:cubicBezTo>
                <a:cubicBezTo>
                  <a:pt x="1051" y="324"/>
                  <a:pt x="1050" y="329"/>
                  <a:pt x="1049" y="333"/>
                </a:cubicBezTo>
                <a:cubicBezTo>
                  <a:pt x="1046" y="339"/>
                  <a:pt x="1042" y="343"/>
                  <a:pt x="1035" y="343"/>
                </a:cubicBezTo>
                <a:cubicBezTo>
                  <a:pt x="1034" y="343"/>
                  <a:pt x="1034" y="343"/>
                  <a:pt x="1033" y="343"/>
                </a:cubicBezTo>
                <a:cubicBezTo>
                  <a:pt x="1030" y="343"/>
                  <a:pt x="1029" y="343"/>
                  <a:pt x="1029" y="345"/>
                </a:cubicBezTo>
                <a:cubicBezTo>
                  <a:pt x="1027" y="350"/>
                  <a:pt x="1021" y="351"/>
                  <a:pt x="1018" y="348"/>
                </a:cubicBezTo>
                <a:cubicBezTo>
                  <a:pt x="1017" y="347"/>
                  <a:pt x="1016" y="346"/>
                  <a:pt x="1015" y="345"/>
                </a:cubicBezTo>
                <a:cubicBezTo>
                  <a:pt x="1014" y="345"/>
                  <a:pt x="1014" y="345"/>
                  <a:pt x="1014" y="345"/>
                </a:cubicBezTo>
                <a:close/>
                <a:moveTo>
                  <a:pt x="1008" y="341"/>
                </a:moveTo>
                <a:cubicBezTo>
                  <a:pt x="1012" y="343"/>
                  <a:pt x="1015" y="344"/>
                  <a:pt x="1018" y="346"/>
                </a:cubicBezTo>
                <a:cubicBezTo>
                  <a:pt x="1020" y="348"/>
                  <a:pt x="1022" y="349"/>
                  <a:pt x="1024" y="348"/>
                </a:cubicBezTo>
                <a:cubicBezTo>
                  <a:pt x="1027" y="347"/>
                  <a:pt x="1028" y="345"/>
                  <a:pt x="1028" y="342"/>
                </a:cubicBezTo>
                <a:cubicBezTo>
                  <a:pt x="1028" y="343"/>
                  <a:pt x="1027" y="343"/>
                  <a:pt x="1027" y="343"/>
                </a:cubicBezTo>
                <a:cubicBezTo>
                  <a:pt x="1027" y="344"/>
                  <a:pt x="1025" y="345"/>
                  <a:pt x="1025" y="346"/>
                </a:cubicBezTo>
                <a:cubicBezTo>
                  <a:pt x="1023" y="348"/>
                  <a:pt x="1022" y="347"/>
                  <a:pt x="1021" y="347"/>
                </a:cubicBezTo>
                <a:cubicBezTo>
                  <a:pt x="1021" y="347"/>
                  <a:pt x="1020" y="346"/>
                  <a:pt x="1020" y="345"/>
                </a:cubicBezTo>
                <a:cubicBezTo>
                  <a:pt x="1020" y="343"/>
                  <a:pt x="1021" y="341"/>
                  <a:pt x="1021" y="339"/>
                </a:cubicBezTo>
                <a:cubicBezTo>
                  <a:pt x="1024" y="339"/>
                  <a:pt x="1027" y="341"/>
                  <a:pt x="1031" y="341"/>
                </a:cubicBezTo>
                <a:cubicBezTo>
                  <a:pt x="1038" y="342"/>
                  <a:pt x="1044" y="341"/>
                  <a:pt x="1047" y="332"/>
                </a:cubicBezTo>
                <a:cubicBezTo>
                  <a:pt x="1049" y="327"/>
                  <a:pt x="1049" y="322"/>
                  <a:pt x="1048" y="317"/>
                </a:cubicBezTo>
                <a:cubicBezTo>
                  <a:pt x="1047" y="315"/>
                  <a:pt x="1047" y="314"/>
                  <a:pt x="1046" y="312"/>
                </a:cubicBezTo>
                <a:cubicBezTo>
                  <a:pt x="1045" y="310"/>
                  <a:pt x="1044" y="310"/>
                  <a:pt x="1043" y="311"/>
                </a:cubicBezTo>
                <a:cubicBezTo>
                  <a:pt x="1041" y="313"/>
                  <a:pt x="1040" y="314"/>
                  <a:pt x="1038" y="315"/>
                </a:cubicBezTo>
                <a:cubicBezTo>
                  <a:pt x="1037" y="316"/>
                  <a:pt x="1036" y="316"/>
                  <a:pt x="1036" y="318"/>
                </a:cubicBezTo>
                <a:cubicBezTo>
                  <a:pt x="1037" y="321"/>
                  <a:pt x="1036" y="324"/>
                  <a:pt x="1035" y="327"/>
                </a:cubicBezTo>
                <a:cubicBezTo>
                  <a:pt x="1035" y="325"/>
                  <a:pt x="1036" y="323"/>
                  <a:pt x="1036" y="322"/>
                </a:cubicBezTo>
                <a:cubicBezTo>
                  <a:pt x="1036" y="321"/>
                  <a:pt x="1035" y="320"/>
                  <a:pt x="1035" y="320"/>
                </a:cubicBezTo>
                <a:cubicBezTo>
                  <a:pt x="1034" y="320"/>
                  <a:pt x="1034" y="320"/>
                  <a:pt x="1034" y="321"/>
                </a:cubicBezTo>
                <a:cubicBezTo>
                  <a:pt x="1033" y="322"/>
                  <a:pt x="1032" y="323"/>
                  <a:pt x="1031" y="325"/>
                </a:cubicBezTo>
                <a:cubicBezTo>
                  <a:pt x="1031" y="325"/>
                  <a:pt x="1031" y="325"/>
                  <a:pt x="1031" y="325"/>
                </a:cubicBezTo>
                <a:cubicBezTo>
                  <a:pt x="1031" y="323"/>
                  <a:pt x="1032" y="322"/>
                  <a:pt x="1032" y="319"/>
                </a:cubicBezTo>
                <a:cubicBezTo>
                  <a:pt x="1031" y="320"/>
                  <a:pt x="1030" y="320"/>
                  <a:pt x="1030" y="321"/>
                </a:cubicBezTo>
                <a:cubicBezTo>
                  <a:pt x="1029" y="322"/>
                  <a:pt x="1029" y="322"/>
                  <a:pt x="1029" y="323"/>
                </a:cubicBezTo>
                <a:cubicBezTo>
                  <a:pt x="1029" y="320"/>
                  <a:pt x="1029" y="320"/>
                  <a:pt x="1035" y="318"/>
                </a:cubicBezTo>
                <a:cubicBezTo>
                  <a:pt x="1035" y="318"/>
                  <a:pt x="1034" y="317"/>
                  <a:pt x="1034" y="317"/>
                </a:cubicBezTo>
                <a:cubicBezTo>
                  <a:pt x="1031" y="318"/>
                  <a:pt x="1030" y="316"/>
                  <a:pt x="1030" y="314"/>
                </a:cubicBezTo>
                <a:cubicBezTo>
                  <a:pt x="1032" y="314"/>
                  <a:pt x="1033" y="313"/>
                  <a:pt x="1035" y="313"/>
                </a:cubicBezTo>
                <a:cubicBezTo>
                  <a:pt x="1033" y="310"/>
                  <a:pt x="1032" y="308"/>
                  <a:pt x="1029" y="307"/>
                </a:cubicBezTo>
                <a:cubicBezTo>
                  <a:pt x="1028" y="307"/>
                  <a:pt x="1028" y="307"/>
                  <a:pt x="1028" y="306"/>
                </a:cubicBezTo>
                <a:cubicBezTo>
                  <a:pt x="1025" y="304"/>
                  <a:pt x="1023" y="302"/>
                  <a:pt x="1020" y="300"/>
                </a:cubicBezTo>
                <a:cubicBezTo>
                  <a:pt x="1018" y="299"/>
                  <a:pt x="1015" y="298"/>
                  <a:pt x="1013" y="298"/>
                </a:cubicBezTo>
                <a:cubicBezTo>
                  <a:pt x="1010" y="299"/>
                  <a:pt x="1006" y="300"/>
                  <a:pt x="1003" y="301"/>
                </a:cubicBezTo>
                <a:cubicBezTo>
                  <a:pt x="1001" y="302"/>
                  <a:pt x="998" y="303"/>
                  <a:pt x="996" y="306"/>
                </a:cubicBezTo>
                <a:cubicBezTo>
                  <a:pt x="998" y="306"/>
                  <a:pt x="999" y="306"/>
                  <a:pt x="1000" y="306"/>
                </a:cubicBezTo>
                <a:cubicBezTo>
                  <a:pt x="1000" y="307"/>
                  <a:pt x="999" y="307"/>
                  <a:pt x="998" y="307"/>
                </a:cubicBezTo>
                <a:cubicBezTo>
                  <a:pt x="996" y="308"/>
                  <a:pt x="993" y="307"/>
                  <a:pt x="991" y="310"/>
                </a:cubicBezTo>
                <a:cubicBezTo>
                  <a:pt x="988" y="314"/>
                  <a:pt x="984" y="317"/>
                  <a:pt x="980" y="322"/>
                </a:cubicBezTo>
                <a:cubicBezTo>
                  <a:pt x="978" y="323"/>
                  <a:pt x="978" y="326"/>
                  <a:pt x="976" y="328"/>
                </a:cubicBezTo>
                <a:cubicBezTo>
                  <a:pt x="976" y="329"/>
                  <a:pt x="976" y="329"/>
                  <a:pt x="977" y="330"/>
                </a:cubicBezTo>
                <a:cubicBezTo>
                  <a:pt x="978" y="332"/>
                  <a:pt x="979" y="334"/>
                  <a:pt x="981" y="336"/>
                </a:cubicBezTo>
                <a:cubicBezTo>
                  <a:pt x="982" y="334"/>
                  <a:pt x="983" y="333"/>
                  <a:pt x="984" y="331"/>
                </a:cubicBezTo>
                <a:cubicBezTo>
                  <a:pt x="984" y="333"/>
                  <a:pt x="984" y="334"/>
                  <a:pt x="983" y="335"/>
                </a:cubicBezTo>
                <a:cubicBezTo>
                  <a:pt x="982" y="337"/>
                  <a:pt x="981" y="338"/>
                  <a:pt x="981" y="339"/>
                </a:cubicBezTo>
                <a:cubicBezTo>
                  <a:pt x="980" y="340"/>
                  <a:pt x="981" y="341"/>
                  <a:pt x="981" y="342"/>
                </a:cubicBezTo>
                <a:cubicBezTo>
                  <a:pt x="984" y="346"/>
                  <a:pt x="987" y="346"/>
                  <a:pt x="991" y="344"/>
                </a:cubicBezTo>
                <a:cubicBezTo>
                  <a:pt x="993" y="342"/>
                  <a:pt x="996" y="341"/>
                  <a:pt x="999" y="340"/>
                </a:cubicBezTo>
                <a:cubicBezTo>
                  <a:pt x="1000" y="340"/>
                  <a:pt x="1001" y="339"/>
                  <a:pt x="1001" y="337"/>
                </a:cubicBezTo>
                <a:cubicBezTo>
                  <a:pt x="1001" y="334"/>
                  <a:pt x="1001" y="331"/>
                  <a:pt x="1001" y="327"/>
                </a:cubicBezTo>
                <a:cubicBezTo>
                  <a:pt x="1001" y="324"/>
                  <a:pt x="1001" y="322"/>
                  <a:pt x="1001" y="318"/>
                </a:cubicBezTo>
                <a:cubicBezTo>
                  <a:pt x="1002" y="321"/>
                  <a:pt x="1002" y="324"/>
                  <a:pt x="1003" y="326"/>
                </a:cubicBezTo>
                <a:cubicBezTo>
                  <a:pt x="1004" y="331"/>
                  <a:pt x="1004" y="335"/>
                  <a:pt x="1002" y="340"/>
                </a:cubicBezTo>
                <a:cubicBezTo>
                  <a:pt x="1002" y="341"/>
                  <a:pt x="1001" y="341"/>
                  <a:pt x="1001" y="341"/>
                </a:cubicBezTo>
                <a:cubicBezTo>
                  <a:pt x="997" y="342"/>
                  <a:pt x="994" y="344"/>
                  <a:pt x="991" y="345"/>
                </a:cubicBezTo>
                <a:cubicBezTo>
                  <a:pt x="986" y="348"/>
                  <a:pt x="982" y="346"/>
                  <a:pt x="979" y="343"/>
                </a:cubicBezTo>
                <a:cubicBezTo>
                  <a:pt x="978" y="342"/>
                  <a:pt x="978" y="341"/>
                  <a:pt x="979" y="341"/>
                </a:cubicBezTo>
                <a:cubicBezTo>
                  <a:pt x="980" y="338"/>
                  <a:pt x="979" y="336"/>
                  <a:pt x="977" y="334"/>
                </a:cubicBezTo>
                <a:cubicBezTo>
                  <a:pt x="976" y="332"/>
                  <a:pt x="974" y="330"/>
                  <a:pt x="975" y="327"/>
                </a:cubicBezTo>
                <a:cubicBezTo>
                  <a:pt x="976" y="325"/>
                  <a:pt x="977" y="323"/>
                  <a:pt x="978" y="322"/>
                </a:cubicBezTo>
                <a:cubicBezTo>
                  <a:pt x="980" y="319"/>
                  <a:pt x="982" y="317"/>
                  <a:pt x="984" y="314"/>
                </a:cubicBezTo>
                <a:cubicBezTo>
                  <a:pt x="984" y="314"/>
                  <a:pt x="983" y="314"/>
                  <a:pt x="983" y="314"/>
                </a:cubicBezTo>
                <a:cubicBezTo>
                  <a:pt x="978" y="315"/>
                  <a:pt x="973" y="317"/>
                  <a:pt x="969" y="320"/>
                </a:cubicBezTo>
                <a:cubicBezTo>
                  <a:pt x="965" y="324"/>
                  <a:pt x="962" y="329"/>
                  <a:pt x="961" y="336"/>
                </a:cubicBezTo>
                <a:cubicBezTo>
                  <a:pt x="961" y="343"/>
                  <a:pt x="963" y="349"/>
                  <a:pt x="967" y="355"/>
                </a:cubicBezTo>
                <a:cubicBezTo>
                  <a:pt x="967" y="356"/>
                  <a:pt x="968" y="357"/>
                  <a:pt x="968" y="358"/>
                </a:cubicBezTo>
                <a:cubicBezTo>
                  <a:pt x="968" y="360"/>
                  <a:pt x="967" y="362"/>
                  <a:pt x="967" y="363"/>
                </a:cubicBezTo>
                <a:cubicBezTo>
                  <a:pt x="966" y="365"/>
                  <a:pt x="967" y="365"/>
                  <a:pt x="968" y="366"/>
                </a:cubicBezTo>
                <a:cubicBezTo>
                  <a:pt x="971" y="367"/>
                  <a:pt x="974" y="367"/>
                  <a:pt x="976" y="367"/>
                </a:cubicBezTo>
                <a:cubicBezTo>
                  <a:pt x="977" y="367"/>
                  <a:pt x="978" y="367"/>
                  <a:pt x="978" y="366"/>
                </a:cubicBezTo>
                <a:cubicBezTo>
                  <a:pt x="978" y="365"/>
                  <a:pt x="978" y="363"/>
                  <a:pt x="979" y="363"/>
                </a:cubicBezTo>
                <a:cubicBezTo>
                  <a:pt x="981" y="360"/>
                  <a:pt x="981" y="358"/>
                  <a:pt x="981" y="355"/>
                </a:cubicBezTo>
                <a:cubicBezTo>
                  <a:pt x="981" y="354"/>
                  <a:pt x="981" y="354"/>
                  <a:pt x="981" y="354"/>
                </a:cubicBezTo>
                <a:cubicBezTo>
                  <a:pt x="981" y="353"/>
                  <a:pt x="981" y="353"/>
                  <a:pt x="981" y="353"/>
                </a:cubicBezTo>
                <a:cubicBezTo>
                  <a:pt x="982" y="356"/>
                  <a:pt x="983" y="356"/>
                  <a:pt x="985" y="356"/>
                </a:cubicBezTo>
                <a:cubicBezTo>
                  <a:pt x="986" y="356"/>
                  <a:pt x="987" y="356"/>
                  <a:pt x="988" y="356"/>
                </a:cubicBezTo>
                <a:cubicBezTo>
                  <a:pt x="990" y="356"/>
                  <a:pt x="993" y="356"/>
                  <a:pt x="994" y="352"/>
                </a:cubicBezTo>
                <a:cubicBezTo>
                  <a:pt x="994" y="354"/>
                  <a:pt x="994" y="356"/>
                  <a:pt x="994" y="357"/>
                </a:cubicBezTo>
                <a:cubicBezTo>
                  <a:pt x="993" y="358"/>
                  <a:pt x="991" y="358"/>
                  <a:pt x="990" y="359"/>
                </a:cubicBezTo>
                <a:cubicBezTo>
                  <a:pt x="989" y="360"/>
                  <a:pt x="988" y="361"/>
                  <a:pt x="989" y="362"/>
                </a:cubicBezTo>
                <a:cubicBezTo>
                  <a:pt x="990" y="364"/>
                  <a:pt x="991" y="366"/>
                  <a:pt x="993" y="368"/>
                </a:cubicBezTo>
                <a:cubicBezTo>
                  <a:pt x="995" y="369"/>
                  <a:pt x="997" y="369"/>
                  <a:pt x="998" y="367"/>
                </a:cubicBezTo>
                <a:cubicBezTo>
                  <a:pt x="999" y="367"/>
                  <a:pt x="999" y="366"/>
                  <a:pt x="1000" y="365"/>
                </a:cubicBezTo>
                <a:cubicBezTo>
                  <a:pt x="1002" y="364"/>
                  <a:pt x="1003" y="363"/>
                  <a:pt x="1005" y="362"/>
                </a:cubicBezTo>
                <a:cubicBezTo>
                  <a:pt x="1009" y="357"/>
                  <a:pt x="1011" y="351"/>
                  <a:pt x="1013" y="345"/>
                </a:cubicBezTo>
                <a:cubicBezTo>
                  <a:pt x="1013" y="345"/>
                  <a:pt x="1012" y="344"/>
                  <a:pt x="1012" y="344"/>
                </a:cubicBezTo>
                <a:cubicBezTo>
                  <a:pt x="1011" y="343"/>
                  <a:pt x="1010" y="342"/>
                  <a:pt x="1008" y="341"/>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8"/>
                  <a:pt x="966" y="356"/>
                </a:cubicBezTo>
                <a:cubicBezTo>
                  <a:pt x="964" y="353"/>
                  <a:pt x="963" y="350"/>
                  <a:pt x="961" y="347"/>
                </a:cubicBezTo>
                <a:close/>
                <a:moveTo>
                  <a:pt x="1014" y="349"/>
                </a:moveTo>
                <a:cubicBezTo>
                  <a:pt x="1012" y="354"/>
                  <a:pt x="1009" y="358"/>
                  <a:pt x="1007" y="363"/>
                </a:cubicBezTo>
                <a:cubicBezTo>
                  <a:pt x="1010" y="363"/>
                  <a:pt x="1012" y="363"/>
                  <a:pt x="1015" y="363"/>
                </a:cubicBezTo>
                <a:cubicBezTo>
                  <a:pt x="1015" y="363"/>
                  <a:pt x="1015" y="362"/>
                  <a:pt x="1015" y="361"/>
                </a:cubicBezTo>
                <a:cubicBezTo>
                  <a:pt x="1015" y="358"/>
                  <a:pt x="1015" y="356"/>
                  <a:pt x="1015" y="354"/>
                </a:cubicBezTo>
                <a:cubicBezTo>
                  <a:pt x="1015" y="352"/>
                  <a:pt x="1014" y="351"/>
                  <a:pt x="1014" y="349"/>
                </a:cubicBezTo>
                <a:close/>
                <a:moveTo>
                  <a:pt x="961" y="329"/>
                </a:moveTo>
                <a:cubicBezTo>
                  <a:pt x="960" y="329"/>
                  <a:pt x="960" y="330"/>
                  <a:pt x="959" y="330"/>
                </a:cubicBezTo>
                <a:cubicBezTo>
                  <a:pt x="958" y="330"/>
                  <a:pt x="958" y="330"/>
                  <a:pt x="958" y="329"/>
                </a:cubicBezTo>
                <a:cubicBezTo>
                  <a:pt x="957" y="329"/>
                  <a:pt x="957" y="328"/>
                  <a:pt x="957" y="327"/>
                </a:cubicBezTo>
                <a:cubicBezTo>
                  <a:pt x="958" y="325"/>
                  <a:pt x="958" y="323"/>
                  <a:pt x="959" y="322"/>
                </a:cubicBezTo>
                <a:cubicBezTo>
                  <a:pt x="958" y="322"/>
                  <a:pt x="958" y="322"/>
                  <a:pt x="958" y="322"/>
                </a:cubicBezTo>
                <a:cubicBezTo>
                  <a:pt x="957" y="322"/>
                  <a:pt x="956" y="323"/>
                  <a:pt x="955" y="324"/>
                </a:cubicBezTo>
                <a:cubicBezTo>
                  <a:pt x="954" y="325"/>
                  <a:pt x="956" y="331"/>
                  <a:pt x="958" y="331"/>
                </a:cubicBezTo>
                <a:cubicBezTo>
                  <a:pt x="959" y="332"/>
                  <a:pt x="961" y="331"/>
                  <a:pt x="961" y="329"/>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7"/>
                  <a:pt x="966" y="356"/>
                </a:cubicBezTo>
                <a:cubicBezTo>
                  <a:pt x="964" y="353"/>
                  <a:pt x="963" y="350"/>
                  <a:pt x="961" y="347"/>
                </a:cubicBezTo>
                <a:close/>
                <a:moveTo>
                  <a:pt x="1014" y="349"/>
                </a:moveTo>
                <a:cubicBezTo>
                  <a:pt x="1012" y="354"/>
                  <a:pt x="1009" y="358"/>
                  <a:pt x="1007" y="362"/>
                </a:cubicBezTo>
                <a:cubicBezTo>
                  <a:pt x="1010" y="362"/>
                  <a:pt x="1012" y="363"/>
                  <a:pt x="1015" y="362"/>
                </a:cubicBezTo>
                <a:cubicBezTo>
                  <a:pt x="1015" y="362"/>
                  <a:pt x="1016" y="361"/>
                  <a:pt x="1016" y="361"/>
                </a:cubicBezTo>
                <a:cubicBezTo>
                  <a:pt x="1016" y="358"/>
                  <a:pt x="1016" y="356"/>
                  <a:pt x="1015" y="353"/>
                </a:cubicBezTo>
                <a:cubicBezTo>
                  <a:pt x="1015" y="352"/>
                  <a:pt x="1014" y="350"/>
                  <a:pt x="1014" y="349"/>
                </a:cubicBezTo>
                <a:close/>
                <a:moveTo>
                  <a:pt x="961" y="329"/>
                </a:moveTo>
                <a:cubicBezTo>
                  <a:pt x="961" y="329"/>
                  <a:pt x="960" y="330"/>
                  <a:pt x="959" y="330"/>
                </a:cubicBezTo>
                <a:cubicBezTo>
                  <a:pt x="959" y="330"/>
                  <a:pt x="958" y="330"/>
                  <a:pt x="958" y="329"/>
                </a:cubicBezTo>
                <a:cubicBezTo>
                  <a:pt x="957" y="329"/>
                  <a:pt x="957" y="328"/>
                  <a:pt x="957" y="327"/>
                </a:cubicBezTo>
                <a:cubicBezTo>
                  <a:pt x="958" y="325"/>
                  <a:pt x="958" y="323"/>
                  <a:pt x="959" y="321"/>
                </a:cubicBezTo>
                <a:cubicBezTo>
                  <a:pt x="959" y="321"/>
                  <a:pt x="959" y="321"/>
                  <a:pt x="958" y="321"/>
                </a:cubicBezTo>
                <a:cubicBezTo>
                  <a:pt x="957" y="322"/>
                  <a:pt x="956" y="323"/>
                  <a:pt x="955" y="324"/>
                </a:cubicBezTo>
                <a:cubicBezTo>
                  <a:pt x="955" y="325"/>
                  <a:pt x="956" y="330"/>
                  <a:pt x="958" y="331"/>
                </a:cubicBezTo>
                <a:cubicBezTo>
                  <a:pt x="959" y="332"/>
                  <a:pt x="961" y="331"/>
                  <a:pt x="961" y="329"/>
                </a:cubicBezTo>
                <a:close/>
                <a:moveTo>
                  <a:pt x="1014" y="321"/>
                </a:moveTo>
                <a:cubicBezTo>
                  <a:pt x="1017" y="317"/>
                  <a:pt x="1017" y="317"/>
                  <a:pt x="1021" y="316"/>
                </a:cubicBezTo>
                <a:cubicBezTo>
                  <a:pt x="1021" y="318"/>
                  <a:pt x="1022" y="319"/>
                  <a:pt x="1023" y="319"/>
                </a:cubicBezTo>
                <a:cubicBezTo>
                  <a:pt x="1021" y="320"/>
                  <a:pt x="1019" y="322"/>
                  <a:pt x="1017" y="323"/>
                </a:cubicBezTo>
                <a:cubicBezTo>
                  <a:pt x="1016" y="322"/>
                  <a:pt x="1016" y="321"/>
                  <a:pt x="1015" y="320"/>
                </a:cubicBezTo>
                <a:cubicBezTo>
                  <a:pt x="1015" y="320"/>
                  <a:pt x="1014" y="320"/>
                  <a:pt x="1014" y="321"/>
                </a:cubicBezTo>
                <a:close/>
                <a:moveTo>
                  <a:pt x="1019" y="320"/>
                </a:moveTo>
                <a:cubicBezTo>
                  <a:pt x="1019" y="320"/>
                  <a:pt x="1018" y="319"/>
                  <a:pt x="1017" y="319"/>
                </a:cubicBezTo>
                <a:cubicBezTo>
                  <a:pt x="1017" y="319"/>
                  <a:pt x="1016" y="320"/>
                  <a:pt x="1016" y="321"/>
                </a:cubicBezTo>
                <a:cubicBezTo>
                  <a:pt x="1016" y="321"/>
                  <a:pt x="1017" y="321"/>
                  <a:pt x="1017" y="322"/>
                </a:cubicBezTo>
                <a:cubicBezTo>
                  <a:pt x="1018" y="321"/>
                  <a:pt x="1018" y="321"/>
                  <a:pt x="1019" y="320"/>
                </a:cubicBezTo>
                <a:close/>
                <a:moveTo>
                  <a:pt x="1001" y="311"/>
                </a:moveTo>
                <a:cubicBezTo>
                  <a:pt x="994" y="310"/>
                  <a:pt x="991" y="312"/>
                  <a:pt x="990" y="320"/>
                </a:cubicBezTo>
                <a:cubicBezTo>
                  <a:pt x="991" y="318"/>
                  <a:pt x="992" y="316"/>
                  <a:pt x="993" y="313"/>
                </a:cubicBezTo>
                <a:cubicBezTo>
                  <a:pt x="994" y="313"/>
                  <a:pt x="994" y="313"/>
                  <a:pt x="994" y="313"/>
                </a:cubicBezTo>
                <a:cubicBezTo>
                  <a:pt x="994" y="315"/>
                  <a:pt x="994" y="315"/>
                  <a:pt x="994" y="316"/>
                </a:cubicBezTo>
                <a:cubicBezTo>
                  <a:pt x="995" y="313"/>
                  <a:pt x="997" y="311"/>
                  <a:pt x="1001" y="311"/>
                </a:cubicBezTo>
                <a:close/>
                <a:moveTo>
                  <a:pt x="1044" y="312"/>
                </a:moveTo>
                <a:cubicBezTo>
                  <a:pt x="1042" y="314"/>
                  <a:pt x="1040" y="315"/>
                  <a:pt x="1039" y="316"/>
                </a:cubicBezTo>
                <a:cubicBezTo>
                  <a:pt x="1040" y="317"/>
                  <a:pt x="1043" y="315"/>
                  <a:pt x="1044" y="312"/>
                </a:cubicBezTo>
                <a:close/>
                <a:moveTo>
                  <a:pt x="1011" y="314"/>
                </a:moveTo>
                <a:cubicBezTo>
                  <a:pt x="1012" y="313"/>
                  <a:pt x="1013" y="312"/>
                  <a:pt x="1014" y="310"/>
                </a:cubicBezTo>
                <a:cubicBezTo>
                  <a:pt x="1011" y="312"/>
                  <a:pt x="1010" y="312"/>
                  <a:pt x="1011" y="314"/>
                </a:cubicBezTo>
                <a:close/>
                <a:moveTo>
                  <a:pt x="1020" y="335"/>
                </a:moveTo>
                <a:cubicBezTo>
                  <a:pt x="1019" y="336"/>
                  <a:pt x="1018" y="337"/>
                  <a:pt x="1018" y="338"/>
                </a:cubicBezTo>
                <a:cubicBezTo>
                  <a:pt x="1018" y="337"/>
                  <a:pt x="1020" y="336"/>
                  <a:pt x="1020" y="335"/>
                </a:cubicBezTo>
                <a:close/>
                <a:moveTo>
                  <a:pt x="1019" y="320"/>
                </a:moveTo>
                <a:cubicBezTo>
                  <a:pt x="1019" y="320"/>
                  <a:pt x="1018" y="320"/>
                  <a:pt x="1017" y="320"/>
                </a:cubicBezTo>
                <a:cubicBezTo>
                  <a:pt x="1017" y="320"/>
                  <a:pt x="1016" y="320"/>
                  <a:pt x="1016" y="321"/>
                </a:cubicBezTo>
                <a:cubicBezTo>
                  <a:pt x="1016" y="321"/>
                  <a:pt x="1016" y="322"/>
                  <a:pt x="1017" y="322"/>
                </a:cubicBezTo>
                <a:cubicBezTo>
                  <a:pt x="1018" y="322"/>
                  <a:pt x="1018" y="321"/>
                  <a:pt x="1019" y="320"/>
                </a:cubicBezTo>
                <a:close/>
                <a:moveTo>
                  <a:pt x="1544" y="441"/>
                </a:moveTo>
                <a:cubicBezTo>
                  <a:pt x="1544" y="443"/>
                  <a:pt x="1545" y="444"/>
                  <a:pt x="1545" y="446"/>
                </a:cubicBezTo>
                <a:cubicBezTo>
                  <a:pt x="1546" y="447"/>
                  <a:pt x="1546" y="449"/>
                  <a:pt x="1547" y="451"/>
                </a:cubicBezTo>
                <a:cubicBezTo>
                  <a:pt x="1547" y="452"/>
                  <a:pt x="1547" y="454"/>
                  <a:pt x="1547" y="456"/>
                </a:cubicBezTo>
                <a:cubicBezTo>
                  <a:pt x="1548" y="459"/>
                  <a:pt x="1547" y="460"/>
                  <a:pt x="1543" y="460"/>
                </a:cubicBezTo>
                <a:cubicBezTo>
                  <a:pt x="1541" y="460"/>
                  <a:pt x="1538" y="460"/>
                  <a:pt x="1535" y="460"/>
                </a:cubicBezTo>
                <a:cubicBezTo>
                  <a:pt x="1535" y="460"/>
                  <a:pt x="1534" y="460"/>
                  <a:pt x="1534" y="460"/>
                </a:cubicBezTo>
                <a:cubicBezTo>
                  <a:pt x="1532" y="462"/>
                  <a:pt x="1530" y="463"/>
                  <a:pt x="1529" y="465"/>
                </a:cubicBezTo>
                <a:cubicBezTo>
                  <a:pt x="1527" y="467"/>
                  <a:pt x="1524" y="467"/>
                  <a:pt x="1522" y="465"/>
                </a:cubicBezTo>
                <a:cubicBezTo>
                  <a:pt x="1520" y="463"/>
                  <a:pt x="1519" y="461"/>
                  <a:pt x="1517" y="458"/>
                </a:cubicBezTo>
                <a:cubicBezTo>
                  <a:pt x="1516" y="456"/>
                  <a:pt x="1517" y="455"/>
                  <a:pt x="1519" y="453"/>
                </a:cubicBezTo>
                <a:cubicBezTo>
                  <a:pt x="1516" y="453"/>
                  <a:pt x="1515" y="453"/>
                  <a:pt x="1513" y="453"/>
                </a:cubicBezTo>
                <a:cubicBezTo>
                  <a:pt x="1512" y="455"/>
                  <a:pt x="1511" y="457"/>
                  <a:pt x="1510" y="459"/>
                </a:cubicBezTo>
                <a:cubicBezTo>
                  <a:pt x="1510" y="460"/>
                  <a:pt x="1510" y="461"/>
                  <a:pt x="1510" y="461"/>
                </a:cubicBezTo>
                <a:cubicBezTo>
                  <a:pt x="1510" y="465"/>
                  <a:pt x="1509" y="466"/>
                  <a:pt x="1506" y="465"/>
                </a:cubicBezTo>
                <a:cubicBezTo>
                  <a:pt x="1502" y="465"/>
                  <a:pt x="1500" y="464"/>
                  <a:pt x="1497" y="463"/>
                </a:cubicBezTo>
                <a:cubicBezTo>
                  <a:pt x="1495" y="463"/>
                  <a:pt x="1494" y="461"/>
                  <a:pt x="1495" y="459"/>
                </a:cubicBezTo>
                <a:cubicBezTo>
                  <a:pt x="1495" y="458"/>
                  <a:pt x="1495" y="458"/>
                  <a:pt x="1495" y="458"/>
                </a:cubicBezTo>
                <a:cubicBezTo>
                  <a:pt x="1493" y="456"/>
                  <a:pt x="1491" y="456"/>
                  <a:pt x="1489" y="454"/>
                </a:cubicBezTo>
                <a:cubicBezTo>
                  <a:pt x="1487" y="453"/>
                  <a:pt x="1486" y="451"/>
                  <a:pt x="1486" y="450"/>
                </a:cubicBezTo>
                <a:cubicBezTo>
                  <a:pt x="1485" y="448"/>
                  <a:pt x="1485" y="446"/>
                  <a:pt x="1487" y="444"/>
                </a:cubicBezTo>
                <a:cubicBezTo>
                  <a:pt x="1490" y="442"/>
                  <a:pt x="1491" y="439"/>
                  <a:pt x="1490" y="435"/>
                </a:cubicBezTo>
                <a:cubicBezTo>
                  <a:pt x="1490" y="433"/>
                  <a:pt x="1490" y="431"/>
                  <a:pt x="1490" y="429"/>
                </a:cubicBezTo>
                <a:cubicBezTo>
                  <a:pt x="1489" y="429"/>
                  <a:pt x="1487" y="428"/>
                  <a:pt x="1486" y="427"/>
                </a:cubicBezTo>
                <a:cubicBezTo>
                  <a:pt x="1485" y="425"/>
                  <a:pt x="1484" y="423"/>
                  <a:pt x="1484" y="421"/>
                </a:cubicBezTo>
                <a:cubicBezTo>
                  <a:pt x="1484" y="419"/>
                  <a:pt x="1487" y="416"/>
                  <a:pt x="1490" y="415"/>
                </a:cubicBezTo>
                <a:cubicBezTo>
                  <a:pt x="1490" y="416"/>
                  <a:pt x="1490" y="417"/>
                  <a:pt x="1491" y="418"/>
                </a:cubicBezTo>
                <a:cubicBezTo>
                  <a:pt x="1491" y="419"/>
                  <a:pt x="1491" y="419"/>
                  <a:pt x="1491" y="421"/>
                </a:cubicBezTo>
                <a:cubicBezTo>
                  <a:pt x="1490" y="420"/>
                  <a:pt x="1490" y="420"/>
                  <a:pt x="1489" y="420"/>
                </a:cubicBezTo>
                <a:cubicBezTo>
                  <a:pt x="1489" y="421"/>
                  <a:pt x="1489" y="423"/>
                  <a:pt x="1488" y="425"/>
                </a:cubicBezTo>
                <a:cubicBezTo>
                  <a:pt x="1489" y="424"/>
                  <a:pt x="1490" y="424"/>
                  <a:pt x="1490" y="424"/>
                </a:cubicBezTo>
                <a:cubicBezTo>
                  <a:pt x="1491" y="423"/>
                  <a:pt x="1492" y="422"/>
                  <a:pt x="1493" y="421"/>
                </a:cubicBezTo>
                <a:cubicBezTo>
                  <a:pt x="1497" y="414"/>
                  <a:pt x="1503" y="410"/>
                  <a:pt x="1511" y="408"/>
                </a:cubicBezTo>
                <a:cubicBezTo>
                  <a:pt x="1514" y="408"/>
                  <a:pt x="1517" y="407"/>
                  <a:pt x="1520" y="404"/>
                </a:cubicBezTo>
                <a:cubicBezTo>
                  <a:pt x="1520" y="404"/>
                  <a:pt x="1521" y="403"/>
                  <a:pt x="1521" y="403"/>
                </a:cubicBezTo>
                <a:cubicBezTo>
                  <a:pt x="1524" y="403"/>
                  <a:pt x="1525" y="400"/>
                  <a:pt x="1527" y="399"/>
                </a:cubicBezTo>
                <a:cubicBezTo>
                  <a:pt x="1535" y="391"/>
                  <a:pt x="1547" y="391"/>
                  <a:pt x="1554" y="397"/>
                </a:cubicBezTo>
                <a:cubicBezTo>
                  <a:pt x="1557" y="399"/>
                  <a:pt x="1560" y="401"/>
                  <a:pt x="1562" y="403"/>
                </a:cubicBezTo>
                <a:cubicBezTo>
                  <a:pt x="1564" y="404"/>
                  <a:pt x="1565" y="406"/>
                  <a:pt x="1566" y="408"/>
                </a:cubicBezTo>
                <a:cubicBezTo>
                  <a:pt x="1567" y="410"/>
                  <a:pt x="1567" y="410"/>
                  <a:pt x="1569" y="408"/>
                </a:cubicBezTo>
                <a:cubicBezTo>
                  <a:pt x="1569" y="408"/>
                  <a:pt x="1570" y="407"/>
                  <a:pt x="1571" y="406"/>
                </a:cubicBezTo>
                <a:cubicBezTo>
                  <a:pt x="1573" y="404"/>
                  <a:pt x="1576" y="404"/>
                  <a:pt x="1577" y="407"/>
                </a:cubicBezTo>
                <a:cubicBezTo>
                  <a:pt x="1579" y="410"/>
                  <a:pt x="1579" y="413"/>
                  <a:pt x="1580" y="416"/>
                </a:cubicBezTo>
                <a:cubicBezTo>
                  <a:pt x="1580" y="420"/>
                  <a:pt x="1580" y="425"/>
                  <a:pt x="1579" y="429"/>
                </a:cubicBezTo>
                <a:cubicBezTo>
                  <a:pt x="1576" y="435"/>
                  <a:pt x="1571" y="439"/>
                  <a:pt x="1565" y="439"/>
                </a:cubicBezTo>
                <a:cubicBezTo>
                  <a:pt x="1564" y="439"/>
                  <a:pt x="1564" y="439"/>
                  <a:pt x="1563" y="439"/>
                </a:cubicBezTo>
                <a:cubicBezTo>
                  <a:pt x="1560" y="439"/>
                  <a:pt x="1559" y="439"/>
                  <a:pt x="1558" y="441"/>
                </a:cubicBezTo>
                <a:cubicBezTo>
                  <a:pt x="1557" y="446"/>
                  <a:pt x="1551" y="447"/>
                  <a:pt x="1548" y="444"/>
                </a:cubicBezTo>
                <a:cubicBezTo>
                  <a:pt x="1547" y="443"/>
                  <a:pt x="1546" y="442"/>
                  <a:pt x="1545" y="441"/>
                </a:cubicBezTo>
                <a:cubicBezTo>
                  <a:pt x="1544" y="441"/>
                  <a:pt x="1544" y="441"/>
                  <a:pt x="1544" y="441"/>
                </a:cubicBezTo>
                <a:close/>
                <a:moveTo>
                  <a:pt x="1538" y="437"/>
                </a:moveTo>
                <a:cubicBezTo>
                  <a:pt x="1542" y="439"/>
                  <a:pt x="1545" y="440"/>
                  <a:pt x="1548" y="442"/>
                </a:cubicBezTo>
                <a:cubicBezTo>
                  <a:pt x="1550" y="444"/>
                  <a:pt x="1552" y="445"/>
                  <a:pt x="1554" y="444"/>
                </a:cubicBezTo>
                <a:cubicBezTo>
                  <a:pt x="1556" y="443"/>
                  <a:pt x="1558" y="441"/>
                  <a:pt x="1558" y="438"/>
                </a:cubicBezTo>
                <a:cubicBezTo>
                  <a:pt x="1558" y="439"/>
                  <a:pt x="1557" y="439"/>
                  <a:pt x="1557" y="439"/>
                </a:cubicBezTo>
                <a:cubicBezTo>
                  <a:pt x="1556" y="440"/>
                  <a:pt x="1555" y="441"/>
                  <a:pt x="1554" y="442"/>
                </a:cubicBezTo>
                <a:cubicBezTo>
                  <a:pt x="1553" y="444"/>
                  <a:pt x="1552" y="443"/>
                  <a:pt x="1551" y="443"/>
                </a:cubicBezTo>
                <a:cubicBezTo>
                  <a:pt x="1551" y="443"/>
                  <a:pt x="1550" y="442"/>
                  <a:pt x="1550" y="441"/>
                </a:cubicBezTo>
                <a:cubicBezTo>
                  <a:pt x="1550" y="439"/>
                  <a:pt x="1551" y="437"/>
                  <a:pt x="1551" y="435"/>
                </a:cubicBezTo>
                <a:cubicBezTo>
                  <a:pt x="1554" y="435"/>
                  <a:pt x="1557" y="437"/>
                  <a:pt x="1561" y="437"/>
                </a:cubicBezTo>
                <a:cubicBezTo>
                  <a:pt x="1568" y="438"/>
                  <a:pt x="1574" y="437"/>
                  <a:pt x="1577" y="428"/>
                </a:cubicBezTo>
                <a:cubicBezTo>
                  <a:pt x="1579" y="423"/>
                  <a:pt x="1579" y="418"/>
                  <a:pt x="1578" y="413"/>
                </a:cubicBezTo>
                <a:cubicBezTo>
                  <a:pt x="1577" y="411"/>
                  <a:pt x="1577" y="410"/>
                  <a:pt x="1576" y="408"/>
                </a:cubicBezTo>
                <a:cubicBezTo>
                  <a:pt x="1575" y="406"/>
                  <a:pt x="1574" y="406"/>
                  <a:pt x="1573" y="407"/>
                </a:cubicBezTo>
                <a:cubicBezTo>
                  <a:pt x="1571" y="409"/>
                  <a:pt x="1569" y="410"/>
                  <a:pt x="1567" y="411"/>
                </a:cubicBezTo>
                <a:cubicBezTo>
                  <a:pt x="1567" y="412"/>
                  <a:pt x="1566" y="412"/>
                  <a:pt x="1566" y="414"/>
                </a:cubicBezTo>
                <a:cubicBezTo>
                  <a:pt x="1567" y="417"/>
                  <a:pt x="1566" y="420"/>
                  <a:pt x="1565" y="423"/>
                </a:cubicBezTo>
                <a:cubicBezTo>
                  <a:pt x="1565" y="421"/>
                  <a:pt x="1566" y="419"/>
                  <a:pt x="1566" y="418"/>
                </a:cubicBezTo>
                <a:cubicBezTo>
                  <a:pt x="1566" y="417"/>
                  <a:pt x="1565" y="416"/>
                  <a:pt x="1565" y="416"/>
                </a:cubicBezTo>
                <a:cubicBezTo>
                  <a:pt x="1564" y="416"/>
                  <a:pt x="1564" y="416"/>
                  <a:pt x="1564" y="417"/>
                </a:cubicBezTo>
                <a:cubicBezTo>
                  <a:pt x="1563" y="418"/>
                  <a:pt x="1562" y="419"/>
                  <a:pt x="1561" y="421"/>
                </a:cubicBezTo>
                <a:cubicBezTo>
                  <a:pt x="1561" y="421"/>
                  <a:pt x="1561" y="421"/>
                  <a:pt x="1561" y="421"/>
                </a:cubicBezTo>
                <a:cubicBezTo>
                  <a:pt x="1561" y="419"/>
                  <a:pt x="1562" y="418"/>
                  <a:pt x="1562" y="415"/>
                </a:cubicBezTo>
                <a:cubicBezTo>
                  <a:pt x="1561" y="416"/>
                  <a:pt x="1560" y="416"/>
                  <a:pt x="1560" y="417"/>
                </a:cubicBezTo>
                <a:cubicBezTo>
                  <a:pt x="1559" y="418"/>
                  <a:pt x="1559" y="418"/>
                  <a:pt x="1558" y="419"/>
                </a:cubicBezTo>
                <a:cubicBezTo>
                  <a:pt x="1559" y="416"/>
                  <a:pt x="1559" y="416"/>
                  <a:pt x="1565" y="414"/>
                </a:cubicBezTo>
                <a:cubicBezTo>
                  <a:pt x="1565" y="414"/>
                  <a:pt x="1564" y="413"/>
                  <a:pt x="1564" y="413"/>
                </a:cubicBezTo>
                <a:cubicBezTo>
                  <a:pt x="1561" y="414"/>
                  <a:pt x="1560" y="412"/>
                  <a:pt x="1560" y="410"/>
                </a:cubicBezTo>
                <a:cubicBezTo>
                  <a:pt x="1562" y="410"/>
                  <a:pt x="1563" y="409"/>
                  <a:pt x="1565" y="409"/>
                </a:cubicBezTo>
                <a:cubicBezTo>
                  <a:pt x="1563" y="406"/>
                  <a:pt x="1562" y="404"/>
                  <a:pt x="1558" y="403"/>
                </a:cubicBezTo>
                <a:cubicBezTo>
                  <a:pt x="1558" y="403"/>
                  <a:pt x="1558" y="403"/>
                  <a:pt x="1558" y="402"/>
                </a:cubicBezTo>
                <a:cubicBezTo>
                  <a:pt x="1555" y="400"/>
                  <a:pt x="1553" y="398"/>
                  <a:pt x="1550" y="396"/>
                </a:cubicBezTo>
                <a:cubicBezTo>
                  <a:pt x="1548" y="395"/>
                  <a:pt x="1545" y="394"/>
                  <a:pt x="1543" y="394"/>
                </a:cubicBezTo>
                <a:cubicBezTo>
                  <a:pt x="1540" y="395"/>
                  <a:pt x="1536" y="396"/>
                  <a:pt x="1533" y="397"/>
                </a:cubicBezTo>
                <a:cubicBezTo>
                  <a:pt x="1530" y="398"/>
                  <a:pt x="1528" y="399"/>
                  <a:pt x="1526" y="402"/>
                </a:cubicBezTo>
                <a:cubicBezTo>
                  <a:pt x="1528" y="402"/>
                  <a:pt x="1529" y="402"/>
                  <a:pt x="1530" y="402"/>
                </a:cubicBezTo>
                <a:cubicBezTo>
                  <a:pt x="1530" y="403"/>
                  <a:pt x="1529" y="403"/>
                  <a:pt x="1528" y="403"/>
                </a:cubicBezTo>
                <a:cubicBezTo>
                  <a:pt x="1526" y="404"/>
                  <a:pt x="1523" y="403"/>
                  <a:pt x="1521" y="406"/>
                </a:cubicBezTo>
                <a:cubicBezTo>
                  <a:pt x="1517" y="410"/>
                  <a:pt x="1513" y="413"/>
                  <a:pt x="1510" y="418"/>
                </a:cubicBezTo>
                <a:cubicBezTo>
                  <a:pt x="1508" y="419"/>
                  <a:pt x="1508" y="422"/>
                  <a:pt x="1506" y="424"/>
                </a:cubicBezTo>
                <a:cubicBezTo>
                  <a:pt x="1506" y="425"/>
                  <a:pt x="1506" y="425"/>
                  <a:pt x="1507" y="426"/>
                </a:cubicBezTo>
                <a:cubicBezTo>
                  <a:pt x="1508" y="428"/>
                  <a:pt x="1509" y="430"/>
                  <a:pt x="1511" y="432"/>
                </a:cubicBezTo>
                <a:cubicBezTo>
                  <a:pt x="1512" y="430"/>
                  <a:pt x="1513" y="429"/>
                  <a:pt x="1514" y="427"/>
                </a:cubicBezTo>
                <a:cubicBezTo>
                  <a:pt x="1514" y="429"/>
                  <a:pt x="1513" y="430"/>
                  <a:pt x="1513" y="431"/>
                </a:cubicBezTo>
                <a:cubicBezTo>
                  <a:pt x="1512" y="433"/>
                  <a:pt x="1511" y="434"/>
                  <a:pt x="1511" y="435"/>
                </a:cubicBezTo>
                <a:cubicBezTo>
                  <a:pt x="1510" y="436"/>
                  <a:pt x="1511" y="437"/>
                  <a:pt x="1511" y="438"/>
                </a:cubicBezTo>
                <a:cubicBezTo>
                  <a:pt x="1513" y="442"/>
                  <a:pt x="1517" y="442"/>
                  <a:pt x="1521" y="440"/>
                </a:cubicBezTo>
                <a:cubicBezTo>
                  <a:pt x="1523" y="438"/>
                  <a:pt x="1526" y="437"/>
                  <a:pt x="1528" y="436"/>
                </a:cubicBezTo>
                <a:cubicBezTo>
                  <a:pt x="1530" y="436"/>
                  <a:pt x="1531" y="435"/>
                  <a:pt x="1531" y="433"/>
                </a:cubicBezTo>
                <a:cubicBezTo>
                  <a:pt x="1531" y="430"/>
                  <a:pt x="1531" y="427"/>
                  <a:pt x="1531" y="423"/>
                </a:cubicBezTo>
                <a:cubicBezTo>
                  <a:pt x="1531" y="420"/>
                  <a:pt x="1531" y="418"/>
                  <a:pt x="1531" y="414"/>
                </a:cubicBezTo>
                <a:cubicBezTo>
                  <a:pt x="1532" y="417"/>
                  <a:pt x="1532" y="420"/>
                  <a:pt x="1533" y="422"/>
                </a:cubicBezTo>
                <a:cubicBezTo>
                  <a:pt x="1534" y="427"/>
                  <a:pt x="1534" y="431"/>
                  <a:pt x="1532" y="436"/>
                </a:cubicBezTo>
                <a:cubicBezTo>
                  <a:pt x="1532" y="437"/>
                  <a:pt x="1531" y="437"/>
                  <a:pt x="1531" y="437"/>
                </a:cubicBezTo>
                <a:cubicBezTo>
                  <a:pt x="1527" y="438"/>
                  <a:pt x="1524" y="440"/>
                  <a:pt x="1521" y="441"/>
                </a:cubicBezTo>
                <a:cubicBezTo>
                  <a:pt x="1516" y="444"/>
                  <a:pt x="1512" y="442"/>
                  <a:pt x="1509" y="439"/>
                </a:cubicBezTo>
                <a:cubicBezTo>
                  <a:pt x="1508" y="438"/>
                  <a:pt x="1508" y="437"/>
                  <a:pt x="1509" y="437"/>
                </a:cubicBezTo>
                <a:cubicBezTo>
                  <a:pt x="1510" y="434"/>
                  <a:pt x="1509" y="432"/>
                  <a:pt x="1507" y="430"/>
                </a:cubicBezTo>
                <a:cubicBezTo>
                  <a:pt x="1506" y="428"/>
                  <a:pt x="1504" y="426"/>
                  <a:pt x="1505" y="423"/>
                </a:cubicBezTo>
                <a:cubicBezTo>
                  <a:pt x="1506" y="421"/>
                  <a:pt x="1507" y="419"/>
                  <a:pt x="1508" y="418"/>
                </a:cubicBezTo>
                <a:cubicBezTo>
                  <a:pt x="1510" y="415"/>
                  <a:pt x="1512" y="413"/>
                  <a:pt x="1514" y="410"/>
                </a:cubicBezTo>
                <a:cubicBezTo>
                  <a:pt x="1513" y="410"/>
                  <a:pt x="1513" y="410"/>
                  <a:pt x="1513" y="410"/>
                </a:cubicBezTo>
                <a:cubicBezTo>
                  <a:pt x="1508" y="411"/>
                  <a:pt x="1503" y="413"/>
                  <a:pt x="1499" y="416"/>
                </a:cubicBezTo>
                <a:cubicBezTo>
                  <a:pt x="1495" y="420"/>
                  <a:pt x="1492" y="425"/>
                  <a:pt x="1491" y="432"/>
                </a:cubicBezTo>
                <a:cubicBezTo>
                  <a:pt x="1491" y="439"/>
                  <a:pt x="1493" y="445"/>
                  <a:pt x="1497" y="451"/>
                </a:cubicBezTo>
                <a:cubicBezTo>
                  <a:pt x="1497" y="452"/>
                  <a:pt x="1498" y="453"/>
                  <a:pt x="1498" y="454"/>
                </a:cubicBezTo>
                <a:cubicBezTo>
                  <a:pt x="1498" y="456"/>
                  <a:pt x="1497" y="458"/>
                  <a:pt x="1497" y="459"/>
                </a:cubicBezTo>
                <a:cubicBezTo>
                  <a:pt x="1496" y="461"/>
                  <a:pt x="1497" y="461"/>
                  <a:pt x="1498" y="462"/>
                </a:cubicBezTo>
                <a:cubicBezTo>
                  <a:pt x="1501" y="463"/>
                  <a:pt x="1504" y="463"/>
                  <a:pt x="1506" y="463"/>
                </a:cubicBezTo>
                <a:cubicBezTo>
                  <a:pt x="1507" y="463"/>
                  <a:pt x="1508" y="463"/>
                  <a:pt x="1508" y="462"/>
                </a:cubicBezTo>
                <a:cubicBezTo>
                  <a:pt x="1508" y="461"/>
                  <a:pt x="1508" y="459"/>
                  <a:pt x="1509" y="459"/>
                </a:cubicBezTo>
                <a:cubicBezTo>
                  <a:pt x="1511" y="456"/>
                  <a:pt x="1511" y="454"/>
                  <a:pt x="1511" y="451"/>
                </a:cubicBezTo>
                <a:cubicBezTo>
                  <a:pt x="1511" y="450"/>
                  <a:pt x="1511" y="450"/>
                  <a:pt x="1511" y="450"/>
                </a:cubicBezTo>
                <a:cubicBezTo>
                  <a:pt x="1511" y="449"/>
                  <a:pt x="1511" y="449"/>
                  <a:pt x="1511" y="449"/>
                </a:cubicBezTo>
                <a:cubicBezTo>
                  <a:pt x="1512" y="452"/>
                  <a:pt x="1513" y="452"/>
                  <a:pt x="1515" y="452"/>
                </a:cubicBezTo>
                <a:cubicBezTo>
                  <a:pt x="1516" y="452"/>
                  <a:pt x="1517" y="452"/>
                  <a:pt x="1518" y="452"/>
                </a:cubicBezTo>
                <a:cubicBezTo>
                  <a:pt x="1520" y="452"/>
                  <a:pt x="1523" y="452"/>
                  <a:pt x="1524" y="448"/>
                </a:cubicBezTo>
                <a:cubicBezTo>
                  <a:pt x="1524" y="450"/>
                  <a:pt x="1524" y="452"/>
                  <a:pt x="1524" y="453"/>
                </a:cubicBezTo>
                <a:cubicBezTo>
                  <a:pt x="1523" y="454"/>
                  <a:pt x="1521" y="454"/>
                  <a:pt x="1520" y="455"/>
                </a:cubicBezTo>
                <a:cubicBezTo>
                  <a:pt x="1519" y="456"/>
                  <a:pt x="1518" y="457"/>
                  <a:pt x="1519" y="458"/>
                </a:cubicBezTo>
                <a:cubicBezTo>
                  <a:pt x="1520" y="460"/>
                  <a:pt x="1521" y="462"/>
                  <a:pt x="1523" y="464"/>
                </a:cubicBezTo>
                <a:cubicBezTo>
                  <a:pt x="1525" y="465"/>
                  <a:pt x="1526" y="465"/>
                  <a:pt x="1528" y="463"/>
                </a:cubicBezTo>
                <a:cubicBezTo>
                  <a:pt x="1528" y="463"/>
                  <a:pt x="1529" y="462"/>
                  <a:pt x="1530" y="461"/>
                </a:cubicBezTo>
                <a:cubicBezTo>
                  <a:pt x="1532" y="460"/>
                  <a:pt x="1533" y="459"/>
                  <a:pt x="1535" y="458"/>
                </a:cubicBezTo>
                <a:cubicBezTo>
                  <a:pt x="1539" y="453"/>
                  <a:pt x="1541" y="447"/>
                  <a:pt x="1543" y="441"/>
                </a:cubicBezTo>
                <a:cubicBezTo>
                  <a:pt x="1543" y="441"/>
                  <a:pt x="1542" y="440"/>
                  <a:pt x="1541" y="440"/>
                </a:cubicBezTo>
                <a:cubicBezTo>
                  <a:pt x="1541" y="439"/>
                  <a:pt x="1540" y="438"/>
                  <a:pt x="1538" y="437"/>
                </a:cubicBezTo>
                <a:close/>
                <a:moveTo>
                  <a:pt x="1491" y="443"/>
                </a:moveTo>
                <a:cubicBezTo>
                  <a:pt x="1490" y="444"/>
                  <a:pt x="1489" y="445"/>
                  <a:pt x="1487" y="446"/>
                </a:cubicBezTo>
                <a:cubicBezTo>
                  <a:pt x="1487" y="446"/>
                  <a:pt x="1487" y="447"/>
                  <a:pt x="1487" y="448"/>
                </a:cubicBezTo>
                <a:cubicBezTo>
                  <a:pt x="1487" y="451"/>
                  <a:pt x="1491" y="455"/>
                  <a:pt x="1494" y="455"/>
                </a:cubicBezTo>
                <a:cubicBezTo>
                  <a:pt x="1496" y="455"/>
                  <a:pt x="1497" y="454"/>
                  <a:pt x="1496" y="452"/>
                </a:cubicBezTo>
                <a:cubicBezTo>
                  <a:pt x="1494" y="449"/>
                  <a:pt x="1493" y="446"/>
                  <a:pt x="1491" y="443"/>
                </a:cubicBezTo>
                <a:close/>
                <a:moveTo>
                  <a:pt x="1544" y="445"/>
                </a:moveTo>
                <a:cubicBezTo>
                  <a:pt x="1541" y="450"/>
                  <a:pt x="1539" y="454"/>
                  <a:pt x="1537" y="459"/>
                </a:cubicBezTo>
                <a:cubicBezTo>
                  <a:pt x="1540" y="459"/>
                  <a:pt x="1542" y="459"/>
                  <a:pt x="1545" y="459"/>
                </a:cubicBezTo>
                <a:cubicBezTo>
                  <a:pt x="1545" y="459"/>
                  <a:pt x="1545" y="458"/>
                  <a:pt x="1545" y="457"/>
                </a:cubicBezTo>
                <a:cubicBezTo>
                  <a:pt x="1545" y="454"/>
                  <a:pt x="1545" y="452"/>
                  <a:pt x="1545" y="450"/>
                </a:cubicBezTo>
                <a:cubicBezTo>
                  <a:pt x="1545" y="448"/>
                  <a:pt x="1544" y="447"/>
                  <a:pt x="1544" y="445"/>
                </a:cubicBezTo>
                <a:close/>
                <a:moveTo>
                  <a:pt x="1491" y="425"/>
                </a:moveTo>
                <a:cubicBezTo>
                  <a:pt x="1490" y="425"/>
                  <a:pt x="1489" y="426"/>
                  <a:pt x="1489" y="426"/>
                </a:cubicBezTo>
                <a:cubicBezTo>
                  <a:pt x="1488" y="426"/>
                  <a:pt x="1487" y="426"/>
                  <a:pt x="1487" y="425"/>
                </a:cubicBezTo>
                <a:cubicBezTo>
                  <a:pt x="1487" y="425"/>
                  <a:pt x="1487" y="424"/>
                  <a:pt x="1487" y="423"/>
                </a:cubicBezTo>
                <a:cubicBezTo>
                  <a:pt x="1487" y="421"/>
                  <a:pt x="1488" y="419"/>
                  <a:pt x="1489" y="418"/>
                </a:cubicBezTo>
                <a:cubicBezTo>
                  <a:pt x="1488" y="418"/>
                  <a:pt x="1488" y="418"/>
                  <a:pt x="1488" y="418"/>
                </a:cubicBezTo>
                <a:cubicBezTo>
                  <a:pt x="1487" y="418"/>
                  <a:pt x="1486" y="419"/>
                  <a:pt x="1485" y="420"/>
                </a:cubicBezTo>
                <a:cubicBezTo>
                  <a:pt x="1484" y="421"/>
                  <a:pt x="1486" y="427"/>
                  <a:pt x="1487" y="427"/>
                </a:cubicBezTo>
                <a:cubicBezTo>
                  <a:pt x="1489" y="428"/>
                  <a:pt x="1491" y="427"/>
                  <a:pt x="1491" y="425"/>
                </a:cubicBezTo>
                <a:close/>
                <a:moveTo>
                  <a:pt x="1491" y="443"/>
                </a:moveTo>
                <a:cubicBezTo>
                  <a:pt x="1490" y="444"/>
                  <a:pt x="1489" y="445"/>
                  <a:pt x="1488" y="446"/>
                </a:cubicBezTo>
                <a:cubicBezTo>
                  <a:pt x="1487" y="446"/>
                  <a:pt x="1487" y="447"/>
                  <a:pt x="1487" y="448"/>
                </a:cubicBezTo>
                <a:cubicBezTo>
                  <a:pt x="1487" y="451"/>
                  <a:pt x="1491" y="455"/>
                  <a:pt x="1494" y="455"/>
                </a:cubicBezTo>
                <a:cubicBezTo>
                  <a:pt x="1496" y="455"/>
                  <a:pt x="1496" y="453"/>
                  <a:pt x="1496" y="452"/>
                </a:cubicBezTo>
                <a:cubicBezTo>
                  <a:pt x="1494" y="449"/>
                  <a:pt x="1493" y="446"/>
                  <a:pt x="1491" y="443"/>
                </a:cubicBezTo>
                <a:close/>
                <a:moveTo>
                  <a:pt x="1544" y="445"/>
                </a:moveTo>
                <a:cubicBezTo>
                  <a:pt x="1542" y="450"/>
                  <a:pt x="1539" y="454"/>
                  <a:pt x="1537" y="458"/>
                </a:cubicBezTo>
                <a:cubicBezTo>
                  <a:pt x="1540" y="458"/>
                  <a:pt x="1542" y="459"/>
                  <a:pt x="1545" y="458"/>
                </a:cubicBezTo>
                <a:cubicBezTo>
                  <a:pt x="1545" y="458"/>
                  <a:pt x="1545" y="457"/>
                  <a:pt x="1545" y="457"/>
                </a:cubicBezTo>
                <a:cubicBezTo>
                  <a:pt x="1545" y="454"/>
                  <a:pt x="1545" y="452"/>
                  <a:pt x="1545" y="449"/>
                </a:cubicBezTo>
                <a:cubicBezTo>
                  <a:pt x="1545" y="448"/>
                  <a:pt x="1544" y="446"/>
                  <a:pt x="1544" y="445"/>
                </a:cubicBezTo>
                <a:close/>
                <a:moveTo>
                  <a:pt x="1491" y="425"/>
                </a:moveTo>
                <a:cubicBezTo>
                  <a:pt x="1490" y="425"/>
                  <a:pt x="1490" y="426"/>
                  <a:pt x="1489" y="426"/>
                </a:cubicBezTo>
                <a:cubicBezTo>
                  <a:pt x="1488" y="426"/>
                  <a:pt x="1488" y="426"/>
                  <a:pt x="1488" y="425"/>
                </a:cubicBezTo>
                <a:cubicBezTo>
                  <a:pt x="1487" y="425"/>
                  <a:pt x="1487" y="424"/>
                  <a:pt x="1487" y="423"/>
                </a:cubicBezTo>
                <a:cubicBezTo>
                  <a:pt x="1488" y="421"/>
                  <a:pt x="1488" y="419"/>
                  <a:pt x="1489" y="417"/>
                </a:cubicBezTo>
                <a:cubicBezTo>
                  <a:pt x="1488" y="417"/>
                  <a:pt x="1488" y="417"/>
                  <a:pt x="1488" y="417"/>
                </a:cubicBezTo>
                <a:cubicBezTo>
                  <a:pt x="1487" y="418"/>
                  <a:pt x="1486" y="419"/>
                  <a:pt x="1485" y="420"/>
                </a:cubicBezTo>
                <a:cubicBezTo>
                  <a:pt x="1484" y="421"/>
                  <a:pt x="1486" y="426"/>
                  <a:pt x="1488" y="427"/>
                </a:cubicBezTo>
                <a:cubicBezTo>
                  <a:pt x="1489" y="428"/>
                  <a:pt x="1491" y="427"/>
                  <a:pt x="1491" y="425"/>
                </a:cubicBezTo>
                <a:close/>
                <a:moveTo>
                  <a:pt x="1544" y="417"/>
                </a:moveTo>
                <a:cubicBezTo>
                  <a:pt x="1547" y="413"/>
                  <a:pt x="1547" y="413"/>
                  <a:pt x="1550" y="412"/>
                </a:cubicBezTo>
                <a:cubicBezTo>
                  <a:pt x="1550" y="414"/>
                  <a:pt x="1552" y="415"/>
                  <a:pt x="1553" y="415"/>
                </a:cubicBezTo>
                <a:cubicBezTo>
                  <a:pt x="1551" y="416"/>
                  <a:pt x="1549" y="418"/>
                  <a:pt x="1547" y="419"/>
                </a:cubicBezTo>
                <a:cubicBezTo>
                  <a:pt x="1546" y="418"/>
                  <a:pt x="1546" y="417"/>
                  <a:pt x="1545" y="416"/>
                </a:cubicBezTo>
                <a:cubicBezTo>
                  <a:pt x="1545" y="416"/>
                  <a:pt x="1544" y="416"/>
                  <a:pt x="1544" y="417"/>
                </a:cubicBezTo>
                <a:close/>
                <a:moveTo>
                  <a:pt x="1549" y="416"/>
                </a:moveTo>
                <a:cubicBezTo>
                  <a:pt x="1549" y="416"/>
                  <a:pt x="1548" y="415"/>
                  <a:pt x="1547" y="415"/>
                </a:cubicBezTo>
                <a:cubicBezTo>
                  <a:pt x="1547" y="415"/>
                  <a:pt x="1546" y="416"/>
                  <a:pt x="1546" y="417"/>
                </a:cubicBezTo>
                <a:cubicBezTo>
                  <a:pt x="1546" y="417"/>
                  <a:pt x="1547" y="417"/>
                  <a:pt x="1547" y="418"/>
                </a:cubicBezTo>
                <a:cubicBezTo>
                  <a:pt x="1548" y="417"/>
                  <a:pt x="1548" y="417"/>
                  <a:pt x="1549" y="416"/>
                </a:cubicBezTo>
                <a:close/>
                <a:moveTo>
                  <a:pt x="1531" y="407"/>
                </a:moveTo>
                <a:cubicBezTo>
                  <a:pt x="1524" y="406"/>
                  <a:pt x="1521" y="408"/>
                  <a:pt x="1520" y="416"/>
                </a:cubicBezTo>
                <a:cubicBezTo>
                  <a:pt x="1521" y="414"/>
                  <a:pt x="1522" y="412"/>
                  <a:pt x="1524" y="409"/>
                </a:cubicBezTo>
                <a:cubicBezTo>
                  <a:pt x="1524" y="409"/>
                  <a:pt x="1524" y="409"/>
                  <a:pt x="1524" y="409"/>
                </a:cubicBezTo>
                <a:cubicBezTo>
                  <a:pt x="1524" y="411"/>
                  <a:pt x="1524" y="411"/>
                  <a:pt x="1524" y="412"/>
                </a:cubicBezTo>
                <a:cubicBezTo>
                  <a:pt x="1525" y="409"/>
                  <a:pt x="1527" y="407"/>
                  <a:pt x="1531" y="407"/>
                </a:cubicBezTo>
                <a:close/>
                <a:moveTo>
                  <a:pt x="1574" y="408"/>
                </a:moveTo>
                <a:cubicBezTo>
                  <a:pt x="1572" y="410"/>
                  <a:pt x="1570" y="411"/>
                  <a:pt x="1568" y="412"/>
                </a:cubicBezTo>
                <a:cubicBezTo>
                  <a:pt x="1570" y="413"/>
                  <a:pt x="1573" y="411"/>
                  <a:pt x="1574" y="408"/>
                </a:cubicBezTo>
                <a:close/>
                <a:moveTo>
                  <a:pt x="1541" y="410"/>
                </a:moveTo>
                <a:cubicBezTo>
                  <a:pt x="1542" y="409"/>
                  <a:pt x="1543" y="408"/>
                  <a:pt x="1544" y="406"/>
                </a:cubicBezTo>
                <a:cubicBezTo>
                  <a:pt x="1541" y="408"/>
                  <a:pt x="1540" y="408"/>
                  <a:pt x="1541" y="410"/>
                </a:cubicBezTo>
                <a:close/>
                <a:moveTo>
                  <a:pt x="1550" y="431"/>
                </a:moveTo>
                <a:cubicBezTo>
                  <a:pt x="1549" y="432"/>
                  <a:pt x="1548" y="433"/>
                  <a:pt x="1548" y="433"/>
                </a:cubicBezTo>
                <a:cubicBezTo>
                  <a:pt x="1548" y="433"/>
                  <a:pt x="1549" y="432"/>
                  <a:pt x="1550" y="431"/>
                </a:cubicBezTo>
                <a:close/>
                <a:moveTo>
                  <a:pt x="1549" y="416"/>
                </a:moveTo>
                <a:cubicBezTo>
                  <a:pt x="1548" y="416"/>
                  <a:pt x="1548" y="415"/>
                  <a:pt x="1547" y="415"/>
                </a:cubicBezTo>
                <a:cubicBezTo>
                  <a:pt x="1547" y="415"/>
                  <a:pt x="1546" y="416"/>
                  <a:pt x="1546" y="417"/>
                </a:cubicBezTo>
                <a:cubicBezTo>
                  <a:pt x="1546" y="417"/>
                  <a:pt x="1546" y="417"/>
                  <a:pt x="1547" y="418"/>
                </a:cubicBezTo>
                <a:cubicBezTo>
                  <a:pt x="1548" y="417"/>
                  <a:pt x="1548" y="417"/>
                  <a:pt x="1549" y="416"/>
                </a:cubicBezTo>
                <a:close/>
                <a:moveTo>
                  <a:pt x="1097" y="298"/>
                </a:moveTo>
                <a:cubicBezTo>
                  <a:pt x="1097" y="298"/>
                  <a:pt x="1097" y="298"/>
                  <a:pt x="1097" y="298"/>
                </a:cubicBezTo>
                <a:cubicBezTo>
                  <a:pt x="1092" y="298"/>
                  <a:pt x="1092" y="298"/>
                  <a:pt x="1092" y="298"/>
                </a:cubicBezTo>
                <a:cubicBezTo>
                  <a:pt x="1090" y="299"/>
                  <a:pt x="1088" y="301"/>
                  <a:pt x="1086" y="302"/>
                </a:cubicBezTo>
                <a:cubicBezTo>
                  <a:pt x="1085" y="303"/>
                  <a:pt x="1083" y="304"/>
                  <a:pt x="1081" y="305"/>
                </a:cubicBezTo>
                <a:cubicBezTo>
                  <a:pt x="1080" y="306"/>
                  <a:pt x="1078" y="307"/>
                  <a:pt x="1076" y="307"/>
                </a:cubicBezTo>
                <a:cubicBezTo>
                  <a:pt x="1074" y="308"/>
                  <a:pt x="1072" y="309"/>
                  <a:pt x="1070" y="309"/>
                </a:cubicBezTo>
                <a:cubicBezTo>
                  <a:pt x="1070" y="309"/>
                  <a:pt x="1070" y="309"/>
                  <a:pt x="1070" y="319"/>
                </a:cubicBezTo>
                <a:cubicBezTo>
                  <a:pt x="1073" y="318"/>
                  <a:pt x="1076" y="318"/>
                  <a:pt x="1078" y="316"/>
                </a:cubicBezTo>
                <a:cubicBezTo>
                  <a:pt x="1081" y="315"/>
                  <a:pt x="1083" y="314"/>
                  <a:pt x="1086" y="313"/>
                </a:cubicBezTo>
                <a:cubicBezTo>
                  <a:pt x="1086" y="313"/>
                  <a:pt x="1086" y="313"/>
                  <a:pt x="1086" y="371"/>
                </a:cubicBezTo>
                <a:cubicBezTo>
                  <a:pt x="1086" y="371"/>
                  <a:pt x="1086" y="371"/>
                  <a:pt x="1097" y="371"/>
                </a:cubicBezTo>
                <a:cubicBezTo>
                  <a:pt x="1097" y="371"/>
                  <a:pt x="1097" y="371"/>
                  <a:pt x="1097" y="298"/>
                </a:cubicBezTo>
                <a:close/>
                <a:moveTo>
                  <a:pt x="1144" y="298"/>
                </a:moveTo>
                <a:cubicBezTo>
                  <a:pt x="1144" y="298"/>
                  <a:pt x="1144" y="298"/>
                  <a:pt x="1144" y="298"/>
                </a:cubicBezTo>
                <a:cubicBezTo>
                  <a:pt x="1139" y="298"/>
                  <a:pt x="1139" y="298"/>
                  <a:pt x="1139" y="298"/>
                </a:cubicBezTo>
                <a:cubicBezTo>
                  <a:pt x="1138" y="299"/>
                  <a:pt x="1135" y="301"/>
                  <a:pt x="1134" y="302"/>
                </a:cubicBezTo>
                <a:cubicBezTo>
                  <a:pt x="1132" y="303"/>
                  <a:pt x="1130" y="304"/>
                  <a:pt x="1128" y="305"/>
                </a:cubicBezTo>
                <a:cubicBezTo>
                  <a:pt x="1127" y="306"/>
                  <a:pt x="1125" y="307"/>
                  <a:pt x="1123" y="307"/>
                </a:cubicBezTo>
                <a:cubicBezTo>
                  <a:pt x="1121" y="308"/>
                  <a:pt x="1119" y="309"/>
                  <a:pt x="1117" y="309"/>
                </a:cubicBezTo>
                <a:cubicBezTo>
                  <a:pt x="1117" y="309"/>
                  <a:pt x="1117" y="309"/>
                  <a:pt x="1117" y="319"/>
                </a:cubicBezTo>
                <a:cubicBezTo>
                  <a:pt x="1120" y="318"/>
                  <a:pt x="1123" y="318"/>
                  <a:pt x="1126" y="316"/>
                </a:cubicBezTo>
                <a:cubicBezTo>
                  <a:pt x="1128" y="315"/>
                  <a:pt x="1130" y="314"/>
                  <a:pt x="1133" y="313"/>
                </a:cubicBezTo>
                <a:cubicBezTo>
                  <a:pt x="1133" y="313"/>
                  <a:pt x="1133" y="313"/>
                  <a:pt x="1133" y="371"/>
                </a:cubicBezTo>
                <a:cubicBezTo>
                  <a:pt x="1133" y="371"/>
                  <a:pt x="1133" y="371"/>
                  <a:pt x="1144" y="371"/>
                </a:cubicBezTo>
                <a:cubicBezTo>
                  <a:pt x="1144" y="371"/>
                  <a:pt x="1144" y="371"/>
                  <a:pt x="1144" y="298"/>
                </a:cubicBezTo>
                <a:close/>
                <a:moveTo>
                  <a:pt x="1190" y="298"/>
                </a:moveTo>
                <a:cubicBezTo>
                  <a:pt x="1190" y="298"/>
                  <a:pt x="1190" y="298"/>
                  <a:pt x="1190" y="298"/>
                </a:cubicBezTo>
                <a:cubicBezTo>
                  <a:pt x="1186" y="298"/>
                  <a:pt x="1186" y="298"/>
                  <a:pt x="1186" y="298"/>
                </a:cubicBezTo>
                <a:cubicBezTo>
                  <a:pt x="1184" y="299"/>
                  <a:pt x="1182" y="301"/>
                  <a:pt x="1180" y="302"/>
                </a:cubicBezTo>
                <a:cubicBezTo>
                  <a:pt x="1179" y="303"/>
                  <a:pt x="1176" y="304"/>
                  <a:pt x="1175" y="305"/>
                </a:cubicBezTo>
                <a:cubicBezTo>
                  <a:pt x="1173" y="305"/>
                  <a:pt x="1171" y="306"/>
                  <a:pt x="1169" y="307"/>
                </a:cubicBezTo>
                <a:cubicBezTo>
                  <a:pt x="1168" y="307"/>
                  <a:pt x="1165" y="308"/>
                  <a:pt x="1164" y="309"/>
                </a:cubicBezTo>
                <a:cubicBezTo>
                  <a:pt x="1164" y="309"/>
                  <a:pt x="1164" y="309"/>
                  <a:pt x="1164" y="319"/>
                </a:cubicBezTo>
                <a:cubicBezTo>
                  <a:pt x="1167" y="318"/>
                  <a:pt x="1170" y="317"/>
                  <a:pt x="1172" y="316"/>
                </a:cubicBezTo>
                <a:cubicBezTo>
                  <a:pt x="1174" y="315"/>
                  <a:pt x="1177" y="314"/>
                  <a:pt x="1179" y="313"/>
                </a:cubicBezTo>
                <a:cubicBezTo>
                  <a:pt x="1179" y="313"/>
                  <a:pt x="1179" y="313"/>
                  <a:pt x="1179" y="371"/>
                </a:cubicBezTo>
                <a:cubicBezTo>
                  <a:pt x="1179" y="371"/>
                  <a:pt x="1179" y="371"/>
                  <a:pt x="1190" y="371"/>
                </a:cubicBezTo>
                <a:cubicBezTo>
                  <a:pt x="1190" y="371"/>
                  <a:pt x="1190" y="371"/>
                  <a:pt x="1190" y="298"/>
                </a:cubicBezTo>
                <a:close/>
                <a:moveTo>
                  <a:pt x="1327" y="330"/>
                </a:moveTo>
                <a:cubicBezTo>
                  <a:pt x="1327" y="330"/>
                  <a:pt x="1327" y="330"/>
                  <a:pt x="1327" y="330"/>
                </a:cubicBezTo>
                <a:cubicBezTo>
                  <a:pt x="1327" y="339"/>
                  <a:pt x="1327" y="339"/>
                  <a:pt x="1327" y="339"/>
                </a:cubicBezTo>
                <a:cubicBezTo>
                  <a:pt x="1333" y="339"/>
                  <a:pt x="1334" y="342"/>
                  <a:pt x="1334" y="344"/>
                </a:cubicBezTo>
                <a:cubicBezTo>
                  <a:pt x="1334" y="347"/>
                  <a:pt x="1333" y="349"/>
                  <a:pt x="1333" y="352"/>
                </a:cubicBezTo>
                <a:cubicBezTo>
                  <a:pt x="1333" y="354"/>
                  <a:pt x="1332" y="356"/>
                  <a:pt x="1332" y="359"/>
                </a:cubicBezTo>
                <a:cubicBezTo>
                  <a:pt x="1332" y="368"/>
                  <a:pt x="1338" y="371"/>
                  <a:pt x="1347" y="371"/>
                </a:cubicBezTo>
                <a:cubicBezTo>
                  <a:pt x="1347" y="371"/>
                  <a:pt x="1347" y="371"/>
                  <a:pt x="1351" y="371"/>
                </a:cubicBezTo>
                <a:cubicBezTo>
                  <a:pt x="1351" y="371"/>
                  <a:pt x="1351" y="371"/>
                  <a:pt x="1351" y="362"/>
                </a:cubicBezTo>
                <a:cubicBezTo>
                  <a:pt x="1351" y="362"/>
                  <a:pt x="1351" y="362"/>
                  <a:pt x="1349" y="362"/>
                </a:cubicBezTo>
                <a:cubicBezTo>
                  <a:pt x="1345" y="362"/>
                  <a:pt x="1344" y="360"/>
                  <a:pt x="1344" y="356"/>
                </a:cubicBezTo>
                <a:cubicBezTo>
                  <a:pt x="1344" y="355"/>
                  <a:pt x="1344" y="353"/>
                  <a:pt x="1345" y="352"/>
                </a:cubicBezTo>
                <a:cubicBezTo>
                  <a:pt x="1345" y="350"/>
                  <a:pt x="1345" y="348"/>
                  <a:pt x="1345" y="346"/>
                </a:cubicBezTo>
                <a:cubicBezTo>
                  <a:pt x="1345" y="338"/>
                  <a:pt x="1342" y="336"/>
                  <a:pt x="1337" y="334"/>
                </a:cubicBezTo>
                <a:cubicBezTo>
                  <a:pt x="1337" y="334"/>
                  <a:pt x="1337" y="334"/>
                  <a:pt x="1337" y="334"/>
                </a:cubicBezTo>
                <a:cubicBezTo>
                  <a:pt x="1342" y="333"/>
                  <a:pt x="1345" y="331"/>
                  <a:pt x="1345" y="323"/>
                </a:cubicBezTo>
                <a:cubicBezTo>
                  <a:pt x="1345" y="321"/>
                  <a:pt x="1345" y="319"/>
                  <a:pt x="1345" y="317"/>
                </a:cubicBezTo>
                <a:cubicBezTo>
                  <a:pt x="1344" y="315"/>
                  <a:pt x="1344" y="313"/>
                  <a:pt x="1344" y="312"/>
                </a:cubicBezTo>
                <a:cubicBezTo>
                  <a:pt x="1344" y="309"/>
                  <a:pt x="1345" y="306"/>
                  <a:pt x="1349" y="306"/>
                </a:cubicBezTo>
                <a:cubicBezTo>
                  <a:pt x="1349" y="306"/>
                  <a:pt x="1349" y="306"/>
                  <a:pt x="1351" y="306"/>
                </a:cubicBezTo>
                <a:cubicBezTo>
                  <a:pt x="1351" y="306"/>
                  <a:pt x="1351" y="306"/>
                  <a:pt x="1351" y="297"/>
                </a:cubicBezTo>
                <a:cubicBezTo>
                  <a:pt x="1351" y="297"/>
                  <a:pt x="1351" y="297"/>
                  <a:pt x="1347" y="297"/>
                </a:cubicBezTo>
                <a:cubicBezTo>
                  <a:pt x="1338" y="297"/>
                  <a:pt x="1332" y="301"/>
                  <a:pt x="1332" y="310"/>
                </a:cubicBezTo>
                <a:cubicBezTo>
                  <a:pt x="1332" y="312"/>
                  <a:pt x="1333" y="315"/>
                  <a:pt x="1333" y="317"/>
                </a:cubicBezTo>
                <a:cubicBezTo>
                  <a:pt x="1333" y="319"/>
                  <a:pt x="1334" y="322"/>
                  <a:pt x="1334" y="324"/>
                </a:cubicBezTo>
                <a:cubicBezTo>
                  <a:pt x="1334" y="327"/>
                  <a:pt x="1333" y="330"/>
                  <a:pt x="1327" y="330"/>
                </a:cubicBezTo>
                <a:close/>
                <a:moveTo>
                  <a:pt x="1381" y="339"/>
                </a:moveTo>
                <a:cubicBezTo>
                  <a:pt x="1381" y="339"/>
                  <a:pt x="1381" y="339"/>
                  <a:pt x="1381" y="339"/>
                </a:cubicBezTo>
                <a:cubicBezTo>
                  <a:pt x="1381" y="330"/>
                  <a:pt x="1381" y="330"/>
                  <a:pt x="1381" y="330"/>
                </a:cubicBezTo>
                <a:cubicBezTo>
                  <a:pt x="1375" y="330"/>
                  <a:pt x="1375" y="327"/>
                  <a:pt x="1375" y="324"/>
                </a:cubicBezTo>
                <a:cubicBezTo>
                  <a:pt x="1375" y="322"/>
                  <a:pt x="1375" y="319"/>
                  <a:pt x="1375" y="317"/>
                </a:cubicBezTo>
                <a:cubicBezTo>
                  <a:pt x="1375" y="315"/>
                  <a:pt x="1375" y="312"/>
                  <a:pt x="1375" y="310"/>
                </a:cubicBezTo>
                <a:cubicBezTo>
                  <a:pt x="1375" y="301"/>
                  <a:pt x="1370" y="297"/>
                  <a:pt x="1361" y="297"/>
                </a:cubicBezTo>
                <a:cubicBezTo>
                  <a:pt x="1361" y="297"/>
                  <a:pt x="1361" y="297"/>
                  <a:pt x="1357" y="297"/>
                </a:cubicBezTo>
                <a:cubicBezTo>
                  <a:pt x="1357" y="297"/>
                  <a:pt x="1357" y="297"/>
                  <a:pt x="1357" y="306"/>
                </a:cubicBezTo>
                <a:cubicBezTo>
                  <a:pt x="1357" y="306"/>
                  <a:pt x="1357" y="306"/>
                  <a:pt x="1359" y="306"/>
                </a:cubicBezTo>
                <a:cubicBezTo>
                  <a:pt x="1362" y="306"/>
                  <a:pt x="1364" y="309"/>
                  <a:pt x="1364" y="312"/>
                </a:cubicBezTo>
                <a:cubicBezTo>
                  <a:pt x="1364" y="313"/>
                  <a:pt x="1364" y="315"/>
                  <a:pt x="1364" y="317"/>
                </a:cubicBezTo>
                <a:cubicBezTo>
                  <a:pt x="1363" y="319"/>
                  <a:pt x="1363" y="321"/>
                  <a:pt x="1363" y="323"/>
                </a:cubicBezTo>
                <a:cubicBezTo>
                  <a:pt x="1363" y="331"/>
                  <a:pt x="1366" y="333"/>
                  <a:pt x="1372" y="334"/>
                </a:cubicBezTo>
                <a:cubicBezTo>
                  <a:pt x="1372" y="334"/>
                  <a:pt x="1372" y="334"/>
                  <a:pt x="1372" y="334"/>
                </a:cubicBezTo>
                <a:cubicBezTo>
                  <a:pt x="1366" y="336"/>
                  <a:pt x="1363" y="338"/>
                  <a:pt x="1363" y="346"/>
                </a:cubicBezTo>
                <a:cubicBezTo>
                  <a:pt x="1363" y="348"/>
                  <a:pt x="1363" y="350"/>
                  <a:pt x="1364" y="352"/>
                </a:cubicBezTo>
                <a:cubicBezTo>
                  <a:pt x="1364" y="353"/>
                  <a:pt x="1364" y="355"/>
                  <a:pt x="1364" y="356"/>
                </a:cubicBezTo>
                <a:cubicBezTo>
                  <a:pt x="1364" y="360"/>
                  <a:pt x="1363" y="362"/>
                  <a:pt x="1359" y="362"/>
                </a:cubicBezTo>
                <a:cubicBezTo>
                  <a:pt x="1359" y="362"/>
                  <a:pt x="1359" y="362"/>
                  <a:pt x="1357" y="362"/>
                </a:cubicBezTo>
                <a:cubicBezTo>
                  <a:pt x="1357" y="362"/>
                  <a:pt x="1357" y="362"/>
                  <a:pt x="1357" y="371"/>
                </a:cubicBezTo>
                <a:cubicBezTo>
                  <a:pt x="1357" y="371"/>
                  <a:pt x="1357" y="371"/>
                  <a:pt x="1361" y="371"/>
                </a:cubicBezTo>
                <a:cubicBezTo>
                  <a:pt x="1370" y="371"/>
                  <a:pt x="1375" y="368"/>
                  <a:pt x="1375" y="359"/>
                </a:cubicBezTo>
                <a:cubicBezTo>
                  <a:pt x="1375" y="356"/>
                  <a:pt x="1375" y="354"/>
                  <a:pt x="1375" y="352"/>
                </a:cubicBezTo>
                <a:cubicBezTo>
                  <a:pt x="1375" y="349"/>
                  <a:pt x="1375" y="347"/>
                  <a:pt x="1375" y="344"/>
                </a:cubicBezTo>
                <a:cubicBezTo>
                  <a:pt x="1375" y="342"/>
                  <a:pt x="1375" y="339"/>
                  <a:pt x="1381" y="339"/>
                </a:cubicBezTo>
                <a:close/>
                <a:moveTo>
                  <a:pt x="1428" y="298"/>
                </a:moveTo>
                <a:cubicBezTo>
                  <a:pt x="1428" y="298"/>
                  <a:pt x="1428" y="298"/>
                  <a:pt x="1428" y="298"/>
                </a:cubicBezTo>
                <a:cubicBezTo>
                  <a:pt x="1423" y="298"/>
                  <a:pt x="1423" y="298"/>
                  <a:pt x="1423" y="298"/>
                </a:cubicBezTo>
                <a:cubicBezTo>
                  <a:pt x="1421" y="299"/>
                  <a:pt x="1420" y="301"/>
                  <a:pt x="1417" y="302"/>
                </a:cubicBezTo>
                <a:cubicBezTo>
                  <a:pt x="1416" y="303"/>
                  <a:pt x="1414" y="304"/>
                  <a:pt x="1412" y="305"/>
                </a:cubicBezTo>
                <a:cubicBezTo>
                  <a:pt x="1410" y="305"/>
                  <a:pt x="1409" y="306"/>
                  <a:pt x="1407" y="307"/>
                </a:cubicBezTo>
                <a:cubicBezTo>
                  <a:pt x="1405" y="307"/>
                  <a:pt x="1404" y="308"/>
                  <a:pt x="1401" y="309"/>
                </a:cubicBezTo>
                <a:cubicBezTo>
                  <a:pt x="1401" y="309"/>
                  <a:pt x="1401" y="309"/>
                  <a:pt x="1401" y="319"/>
                </a:cubicBezTo>
                <a:cubicBezTo>
                  <a:pt x="1404" y="318"/>
                  <a:pt x="1407" y="317"/>
                  <a:pt x="1409" y="316"/>
                </a:cubicBezTo>
                <a:cubicBezTo>
                  <a:pt x="1412" y="315"/>
                  <a:pt x="1415" y="314"/>
                  <a:pt x="1417" y="313"/>
                </a:cubicBezTo>
                <a:cubicBezTo>
                  <a:pt x="1417" y="313"/>
                  <a:pt x="1417" y="313"/>
                  <a:pt x="1417" y="371"/>
                </a:cubicBezTo>
                <a:cubicBezTo>
                  <a:pt x="1417" y="371"/>
                  <a:pt x="1417" y="371"/>
                  <a:pt x="1428" y="371"/>
                </a:cubicBezTo>
                <a:cubicBezTo>
                  <a:pt x="1428" y="371"/>
                  <a:pt x="1428" y="371"/>
                  <a:pt x="1428" y="298"/>
                </a:cubicBezTo>
                <a:close/>
                <a:moveTo>
                  <a:pt x="1475" y="298"/>
                </a:moveTo>
                <a:cubicBezTo>
                  <a:pt x="1475" y="298"/>
                  <a:pt x="1475" y="298"/>
                  <a:pt x="1475" y="298"/>
                </a:cubicBezTo>
                <a:cubicBezTo>
                  <a:pt x="1470" y="298"/>
                  <a:pt x="1470" y="298"/>
                  <a:pt x="1470" y="298"/>
                </a:cubicBezTo>
                <a:cubicBezTo>
                  <a:pt x="1468" y="299"/>
                  <a:pt x="1466" y="301"/>
                  <a:pt x="1464" y="302"/>
                </a:cubicBezTo>
                <a:cubicBezTo>
                  <a:pt x="1463" y="303"/>
                  <a:pt x="1460" y="304"/>
                  <a:pt x="1459" y="305"/>
                </a:cubicBezTo>
                <a:cubicBezTo>
                  <a:pt x="1457" y="306"/>
                  <a:pt x="1455" y="307"/>
                  <a:pt x="1454" y="307"/>
                </a:cubicBezTo>
                <a:cubicBezTo>
                  <a:pt x="1452" y="308"/>
                  <a:pt x="1450" y="309"/>
                  <a:pt x="1448" y="309"/>
                </a:cubicBezTo>
                <a:cubicBezTo>
                  <a:pt x="1448" y="309"/>
                  <a:pt x="1448" y="309"/>
                  <a:pt x="1448" y="319"/>
                </a:cubicBezTo>
                <a:cubicBezTo>
                  <a:pt x="1451" y="318"/>
                  <a:pt x="1454" y="318"/>
                  <a:pt x="1456" y="316"/>
                </a:cubicBezTo>
                <a:cubicBezTo>
                  <a:pt x="1459" y="315"/>
                  <a:pt x="1461" y="314"/>
                  <a:pt x="1463" y="313"/>
                </a:cubicBezTo>
                <a:cubicBezTo>
                  <a:pt x="1463" y="313"/>
                  <a:pt x="1463" y="313"/>
                  <a:pt x="1463" y="371"/>
                </a:cubicBezTo>
                <a:cubicBezTo>
                  <a:pt x="1463" y="371"/>
                  <a:pt x="1463" y="371"/>
                  <a:pt x="1475" y="371"/>
                </a:cubicBezTo>
                <a:cubicBezTo>
                  <a:pt x="1475" y="371"/>
                  <a:pt x="1475" y="371"/>
                  <a:pt x="1475" y="298"/>
                </a:cubicBezTo>
                <a:close/>
                <a:moveTo>
                  <a:pt x="1520" y="298"/>
                </a:moveTo>
                <a:cubicBezTo>
                  <a:pt x="1520" y="298"/>
                  <a:pt x="1520" y="298"/>
                  <a:pt x="1520" y="298"/>
                </a:cubicBezTo>
                <a:cubicBezTo>
                  <a:pt x="1516" y="298"/>
                  <a:pt x="1516" y="298"/>
                  <a:pt x="1516" y="298"/>
                </a:cubicBezTo>
                <a:cubicBezTo>
                  <a:pt x="1514" y="299"/>
                  <a:pt x="1513" y="301"/>
                  <a:pt x="1510" y="302"/>
                </a:cubicBezTo>
                <a:cubicBezTo>
                  <a:pt x="1509" y="303"/>
                  <a:pt x="1507" y="304"/>
                  <a:pt x="1505" y="305"/>
                </a:cubicBezTo>
                <a:cubicBezTo>
                  <a:pt x="1503" y="306"/>
                  <a:pt x="1502" y="307"/>
                  <a:pt x="1500" y="307"/>
                </a:cubicBezTo>
                <a:cubicBezTo>
                  <a:pt x="1498" y="308"/>
                  <a:pt x="1496" y="309"/>
                  <a:pt x="1495" y="309"/>
                </a:cubicBezTo>
                <a:cubicBezTo>
                  <a:pt x="1495" y="309"/>
                  <a:pt x="1495" y="309"/>
                  <a:pt x="1495" y="319"/>
                </a:cubicBezTo>
                <a:cubicBezTo>
                  <a:pt x="1497" y="318"/>
                  <a:pt x="1500" y="318"/>
                  <a:pt x="1502" y="316"/>
                </a:cubicBezTo>
                <a:cubicBezTo>
                  <a:pt x="1505" y="315"/>
                  <a:pt x="1508" y="314"/>
                  <a:pt x="1509" y="313"/>
                </a:cubicBezTo>
                <a:cubicBezTo>
                  <a:pt x="1509" y="313"/>
                  <a:pt x="1509" y="313"/>
                  <a:pt x="1509" y="371"/>
                </a:cubicBezTo>
                <a:cubicBezTo>
                  <a:pt x="1509" y="371"/>
                  <a:pt x="1509" y="371"/>
                  <a:pt x="1520" y="371"/>
                </a:cubicBezTo>
                <a:cubicBezTo>
                  <a:pt x="1520" y="371"/>
                  <a:pt x="1520" y="371"/>
                  <a:pt x="1520" y="298"/>
                </a:cubicBezTo>
                <a:close/>
                <a:moveTo>
                  <a:pt x="1270" y="345"/>
                </a:moveTo>
                <a:cubicBezTo>
                  <a:pt x="1270" y="347"/>
                  <a:pt x="1271" y="348"/>
                  <a:pt x="1272" y="350"/>
                </a:cubicBezTo>
                <a:cubicBezTo>
                  <a:pt x="1272" y="351"/>
                  <a:pt x="1272" y="353"/>
                  <a:pt x="1273" y="355"/>
                </a:cubicBezTo>
                <a:cubicBezTo>
                  <a:pt x="1273" y="356"/>
                  <a:pt x="1273" y="358"/>
                  <a:pt x="1273" y="360"/>
                </a:cubicBezTo>
                <a:cubicBezTo>
                  <a:pt x="1274" y="363"/>
                  <a:pt x="1273" y="364"/>
                  <a:pt x="1270" y="364"/>
                </a:cubicBezTo>
                <a:cubicBezTo>
                  <a:pt x="1267" y="364"/>
                  <a:pt x="1264" y="364"/>
                  <a:pt x="1261" y="364"/>
                </a:cubicBezTo>
                <a:cubicBezTo>
                  <a:pt x="1261" y="364"/>
                  <a:pt x="1260" y="364"/>
                  <a:pt x="1260" y="364"/>
                </a:cubicBezTo>
                <a:cubicBezTo>
                  <a:pt x="1258" y="366"/>
                  <a:pt x="1257" y="367"/>
                  <a:pt x="1255" y="369"/>
                </a:cubicBezTo>
                <a:cubicBezTo>
                  <a:pt x="1253" y="371"/>
                  <a:pt x="1250" y="371"/>
                  <a:pt x="1248" y="369"/>
                </a:cubicBezTo>
                <a:cubicBezTo>
                  <a:pt x="1246" y="367"/>
                  <a:pt x="1245" y="365"/>
                  <a:pt x="1243" y="362"/>
                </a:cubicBezTo>
                <a:cubicBezTo>
                  <a:pt x="1242" y="360"/>
                  <a:pt x="1243" y="359"/>
                  <a:pt x="1245" y="357"/>
                </a:cubicBezTo>
                <a:cubicBezTo>
                  <a:pt x="1242" y="357"/>
                  <a:pt x="1241" y="357"/>
                  <a:pt x="1239" y="357"/>
                </a:cubicBezTo>
                <a:cubicBezTo>
                  <a:pt x="1239" y="359"/>
                  <a:pt x="1237" y="361"/>
                  <a:pt x="1237" y="363"/>
                </a:cubicBezTo>
                <a:cubicBezTo>
                  <a:pt x="1237" y="364"/>
                  <a:pt x="1236" y="365"/>
                  <a:pt x="1236" y="365"/>
                </a:cubicBezTo>
                <a:cubicBezTo>
                  <a:pt x="1236" y="369"/>
                  <a:pt x="1235" y="370"/>
                  <a:pt x="1232" y="369"/>
                </a:cubicBezTo>
                <a:cubicBezTo>
                  <a:pt x="1229" y="369"/>
                  <a:pt x="1226" y="368"/>
                  <a:pt x="1223" y="367"/>
                </a:cubicBezTo>
                <a:cubicBezTo>
                  <a:pt x="1221" y="367"/>
                  <a:pt x="1221" y="365"/>
                  <a:pt x="1221" y="363"/>
                </a:cubicBezTo>
                <a:cubicBezTo>
                  <a:pt x="1221" y="362"/>
                  <a:pt x="1221" y="362"/>
                  <a:pt x="1222" y="362"/>
                </a:cubicBezTo>
                <a:cubicBezTo>
                  <a:pt x="1219" y="360"/>
                  <a:pt x="1217" y="360"/>
                  <a:pt x="1215" y="358"/>
                </a:cubicBezTo>
                <a:cubicBezTo>
                  <a:pt x="1214" y="357"/>
                  <a:pt x="1213" y="355"/>
                  <a:pt x="1212" y="354"/>
                </a:cubicBezTo>
                <a:cubicBezTo>
                  <a:pt x="1211" y="352"/>
                  <a:pt x="1211" y="350"/>
                  <a:pt x="1213" y="348"/>
                </a:cubicBezTo>
                <a:cubicBezTo>
                  <a:pt x="1216" y="346"/>
                  <a:pt x="1217" y="343"/>
                  <a:pt x="1216" y="339"/>
                </a:cubicBezTo>
                <a:cubicBezTo>
                  <a:pt x="1216" y="337"/>
                  <a:pt x="1216" y="335"/>
                  <a:pt x="1216" y="333"/>
                </a:cubicBezTo>
                <a:cubicBezTo>
                  <a:pt x="1215" y="333"/>
                  <a:pt x="1213" y="332"/>
                  <a:pt x="1212" y="331"/>
                </a:cubicBezTo>
                <a:cubicBezTo>
                  <a:pt x="1211" y="329"/>
                  <a:pt x="1210" y="327"/>
                  <a:pt x="1210" y="325"/>
                </a:cubicBezTo>
                <a:cubicBezTo>
                  <a:pt x="1210" y="323"/>
                  <a:pt x="1213" y="320"/>
                  <a:pt x="1216" y="319"/>
                </a:cubicBezTo>
                <a:cubicBezTo>
                  <a:pt x="1217" y="320"/>
                  <a:pt x="1217" y="321"/>
                  <a:pt x="1217" y="322"/>
                </a:cubicBezTo>
                <a:cubicBezTo>
                  <a:pt x="1217" y="323"/>
                  <a:pt x="1217" y="323"/>
                  <a:pt x="1217" y="325"/>
                </a:cubicBezTo>
                <a:cubicBezTo>
                  <a:pt x="1217" y="324"/>
                  <a:pt x="1216" y="324"/>
                  <a:pt x="1216" y="324"/>
                </a:cubicBezTo>
                <a:cubicBezTo>
                  <a:pt x="1215" y="325"/>
                  <a:pt x="1215" y="327"/>
                  <a:pt x="1214" y="329"/>
                </a:cubicBezTo>
                <a:cubicBezTo>
                  <a:pt x="1215" y="328"/>
                  <a:pt x="1216" y="328"/>
                  <a:pt x="1217" y="328"/>
                </a:cubicBezTo>
                <a:cubicBezTo>
                  <a:pt x="1218" y="327"/>
                  <a:pt x="1219" y="326"/>
                  <a:pt x="1219" y="325"/>
                </a:cubicBezTo>
                <a:cubicBezTo>
                  <a:pt x="1224" y="318"/>
                  <a:pt x="1230" y="314"/>
                  <a:pt x="1237" y="312"/>
                </a:cubicBezTo>
                <a:cubicBezTo>
                  <a:pt x="1241" y="312"/>
                  <a:pt x="1244" y="311"/>
                  <a:pt x="1246" y="308"/>
                </a:cubicBezTo>
                <a:cubicBezTo>
                  <a:pt x="1246" y="308"/>
                  <a:pt x="1247" y="307"/>
                  <a:pt x="1247" y="307"/>
                </a:cubicBezTo>
                <a:cubicBezTo>
                  <a:pt x="1250" y="307"/>
                  <a:pt x="1252" y="304"/>
                  <a:pt x="1253" y="303"/>
                </a:cubicBezTo>
                <a:cubicBezTo>
                  <a:pt x="1261" y="295"/>
                  <a:pt x="1273" y="295"/>
                  <a:pt x="1281" y="301"/>
                </a:cubicBezTo>
                <a:cubicBezTo>
                  <a:pt x="1283" y="303"/>
                  <a:pt x="1286" y="305"/>
                  <a:pt x="1288" y="307"/>
                </a:cubicBezTo>
                <a:cubicBezTo>
                  <a:pt x="1290" y="308"/>
                  <a:pt x="1291" y="310"/>
                  <a:pt x="1292" y="312"/>
                </a:cubicBezTo>
                <a:cubicBezTo>
                  <a:pt x="1293" y="314"/>
                  <a:pt x="1293" y="314"/>
                  <a:pt x="1295" y="312"/>
                </a:cubicBezTo>
                <a:cubicBezTo>
                  <a:pt x="1295" y="312"/>
                  <a:pt x="1296" y="311"/>
                  <a:pt x="1297" y="310"/>
                </a:cubicBezTo>
                <a:cubicBezTo>
                  <a:pt x="1299" y="308"/>
                  <a:pt x="1302" y="308"/>
                  <a:pt x="1303" y="311"/>
                </a:cubicBezTo>
                <a:cubicBezTo>
                  <a:pt x="1304" y="314"/>
                  <a:pt x="1305" y="317"/>
                  <a:pt x="1306" y="320"/>
                </a:cubicBezTo>
                <a:cubicBezTo>
                  <a:pt x="1306" y="324"/>
                  <a:pt x="1306" y="329"/>
                  <a:pt x="1304" y="333"/>
                </a:cubicBezTo>
                <a:cubicBezTo>
                  <a:pt x="1302" y="339"/>
                  <a:pt x="1297" y="343"/>
                  <a:pt x="1291" y="343"/>
                </a:cubicBezTo>
                <a:cubicBezTo>
                  <a:pt x="1290" y="343"/>
                  <a:pt x="1290" y="343"/>
                  <a:pt x="1289" y="343"/>
                </a:cubicBezTo>
                <a:cubicBezTo>
                  <a:pt x="1286" y="343"/>
                  <a:pt x="1285" y="343"/>
                  <a:pt x="1284" y="345"/>
                </a:cubicBezTo>
                <a:cubicBezTo>
                  <a:pt x="1283" y="350"/>
                  <a:pt x="1277" y="351"/>
                  <a:pt x="1274" y="348"/>
                </a:cubicBezTo>
                <a:cubicBezTo>
                  <a:pt x="1273" y="347"/>
                  <a:pt x="1272" y="346"/>
                  <a:pt x="1271" y="345"/>
                </a:cubicBezTo>
                <a:cubicBezTo>
                  <a:pt x="1270" y="345"/>
                  <a:pt x="1270" y="345"/>
                  <a:pt x="1270" y="345"/>
                </a:cubicBezTo>
                <a:close/>
                <a:moveTo>
                  <a:pt x="1264" y="341"/>
                </a:moveTo>
                <a:cubicBezTo>
                  <a:pt x="1268" y="343"/>
                  <a:pt x="1272" y="344"/>
                  <a:pt x="1274" y="346"/>
                </a:cubicBezTo>
                <a:cubicBezTo>
                  <a:pt x="1276" y="348"/>
                  <a:pt x="1278" y="349"/>
                  <a:pt x="1280" y="348"/>
                </a:cubicBezTo>
                <a:cubicBezTo>
                  <a:pt x="1282" y="347"/>
                  <a:pt x="1284" y="345"/>
                  <a:pt x="1284" y="342"/>
                </a:cubicBezTo>
                <a:cubicBezTo>
                  <a:pt x="1284" y="343"/>
                  <a:pt x="1283" y="343"/>
                  <a:pt x="1283" y="343"/>
                </a:cubicBezTo>
                <a:cubicBezTo>
                  <a:pt x="1282" y="344"/>
                  <a:pt x="1281" y="345"/>
                  <a:pt x="1281" y="346"/>
                </a:cubicBezTo>
                <a:cubicBezTo>
                  <a:pt x="1279" y="348"/>
                  <a:pt x="1278" y="347"/>
                  <a:pt x="1277" y="347"/>
                </a:cubicBezTo>
                <a:cubicBezTo>
                  <a:pt x="1277" y="347"/>
                  <a:pt x="1276" y="346"/>
                  <a:pt x="1276" y="345"/>
                </a:cubicBezTo>
                <a:cubicBezTo>
                  <a:pt x="1276" y="343"/>
                  <a:pt x="1277" y="341"/>
                  <a:pt x="1277" y="339"/>
                </a:cubicBezTo>
                <a:cubicBezTo>
                  <a:pt x="1280" y="339"/>
                  <a:pt x="1283" y="341"/>
                  <a:pt x="1287" y="341"/>
                </a:cubicBezTo>
                <a:cubicBezTo>
                  <a:pt x="1294" y="342"/>
                  <a:pt x="1300" y="341"/>
                  <a:pt x="1303" y="332"/>
                </a:cubicBezTo>
                <a:cubicBezTo>
                  <a:pt x="1305" y="327"/>
                  <a:pt x="1304" y="322"/>
                  <a:pt x="1304" y="317"/>
                </a:cubicBezTo>
                <a:cubicBezTo>
                  <a:pt x="1303" y="315"/>
                  <a:pt x="1302" y="314"/>
                  <a:pt x="1302" y="312"/>
                </a:cubicBezTo>
                <a:cubicBezTo>
                  <a:pt x="1301" y="310"/>
                  <a:pt x="1300" y="310"/>
                  <a:pt x="1299" y="311"/>
                </a:cubicBezTo>
                <a:cubicBezTo>
                  <a:pt x="1297" y="313"/>
                  <a:pt x="1295" y="314"/>
                  <a:pt x="1293" y="315"/>
                </a:cubicBezTo>
                <a:cubicBezTo>
                  <a:pt x="1293" y="316"/>
                  <a:pt x="1292" y="316"/>
                  <a:pt x="1292" y="318"/>
                </a:cubicBezTo>
                <a:cubicBezTo>
                  <a:pt x="1293" y="321"/>
                  <a:pt x="1292" y="324"/>
                  <a:pt x="1291" y="327"/>
                </a:cubicBezTo>
                <a:cubicBezTo>
                  <a:pt x="1291" y="325"/>
                  <a:pt x="1292" y="323"/>
                  <a:pt x="1292" y="322"/>
                </a:cubicBezTo>
                <a:cubicBezTo>
                  <a:pt x="1292" y="321"/>
                  <a:pt x="1291" y="320"/>
                  <a:pt x="1291" y="320"/>
                </a:cubicBezTo>
                <a:cubicBezTo>
                  <a:pt x="1290" y="320"/>
                  <a:pt x="1290" y="320"/>
                  <a:pt x="1290" y="321"/>
                </a:cubicBezTo>
                <a:cubicBezTo>
                  <a:pt x="1289" y="322"/>
                  <a:pt x="1288" y="323"/>
                  <a:pt x="1287" y="325"/>
                </a:cubicBezTo>
                <a:cubicBezTo>
                  <a:pt x="1287" y="325"/>
                  <a:pt x="1287" y="325"/>
                  <a:pt x="1287" y="325"/>
                </a:cubicBezTo>
                <a:cubicBezTo>
                  <a:pt x="1287" y="323"/>
                  <a:pt x="1288" y="322"/>
                  <a:pt x="1288" y="319"/>
                </a:cubicBezTo>
                <a:cubicBezTo>
                  <a:pt x="1287" y="320"/>
                  <a:pt x="1286" y="320"/>
                  <a:pt x="1286" y="321"/>
                </a:cubicBezTo>
                <a:cubicBezTo>
                  <a:pt x="1285" y="322"/>
                  <a:pt x="1285" y="322"/>
                  <a:pt x="1284" y="323"/>
                </a:cubicBezTo>
                <a:cubicBezTo>
                  <a:pt x="1285" y="320"/>
                  <a:pt x="1285" y="320"/>
                  <a:pt x="1291" y="318"/>
                </a:cubicBezTo>
                <a:cubicBezTo>
                  <a:pt x="1291" y="318"/>
                  <a:pt x="1290" y="317"/>
                  <a:pt x="1290" y="317"/>
                </a:cubicBezTo>
                <a:cubicBezTo>
                  <a:pt x="1287" y="318"/>
                  <a:pt x="1286" y="316"/>
                  <a:pt x="1286" y="314"/>
                </a:cubicBezTo>
                <a:cubicBezTo>
                  <a:pt x="1288" y="314"/>
                  <a:pt x="1289" y="313"/>
                  <a:pt x="1291" y="313"/>
                </a:cubicBezTo>
                <a:cubicBezTo>
                  <a:pt x="1289" y="310"/>
                  <a:pt x="1288" y="308"/>
                  <a:pt x="1284" y="307"/>
                </a:cubicBezTo>
                <a:cubicBezTo>
                  <a:pt x="1284" y="307"/>
                  <a:pt x="1284" y="307"/>
                  <a:pt x="1284" y="306"/>
                </a:cubicBezTo>
                <a:cubicBezTo>
                  <a:pt x="1281" y="304"/>
                  <a:pt x="1279" y="302"/>
                  <a:pt x="1276" y="300"/>
                </a:cubicBezTo>
                <a:cubicBezTo>
                  <a:pt x="1274" y="299"/>
                  <a:pt x="1271" y="298"/>
                  <a:pt x="1269" y="298"/>
                </a:cubicBezTo>
                <a:cubicBezTo>
                  <a:pt x="1266" y="299"/>
                  <a:pt x="1262" y="300"/>
                  <a:pt x="1259" y="301"/>
                </a:cubicBezTo>
                <a:cubicBezTo>
                  <a:pt x="1257" y="302"/>
                  <a:pt x="1254" y="303"/>
                  <a:pt x="1252" y="306"/>
                </a:cubicBezTo>
                <a:cubicBezTo>
                  <a:pt x="1254" y="306"/>
                  <a:pt x="1255" y="306"/>
                  <a:pt x="1256" y="306"/>
                </a:cubicBezTo>
                <a:cubicBezTo>
                  <a:pt x="1256" y="307"/>
                  <a:pt x="1255" y="307"/>
                  <a:pt x="1254" y="307"/>
                </a:cubicBezTo>
                <a:cubicBezTo>
                  <a:pt x="1252" y="308"/>
                  <a:pt x="1249" y="307"/>
                  <a:pt x="1247" y="310"/>
                </a:cubicBezTo>
                <a:cubicBezTo>
                  <a:pt x="1244" y="314"/>
                  <a:pt x="1240" y="317"/>
                  <a:pt x="1236" y="322"/>
                </a:cubicBezTo>
                <a:cubicBezTo>
                  <a:pt x="1235" y="323"/>
                  <a:pt x="1234" y="326"/>
                  <a:pt x="1233" y="328"/>
                </a:cubicBezTo>
                <a:cubicBezTo>
                  <a:pt x="1233" y="329"/>
                  <a:pt x="1233" y="329"/>
                  <a:pt x="1233" y="330"/>
                </a:cubicBezTo>
                <a:cubicBezTo>
                  <a:pt x="1234" y="332"/>
                  <a:pt x="1235" y="334"/>
                  <a:pt x="1237" y="336"/>
                </a:cubicBezTo>
                <a:cubicBezTo>
                  <a:pt x="1238" y="334"/>
                  <a:pt x="1239" y="333"/>
                  <a:pt x="1241" y="331"/>
                </a:cubicBezTo>
                <a:cubicBezTo>
                  <a:pt x="1240" y="333"/>
                  <a:pt x="1240" y="334"/>
                  <a:pt x="1239" y="335"/>
                </a:cubicBezTo>
                <a:cubicBezTo>
                  <a:pt x="1238" y="337"/>
                  <a:pt x="1237" y="338"/>
                  <a:pt x="1237" y="339"/>
                </a:cubicBezTo>
                <a:cubicBezTo>
                  <a:pt x="1237" y="340"/>
                  <a:pt x="1237" y="341"/>
                  <a:pt x="1237" y="342"/>
                </a:cubicBezTo>
                <a:cubicBezTo>
                  <a:pt x="1240" y="346"/>
                  <a:pt x="1243" y="346"/>
                  <a:pt x="1247" y="344"/>
                </a:cubicBezTo>
                <a:cubicBezTo>
                  <a:pt x="1249" y="342"/>
                  <a:pt x="1252" y="341"/>
                  <a:pt x="1255" y="340"/>
                </a:cubicBezTo>
                <a:cubicBezTo>
                  <a:pt x="1256" y="340"/>
                  <a:pt x="1257" y="339"/>
                  <a:pt x="1257" y="337"/>
                </a:cubicBezTo>
                <a:cubicBezTo>
                  <a:pt x="1257" y="334"/>
                  <a:pt x="1257" y="331"/>
                  <a:pt x="1257" y="327"/>
                </a:cubicBezTo>
                <a:cubicBezTo>
                  <a:pt x="1257" y="324"/>
                  <a:pt x="1257" y="322"/>
                  <a:pt x="1257" y="318"/>
                </a:cubicBezTo>
                <a:cubicBezTo>
                  <a:pt x="1258" y="321"/>
                  <a:pt x="1259" y="324"/>
                  <a:pt x="1259" y="326"/>
                </a:cubicBezTo>
                <a:cubicBezTo>
                  <a:pt x="1260" y="331"/>
                  <a:pt x="1260" y="335"/>
                  <a:pt x="1259" y="340"/>
                </a:cubicBezTo>
                <a:cubicBezTo>
                  <a:pt x="1258" y="341"/>
                  <a:pt x="1257" y="341"/>
                  <a:pt x="1257" y="341"/>
                </a:cubicBezTo>
                <a:cubicBezTo>
                  <a:pt x="1253" y="342"/>
                  <a:pt x="1250" y="344"/>
                  <a:pt x="1247" y="345"/>
                </a:cubicBezTo>
                <a:cubicBezTo>
                  <a:pt x="1242" y="348"/>
                  <a:pt x="1239" y="346"/>
                  <a:pt x="1235" y="343"/>
                </a:cubicBezTo>
                <a:cubicBezTo>
                  <a:pt x="1235" y="342"/>
                  <a:pt x="1235" y="341"/>
                  <a:pt x="1235" y="341"/>
                </a:cubicBezTo>
                <a:cubicBezTo>
                  <a:pt x="1236" y="338"/>
                  <a:pt x="1235" y="336"/>
                  <a:pt x="1233" y="334"/>
                </a:cubicBezTo>
                <a:cubicBezTo>
                  <a:pt x="1232" y="332"/>
                  <a:pt x="1230" y="330"/>
                  <a:pt x="1232" y="327"/>
                </a:cubicBezTo>
                <a:cubicBezTo>
                  <a:pt x="1232" y="325"/>
                  <a:pt x="1233" y="323"/>
                  <a:pt x="1234" y="322"/>
                </a:cubicBezTo>
                <a:cubicBezTo>
                  <a:pt x="1236" y="319"/>
                  <a:pt x="1238" y="317"/>
                  <a:pt x="1240" y="314"/>
                </a:cubicBezTo>
                <a:cubicBezTo>
                  <a:pt x="1240" y="314"/>
                  <a:pt x="1239" y="314"/>
                  <a:pt x="1239" y="314"/>
                </a:cubicBezTo>
                <a:cubicBezTo>
                  <a:pt x="1234" y="315"/>
                  <a:pt x="1230" y="317"/>
                  <a:pt x="1226" y="320"/>
                </a:cubicBezTo>
                <a:cubicBezTo>
                  <a:pt x="1221" y="324"/>
                  <a:pt x="1218" y="329"/>
                  <a:pt x="1218" y="336"/>
                </a:cubicBezTo>
                <a:cubicBezTo>
                  <a:pt x="1217" y="343"/>
                  <a:pt x="1220" y="349"/>
                  <a:pt x="1223" y="355"/>
                </a:cubicBezTo>
                <a:cubicBezTo>
                  <a:pt x="1224" y="356"/>
                  <a:pt x="1224" y="357"/>
                  <a:pt x="1224" y="358"/>
                </a:cubicBezTo>
                <a:cubicBezTo>
                  <a:pt x="1224" y="360"/>
                  <a:pt x="1224" y="362"/>
                  <a:pt x="1223" y="363"/>
                </a:cubicBezTo>
                <a:cubicBezTo>
                  <a:pt x="1222" y="365"/>
                  <a:pt x="1223" y="365"/>
                  <a:pt x="1224" y="366"/>
                </a:cubicBezTo>
                <a:cubicBezTo>
                  <a:pt x="1227" y="367"/>
                  <a:pt x="1230" y="367"/>
                  <a:pt x="1233" y="367"/>
                </a:cubicBezTo>
                <a:cubicBezTo>
                  <a:pt x="1233" y="367"/>
                  <a:pt x="1234" y="367"/>
                  <a:pt x="1234" y="366"/>
                </a:cubicBezTo>
                <a:cubicBezTo>
                  <a:pt x="1235" y="365"/>
                  <a:pt x="1235" y="363"/>
                  <a:pt x="1235" y="363"/>
                </a:cubicBezTo>
                <a:cubicBezTo>
                  <a:pt x="1237" y="360"/>
                  <a:pt x="1237" y="358"/>
                  <a:pt x="1237" y="355"/>
                </a:cubicBezTo>
                <a:cubicBezTo>
                  <a:pt x="1237" y="354"/>
                  <a:pt x="1237" y="354"/>
                  <a:pt x="1237" y="354"/>
                </a:cubicBezTo>
                <a:cubicBezTo>
                  <a:pt x="1237" y="353"/>
                  <a:pt x="1237" y="353"/>
                  <a:pt x="1237" y="353"/>
                </a:cubicBezTo>
                <a:cubicBezTo>
                  <a:pt x="1238" y="356"/>
                  <a:pt x="1239" y="356"/>
                  <a:pt x="1241" y="356"/>
                </a:cubicBezTo>
                <a:cubicBezTo>
                  <a:pt x="1242" y="356"/>
                  <a:pt x="1243" y="356"/>
                  <a:pt x="1244" y="356"/>
                </a:cubicBezTo>
                <a:cubicBezTo>
                  <a:pt x="1246" y="356"/>
                  <a:pt x="1250" y="356"/>
                  <a:pt x="1250" y="352"/>
                </a:cubicBezTo>
                <a:cubicBezTo>
                  <a:pt x="1250" y="354"/>
                  <a:pt x="1250" y="356"/>
                  <a:pt x="1250" y="357"/>
                </a:cubicBezTo>
                <a:cubicBezTo>
                  <a:pt x="1249" y="358"/>
                  <a:pt x="1248" y="358"/>
                  <a:pt x="1246" y="359"/>
                </a:cubicBezTo>
                <a:cubicBezTo>
                  <a:pt x="1245" y="360"/>
                  <a:pt x="1244" y="361"/>
                  <a:pt x="1245" y="362"/>
                </a:cubicBezTo>
                <a:cubicBezTo>
                  <a:pt x="1246" y="364"/>
                  <a:pt x="1248" y="366"/>
                  <a:pt x="1249" y="368"/>
                </a:cubicBezTo>
                <a:cubicBezTo>
                  <a:pt x="1251" y="369"/>
                  <a:pt x="1253" y="369"/>
                  <a:pt x="1254" y="367"/>
                </a:cubicBezTo>
                <a:cubicBezTo>
                  <a:pt x="1255" y="367"/>
                  <a:pt x="1255" y="366"/>
                  <a:pt x="1256" y="365"/>
                </a:cubicBezTo>
                <a:cubicBezTo>
                  <a:pt x="1258" y="364"/>
                  <a:pt x="1259" y="363"/>
                  <a:pt x="1261" y="362"/>
                </a:cubicBezTo>
                <a:cubicBezTo>
                  <a:pt x="1265" y="357"/>
                  <a:pt x="1267" y="351"/>
                  <a:pt x="1269" y="345"/>
                </a:cubicBezTo>
                <a:cubicBezTo>
                  <a:pt x="1269" y="345"/>
                  <a:pt x="1268" y="344"/>
                  <a:pt x="1268" y="344"/>
                </a:cubicBezTo>
                <a:cubicBezTo>
                  <a:pt x="1267" y="343"/>
                  <a:pt x="1266" y="342"/>
                  <a:pt x="1264" y="341"/>
                </a:cubicBezTo>
                <a:close/>
                <a:moveTo>
                  <a:pt x="1217" y="347"/>
                </a:moveTo>
                <a:cubicBezTo>
                  <a:pt x="1217" y="348"/>
                  <a:pt x="1215" y="349"/>
                  <a:pt x="1214" y="350"/>
                </a:cubicBezTo>
                <a:cubicBezTo>
                  <a:pt x="1213" y="350"/>
                  <a:pt x="1213" y="351"/>
                  <a:pt x="1213" y="352"/>
                </a:cubicBezTo>
                <a:cubicBezTo>
                  <a:pt x="1213" y="355"/>
                  <a:pt x="1217" y="359"/>
                  <a:pt x="1221" y="359"/>
                </a:cubicBezTo>
                <a:cubicBezTo>
                  <a:pt x="1222" y="359"/>
                  <a:pt x="1223" y="358"/>
                  <a:pt x="1222" y="356"/>
                </a:cubicBezTo>
                <a:cubicBezTo>
                  <a:pt x="1221" y="353"/>
                  <a:pt x="1219" y="350"/>
                  <a:pt x="1217" y="347"/>
                </a:cubicBezTo>
                <a:close/>
                <a:moveTo>
                  <a:pt x="1270" y="349"/>
                </a:moveTo>
                <a:cubicBezTo>
                  <a:pt x="1268" y="354"/>
                  <a:pt x="1265" y="358"/>
                  <a:pt x="1263" y="363"/>
                </a:cubicBezTo>
                <a:cubicBezTo>
                  <a:pt x="1266" y="363"/>
                  <a:pt x="1268" y="363"/>
                  <a:pt x="1271" y="363"/>
                </a:cubicBezTo>
                <a:cubicBezTo>
                  <a:pt x="1271" y="363"/>
                  <a:pt x="1272" y="362"/>
                  <a:pt x="1272" y="361"/>
                </a:cubicBezTo>
                <a:cubicBezTo>
                  <a:pt x="1272" y="358"/>
                  <a:pt x="1272" y="356"/>
                  <a:pt x="1271" y="354"/>
                </a:cubicBezTo>
                <a:cubicBezTo>
                  <a:pt x="1271" y="352"/>
                  <a:pt x="1270" y="351"/>
                  <a:pt x="1270" y="349"/>
                </a:cubicBezTo>
                <a:close/>
                <a:moveTo>
                  <a:pt x="1217" y="329"/>
                </a:moveTo>
                <a:cubicBezTo>
                  <a:pt x="1217" y="329"/>
                  <a:pt x="1216" y="330"/>
                  <a:pt x="1215" y="330"/>
                </a:cubicBezTo>
                <a:cubicBezTo>
                  <a:pt x="1215" y="330"/>
                  <a:pt x="1214" y="330"/>
                  <a:pt x="1214" y="329"/>
                </a:cubicBezTo>
                <a:cubicBezTo>
                  <a:pt x="1213" y="329"/>
                  <a:pt x="1213" y="328"/>
                  <a:pt x="1213" y="327"/>
                </a:cubicBezTo>
                <a:cubicBezTo>
                  <a:pt x="1214" y="325"/>
                  <a:pt x="1214" y="323"/>
                  <a:pt x="1215" y="322"/>
                </a:cubicBezTo>
                <a:cubicBezTo>
                  <a:pt x="1215" y="322"/>
                  <a:pt x="1215" y="322"/>
                  <a:pt x="1214" y="322"/>
                </a:cubicBezTo>
                <a:cubicBezTo>
                  <a:pt x="1213" y="322"/>
                  <a:pt x="1212" y="323"/>
                  <a:pt x="1212" y="324"/>
                </a:cubicBezTo>
                <a:cubicBezTo>
                  <a:pt x="1211" y="325"/>
                  <a:pt x="1212" y="331"/>
                  <a:pt x="1214" y="331"/>
                </a:cubicBezTo>
                <a:cubicBezTo>
                  <a:pt x="1215" y="332"/>
                  <a:pt x="1217" y="331"/>
                  <a:pt x="1217" y="329"/>
                </a:cubicBezTo>
                <a:close/>
                <a:moveTo>
                  <a:pt x="1218" y="347"/>
                </a:moveTo>
                <a:cubicBezTo>
                  <a:pt x="1217" y="348"/>
                  <a:pt x="1215" y="349"/>
                  <a:pt x="1214" y="350"/>
                </a:cubicBezTo>
                <a:cubicBezTo>
                  <a:pt x="1214" y="350"/>
                  <a:pt x="1213" y="351"/>
                  <a:pt x="1213" y="352"/>
                </a:cubicBezTo>
                <a:cubicBezTo>
                  <a:pt x="1213" y="355"/>
                  <a:pt x="1218" y="359"/>
                  <a:pt x="1221" y="359"/>
                </a:cubicBezTo>
                <a:cubicBezTo>
                  <a:pt x="1222" y="359"/>
                  <a:pt x="1223" y="357"/>
                  <a:pt x="1222" y="356"/>
                </a:cubicBezTo>
                <a:cubicBezTo>
                  <a:pt x="1221" y="353"/>
                  <a:pt x="1219" y="350"/>
                  <a:pt x="1218" y="347"/>
                </a:cubicBezTo>
                <a:close/>
                <a:moveTo>
                  <a:pt x="1270" y="349"/>
                </a:moveTo>
                <a:cubicBezTo>
                  <a:pt x="1267" y="354"/>
                  <a:pt x="1265" y="358"/>
                  <a:pt x="1263" y="362"/>
                </a:cubicBezTo>
                <a:cubicBezTo>
                  <a:pt x="1265" y="362"/>
                  <a:pt x="1268" y="363"/>
                  <a:pt x="1271" y="362"/>
                </a:cubicBezTo>
                <a:cubicBezTo>
                  <a:pt x="1271" y="362"/>
                  <a:pt x="1271" y="361"/>
                  <a:pt x="1271" y="361"/>
                </a:cubicBezTo>
                <a:cubicBezTo>
                  <a:pt x="1271" y="358"/>
                  <a:pt x="1271" y="356"/>
                  <a:pt x="1271" y="353"/>
                </a:cubicBezTo>
                <a:cubicBezTo>
                  <a:pt x="1271" y="352"/>
                  <a:pt x="1270" y="350"/>
                  <a:pt x="1270" y="349"/>
                </a:cubicBezTo>
                <a:close/>
                <a:moveTo>
                  <a:pt x="1217" y="329"/>
                </a:moveTo>
                <a:cubicBezTo>
                  <a:pt x="1216" y="329"/>
                  <a:pt x="1216" y="330"/>
                  <a:pt x="1215" y="330"/>
                </a:cubicBezTo>
                <a:cubicBezTo>
                  <a:pt x="1215" y="330"/>
                  <a:pt x="1214" y="330"/>
                  <a:pt x="1214" y="329"/>
                </a:cubicBezTo>
                <a:cubicBezTo>
                  <a:pt x="1213" y="329"/>
                  <a:pt x="1213" y="328"/>
                  <a:pt x="1213" y="327"/>
                </a:cubicBezTo>
                <a:cubicBezTo>
                  <a:pt x="1214" y="325"/>
                  <a:pt x="1214" y="323"/>
                  <a:pt x="1215" y="321"/>
                </a:cubicBezTo>
                <a:cubicBezTo>
                  <a:pt x="1215" y="321"/>
                  <a:pt x="1215" y="321"/>
                  <a:pt x="1214" y="321"/>
                </a:cubicBezTo>
                <a:cubicBezTo>
                  <a:pt x="1213" y="322"/>
                  <a:pt x="1212" y="323"/>
                  <a:pt x="1212" y="324"/>
                </a:cubicBezTo>
                <a:cubicBezTo>
                  <a:pt x="1211" y="325"/>
                  <a:pt x="1212" y="330"/>
                  <a:pt x="1214" y="331"/>
                </a:cubicBezTo>
                <a:cubicBezTo>
                  <a:pt x="1215" y="332"/>
                  <a:pt x="1217" y="331"/>
                  <a:pt x="1217" y="329"/>
                </a:cubicBezTo>
                <a:close/>
                <a:moveTo>
                  <a:pt x="1269" y="321"/>
                </a:moveTo>
                <a:cubicBezTo>
                  <a:pt x="1273" y="317"/>
                  <a:pt x="1273" y="317"/>
                  <a:pt x="1277" y="316"/>
                </a:cubicBezTo>
                <a:cubicBezTo>
                  <a:pt x="1277" y="318"/>
                  <a:pt x="1278" y="319"/>
                  <a:pt x="1280" y="319"/>
                </a:cubicBezTo>
                <a:cubicBezTo>
                  <a:pt x="1277" y="320"/>
                  <a:pt x="1275" y="322"/>
                  <a:pt x="1273" y="323"/>
                </a:cubicBezTo>
                <a:cubicBezTo>
                  <a:pt x="1272" y="322"/>
                  <a:pt x="1272" y="321"/>
                  <a:pt x="1271" y="320"/>
                </a:cubicBezTo>
                <a:cubicBezTo>
                  <a:pt x="1271" y="320"/>
                  <a:pt x="1270" y="320"/>
                  <a:pt x="1269" y="321"/>
                </a:cubicBezTo>
                <a:close/>
                <a:moveTo>
                  <a:pt x="1276" y="320"/>
                </a:moveTo>
                <a:cubicBezTo>
                  <a:pt x="1275" y="320"/>
                  <a:pt x="1274" y="319"/>
                  <a:pt x="1273" y="319"/>
                </a:cubicBezTo>
                <a:cubicBezTo>
                  <a:pt x="1273" y="319"/>
                  <a:pt x="1272" y="320"/>
                  <a:pt x="1272" y="321"/>
                </a:cubicBezTo>
                <a:cubicBezTo>
                  <a:pt x="1272" y="321"/>
                  <a:pt x="1273" y="321"/>
                  <a:pt x="1273" y="322"/>
                </a:cubicBezTo>
                <a:cubicBezTo>
                  <a:pt x="1274" y="321"/>
                  <a:pt x="1274" y="321"/>
                  <a:pt x="1276" y="320"/>
                </a:cubicBezTo>
                <a:close/>
                <a:moveTo>
                  <a:pt x="1256" y="311"/>
                </a:moveTo>
                <a:cubicBezTo>
                  <a:pt x="1250" y="310"/>
                  <a:pt x="1247" y="312"/>
                  <a:pt x="1246" y="320"/>
                </a:cubicBezTo>
                <a:cubicBezTo>
                  <a:pt x="1247" y="318"/>
                  <a:pt x="1248" y="316"/>
                  <a:pt x="1249" y="313"/>
                </a:cubicBezTo>
                <a:cubicBezTo>
                  <a:pt x="1250" y="313"/>
                  <a:pt x="1250" y="313"/>
                  <a:pt x="1250" y="313"/>
                </a:cubicBezTo>
                <a:cubicBezTo>
                  <a:pt x="1250" y="315"/>
                  <a:pt x="1250" y="315"/>
                  <a:pt x="1250" y="316"/>
                </a:cubicBezTo>
                <a:cubicBezTo>
                  <a:pt x="1251" y="313"/>
                  <a:pt x="1253" y="311"/>
                  <a:pt x="1256" y="311"/>
                </a:cubicBezTo>
                <a:close/>
                <a:moveTo>
                  <a:pt x="1300" y="312"/>
                </a:moveTo>
                <a:cubicBezTo>
                  <a:pt x="1298" y="314"/>
                  <a:pt x="1296" y="315"/>
                  <a:pt x="1295" y="316"/>
                </a:cubicBezTo>
                <a:cubicBezTo>
                  <a:pt x="1297" y="317"/>
                  <a:pt x="1299" y="315"/>
                  <a:pt x="1300" y="312"/>
                </a:cubicBezTo>
                <a:close/>
                <a:moveTo>
                  <a:pt x="1267" y="314"/>
                </a:moveTo>
                <a:cubicBezTo>
                  <a:pt x="1268" y="313"/>
                  <a:pt x="1269" y="312"/>
                  <a:pt x="1270" y="310"/>
                </a:cubicBezTo>
                <a:cubicBezTo>
                  <a:pt x="1267" y="312"/>
                  <a:pt x="1267" y="312"/>
                  <a:pt x="1267" y="314"/>
                </a:cubicBezTo>
                <a:close/>
                <a:moveTo>
                  <a:pt x="1277" y="335"/>
                </a:moveTo>
                <a:cubicBezTo>
                  <a:pt x="1275" y="336"/>
                  <a:pt x="1274" y="337"/>
                  <a:pt x="1274" y="338"/>
                </a:cubicBezTo>
                <a:cubicBezTo>
                  <a:pt x="1275" y="337"/>
                  <a:pt x="1276" y="336"/>
                  <a:pt x="1277" y="335"/>
                </a:cubicBezTo>
                <a:close/>
                <a:moveTo>
                  <a:pt x="1276" y="320"/>
                </a:moveTo>
                <a:cubicBezTo>
                  <a:pt x="1275" y="320"/>
                  <a:pt x="1274" y="320"/>
                  <a:pt x="1274" y="320"/>
                </a:cubicBezTo>
                <a:cubicBezTo>
                  <a:pt x="1273" y="320"/>
                  <a:pt x="1272" y="320"/>
                  <a:pt x="1272" y="321"/>
                </a:cubicBezTo>
                <a:cubicBezTo>
                  <a:pt x="1272" y="321"/>
                  <a:pt x="1273" y="322"/>
                  <a:pt x="1273" y="322"/>
                </a:cubicBezTo>
                <a:cubicBezTo>
                  <a:pt x="1274" y="322"/>
                  <a:pt x="1274" y="321"/>
                  <a:pt x="1276" y="320"/>
                </a:cubicBezTo>
                <a:close/>
                <a:moveTo>
                  <a:pt x="1567" y="298"/>
                </a:moveTo>
                <a:cubicBezTo>
                  <a:pt x="1567" y="298"/>
                  <a:pt x="1567" y="298"/>
                  <a:pt x="1567" y="298"/>
                </a:cubicBezTo>
                <a:cubicBezTo>
                  <a:pt x="1562" y="298"/>
                  <a:pt x="1562" y="298"/>
                  <a:pt x="1562" y="298"/>
                </a:cubicBezTo>
                <a:cubicBezTo>
                  <a:pt x="1560" y="299"/>
                  <a:pt x="1559" y="301"/>
                  <a:pt x="1556" y="302"/>
                </a:cubicBezTo>
                <a:cubicBezTo>
                  <a:pt x="1555" y="303"/>
                  <a:pt x="1553" y="304"/>
                  <a:pt x="1551" y="305"/>
                </a:cubicBezTo>
                <a:cubicBezTo>
                  <a:pt x="1549" y="306"/>
                  <a:pt x="1548" y="307"/>
                  <a:pt x="1546" y="307"/>
                </a:cubicBezTo>
                <a:cubicBezTo>
                  <a:pt x="1544" y="308"/>
                  <a:pt x="1542" y="309"/>
                  <a:pt x="1541" y="309"/>
                </a:cubicBezTo>
                <a:cubicBezTo>
                  <a:pt x="1541" y="309"/>
                  <a:pt x="1541" y="309"/>
                  <a:pt x="1541" y="319"/>
                </a:cubicBezTo>
                <a:cubicBezTo>
                  <a:pt x="1544" y="318"/>
                  <a:pt x="1546" y="318"/>
                  <a:pt x="1549" y="316"/>
                </a:cubicBezTo>
                <a:cubicBezTo>
                  <a:pt x="1551" y="315"/>
                  <a:pt x="1554" y="314"/>
                  <a:pt x="1555" y="313"/>
                </a:cubicBezTo>
                <a:cubicBezTo>
                  <a:pt x="1555" y="313"/>
                  <a:pt x="1555" y="313"/>
                  <a:pt x="1555" y="371"/>
                </a:cubicBezTo>
                <a:cubicBezTo>
                  <a:pt x="1555" y="371"/>
                  <a:pt x="1555" y="371"/>
                  <a:pt x="1567" y="371"/>
                </a:cubicBezTo>
                <a:cubicBezTo>
                  <a:pt x="1567" y="371"/>
                  <a:pt x="1567" y="371"/>
                  <a:pt x="1567" y="298"/>
                </a:cubicBezTo>
                <a:close/>
                <a:moveTo>
                  <a:pt x="1688" y="298"/>
                </a:moveTo>
                <a:cubicBezTo>
                  <a:pt x="1688" y="298"/>
                  <a:pt x="1688" y="298"/>
                  <a:pt x="1688" y="298"/>
                </a:cubicBezTo>
                <a:cubicBezTo>
                  <a:pt x="1683" y="298"/>
                  <a:pt x="1683" y="298"/>
                  <a:pt x="1683" y="298"/>
                </a:cubicBezTo>
                <a:cubicBezTo>
                  <a:pt x="1681" y="299"/>
                  <a:pt x="1680" y="301"/>
                  <a:pt x="1677" y="302"/>
                </a:cubicBezTo>
                <a:cubicBezTo>
                  <a:pt x="1676" y="303"/>
                  <a:pt x="1674" y="304"/>
                  <a:pt x="1672" y="305"/>
                </a:cubicBezTo>
                <a:cubicBezTo>
                  <a:pt x="1671" y="306"/>
                  <a:pt x="1669" y="307"/>
                  <a:pt x="1667" y="307"/>
                </a:cubicBezTo>
                <a:cubicBezTo>
                  <a:pt x="1665" y="308"/>
                  <a:pt x="1663" y="309"/>
                  <a:pt x="1661" y="309"/>
                </a:cubicBezTo>
                <a:cubicBezTo>
                  <a:pt x="1661" y="309"/>
                  <a:pt x="1661" y="309"/>
                  <a:pt x="1661" y="319"/>
                </a:cubicBezTo>
                <a:cubicBezTo>
                  <a:pt x="1664" y="318"/>
                  <a:pt x="1667" y="318"/>
                  <a:pt x="1670" y="316"/>
                </a:cubicBezTo>
                <a:cubicBezTo>
                  <a:pt x="1672" y="315"/>
                  <a:pt x="1674" y="314"/>
                  <a:pt x="1677" y="313"/>
                </a:cubicBezTo>
                <a:cubicBezTo>
                  <a:pt x="1677" y="313"/>
                  <a:pt x="1677" y="313"/>
                  <a:pt x="1677" y="371"/>
                </a:cubicBezTo>
                <a:cubicBezTo>
                  <a:pt x="1677" y="371"/>
                  <a:pt x="1677" y="371"/>
                  <a:pt x="1688" y="371"/>
                </a:cubicBezTo>
                <a:cubicBezTo>
                  <a:pt x="1688" y="371"/>
                  <a:pt x="1688" y="371"/>
                  <a:pt x="1688" y="298"/>
                </a:cubicBezTo>
                <a:close/>
                <a:moveTo>
                  <a:pt x="1735" y="298"/>
                </a:moveTo>
                <a:cubicBezTo>
                  <a:pt x="1735" y="298"/>
                  <a:pt x="1735" y="298"/>
                  <a:pt x="1735" y="298"/>
                </a:cubicBezTo>
                <a:cubicBezTo>
                  <a:pt x="1730" y="298"/>
                  <a:pt x="1730" y="298"/>
                  <a:pt x="1730" y="298"/>
                </a:cubicBezTo>
                <a:cubicBezTo>
                  <a:pt x="1728" y="299"/>
                  <a:pt x="1726" y="301"/>
                  <a:pt x="1724" y="302"/>
                </a:cubicBezTo>
                <a:cubicBezTo>
                  <a:pt x="1723" y="303"/>
                  <a:pt x="1721" y="304"/>
                  <a:pt x="1719" y="305"/>
                </a:cubicBezTo>
                <a:cubicBezTo>
                  <a:pt x="1718" y="306"/>
                  <a:pt x="1715" y="307"/>
                  <a:pt x="1714" y="307"/>
                </a:cubicBezTo>
                <a:cubicBezTo>
                  <a:pt x="1712" y="308"/>
                  <a:pt x="1710" y="309"/>
                  <a:pt x="1708" y="309"/>
                </a:cubicBezTo>
                <a:cubicBezTo>
                  <a:pt x="1708" y="309"/>
                  <a:pt x="1708" y="309"/>
                  <a:pt x="1708" y="319"/>
                </a:cubicBezTo>
                <a:cubicBezTo>
                  <a:pt x="1711" y="318"/>
                  <a:pt x="1714" y="318"/>
                  <a:pt x="1716" y="316"/>
                </a:cubicBezTo>
                <a:cubicBezTo>
                  <a:pt x="1719" y="315"/>
                  <a:pt x="1721" y="314"/>
                  <a:pt x="1723" y="313"/>
                </a:cubicBezTo>
                <a:cubicBezTo>
                  <a:pt x="1723" y="313"/>
                  <a:pt x="1723" y="313"/>
                  <a:pt x="1723" y="371"/>
                </a:cubicBezTo>
                <a:cubicBezTo>
                  <a:pt x="1723" y="371"/>
                  <a:pt x="1723" y="371"/>
                  <a:pt x="1735" y="371"/>
                </a:cubicBezTo>
                <a:cubicBezTo>
                  <a:pt x="1735" y="371"/>
                  <a:pt x="1735" y="371"/>
                  <a:pt x="1735" y="298"/>
                </a:cubicBezTo>
                <a:close/>
                <a:moveTo>
                  <a:pt x="1781" y="298"/>
                </a:moveTo>
                <a:cubicBezTo>
                  <a:pt x="1781" y="298"/>
                  <a:pt x="1781" y="298"/>
                  <a:pt x="1781" y="298"/>
                </a:cubicBezTo>
                <a:cubicBezTo>
                  <a:pt x="1777" y="298"/>
                  <a:pt x="1777" y="298"/>
                  <a:pt x="1777" y="298"/>
                </a:cubicBezTo>
                <a:cubicBezTo>
                  <a:pt x="1775" y="299"/>
                  <a:pt x="1773" y="301"/>
                  <a:pt x="1771" y="302"/>
                </a:cubicBezTo>
                <a:cubicBezTo>
                  <a:pt x="1770" y="303"/>
                  <a:pt x="1767" y="304"/>
                  <a:pt x="1766" y="305"/>
                </a:cubicBezTo>
                <a:cubicBezTo>
                  <a:pt x="1764" y="305"/>
                  <a:pt x="1762" y="306"/>
                  <a:pt x="1760" y="307"/>
                </a:cubicBezTo>
                <a:cubicBezTo>
                  <a:pt x="1759" y="307"/>
                  <a:pt x="1757" y="308"/>
                  <a:pt x="1755" y="309"/>
                </a:cubicBezTo>
                <a:cubicBezTo>
                  <a:pt x="1755" y="309"/>
                  <a:pt x="1755" y="309"/>
                  <a:pt x="1755" y="319"/>
                </a:cubicBezTo>
                <a:cubicBezTo>
                  <a:pt x="1758" y="318"/>
                  <a:pt x="1761" y="317"/>
                  <a:pt x="1763" y="316"/>
                </a:cubicBezTo>
                <a:cubicBezTo>
                  <a:pt x="1765" y="315"/>
                  <a:pt x="1768" y="314"/>
                  <a:pt x="1770" y="313"/>
                </a:cubicBezTo>
                <a:cubicBezTo>
                  <a:pt x="1770" y="313"/>
                  <a:pt x="1770" y="313"/>
                  <a:pt x="1770" y="371"/>
                </a:cubicBezTo>
                <a:cubicBezTo>
                  <a:pt x="1770" y="371"/>
                  <a:pt x="1770" y="371"/>
                  <a:pt x="1781" y="371"/>
                </a:cubicBezTo>
                <a:cubicBezTo>
                  <a:pt x="1781" y="371"/>
                  <a:pt x="1781" y="371"/>
                  <a:pt x="1781" y="298"/>
                </a:cubicBezTo>
                <a:close/>
                <a:moveTo>
                  <a:pt x="1587" y="330"/>
                </a:moveTo>
                <a:cubicBezTo>
                  <a:pt x="1587" y="330"/>
                  <a:pt x="1587" y="330"/>
                  <a:pt x="1587" y="330"/>
                </a:cubicBezTo>
                <a:cubicBezTo>
                  <a:pt x="1586" y="339"/>
                  <a:pt x="1586" y="339"/>
                  <a:pt x="1586" y="339"/>
                </a:cubicBezTo>
                <a:cubicBezTo>
                  <a:pt x="1593" y="339"/>
                  <a:pt x="1593" y="342"/>
                  <a:pt x="1593" y="344"/>
                </a:cubicBezTo>
                <a:cubicBezTo>
                  <a:pt x="1593" y="347"/>
                  <a:pt x="1593" y="349"/>
                  <a:pt x="1593" y="352"/>
                </a:cubicBezTo>
                <a:cubicBezTo>
                  <a:pt x="1593" y="354"/>
                  <a:pt x="1592" y="356"/>
                  <a:pt x="1592" y="359"/>
                </a:cubicBezTo>
                <a:cubicBezTo>
                  <a:pt x="1592" y="368"/>
                  <a:pt x="1598" y="371"/>
                  <a:pt x="1607" y="371"/>
                </a:cubicBezTo>
                <a:cubicBezTo>
                  <a:pt x="1607" y="371"/>
                  <a:pt x="1607" y="371"/>
                  <a:pt x="1610" y="371"/>
                </a:cubicBezTo>
                <a:cubicBezTo>
                  <a:pt x="1610" y="371"/>
                  <a:pt x="1610" y="371"/>
                  <a:pt x="1610" y="362"/>
                </a:cubicBezTo>
                <a:cubicBezTo>
                  <a:pt x="1610" y="362"/>
                  <a:pt x="1610" y="362"/>
                  <a:pt x="1609" y="362"/>
                </a:cubicBezTo>
                <a:cubicBezTo>
                  <a:pt x="1605" y="362"/>
                  <a:pt x="1604" y="360"/>
                  <a:pt x="1604" y="356"/>
                </a:cubicBezTo>
                <a:cubicBezTo>
                  <a:pt x="1604" y="355"/>
                  <a:pt x="1604" y="353"/>
                  <a:pt x="1604" y="352"/>
                </a:cubicBezTo>
                <a:cubicBezTo>
                  <a:pt x="1604" y="350"/>
                  <a:pt x="1605" y="348"/>
                  <a:pt x="1605" y="346"/>
                </a:cubicBezTo>
                <a:cubicBezTo>
                  <a:pt x="1605" y="338"/>
                  <a:pt x="1602" y="336"/>
                  <a:pt x="1596" y="334"/>
                </a:cubicBezTo>
                <a:cubicBezTo>
                  <a:pt x="1596" y="334"/>
                  <a:pt x="1596" y="334"/>
                  <a:pt x="1596" y="334"/>
                </a:cubicBezTo>
                <a:cubicBezTo>
                  <a:pt x="1602" y="333"/>
                  <a:pt x="1605" y="331"/>
                  <a:pt x="1605" y="323"/>
                </a:cubicBezTo>
                <a:cubicBezTo>
                  <a:pt x="1605" y="321"/>
                  <a:pt x="1604" y="319"/>
                  <a:pt x="1604" y="317"/>
                </a:cubicBezTo>
                <a:cubicBezTo>
                  <a:pt x="1604" y="315"/>
                  <a:pt x="1604" y="313"/>
                  <a:pt x="1604" y="312"/>
                </a:cubicBezTo>
                <a:cubicBezTo>
                  <a:pt x="1604" y="309"/>
                  <a:pt x="1605" y="306"/>
                  <a:pt x="1609" y="306"/>
                </a:cubicBezTo>
                <a:cubicBezTo>
                  <a:pt x="1609" y="306"/>
                  <a:pt x="1609" y="306"/>
                  <a:pt x="1610" y="306"/>
                </a:cubicBezTo>
                <a:cubicBezTo>
                  <a:pt x="1610" y="306"/>
                  <a:pt x="1610" y="306"/>
                  <a:pt x="1610" y="297"/>
                </a:cubicBezTo>
                <a:cubicBezTo>
                  <a:pt x="1610" y="297"/>
                  <a:pt x="1610" y="297"/>
                  <a:pt x="1607" y="297"/>
                </a:cubicBezTo>
                <a:cubicBezTo>
                  <a:pt x="1598" y="297"/>
                  <a:pt x="1592" y="301"/>
                  <a:pt x="1592" y="310"/>
                </a:cubicBezTo>
                <a:cubicBezTo>
                  <a:pt x="1592" y="312"/>
                  <a:pt x="1593" y="315"/>
                  <a:pt x="1593" y="317"/>
                </a:cubicBezTo>
                <a:cubicBezTo>
                  <a:pt x="1593" y="319"/>
                  <a:pt x="1593" y="322"/>
                  <a:pt x="1593" y="324"/>
                </a:cubicBezTo>
                <a:cubicBezTo>
                  <a:pt x="1593" y="327"/>
                  <a:pt x="1593" y="330"/>
                  <a:pt x="1587" y="330"/>
                </a:cubicBezTo>
                <a:close/>
                <a:moveTo>
                  <a:pt x="1641" y="339"/>
                </a:moveTo>
                <a:cubicBezTo>
                  <a:pt x="1641" y="339"/>
                  <a:pt x="1641" y="339"/>
                  <a:pt x="1641" y="339"/>
                </a:cubicBezTo>
                <a:cubicBezTo>
                  <a:pt x="1641" y="330"/>
                  <a:pt x="1641" y="330"/>
                  <a:pt x="1641" y="330"/>
                </a:cubicBezTo>
                <a:cubicBezTo>
                  <a:pt x="1635" y="330"/>
                  <a:pt x="1635" y="327"/>
                  <a:pt x="1635" y="324"/>
                </a:cubicBezTo>
                <a:cubicBezTo>
                  <a:pt x="1635" y="322"/>
                  <a:pt x="1635" y="319"/>
                  <a:pt x="1635" y="317"/>
                </a:cubicBezTo>
                <a:cubicBezTo>
                  <a:pt x="1636" y="315"/>
                  <a:pt x="1636" y="312"/>
                  <a:pt x="1636" y="310"/>
                </a:cubicBezTo>
                <a:cubicBezTo>
                  <a:pt x="1636" y="301"/>
                  <a:pt x="1630" y="297"/>
                  <a:pt x="1621" y="297"/>
                </a:cubicBezTo>
                <a:cubicBezTo>
                  <a:pt x="1621" y="297"/>
                  <a:pt x="1621" y="297"/>
                  <a:pt x="1617" y="297"/>
                </a:cubicBezTo>
                <a:cubicBezTo>
                  <a:pt x="1617" y="297"/>
                  <a:pt x="1617" y="297"/>
                  <a:pt x="1617" y="306"/>
                </a:cubicBezTo>
                <a:cubicBezTo>
                  <a:pt x="1617" y="306"/>
                  <a:pt x="1617" y="306"/>
                  <a:pt x="1619" y="306"/>
                </a:cubicBezTo>
                <a:cubicBezTo>
                  <a:pt x="1623" y="306"/>
                  <a:pt x="1624" y="309"/>
                  <a:pt x="1624" y="312"/>
                </a:cubicBezTo>
                <a:cubicBezTo>
                  <a:pt x="1624" y="313"/>
                  <a:pt x="1624" y="315"/>
                  <a:pt x="1624" y="317"/>
                </a:cubicBezTo>
                <a:cubicBezTo>
                  <a:pt x="1623" y="319"/>
                  <a:pt x="1623" y="321"/>
                  <a:pt x="1623" y="323"/>
                </a:cubicBezTo>
                <a:cubicBezTo>
                  <a:pt x="1623" y="331"/>
                  <a:pt x="1626" y="333"/>
                  <a:pt x="1632" y="334"/>
                </a:cubicBezTo>
                <a:cubicBezTo>
                  <a:pt x="1632" y="334"/>
                  <a:pt x="1632" y="334"/>
                  <a:pt x="1632" y="334"/>
                </a:cubicBezTo>
                <a:cubicBezTo>
                  <a:pt x="1626" y="336"/>
                  <a:pt x="1623" y="338"/>
                  <a:pt x="1623" y="346"/>
                </a:cubicBezTo>
                <a:cubicBezTo>
                  <a:pt x="1623" y="348"/>
                  <a:pt x="1623" y="350"/>
                  <a:pt x="1624" y="352"/>
                </a:cubicBezTo>
                <a:cubicBezTo>
                  <a:pt x="1624" y="353"/>
                  <a:pt x="1624" y="355"/>
                  <a:pt x="1624" y="356"/>
                </a:cubicBezTo>
                <a:cubicBezTo>
                  <a:pt x="1624" y="360"/>
                  <a:pt x="1623" y="362"/>
                  <a:pt x="1619" y="362"/>
                </a:cubicBezTo>
                <a:cubicBezTo>
                  <a:pt x="1619" y="362"/>
                  <a:pt x="1619" y="362"/>
                  <a:pt x="1617" y="362"/>
                </a:cubicBezTo>
                <a:cubicBezTo>
                  <a:pt x="1617" y="362"/>
                  <a:pt x="1617" y="362"/>
                  <a:pt x="1617" y="371"/>
                </a:cubicBezTo>
                <a:cubicBezTo>
                  <a:pt x="1617" y="371"/>
                  <a:pt x="1617" y="371"/>
                  <a:pt x="1621" y="371"/>
                </a:cubicBezTo>
                <a:cubicBezTo>
                  <a:pt x="1630" y="371"/>
                  <a:pt x="1636" y="368"/>
                  <a:pt x="1636" y="359"/>
                </a:cubicBezTo>
                <a:cubicBezTo>
                  <a:pt x="1636" y="356"/>
                  <a:pt x="1636" y="354"/>
                  <a:pt x="1635" y="352"/>
                </a:cubicBezTo>
                <a:cubicBezTo>
                  <a:pt x="1635" y="349"/>
                  <a:pt x="1635" y="347"/>
                  <a:pt x="1635" y="344"/>
                </a:cubicBezTo>
                <a:cubicBezTo>
                  <a:pt x="1635" y="342"/>
                  <a:pt x="1635" y="339"/>
                  <a:pt x="1641" y="339"/>
                </a:cubicBezTo>
                <a:close/>
                <a:moveTo>
                  <a:pt x="1825" y="371"/>
                </a:moveTo>
                <a:cubicBezTo>
                  <a:pt x="1818" y="371"/>
                  <a:pt x="1811" y="368"/>
                  <a:pt x="1807" y="363"/>
                </a:cubicBezTo>
                <a:cubicBezTo>
                  <a:pt x="1803" y="356"/>
                  <a:pt x="1801" y="347"/>
                  <a:pt x="1801" y="335"/>
                </a:cubicBezTo>
                <a:cubicBezTo>
                  <a:pt x="1801" y="321"/>
                  <a:pt x="1803" y="312"/>
                  <a:pt x="1807" y="305"/>
                </a:cubicBezTo>
                <a:cubicBezTo>
                  <a:pt x="1812" y="299"/>
                  <a:pt x="1818" y="295"/>
                  <a:pt x="1827" y="295"/>
                </a:cubicBezTo>
                <a:cubicBezTo>
                  <a:pt x="1843" y="295"/>
                  <a:pt x="1851" y="308"/>
                  <a:pt x="1851" y="333"/>
                </a:cubicBezTo>
                <a:cubicBezTo>
                  <a:pt x="1851" y="346"/>
                  <a:pt x="1849" y="355"/>
                  <a:pt x="1844" y="362"/>
                </a:cubicBezTo>
                <a:cubicBezTo>
                  <a:pt x="1840" y="368"/>
                  <a:pt x="1833" y="371"/>
                  <a:pt x="1825" y="371"/>
                </a:cubicBezTo>
                <a:close/>
                <a:moveTo>
                  <a:pt x="1826" y="305"/>
                </a:moveTo>
                <a:cubicBezTo>
                  <a:pt x="1817" y="305"/>
                  <a:pt x="1813" y="315"/>
                  <a:pt x="1813" y="335"/>
                </a:cubicBezTo>
                <a:cubicBezTo>
                  <a:pt x="1813" y="353"/>
                  <a:pt x="1817" y="362"/>
                  <a:pt x="1826" y="362"/>
                </a:cubicBezTo>
                <a:cubicBezTo>
                  <a:pt x="1834" y="362"/>
                  <a:pt x="1839" y="353"/>
                  <a:pt x="1839" y="334"/>
                </a:cubicBezTo>
                <a:cubicBezTo>
                  <a:pt x="1839" y="314"/>
                  <a:pt x="1834" y="305"/>
                  <a:pt x="1826" y="305"/>
                </a:cubicBezTo>
                <a:close/>
                <a:moveTo>
                  <a:pt x="1895" y="371"/>
                </a:moveTo>
                <a:cubicBezTo>
                  <a:pt x="1888" y="371"/>
                  <a:pt x="1882" y="368"/>
                  <a:pt x="1878" y="363"/>
                </a:cubicBezTo>
                <a:cubicBezTo>
                  <a:pt x="1874" y="356"/>
                  <a:pt x="1871" y="347"/>
                  <a:pt x="1871" y="335"/>
                </a:cubicBezTo>
                <a:cubicBezTo>
                  <a:pt x="1871" y="321"/>
                  <a:pt x="1874" y="312"/>
                  <a:pt x="1878" y="305"/>
                </a:cubicBezTo>
                <a:cubicBezTo>
                  <a:pt x="1882" y="299"/>
                  <a:pt x="1889" y="295"/>
                  <a:pt x="1898" y="295"/>
                </a:cubicBezTo>
                <a:cubicBezTo>
                  <a:pt x="1914" y="295"/>
                  <a:pt x="1922" y="308"/>
                  <a:pt x="1922" y="333"/>
                </a:cubicBezTo>
                <a:cubicBezTo>
                  <a:pt x="1922" y="346"/>
                  <a:pt x="1920" y="355"/>
                  <a:pt x="1915" y="362"/>
                </a:cubicBezTo>
                <a:cubicBezTo>
                  <a:pt x="1910" y="368"/>
                  <a:pt x="1904" y="371"/>
                  <a:pt x="1895" y="371"/>
                </a:cubicBezTo>
                <a:close/>
                <a:moveTo>
                  <a:pt x="1897" y="305"/>
                </a:moveTo>
                <a:cubicBezTo>
                  <a:pt x="1888" y="305"/>
                  <a:pt x="1883" y="315"/>
                  <a:pt x="1883" y="335"/>
                </a:cubicBezTo>
                <a:cubicBezTo>
                  <a:pt x="1883" y="353"/>
                  <a:pt x="1887" y="362"/>
                  <a:pt x="1896" y="362"/>
                </a:cubicBezTo>
                <a:cubicBezTo>
                  <a:pt x="1905" y="362"/>
                  <a:pt x="1909" y="353"/>
                  <a:pt x="1909" y="334"/>
                </a:cubicBezTo>
                <a:cubicBezTo>
                  <a:pt x="1909" y="314"/>
                  <a:pt x="1905" y="305"/>
                  <a:pt x="1897" y="305"/>
                </a:cubicBezTo>
                <a:close/>
                <a:moveTo>
                  <a:pt x="41" y="394"/>
                </a:moveTo>
                <a:cubicBezTo>
                  <a:pt x="41" y="394"/>
                  <a:pt x="41" y="394"/>
                  <a:pt x="41" y="394"/>
                </a:cubicBezTo>
                <a:cubicBezTo>
                  <a:pt x="36" y="394"/>
                  <a:pt x="36" y="394"/>
                  <a:pt x="36" y="394"/>
                </a:cubicBezTo>
                <a:cubicBezTo>
                  <a:pt x="33" y="395"/>
                  <a:pt x="32" y="397"/>
                  <a:pt x="30" y="398"/>
                </a:cubicBezTo>
                <a:cubicBezTo>
                  <a:pt x="28" y="399"/>
                  <a:pt x="27" y="400"/>
                  <a:pt x="25" y="401"/>
                </a:cubicBezTo>
                <a:cubicBezTo>
                  <a:pt x="23" y="402"/>
                  <a:pt x="21" y="403"/>
                  <a:pt x="20" y="403"/>
                </a:cubicBezTo>
                <a:cubicBezTo>
                  <a:pt x="17" y="404"/>
                  <a:pt x="16" y="405"/>
                  <a:pt x="14" y="405"/>
                </a:cubicBezTo>
                <a:cubicBezTo>
                  <a:pt x="14" y="405"/>
                  <a:pt x="14" y="405"/>
                  <a:pt x="14" y="415"/>
                </a:cubicBezTo>
                <a:cubicBezTo>
                  <a:pt x="17" y="414"/>
                  <a:pt x="20" y="414"/>
                  <a:pt x="22" y="412"/>
                </a:cubicBezTo>
                <a:cubicBezTo>
                  <a:pt x="25" y="411"/>
                  <a:pt x="27" y="410"/>
                  <a:pt x="29" y="409"/>
                </a:cubicBezTo>
                <a:cubicBezTo>
                  <a:pt x="29" y="409"/>
                  <a:pt x="29" y="409"/>
                  <a:pt x="29" y="467"/>
                </a:cubicBezTo>
                <a:cubicBezTo>
                  <a:pt x="29" y="467"/>
                  <a:pt x="29" y="467"/>
                  <a:pt x="41" y="467"/>
                </a:cubicBezTo>
                <a:cubicBezTo>
                  <a:pt x="41" y="467"/>
                  <a:pt x="41" y="467"/>
                  <a:pt x="41" y="394"/>
                </a:cubicBezTo>
                <a:close/>
                <a:moveTo>
                  <a:pt x="88" y="394"/>
                </a:moveTo>
                <a:cubicBezTo>
                  <a:pt x="88" y="394"/>
                  <a:pt x="88" y="394"/>
                  <a:pt x="88" y="394"/>
                </a:cubicBezTo>
                <a:cubicBezTo>
                  <a:pt x="83" y="394"/>
                  <a:pt x="83" y="394"/>
                  <a:pt x="83" y="394"/>
                </a:cubicBezTo>
                <a:cubicBezTo>
                  <a:pt x="81" y="395"/>
                  <a:pt x="79" y="397"/>
                  <a:pt x="77" y="398"/>
                </a:cubicBezTo>
                <a:cubicBezTo>
                  <a:pt x="76" y="399"/>
                  <a:pt x="74" y="400"/>
                  <a:pt x="72" y="401"/>
                </a:cubicBezTo>
                <a:cubicBezTo>
                  <a:pt x="71" y="402"/>
                  <a:pt x="69" y="403"/>
                  <a:pt x="67" y="403"/>
                </a:cubicBezTo>
                <a:cubicBezTo>
                  <a:pt x="65" y="404"/>
                  <a:pt x="63" y="405"/>
                  <a:pt x="61" y="405"/>
                </a:cubicBezTo>
                <a:cubicBezTo>
                  <a:pt x="61" y="405"/>
                  <a:pt x="61" y="405"/>
                  <a:pt x="61" y="415"/>
                </a:cubicBezTo>
                <a:cubicBezTo>
                  <a:pt x="64" y="414"/>
                  <a:pt x="67" y="414"/>
                  <a:pt x="69" y="412"/>
                </a:cubicBezTo>
                <a:cubicBezTo>
                  <a:pt x="72" y="411"/>
                  <a:pt x="74" y="410"/>
                  <a:pt x="77" y="409"/>
                </a:cubicBezTo>
                <a:cubicBezTo>
                  <a:pt x="77" y="409"/>
                  <a:pt x="77" y="409"/>
                  <a:pt x="77" y="467"/>
                </a:cubicBezTo>
                <a:cubicBezTo>
                  <a:pt x="77" y="467"/>
                  <a:pt x="77" y="467"/>
                  <a:pt x="88" y="467"/>
                </a:cubicBezTo>
                <a:cubicBezTo>
                  <a:pt x="88" y="467"/>
                  <a:pt x="88" y="467"/>
                  <a:pt x="88" y="394"/>
                </a:cubicBezTo>
                <a:close/>
                <a:moveTo>
                  <a:pt x="135" y="394"/>
                </a:moveTo>
                <a:cubicBezTo>
                  <a:pt x="135" y="394"/>
                  <a:pt x="135" y="394"/>
                  <a:pt x="135" y="394"/>
                </a:cubicBezTo>
                <a:cubicBezTo>
                  <a:pt x="130" y="394"/>
                  <a:pt x="130" y="394"/>
                  <a:pt x="130" y="394"/>
                </a:cubicBezTo>
                <a:cubicBezTo>
                  <a:pt x="128" y="395"/>
                  <a:pt x="127" y="397"/>
                  <a:pt x="125" y="398"/>
                </a:cubicBezTo>
                <a:cubicBezTo>
                  <a:pt x="123" y="399"/>
                  <a:pt x="121" y="400"/>
                  <a:pt x="120" y="401"/>
                </a:cubicBezTo>
                <a:cubicBezTo>
                  <a:pt x="117" y="401"/>
                  <a:pt x="116" y="402"/>
                  <a:pt x="114" y="403"/>
                </a:cubicBezTo>
                <a:cubicBezTo>
                  <a:pt x="112" y="403"/>
                  <a:pt x="110" y="404"/>
                  <a:pt x="109" y="405"/>
                </a:cubicBezTo>
                <a:cubicBezTo>
                  <a:pt x="109" y="405"/>
                  <a:pt x="109" y="405"/>
                  <a:pt x="109" y="415"/>
                </a:cubicBezTo>
                <a:cubicBezTo>
                  <a:pt x="112" y="414"/>
                  <a:pt x="115" y="413"/>
                  <a:pt x="117" y="412"/>
                </a:cubicBezTo>
                <a:cubicBezTo>
                  <a:pt x="119" y="411"/>
                  <a:pt x="122" y="410"/>
                  <a:pt x="123" y="409"/>
                </a:cubicBezTo>
                <a:cubicBezTo>
                  <a:pt x="123" y="409"/>
                  <a:pt x="123" y="409"/>
                  <a:pt x="123" y="467"/>
                </a:cubicBezTo>
                <a:cubicBezTo>
                  <a:pt x="123" y="467"/>
                  <a:pt x="123" y="467"/>
                  <a:pt x="135" y="467"/>
                </a:cubicBezTo>
                <a:cubicBezTo>
                  <a:pt x="135" y="467"/>
                  <a:pt x="135" y="467"/>
                  <a:pt x="135" y="394"/>
                </a:cubicBezTo>
                <a:close/>
                <a:moveTo>
                  <a:pt x="179" y="467"/>
                </a:moveTo>
                <a:cubicBezTo>
                  <a:pt x="172" y="467"/>
                  <a:pt x="166" y="464"/>
                  <a:pt x="161" y="459"/>
                </a:cubicBezTo>
                <a:cubicBezTo>
                  <a:pt x="158" y="452"/>
                  <a:pt x="155" y="443"/>
                  <a:pt x="155" y="431"/>
                </a:cubicBezTo>
                <a:cubicBezTo>
                  <a:pt x="155" y="417"/>
                  <a:pt x="158" y="408"/>
                  <a:pt x="162" y="401"/>
                </a:cubicBezTo>
                <a:cubicBezTo>
                  <a:pt x="166" y="395"/>
                  <a:pt x="173" y="391"/>
                  <a:pt x="182" y="391"/>
                </a:cubicBezTo>
                <a:cubicBezTo>
                  <a:pt x="198" y="391"/>
                  <a:pt x="206" y="404"/>
                  <a:pt x="206" y="429"/>
                </a:cubicBezTo>
                <a:cubicBezTo>
                  <a:pt x="206" y="442"/>
                  <a:pt x="204" y="451"/>
                  <a:pt x="198" y="458"/>
                </a:cubicBezTo>
                <a:cubicBezTo>
                  <a:pt x="194" y="464"/>
                  <a:pt x="188" y="467"/>
                  <a:pt x="179" y="467"/>
                </a:cubicBezTo>
                <a:close/>
                <a:moveTo>
                  <a:pt x="181" y="401"/>
                </a:moveTo>
                <a:cubicBezTo>
                  <a:pt x="171" y="401"/>
                  <a:pt x="167" y="411"/>
                  <a:pt x="167" y="431"/>
                </a:cubicBezTo>
                <a:cubicBezTo>
                  <a:pt x="167" y="449"/>
                  <a:pt x="171" y="458"/>
                  <a:pt x="180" y="458"/>
                </a:cubicBezTo>
                <a:cubicBezTo>
                  <a:pt x="189" y="458"/>
                  <a:pt x="193" y="449"/>
                  <a:pt x="193" y="430"/>
                </a:cubicBezTo>
                <a:cubicBezTo>
                  <a:pt x="193" y="410"/>
                  <a:pt x="189" y="401"/>
                  <a:pt x="181" y="401"/>
                </a:cubicBezTo>
                <a:close/>
                <a:moveTo>
                  <a:pt x="251" y="467"/>
                </a:moveTo>
                <a:cubicBezTo>
                  <a:pt x="243" y="467"/>
                  <a:pt x="237" y="464"/>
                  <a:pt x="233" y="459"/>
                </a:cubicBezTo>
                <a:cubicBezTo>
                  <a:pt x="229" y="452"/>
                  <a:pt x="226" y="443"/>
                  <a:pt x="226" y="431"/>
                </a:cubicBezTo>
                <a:cubicBezTo>
                  <a:pt x="226" y="417"/>
                  <a:pt x="229" y="408"/>
                  <a:pt x="233" y="401"/>
                </a:cubicBezTo>
                <a:cubicBezTo>
                  <a:pt x="237" y="395"/>
                  <a:pt x="244" y="391"/>
                  <a:pt x="253" y="391"/>
                </a:cubicBezTo>
                <a:cubicBezTo>
                  <a:pt x="269" y="391"/>
                  <a:pt x="277" y="404"/>
                  <a:pt x="277" y="429"/>
                </a:cubicBezTo>
                <a:cubicBezTo>
                  <a:pt x="277" y="442"/>
                  <a:pt x="275" y="451"/>
                  <a:pt x="270" y="458"/>
                </a:cubicBezTo>
                <a:cubicBezTo>
                  <a:pt x="265" y="464"/>
                  <a:pt x="259" y="467"/>
                  <a:pt x="251" y="467"/>
                </a:cubicBezTo>
                <a:close/>
                <a:moveTo>
                  <a:pt x="252" y="401"/>
                </a:moveTo>
                <a:cubicBezTo>
                  <a:pt x="243" y="401"/>
                  <a:pt x="238" y="411"/>
                  <a:pt x="238" y="431"/>
                </a:cubicBezTo>
                <a:cubicBezTo>
                  <a:pt x="238" y="449"/>
                  <a:pt x="242" y="458"/>
                  <a:pt x="251" y="458"/>
                </a:cubicBezTo>
                <a:cubicBezTo>
                  <a:pt x="260" y="458"/>
                  <a:pt x="264" y="449"/>
                  <a:pt x="264" y="430"/>
                </a:cubicBezTo>
                <a:cubicBezTo>
                  <a:pt x="264" y="410"/>
                  <a:pt x="260" y="401"/>
                  <a:pt x="252" y="401"/>
                </a:cubicBezTo>
                <a:close/>
                <a:moveTo>
                  <a:pt x="463" y="467"/>
                </a:moveTo>
                <a:cubicBezTo>
                  <a:pt x="456" y="467"/>
                  <a:pt x="450" y="464"/>
                  <a:pt x="446" y="458"/>
                </a:cubicBezTo>
                <a:cubicBezTo>
                  <a:pt x="441" y="452"/>
                  <a:pt x="439" y="442"/>
                  <a:pt x="439" y="431"/>
                </a:cubicBezTo>
                <a:cubicBezTo>
                  <a:pt x="439" y="417"/>
                  <a:pt x="441" y="408"/>
                  <a:pt x="446" y="401"/>
                </a:cubicBezTo>
                <a:cubicBezTo>
                  <a:pt x="450" y="394"/>
                  <a:pt x="457" y="391"/>
                  <a:pt x="466" y="391"/>
                </a:cubicBezTo>
                <a:cubicBezTo>
                  <a:pt x="482" y="391"/>
                  <a:pt x="490" y="404"/>
                  <a:pt x="490" y="429"/>
                </a:cubicBezTo>
                <a:cubicBezTo>
                  <a:pt x="490" y="442"/>
                  <a:pt x="488" y="451"/>
                  <a:pt x="483" y="458"/>
                </a:cubicBezTo>
                <a:cubicBezTo>
                  <a:pt x="478" y="464"/>
                  <a:pt x="472" y="467"/>
                  <a:pt x="463" y="467"/>
                </a:cubicBezTo>
                <a:close/>
                <a:moveTo>
                  <a:pt x="465" y="401"/>
                </a:moveTo>
                <a:cubicBezTo>
                  <a:pt x="456" y="401"/>
                  <a:pt x="452" y="410"/>
                  <a:pt x="452" y="430"/>
                </a:cubicBezTo>
                <a:cubicBezTo>
                  <a:pt x="452" y="448"/>
                  <a:pt x="456" y="458"/>
                  <a:pt x="465" y="458"/>
                </a:cubicBezTo>
                <a:cubicBezTo>
                  <a:pt x="473" y="458"/>
                  <a:pt x="477" y="448"/>
                  <a:pt x="477" y="430"/>
                </a:cubicBezTo>
                <a:cubicBezTo>
                  <a:pt x="477" y="410"/>
                  <a:pt x="474" y="401"/>
                  <a:pt x="465" y="401"/>
                </a:cubicBezTo>
                <a:close/>
                <a:moveTo>
                  <a:pt x="582" y="467"/>
                </a:moveTo>
                <a:cubicBezTo>
                  <a:pt x="574" y="467"/>
                  <a:pt x="569" y="464"/>
                  <a:pt x="564" y="458"/>
                </a:cubicBezTo>
                <a:cubicBezTo>
                  <a:pt x="560" y="452"/>
                  <a:pt x="558" y="442"/>
                  <a:pt x="558" y="431"/>
                </a:cubicBezTo>
                <a:cubicBezTo>
                  <a:pt x="558" y="417"/>
                  <a:pt x="560" y="408"/>
                  <a:pt x="564" y="401"/>
                </a:cubicBezTo>
                <a:cubicBezTo>
                  <a:pt x="569" y="394"/>
                  <a:pt x="575" y="391"/>
                  <a:pt x="584" y="391"/>
                </a:cubicBezTo>
                <a:cubicBezTo>
                  <a:pt x="600" y="391"/>
                  <a:pt x="608" y="404"/>
                  <a:pt x="608" y="429"/>
                </a:cubicBezTo>
                <a:cubicBezTo>
                  <a:pt x="608" y="442"/>
                  <a:pt x="606" y="451"/>
                  <a:pt x="601" y="458"/>
                </a:cubicBezTo>
                <a:cubicBezTo>
                  <a:pt x="596" y="464"/>
                  <a:pt x="590" y="467"/>
                  <a:pt x="582" y="467"/>
                </a:cubicBezTo>
                <a:close/>
                <a:moveTo>
                  <a:pt x="583" y="401"/>
                </a:moveTo>
                <a:cubicBezTo>
                  <a:pt x="574" y="401"/>
                  <a:pt x="570" y="410"/>
                  <a:pt x="570" y="430"/>
                </a:cubicBezTo>
                <a:cubicBezTo>
                  <a:pt x="570" y="448"/>
                  <a:pt x="574" y="458"/>
                  <a:pt x="583" y="458"/>
                </a:cubicBezTo>
                <a:cubicBezTo>
                  <a:pt x="591" y="458"/>
                  <a:pt x="596" y="448"/>
                  <a:pt x="596" y="430"/>
                </a:cubicBezTo>
                <a:cubicBezTo>
                  <a:pt x="596" y="410"/>
                  <a:pt x="592" y="401"/>
                  <a:pt x="583" y="401"/>
                </a:cubicBezTo>
                <a:close/>
                <a:moveTo>
                  <a:pt x="537" y="394"/>
                </a:moveTo>
                <a:cubicBezTo>
                  <a:pt x="537" y="394"/>
                  <a:pt x="537" y="394"/>
                  <a:pt x="537" y="394"/>
                </a:cubicBezTo>
                <a:cubicBezTo>
                  <a:pt x="532" y="394"/>
                  <a:pt x="532" y="394"/>
                  <a:pt x="532" y="394"/>
                </a:cubicBezTo>
                <a:cubicBezTo>
                  <a:pt x="530" y="395"/>
                  <a:pt x="528" y="397"/>
                  <a:pt x="526" y="398"/>
                </a:cubicBezTo>
                <a:cubicBezTo>
                  <a:pt x="525" y="399"/>
                  <a:pt x="522" y="400"/>
                  <a:pt x="521" y="401"/>
                </a:cubicBezTo>
                <a:cubicBezTo>
                  <a:pt x="520" y="401"/>
                  <a:pt x="517" y="402"/>
                  <a:pt x="516" y="403"/>
                </a:cubicBezTo>
                <a:cubicBezTo>
                  <a:pt x="514" y="403"/>
                  <a:pt x="512" y="404"/>
                  <a:pt x="510" y="405"/>
                </a:cubicBezTo>
                <a:cubicBezTo>
                  <a:pt x="510" y="405"/>
                  <a:pt x="510" y="405"/>
                  <a:pt x="510" y="415"/>
                </a:cubicBezTo>
                <a:cubicBezTo>
                  <a:pt x="513" y="414"/>
                  <a:pt x="516" y="413"/>
                  <a:pt x="518" y="412"/>
                </a:cubicBezTo>
                <a:cubicBezTo>
                  <a:pt x="521" y="411"/>
                  <a:pt x="523" y="410"/>
                  <a:pt x="525" y="409"/>
                </a:cubicBezTo>
                <a:cubicBezTo>
                  <a:pt x="525" y="409"/>
                  <a:pt x="525" y="409"/>
                  <a:pt x="525" y="467"/>
                </a:cubicBezTo>
                <a:cubicBezTo>
                  <a:pt x="525" y="467"/>
                  <a:pt x="525" y="467"/>
                  <a:pt x="537" y="467"/>
                </a:cubicBezTo>
                <a:cubicBezTo>
                  <a:pt x="537" y="467"/>
                  <a:pt x="537" y="467"/>
                  <a:pt x="537" y="394"/>
                </a:cubicBezTo>
                <a:close/>
                <a:moveTo>
                  <a:pt x="653" y="467"/>
                </a:moveTo>
                <a:cubicBezTo>
                  <a:pt x="645" y="467"/>
                  <a:pt x="638" y="464"/>
                  <a:pt x="635" y="459"/>
                </a:cubicBezTo>
                <a:cubicBezTo>
                  <a:pt x="630" y="452"/>
                  <a:pt x="628" y="443"/>
                  <a:pt x="628" y="431"/>
                </a:cubicBezTo>
                <a:cubicBezTo>
                  <a:pt x="628" y="417"/>
                  <a:pt x="630" y="408"/>
                  <a:pt x="635" y="401"/>
                </a:cubicBezTo>
                <a:cubicBezTo>
                  <a:pt x="639" y="395"/>
                  <a:pt x="646" y="391"/>
                  <a:pt x="655" y="391"/>
                </a:cubicBezTo>
                <a:cubicBezTo>
                  <a:pt x="671" y="391"/>
                  <a:pt x="679" y="404"/>
                  <a:pt x="679" y="429"/>
                </a:cubicBezTo>
                <a:cubicBezTo>
                  <a:pt x="679" y="442"/>
                  <a:pt x="677" y="451"/>
                  <a:pt x="672" y="458"/>
                </a:cubicBezTo>
                <a:cubicBezTo>
                  <a:pt x="667" y="464"/>
                  <a:pt x="661" y="467"/>
                  <a:pt x="653" y="467"/>
                </a:cubicBezTo>
                <a:close/>
                <a:moveTo>
                  <a:pt x="654" y="401"/>
                </a:moveTo>
                <a:cubicBezTo>
                  <a:pt x="645" y="401"/>
                  <a:pt x="640" y="411"/>
                  <a:pt x="640" y="431"/>
                </a:cubicBezTo>
                <a:cubicBezTo>
                  <a:pt x="640" y="449"/>
                  <a:pt x="644" y="458"/>
                  <a:pt x="653" y="458"/>
                </a:cubicBezTo>
                <a:cubicBezTo>
                  <a:pt x="662" y="458"/>
                  <a:pt x="667" y="449"/>
                  <a:pt x="667" y="430"/>
                </a:cubicBezTo>
                <a:cubicBezTo>
                  <a:pt x="667" y="410"/>
                  <a:pt x="662" y="401"/>
                  <a:pt x="654" y="401"/>
                </a:cubicBezTo>
                <a:close/>
                <a:moveTo>
                  <a:pt x="700" y="426"/>
                </a:moveTo>
                <a:cubicBezTo>
                  <a:pt x="700" y="426"/>
                  <a:pt x="700" y="426"/>
                  <a:pt x="700" y="426"/>
                </a:cubicBezTo>
                <a:cubicBezTo>
                  <a:pt x="699" y="435"/>
                  <a:pt x="699" y="435"/>
                  <a:pt x="699" y="435"/>
                </a:cubicBezTo>
                <a:cubicBezTo>
                  <a:pt x="706" y="435"/>
                  <a:pt x="706" y="438"/>
                  <a:pt x="706" y="440"/>
                </a:cubicBezTo>
                <a:cubicBezTo>
                  <a:pt x="706" y="443"/>
                  <a:pt x="706" y="445"/>
                  <a:pt x="706" y="448"/>
                </a:cubicBezTo>
                <a:cubicBezTo>
                  <a:pt x="706" y="450"/>
                  <a:pt x="705" y="452"/>
                  <a:pt x="705" y="455"/>
                </a:cubicBezTo>
                <a:cubicBezTo>
                  <a:pt x="705" y="464"/>
                  <a:pt x="711" y="467"/>
                  <a:pt x="720" y="467"/>
                </a:cubicBezTo>
                <a:cubicBezTo>
                  <a:pt x="720" y="467"/>
                  <a:pt x="720" y="467"/>
                  <a:pt x="724" y="467"/>
                </a:cubicBezTo>
                <a:cubicBezTo>
                  <a:pt x="724" y="467"/>
                  <a:pt x="724" y="467"/>
                  <a:pt x="724" y="458"/>
                </a:cubicBezTo>
                <a:cubicBezTo>
                  <a:pt x="724" y="458"/>
                  <a:pt x="724" y="458"/>
                  <a:pt x="722" y="458"/>
                </a:cubicBezTo>
                <a:cubicBezTo>
                  <a:pt x="718" y="458"/>
                  <a:pt x="717" y="456"/>
                  <a:pt x="717" y="452"/>
                </a:cubicBezTo>
                <a:cubicBezTo>
                  <a:pt x="717" y="451"/>
                  <a:pt x="717" y="449"/>
                  <a:pt x="718" y="448"/>
                </a:cubicBezTo>
                <a:cubicBezTo>
                  <a:pt x="718" y="446"/>
                  <a:pt x="718" y="444"/>
                  <a:pt x="718" y="442"/>
                </a:cubicBezTo>
                <a:cubicBezTo>
                  <a:pt x="718" y="434"/>
                  <a:pt x="715" y="432"/>
                  <a:pt x="709" y="430"/>
                </a:cubicBezTo>
                <a:cubicBezTo>
                  <a:pt x="709" y="430"/>
                  <a:pt x="709" y="430"/>
                  <a:pt x="709" y="430"/>
                </a:cubicBezTo>
                <a:cubicBezTo>
                  <a:pt x="715" y="429"/>
                  <a:pt x="718" y="427"/>
                  <a:pt x="718" y="419"/>
                </a:cubicBezTo>
                <a:cubicBezTo>
                  <a:pt x="718" y="417"/>
                  <a:pt x="718" y="415"/>
                  <a:pt x="718" y="413"/>
                </a:cubicBezTo>
                <a:cubicBezTo>
                  <a:pt x="717" y="411"/>
                  <a:pt x="717" y="409"/>
                  <a:pt x="717" y="408"/>
                </a:cubicBezTo>
                <a:cubicBezTo>
                  <a:pt x="717" y="405"/>
                  <a:pt x="718" y="402"/>
                  <a:pt x="722" y="402"/>
                </a:cubicBezTo>
                <a:cubicBezTo>
                  <a:pt x="722" y="402"/>
                  <a:pt x="722" y="402"/>
                  <a:pt x="724" y="402"/>
                </a:cubicBezTo>
                <a:cubicBezTo>
                  <a:pt x="724" y="402"/>
                  <a:pt x="724" y="402"/>
                  <a:pt x="724" y="393"/>
                </a:cubicBezTo>
                <a:cubicBezTo>
                  <a:pt x="724" y="393"/>
                  <a:pt x="724" y="393"/>
                  <a:pt x="720" y="393"/>
                </a:cubicBezTo>
                <a:cubicBezTo>
                  <a:pt x="711" y="393"/>
                  <a:pt x="705" y="397"/>
                  <a:pt x="705" y="406"/>
                </a:cubicBezTo>
                <a:cubicBezTo>
                  <a:pt x="705" y="408"/>
                  <a:pt x="706" y="411"/>
                  <a:pt x="706" y="413"/>
                </a:cubicBezTo>
                <a:cubicBezTo>
                  <a:pt x="706" y="415"/>
                  <a:pt x="706" y="418"/>
                  <a:pt x="706" y="420"/>
                </a:cubicBezTo>
                <a:cubicBezTo>
                  <a:pt x="706" y="423"/>
                  <a:pt x="706" y="426"/>
                  <a:pt x="700" y="426"/>
                </a:cubicBezTo>
                <a:close/>
                <a:moveTo>
                  <a:pt x="754" y="435"/>
                </a:moveTo>
                <a:cubicBezTo>
                  <a:pt x="754" y="435"/>
                  <a:pt x="754" y="435"/>
                  <a:pt x="754" y="435"/>
                </a:cubicBezTo>
                <a:cubicBezTo>
                  <a:pt x="754" y="426"/>
                  <a:pt x="754" y="426"/>
                  <a:pt x="754" y="426"/>
                </a:cubicBezTo>
                <a:cubicBezTo>
                  <a:pt x="748" y="426"/>
                  <a:pt x="748" y="423"/>
                  <a:pt x="748" y="420"/>
                </a:cubicBezTo>
                <a:cubicBezTo>
                  <a:pt x="748" y="418"/>
                  <a:pt x="748" y="415"/>
                  <a:pt x="748" y="413"/>
                </a:cubicBezTo>
                <a:cubicBezTo>
                  <a:pt x="749" y="411"/>
                  <a:pt x="749" y="408"/>
                  <a:pt x="749" y="406"/>
                </a:cubicBezTo>
                <a:cubicBezTo>
                  <a:pt x="749" y="397"/>
                  <a:pt x="743" y="393"/>
                  <a:pt x="734" y="393"/>
                </a:cubicBezTo>
                <a:cubicBezTo>
                  <a:pt x="734" y="393"/>
                  <a:pt x="734" y="393"/>
                  <a:pt x="730" y="393"/>
                </a:cubicBezTo>
                <a:cubicBezTo>
                  <a:pt x="730" y="393"/>
                  <a:pt x="730" y="393"/>
                  <a:pt x="730" y="402"/>
                </a:cubicBezTo>
                <a:cubicBezTo>
                  <a:pt x="730" y="402"/>
                  <a:pt x="730" y="402"/>
                  <a:pt x="732" y="402"/>
                </a:cubicBezTo>
                <a:cubicBezTo>
                  <a:pt x="736" y="402"/>
                  <a:pt x="737" y="405"/>
                  <a:pt x="737" y="408"/>
                </a:cubicBezTo>
                <a:cubicBezTo>
                  <a:pt x="737" y="409"/>
                  <a:pt x="737" y="411"/>
                  <a:pt x="737" y="413"/>
                </a:cubicBezTo>
                <a:cubicBezTo>
                  <a:pt x="736" y="415"/>
                  <a:pt x="736" y="417"/>
                  <a:pt x="736" y="419"/>
                </a:cubicBezTo>
                <a:cubicBezTo>
                  <a:pt x="736" y="427"/>
                  <a:pt x="739" y="429"/>
                  <a:pt x="745" y="430"/>
                </a:cubicBezTo>
                <a:cubicBezTo>
                  <a:pt x="745" y="430"/>
                  <a:pt x="745" y="430"/>
                  <a:pt x="745" y="430"/>
                </a:cubicBezTo>
                <a:cubicBezTo>
                  <a:pt x="739" y="432"/>
                  <a:pt x="736" y="434"/>
                  <a:pt x="736" y="442"/>
                </a:cubicBezTo>
                <a:cubicBezTo>
                  <a:pt x="736" y="444"/>
                  <a:pt x="736" y="446"/>
                  <a:pt x="737" y="448"/>
                </a:cubicBezTo>
                <a:cubicBezTo>
                  <a:pt x="737" y="449"/>
                  <a:pt x="737" y="451"/>
                  <a:pt x="737" y="452"/>
                </a:cubicBezTo>
                <a:cubicBezTo>
                  <a:pt x="737" y="456"/>
                  <a:pt x="736" y="458"/>
                  <a:pt x="732" y="458"/>
                </a:cubicBezTo>
                <a:cubicBezTo>
                  <a:pt x="732" y="458"/>
                  <a:pt x="732" y="458"/>
                  <a:pt x="730" y="458"/>
                </a:cubicBezTo>
                <a:cubicBezTo>
                  <a:pt x="730" y="458"/>
                  <a:pt x="730" y="458"/>
                  <a:pt x="730" y="467"/>
                </a:cubicBezTo>
                <a:cubicBezTo>
                  <a:pt x="730" y="467"/>
                  <a:pt x="730" y="467"/>
                  <a:pt x="734" y="467"/>
                </a:cubicBezTo>
                <a:cubicBezTo>
                  <a:pt x="743" y="467"/>
                  <a:pt x="749" y="464"/>
                  <a:pt x="749" y="455"/>
                </a:cubicBezTo>
                <a:cubicBezTo>
                  <a:pt x="749" y="452"/>
                  <a:pt x="749" y="450"/>
                  <a:pt x="748" y="448"/>
                </a:cubicBezTo>
                <a:cubicBezTo>
                  <a:pt x="748" y="445"/>
                  <a:pt x="748" y="443"/>
                  <a:pt x="748" y="440"/>
                </a:cubicBezTo>
                <a:cubicBezTo>
                  <a:pt x="748" y="438"/>
                  <a:pt x="748" y="435"/>
                  <a:pt x="754" y="435"/>
                </a:cubicBezTo>
                <a:close/>
                <a:moveTo>
                  <a:pt x="875" y="467"/>
                </a:moveTo>
                <a:cubicBezTo>
                  <a:pt x="867" y="467"/>
                  <a:pt x="861" y="464"/>
                  <a:pt x="856" y="459"/>
                </a:cubicBezTo>
                <a:cubicBezTo>
                  <a:pt x="853" y="452"/>
                  <a:pt x="850" y="443"/>
                  <a:pt x="850" y="431"/>
                </a:cubicBezTo>
                <a:cubicBezTo>
                  <a:pt x="850" y="417"/>
                  <a:pt x="853" y="408"/>
                  <a:pt x="857" y="401"/>
                </a:cubicBezTo>
                <a:cubicBezTo>
                  <a:pt x="861" y="395"/>
                  <a:pt x="868" y="391"/>
                  <a:pt x="877" y="391"/>
                </a:cubicBezTo>
                <a:cubicBezTo>
                  <a:pt x="893" y="391"/>
                  <a:pt x="901" y="404"/>
                  <a:pt x="901" y="429"/>
                </a:cubicBezTo>
                <a:cubicBezTo>
                  <a:pt x="901" y="442"/>
                  <a:pt x="899" y="451"/>
                  <a:pt x="894" y="458"/>
                </a:cubicBezTo>
                <a:cubicBezTo>
                  <a:pt x="889" y="464"/>
                  <a:pt x="883" y="467"/>
                  <a:pt x="875" y="467"/>
                </a:cubicBezTo>
                <a:close/>
                <a:moveTo>
                  <a:pt x="876" y="401"/>
                </a:moveTo>
                <a:cubicBezTo>
                  <a:pt x="867" y="401"/>
                  <a:pt x="862" y="411"/>
                  <a:pt x="862" y="431"/>
                </a:cubicBezTo>
                <a:cubicBezTo>
                  <a:pt x="862" y="449"/>
                  <a:pt x="867" y="458"/>
                  <a:pt x="875" y="458"/>
                </a:cubicBezTo>
                <a:cubicBezTo>
                  <a:pt x="884" y="458"/>
                  <a:pt x="889" y="449"/>
                  <a:pt x="889" y="430"/>
                </a:cubicBezTo>
                <a:cubicBezTo>
                  <a:pt x="889" y="410"/>
                  <a:pt x="884" y="401"/>
                  <a:pt x="876" y="401"/>
                </a:cubicBezTo>
                <a:close/>
                <a:moveTo>
                  <a:pt x="949" y="394"/>
                </a:moveTo>
                <a:cubicBezTo>
                  <a:pt x="949" y="394"/>
                  <a:pt x="949" y="394"/>
                  <a:pt x="949" y="394"/>
                </a:cubicBezTo>
                <a:cubicBezTo>
                  <a:pt x="944" y="394"/>
                  <a:pt x="944" y="394"/>
                  <a:pt x="944" y="394"/>
                </a:cubicBezTo>
                <a:cubicBezTo>
                  <a:pt x="941" y="395"/>
                  <a:pt x="940" y="397"/>
                  <a:pt x="938" y="398"/>
                </a:cubicBezTo>
                <a:cubicBezTo>
                  <a:pt x="936" y="399"/>
                  <a:pt x="934" y="400"/>
                  <a:pt x="933" y="401"/>
                </a:cubicBezTo>
                <a:cubicBezTo>
                  <a:pt x="930" y="401"/>
                  <a:pt x="929" y="402"/>
                  <a:pt x="927" y="403"/>
                </a:cubicBezTo>
                <a:cubicBezTo>
                  <a:pt x="925" y="403"/>
                  <a:pt x="924" y="404"/>
                  <a:pt x="921" y="405"/>
                </a:cubicBezTo>
                <a:cubicBezTo>
                  <a:pt x="921" y="405"/>
                  <a:pt x="921" y="405"/>
                  <a:pt x="921" y="415"/>
                </a:cubicBezTo>
                <a:cubicBezTo>
                  <a:pt x="924" y="414"/>
                  <a:pt x="927" y="413"/>
                  <a:pt x="930" y="412"/>
                </a:cubicBezTo>
                <a:cubicBezTo>
                  <a:pt x="933" y="411"/>
                  <a:pt x="935" y="410"/>
                  <a:pt x="937" y="409"/>
                </a:cubicBezTo>
                <a:cubicBezTo>
                  <a:pt x="937" y="409"/>
                  <a:pt x="937" y="409"/>
                  <a:pt x="937" y="467"/>
                </a:cubicBezTo>
                <a:cubicBezTo>
                  <a:pt x="937" y="467"/>
                  <a:pt x="937" y="467"/>
                  <a:pt x="949" y="467"/>
                </a:cubicBezTo>
                <a:cubicBezTo>
                  <a:pt x="949" y="467"/>
                  <a:pt x="949" y="467"/>
                  <a:pt x="949" y="394"/>
                </a:cubicBezTo>
                <a:close/>
                <a:moveTo>
                  <a:pt x="781" y="467"/>
                </a:moveTo>
                <a:cubicBezTo>
                  <a:pt x="784" y="448"/>
                  <a:pt x="784" y="448"/>
                  <a:pt x="784" y="448"/>
                </a:cubicBezTo>
                <a:cubicBezTo>
                  <a:pt x="775" y="448"/>
                  <a:pt x="775" y="448"/>
                  <a:pt x="775" y="448"/>
                </a:cubicBezTo>
                <a:cubicBezTo>
                  <a:pt x="775" y="436"/>
                  <a:pt x="775" y="436"/>
                  <a:pt x="775" y="436"/>
                </a:cubicBezTo>
                <a:cubicBezTo>
                  <a:pt x="786" y="436"/>
                  <a:pt x="786" y="436"/>
                  <a:pt x="786" y="436"/>
                </a:cubicBezTo>
                <a:cubicBezTo>
                  <a:pt x="787" y="425"/>
                  <a:pt x="787" y="425"/>
                  <a:pt x="787" y="425"/>
                </a:cubicBezTo>
                <a:cubicBezTo>
                  <a:pt x="778" y="425"/>
                  <a:pt x="778" y="425"/>
                  <a:pt x="778" y="425"/>
                </a:cubicBezTo>
                <a:cubicBezTo>
                  <a:pt x="778" y="413"/>
                  <a:pt x="778" y="413"/>
                  <a:pt x="778" y="413"/>
                </a:cubicBezTo>
                <a:cubicBezTo>
                  <a:pt x="789" y="413"/>
                  <a:pt x="789" y="413"/>
                  <a:pt x="789" y="413"/>
                </a:cubicBezTo>
                <a:cubicBezTo>
                  <a:pt x="792" y="395"/>
                  <a:pt x="792" y="395"/>
                  <a:pt x="792" y="395"/>
                </a:cubicBezTo>
                <a:cubicBezTo>
                  <a:pt x="803" y="395"/>
                  <a:pt x="803" y="395"/>
                  <a:pt x="803" y="395"/>
                </a:cubicBezTo>
                <a:cubicBezTo>
                  <a:pt x="800" y="413"/>
                  <a:pt x="800" y="413"/>
                  <a:pt x="800" y="413"/>
                </a:cubicBezTo>
                <a:cubicBezTo>
                  <a:pt x="810" y="413"/>
                  <a:pt x="810" y="413"/>
                  <a:pt x="810" y="413"/>
                </a:cubicBezTo>
                <a:cubicBezTo>
                  <a:pt x="813" y="395"/>
                  <a:pt x="813" y="395"/>
                  <a:pt x="813" y="395"/>
                </a:cubicBezTo>
                <a:cubicBezTo>
                  <a:pt x="824" y="395"/>
                  <a:pt x="824" y="395"/>
                  <a:pt x="824" y="395"/>
                </a:cubicBezTo>
                <a:cubicBezTo>
                  <a:pt x="821" y="413"/>
                  <a:pt x="821" y="413"/>
                  <a:pt x="821" y="413"/>
                </a:cubicBezTo>
                <a:cubicBezTo>
                  <a:pt x="830" y="413"/>
                  <a:pt x="830" y="413"/>
                  <a:pt x="830" y="413"/>
                </a:cubicBezTo>
                <a:cubicBezTo>
                  <a:pt x="830" y="425"/>
                  <a:pt x="830" y="425"/>
                  <a:pt x="830" y="425"/>
                </a:cubicBezTo>
                <a:cubicBezTo>
                  <a:pt x="820" y="425"/>
                  <a:pt x="820" y="425"/>
                  <a:pt x="820" y="425"/>
                </a:cubicBezTo>
                <a:cubicBezTo>
                  <a:pt x="818" y="436"/>
                  <a:pt x="818" y="436"/>
                  <a:pt x="818" y="436"/>
                </a:cubicBezTo>
                <a:cubicBezTo>
                  <a:pt x="827" y="436"/>
                  <a:pt x="827" y="436"/>
                  <a:pt x="827" y="436"/>
                </a:cubicBezTo>
                <a:cubicBezTo>
                  <a:pt x="827" y="448"/>
                  <a:pt x="827" y="448"/>
                  <a:pt x="827" y="448"/>
                </a:cubicBezTo>
                <a:cubicBezTo>
                  <a:pt x="816" y="448"/>
                  <a:pt x="816" y="448"/>
                  <a:pt x="816" y="448"/>
                </a:cubicBezTo>
                <a:cubicBezTo>
                  <a:pt x="813" y="467"/>
                  <a:pt x="813" y="467"/>
                  <a:pt x="813" y="467"/>
                </a:cubicBezTo>
                <a:cubicBezTo>
                  <a:pt x="802" y="467"/>
                  <a:pt x="802" y="467"/>
                  <a:pt x="802" y="467"/>
                </a:cubicBezTo>
                <a:cubicBezTo>
                  <a:pt x="805" y="448"/>
                  <a:pt x="805" y="448"/>
                  <a:pt x="805" y="448"/>
                </a:cubicBezTo>
                <a:cubicBezTo>
                  <a:pt x="795" y="448"/>
                  <a:pt x="795" y="448"/>
                  <a:pt x="795" y="448"/>
                </a:cubicBezTo>
                <a:cubicBezTo>
                  <a:pt x="792" y="467"/>
                  <a:pt x="792" y="467"/>
                  <a:pt x="792" y="467"/>
                </a:cubicBezTo>
                <a:cubicBezTo>
                  <a:pt x="781" y="467"/>
                  <a:pt x="781" y="467"/>
                  <a:pt x="781" y="467"/>
                </a:cubicBezTo>
                <a:cubicBezTo>
                  <a:pt x="781" y="467"/>
                  <a:pt x="781" y="467"/>
                  <a:pt x="781" y="467"/>
                </a:cubicBezTo>
                <a:close/>
                <a:moveTo>
                  <a:pt x="807" y="436"/>
                </a:moveTo>
                <a:cubicBezTo>
                  <a:pt x="808" y="425"/>
                  <a:pt x="808" y="425"/>
                  <a:pt x="808" y="425"/>
                </a:cubicBezTo>
                <a:cubicBezTo>
                  <a:pt x="799" y="425"/>
                  <a:pt x="799" y="425"/>
                  <a:pt x="799" y="425"/>
                </a:cubicBezTo>
                <a:cubicBezTo>
                  <a:pt x="797" y="436"/>
                  <a:pt x="797" y="436"/>
                  <a:pt x="797" y="436"/>
                </a:cubicBezTo>
                <a:cubicBezTo>
                  <a:pt x="807" y="436"/>
                  <a:pt x="807" y="436"/>
                  <a:pt x="807" y="436"/>
                </a:cubicBezTo>
                <a:cubicBezTo>
                  <a:pt x="807" y="436"/>
                  <a:pt x="807" y="436"/>
                  <a:pt x="807" y="436"/>
                </a:cubicBezTo>
                <a:close/>
                <a:moveTo>
                  <a:pt x="325" y="394"/>
                </a:moveTo>
                <a:cubicBezTo>
                  <a:pt x="325" y="394"/>
                  <a:pt x="325" y="394"/>
                  <a:pt x="325" y="394"/>
                </a:cubicBezTo>
                <a:cubicBezTo>
                  <a:pt x="320" y="394"/>
                  <a:pt x="320" y="394"/>
                  <a:pt x="320" y="394"/>
                </a:cubicBezTo>
                <a:cubicBezTo>
                  <a:pt x="317" y="395"/>
                  <a:pt x="316" y="397"/>
                  <a:pt x="314" y="398"/>
                </a:cubicBezTo>
                <a:cubicBezTo>
                  <a:pt x="312" y="399"/>
                  <a:pt x="311" y="400"/>
                  <a:pt x="309" y="401"/>
                </a:cubicBezTo>
                <a:cubicBezTo>
                  <a:pt x="307" y="402"/>
                  <a:pt x="305" y="403"/>
                  <a:pt x="303" y="403"/>
                </a:cubicBezTo>
                <a:cubicBezTo>
                  <a:pt x="301" y="404"/>
                  <a:pt x="300" y="405"/>
                  <a:pt x="297" y="405"/>
                </a:cubicBezTo>
                <a:cubicBezTo>
                  <a:pt x="297" y="405"/>
                  <a:pt x="297" y="405"/>
                  <a:pt x="297" y="415"/>
                </a:cubicBezTo>
                <a:cubicBezTo>
                  <a:pt x="300" y="414"/>
                  <a:pt x="303" y="414"/>
                  <a:pt x="306" y="412"/>
                </a:cubicBezTo>
                <a:cubicBezTo>
                  <a:pt x="309" y="411"/>
                  <a:pt x="311" y="410"/>
                  <a:pt x="313" y="409"/>
                </a:cubicBezTo>
                <a:cubicBezTo>
                  <a:pt x="313" y="409"/>
                  <a:pt x="313" y="409"/>
                  <a:pt x="313" y="467"/>
                </a:cubicBezTo>
                <a:cubicBezTo>
                  <a:pt x="313" y="467"/>
                  <a:pt x="313" y="467"/>
                  <a:pt x="325" y="467"/>
                </a:cubicBezTo>
                <a:cubicBezTo>
                  <a:pt x="325" y="467"/>
                  <a:pt x="325" y="467"/>
                  <a:pt x="325" y="394"/>
                </a:cubicBezTo>
                <a:close/>
                <a:moveTo>
                  <a:pt x="372" y="394"/>
                </a:moveTo>
                <a:cubicBezTo>
                  <a:pt x="372" y="394"/>
                  <a:pt x="372" y="394"/>
                  <a:pt x="372" y="394"/>
                </a:cubicBezTo>
                <a:cubicBezTo>
                  <a:pt x="367" y="394"/>
                  <a:pt x="367" y="394"/>
                  <a:pt x="367" y="394"/>
                </a:cubicBezTo>
                <a:cubicBezTo>
                  <a:pt x="365" y="395"/>
                  <a:pt x="363" y="397"/>
                  <a:pt x="361" y="398"/>
                </a:cubicBezTo>
                <a:cubicBezTo>
                  <a:pt x="360" y="399"/>
                  <a:pt x="358" y="400"/>
                  <a:pt x="356" y="401"/>
                </a:cubicBezTo>
                <a:cubicBezTo>
                  <a:pt x="355" y="402"/>
                  <a:pt x="352" y="403"/>
                  <a:pt x="351" y="403"/>
                </a:cubicBezTo>
                <a:cubicBezTo>
                  <a:pt x="349" y="404"/>
                  <a:pt x="347" y="405"/>
                  <a:pt x="345" y="405"/>
                </a:cubicBezTo>
                <a:cubicBezTo>
                  <a:pt x="345" y="405"/>
                  <a:pt x="345" y="405"/>
                  <a:pt x="345" y="415"/>
                </a:cubicBezTo>
                <a:cubicBezTo>
                  <a:pt x="348" y="414"/>
                  <a:pt x="351" y="414"/>
                  <a:pt x="353" y="412"/>
                </a:cubicBezTo>
                <a:cubicBezTo>
                  <a:pt x="356" y="411"/>
                  <a:pt x="358" y="410"/>
                  <a:pt x="361" y="409"/>
                </a:cubicBezTo>
                <a:cubicBezTo>
                  <a:pt x="361" y="409"/>
                  <a:pt x="361" y="409"/>
                  <a:pt x="361" y="467"/>
                </a:cubicBezTo>
                <a:cubicBezTo>
                  <a:pt x="361" y="467"/>
                  <a:pt x="361" y="467"/>
                  <a:pt x="372" y="467"/>
                </a:cubicBezTo>
                <a:cubicBezTo>
                  <a:pt x="372" y="467"/>
                  <a:pt x="372" y="467"/>
                  <a:pt x="372" y="394"/>
                </a:cubicBezTo>
                <a:close/>
                <a:moveTo>
                  <a:pt x="419" y="394"/>
                </a:moveTo>
                <a:cubicBezTo>
                  <a:pt x="419" y="394"/>
                  <a:pt x="419" y="394"/>
                  <a:pt x="419" y="394"/>
                </a:cubicBezTo>
                <a:cubicBezTo>
                  <a:pt x="414" y="394"/>
                  <a:pt x="414" y="394"/>
                  <a:pt x="414" y="394"/>
                </a:cubicBezTo>
                <a:cubicBezTo>
                  <a:pt x="412" y="395"/>
                  <a:pt x="411" y="397"/>
                  <a:pt x="409" y="398"/>
                </a:cubicBezTo>
                <a:cubicBezTo>
                  <a:pt x="407" y="399"/>
                  <a:pt x="405" y="400"/>
                  <a:pt x="403" y="401"/>
                </a:cubicBezTo>
                <a:cubicBezTo>
                  <a:pt x="401" y="401"/>
                  <a:pt x="400" y="402"/>
                  <a:pt x="398" y="403"/>
                </a:cubicBezTo>
                <a:cubicBezTo>
                  <a:pt x="396" y="403"/>
                  <a:pt x="394" y="404"/>
                  <a:pt x="392" y="405"/>
                </a:cubicBezTo>
                <a:cubicBezTo>
                  <a:pt x="392" y="405"/>
                  <a:pt x="392" y="405"/>
                  <a:pt x="392" y="415"/>
                </a:cubicBezTo>
                <a:cubicBezTo>
                  <a:pt x="395" y="414"/>
                  <a:pt x="398" y="413"/>
                  <a:pt x="401" y="412"/>
                </a:cubicBezTo>
                <a:cubicBezTo>
                  <a:pt x="403" y="411"/>
                  <a:pt x="406" y="410"/>
                  <a:pt x="407" y="409"/>
                </a:cubicBezTo>
                <a:cubicBezTo>
                  <a:pt x="407" y="409"/>
                  <a:pt x="407" y="409"/>
                  <a:pt x="407" y="467"/>
                </a:cubicBezTo>
                <a:cubicBezTo>
                  <a:pt x="407" y="467"/>
                  <a:pt x="407" y="467"/>
                  <a:pt x="419" y="467"/>
                </a:cubicBezTo>
                <a:cubicBezTo>
                  <a:pt x="419" y="467"/>
                  <a:pt x="419" y="467"/>
                  <a:pt x="419" y="394"/>
                </a:cubicBezTo>
                <a:close/>
                <a:moveTo>
                  <a:pt x="626" y="298"/>
                </a:moveTo>
                <a:cubicBezTo>
                  <a:pt x="626" y="298"/>
                  <a:pt x="626" y="298"/>
                  <a:pt x="626" y="298"/>
                </a:cubicBezTo>
                <a:cubicBezTo>
                  <a:pt x="621" y="298"/>
                  <a:pt x="621" y="298"/>
                  <a:pt x="621" y="298"/>
                </a:cubicBezTo>
                <a:cubicBezTo>
                  <a:pt x="619" y="299"/>
                  <a:pt x="617" y="301"/>
                  <a:pt x="615" y="302"/>
                </a:cubicBezTo>
                <a:cubicBezTo>
                  <a:pt x="613" y="303"/>
                  <a:pt x="611" y="304"/>
                  <a:pt x="610" y="305"/>
                </a:cubicBezTo>
                <a:cubicBezTo>
                  <a:pt x="608" y="305"/>
                  <a:pt x="606" y="306"/>
                  <a:pt x="605" y="307"/>
                </a:cubicBezTo>
                <a:cubicBezTo>
                  <a:pt x="603" y="307"/>
                  <a:pt x="601" y="308"/>
                  <a:pt x="599" y="309"/>
                </a:cubicBezTo>
                <a:cubicBezTo>
                  <a:pt x="599" y="309"/>
                  <a:pt x="599" y="309"/>
                  <a:pt x="599" y="319"/>
                </a:cubicBezTo>
                <a:cubicBezTo>
                  <a:pt x="602" y="318"/>
                  <a:pt x="605" y="317"/>
                  <a:pt x="607" y="316"/>
                </a:cubicBezTo>
                <a:cubicBezTo>
                  <a:pt x="610" y="315"/>
                  <a:pt x="612" y="314"/>
                  <a:pt x="614" y="313"/>
                </a:cubicBezTo>
                <a:cubicBezTo>
                  <a:pt x="614" y="313"/>
                  <a:pt x="614" y="313"/>
                  <a:pt x="614" y="371"/>
                </a:cubicBezTo>
                <a:cubicBezTo>
                  <a:pt x="614" y="371"/>
                  <a:pt x="614" y="371"/>
                  <a:pt x="626" y="371"/>
                </a:cubicBezTo>
                <a:cubicBezTo>
                  <a:pt x="626" y="371"/>
                  <a:pt x="626" y="371"/>
                  <a:pt x="626" y="298"/>
                </a:cubicBezTo>
                <a:close/>
                <a:moveTo>
                  <a:pt x="672" y="298"/>
                </a:moveTo>
                <a:cubicBezTo>
                  <a:pt x="672" y="298"/>
                  <a:pt x="672" y="298"/>
                  <a:pt x="672" y="298"/>
                </a:cubicBezTo>
                <a:cubicBezTo>
                  <a:pt x="667" y="298"/>
                  <a:pt x="667" y="298"/>
                  <a:pt x="667" y="298"/>
                </a:cubicBezTo>
                <a:cubicBezTo>
                  <a:pt x="665" y="299"/>
                  <a:pt x="664" y="301"/>
                  <a:pt x="662" y="302"/>
                </a:cubicBezTo>
                <a:cubicBezTo>
                  <a:pt x="660" y="303"/>
                  <a:pt x="658" y="304"/>
                  <a:pt x="657" y="305"/>
                </a:cubicBezTo>
                <a:cubicBezTo>
                  <a:pt x="655" y="306"/>
                  <a:pt x="653" y="307"/>
                  <a:pt x="652" y="307"/>
                </a:cubicBezTo>
                <a:cubicBezTo>
                  <a:pt x="650" y="308"/>
                  <a:pt x="648" y="309"/>
                  <a:pt x="646" y="309"/>
                </a:cubicBezTo>
                <a:cubicBezTo>
                  <a:pt x="646" y="309"/>
                  <a:pt x="646" y="309"/>
                  <a:pt x="646" y="319"/>
                </a:cubicBezTo>
                <a:cubicBezTo>
                  <a:pt x="649" y="318"/>
                  <a:pt x="652" y="318"/>
                  <a:pt x="654" y="316"/>
                </a:cubicBezTo>
                <a:cubicBezTo>
                  <a:pt x="657" y="315"/>
                  <a:pt x="659" y="314"/>
                  <a:pt x="661" y="313"/>
                </a:cubicBezTo>
                <a:cubicBezTo>
                  <a:pt x="661" y="313"/>
                  <a:pt x="661" y="313"/>
                  <a:pt x="661" y="371"/>
                </a:cubicBezTo>
                <a:cubicBezTo>
                  <a:pt x="661" y="371"/>
                  <a:pt x="661" y="371"/>
                  <a:pt x="672" y="371"/>
                </a:cubicBezTo>
                <a:cubicBezTo>
                  <a:pt x="672" y="371"/>
                  <a:pt x="672" y="371"/>
                  <a:pt x="672" y="298"/>
                </a:cubicBezTo>
                <a:close/>
                <a:moveTo>
                  <a:pt x="718" y="298"/>
                </a:moveTo>
                <a:cubicBezTo>
                  <a:pt x="718" y="298"/>
                  <a:pt x="718" y="298"/>
                  <a:pt x="718" y="298"/>
                </a:cubicBezTo>
                <a:cubicBezTo>
                  <a:pt x="714" y="298"/>
                  <a:pt x="714" y="298"/>
                  <a:pt x="714" y="298"/>
                </a:cubicBezTo>
                <a:cubicBezTo>
                  <a:pt x="712" y="299"/>
                  <a:pt x="710" y="301"/>
                  <a:pt x="708" y="302"/>
                </a:cubicBezTo>
                <a:cubicBezTo>
                  <a:pt x="707" y="303"/>
                  <a:pt x="704" y="304"/>
                  <a:pt x="703" y="305"/>
                </a:cubicBezTo>
                <a:cubicBezTo>
                  <a:pt x="701" y="306"/>
                  <a:pt x="699" y="307"/>
                  <a:pt x="697" y="307"/>
                </a:cubicBezTo>
                <a:cubicBezTo>
                  <a:pt x="696" y="308"/>
                  <a:pt x="693" y="309"/>
                  <a:pt x="692" y="309"/>
                </a:cubicBezTo>
                <a:cubicBezTo>
                  <a:pt x="692" y="309"/>
                  <a:pt x="692" y="309"/>
                  <a:pt x="692" y="319"/>
                </a:cubicBezTo>
                <a:cubicBezTo>
                  <a:pt x="695" y="318"/>
                  <a:pt x="698" y="318"/>
                  <a:pt x="700" y="316"/>
                </a:cubicBezTo>
                <a:cubicBezTo>
                  <a:pt x="702" y="315"/>
                  <a:pt x="705" y="314"/>
                  <a:pt x="707" y="313"/>
                </a:cubicBezTo>
                <a:cubicBezTo>
                  <a:pt x="707" y="313"/>
                  <a:pt x="707" y="313"/>
                  <a:pt x="707" y="371"/>
                </a:cubicBezTo>
                <a:cubicBezTo>
                  <a:pt x="707" y="371"/>
                  <a:pt x="707" y="371"/>
                  <a:pt x="718" y="371"/>
                </a:cubicBezTo>
                <a:cubicBezTo>
                  <a:pt x="718" y="371"/>
                  <a:pt x="718" y="371"/>
                  <a:pt x="718" y="298"/>
                </a:cubicBezTo>
                <a:close/>
                <a:moveTo>
                  <a:pt x="765" y="298"/>
                </a:moveTo>
                <a:cubicBezTo>
                  <a:pt x="765" y="298"/>
                  <a:pt x="765" y="298"/>
                  <a:pt x="765" y="298"/>
                </a:cubicBezTo>
                <a:cubicBezTo>
                  <a:pt x="760" y="298"/>
                  <a:pt x="760" y="298"/>
                  <a:pt x="760" y="298"/>
                </a:cubicBezTo>
                <a:cubicBezTo>
                  <a:pt x="758" y="299"/>
                  <a:pt x="756" y="301"/>
                  <a:pt x="754" y="302"/>
                </a:cubicBezTo>
                <a:cubicBezTo>
                  <a:pt x="753" y="303"/>
                  <a:pt x="751" y="304"/>
                  <a:pt x="749" y="305"/>
                </a:cubicBezTo>
                <a:cubicBezTo>
                  <a:pt x="748" y="306"/>
                  <a:pt x="745" y="307"/>
                  <a:pt x="744" y="307"/>
                </a:cubicBezTo>
                <a:cubicBezTo>
                  <a:pt x="742" y="308"/>
                  <a:pt x="740" y="309"/>
                  <a:pt x="738" y="309"/>
                </a:cubicBezTo>
                <a:cubicBezTo>
                  <a:pt x="738" y="309"/>
                  <a:pt x="738" y="309"/>
                  <a:pt x="738" y="319"/>
                </a:cubicBezTo>
                <a:cubicBezTo>
                  <a:pt x="741" y="318"/>
                  <a:pt x="744" y="318"/>
                  <a:pt x="746" y="316"/>
                </a:cubicBezTo>
                <a:cubicBezTo>
                  <a:pt x="749" y="315"/>
                  <a:pt x="751" y="314"/>
                  <a:pt x="753" y="313"/>
                </a:cubicBezTo>
                <a:cubicBezTo>
                  <a:pt x="753" y="313"/>
                  <a:pt x="753" y="313"/>
                  <a:pt x="753" y="371"/>
                </a:cubicBezTo>
                <a:cubicBezTo>
                  <a:pt x="753" y="371"/>
                  <a:pt x="753" y="371"/>
                  <a:pt x="765" y="371"/>
                </a:cubicBezTo>
                <a:cubicBezTo>
                  <a:pt x="765" y="371"/>
                  <a:pt x="765" y="371"/>
                  <a:pt x="765" y="298"/>
                </a:cubicBezTo>
                <a:close/>
                <a:moveTo>
                  <a:pt x="887" y="298"/>
                </a:moveTo>
                <a:cubicBezTo>
                  <a:pt x="887" y="298"/>
                  <a:pt x="887" y="298"/>
                  <a:pt x="887" y="298"/>
                </a:cubicBezTo>
                <a:cubicBezTo>
                  <a:pt x="882" y="298"/>
                  <a:pt x="882" y="298"/>
                  <a:pt x="882" y="298"/>
                </a:cubicBezTo>
                <a:cubicBezTo>
                  <a:pt x="880" y="299"/>
                  <a:pt x="878" y="301"/>
                  <a:pt x="876" y="302"/>
                </a:cubicBezTo>
                <a:cubicBezTo>
                  <a:pt x="875" y="303"/>
                  <a:pt x="873" y="304"/>
                  <a:pt x="871" y="305"/>
                </a:cubicBezTo>
                <a:cubicBezTo>
                  <a:pt x="869" y="306"/>
                  <a:pt x="867" y="307"/>
                  <a:pt x="866" y="307"/>
                </a:cubicBezTo>
                <a:cubicBezTo>
                  <a:pt x="864" y="308"/>
                  <a:pt x="862" y="309"/>
                  <a:pt x="860" y="309"/>
                </a:cubicBezTo>
                <a:cubicBezTo>
                  <a:pt x="860" y="309"/>
                  <a:pt x="860" y="309"/>
                  <a:pt x="860" y="319"/>
                </a:cubicBezTo>
                <a:cubicBezTo>
                  <a:pt x="863" y="318"/>
                  <a:pt x="866" y="318"/>
                  <a:pt x="869" y="316"/>
                </a:cubicBezTo>
                <a:cubicBezTo>
                  <a:pt x="871" y="315"/>
                  <a:pt x="873" y="314"/>
                  <a:pt x="875" y="313"/>
                </a:cubicBezTo>
                <a:cubicBezTo>
                  <a:pt x="875" y="313"/>
                  <a:pt x="875" y="313"/>
                  <a:pt x="875" y="371"/>
                </a:cubicBezTo>
                <a:cubicBezTo>
                  <a:pt x="875" y="371"/>
                  <a:pt x="875" y="371"/>
                  <a:pt x="887" y="371"/>
                </a:cubicBezTo>
                <a:cubicBezTo>
                  <a:pt x="887" y="371"/>
                  <a:pt x="887" y="371"/>
                  <a:pt x="887" y="298"/>
                </a:cubicBezTo>
                <a:close/>
                <a:moveTo>
                  <a:pt x="934" y="298"/>
                </a:moveTo>
                <a:cubicBezTo>
                  <a:pt x="934" y="298"/>
                  <a:pt x="934" y="298"/>
                  <a:pt x="934" y="298"/>
                </a:cubicBezTo>
                <a:cubicBezTo>
                  <a:pt x="929" y="298"/>
                  <a:pt x="929" y="298"/>
                  <a:pt x="929" y="298"/>
                </a:cubicBezTo>
                <a:cubicBezTo>
                  <a:pt x="927" y="299"/>
                  <a:pt x="925" y="301"/>
                  <a:pt x="923" y="302"/>
                </a:cubicBezTo>
                <a:cubicBezTo>
                  <a:pt x="921" y="303"/>
                  <a:pt x="919" y="304"/>
                  <a:pt x="918" y="305"/>
                </a:cubicBezTo>
                <a:cubicBezTo>
                  <a:pt x="916" y="306"/>
                  <a:pt x="914" y="307"/>
                  <a:pt x="912" y="307"/>
                </a:cubicBezTo>
                <a:cubicBezTo>
                  <a:pt x="910" y="308"/>
                  <a:pt x="909" y="309"/>
                  <a:pt x="907" y="309"/>
                </a:cubicBezTo>
                <a:cubicBezTo>
                  <a:pt x="907" y="309"/>
                  <a:pt x="907" y="309"/>
                  <a:pt x="907" y="319"/>
                </a:cubicBezTo>
                <a:cubicBezTo>
                  <a:pt x="910" y="318"/>
                  <a:pt x="912" y="318"/>
                  <a:pt x="915" y="316"/>
                </a:cubicBezTo>
                <a:cubicBezTo>
                  <a:pt x="918" y="315"/>
                  <a:pt x="920" y="314"/>
                  <a:pt x="922" y="313"/>
                </a:cubicBezTo>
                <a:cubicBezTo>
                  <a:pt x="922" y="313"/>
                  <a:pt x="922" y="313"/>
                  <a:pt x="922" y="371"/>
                </a:cubicBezTo>
                <a:cubicBezTo>
                  <a:pt x="922" y="371"/>
                  <a:pt x="922" y="371"/>
                  <a:pt x="934" y="371"/>
                </a:cubicBezTo>
                <a:cubicBezTo>
                  <a:pt x="934" y="371"/>
                  <a:pt x="934" y="371"/>
                  <a:pt x="934" y="298"/>
                </a:cubicBezTo>
                <a:close/>
                <a:moveTo>
                  <a:pt x="786" y="330"/>
                </a:moveTo>
                <a:cubicBezTo>
                  <a:pt x="786" y="330"/>
                  <a:pt x="786" y="330"/>
                  <a:pt x="786" y="330"/>
                </a:cubicBezTo>
                <a:cubicBezTo>
                  <a:pt x="785" y="339"/>
                  <a:pt x="785" y="339"/>
                  <a:pt x="785" y="339"/>
                </a:cubicBezTo>
                <a:cubicBezTo>
                  <a:pt x="791" y="339"/>
                  <a:pt x="792" y="342"/>
                  <a:pt x="792" y="344"/>
                </a:cubicBezTo>
                <a:cubicBezTo>
                  <a:pt x="792" y="347"/>
                  <a:pt x="792" y="349"/>
                  <a:pt x="792" y="352"/>
                </a:cubicBezTo>
                <a:cubicBezTo>
                  <a:pt x="791" y="354"/>
                  <a:pt x="791" y="356"/>
                  <a:pt x="791" y="359"/>
                </a:cubicBezTo>
                <a:cubicBezTo>
                  <a:pt x="791" y="368"/>
                  <a:pt x="797" y="371"/>
                  <a:pt x="805" y="371"/>
                </a:cubicBezTo>
                <a:cubicBezTo>
                  <a:pt x="805" y="371"/>
                  <a:pt x="805" y="371"/>
                  <a:pt x="809" y="371"/>
                </a:cubicBezTo>
                <a:cubicBezTo>
                  <a:pt x="809" y="371"/>
                  <a:pt x="809" y="371"/>
                  <a:pt x="809" y="362"/>
                </a:cubicBezTo>
                <a:cubicBezTo>
                  <a:pt x="809" y="362"/>
                  <a:pt x="809" y="362"/>
                  <a:pt x="808" y="362"/>
                </a:cubicBezTo>
                <a:cubicBezTo>
                  <a:pt x="804" y="362"/>
                  <a:pt x="803" y="360"/>
                  <a:pt x="803" y="356"/>
                </a:cubicBezTo>
                <a:cubicBezTo>
                  <a:pt x="803" y="355"/>
                  <a:pt x="803" y="353"/>
                  <a:pt x="803" y="352"/>
                </a:cubicBezTo>
                <a:cubicBezTo>
                  <a:pt x="803" y="350"/>
                  <a:pt x="804" y="348"/>
                  <a:pt x="804" y="346"/>
                </a:cubicBezTo>
                <a:cubicBezTo>
                  <a:pt x="804" y="338"/>
                  <a:pt x="801" y="336"/>
                  <a:pt x="795" y="334"/>
                </a:cubicBezTo>
                <a:cubicBezTo>
                  <a:pt x="795" y="334"/>
                  <a:pt x="795" y="334"/>
                  <a:pt x="795" y="334"/>
                </a:cubicBezTo>
                <a:cubicBezTo>
                  <a:pt x="801" y="333"/>
                  <a:pt x="804" y="331"/>
                  <a:pt x="804" y="323"/>
                </a:cubicBezTo>
                <a:cubicBezTo>
                  <a:pt x="804" y="321"/>
                  <a:pt x="803" y="319"/>
                  <a:pt x="803" y="317"/>
                </a:cubicBezTo>
                <a:cubicBezTo>
                  <a:pt x="803" y="315"/>
                  <a:pt x="803" y="313"/>
                  <a:pt x="803" y="312"/>
                </a:cubicBezTo>
                <a:cubicBezTo>
                  <a:pt x="803" y="309"/>
                  <a:pt x="804" y="306"/>
                  <a:pt x="808" y="306"/>
                </a:cubicBezTo>
                <a:cubicBezTo>
                  <a:pt x="808" y="306"/>
                  <a:pt x="808" y="306"/>
                  <a:pt x="809" y="306"/>
                </a:cubicBezTo>
                <a:cubicBezTo>
                  <a:pt x="809" y="306"/>
                  <a:pt x="809" y="306"/>
                  <a:pt x="809" y="297"/>
                </a:cubicBezTo>
                <a:cubicBezTo>
                  <a:pt x="809" y="297"/>
                  <a:pt x="809" y="297"/>
                  <a:pt x="805" y="297"/>
                </a:cubicBezTo>
                <a:cubicBezTo>
                  <a:pt x="797" y="297"/>
                  <a:pt x="791" y="301"/>
                  <a:pt x="791" y="310"/>
                </a:cubicBezTo>
                <a:cubicBezTo>
                  <a:pt x="791" y="312"/>
                  <a:pt x="791" y="315"/>
                  <a:pt x="791" y="317"/>
                </a:cubicBezTo>
                <a:cubicBezTo>
                  <a:pt x="792" y="319"/>
                  <a:pt x="792" y="322"/>
                  <a:pt x="792" y="324"/>
                </a:cubicBezTo>
                <a:cubicBezTo>
                  <a:pt x="792" y="327"/>
                  <a:pt x="791" y="330"/>
                  <a:pt x="786" y="330"/>
                </a:cubicBezTo>
                <a:close/>
                <a:moveTo>
                  <a:pt x="840" y="339"/>
                </a:moveTo>
                <a:cubicBezTo>
                  <a:pt x="840" y="339"/>
                  <a:pt x="840" y="339"/>
                  <a:pt x="840" y="339"/>
                </a:cubicBezTo>
                <a:cubicBezTo>
                  <a:pt x="840" y="330"/>
                  <a:pt x="840" y="330"/>
                  <a:pt x="840" y="330"/>
                </a:cubicBezTo>
                <a:cubicBezTo>
                  <a:pt x="834" y="330"/>
                  <a:pt x="833" y="327"/>
                  <a:pt x="833" y="324"/>
                </a:cubicBezTo>
                <a:cubicBezTo>
                  <a:pt x="833" y="322"/>
                  <a:pt x="833" y="319"/>
                  <a:pt x="834" y="317"/>
                </a:cubicBezTo>
                <a:cubicBezTo>
                  <a:pt x="834" y="315"/>
                  <a:pt x="834" y="312"/>
                  <a:pt x="834" y="310"/>
                </a:cubicBezTo>
                <a:cubicBezTo>
                  <a:pt x="834" y="301"/>
                  <a:pt x="829" y="297"/>
                  <a:pt x="820" y="297"/>
                </a:cubicBezTo>
                <a:cubicBezTo>
                  <a:pt x="820" y="297"/>
                  <a:pt x="820" y="297"/>
                  <a:pt x="816" y="297"/>
                </a:cubicBezTo>
                <a:cubicBezTo>
                  <a:pt x="816" y="297"/>
                  <a:pt x="816" y="297"/>
                  <a:pt x="816" y="306"/>
                </a:cubicBezTo>
                <a:cubicBezTo>
                  <a:pt x="816" y="306"/>
                  <a:pt x="816" y="306"/>
                  <a:pt x="817" y="306"/>
                </a:cubicBezTo>
                <a:cubicBezTo>
                  <a:pt x="821" y="306"/>
                  <a:pt x="822" y="309"/>
                  <a:pt x="822" y="312"/>
                </a:cubicBezTo>
                <a:cubicBezTo>
                  <a:pt x="822" y="313"/>
                  <a:pt x="822" y="315"/>
                  <a:pt x="822" y="317"/>
                </a:cubicBezTo>
                <a:cubicBezTo>
                  <a:pt x="822" y="319"/>
                  <a:pt x="822" y="321"/>
                  <a:pt x="822" y="323"/>
                </a:cubicBezTo>
                <a:cubicBezTo>
                  <a:pt x="822" y="331"/>
                  <a:pt x="824" y="333"/>
                  <a:pt x="830" y="334"/>
                </a:cubicBezTo>
                <a:cubicBezTo>
                  <a:pt x="830" y="334"/>
                  <a:pt x="830" y="334"/>
                  <a:pt x="830" y="334"/>
                </a:cubicBezTo>
                <a:cubicBezTo>
                  <a:pt x="824" y="336"/>
                  <a:pt x="822" y="338"/>
                  <a:pt x="822" y="346"/>
                </a:cubicBezTo>
                <a:cubicBezTo>
                  <a:pt x="822" y="348"/>
                  <a:pt x="822" y="350"/>
                  <a:pt x="822" y="352"/>
                </a:cubicBezTo>
                <a:cubicBezTo>
                  <a:pt x="822" y="353"/>
                  <a:pt x="822" y="355"/>
                  <a:pt x="822" y="356"/>
                </a:cubicBezTo>
                <a:cubicBezTo>
                  <a:pt x="822" y="360"/>
                  <a:pt x="821" y="362"/>
                  <a:pt x="817" y="362"/>
                </a:cubicBezTo>
                <a:cubicBezTo>
                  <a:pt x="817" y="362"/>
                  <a:pt x="817" y="362"/>
                  <a:pt x="816" y="362"/>
                </a:cubicBezTo>
                <a:cubicBezTo>
                  <a:pt x="816" y="362"/>
                  <a:pt x="816" y="362"/>
                  <a:pt x="816" y="371"/>
                </a:cubicBezTo>
                <a:cubicBezTo>
                  <a:pt x="816" y="371"/>
                  <a:pt x="816" y="371"/>
                  <a:pt x="820" y="371"/>
                </a:cubicBezTo>
                <a:cubicBezTo>
                  <a:pt x="828" y="371"/>
                  <a:pt x="834" y="368"/>
                  <a:pt x="834" y="359"/>
                </a:cubicBezTo>
                <a:cubicBezTo>
                  <a:pt x="834" y="356"/>
                  <a:pt x="834" y="354"/>
                  <a:pt x="834" y="352"/>
                </a:cubicBezTo>
                <a:cubicBezTo>
                  <a:pt x="833" y="349"/>
                  <a:pt x="833" y="347"/>
                  <a:pt x="833" y="344"/>
                </a:cubicBezTo>
                <a:cubicBezTo>
                  <a:pt x="833" y="342"/>
                  <a:pt x="834" y="339"/>
                  <a:pt x="840" y="339"/>
                </a:cubicBezTo>
                <a:close/>
                <a:moveTo>
                  <a:pt x="226" y="371"/>
                </a:moveTo>
                <a:cubicBezTo>
                  <a:pt x="219" y="371"/>
                  <a:pt x="212" y="368"/>
                  <a:pt x="208" y="363"/>
                </a:cubicBezTo>
                <a:cubicBezTo>
                  <a:pt x="204" y="356"/>
                  <a:pt x="202" y="347"/>
                  <a:pt x="202" y="335"/>
                </a:cubicBezTo>
                <a:cubicBezTo>
                  <a:pt x="202" y="321"/>
                  <a:pt x="204" y="312"/>
                  <a:pt x="209" y="305"/>
                </a:cubicBezTo>
                <a:cubicBezTo>
                  <a:pt x="213" y="299"/>
                  <a:pt x="219" y="295"/>
                  <a:pt x="228" y="295"/>
                </a:cubicBezTo>
                <a:cubicBezTo>
                  <a:pt x="244" y="295"/>
                  <a:pt x="252" y="308"/>
                  <a:pt x="252" y="333"/>
                </a:cubicBezTo>
                <a:cubicBezTo>
                  <a:pt x="252" y="346"/>
                  <a:pt x="250" y="355"/>
                  <a:pt x="245" y="362"/>
                </a:cubicBezTo>
                <a:cubicBezTo>
                  <a:pt x="241" y="368"/>
                  <a:pt x="234" y="371"/>
                  <a:pt x="226" y="371"/>
                </a:cubicBezTo>
                <a:close/>
                <a:moveTo>
                  <a:pt x="227" y="305"/>
                </a:moveTo>
                <a:cubicBezTo>
                  <a:pt x="218" y="305"/>
                  <a:pt x="214" y="315"/>
                  <a:pt x="214" y="335"/>
                </a:cubicBezTo>
                <a:cubicBezTo>
                  <a:pt x="214" y="353"/>
                  <a:pt x="218" y="362"/>
                  <a:pt x="227" y="362"/>
                </a:cubicBezTo>
                <a:cubicBezTo>
                  <a:pt x="236" y="362"/>
                  <a:pt x="240" y="353"/>
                  <a:pt x="240" y="334"/>
                </a:cubicBezTo>
                <a:cubicBezTo>
                  <a:pt x="240" y="314"/>
                  <a:pt x="236" y="305"/>
                  <a:pt x="227" y="305"/>
                </a:cubicBezTo>
                <a:close/>
                <a:moveTo>
                  <a:pt x="296" y="371"/>
                </a:moveTo>
                <a:cubicBezTo>
                  <a:pt x="289" y="371"/>
                  <a:pt x="282" y="368"/>
                  <a:pt x="279" y="363"/>
                </a:cubicBezTo>
                <a:cubicBezTo>
                  <a:pt x="274" y="356"/>
                  <a:pt x="272" y="347"/>
                  <a:pt x="272" y="335"/>
                </a:cubicBezTo>
                <a:cubicBezTo>
                  <a:pt x="272" y="321"/>
                  <a:pt x="274" y="312"/>
                  <a:pt x="279" y="305"/>
                </a:cubicBezTo>
                <a:cubicBezTo>
                  <a:pt x="283" y="299"/>
                  <a:pt x="290" y="295"/>
                  <a:pt x="298" y="295"/>
                </a:cubicBezTo>
                <a:cubicBezTo>
                  <a:pt x="314" y="295"/>
                  <a:pt x="322" y="308"/>
                  <a:pt x="322" y="333"/>
                </a:cubicBezTo>
                <a:cubicBezTo>
                  <a:pt x="322" y="346"/>
                  <a:pt x="320" y="355"/>
                  <a:pt x="316" y="362"/>
                </a:cubicBezTo>
                <a:cubicBezTo>
                  <a:pt x="311" y="368"/>
                  <a:pt x="305" y="371"/>
                  <a:pt x="296" y="371"/>
                </a:cubicBezTo>
                <a:close/>
                <a:moveTo>
                  <a:pt x="298" y="305"/>
                </a:moveTo>
                <a:cubicBezTo>
                  <a:pt x="289" y="305"/>
                  <a:pt x="284" y="315"/>
                  <a:pt x="284" y="335"/>
                </a:cubicBezTo>
                <a:cubicBezTo>
                  <a:pt x="284" y="353"/>
                  <a:pt x="288" y="362"/>
                  <a:pt x="297" y="362"/>
                </a:cubicBezTo>
                <a:cubicBezTo>
                  <a:pt x="306" y="362"/>
                  <a:pt x="310" y="353"/>
                  <a:pt x="310" y="334"/>
                </a:cubicBezTo>
                <a:cubicBezTo>
                  <a:pt x="310" y="314"/>
                  <a:pt x="306" y="305"/>
                  <a:pt x="298" y="305"/>
                </a:cubicBezTo>
                <a:close/>
                <a:moveTo>
                  <a:pt x="506" y="371"/>
                </a:moveTo>
                <a:cubicBezTo>
                  <a:pt x="499" y="371"/>
                  <a:pt x="493" y="368"/>
                  <a:pt x="489" y="362"/>
                </a:cubicBezTo>
                <a:cubicBezTo>
                  <a:pt x="484" y="356"/>
                  <a:pt x="482" y="346"/>
                  <a:pt x="482" y="335"/>
                </a:cubicBezTo>
                <a:cubicBezTo>
                  <a:pt x="482" y="321"/>
                  <a:pt x="484" y="312"/>
                  <a:pt x="489" y="305"/>
                </a:cubicBezTo>
                <a:cubicBezTo>
                  <a:pt x="493" y="298"/>
                  <a:pt x="500" y="295"/>
                  <a:pt x="509" y="295"/>
                </a:cubicBezTo>
                <a:cubicBezTo>
                  <a:pt x="525" y="295"/>
                  <a:pt x="533" y="308"/>
                  <a:pt x="533" y="333"/>
                </a:cubicBezTo>
                <a:cubicBezTo>
                  <a:pt x="533" y="346"/>
                  <a:pt x="530" y="355"/>
                  <a:pt x="526" y="362"/>
                </a:cubicBezTo>
                <a:cubicBezTo>
                  <a:pt x="521" y="368"/>
                  <a:pt x="515" y="371"/>
                  <a:pt x="506" y="371"/>
                </a:cubicBezTo>
                <a:close/>
                <a:moveTo>
                  <a:pt x="508" y="305"/>
                </a:moveTo>
                <a:cubicBezTo>
                  <a:pt x="499" y="305"/>
                  <a:pt x="495" y="314"/>
                  <a:pt x="495" y="334"/>
                </a:cubicBezTo>
                <a:cubicBezTo>
                  <a:pt x="495" y="352"/>
                  <a:pt x="499" y="362"/>
                  <a:pt x="508" y="362"/>
                </a:cubicBezTo>
                <a:cubicBezTo>
                  <a:pt x="516" y="362"/>
                  <a:pt x="520" y="352"/>
                  <a:pt x="520" y="334"/>
                </a:cubicBezTo>
                <a:cubicBezTo>
                  <a:pt x="520" y="314"/>
                  <a:pt x="517" y="305"/>
                  <a:pt x="508" y="305"/>
                </a:cubicBezTo>
                <a:close/>
                <a:moveTo>
                  <a:pt x="579" y="298"/>
                </a:moveTo>
                <a:cubicBezTo>
                  <a:pt x="579" y="298"/>
                  <a:pt x="579" y="298"/>
                  <a:pt x="579" y="298"/>
                </a:cubicBezTo>
                <a:cubicBezTo>
                  <a:pt x="574" y="298"/>
                  <a:pt x="574" y="298"/>
                  <a:pt x="574" y="298"/>
                </a:cubicBezTo>
                <a:cubicBezTo>
                  <a:pt x="572" y="299"/>
                  <a:pt x="570" y="301"/>
                  <a:pt x="568" y="302"/>
                </a:cubicBezTo>
                <a:cubicBezTo>
                  <a:pt x="567" y="303"/>
                  <a:pt x="565" y="304"/>
                  <a:pt x="563" y="305"/>
                </a:cubicBezTo>
                <a:cubicBezTo>
                  <a:pt x="562" y="305"/>
                  <a:pt x="560" y="306"/>
                  <a:pt x="558" y="307"/>
                </a:cubicBezTo>
                <a:cubicBezTo>
                  <a:pt x="556" y="307"/>
                  <a:pt x="555" y="308"/>
                  <a:pt x="552" y="309"/>
                </a:cubicBezTo>
                <a:cubicBezTo>
                  <a:pt x="552" y="309"/>
                  <a:pt x="552" y="309"/>
                  <a:pt x="552" y="319"/>
                </a:cubicBezTo>
                <a:cubicBezTo>
                  <a:pt x="555" y="318"/>
                  <a:pt x="558" y="317"/>
                  <a:pt x="560" y="316"/>
                </a:cubicBezTo>
                <a:cubicBezTo>
                  <a:pt x="563" y="315"/>
                  <a:pt x="565" y="314"/>
                  <a:pt x="568" y="313"/>
                </a:cubicBezTo>
                <a:cubicBezTo>
                  <a:pt x="568" y="313"/>
                  <a:pt x="568" y="313"/>
                  <a:pt x="568" y="371"/>
                </a:cubicBezTo>
                <a:cubicBezTo>
                  <a:pt x="568" y="371"/>
                  <a:pt x="568" y="371"/>
                  <a:pt x="579" y="371"/>
                </a:cubicBezTo>
                <a:cubicBezTo>
                  <a:pt x="579" y="371"/>
                  <a:pt x="579" y="371"/>
                  <a:pt x="579" y="298"/>
                </a:cubicBezTo>
                <a:close/>
                <a:moveTo>
                  <a:pt x="369" y="298"/>
                </a:moveTo>
                <a:cubicBezTo>
                  <a:pt x="369" y="298"/>
                  <a:pt x="369" y="298"/>
                  <a:pt x="369" y="298"/>
                </a:cubicBezTo>
                <a:cubicBezTo>
                  <a:pt x="364" y="298"/>
                  <a:pt x="364" y="298"/>
                  <a:pt x="364" y="298"/>
                </a:cubicBezTo>
                <a:cubicBezTo>
                  <a:pt x="362" y="299"/>
                  <a:pt x="361" y="301"/>
                  <a:pt x="359" y="302"/>
                </a:cubicBezTo>
                <a:cubicBezTo>
                  <a:pt x="357" y="303"/>
                  <a:pt x="356" y="304"/>
                  <a:pt x="353" y="305"/>
                </a:cubicBezTo>
                <a:cubicBezTo>
                  <a:pt x="352" y="306"/>
                  <a:pt x="350" y="307"/>
                  <a:pt x="348" y="307"/>
                </a:cubicBezTo>
                <a:cubicBezTo>
                  <a:pt x="346" y="308"/>
                  <a:pt x="345" y="309"/>
                  <a:pt x="343" y="309"/>
                </a:cubicBezTo>
                <a:cubicBezTo>
                  <a:pt x="343" y="309"/>
                  <a:pt x="343" y="309"/>
                  <a:pt x="343" y="319"/>
                </a:cubicBezTo>
                <a:cubicBezTo>
                  <a:pt x="345" y="318"/>
                  <a:pt x="348" y="318"/>
                  <a:pt x="351" y="316"/>
                </a:cubicBezTo>
                <a:cubicBezTo>
                  <a:pt x="353" y="315"/>
                  <a:pt x="356" y="314"/>
                  <a:pt x="358" y="313"/>
                </a:cubicBezTo>
                <a:cubicBezTo>
                  <a:pt x="358" y="313"/>
                  <a:pt x="358" y="313"/>
                  <a:pt x="358" y="371"/>
                </a:cubicBezTo>
                <a:cubicBezTo>
                  <a:pt x="358" y="371"/>
                  <a:pt x="358" y="371"/>
                  <a:pt x="369" y="371"/>
                </a:cubicBezTo>
                <a:cubicBezTo>
                  <a:pt x="369" y="371"/>
                  <a:pt x="369" y="371"/>
                  <a:pt x="369" y="298"/>
                </a:cubicBezTo>
                <a:close/>
                <a:moveTo>
                  <a:pt x="416" y="298"/>
                </a:moveTo>
                <a:cubicBezTo>
                  <a:pt x="416" y="298"/>
                  <a:pt x="416" y="298"/>
                  <a:pt x="416" y="298"/>
                </a:cubicBezTo>
                <a:cubicBezTo>
                  <a:pt x="411" y="298"/>
                  <a:pt x="411" y="298"/>
                  <a:pt x="411" y="298"/>
                </a:cubicBezTo>
                <a:cubicBezTo>
                  <a:pt x="409" y="299"/>
                  <a:pt x="408" y="301"/>
                  <a:pt x="406" y="302"/>
                </a:cubicBezTo>
                <a:cubicBezTo>
                  <a:pt x="404" y="303"/>
                  <a:pt x="402" y="304"/>
                  <a:pt x="401" y="305"/>
                </a:cubicBezTo>
                <a:cubicBezTo>
                  <a:pt x="399" y="306"/>
                  <a:pt x="397" y="307"/>
                  <a:pt x="395" y="307"/>
                </a:cubicBezTo>
                <a:cubicBezTo>
                  <a:pt x="393" y="308"/>
                  <a:pt x="392" y="309"/>
                  <a:pt x="390" y="309"/>
                </a:cubicBezTo>
                <a:cubicBezTo>
                  <a:pt x="390" y="309"/>
                  <a:pt x="390" y="309"/>
                  <a:pt x="390" y="319"/>
                </a:cubicBezTo>
                <a:cubicBezTo>
                  <a:pt x="393" y="318"/>
                  <a:pt x="395" y="318"/>
                  <a:pt x="398" y="316"/>
                </a:cubicBezTo>
                <a:cubicBezTo>
                  <a:pt x="401" y="315"/>
                  <a:pt x="403" y="314"/>
                  <a:pt x="405" y="313"/>
                </a:cubicBezTo>
                <a:cubicBezTo>
                  <a:pt x="405" y="313"/>
                  <a:pt x="405" y="313"/>
                  <a:pt x="405" y="371"/>
                </a:cubicBezTo>
                <a:cubicBezTo>
                  <a:pt x="405" y="371"/>
                  <a:pt x="405" y="371"/>
                  <a:pt x="416" y="371"/>
                </a:cubicBezTo>
                <a:cubicBezTo>
                  <a:pt x="416" y="371"/>
                  <a:pt x="416" y="371"/>
                  <a:pt x="416" y="298"/>
                </a:cubicBezTo>
                <a:close/>
                <a:moveTo>
                  <a:pt x="462" y="298"/>
                </a:moveTo>
                <a:cubicBezTo>
                  <a:pt x="462" y="298"/>
                  <a:pt x="462" y="298"/>
                  <a:pt x="462" y="298"/>
                </a:cubicBezTo>
                <a:cubicBezTo>
                  <a:pt x="458" y="298"/>
                  <a:pt x="458" y="298"/>
                  <a:pt x="458" y="298"/>
                </a:cubicBezTo>
                <a:cubicBezTo>
                  <a:pt x="456" y="299"/>
                  <a:pt x="454" y="301"/>
                  <a:pt x="452" y="302"/>
                </a:cubicBezTo>
                <a:cubicBezTo>
                  <a:pt x="451" y="303"/>
                  <a:pt x="448" y="304"/>
                  <a:pt x="447" y="305"/>
                </a:cubicBezTo>
                <a:cubicBezTo>
                  <a:pt x="445" y="305"/>
                  <a:pt x="443" y="306"/>
                  <a:pt x="441" y="307"/>
                </a:cubicBezTo>
                <a:cubicBezTo>
                  <a:pt x="440" y="307"/>
                  <a:pt x="438" y="308"/>
                  <a:pt x="436" y="309"/>
                </a:cubicBezTo>
                <a:cubicBezTo>
                  <a:pt x="436" y="309"/>
                  <a:pt x="436" y="309"/>
                  <a:pt x="436" y="319"/>
                </a:cubicBezTo>
                <a:cubicBezTo>
                  <a:pt x="439" y="318"/>
                  <a:pt x="442" y="317"/>
                  <a:pt x="444" y="316"/>
                </a:cubicBezTo>
                <a:cubicBezTo>
                  <a:pt x="446" y="315"/>
                  <a:pt x="449" y="314"/>
                  <a:pt x="451" y="313"/>
                </a:cubicBezTo>
                <a:cubicBezTo>
                  <a:pt x="451" y="313"/>
                  <a:pt x="451" y="313"/>
                  <a:pt x="451" y="371"/>
                </a:cubicBezTo>
                <a:cubicBezTo>
                  <a:pt x="451" y="371"/>
                  <a:pt x="451" y="371"/>
                  <a:pt x="462" y="371"/>
                </a:cubicBezTo>
                <a:cubicBezTo>
                  <a:pt x="462" y="371"/>
                  <a:pt x="462" y="371"/>
                  <a:pt x="462" y="298"/>
                </a:cubicBezTo>
                <a:close/>
                <a:moveTo>
                  <a:pt x="28" y="371"/>
                </a:moveTo>
                <a:cubicBezTo>
                  <a:pt x="20" y="371"/>
                  <a:pt x="14" y="368"/>
                  <a:pt x="10" y="363"/>
                </a:cubicBezTo>
                <a:cubicBezTo>
                  <a:pt x="6" y="356"/>
                  <a:pt x="4" y="347"/>
                  <a:pt x="4" y="335"/>
                </a:cubicBezTo>
                <a:cubicBezTo>
                  <a:pt x="4" y="321"/>
                  <a:pt x="6" y="312"/>
                  <a:pt x="10" y="305"/>
                </a:cubicBezTo>
                <a:cubicBezTo>
                  <a:pt x="15" y="299"/>
                  <a:pt x="21" y="295"/>
                  <a:pt x="30" y="295"/>
                </a:cubicBezTo>
                <a:cubicBezTo>
                  <a:pt x="46" y="295"/>
                  <a:pt x="54" y="308"/>
                  <a:pt x="54" y="333"/>
                </a:cubicBezTo>
                <a:cubicBezTo>
                  <a:pt x="54" y="346"/>
                  <a:pt x="52" y="355"/>
                  <a:pt x="48" y="362"/>
                </a:cubicBezTo>
                <a:cubicBezTo>
                  <a:pt x="42" y="368"/>
                  <a:pt x="37" y="371"/>
                  <a:pt x="28" y="371"/>
                </a:cubicBezTo>
                <a:close/>
                <a:moveTo>
                  <a:pt x="29" y="305"/>
                </a:moveTo>
                <a:cubicBezTo>
                  <a:pt x="20" y="305"/>
                  <a:pt x="15" y="315"/>
                  <a:pt x="15" y="335"/>
                </a:cubicBezTo>
                <a:cubicBezTo>
                  <a:pt x="15" y="353"/>
                  <a:pt x="20" y="362"/>
                  <a:pt x="29" y="362"/>
                </a:cubicBezTo>
                <a:cubicBezTo>
                  <a:pt x="37" y="362"/>
                  <a:pt x="42" y="353"/>
                  <a:pt x="42" y="334"/>
                </a:cubicBezTo>
                <a:cubicBezTo>
                  <a:pt x="42" y="314"/>
                  <a:pt x="37" y="305"/>
                  <a:pt x="29" y="305"/>
                </a:cubicBezTo>
                <a:close/>
                <a:moveTo>
                  <a:pt x="89" y="298"/>
                </a:moveTo>
                <a:cubicBezTo>
                  <a:pt x="89" y="298"/>
                  <a:pt x="89" y="298"/>
                  <a:pt x="89" y="298"/>
                </a:cubicBezTo>
                <a:cubicBezTo>
                  <a:pt x="84" y="298"/>
                  <a:pt x="84" y="298"/>
                  <a:pt x="84" y="298"/>
                </a:cubicBezTo>
                <a:cubicBezTo>
                  <a:pt x="82" y="299"/>
                  <a:pt x="80" y="301"/>
                  <a:pt x="78" y="302"/>
                </a:cubicBezTo>
                <a:cubicBezTo>
                  <a:pt x="77" y="303"/>
                  <a:pt x="75" y="304"/>
                  <a:pt x="73" y="305"/>
                </a:cubicBezTo>
                <a:cubicBezTo>
                  <a:pt x="72" y="306"/>
                  <a:pt x="70" y="307"/>
                  <a:pt x="68" y="307"/>
                </a:cubicBezTo>
                <a:cubicBezTo>
                  <a:pt x="66" y="308"/>
                  <a:pt x="64" y="309"/>
                  <a:pt x="62" y="309"/>
                </a:cubicBezTo>
                <a:cubicBezTo>
                  <a:pt x="62" y="309"/>
                  <a:pt x="62" y="309"/>
                  <a:pt x="62" y="319"/>
                </a:cubicBezTo>
                <a:cubicBezTo>
                  <a:pt x="65" y="318"/>
                  <a:pt x="68" y="318"/>
                  <a:pt x="71" y="316"/>
                </a:cubicBezTo>
                <a:cubicBezTo>
                  <a:pt x="73" y="315"/>
                  <a:pt x="75" y="314"/>
                  <a:pt x="78" y="313"/>
                </a:cubicBezTo>
                <a:cubicBezTo>
                  <a:pt x="78" y="313"/>
                  <a:pt x="78" y="313"/>
                  <a:pt x="78" y="371"/>
                </a:cubicBezTo>
                <a:cubicBezTo>
                  <a:pt x="78" y="371"/>
                  <a:pt x="78" y="371"/>
                  <a:pt x="89" y="371"/>
                </a:cubicBezTo>
                <a:cubicBezTo>
                  <a:pt x="89" y="371"/>
                  <a:pt x="89" y="371"/>
                  <a:pt x="89" y="298"/>
                </a:cubicBezTo>
                <a:close/>
                <a:moveTo>
                  <a:pt x="136" y="298"/>
                </a:moveTo>
                <a:cubicBezTo>
                  <a:pt x="136" y="298"/>
                  <a:pt x="136" y="298"/>
                  <a:pt x="136" y="298"/>
                </a:cubicBezTo>
                <a:cubicBezTo>
                  <a:pt x="131" y="298"/>
                  <a:pt x="131" y="298"/>
                  <a:pt x="131" y="298"/>
                </a:cubicBezTo>
                <a:cubicBezTo>
                  <a:pt x="129" y="299"/>
                  <a:pt x="127" y="301"/>
                  <a:pt x="125" y="302"/>
                </a:cubicBezTo>
                <a:cubicBezTo>
                  <a:pt x="124" y="303"/>
                  <a:pt x="121" y="304"/>
                  <a:pt x="120" y="305"/>
                </a:cubicBezTo>
                <a:cubicBezTo>
                  <a:pt x="118" y="306"/>
                  <a:pt x="116" y="307"/>
                  <a:pt x="115" y="307"/>
                </a:cubicBezTo>
                <a:cubicBezTo>
                  <a:pt x="113" y="308"/>
                  <a:pt x="111" y="309"/>
                  <a:pt x="109" y="309"/>
                </a:cubicBezTo>
                <a:cubicBezTo>
                  <a:pt x="109" y="309"/>
                  <a:pt x="109" y="309"/>
                  <a:pt x="109" y="319"/>
                </a:cubicBezTo>
                <a:cubicBezTo>
                  <a:pt x="112" y="318"/>
                  <a:pt x="115" y="318"/>
                  <a:pt x="117" y="316"/>
                </a:cubicBezTo>
                <a:cubicBezTo>
                  <a:pt x="120" y="315"/>
                  <a:pt x="122" y="314"/>
                  <a:pt x="124" y="313"/>
                </a:cubicBezTo>
                <a:cubicBezTo>
                  <a:pt x="124" y="313"/>
                  <a:pt x="124" y="313"/>
                  <a:pt x="124" y="371"/>
                </a:cubicBezTo>
                <a:cubicBezTo>
                  <a:pt x="124" y="371"/>
                  <a:pt x="124" y="371"/>
                  <a:pt x="136" y="371"/>
                </a:cubicBezTo>
                <a:cubicBezTo>
                  <a:pt x="136" y="371"/>
                  <a:pt x="136" y="371"/>
                  <a:pt x="136" y="298"/>
                </a:cubicBezTo>
                <a:close/>
                <a:moveTo>
                  <a:pt x="182" y="298"/>
                </a:moveTo>
                <a:cubicBezTo>
                  <a:pt x="182" y="298"/>
                  <a:pt x="182" y="298"/>
                  <a:pt x="182" y="298"/>
                </a:cubicBezTo>
                <a:cubicBezTo>
                  <a:pt x="177" y="298"/>
                  <a:pt x="177" y="298"/>
                  <a:pt x="177" y="298"/>
                </a:cubicBezTo>
                <a:cubicBezTo>
                  <a:pt x="175" y="299"/>
                  <a:pt x="174" y="301"/>
                  <a:pt x="172" y="302"/>
                </a:cubicBezTo>
                <a:cubicBezTo>
                  <a:pt x="170" y="303"/>
                  <a:pt x="168" y="304"/>
                  <a:pt x="167" y="305"/>
                </a:cubicBezTo>
                <a:cubicBezTo>
                  <a:pt x="164" y="305"/>
                  <a:pt x="163" y="306"/>
                  <a:pt x="161" y="307"/>
                </a:cubicBezTo>
                <a:cubicBezTo>
                  <a:pt x="159" y="307"/>
                  <a:pt x="157" y="308"/>
                  <a:pt x="156" y="309"/>
                </a:cubicBezTo>
                <a:cubicBezTo>
                  <a:pt x="156" y="309"/>
                  <a:pt x="156" y="309"/>
                  <a:pt x="156" y="319"/>
                </a:cubicBezTo>
                <a:cubicBezTo>
                  <a:pt x="159" y="318"/>
                  <a:pt x="162" y="317"/>
                  <a:pt x="164" y="316"/>
                </a:cubicBezTo>
                <a:cubicBezTo>
                  <a:pt x="166" y="315"/>
                  <a:pt x="169" y="314"/>
                  <a:pt x="170" y="313"/>
                </a:cubicBezTo>
                <a:cubicBezTo>
                  <a:pt x="170" y="313"/>
                  <a:pt x="170" y="313"/>
                  <a:pt x="170" y="371"/>
                </a:cubicBezTo>
                <a:cubicBezTo>
                  <a:pt x="170" y="371"/>
                  <a:pt x="170" y="371"/>
                  <a:pt x="182" y="371"/>
                </a:cubicBezTo>
                <a:cubicBezTo>
                  <a:pt x="182" y="371"/>
                  <a:pt x="182" y="371"/>
                  <a:pt x="182" y="298"/>
                </a:cubicBezTo>
                <a:close/>
                <a:moveTo>
                  <a:pt x="41" y="597"/>
                </a:moveTo>
                <a:cubicBezTo>
                  <a:pt x="41" y="597"/>
                  <a:pt x="41" y="597"/>
                  <a:pt x="41" y="597"/>
                </a:cubicBezTo>
                <a:cubicBezTo>
                  <a:pt x="36" y="597"/>
                  <a:pt x="36" y="597"/>
                  <a:pt x="36" y="597"/>
                </a:cubicBezTo>
                <a:cubicBezTo>
                  <a:pt x="34" y="598"/>
                  <a:pt x="32" y="599"/>
                  <a:pt x="30" y="600"/>
                </a:cubicBezTo>
                <a:cubicBezTo>
                  <a:pt x="29" y="602"/>
                  <a:pt x="26" y="602"/>
                  <a:pt x="25" y="603"/>
                </a:cubicBezTo>
                <a:cubicBezTo>
                  <a:pt x="23" y="605"/>
                  <a:pt x="21" y="605"/>
                  <a:pt x="20" y="606"/>
                </a:cubicBezTo>
                <a:cubicBezTo>
                  <a:pt x="17" y="607"/>
                  <a:pt x="16" y="607"/>
                  <a:pt x="14" y="607"/>
                </a:cubicBezTo>
                <a:cubicBezTo>
                  <a:pt x="14" y="607"/>
                  <a:pt x="14" y="607"/>
                  <a:pt x="14" y="618"/>
                </a:cubicBezTo>
                <a:cubicBezTo>
                  <a:pt x="17" y="617"/>
                  <a:pt x="20" y="616"/>
                  <a:pt x="22" y="615"/>
                </a:cubicBezTo>
                <a:cubicBezTo>
                  <a:pt x="25" y="614"/>
                  <a:pt x="27" y="613"/>
                  <a:pt x="29" y="611"/>
                </a:cubicBezTo>
                <a:cubicBezTo>
                  <a:pt x="29" y="611"/>
                  <a:pt x="29" y="611"/>
                  <a:pt x="29" y="670"/>
                </a:cubicBezTo>
                <a:cubicBezTo>
                  <a:pt x="29" y="670"/>
                  <a:pt x="29" y="670"/>
                  <a:pt x="41" y="670"/>
                </a:cubicBezTo>
                <a:cubicBezTo>
                  <a:pt x="41" y="670"/>
                  <a:pt x="41" y="670"/>
                  <a:pt x="41" y="597"/>
                </a:cubicBezTo>
                <a:close/>
                <a:moveTo>
                  <a:pt x="41" y="492"/>
                </a:moveTo>
                <a:cubicBezTo>
                  <a:pt x="41" y="492"/>
                  <a:pt x="41" y="492"/>
                  <a:pt x="41" y="492"/>
                </a:cubicBezTo>
                <a:cubicBezTo>
                  <a:pt x="37" y="492"/>
                  <a:pt x="37" y="492"/>
                  <a:pt x="37" y="492"/>
                </a:cubicBezTo>
                <a:cubicBezTo>
                  <a:pt x="35" y="494"/>
                  <a:pt x="33" y="495"/>
                  <a:pt x="31" y="496"/>
                </a:cubicBezTo>
                <a:cubicBezTo>
                  <a:pt x="30" y="497"/>
                  <a:pt x="27" y="498"/>
                  <a:pt x="26" y="499"/>
                </a:cubicBezTo>
                <a:cubicBezTo>
                  <a:pt x="24" y="500"/>
                  <a:pt x="22" y="500"/>
                  <a:pt x="20" y="501"/>
                </a:cubicBezTo>
                <a:cubicBezTo>
                  <a:pt x="19" y="502"/>
                  <a:pt x="17" y="503"/>
                  <a:pt x="15" y="503"/>
                </a:cubicBezTo>
                <a:cubicBezTo>
                  <a:pt x="15" y="503"/>
                  <a:pt x="15" y="503"/>
                  <a:pt x="15" y="513"/>
                </a:cubicBezTo>
                <a:cubicBezTo>
                  <a:pt x="18" y="513"/>
                  <a:pt x="21" y="511"/>
                  <a:pt x="23" y="511"/>
                </a:cubicBezTo>
                <a:cubicBezTo>
                  <a:pt x="25" y="510"/>
                  <a:pt x="28" y="508"/>
                  <a:pt x="30" y="507"/>
                </a:cubicBezTo>
                <a:cubicBezTo>
                  <a:pt x="30" y="507"/>
                  <a:pt x="30" y="507"/>
                  <a:pt x="30" y="566"/>
                </a:cubicBezTo>
                <a:cubicBezTo>
                  <a:pt x="30" y="566"/>
                  <a:pt x="30" y="566"/>
                  <a:pt x="41" y="566"/>
                </a:cubicBezTo>
                <a:cubicBezTo>
                  <a:pt x="41" y="566"/>
                  <a:pt x="41" y="566"/>
                  <a:pt x="41" y="492"/>
                </a:cubicBezTo>
                <a:close/>
                <a:moveTo>
                  <a:pt x="985" y="281"/>
                </a:moveTo>
                <a:cubicBezTo>
                  <a:pt x="978" y="281"/>
                  <a:pt x="971" y="278"/>
                  <a:pt x="967" y="272"/>
                </a:cubicBezTo>
                <a:cubicBezTo>
                  <a:pt x="963" y="265"/>
                  <a:pt x="961" y="257"/>
                  <a:pt x="961" y="244"/>
                </a:cubicBezTo>
                <a:cubicBezTo>
                  <a:pt x="961" y="231"/>
                  <a:pt x="963" y="222"/>
                  <a:pt x="967" y="215"/>
                </a:cubicBezTo>
                <a:cubicBezTo>
                  <a:pt x="972" y="208"/>
                  <a:pt x="978" y="205"/>
                  <a:pt x="987" y="205"/>
                </a:cubicBezTo>
                <a:cubicBezTo>
                  <a:pt x="1003" y="205"/>
                  <a:pt x="1011" y="217"/>
                  <a:pt x="1011" y="243"/>
                </a:cubicBezTo>
                <a:cubicBezTo>
                  <a:pt x="1011" y="255"/>
                  <a:pt x="1009" y="265"/>
                  <a:pt x="1004" y="271"/>
                </a:cubicBezTo>
                <a:cubicBezTo>
                  <a:pt x="1000" y="278"/>
                  <a:pt x="993" y="281"/>
                  <a:pt x="985" y="281"/>
                </a:cubicBezTo>
                <a:close/>
                <a:moveTo>
                  <a:pt x="986" y="214"/>
                </a:moveTo>
                <a:cubicBezTo>
                  <a:pt x="977" y="214"/>
                  <a:pt x="973" y="225"/>
                  <a:pt x="973" y="244"/>
                </a:cubicBezTo>
                <a:cubicBezTo>
                  <a:pt x="973" y="262"/>
                  <a:pt x="977" y="271"/>
                  <a:pt x="986" y="271"/>
                </a:cubicBezTo>
                <a:cubicBezTo>
                  <a:pt x="994" y="271"/>
                  <a:pt x="999" y="262"/>
                  <a:pt x="999" y="243"/>
                </a:cubicBezTo>
                <a:cubicBezTo>
                  <a:pt x="999" y="224"/>
                  <a:pt x="994" y="214"/>
                  <a:pt x="986" y="214"/>
                </a:cubicBezTo>
                <a:close/>
                <a:moveTo>
                  <a:pt x="1059" y="207"/>
                </a:moveTo>
                <a:cubicBezTo>
                  <a:pt x="1059" y="207"/>
                  <a:pt x="1059" y="207"/>
                  <a:pt x="1059" y="207"/>
                </a:cubicBezTo>
                <a:cubicBezTo>
                  <a:pt x="1054" y="207"/>
                  <a:pt x="1054" y="207"/>
                  <a:pt x="1054" y="207"/>
                </a:cubicBezTo>
                <a:cubicBezTo>
                  <a:pt x="1051" y="209"/>
                  <a:pt x="1050" y="210"/>
                  <a:pt x="1048" y="211"/>
                </a:cubicBezTo>
                <a:cubicBezTo>
                  <a:pt x="1046" y="212"/>
                  <a:pt x="1044" y="213"/>
                  <a:pt x="1043" y="214"/>
                </a:cubicBezTo>
                <a:cubicBezTo>
                  <a:pt x="1041" y="215"/>
                  <a:pt x="1039" y="215"/>
                  <a:pt x="1038" y="216"/>
                </a:cubicBezTo>
                <a:cubicBezTo>
                  <a:pt x="1035" y="217"/>
                  <a:pt x="1034" y="217"/>
                  <a:pt x="1032" y="218"/>
                </a:cubicBezTo>
                <a:cubicBezTo>
                  <a:pt x="1032" y="218"/>
                  <a:pt x="1032" y="218"/>
                  <a:pt x="1032" y="228"/>
                </a:cubicBezTo>
                <a:cubicBezTo>
                  <a:pt x="1035" y="228"/>
                  <a:pt x="1038" y="226"/>
                  <a:pt x="1040" y="225"/>
                </a:cubicBezTo>
                <a:cubicBezTo>
                  <a:pt x="1043" y="225"/>
                  <a:pt x="1045" y="223"/>
                  <a:pt x="1047" y="222"/>
                </a:cubicBezTo>
                <a:cubicBezTo>
                  <a:pt x="1047" y="222"/>
                  <a:pt x="1047" y="222"/>
                  <a:pt x="1047" y="281"/>
                </a:cubicBezTo>
                <a:cubicBezTo>
                  <a:pt x="1047" y="281"/>
                  <a:pt x="1047" y="281"/>
                  <a:pt x="1059" y="281"/>
                </a:cubicBezTo>
                <a:cubicBezTo>
                  <a:pt x="1059" y="281"/>
                  <a:pt x="1059" y="281"/>
                  <a:pt x="1059" y="207"/>
                </a:cubicBezTo>
                <a:close/>
                <a:moveTo>
                  <a:pt x="1106" y="207"/>
                </a:moveTo>
                <a:cubicBezTo>
                  <a:pt x="1106" y="207"/>
                  <a:pt x="1106" y="207"/>
                  <a:pt x="1106" y="207"/>
                </a:cubicBezTo>
                <a:cubicBezTo>
                  <a:pt x="1101" y="207"/>
                  <a:pt x="1101" y="207"/>
                  <a:pt x="1101" y="207"/>
                </a:cubicBezTo>
                <a:cubicBezTo>
                  <a:pt x="1099" y="209"/>
                  <a:pt x="1098" y="210"/>
                  <a:pt x="1095" y="211"/>
                </a:cubicBezTo>
                <a:cubicBezTo>
                  <a:pt x="1094" y="212"/>
                  <a:pt x="1092" y="213"/>
                  <a:pt x="1090" y="214"/>
                </a:cubicBezTo>
                <a:cubicBezTo>
                  <a:pt x="1089" y="215"/>
                  <a:pt x="1087" y="216"/>
                  <a:pt x="1085" y="217"/>
                </a:cubicBezTo>
                <a:cubicBezTo>
                  <a:pt x="1083" y="217"/>
                  <a:pt x="1082" y="218"/>
                  <a:pt x="1079" y="218"/>
                </a:cubicBezTo>
                <a:cubicBezTo>
                  <a:pt x="1079" y="218"/>
                  <a:pt x="1079" y="218"/>
                  <a:pt x="1079" y="228"/>
                </a:cubicBezTo>
                <a:cubicBezTo>
                  <a:pt x="1082" y="228"/>
                  <a:pt x="1085" y="227"/>
                  <a:pt x="1087" y="225"/>
                </a:cubicBezTo>
                <a:cubicBezTo>
                  <a:pt x="1090" y="225"/>
                  <a:pt x="1092" y="223"/>
                  <a:pt x="1095" y="222"/>
                </a:cubicBezTo>
                <a:cubicBezTo>
                  <a:pt x="1095" y="222"/>
                  <a:pt x="1095" y="222"/>
                  <a:pt x="1095" y="281"/>
                </a:cubicBezTo>
                <a:cubicBezTo>
                  <a:pt x="1095" y="281"/>
                  <a:pt x="1095" y="281"/>
                  <a:pt x="1106" y="281"/>
                </a:cubicBezTo>
                <a:cubicBezTo>
                  <a:pt x="1106" y="281"/>
                  <a:pt x="1106" y="281"/>
                  <a:pt x="1106" y="207"/>
                </a:cubicBezTo>
                <a:close/>
                <a:moveTo>
                  <a:pt x="1153" y="207"/>
                </a:moveTo>
                <a:cubicBezTo>
                  <a:pt x="1153" y="207"/>
                  <a:pt x="1153" y="207"/>
                  <a:pt x="1153" y="207"/>
                </a:cubicBezTo>
                <a:cubicBezTo>
                  <a:pt x="1148" y="207"/>
                  <a:pt x="1148" y="207"/>
                  <a:pt x="1148" y="207"/>
                </a:cubicBezTo>
                <a:cubicBezTo>
                  <a:pt x="1146" y="209"/>
                  <a:pt x="1145" y="210"/>
                  <a:pt x="1143" y="211"/>
                </a:cubicBezTo>
                <a:cubicBezTo>
                  <a:pt x="1141" y="212"/>
                  <a:pt x="1139" y="213"/>
                  <a:pt x="1137" y="214"/>
                </a:cubicBezTo>
                <a:cubicBezTo>
                  <a:pt x="1135" y="215"/>
                  <a:pt x="1134" y="216"/>
                  <a:pt x="1132" y="217"/>
                </a:cubicBezTo>
                <a:cubicBezTo>
                  <a:pt x="1130" y="217"/>
                  <a:pt x="1128" y="218"/>
                  <a:pt x="1126" y="218"/>
                </a:cubicBezTo>
                <a:cubicBezTo>
                  <a:pt x="1126" y="218"/>
                  <a:pt x="1126" y="218"/>
                  <a:pt x="1126" y="228"/>
                </a:cubicBezTo>
                <a:cubicBezTo>
                  <a:pt x="1129" y="228"/>
                  <a:pt x="1132" y="227"/>
                  <a:pt x="1134" y="225"/>
                </a:cubicBezTo>
                <a:cubicBezTo>
                  <a:pt x="1137" y="225"/>
                  <a:pt x="1140" y="223"/>
                  <a:pt x="1141" y="222"/>
                </a:cubicBezTo>
                <a:cubicBezTo>
                  <a:pt x="1141" y="222"/>
                  <a:pt x="1141" y="222"/>
                  <a:pt x="1141" y="281"/>
                </a:cubicBezTo>
                <a:cubicBezTo>
                  <a:pt x="1141" y="281"/>
                  <a:pt x="1141" y="281"/>
                  <a:pt x="1153" y="281"/>
                </a:cubicBezTo>
                <a:cubicBezTo>
                  <a:pt x="1153" y="281"/>
                  <a:pt x="1153" y="281"/>
                  <a:pt x="1153" y="207"/>
                </a:cubicBezTo>
                <a:close/>
                <a:moveTo>
                  <a:pt x="1200" y="207"/>
                </a:moveTo>
                <a:cubicBezTo>
                  <a:pt x="1200" y="207"/>
                  <a:pt x="1200" y="207"/>
                  <a:pt x="1200" y="207"/>
                </a:cubicBezTo>
                <a:cubicBezTo>
                  <a:pt x="1195" y="207"/>
                  <a:pt x="1195" y="207"/>
                  <a:pt x="1195" y="207"/>
                </a:cubicBezTo>
                <a:cubicBezTo>
                  <a:pt x="1193" y="209"/>
                  <a:pt x="1191" y="210"/>
                  <a:pt x="1189" y="211"/>
                </a:cubicBezTo>
                <a:cubicBezTo>
                  <a:pt x="1188" y="212"/>
                  <a:pt x="1186" y="213"/>
                  <a:pt x="1184" y="214"/>
                </a:cubicBezTo>
                <a:cubicBezTo>
                  <a:pt x="1183" y="215"/>
                  <a:pt x="1180" y="216"/>
                  <a:pt x="1179" y="217"/>
                </a:cubicBezTo>
                <a:cubicBezTo>
                  <a:pt x="1177" y="217"/>
                  <a:pt x="1175" y="218"/>
                  <a:pt x="1173" y="218"/>
                </a:cubicBezTo>
                <a:cubicBezTo>
                  <a:pt x="1173" y="218"/>
                  <a:pt x="1173" y="218"/>
                  <a:pt x="1173" y="228"/>
                </a:cubicBezTo>
                <a:cubicBezTo>
                  <a:pt x="1176" y="228"/>
                  <a:pt x="1179" y="227"/>
                  <a:pt x="1181" y="225"/>
                </a:cubicBezTo>
                <a:cubicBezTo>
                  <a:pt x="1184" y="225"/>
                  <a:pt x="1186" y="223"/>
                  <a:pt x="1189" y="222"/>
                </a:cubicBezTo>
                <a:cubicBezTo>
                  <a:pt x="1189" y="222"/>
                  <a:pt x="1189" y="222"/>
                  <a:pt x="1189" y="281"/>
                </a:cubicBezTo>
                <a:cubicBezTo>
                  <a:pt x="1189" y="281"/>
                  <a:pt x="1189" y="281"/>
                  <a:pt x="1200" y="281"/>
                </a:cubicBezTo>
                <a:cubicBezTo>
                  <a:pt x="1200" y="281"/>
                  <a:pt x="1200" y="281"/>
                  <a:pt x="1200" y="207"/>
                </a:cubicBezTo>
                <a:close/>
                <a:moveTo>
                  <a:pt x="1323" y="207"/>
                </a:moveTo>
                <a:cubicBezTo>
                  <a:pt x="1323" y="207"/>
                  <a:pt x="1323" y="207"/>
                  <a:pt x="1323" y="207"/>
                </a:cubicBezTo>
                <a:cubicBezTo>
                  <a:pt x="1318" y="207"/>
                  <a:pt x="1318" y="207"/>
                  <a:pt x="1318" y="207"/>
                </a:cubicBezTo>
                <a:cubicBezTo>
                  <a:pt x="1316" y="209"/>
                  <a:pt x="1314" y="210"/>
                  <a:pt x="1312" y="211"/>
                </a:cubicBezTo>
                <a:cubicBezTo>
                  <a:pt x="1311" y="212"/>
                  <a:pt x="1309" y="213"/>
                  <a:pt x="1307" y="214"/>
                </a:cubicBezTo>
                <a:cubicBezTo>
                  <a:pt x="1306" y="215"/>
                  <a:pt x="1304" y="216"/>
                  <a:pt x="1302" y="217"/>
                </a:cubicBezTo>
                <a:cubicBezTo>
                  <a:pt x="1300" y="217"/>
                  <a:pt x="1299" y="218"/>
                  <a:pt x="1296" y="218"/>
                </a:cubicBezTo>
                <a:cubicBezTo>
                  <a:pt x="1296" y="218"/>
                  <a:pt x="1296" y="218"/>
                  <a:pt x="1296" y="228"/>
                </a:cubicBezTo>
                <a:cubicBezTo>
                  <a:pt x="1299" y="228"/>
                  <a:pt x="1302" y="227"/>
                  <a:pt x="1305" y="225"/>
                </a:cubicBezTo>
                <a:cubicBezTo>
                  <a:pt x="1307" y="225"/>
                  <a:pt x="1309" y="223"/>
                  <a:pt x="1312" y="222"/>
                </a:cubicBezTo>
                <a:cubicBezTo>
                  <a:pt x="1312" y="222"/>
                  <a:pt x="1312" y="222"/>
                  <a:pt x="1312" y="281"/>
                </a:cubicBezTo>
                <a:cubicBezTo>
                  <a:pt x="1312" y="281"/>
                  <a:pt x="1312" y="281"/>
                  <a:pt x="1323" y="281"/>
                </a:cubicBezTo>
                <a:cubicBezTo>
                  <a:pt x="1323" y="281"/>
                  <a:pt x="1323" y="281"/>
                  <a:pt x="1323" y="207"/>
                </a:cubicBezTo>
                <a:close/>
                <a:moveTo>
                  <a:pt x="1371" y="207"/>
                </a:moveTo>
                <a:cubicBezTo>
                  <a:pt x="1371" y="207"/>
                  <a:pt x="1371" y="207"/>
                  <a:pt x="1371" y="207"/>
                </a:cubicBezTo>
                <a:cubicBezTo>
                  <a:pt x="1366" y="207"/>
                  <a:pt x="1366" y="207"/>
                  <a:pt x="1366" y="207"/>
                </a:cubicBezTo>
                <a:cubicBezTo>
                  <a:pt x="1363" y="209"/>
                  <a:pt x="1362" y="210"/>
                  <a:pt x="1360" y="211"/>
                </a:cubicBezTo>
                <a:cubicBezTo>
                  <a:pt x="1358" y="212"/>
                  <a:pt x="1356" y="213"/>
                  <a:pt x="1355" y="214"/>
                </a:cubicBezTo>
                <a:cubicBezTo>
                  <a:pt x="1353" y="215"/>
                  <a:pt x="1351" y="216"/>
                  <a:pt x="1350" y="217"/>
                </a:cubicBezTo>
                <a:cubicBezTo>
                  <a:pt x="1347" y="217"/>
                  <a:pt x="1346" y="218"/>
                  <a:pt x="1344" y="218"/>
                </a:cubicBezTo>
                <a:cubicBezTo>
                  <a:pt x="1344" y="218"/>
                  <a:pt x="1344" y="218"/>
                  <a:pt x="1344" y="228"/>
                </a:cubicBezTo>
                <a:cubicBezTo>
                  <a:pt x="1347" y="228"/>
                  <a:pt x="1350" y="227"/>
                  <a:pt x="1352" y="225"/>
                </a:cubicBezTo>
                <a:cubicBezTo>
                  <a:pt x="1355" y="225"/>
                  <a:pt x="1357" y="223"/>
                  <a:pt x="1359" y="222"/>
                </a:cubicBezTo>
                <a:cubicBezTo>
                  <a:pt x="1359" y="222"/>
                  <a:pt x="1359" y="222"/>
                  <a:pt x="1359" y="281"/>
                </a:cubicBezTo>
                <a:cubicBezTo>
                  <a:pt x="1359" y="281"/>
                  <a:pt x="1359" y="281"/>
                  <a:pt x="1371" y="281"/>
                </a:cubicBezTo>
                <a:cubicBezTo>
                  <a:pt x="1371" y="281"/>
                  <a:pt x="1371" y="281"/>
                  <a:pt x="1371" y="207"/>
                </a:cubicBezTo>
                <a:close/>
                <a:moveTo>
                  <a:pt x="1419" y="207"/>
                </a:moveTo>
                <a:cubicBezTo>
                  <a:pt x="1419" y="207"/>
                  <a:pt x="1419" y="207"/>
                  <a:pt x="1419" y="207"/>
                </a:cubicBezTo>
                <a:cubicBezTo>
                  <a:pt x="1414" y="207"/>
                  <a:pt x="1414" y="207"/>
                  <a:pt x="1414" y="207"/>
                </a:cubicBezTo>
                <a:cubicBezTo>
                  <a:pt x="1412" y="209"/>
                  <a:pt x="1410" y="210"/>
                  <a:pt x="1408" y="211"/>
                </a:cubicBezTo>
                <a:cubicBezTo>
                  <a:pt x="1406" y="212"/>
                  <a:pt x="1405" y="213"/>
                  <a:pt x="1402" y="214"/>
                </a:cubicBezTo>
                <a:cubicBezTo>
                  <a:pt x="1401" y="215"/>
                  <a:pt x="1399" y="216"/>
                  <a:pt x="1397" y="217"/>
                </a:cubicBezTo>
                <a:cubicBezTo>
                  <a:pt x="1395" y="217"/>
                  <a:pt x="1394" y="218"/>
                  <a:pt x="1391" y="218"/>
                </a:cubicBezTo>
                <a:cubicBezTo>
                  <a:pt x="1391" y="218"/>
                  <a:pt x="1391" y="218"/>
                  <a:pt x="1391" y="228"/>
                </a:cubicBezTo>
                <a:cubicBezTo>
                  <a:pt x="1394" y="228"/>
                  <a:pt x="1397" y="227"/>
                  <a:pt x="1400" y="225"/>
                </a:cubicBezTo>
                <a:cubicBezTo>
                  <a:pt x="1402" y="225"/>
                  <a:pt x="1405" y="223"/>
                  <a:pt x="1407" y="222"/>
                </a:cubicBezTo>
                <a:cubicBezTo>
                  <a:pt x="1407" y="222"/>
                  <a:pt x="1407" y="222"/>
                  <a:pt x="1407" y="281"/>
                </a:cubicBezTo>
                <a:cubicBezTo>
                  <a:pt x="1407" y="281"/>
                  <a:pt x="1407" y="281"/>
                  <a:pt x="1419" y="281"/>
                </a:cubicBezTo>
                <a:cubicBezTo>
                  <a:pt x="1419" y="281"/>
                  <a:pt x="1419" y="281"/>
                  <a:pt x="1419" y="207"/>
                </a:cubicBezTo>
                <a:close/>
                <a:moveTo>
                  <a:pt x="1465" y="207"/>
                </a:moveTo>
                <a:cubicBezTo>
                  <a:pt x="1465" y="207"/>
                  <a:pt x="1465" y="207"/>
                  <a:pt x="1465" y="207"/>
                </a:cubicBezTo>
                <a:cubicBezTo>
                  <a:pt x="1461" y="207"/>
                  <a:pt x="1461" y="207"/>
                  <a:pt x="1461" y="207"/>
                </a:cubicBezTo>
                <a:cubicBezTo>
                  <a:pt x="1459" y="209"/>
                  <a:pt x="1457" y="210"/>
                  <a:pt x="1455" y="211"/>
                </a:cubicBezTo>
                <a:cubicBezTo>
                  <a:pt x="1454" y="212"/>
                  <a:pt x="1451" y="213"/>
                  <a:pt x="1450" y="214"/>
                </a:cubicBezTo>
                <a:cubicBezTo>
                  <a:pt x="1448" y="215"/>
                  <a:pt x="1446" y="215"/>
                  <a:pt x="1444" y="216"/>
                </a:cubicBezTo>
                <a:cubicBezTo>
                  <a:pt x="1443" y="217"/>
                  <a:pt x="1440" y="217"/>
                  <a:pt x="1439" y="218"/>
                </a:cubicBezTo>
                <a:cubicBezTo>
                  <a:pt x="1439" y="218"/>
                  <a:pt x="1439" y="218"/>
                  <a:pt x="1439" y="228"/>
                </a:cubicBezTo>
                <a:cubicBezTo>
                  <a:pt x="1442" y="228"/>
                  <a:pt x="1445" y="226"/>
                  <a:pt x="1447" y="225"/>
                </a:cubicBezTo>
                <a:cubicBezTo>
                  <a:pt x="1449" y="225"/>
                  <a:pt x="1452" y="223"/>
                  <a:pt x="1454" y="222"/>
                </a:cubicBezTo>
                <a:cubicBezTo>
                  <a:pt x="1454" y="222"/>
                  <a:pt x="1454" y="222"/>
                  <a:pt x="1454" y="281"/>
                </a:cubicBezTo>
                <a:cubicBezTo>
                  <a:pt x="1454" y="281"/>
                  <a:pt x="1454" y="281"/>
                  <a:pt x="1465" y="281"/>
                </a:cubicBezTo>
                <a:cubicBezTo>
                  <a:pt x="1465" y="281"/>
                  <a:pt x="1465" y="281"/>
                  <a:pt x="1465" y="207"/>
                </a:cubicBezTo>
                <a:close/>
                <a:moveTo>
                  <a:pt x="1221" y="240"/>
                </a:moveTo>
                <a:cubicBezTo>
                  <a:pt x="1221" y="240"/>
                  <a:pt x="1221" y="240"/>
                  <a:pt x="1221" y="240"/>
                </a:cubicBezTo>
                <a:cubicBezTo>
                  <a:pt x="1220" y="248"/>
                  <a:pt x="1220" y="248"/>
                  <a:pt x="1220" y="248"/>
                </a:cubicBezTo>
                <a:cubicBezTo>
                  <a:pt x="1227" y="248"/>
                  <a:pt x="1228" y="251"/>
                  <a:pt x="1228" y="254"/>
                </a:cubicBezTo>
                <a:cubicBezTo>
                  <a:pt x="1228" y="256"/>
                  <a:pt x="1227" y="258"/>
                  <a:pt x="1227" y="261"/>
                </a:cubicBezTo>
                <a:cubicBezTo>
                  <a:pt x="1227" y="263"/>
                  <a:pt x="1227" y="266"/>
                  <a:pt x="1227" y="268"/>
                </a:cubicBezTo>
                <a:cubicBezTo>
                  <a:pt x="1227" y="277"/>
                  <a:pt x="1233" y="281"/>
                  <a:pt x="1241" y="281"/>
                </a:cubicBezTo>
                <a:cubicBezTo>
                  <a:pt x="1241" y="281"/>
                  <a:pt x="1241" y="281"/>
                  <a:pt x="1245" y="281"/>
                </a:cubicBezTo>
                <a:cubicBezTo>
                  <a:pt x="1245" y="281"/>
                  <a:pt x="1245" y="281"/>
                  <a:pt x="1245" y="272"/>
                </a:cubicBezTo>
                <a:cubicBezTo>
                  <a:pt x="1245" y="272"/>
                  <a:pt x="1245" y="272"/>
                  <a:pt x="1243" y="272"/>
                </a:cubicBezTo>
                <a:cubicBezTo>
                  <a:pt x="1240" y="272"/>
                  <a:pt x="1239" y="269"/>
                  <a:pt x="1239" y="266"/>
                </a:cubicBezTo>
                <a:cubicBezTo>
                  <a:pt x="1239" y="264"/>
                  <a:pt x="1239" y="263"/>
                  <a:pt x="1239" y="261"/>
                </a:cubicBezTo>
                <a:cubicBezTo>
                  <a:pt x="1239" y="259"/>
                  <a:pt x="1239" y="257"/>
                  <a:pt x="1239" y="255"/>
                </a:cubicBezTo>
                <a:cubicBezTo>
                  <a:pt x="1239" y="247"/>
                  <a:pt x="1236" y="245"/>
                  <a:pt x="1231" y="244"/>
                </a:cubicBezTo>
                <a:cubicBezTo>
                  <a:pt x="1231" y="244"/>
                  <a:pt x="1231" y="244"/>
                  <a:pt x="1231" y="243"/>
                </a:cubicBezTo>
                <a:cubicBezTo>
                  <a:pt x="1236" y="242"/>
                  <a:pt x="1239" y="240"/>
                  <a:pt x="1239" y="232"/>
                </a:cubicBezTo>
                <a:cubicBezTo>
                  <a:pt x="1239" y="230"/>
                  <a:pt x="1239" y="228"/>
                  <a:pt x="1239" y="226"/>
                </a:cubicBezTo>
                <a:cubicBezTo>
                  <a:pt x="1239" y="225"/>
                  <a:pt x="1239" y="223"/>
                  <a:pt x="1239" y="222"/>
                </a:cubicBezTo>
                <a:cubicBezTo>
                  <a:pt x="1239" y="218"/>
                  <a:pt x="1240" y="216"/>
                  <a:pt x="1243" y="216"/>
                </a:cubicBezTo>
                <a:cubicBezTo>
                  <a:pt x="1243" y="216"/>
                  <a:pt x="1243" y="216"/>
                  <a:pt x="1245" y="216"/>
                </a:cubicBezTo>
                <a:cubicBezTo>
                  <a:pt x="1245" y="216"/>
                  <a:pt x="1245" y="216"/>
                  <a:pt x="1245" y="206"/>
                </a:cubicBezTo>
                <a:cubicBezTo>
                  <a:pt x="1245" y="206"/>
                  <a:pt x="1245" y="206"/>
                  <a:pt x="1241" y="206"/>
                </a:cubicBezTo>
                <a:cubicBezTo>
                  <a:pt x="1232" y="206"/>
                  <a:pt x="1227" y="210"/>
                  <a:pt x="1227" y="219"/>
                </a:cubicBezTo>
                <a:cubicBezTo>
                  <a:pt x="1227" y="221"/>
                  <a:pt x="1227" y="224"/>
                  <a:pt x="1227" y="226"/>
                </a:cubicBezTo>
                <a:cubicBezTo>
                  <a:pt x="1227" y="229"/>
                  <a:pt x="1228" y="231"/>
                  <a:pt x="1228" y="233"/>
                </a:cubicBezTo>
                <a:cubicBezTo>
                  <a:pt x="1228" y="236"/>
                  <a:pt x="1227" y="239"/>
                  <a:pt x="1221" y="240"/>
                </a:cubicBezTo>
                <a:close/>
                <a:moveTo>
                  <a:pt x="1276" y="248"/>
                </a:moveTo>
                <a:cubicBezTo>
                  <a:pt x="1276" y="248"/>
                  <a:pt x="1276" y="248"/>
                  <a:pt x="1276" y="248"/>
                </a:cubicBezTo>
                <a:cubicBezTo>
                  <a:pt x="1276" y="240"/>
                  <a:pt x="1276" y="240"/>
                  <a:pt x="1276" y="240"/>
                </a:cubicBezTo>
                <a:cubicBezTo>
                  <a:pt x="1269" y="239"/>
                  <a:pt x="1269" y="236"/>
                  <a:pt x="1269" y="233"/>
                </a:cubicBezTo>
                <a:cubicBezTo>
                  <a:pt x="1269" y="231"/>
                  <a:pt x="1269" y="229"/>
                  <a:pt x="1269" y="226"/>
                </a:cubicBezTo>
                <a:cubicBezTo>
                  <a:pt x="1270" y="224"/>
                  <a:pt x="1270" y="221"/>
                  <a:pt x="1270" y="219"/>
                </a:cubicBezTo>
                <a:cubicBezTo>
                  <a:pt x="1270" y="210"/>
                  <a:pt x="1265" y="206"/>
                  <a:pt x="1255" y="206"/>
                </a:cubicBezTo>
                <a:cubicBezTo>
                  <a:pt x="1255" y="206"/>
                  <a:pt x="1255" y="206"/>
                  <a:pt x="1252" y="206"/>
                </a:cubicBezTo>
                <a:cubicBezTo>
                  <a:pt x="1252" y="206"/>
                  <a:pt x="1252" y="206"/>
                  <a:pt x="1252" y="216"/>
                </a:cubicBezTo>
                <a:cubicBezTo>
                  <a:pt x="1252" y="216"/>
                  <a:pt x="1252" y="216"/>
                  <a:pt x="1253" y="216"/>
                </a:cubicBezTo>
                <a:cubicBezTo>
                  <a:pt x="1257" y="216"/>
                  <a:pt x="1258" y="218"/>
                  <a:pt x="1258" y="222"/>
                </a:cubicBezTo>
                <a:cubicBezTo>
                  <a:pt x="1258" y="223"/>
                  <a:pt x="1258" y="225"/>
                  <a:pt x="1258" y="226"/>
                </a:cubicBezTo>
                <a:cubicBezTo>
                  <a:pt x="1258" y="228"/>
                  <a:pt x="1258" y="230"/>
                  <a:pt x="1258" y="232"/>
                </a:cubicBezTo>
                <a:cubicBezTo>
                  <a:pt x="1258" y="240"/>
                  <a:pt x="1260" y="242"/>
                  <a:pt x="1266" y="243"/>
                </a:cubicBezTo>
                <a:cubicBezTo>
                  <a:pt x="1266" y="243"/>
                  <a:pt x="1266" y="243"/>
                  <a:pt x="1266" y="244"/>
                </a:cubicBezTo>
                <a:cubicBezTo>
                  <a:pt x="1260" y="245"/>
                  <a:pt x="1258" y="247"/>
                  <a:pt x="1258" y="255"/>
                </a:cubicBezTo>
                <a:cubicBezTo>
                  <a:pt x="1258" y="257"/>
                  <a:pt x="1258" y="259"/>
                  <a:pt x="1258" y="261"/>
                </a:cubicBezTo>
                <a:cubicBezTo>
                  <a:pt x="1258" y="263"/>
                  <a:pt x="1258" y="264"/>
                  <a:pt x="1258" y="266"/>
                </a:cubicBezTo>
                <a:cubicBezTo>
                  <a:pt x="1258" y="269"/>
                  <a:pt x="1257" y="272"/>
                  <a:pt x="1253" y="272"/>
                </a:cubicBezTo>
                <a:cubicBezTo>
                  <a:pt x="1253" y="272"/>
                  <a:pt x="1253" y="272"/>
                  <a:pt x="1252" y="272"/>
                </a:cubicBezTo>
                <a:cubicBezTo>
                  <a:pt x="1252" y="272"/>
                  <a:pt x="1252" y="272"/>
                  <a:pt x="1252" y="281"/>
                </a:cubicBezTo>
                <a:cubicBezTo>
                  <a:pt x="1252" y="281"/>
                  <a:pt x="1252" y="281"/>
                  <a:pt x="1255" y="281"/>
                </a:cubicBezTo>
                <a:cubicBezTo>
                  <a:pt x="1264" y="281"/>
                  <a:pt x="1270" y="277"/>
                  <a:pt x="1270" y="268"/>
                </a:cubicBezTo>
                <a:cubicBezTo>
                  <a:pt x="1270" y="266"/>
                  <a:pt x="1270" y="263"/>
                  <a:pt x="1269" y="261"/>
                </a:cubicBezTo>
                <a:cubicBezTo>
                  <a:pt x="1269" y="258"/>
                  <a:pt x="1269" y="256"/>
                  <a:pt x="1269" y="254"/>
                </a:cubicBezTo>
                <a:cubicBezTo>
                  <a:pt x="1269" y="251"/>
                  <a:pt x="1269" y="248"/>
                  <a:pt x="1276" y="248"/>
                </a:cubicBezTo>
                <a:close/>
                <a:moveTo>
                  <a:pt x="1603" y="240"/>
                </a:moveTo>
                <a:cubicBezTo>
                  <a:pt x="1603" y="240"/>
                  <a:pt x="1603" y="240"/>
                  <a:pt x="1603" y="240"/>
                </a:cubicBezTo>
                <a:cubicBezTo>
                  <a:pt x="1603" y="248"/>
                  <a:pt x="1603" y="248"/>
                  <a:pt x="1603" y="248"/>
                </a:cubicBezTo>
                <a:cubicBezTo>
                  <a:pt x="1609" y="248"/>
                  <a:pt x="1610" y="251"/>
                  <a:pt x="1610" y="254"/>
                </a:cubicBezTo>
                <a:cubicBezTo>
                  <a:pt x="1610" y="256"/>
                  <a:pt x="1610" y="258"/>
                  <a:pt x="1610" y="261"/>
                </a:cubicBezTo>
                <a:cubicBezTo>
                  <a:pt x="1609" y="263"/>
                  <a:pt x="1609" y="266"/>
                  <a:pt x="1609" y="268"/>
                </a:cubicBezTo>
                <a:cubicBezTo>
                  <a:pt x="1609" y="277"/>
                  <a:pt x="1615" y="281"/>
                  <a:pt x="1623" y="281"/>
                </a:cubicBezTo>
                <a:cubicBezTo>
                  <a:pt x="1623" y="281"/>
                  <a:pt x="1623" y="281"/>
                  <a:pt x="1627" y="281"/>
                </a:cubicBezTo>
                <a:cubicBezTo>
                  <a:pt x="1627" y="281"/>
                  <a:pt x="1627" y="281"/>
                  <a:pt x="1627" y="272"/>
                </a:cubicBezTo>
                <a:cubicBezTo>
                  <a:pt x="1627" y="272"/>
                  <a:pt x="1627" y="272"/>
                  <a:pt x="1626" y="272"/>
                </a:cubicBezTo>
                <a:cubicBezTo>
                  <a:pt x="1622" y="272"/>
                  <a:pt x="1621" y="269"/>
                  <a:pt x="1621" y="266"/>
                </a:cubicBezTo>
                <a:cubicBezTo>
                  <a:pt x="1621" y="264"/>
                  <a:pt x="1621" y="263"/>
                  <a:pt x="1621" y="261"/>
                </a:cubicBezTo>
                <a:cubicBezTo>
                  <a:pt x="1621" y="259"/>
                  <a:pt x="1622" y="257"/>
                  <a:pt x="1622" y="255"/>
                </a:cubicBezTo>
                <a:cubicBezTo>
                  <a:pt x="1622" y="247"/>
                  <a:pt x="1619" y="245"/>
                  <a:pt x="1613" y="244"/>
                </a:cubicBezTo>
                <a:cubicBezTo>
                  <a:pt x="1613" y="244"/>
                  <a:pt x="1613" y="244"/>
                  <a:pt x="1613" y="243"/>
                </a:cubicBezTo>
                <a:cubicBezTo>
                  <a:pt x="1619" y="242"/>
                  <a:pt x="1622" y="240"/>
                  <a:pt x="1622" y="232"/>
                </a:cubicBezTo>
                <a:cubicBezTo>
                  <a:pt x="1622" y="230"/>
                  <a:pt x="1621" y="228"/>
                  <a:pt x="1621" y="226"/>
                </a:cubicBezTo>
                <a:cubicBezTo>
                  <a:pt x="1621" y="225"/>
                  <a:pt x="1621" y="223"/>
                  <a:pt x="1621" y="222"/>
                </a:cubicBezTo>
                <a:cubicBezTo>
                  <a:pt x="1621" y="218"/>
                  <a:pt x="1622" y="216"/>
                  <a:pt x="1626" y="216"/>
                </a:cubicBezTo>
                <a:cubicBezTo>
                  <a:pt x="1626" y="216"/>
                  <a:pt x="1626" y="216"/>
                  <a:pt x="1627" y="216"/>
                </a:cubicBezTo>
                <a:cubicBezTo>
                  <a:pt x="1627" y="216"/>
                  <a:pt x="1627" y="216"/>
                  <a:pt x="1627" y="206"/>
                </a:cubicBezTo>
                <a:cubicBezTo>
                  <a:pt x="1627" y="206"/>
                  <a:pt x="1627" y="206"/>
                  <a:pt x="1623" y="206"/>
                </a:cubicBezTo>
                <a:cubicBezTo>
                  <a:pt x="1614" y="206"/>
                  <a:pt x="1609" y="210"/>
                  <a:pt x="1609" y="219"/>
                </a:cubicBezTo>
                <a:cubicBezTo>
                  <a:pt x="1609" y="221"/>
                  <a:pt x="1609" y="224"/>
                  <a:pt x="1609" y="226"/>
                </a:cubicBezTo>
                <a:cubicBezTo>
                  <a:pt x="1610" y="229"/>
                  <a:pt x="1610" y="231"/>
                  <a:pt x="1610" y="233"/>
                </a:cubicBezTo>
                <a:cubicBezTo>
                  <a:pt x="1610" y="236"/>
                  <a:pt x="1609" y="239"/>
                  <a:pt x="1603" y="240"/>
                </a:cubicBezTo>
                <a:close/>
                <a:moveTo>
                  <a:pt x="1658" y="248"/>
                </a:moveTo>
                <a:cubicBezTo>
                  <a:pt x="1658" y="248"/>
                  <a:pt x="1658" y="248"/>
                  <a:pt x="1658" y="248"/>
                </a:cubicBezTo>
                <a:cubicBezTo>
                  <a:pt x="1658" y="240"/>
                  <a:pt x="1658" y="240"/>
                  <a:pt x="1658" y="240"/>
                </a:cubicBezTo>
                <a:cubicBezTo>
                  <a:pt x="1651" y="239"/>
                  <a:pt x="1651" y="236"/>
                  <a:pt x="1651" y="233"/>
                </a:cubicBezTo>
                <a:cubicBezTo>
                  <a:pt x="1651" y="231"/>
                  <a:pt x="1651" y="229"/>
                  <a:pt x="1651" y="226"/>
                </a:cubicBezTo>
                <a:cubicBezTo>
                  <a:pt x="1652" y="224"/>
                  <a:pt x="1652" y="221"/>
                  <a:pt x="1652" y="219"/>
                </a:cubicBezTo>
                <a:cubicBezTo>
                  <a:pt x="1652" y="210"/>
                  <a:pt x="1647" y="206"/>
                  <a:pt x="1637" y="206"/>
                </a:cubicBezTo>
                <a:cubicBezTo>
                  <a:pt x="1637" y="206"/>
                  <a:pt x="1637" y="206"/>
                  <a:pt x="1634" y="206"/>
                </a:cubicBezTo>
                <a:cubicBezTo>
                  <a:pt x="1634" y="206"/>
                  <a:pt x="1634" y="206"/>
                  <a:pt x="1634" y="216"/>
                </a:cubicBezTo>
                <a:cubicBezTo>
                  <a:pt x="1634" y="216"/>
                  <a:pt x="1634" y="216"/>
                  <a:pt x="1635" y="216"/>
                </a:cubicBezTo>
                <a:cubicBezTo>
                  <a:pt x="1639" y="216"/>
                  <a:pt x="1640" y="218"/>
                  <a:pt x="1640" y="222"/>
                </a:cubicBezTo>
                <a:cubicBezTo>
                  <a:pt x="1640" y="223"/>
                  <a:pt x="1640" y="225"/>
                  <a:pt x="1640" y="226"/>
                </a:cubicBezTo>
                <a:cubicBezTo>
                  <a:pt x="1640" y="228"/>
                  <a:pt x="1640" y="230"/>
                  <a:pt x="1640" y="232"/>
                </a:cubicBezTo>
                <a:cubicBezTo>
                  <a:pt x="1640" y="240"/>
                  <a:pt x="1642" y="242"/>
                  <a:pt x="1648" y="243"/>
                </a:cubicBezTo>
                <a:cubicBezTo>
                  <a:pt x="1648" y="243"/>
                  <a:pt x="1648" y="243"/>
                  <a:pt x="1648" y="244"/>
                </a:cubicBezTo>
                <a:cubicBezTo>
                  <a:pt x="1642" y="245"/>
                  <a:pt x="1640" y="247"/>
                  <a:pt x="1640" y="255"/>
                </a:cubicBezTo>
                <a:cubicBezTo>
                  <a:pt x="1640" y="257"/>
                  <a:pt x="1640" y="259"/>
                  <a:pt x="1640" y="261"/>
                </a:cubicBezTo>
                <a:cubicBezTo>
                  <a:pt x="1640" y="263"/>
                  <a:pt x="1640" y="264"/>
                  <a:pt x="1640" y="266"/>
                </a:cubicBezTo>
                <a:cubicBezTo>
                  <a:pt x="1640" y="269"/>
                  <a:pt x="1639" y="272"/>
                  <a:pt x="1635" y="272"/>
                </a:cubicBezTo>
                <a:cubicBezTo>
                  <a:pt x="1635" y="272"/>
                  <a:pt x="1635" y="272"/>
                  <a:pt x="1634" y="272"/>
                </a:cubicBezTo>
                <a:cubicBezTo>
                  <a:pt x="1634" y="272"/>
                  <a:pt x="1634" y="272"/>
                  <a:pt x="1634" y="281"/>
                </a:cubicBezTo>
                <a:cubicBezTo>
                  <a:pt x="1634" y="281"/>
                  <a:pt x="1634" y="281"/>
                  <a:pt x="1637" y="281"/>
                </a:cubicBezTo>
                <a:cubicBezTo>
                  <a:pt x="1646" y="281"/>
                  <a:pt x="1652" y="277"/>
                  <a:pt x="1652" y="268"/>
                </a:cubicBezTo>
                <a:cubicBezTo>
                  <a:pt x="1652" y="266"/>
                  <a:pt x="1652" y="263"/>
                  <a:pt x="1651" y="261"/>
                </a:cubicBezTo>
                <a:cubicBezTo>
                  <a:pt x="1651" y="258"/>
                  <a:pt x="1651" y="256"/>
                  <a:pt x="1651" y="254"/>
                </a:cubicBezTo>
                <a:cubicBezTo>
                  <a:pt x="1651" y="251"/>
                  <a:pt x="1651" y="248"/>
                  <a:pt x="1658" y="248"/>
                </a:cubicBezTo>
                <a:close/>
                <a:moveTo>
                  <a:pt x="1705" y="207"/>
                </a:moveTo>
                <a:cubicBezTo>
                  <a:pt x="1705" y="207"/>
                  <a:pt x="1705" y="207"/>
                  <a:pt x="1705" y="207"/>
                </a:cubicBezTo>
                <a:cubicBezTo>
                  <a:pt x="1700" y="207"/>
                  <a:pt x="1700" y="207"/>
                  <a:pt x="1700" y="207"/>
                </a:cubicBezTo>
                <a:cubicBezTo>
                  <a:pt x="1698" y="209"/>
                  <a:pt x="1697" y="210"/>
                  <a:pt x="1694" y="211"/>
                </a:cubicBezTo>
                <a:cubicBezTo>
                  <a:pt x="1693" y="212"/>
                  <a:pt x="1691" y="213"/>
                  <a:pt x="1689" y="214"/>
                </a:cubicBezTo>
                <a:cubicBezTo>
                  <a:pt x="1687" y="215"/>
                  <a:pt x="1686" y="215"/>
                  <a:pt x="1684" y="216"/>
                </a:cubicBezTo>
                <a:cubicBezTo>
                  <a:pt x="1682" y="217"/>
                  <a:pt x="1681" y="217"/>
                  <a:pt x="1678" y="218"/>
                </a:cubicBezTo>
                <a:cubicBezTo>
                  <a:pt x="1678" y="218"/>
                  <a:pt x="1678" y="218"/>
                  <a:pt x="1678" y="228"/>
                </a:cubicBezTo>
                <a:cubicBezTo>
                  <a:pt x="1681" y="228"/>
                  <a:pt x="1684" y="226"/>
                  <a:pt x="1686" y="225"/>
                </a:cubicBezTo>
                <a:cubicBezTo>
                  <a:pt x="1689" y="225"/>
                  <a:pt x="1691" y="223"/>
                  <a:pt x="1694" y="222"/>
                </a:cubicBezTo>
                <a:cubicBezTo>
                  <a:pt x="1694" y="222"/>
                  <a:pt x="1694" y="222"/>
                  <a:pt x="1694" y="281"/>
                </a:cubicBezTo>
                <a:cubicBezTo>
                  <a:pt x="1694" y="281"/>
                  <a:pt x="1694" y="281"/>
                  <a:pt x="1705" y="281"/>
                </a:cubicBezTo>
                <a:cubicBezTo>
                  <a:pt x="1705" y="281"/>
                  <a:pt x="1705" y="281"/>
                  <a:pt x="1705" y="207"/>
                </a:cubicBezTo>
                <a:close/>
                <a:moveTo>
                  <a:pt x="1752" y="207"/>
                </a:moveTo>
                <a:cubicBezTo>
                  <a:pt x="1752" y="207"/>
                  <a:pt x="1752" y="207"/>
                  <a:pt x="1752" y="207"/>
                </a:cubicBezTo>
                <a:cubicBezTo>
                  <a:pt x="1747" y="207"/>
                  <a:pt x="1747" y="207"/>
                  <a:pt x="1747" y="207"/>
                </a:cubicBezTo>
                <a:cubicBezTo>
                  <a:pt x="1745" y="209"/>
                  <a:pt x="1744" y="210"/>
                  <a:pt x="1742" y="211"/>
                </a:cubicBezTo>
                <a:cubicBezTo>
                  <a:pt x="1740" y="212"/>
                  <a:pt x="1738" y="213"/>
                  <a:pt x="1737" y="214"/>
                </a:cubicBezTo>
                <a:cubicBezTo>
                  <a:pt x="1735" y="215"/>
                  <a:pt x="1733" y="216"/>
                  <a:pt x="1732" y="217"/>
                </a:cubicBezTo>
                <a:cubicBezTo>
                  <a:pt x="1730" y="217"/>
                  <a:pt x="1728" y="218"/>
                  <a:pt x="1726" y="218"/>
                </a:cubicBezTo>
                <a:cubicBezTo>
                  <a:pt x="1726" y="218"/>
                  <a:pt x="1726" y="218"/>
                  <a:pt x="1726" y="228"/>
                </a:cubicBezTo>
                <a:cubicBezTo>
                  <a:pt x="1729" y="228"/>
                  <a:pt x="1732" y="227"/>
                  <a:pt x="1734" y="225"/>
                </a:cubicBezTo>
                <a:cubicBezTo>
                  <a:pt x="1737" y="225"/>
                  <a:pt x="1739" y="223"/>
                  <a:pt x="1741" y="222"/>
                </a:cubicBezTo>
                <a:cubicBezTo>
                  <a:pt x="1741" y="222"/>
                  <a:pt x="1741" y="222"/>
                  <a:pt x="1741" y="281"/>
                </a:cubicBezTo>
                <a:cubicBezTo>
                  <a:pt x="1741" y="281"/>
                  <a:pt x="1741" y="281"/>
                  <a:pt x="1752" y="281"/>
                </a:cubicBezTo>
                <a:cubicBezTo>
                  <a:pt x="1752" y="281"/>
                  <a:pt x="1752" y="281"/>
                  <a:pt x="1752" y="207"/>
                </a:cubicBezTo>
                <a:close/>
                <a:moveTo>
                  <a:pt x="1799" y="207"/>
                </a:moveTo>
                <a:cubicBezTo>
                  <a:pt x="1799" y="207"/>
                  <a:pt x="1799" y="207"/>
                  <a:pt x="1799" y="207"/>
                </a:cubicBezTo>
                <a:cubicBezTo>
                  <a:pt x="1795" y="207"/>
                  <a:pt x="1795" y="207"/>
                  <a:pt x="1795" y="207"/>
                </a:cubicBezTo>
                <a:cubicBezTo>
                  <a:pt x="1792" y="209"/>
                  <a:pt x="1791" y="210"/>
                  <a:pt x="1789" y="211"/>
                </a:cubicBezTo>
                <a:cubicBezTo>
                  <a:pt x="1787" y="212"/>
                  <a:pt x="1785" y="213"/>
                  <a:pt x="1784" y="214"/>
                </a:cubicBezTo>
                <a:cubicBezTo>
                  <a:pt x="1782" y="215"/>
                  <a:pt x="1780" y="216"/>
                  <a:pt x="1778" y="217"/>
                </a:cubicBezTo>
                <a:cubicBezTo>
                  <a:pt x="1777" y="217"/>
                  <a:pt x="1774" y="218"/>
                  <a:pt x="1773" y="218"/>
                </a:cubicBezTo>
                <a:cubicBezTo>
                  <a:pt x="1773" y="218"/>
                  <a:pt x="1773" y="218"/>
                  <a:pt x="1773" y="228"/>
                </a:cubicBezTo>
                <a:cubicBezTo>
                  <a:pt x="1776" y="228"/>
                  <a:pt x="1779" y="227"/>
                  <a:pt x="1781" y="225"/>
                </a:cubicBezTo>
                <a:cubicBezTo>
                  <a:pt x="1783" y="225"/>
                  <a:pt x="1786" y="223"/>
                  <a:pt x="1787" y="222"/>
                </a:cubicBezTo>
                <a:cubicBezTo>
                  <a:pt x="1787" y="222"/>
                  <a:pt x="1787" y="222"/>
                  <a:pt x="1787" y="281"/>
                </a:cubicBezTo>
                <a:cubicBezTo>
                  <a:pt x="1787" y="281"/>
                  <a:pt x="1787" y="281"/>
                  <a:pt x="1799" y="281"/>
                </a:cubicBezTo>
                <a:cubicBezTo>
                  <a:pt x="1799" y="281"/>
                  <a:pt x="1799" y="281"/>
                  <a:pt x="1799" y="207"/>
                </a:cubicBezTo>
                <a:close/>
                <a:moveTo>
                  <a:pt x="1922" y="207"/>
                </a:moveTo>
                <a:cubicBezTo>
                  <a:pt x="1922" y="207"/>
                  <a:pt x="1922" y="207"/>
                  <a:pt x="1922" y="207"/>
                </a:cubicBezTo>
                <a:cubicBezTo>
                  <a:pt x="1917" y="207"/>
                  <a:pt x="1917" y="207"/>
                  <a:pt x="1917" y="207"/>
                </a:cubicBezTo>
                <a:cubicBezTo>
                  <a:pt x="1915" y="209"/>
                  <a:pt x="1914" y="210"/>
                  <a:pt x="1911" y="211"/>
                </a:cubicBezTo>
                <a:cubicBezTo>
                  <a:pt x="1910" y="212"/>
                  <a:pt x="1908" y="213"/>
                  <a:pt x="1906" y="214"/>
                </a:cubicBezTo>
                <a:cubicBezTo>
                  <a:pt x="1905" y="215"/>
                  <a:pt x="1903" y="216"/>
                  <a:pt x="1901" y="217"/>
                </a:cubicBezTo>
                <a:cubicBezTo>
                  <a:pt x="1899" y="217"/>
                  <a:pt x="1898" y="218"/>
                  <a:pt x="1895" y="218"/>
                </a:cubicBezTo>
                <a:cubicBezTo>
                  <a:pt x="1895" y="218"/>
                  <a:pt x="1895" y="218"/>
                  <a:pt x="1895" y="228"/>
                </a:cubicBezTo>
                <a:cubicBezTo>
                  <a:pt x="1898" y="228"/>
                  <a:pt x="1901" y="227"/>
                  <a:pt x="1904" y="225"/>
                </a:cubicBezTo>
                <a:cubicBezTo>
                  <a:pt x="1906" y="225"/>
                  <a:pt x="1908" y="223"/>
                  <a:pt x="1911" y="222"/>
                </a:cubicBezTo>
                <a:cubicBezTo>
                  <a:pt x="1911" y="222"/>
                  <a:pt x="1911" y="222"/>
                  <a:pt x="1911" y="281"/>
                </a:cubicBezTo>
                <a:cubicBezTo>
                  <a:pt x="1911" y="281"/>
                  <a:pt x="1911" y="281"/>
                  <a:pt x="1922" y="281"/>
                </a:cubicBezTo>
                <a:cubicBezTo>
                  <a:pt x="1922" y="281"/>
                  <a:pt x="1922" y="281"/>
                  <a:pt x="1922" y="207"/>
                </a:cubicBezTo>
                <a:close/>
                <a:moveTo>
                  <a:pt x="1820" y="240"/>
                </a:moveTo>
                <a:cubicBezTo>
                  <a:pt x="1820" y="240"/>
                  <a:pt x="1820" y="240"/>
                  <a:pt x="1820" y="240"/>
                </a:cubicBezTo>
                <a:cubicBezTo>
                  <a:pt x="1820" y="248"/>
                  <a:pt x="1820" y="248"/>
                  <a:pt x="1820" y="248"/>
                </a:cubicBezTo>
                <a:cubicBezTo>
                  <a:pt x="1826" y="248"/>
                  <a:pt x="1827" y="251"/>
                  <a:pt x="1827" y="254"/>
                </a:cubicBezTo>
                <a:cubicBezTo>
                  <a:pt x="1827" y="256"/>
                  <a:pt x="1826" y="258"/>
                  <a:pt x="1826" y="261"/>
                </a:cubicBezTo>
                <a:cubicBezTo>
                  <a:pt x="1826" y="263"/>
                  <a:pt x="1826" y="266"/>
                  <a:pt x="1826" y="268"/>
                </a:cubicBezTo>
                <a:cubicBezTo>
                  <a:pt x="1826" y="277"/>
                  <a:pt x="1832" y="281"/>
                  <a:pt x="1840" y="281"/>
                </a:cubicBezTo>
                <a:cubicBezTo>
                  <a:pt x="1840" y="281"/>
                  <a:pt x="1840" y="281"/>
                  <a:pt x="1844" y="281"/>
                </a:cubicBezTo>
                <a:cubicBezTo>
                  <a:pt x="1844" y="281"/>
                  <a:pt x="1844" y="281"/>
                  <a:pt x="1844" y="272"/>
                </a:cubicBezTo>
                <a:cubicBezTo>
                  <a:pt x="1844" y="272"/>
                  <a:pt x="1844" y="272"/>
                  <a:pt x="1843" y="272"/>
                </a:cubicBezTo>
                <a:cubicBezTo>
                  <a:pt x="1839" y="272"/>
                  <a:pt x="1838" y="269"/>
                  <a:pt x="1838" y="266"/>
                </a:cubicBezTo>
                <a:cubicBezTo>
                  <a:pt x="1838" y="264"/>
                  <a:pt x="1838" y="263"/>
                  <a:pt x="1838" y="261"/>
                </a:cubicBezTo>
                <a:cubicBezTo>
                  <a:pt x="1838" y="259"/>
                  <a:pt x="1838" y="257"/>
                  <a:pt x="1838" y="255"/>
                </a:cubicBezTo>
                <a:cubicBezTo>
                  <a:pt x="1838" y="247"/>
                  <a:pt x="1835" y="245"/>
                  <a:pt x="1830" y="244"/>
                </a:cubicBezTo>
                <a:cubicBezTo>
                  <a:pt x="1830" y="244"/>
                  <a:pt x="1830" y="244"/>
                  <a:pt x="1830" y="243"/>
                </a:cubicBezTo>
                <a:cubicBezTo>
                  <a:pt x="1835" y="242"/>
                  <a:pt x="1838" y="240"/>
                  <a:pt x="1838" y="232"/>
                </a:cubicBezTo>
                <a:cubicBezTo>
                  <a:pt x="1838" y="230"/>
                  <a:pt x="1838" y="228"/>
                  <a:pt x="1838" y="226"/>
                </a:cubicBezTo>
                <a:cubicBezTo>
                  <a:pt x="1838" y="225"/>
                  <a:pt x="1838" y="223"/>
                  <a:pt x="1838" y="222"/>
                </a:cubicBezTo>
                <a:cubicBezTo>
                  <a:pt x="1838" y="218"/>
                  <a:pt x="1839" y="216"/>
                  <a:pt x="1843" y="216"/>
                </a:cubicBezTo>
                <a:cubicBezTo>
                  <a:pt x="1843" y="216"/>
                  <a:pt x="1843" y="216"/>
                  <a:pt x="1844" y="216"/>
                </a:cubicBezTo>
                <a:cubicBezTo>
                  <a:pt x="1844" y="216"/>
                  <a:pt x="1844" y="216"/>
                  <a:pt x="1844" y="206"/>
                </a:cubicBezTo>
                <a:cubicBezTo>
                  <a:pt x="1844" y="206"/>
                  <a:pt x="1844" y="206"/>
                  <a:pt x="1840" y="206"/>
                </a:cubicBezTo>
                <a:cubicBezTo>
                  <a:pt x="1831" y="206"/>
                  <a:pt x="1826" y="210"/>
                  <a:pt x="1826" y="219"/>
                </a:cubicBezTo>
                <a:cubicBezTo>
                  <a:pt x="1826" y="221"/>
                  <a:pt x="1826" y="224"/>
                  <a:pt x="1826" y="226"/>
                </a:cubicBezTo>
                <a:cubicBezTo>
                  <a:pt x="1826" y="229"/>
                  <a:pt x="1827" y="231"/>
                  <a:pt x="1827" y="233"/>
                </a:cubicBezTo>
                <a:cubicBezTo>
                  <a:pt x="1827" y="236"/>
                  <a:pt x="1826" y="239"/>
                  <a:pt x="1820" y="240"/>
                </a:cubicBezTo>
                <a:close/>
                <a:moveTo>
                  <a:pt x="1875" y="248"/>
                </a:moveTo>
                <a:cubicBezTo>
                  <a:pt x="1875" y="248"/>
                  <a:pt x="1875" y="248"/>
                  <a:pt x="1875" y="248"/>
                </a:cubicBezTo>
                <a:cubicBezTo>
                  <a:pt x="1875" y="240"/>
                  <a:pt x="1875" y="240"/>
                  <a:pt x="1875" y="240"/>
                </a:cubicBezTo>
                <a:cubicBezTo>
                  <a:pt x="1868" y="239"/>
                  <a:pt x="1868" y="236"/>
                  <a:pt x="1868" y="233"/>
                </a:cubicBezTo>
                <a:cubicBezTo>
                  <a:pt x="1868" y="231"/>
                  <a:pt x="1868" y="229"/>
                  <a:pt x="1868" y="226"/>
                </a:cubicBezTo>
                <a:cubicBezTo>
                  <a:pt x="1869" y="224"/>
                  <a:pt x="1869" y="221"/>
                  <a:pt x="1869" y="219"/>
                </a:cubicBezTo>
                <a:cubicBezTo>
                  <a:pt x="1869" y="210"/>
                  <a:pt x="1864" y="206"/>
                  <a:pt x="1854" y="206"/>
                </a:cubicBezTo>
                <a:cubicBezTo>
                  <a:pt x="1854" y="206"/>
                  <a:pt x="1854" y="206"/>
                  <a:pt x="1851" y="206"/>
                </a:cubicBezTo>
                <a:cubicBezTo>
                  <a:pt x="1851" y="206"/>
                  <a:pt x="1851" y="206"/>
                  <a:pt x="1851" y="216"/>
                </a:cubicBezTo>
                <a:cubicBezTo>
                  <a:pt x="1851" y="216"/>
                  <a:pt x="1851" y="216"/>
                  <a:pt x="1852" y="216"/>
                </a:cubicBezTo>
                <a:cubicBezTo>
                  <a:pt x="1856" y="216"/>
                  <a:pt x="1857" y="218"/>
                  <a:pt x="1857" y="222"/>
                </a:cubicBezTo>
                <a:cubicBezTo>
                  <a:pt x="1857" y="223"/>
                  <a:pt x="1857" y="225"/>
                  <a:pt x="1857" y="226"/>
                </a:cubicBezTo>
                <a:cubicBezTo>
                  <a:pt x="1857" y="228"/>
                  <a:pt x="1857" y="230"/>
                  <a:pt x="1857" y="232"/>
                </a:cubicBezTo>
                <a:cubicBezTo>
                  <a:pt x="1857" y="240"/>
                  <a:pt x="1859" y="242"/>
                  <a:pt x="1865" y="243"/>
                </a:cubicBezTo>
                <a:cubicBezTo>
                  <a:pt x="1865" y="243"/>
                  <a:pt x="1865" y="243"/>
                  <a:pt x="1865" y="244"/>
                </a:cubicBezTo>
                <a:cubicBezTo>
                  <a:pt x="1859" y="245"/>
                  <a:pt x="1857" y="247"/>
                  <a:pt x="1857" y="255"/>
                </a:cubicBezTo>
                <a:cubicBezTo>
                  <a:pt x="1857" y="257"/>
                  <a:pt x="1857" y="259"/>
                  <a:pt x="1857" y="261"/>
                </a:cubicBezTo>
                <a:cubicBezTo>
                  <a:pt x="1857" y="263"/>
                  <a:pt x="1857" y="264"/>
                  <a:pt x="1857" y="266"/>
                </a:cubicBezTo>
                <a:cubicBezTo>
                  <a:pt x="1857" y="269"/>
                  <a:pt x="1856" y="272"/>
                  <a:pt x="1852" y="272"/>
                </a:cubicBezTo>
                <a:cubicBezTo>
                  <a:pt x="1852" y="272"/>
                  <a:pt x="1852" y="272"/>
                  <a:pt x="1851" y="272"/>
                </a:cubicBezTo>
                <a:cubicBezTo>
                  <a:pt x="1851" y="272"/>
                  <a:pt x="1851" y="272"/>
                  <a:pt x="1851" y="281"/>
                </a:cubicBezTo>
                <a:cubicBezTo>
                  <a:pt x="1851" y="281"/>
                  <a:pt x="1851" y="281"/>
                  <a:pt x="1854" y="281"/>
                </a:cubicBezTo>
                <a:cubicBezTo>
                  <a:pt x="1863" y="281"/>
                  <a:pt x="1869" y="277"/>
                  <a:pt x="1869" y="268"/>
                </a:cubicBezTo>
                <a:cubicBezTo>
                  <a:pt x="1869" y="266"/>
                  <a:pt x="1869" y="263"/>
                  <a:pt x="1868" y="261"/>
                </a:cubicBezTo>
                <a:cubicBezTo>
                  <a:pt x="1868" y="258"/>
                  <a:pt x="1868" y="256"/>
                  <a:pt x="1868" y="254"/>
                </a:cubicBezTo>
                <a:cubicBezTo>
                  <a:pt x="1868" y="251"/>
                  <a:pt x="1868" y="248"/>
                  <a:pt x="1875" y="248"/>
                </a:cubicBezTo>
                <a:close/>
                <a:moveTo>
                  <a:pt x="1016" y="159"/>
                </a:moveTo>
                <a:cubicBezTo>
                  <a:pt x="1016" y="160"/>
                  <a:pt x="1017" y="161"/>
                  <a:pt x="1017" y="163"/>
                </a:cubicBezTo>
                <a:cubicBezTo>
                  <a:pt x="1018" y="164"/>
                  <a:pt x="1018" y="166"/>
                  <a:pt x="1019" y="168"/>
                </a:cubicBezTo>
                <a:cubicBezTo>
                  <a:pt x="1019" y="170"/>
                  <a:pt x="1019" y="171"/>
                  <a:pt x="1019" y="173"/>
                </a:cubicBezTo>
                <a:cubicBezTo>
                  <a:pt x="1020" y="176"/>
                  <a:pt x="1019" y="178"/>
                  <a:pt x="1015" y="178"/>
                </a:cubicBezTo>
                <a:cubicBezTo>
                  <a:pt x="1013" y="178"/>
                  <a:pt x="1010" y="177"/>
                  <a:pt x="1007" y="177"/>
                </a:cubicBezTo>
                <a:cubicBezTo>
                  <a:pt x="1007" y="177"/>
                  <a:pt x="1006" y="177"/>
                  <a:pt x="1006" y="178"/>
                </a:cubicBezTo>
                <a:cubicBezTo>
                  <a:pt x="1004" y="179"/>
                  <a:pt x="1002" y="180"/>
                  <a:pt x="1001" y="182"/>
                </a:cubicBezTo>
                <a:cubicBezTo>
                  <a:pt x="999" y="184"/>
                  <a:pt x="996" y="185"/>
                  <a:pt x="994" y="183"/>
                </a:cubicBezTo>
                <a:cubicBezTo>
                  <a:pt x="992" y="180"/>
                  <a:pt x="991" y="178"/>
                  <a:pt x="989" y="175"/>
                </a:cubicBezTo>
                <a:cubicBezTo>
                  <a:pt x="988" y="174"/>
                  <a:pt x="989" y="172"/>
                  <a:pt x="991" y="170"/>
                </a:cubicBezTo>
                <a:cubicBezTo>
                  <a:pt x="988" y="170"/>
                  <a:pt x="987" y="170"/>
                  <a:pt x="985" y="170"/>
                </a:cubicBezTo>
                <a:cubicBezTo>
                  <a:pt x="984" y="172"/>
                  <a:pt x="983" y="174"/>
                  <a:pt x="982" y="176"/>
                </a:cubicBezTo>
                <a:cubicBezTo>
                  <a:pt x="982" y="177"/>
                  <a:pt x="982" y="178"/>
                  <a:pt x="982" y="179"/>
                </a:cubicBezTo>
                <a:cubicBezTo>
                  <a:pt x="982" y="182"/>
                  <a:pt x="981" y="183"/>
                  <a:pt x="978" y="183"/>
                </a:cubicBezTo>
                <a:cubicBezTo>
                  <a:pt x="974" y="182"/>
                  <a:pt x="972" y="182"/>
                  <a:pt x="969" y="180"/>
                </a:cubicBezTo>
                <a:cubicBezTo>
                  <a:pt x="967" y="180"/>
                  <a:pt x="966" y="178"/>
                  <a:pt x="967" y="176"/>
                </a:cubicBezTo>
                <a:cubicBezTo>
                  <a:pt x="967" y="176"/>
                  <a:pt x="967" y="175"/>
                  <a:pt x="967" y="175"/>
                </a:cubicBezTo>
                <a:cubicBezTo>
                  <a:pt x="965" y="174"/>
                  <a:pt x="963" y="173"/>
                  <a:pt x="961" y="171"/>
                </a:cubicBezTo>
                <a:cubicBezTo>
                  <a:pt x="959" y="170"/>
                  <a:pt x="958" y="168"/>
                  <a:pt x="958" y="167"/>
                </a:cubicBezTo>
                <a:cubicBezTo>
                  <a:pt x="957" y="165"/>
                  <a:pt x="957" y="163"/>
                  <a:pt x="959" y="162"/>
                </a:cubicBezTo>
                <a:cubicBezTo>
                  <a:pt x="962" y="159"/>
                  <a:pt x="963" y="157"/>
                  <a:pt x="962" y="153"/>
                </a:cubicBezTo>
                <a:cubicBezTo>
                  <a:pt x="962" y="151"/>
                  <a:pt x="962" y="148"/>
                  <a:pt x="962" y="147"/>
                </a:cubicBezTo>
                <a:cubicBezTo>
                  <a:pt x="961" y="146"/>
                  <a:pt x="959" y="145"/>
                  <a:pt x="958" y="144"/>
                </a:cubicBezTo>
                <a:cubicBezTo>
                  <a:pt x="957" y="143"/>
                  <a:pt x="956" y="141"/>
                  <a:pt x="956" y="139"/>
                </a:cubicBezTo>
                <a:cubicBezTo>
                  <a:pt x="956" y="136"/>
                  <a:pt x="959" y="133"/>
                  <a:pt x="962" y="132"/>
                </a:cubicBezTo>
                <a:cubicBezTo>
                  <a:pt x="962" y="133"/>
                  <a:pt x="962" y="134"/>
                  <a:pt x="963" y="135"/>
                </a:cubicBezTo>
                <a:cubicBezTo>
                  <a:pt x="963" y="136"/>
                  <a:pt x="963" y="137"/>
                  <a:pt x="963" y="138"/>
                </a:cubicBezTo>
                <a:cubicBezTo>
                  <a:pt x="962" y="138"/>
                  <a:pt x="962" y="138"/>
                  <a:pt x="961" y="138"/>
                </a:cubicBezTo>
                <a:cubicBezTo>
                  <a:pt x="961" y="139"/>
                  <a:pt x="961" y="140"/>
                  <a:pt x="960" y="142"/>
                </a:cubicBezTo>
                <a:cubicBezTo>
                  <a:pt x="961" y="142"/>
                  <a:pt x="962" y="142"/>
                  <a:pt x="962" y="141"/>
                </a:cubicBezTo>
                <a:cubicBezTo>
                  <a:pt x="963" y="140"/>
                  <a:pt x="964" y="139"/>
                  <a:pt x="965" y="138"/>
                </a:cubicBezTo>
                <a:cubicBezTo>
                  <a:pt x="969" y="131"/>
                  <a:pt x="975" y="127"/>
                  <a:pt x="983" y="126"/>
                </a:cubicBezTo>
                <a:cubicBezTo>
                  <a:pt x="986" y="125"/>
                  <a:pt x="989" y="124"/>
                  <a:pt x="992" y="121"/>
                </a:cubicBezTo>
                <a:cubicBezTo>
                  <a:pt x="992" y="121"/>
                  <a:pt x="993" y="121"/>
                  <a:pt x="993" y="121"/>
                </a:cubicBezTo>
                <a:cubicBezTo>
                  <a:pt x="996" y="120"/>
                  <a:pt x="997" y="118"/>
                  <a:pt x="999" y="116"/>
                </a:cubicBezTo>
                <a:cubicBezTo>
                  <a:pt x="1007" y="108"/>
                  <a:pt x="1019" y="108"/>
                  <a:pt x="1026" y="115"/>
                </a:cubicBezTo>
                <a:cubicBezTo>
                  <a:pt x="1029" y="117"/>
                  <a:pt x="1032" y="119"/>
                  <a:pt x="1034" y="121"/>
                </a:cubicBezTo>
                <a:cubicBezTo>
                  <a:pt x="1036" y="122"/>
                  <a:pt x="1037" y="123"/>
                  <a:pt x="1038" y="125"/>
                </a:cubicBezTo>
                <a:cubicBezTo>
                  <a:pt x="1039" y="127"/>
                  <a:pt x="1039" y="127"/>
                  <a:pt x="1041" y="126"/>
                </a:cubicBezTo>
                <a:cubicBezTo>
                  <a:pt x="1041" y="125"/>
                  <a:pt x="1042" y="125"/>
                  <a:pt x="1043" y="124"/>
                </a:cubicBezTo>
                <a:cubicBezTo>
                  <a:pt x="1045" y="121"/>
                  <a:pt x="1048" y="121"/>
                  <a:pt x="1049" y="124"/>
                </a:cubicBezTo>
                <a:cubicBezTo>
                  <a:pt x="1051" y="127"/>
                  <a:pt x="1051" y="130"/>
                  <a:pt x="1052" y="133"/>
                </a:cubicBezTo>
                <a:cubicBezTo>
                  <a:pt x="1052" y="138"/>
                  <a:pt x="1052" y="142"/>
                  <a:pt x="1051" y="146"/>
                </a:cubicBezTo>
                <a:cubicBezTo>
                  <a:pt x="1048" y="153"/>
                  <a:pt x="1043" y="156"/>
                  <a:pt x="1037" y="156"/>
                </a:cubicBezTo>
                <a:cubicBezTo>
                  <a:pt x="1036" y="156"/>
                  <a:pt x="1036" y="156"/>
                  <a:pt x="1035" y="156"/>
                </a:cubicBezTo>
                <a:cubicBezTo>
                  <a:pt x="1032" y="156"/>
                  <a:pt x="1031" y="156"/>
                  <a:pt x="1030" y="159"/>
                </a:cubicBezTo>
                <a:cubicBezTo>
                  <a:pt x="1029" y="163"/>
                  <a:pt x="1023" y="164"/>
                  <a:pt x="1020" y="161"/>
                </a:cubicBezTo>
                <a:cubicBezTo>
                  <a:pt x="1019" y="160"/>
                  <a:pt x="1018" y="159"/>
                  <a:pt x="1017" y="158"/>
                </a:cubicBezTo>
                <a:cubicBezTo>
                  <a:pt x="1016" y="159"/>
                  <a:pt x="1016" y="159"/>
                  <a:pt x="1016" y="159"/>
                </a:cubicBezTo>
                <a:close/>
                <a:moveTo>
                  <a:pt x="1010" y="154"/>
                </a:moveTo>
                <a:cubicBezTo>
                  <a:pt x="1014" y="156"/>
                  <a:pt x="1017" y="157"/>
                  <a:pt x="1020" y="160"/>
                </a:cubicBezTo>
                <a:cubicBezTo>
                  <a:pt x="1022" y="161"/>
                  <a:pt x="1024" y="162"/>
                  <a:pt x="1026" y="161"/>
                </a:cubicBezTo>
                <a:cubicBezTo>
                  <a:pt x="1028" y="161"/>
                  <a:pt x="1030" y="159"/>
                  <a:pt x="1030" y="155"/>
                </a:cubicBezTo>
                <a:cubicBezTo>
                  <a:pt x="1030" y="156"/>
                  <a:pt x="1029" y="156"/>
                  <a:pt x="1029" y="156"/>
                </a:cubicBezTo>
                <a:cubicBezTo>
                  <a:pt x="1028" y="158"/>
                  <a:pt x="1027" y="159"/>
                  <a:pt x="1026" y="160"/>
                </a:cubicBezTo>
                <a:cubicBezTo>
                  <a:pt x="1025" y="161"/>
                  <a:pt x="1024" y="161"/>
                  <a:pt x="1023" y="160"/>
                </a:cubicBezTo>
                <a:cubicBezTo>
                  <a:pt x="1023" y="160"/>
                  <a:pt x="1022" y="159"/>
                  <a:pt x="1022" y="158"/>
                </a:cubicBezTo>
                <a:cubicBezTo>
                  <a:pt x="1022" y="156"/>
                  <a:pt x="1023" y="154"/>
                  <a:pt x="1023" y="152"/>
                </a:cubicBezTo>
                <a:cubicBezTo>
                  <a:pt x="1026" y="153"/>
                  <a:pt x="1029" y="154"/>
                  <a:pt x="1033" y="154"/>
                </a:cubicBezTo>
                <a:cubicBezTo>
                  <a:pt x="1040" y="155"/>
                  <a:pt x="1046" y="154"/>
                  <a:pt x="1049" y="145"/>
                </a:cubicBezTo>
                <a:cubicBezTo>
                  <a:pt x="1051" y="140"/>
                  <a:pt x="1051" y="136"/>
                  <a:pt x="1050" y="130"/>
                </a:cubicBezTo>
                <a:cubicBezTo>
                  <a:pt x="1049" y="128"/>
                  <a:pt x="1049" y="127"/>
                  <a:pt x="1048" y="125"/>
                </a:cubicBezTo>
                <a:cubicBezTo>
                  <a:pt x="1047" y="123"/>
                  <a:pt x="1046" y="123"/>
                  <a:pt x="1045" y="125"/>
                </a:cubicBezTo>
                <a:cubicBezTo>
                  <a:pt x="1043" y="126"/>
                  <a:pt x="1041" y="128"/>
                  <a:pt x="1039" y="128"/>
                </a:cubicBezTo>
                <a:cubicBezTo>
                  <a:pt x="1039" y="129"/>
                  <a:pt x="1038" y="130"/>
                  <a:pt x="1038" y="131"/>
                </a:cubicBezTo>
                <a:cubicBezTo>
                  <a:pt x="1039" y="134"/>
                  <a:pt x="1038" y="137"/>
                  <a:pt x="1037" y="140"/>
                </a:cubicBezTo>
                <a:cubicBezTo>
                  <a:pt x="1037" y="138"/>
                  <a:pt x="1038" y="136"/>
                  <a:pt x="1038" y="135"/>
                </a:cubicBezTo>
                <a:cubicBezTo>
                  <a:pt x="1038" y="134"/>
                  <a:pt x="1037" y="134"/>
                  <a:pt x="1037" y="133"/>
                </a:cubicBezTo>
                <a:cubicBezTo>
                  <a:pt x="1036" y="134"/>
                  <a:pt x="1036" y="134"/>
                  <a:pt x="1036" y="134"/>
                </a:cubicBezTo>
                <a:cubicBezTo>
                  <a:pt x="1035" y="135"/>
                  <a:pt x="1034" y="137"/>
                  <a:pt x="1033" y="138"/>
                </a:cubicBezTo>
                <a:cubicBezTo>
                  <a:pt x="1033" y="138"/>
                  <a:pt x="1033" y="138"/>
                  <a:pt x="1033" y="138"/>
                </a:cubicBezTo>
                <a:cubicBezTo>
                  <a:pt x="1033" y="136"/>
                  <a:pt x="1034" y="135"/>
                  <a:pt x="1034" y="132"/>
                </a:cubicBezTo>
                <a:cubicBezTo>
                  <a:pt x="1033" y="133"/>
                  <a:pt x="1032" y="134"/>
                  <a:pt x="1032" y="134"/>
                </a:cubicBezTo>
                <a:cubicBezTo>
                  <a:pt x="1031" y="135"/>
                  <a:pt x="1031" y="136"/>
                  <a:pt x="1030" y="136"/>
                </a:cubicBezTo>
                <a:cubicBezTo>
                  <a:pt x="1031" y="133"/>
                  <a:pt x="1031" y="133"/>
                  <a:pt x="1037" y="132"/>
                </a:cubicBezTo>
                <a:cubicBezTo>
                  <a:pt x="1037" y="131"/>
                  <a:pt x="1036" y="130"/>
                  <a:pt x="1036" y="130"/>
                </a:cubicBezTo>
                <a:cubicBezTo>
                  <a:pt x="1033" y="131"/>
                  <a:pt x="1032" y="130"/>
                  <a:pt x="1032" y="127"/>
                </a:cubicBezTo>
                <a:cubicBezTo>
                  <a:pt x="1034" y="127"/>
                  <a:pt x="1035" y="126"/>
                  <a:pt x="1037" y="126"/>
                </a:cubicBezTo>
                <a:cubicBezTo>
                  <a:pt x="1035" y="124"/>
                  <a:pt x="1034" y="121"/>
                  <a:pt x="1030" y="121"/>
                </a:cubicBezTo>
                <a:cubicBezTo>
                  <a:pt x="1030" y="121"/>
                  <a:pt x="1030" y="120"/>
                  <a:pt x="1030" y="120"/>
                </a:cubicBezTo>
                <a:cubicBezTo>
                  <a:pt x="1027" y="118"/>
                  <a:pt x="1025" y="115"/>
                  <a:pt x="1022" y="113"/>
                </a:cubicBezTo>
                <a:cubicBezTo>
                  <a:pt x="1020" y="112"/>
                  <a:pt x="1017" y="111"/>
                  <a:pt x="1015" y="111"/>
                </a:cubicBezTo>
                <a:cubicBezTo>
                  <a:pt x="1012" y="112"/>
                  <a:pt x="1008" y="113"/>
                  <a:pt x="1005" y="114"/>
                </a:cubicBezTo>
                <a:cubicBezTo>
                  <a:pt x="1002" y="115"/>
                  <a:pt x="1000" y="117"/>
                  <a:pt x="998" y="120"/>
                </a:cubicBezTo>
                <a:cubicBezTo>
                  <a:pt x="1000" y="120"/>
                  <a:pt x="1001" y="120"/>
                  <a:pt x="1002" y="120"/>
                </a:cubicBezTo>
                <a:cubicBezTo>
                  <a:pt x="1002" y="120"/>
                  <a:pt x="1001" y="121"/>
                  <a:pt x="1000" y="121"/>
                </a:cubicBezTo>
                <a:cubicBezTo>
                  <a:pt x="998" y="121"/>
                  <a:pt x="995" y="121"/>
                  <a:pt x="993" y="123"/>
                </a:cubicBezTo>
                <a:cubicBezTo>
                  <a:pt x="989" y="127"/>
                  <a:pt x="985" y="130"/>
                  <a:pt x="982" y="135"/>
                </a:cubicBezTo>
                <a:cubicBezTo>
                  <a:pt x="980" y="137"/>
                  <a:pt x="980" y="139"/>
                  <a:pt x="978" y="142"/>
                </a:cubicBezTo>
                <a:cubicBezTo>
                  <a:pt x="978" y="142"/>
                  <a:pt x="978" y="143"/>
                  <a:pt x="979" y="143"/>
                </a:cubicBezTo>
                <a:cubicBezTo>
                  <a:pt x="980" y="145"/>
                  <a:pt x="981" y="147"/>
                  <a:pt x="983" y="149"/>
                </a:cubicBezTo>
                <a:cubicBezTo>
                  <a:pt x="984" y="147"/>
                  <a:pt x="985" y="146"/>
                  <a:pt x="986" y="145"/>
                </a:cubicBezTo>
                <a:cubicBezTo>
                  <a:pt x="986" y="146"/>
                  <a:pt x="985" y="147"/>
                  <a:pt x="985" y="149"/>
                </a:cubicBezTo>
                <a:cubicBezTo>
                  <a:pt x="984" y="150"/>
                  <a:pt x="983" y="151"/>
                  <a:pt x="983" y="153"/>
                </a:cubicBezTo>
                <a:cubicBezTo>
                  <a:pt x="982" y="153"/>
                  <a:pt x="983" y="155"/>
                  <a:pt x="983" y="155"/>
                </a:cubicBezTo>
                <a:cubicBezTo>
                  <a:pt x="985" y="159"/>
                  <a:pt x="989" y="159"/>
                  <a:pt x="993" y="157"/>
                </a:cubicBezTo>
                <a:cubicBezTo>
                  <a:pt x="995" y="155"/>
                  <a:pt x="998" y="154"/>
                  <a:pt x="1000" y="153"/>
                </a:cubicBezTo>
                <a:cubicBezTo>
                  <a:pt x="1002" y="153"/>
                  <a:pt x="1003" y="152"/>
                  <a:pt x="1003" y="151"/>
                </a:cubicBezTo>
                <a:cubicBezTo>
                  <a:pt x="1003" y="147"/>
                  <a:pt x="1003" y="144"/>
                  <a:pt x="1003" y="141"/>
                </a:cubicBezTo>
                <a:cubicBezTo>
                  <a:pt x="1003" y="138"/>
                  <a:pt x="1003" y="135"/>
                  <a:pt x="1003" y="132"/>
                </a:cubicBezTo>
                <a:cubicBezTo>
                  <a:pt x="1004" y="134"/>
                  <a:pt x="1004" y="137"/>
                  <a:pt x="1005" y="140"/>
                </a:cubicBezTo>
                <a:cubicBezTo>
                  <a:pt x="1006" y="144"/>
                  <a:pt x="1006" y="149"/>
                  <a:pt x="1004" y="153"/>
                </a:cubicBezTo>
                <a:cubicBezTo>
                  <a:pt x="1004" y="154"/>
                  <a:pt x="1003" y="155"/>
                  <a:pt x="1003" y="155"/>
                </a:cubicBezTo>
                <a:cubicBezTo>
                  <a:pt x="999" y="155"/>
                  <a:pt x="996" y="157"/>
                  <a:pt x="993" y="159"/>
                </a:cubicBezTo>
                <a:cubicBezTo>
                  <a:pt x="988" y="162"/>
                  <a:pt x="984" y="160"/>
                  <a:pt x="981" y="156"/>
                </a:cubicBezTo>
                <a:cubicBezTo>
                  <a:pt x="980" y="155"/>
                  <a:pt x="980" y="154"/>
                  <a:pt x="981" y="154"/>
                </a:cubicBezTo>
                <a:cubicBezTo>
                  <a:pt x="982" y="151"/>
                  <a:pt x="981" y="149"/>
                  <a:pt x="979" y="147"/>
                </a:cubicBezTo>
                <a:cubicBezTo>
                  <a:pt x="978" y="145"/>
                  <a:pt x="976" y="143"/>
                  <a:pt x="977" y="140"/>
                </a:cubicBezTo>
                <a:cubicBezTo>
                  <a:pt x="978" y="138"/>
                  <a:pt x="979" y="137"/>
                  <a:pt x="980" y="135"/>
                </a:cubicBezTo>
                <a:cubicBezTo>
                  <a:pt x="982" y="132"/>
                  <a:pt x="984" y="130"/>
                  <a:pt x="986" y="127"/>
                </a:cubicBezTo>
                <a:cubicBezTo>
                  <a:pt x="985" y="127"/>
                  <a:pt x="985" y="127"/>
                  <a:pt x="985" y="127"/>
                </a:cubicBezTo>
                <a:cubicBezTo>
                  <a:pt x="980" y="128"/>
                  <a:pt x="975" y="130"/>
                  <a:pt x="971" y="133"/>
                </a:cubicBezTo>
                <a:cubicBezTo>
                  <a:pt x="967" y="138"/>
                  <a:pt x="964" y="143"/>
                  <a:pt x="963" y="149"/>
                </a:cubicBezTo>
                <a:cubicBezTo>
                  <a:pt x="963" y="156"/>
                  <a:pt x="965" y="162"/>
                  <a:pt x="969" y="168"/>
                </a:cubicBezTo>
                <a:cubicBezTo>
                  <a:pt x="969" y="169"/>
                  <a:pt x="970" y="170"/>
                  <a:pt x="970" y="172"/>
                </a:cubicBezTo>
                <a:cubicBezTo>
                  <a:pt x="970" y="173"/>
                  <a:pt x="969" y="175"/>
                  <a:pt x="969" y="176"/>
                </a:cubicBezTo>
                <a:cubicBezTo>
                  <a:pt x="968" y="178"/>
                  <a:pt x="969" y="179"/>
                  <a:pt x="970" y="179"/>
                </a:cubicBezTo>
                <a:cubicBezTo>
                  <a:pt x="973" y="180"/>
                  <a:pt x="976" y="180"/>
                  <a:pt x="978" y="181"/>
                </a:cubicBezTo>
                <a:cubicBezTo>
                  <a:pt x="979" y="181"/>
                  <a:pt x="980" y="180"/>
                  <a:pt x="980" y="180"/>
                </a:cubicBezTo>
                <a:cubicBezTo>
                  <a:pt x="980" y="178"/>
                  <a:pt x="980" y="177"/>
                  <a:pt x="981" y="176"/>
                </a:cubicBezTo>
                <a:cubicBezTo>
                  <a:pt x="983" y="174"/>
                  <a:pt x="983" y="171"/>
                  <a:pt x="983" y="168"/>
                </a:cubicBezTo>
                <a:cubicBezTo>
                  <a:pt x="983" y="168"/>
                  <a:pt x="983" y="167"/>
                  <a:pt x="983" y="167"/>
                </a:cubicBezTo>
                <a:cubicBezTo>
                  <a:pt x="983" y="166"/>
                  <a:pt x="983" y="166"/>
                  <a:pt x="983" y="166"/>
                </a:cubicBezTo>
                <a:cubicBezTo>
                  <a:pt x="984" y="169"/>
                  <a:pt x="985" y="169"/>
                  <a:pt x="987" y="169"/>
                </a:cubicBezTo>
                <a:cubicBezTo>
                  <a:pt x="988" y="169"/>
                  <a:pt x="989" y="169"/>
                  <a:pt x="990" y="169"/>
                </a:cubicBezTo>
                <a:cubicBezTo>
                  <a:pt x="992" y="169"/>
                  <a:pt x="995" y="170"/>
                  <a:pt x="996" y="165"/>
                </a:cubicBezTo>
                <a:cubicBezTo>
                  <a:pt x="996" y="168"/>
                  <a:pt x="996" y="169"/>
                  <a:pt x="996" y="170"/>
                </a:cubicBezTo>
                <a:cubicBezTo>
                  <a:pt x="995" y="171"/>
                  <a:pt x="993" y="172"/>
                  <a:pt x="992" y="172"/>
                </a:cubicBezTo>
                <a:cubicBezTo>
                  <a:pt x="991" y="173"/>
                  <a:pt x="990" y="174"/>
                  <a:pt x="991" y="175"/>
                </a:cubicBezTo>
                <a:cubicBezTo>
                  <a:pt x="992" y="178"/>
                  <a:pt x="993" y="180"/>
                  <a:pt x="995" y="182"/>
                </a:cubicBezTo>
                <a:cubicBezTo>
                  <a:pt x="997" y="183"/>
                  <a:pt x="998" y="182"/>
                  <a:pt x="1000" y="181"/>
                </a:cubicBezTo>
                <a:cubicBezTo>
                  <a:pt x="1000" y="180"/>
                  <a:pt x="1001" y="179"/>
                  <a:pt x="1002" y="179"/>
                </a:cubicBezTo>
                <a:cubicBezTo>
                  <a:pt x="1004" y="177"/>
                  <a:pt x="1005" y="176"/>
                  <a:pt x="1007" y="175"/>
                </a:cubicBezTo>
                <a:cubicBezTo>
                  <a:pt x="1011" y="170"/>
                  <a:pt x="1013" y="164"/>
                  <a:pt x="1015" y="159"/>
                </a:cubicBezTo>
                <a:cubicBezTo>
                  <a:pt x="1015" y="158"/>
                  <a:pt x="1014" y="157"/>
                  <a:pt x="1013" y="157"/>
                </a:cubicBezTo>
                <a:cubicBezTo>
                  <a:pt x="1013" y="156"/>
                  <a:pt x="1012" y="155"/>
                  <a:pt x="1010" y="154"/>
                </a:cubicBezTo>
                <a:close/>
                <a:moveTo>
                  <a:pt x="963" y="161"/>
                </a:moveTo>
                <a:cubicBezTo>
                  <a:pt x="962" y="161"/>
                  <a:pt x="961" y="162"/>
                  <a:pt x="959" y="163"/>
                </a:cubicBezTo>
                <a:cubicBezTo>
                  <a:pt x="959" y="164"/>
                  <a:pt x="959" y="164"/>
                  <a:pt x="959" y="165"/>
                </a:cubicBezTo>
                <a:cubicBezTo>
                  <a:pt x="959" y="168"/>
                  <a:pt x="963" y="172"/>
                  <a:pt x="966" y="172"/>
                </a:cubicBezTo>
                <a:cubicBezTo>
                  <a:pt x="968" y="172"/>
                  <a:pt x="969" y="171"/>
                  <a:pt x="968" y="169"/>
                </a:cubicBezTo>
                <a:cubicBezTo>
                  <a:pt x="966" y="166"/>
                  <a:pt x="965" y="163"/>
                  <a:pt x="963" y="161"/>
                </a:cubicBezTo>
                <a:close/>
                <a:moveTo>
                  <a:pt x="1016" y="163"/>
                </a:moveTo>
                <a:cubicBezTo>
                  <a:pt x="1013" y="167"/>
                  <a:pt x="1011" y="172"/>
                  <a:pt x="1009" y="176"/>
                </a:cubicBezTo>
                <a:cubicBezTo>
                  <a:pt x="1012" y="176"/>
                  <a:pt x="1014" y="176"/>
                  <a:pt x="1017" y="176"/>
                </a:cubicBezTo>
                <a:cubicBezTo>
                  <a:pt x="1017" y="176"/>
                  <a:pt x="1017" y="175"/>
                  <a:pt x="1017" y="174"/>
                </a:cubicBezTo>
                <a:cubicBezTo>
                  <a:pt x="1017" y="172"/>
                  <a:pt x="1017" y="169"/>
                  <a:pt x="1017" y="167"/>
                </a:cubicBezTo>
                <a:cubicBezTo>
                  <a:pt x="1017" y="165"/>
                  <a:pt x="1016" y="164"/>
                  <a:pt x="1016" y="163"/>
                </a:cubicBezTo>
                <a:close/>
                <a:moveTo>
                  <a:pt x="963" y="142"/>
                </a:moveTo>
                <a:cubicBezTo>
                  <a:pt x="962" y="143"/>
                  <a:pt x="961" y="143"/>
                  <a:pt x="961" y="143"/>
                </a:cubicBezTo>
                <a:cubicBezTo>
                  <a:pt x="960" y="143"/>
                  <a:pt x="959" y="143"/>
                  <a:pt x="959" y="143"/>
                </a:cubicBezTo>
                <a:cubicBezTo>
                  <a:pt x="959" y="142"/>
                  <a:pt x="959" y="142"/>
                  <a:pt x="959" y="141"/>
                </a:cubicBezTo>
                <a:cubicBezTo>
                  <a:pt x="959" y="139"/>
                  <a:pt x="960" y="137"/>
                  <a:pt x="961" y="135"/>
                </a:cubicBezTo>
                <a:cubicBezTo>
                  <a:pt x="960" y="135"/>
                  <a:pt x="960" y="135"/>
                  <a:pt x="960" y="135"/>
                </a:cubicBezTo>
                <a:cubicBezTo>
                  <a:pt x="959" y="136"/>
                  <a:pt x="958" y="136"/>
                  <a:pt x="957" y="138"/>
                </a:cubicBezTo>
                <a:cubicBezTo>
                  <a:pt x="956" y="139"/>
                  <a:pt x="958" y="144"/>
                  <a:pt x="959" y="145"/>
                </a:cubicBezTo>
                <a:cubicBezTo>
                  <a:pt x="961" y="145"/>
                  <a:pt x="963" y="144"/>
                  <a:pt x="963" y="142"/>
                </a:cubicBezTo>
                <a:close/>
                <a:moveTo>
                  <a:pt x="963" y="161"/>
                </a:moveTo>
                <a:cubicBezTo>
                  <a:pt x="962" y="161"/>
                  <a:pt x="961" y="162"/>
                  <a:pt x="960" y="163"/>
                </a:cubicBezTo>
                <a:cubicBezTo>
                  <a:pt x="959" y="164"/>
                  <a:pt x="959" y="165"/>
                  <a:pt x="959" y="165"/>
                </a:cubicBezTo>
                <a:cubicBezTo>
                  <a:pt x="959" y="168"/>
                  <a:pt x="963" y="173"/>
                  <a:pt x="966" y="172"/>
                </a:cubicBezTo>
                <a:cubicBezTo>
                  <a:pt x="968" y="172"/>
                  <a:pt x="968" y="171"/>
                  <a:pt x="968" y="169"/>
                </a:cubicBezTo>
                <a:cubicBezTo>
                  <a:pt x="966" y="166"/>
                  <a:pt x="965" y="163"/>
                  <a:pt x="963" y="161"/>
                </a:cubicBezTo>
                <a:close/>
                <a:moveTo>
                  <a:pt x="1016" y="163"/>
                </a:moveTo>
                <a:cubicBezTo>
                  <a:pt x="1014" y="167"/>
                  <a:pt x="1011" y="172"/>
                  <a:pt x="1009" y="176"/>
                </a:cubicBezTo>
                <a:cubicBezTo>
                  <a:pt x="1012" y="176"/>
                  <a:pt x="1014" y="177"/>
                  <a:pt x="1017" y="176"/>
                </a:cubicBezTo>
                <a:cubicBezTo>
                  <a:pt x="1017" y="176"/>
                  <a:pt x="1017" y="175"/>
                  <a:pt x="1017" y="175"/>
                </a:cubicBezTo>
                <a:cubicBezTo>
                  <a:pt x="1017" y="172"/>
                  <a:pt x="1017" y="169"/>
                  <a:pt x="1017" y="167"/>
                </a:cubicBezTo>
                <a:cubicBezTo>
                  <a:pt x="1017" y="165"/>
                  <a:pt x="1016" y="164"/>
                  <a:pt x="1016" y="163"/>
                </a:cubicBezTo>
                <a:close/>
                <a:moveTo>
                  <a:pt x="963" y="143"/>
                </a:moveTo>
                <a:cubicBezTo>
                  <a:pt x="962" y="143"/>
                  <a:pt x="962" y="143"/>
                  <a:pt x="961" y="143"/>
                </a:cubicBezTo>
                <a:cubicBezTo>
                  <a:pt x="960" y="143"/>
                  <a:pt x="960" y="143"/>
                  <a:pt x="960" y="143"/>
                </a:cubicBezTo>
                <a:cubicBezTo>
                  <a:pt x="959" y="143"/>
                  <a:pt x="959" y="142"/>
                  <a:pt x="959" y="141"/>
                </a:cubicBezTo>
                <a:cubicBezTo>
                  <a:pt x="960" y="139"/>
                  <a:pt x="960" y="137"/>
                  <a:pt x="961" y="135"/>
                </a:cubicBezTo>
                <a:cubicBezTo>
                  <a:pt x="960" y="135"/>
                  <a:pt x="960" y="135"/>
                  <a:pt x="960" y="135"/>
                </a:cubicBezTo>
                <a:cubicBezTo>
                  <a:pt x="959" y="136"/>
                  <a:pt x="958" y="136"/>
                  <a:pt x="957" y="138"/>
                </a:cubicBezTo>
                <a:cubicBezTo>
                  <a:pt x="956" y="139"/>
                  <a:pt x="958" y="144"/>
                  <a:pt x="960" y="145"/>
                </a:cubicBezTo>
                <a:cubicBezTo>
                  <a:pt x="961" y="146"/>
                  <a:pt x="963" y="145"/>
                  <a:pt x="963" y="143"/>
                </a:cubicBezTo>
                <a:close/>
                <a:moveTo>
                  <a:pt x="1016" y="134"/>
                </a:moveTo>
                <a:cubicBezTo>
                  <a:pt x="1019" y="131"/>
                  <a:pt x="1019" y="131"/>
                  <a:pt x="1022" y="129"/>
                </a:cubicBezTo>
                <a:cubicBezTo>
                  <a:pt x="1022" y="131"/>
                  <a:pt x="1024" y="133"/>
                  <a:pt x="1025" y="133"/>
                </a:cubicBezTo>
                <a:cubicBezTo>
                  <a:pt x="1023" y="134"/>
                  <a:pt x="1021" y="135"/>
                  <a:pt x="1019" y="137"/>
                </a:cubicBezTo>
                <a:cubicBezTo>
                  <a:pt x="1018" y="136"/>
                  <a:pt x="1018" y="135"/>
                  <a:pt x="1017" y="134"/>
                </a:cubicBezTo>
                <a:cubicBezTo>
                  <a:pt x="1017" y="134"/>
                  <a:pt x="1016" y="134"/>
                  <a:pt x="1016" y="134"/>
                </a:cubicBezTo>
                <a:close/>
                <a:moveTo>
                  <a:pt x="1021" y="134"/>
                </a:moveTo>
                <a:cubicBezTo>
                  <a:pt x="1021" y="133"/>
                  <a:pt x="1020" y="133"/>
                  <a:pt x="1019" y="133"/>
                </a:cubicBezTo>
                <a:cubicBezTo>
                  <a:pt x="1019" y="133"/>
                  <a:pt x="1018" y="134"/>
                  <a:pt x="1018" y="134"/>
                </a:cubicBezTo>
                <a:cubicBezTo>
                  <a:pt x="1018" y="135"/>
                  <a:pt x="1019" y="135"/>
                  <a:pt x="1019" y="135"/>
                </a:cubicBezTo>
                <a:cubicBezTo>
                  <a:pt x="1020" y="135"/>
                  <a:pt x="1020" y="135"/>
                  <a:pt x="1021" y="134"/>
                </a:cubicBezTo>
                <a:close/>
                <a:moveTo>
                  <a:pt x="1003" y="124"/>
                </a:moveTo>
                <a:cubicBezTo>
                  <a:pt x="996" y="123"/>
                  <a:pt x="993" y="126"/>
                  <a:pt x="992" y="134"/>
                </a:cubicBezTo>
                <a:cubicBezTo>
                  <a:pt x="993" y="132"/>
                  <a:pt x="994" y="129"/>
                  <a:pt x="996" y="127"/>
                </a:cubicBezTo>
                <a:cubicBezTo>
                  <a:pt x="996" y="127"/>
                  <a:pt x="996" y="127"/>
                  <a:pt x="996" y="127"/>
                </a:cubicBezTo>
                <a:cubicBezTo>
                  <a:pt x="996" y="128"/>
                  <a:pt x="996" y="129"/>
                  <a:pt x="996" y="130"/>
                </a:cubicBezTo>
                <a:cubicBezTo>
                  <a:pt x="997" y="126"/>
                  <a:pt x="999" y="124"/>
                  <a:pt x="1003" y="124"/>
                </a:cubicBezTo>
                <a:close/>
                <a:moveTo>
                  <a:pt x="1046" y="126"/>
                </a:moveTo>
                <a:cubicBezTo>
                  <a:pt x="1044" y="127"/>
                  <a:pt x="1042" y="128"/>
                  <a:pt x="1040" y="130"/>
                </a:cubicBezTo>
                <a:cubicBezTo>
                  <a:pt x="1043" y="130"/>
                  <a:pt x="1045" y="128"/>
                  <a:pt x="1046" y="126"/>
                </a:cubicBezTo>
                <a:close/>
                <a:moveTo>
                  <a:pt x="1013" y="128"/>
                </a:moveTo>
                <a:cubicBezTo>
                  <a:pt x="1014" y="126"/>
                  <a:pt x="1015" y="125"/>
                  <a:pt x="1016" y="124"/>
                </a:cubicBezTo>
                <a:cubicBezTo>
                  <a:pt x="1013" y="125"/>
                  <a:pt x="1012" y="126"/>
                  <a:pt x="1013" y="128"/>
                </a:cubicBezTo>
                <a:close/>
                <a:moveTo>
                  <a:pt x="1023" y="149"/>
                </a:moveTo>
                <a:cubicBezTo>
                  <a:pt x="1021" y="150"/>
                  <a:pt x="1020" y="150"/>
                  <a:pt x="1020" y="151"/>
                </a:cubicBezTo>
                <a:cubicBezTo>
                  <a:pt x="1020" y="151"/>
                  <a:pt x="1022" y="150"/>
                  <a:pt x="1023" y="149"/>
                </a:cubicBezTo>
                <a:close/>
                <a:moveTo>
                  <a:pt x="1021" y="134"/>
                </a:moveTo>
                <a:cubicBezTo>
                  <a:pt x="1021" y="133"/>
                  <a:pt x="1020" y="133"/>
                  <a:pt x="1019" y="133"/>
                </a:cubicBezTo>
                <a:cubicBezTo>
                  <a:pt x="1019" y="133"/>
                  <a:pt x="1018" y="134"/>
                  <a:pt x="1018" y="134"/>
                </a:cubicBezTo>
                <a:cubicBezTo>
                  <a:pt x="1018" y="134"/>
                  <a:pt x="1019" y="135"/>
                  <a:pt x="1019" y="135"/>
                </a:cubicBezTo>
                <a:cubicBezTo>
                  <a:pt x="1020" y="135"/>
                  <a:pt x="1020" y="134"/>
                  <a:pt x="1021" y="134"/>
                </a:cubicBezTo>
                <a:close/>
                <a:moveTo>
                  <a:pt x="1546" y="255"/>
                </a:moveTo>
                <a:cubicBezTo>
                  <a:pt x="1546" y="256"/>
                  <a:pt x="1547" y="257"/>
                  <a:pt x="1547" y="259"/>
                </a:cubicBezTo>
                <a:cubicBezTo>
                  <a:pt x="1548" y="260"/>
                  <a:pt x="1548" y="262"/>
                  <a:pt x="1549" y="264"/>
                </a:cubicBezTo>
                <a:cubicBezTo>
                  <a:pt x="1549" y="266"/>
                  <a:pt x="1549" y="267"/>
                  <a:pt x="1549" y="269"/>
                </a:cubicBezTo>
                <a:cubicBezTo>
                  <a:pt x="1550" y="272"/>
                  <a:pt x="1549" y="274"/>
                  <a:pt x="1545" y="274"/>
                </a:cubicBezTo>
                <a:cubicBezTo>
                  <a:pt x="1543" y="274"/>
                  <a:pt x="1540" y="273"/>
                  <a:pt x="1537" y="273"/>
                </a:cubicBezTo>
                <a:cubicBezTo>
                  <a:pt x="1537" y="273"/>
                  <a:pt x="1536" y="273"/>
                  <a:pt x="1536" y="274"/>
                </a:cubicBezTo>
                <a:cubicBezTo>
                  <a:pt x="1534" y="275"/>
                  <a:pt x="1532" y="276"/>
                  <a:pt x="1531" y="278"/>
                </a:cubicBezTo>
                <a:cubicBezTo>
                  <a:pt x="1529" y="280"/>
                  <a:pt x="1526" y="281"/>
                  <a:pt x="1524" y="279"/>
                </a:cubicBezTo>
                <a:cubicBezTo>
                  <a:pt x="1522" y="276"/>
                  <a:pt x="1521" y="274"/>
                  <a:pt x="1519" y="271"/>
                </a:cubicBezTo>
                <a:cubicBezTo>
                  <a:pt x="1518" y="270"/>
                  <a:pt x="1519" y="268"/>
                  <a:pt x="1521" y="266"/>
                </a:cubicBezTo>
                <a:cubicBezTo>
                  <a:pt x="1518" y="266"/>
                  <a:pt x="1517" y="266"/>
                  <a:pt x="1515" y="266"/>
                </a:cubicBezTo>
                <a:cubicBezTo>
                  <a:pt x="1514" y="268"/>
                  <a:pt x="1513" y="270"/>
                  <a:pt x="1512" y="272"/>
                </a:cubicBezTo>
                <a:cubicBezTo>
                  <a:pt x="1512" y="273"/>
                  <a:pt x="1512" y="274"/>
                  <a:pt x="1512" y="275"/>
                </a:cubicBezTo>
                <a:cubicBezTo>
                  <a:pt x="1512" y="278"/>
                  <a:pt x="1511" y="279"/>
                  <a:pt x="1508" y="279"/>
                </a:cubicBezTo>
                <a:cubicBezTo>
                  <a:pt x="1504" y="278"/>
                  <a:pt x="1502" y="278"/>
                  <a:pt x="1498" y="276"/>
                </a:cubicBezTo>
                <a:cubicBezTo>
                  <a:pt x="1496" y="276"/>
                  <a:pt x="1496" y="274"/>
                  <a:pt x="1496" y="272"/>
                </a:cubicBezTo>
                <a:cubicBezTo>
                  <a:pt x="1497" y="272"/>
                  <a:pt x="1497" y="271"/>
                  <a:pt x="1497" y="271"/>
                </a:cubicBezTo>
                <a:cubicBezTo>
                  <a:pt x="1495" y="270"/>
                  <a:pt x="1493" y="269"/>
                  <a:pt x="1491" y="267"/>
                </a:cubicBezTo>
                <a:cubicBezTo>
                  <a:pt x="1489" y="266"/>
                  <a:pt x="1488" y="264"/>
                  <a:pt x="1487" y="263"/>
                </a:cubicBezTo>
                <a:cubicBezTo>
                  <a:pt x="1487" y="261"/>
                  <a:pt x="1487" y="259"/>
                  <a:pt x="1489" y="258"/>
                </a:cubicBezTo>
                <a:cubicBezTo>
                  <a:pt x="1492" y="255"/>
                  <a:pt x="1493" y="253"/>
                  <a:pt x="1492" y="249"/>
                </a:cubicBezTo>
                <a:cubicBezTo>
                  <a:pt x="1492" y="247"/>
                  <a:pt x="1492" y="244"/>
                  <a:pt x="1492" y="243"/>
                </a:cubicBezTo>
                <a:cubicBezTo>
                  <a:pt x="1491" y="242"/>
                  <a:pt x="1489" y="241"/>
                  <a:pt x="1488" y="240"/>
                </a:cubicBezTo>
                <a:cubicBezTo>
                  <a:pt x="1487" y="239"/>
                  <a:pt x="1486" y="237"/>
                  <a:pt x="1486" y="235"/>
                </a:cubicBezTo>
                <a:cubicBezTo>
                  <a:pt x="1485" y="232"/>
                  <a:pt x="1489" y="229"/>
                  <a:pt x="1492" y="228"/>
                </a:cubicBezTo>
                <a:cubicBezTo>
                  <a:pt x="1492" y="229"/>
                  <a:pt x="1492" y="230"/>
                  <a:pt x="1493" y="231"/>
                </a:cubicBezTo>
                <a:cubicBezTo>
                  <a:pt x="1493" y="232"/>
                  <a:pt x="1493" y="233"/>
                  <a:pt x="1493" y="234"/>
                </a:cubicBezTo>
                <a:cubicBezTo>
                  <a:pt x="1492" y="234"/>
                  <a:pt x="1492" y="234"/>
                  <a:pt x="1491" y="234"/>
                </a:cubicBezTo>
                <a:cubicBezTo>
                  <a:pt x="1491" y="235"/>
                  <a:pt x="1491" y="236"/>
                  <a:pt x="1490" y="238"/>
                </a:cubicBezTo>
                <a:cubicBezTo>
                  <a:pt x="1491" y="238"/>
                  <a:pt x="1492" y="238"/>
                  <a:pt x="1492" y="237"/>
                </a:cubicBezTo>
                <a:cubicBezTo>
                  <a:pt x="1493" y="236"/>
                  <a:pt x="1494" y="235"/>
                  <a:pt x="1495" y="234"/>
                </a:cubicBezTo>
                <a:cubicBezTo>
                  <a:pt x="1499" y="227"/>
                  <a:pt x="1505" y="223"/>
                  <a:pt x="1513" y="222"/>
                </a:cubicBezTo>
                <a:cubicBezTo>
                  <a:pt x="1516" y="221"/>
                  <a:pt x="1519" y="220"/>
                  <a:pt x="1522" y="217"/>
                </a:cubicBezTo>
                <a:cubicBezTo>
                  <a:pt x="1522" y="217"/>
                  <a:pt x="1523" y="217"/>
                  <a:pt x="1523" y="217"/>
                </a:cubicBezTo>
                <a:cubicBezTo>
                  <a:pt x="1526" y="216"/>
                  <a:pt x="1527" y="214"/>
                  <a:pt x="1529" y="212"/>
                </a:cubicBezTo>
                <a:cubicBezTo>
                  <a:pt x="1537" y="204"/>
                  <a:pt x="1549" y="204"/>
                  <a:pt x="1556" y="211"/>
                </a:cubicBezTo>
                <a:cubicBezTo>
                  <a:pt x="1559" y="213"/>
                  <a:pt x="1562" y="215"/>
                  <a:pt x="1564" y="217"/>
                </a:cubicBezTo>
                <a:cubicBezTo>
                  <a:pt x="1565" y="218"/>
                  <a:pt x="1567" y="219"/>
                  <a:pt x="1568" y="221"/>
                </a:cubicBezTo>
                <a:cubicBezTo>
                  <a:pt x="1569" y="223"/>
                  <a:pt x="1569" y="223"/>
                  <a:pt x="1571" y="222"/>
                </a:cubicBezTo>
                <a:cubicBezTo>
                  <a:pt x="1571" y="221"/>
                  <a:pt x="1572" y="221"/>
                  <a:pt x="1573" y="220"/>
                </a:cubicBezTo>
                <a:cubicBezTo>
                  <a:pt x="1575" y="217"/>
                  <a:pt x="1578" y="217"/>
                  <a:pt x="1579" y="220"/>
                </a:cubicBezTo>
                <a:cubicBezTo>
                  <a:pt x="1580" y="223"/>
                  <a:pt x="1581" y="226"/>
                  <a:pt x="1582" y="229"/>
                </a:cubicBezTo>
                <a:cubicBezTo>
                  <a:pt x="1582" y="234"/>
                  <a:pt x="1582" y="238"/>
                  <a:pt x="1580" y="242"/>
                </a:cubicBezTo>
                <a:cubicBezTo>
                  <a:pt x="1578" y="249"/>
                  <a:pt x="1573" y="252"/>
                  <a:pt x="1567" y="252"/>
                </a:cubicBezTo>
                <a:cubicBezTo>
                  <a:pt x="1566" y="252"/>
                  <a:pt x="1565" y="252"/>
                  <a:pt x="1565" y="252"/>
                </a:cubicBezTo>
                <a:cubicBezTo>
                  <a:pt x="1562" y="252"/>
                  <a:pt x="1561" y="252"/>
                  <a:pt x="1560" y="255"/>
                </a:cubicBezTo>
                <a:cubicBezTo>
                  <a:pt x="1559" y="259"/>
                  <a:pt x="1553" y="260"/>
                  <a:pt x="1550" y="257"/>
                </a:cubicBezTo>
                <a:cubicBezTo>
                  <a:pt x="1549" y="256"/>
                  <a:pt x="1548" y="255"/>
                  <a:pt x="1547" y="254"/>
                </a:cubicBezTo>
                <a:cubicBezTo>
                  <a:pt x="1546" y="255"/>
                  <a:pt x="1546" y="255"/>
                  <a:pt x="1546" y="255"/>
                </a:cubicBezTo>
                <a:close/>
                <a:moveTo>
                  <a:pt x="1540" y="250"/>
                </a:moveTo>
                <a:cubicBezTo>
                  <a:pt x="1544" y="252"/>
                  <a:pt x="1547" y="253"/>
                  <a:pt x="1550" y="256"/>
                </a:cubicBezTo>
                <a:cubicBezTo>
                  <a:pt x="1552" y="257"/>
                  <a:pt x="1554" y="258"/>
                  <a:pt x="1556" y="257"/>
                </a:cubicBezTo>
                <a:cubicBezTo>
                  <a:pt x="1558" y="257"/>
                  <a:pt x="1560" y="255"/>
                  <a:pt x="1560" y="251"/>
                </a:cubicBezTo>
                <a:cubicBezTo>
                  <a:pt x="1560" y="252"/>
                  <a:pt x="1559" y="252"/>
                  <a:pt x="1559" y="252"/>
                </a:cubicBezTo>
                <a:cubicBezTo>
                  <a:pt x="1558" y="254"/>
                  <a:pt x="1557" y="255"/>
                  <a:pt x="1556" y="256"/>
                </a:cubicBezTo>
                <a:cubicBezTo>
                  <a:pt x="1555" y="257"/>
                  <a:pt x="1554" y="257"/>
                  <a:pt x="1553" y="256"/>
                </a:cubicBezTo>
                <a:cubicBezTo>
                  <a:pt x="1552" y="256"/>
                  <a:pt x="1552" y="255"/>
                  <a:pt x="1552" y="254"/>
                </a:cubicBezTo>
                <a:cubicBezTo>
                  <a:pt x="1552" y="252"/>
                  <a:pt x="1552" y="250"/>
                  <a:pt x="1553" y="248"/>
                </a:cubicBezTo>
                <a:cubicBezTo>
                  <a:pt x="1556" y="249"/>
                  <a:pt x="1559" y="250"/>
                  <a:pt x="1563" y="250"/>
                </a:cubicBezTo>
                <a:cubicBezTo>
                  <a:pt x="1570" y="251"/>
                  <a:pt x="1576" y="250"/>
                  <a:pt x="1579" y="241"/>
                </a:cubicBezTo>
                <a:cubicBezTo>
                  <a:pt x="1581" y="236"/>
                  <a:pt x="1580" y="232"/>
                  <a:pt x="1580" y="226"/>
                </a:cubicBezTo>
                <a:cubicBezTo>
                  <a:pt x="1579" y="224"/>
                  <a:pt x="1578" y="223"/>
                  <a:pt x="1578" y="221"/>
                </a:cubicBezTo>
                <a:cubicBezTo>
                  <a:pt x="1577" y="219"/>
                  <a:pt x="1576" y="219"/>
                  <a:pt x="1575" y="221"/>
                </a:cubicBezTo>
                <a:cubicBezTo>
                  <a:pt x="1573" y="222"/>
                  <a:pt x="1571" y="224"/>
                  <a:pt x="1569" y="224"/>
                </a:cubicBezTo>
                <a:cubicBezTo>
                  <a:pt x="1569" y="225"/>
                  <a:pt x="1568" y="226"/>
                  <a:pt x="1568" y="227"/>
                </a:cubicBezTo>
                <a:cubicBezTo>
                  <a:pt x="1569" y="230"/>
                  <a:pt x="1568" y="233"/>
                  <a:pt x="1567" y="236"/>
                </a:cubicBezTo>
                <a:cubicBezTo>
                  <a:pt x="1567" y="234"/>
                  <a:pt x="1567" y="232"/>
                  <a:pt x="1567" y="231"/>
                </a:cubicBezTo>
                <a:cubicBezTo>
                  <a:pt x="1567" y="230"/>
                  <a:pt x="1567" y="230"/>
                  <a:pt x="1567" y="229"/>
                </a:cubicBezTo>
                <a:cubicBezTo>
                  <a:pt x="1566" y="230"/>
                  <a:pt x="1565" y="230"/>
                  <a:pt x="1565" y="230"/>
                </a:cubicBezTo>
                <a:cubicBezTo>
                  <a:pt x="1565" y="231"/>
                  <a:pt x="1564" y="233"/>
                  <a:pt x="1563" y="234"/>
                </a:cubicBezTo>
                <a:cubicBezTo>
                  <a:pt x="1563" y="234"/>
                  <a:pt x="1563" y="234"/>
                  <a:pt x="1563" y="234"/>
                </a:cubicBezTo>
                <a:cubicBezTo>
                  <a:pt x="1563" y="232"/>
                  <a:pt x="1563" y="231"/>
                  <a:pt x="1564" y="228"/>
                </a:cubicBezTo>
                <a:cubicBezTo>
                  <a:pt x="1563" y="229"/>
                  <a:pt x="1562" y="230"/>
                  <a:pt x="1562" y="230"/>
                </a:cubicBezTo>
                <a:cubicBezTo>
                  <a:pt x="1561" y="231"/>
                  <a:pt x="1561" y="232"/>
                  <a:pt x="1560" y="232"/>
                </a:cubicBezTo>
                <a:cubicBezTo>
                  <a:pt x="1561" y="229"/>
                  <a:pt x="1561" y="229"/>
                  <a:pt x="1567" y="228"/>
                </a:cubicBezTo>
                <a:cubicBezTo>
                  <a:pt x="1567" y="227"/>
                  <a:pt x="1566" y="226"/>
                  <a:pt x="1566" y="226"/>
                </a:cubicBezTo>
                <a:cubicBezTo>
                  <a:pt x="1563" y="227"/>
                  <a:pt x="1562" y="226"/>
                  <a:pt x="1562" y="223"/>
                </a:cubicBezTo>
                <a:cubicBezTo>
                  <a:pt x="1563" y="223"/>
                  <a:pt x="1565" y="222"/>
                  <a:pt x="1567" y="222"/>
                </a:cubicBezTo>
                <a:cubicBezTo>
                  <a:pt x="1565" y="220"/>
                  <a:pt x="1563" y="217"/>
                  <a:pt x="1560" y="217"/>
                </a:cubicBezTo>
                <a:cubicBezTo>
                  <a:pt x="1560" y="217"/>
                  <a:pt x="1560" y="216"/>
                  <a:pt x="1560" y="216"/>
                </a:cubicBezTo>
                <a:cubicBezTo>
                  <a:pt x="1557" y="214"/>
                  <a:pt x="1555" y="211"/>
                  <a:pt x="1552" y="209"/>
                </a:cubicBezTo>
                <a:cubicBezTo>
                  <a:pt x="1550" y="208"/>
                  <a:pt x="1547" y="207"/>
                  <a:pt x="1545" y="207"/>
                </a:cubicBezTo>
                <a:cubicBezTo>
                  <a:pt x="1541" y="208"/>
                  <a:pt x="1538" y="209"/>
                  <a:pt x="1535" y="210"/>
                </a:cubicBezTo>
                <a:cubicBezTo>
                  <a:pt x="1532" y="211"/>
                  <a:pt x="1530" y="213"/>
                  <a:pt x="1528" y="216"/>
                </a:cubicBezTo>
                <a:cubicBezTo>
                  <a:pt x="1530" y="216"/>
                  <a:pt x="1531" y="216"/>
                  <a:pt x="1532" y="216"/>
                </a:cubicBezTo>
                <a:cubicBezTo>
                  <a:pt x="1532" y="216"/>
                  <a:pt x="1531" y="217"/>
                  <a:pt x="1530" y="217"/>
                </a:cubicBezTo>
                <a:cubicBezTo>
                  <a:pt x="1528" y="217"/>
                  <a:pt x="1525" y="217"/>
                  <a:pt x="1523" y="219"/>
                </a:cubicBezTo>
                <a:cubicBezTo>
                  <a:pt x="1519" y="223"/>
                  <a:pt x="1515" y="226"/>
                  <a:pt x="1512" y="231"/>
                </a:cubicBezTo>
                <a:cubicBezTo>
                  <a:pt x="1510" y="233"/>
                  <a:pt x="1509" y="235"/>
                  <a:pt x="1508" y="238"/>
                </a:cubicBezTo>
                <a:cubicBezTo>
                  <a:pt x="1508" y="238"/>
                  <a:pt x="1508" y="239"/>
                  <a:pt x="1509" y="239"/>
                </a:cubicBezTo>
                <a:cubicBezTo>
                  <a:pt x="1510" y="241"/>
                  <a:pt x="1511" y="243"/>
                  <a:pt x="1513" y="245"/>
                </a:cubicBezTo>
                <a:cubicBezTo>
                  <a:pt x="1514" y="243"/>
                  <a:pt x="1515" y="242"/>
                  <a:pt x="1516" y="241"/>
                </a:cubicBezTo>
                <a:cubicBezTo>
                  <a:pt x="1516" y="242"/>
                  <a:pt x="1515" y="243"/>
                  <a:pt x="1515" y="245"/>
                </a:cubicBezTo>
                <a:cubicBezTo>
                  <a:pt x="1514" y="246"/>
                  <a:pt x="1513" y="247"/>
                  <a:pt x="1513" y="249"/>
                </a:cubicBezTo>
                <a:cubicBezTo>
                  <a:pt x="1512" y="249"/>
                  <a:pt x="1513" y="251"/>
                  <a:pt x="1513" y="251"/>
                </a:cubicBezTo>
                <a:cubicBezTo>
                  <a:pt x="1515" y="255"/>
                  <a:pt x="1519" y="255"/>
                  <a:pt x="1523" y="253"/>
                </a:cubicBezTo>
                <a:cubicBezTo>
                  <a:pt x="1525" y="251"/>
                  <a:pt x="1528" y="250"/>
                  <a:pt x="1530" y="249"/>
                </a:cubicBezTo>
                <a:cubicBezTo>
                  <a:pt x="1532" y="249"/>
                  <a:pt x="1533" y="248"/>
                  <a:pt x="1533" y="247"/>
                </a:cubicBezTo>
                <a:cubicBezTo>
                  <a:pt x="1533" y="243"/>
                  <a:pt x="1533" y="240"/>
                  <a:pt x="1533" y="237"/>
                </a:cubicBezTo>
                <a:cubicBezTo>
                  <a:pt x="1533" y="234"/>
                  <a:pt x="1533" y="231"/>
                  <a:pt x="1533" y="228"/>
                </a:cubicBezTo>
                <a:cubicBezTo>
                  <a:pt x="1534" y="230"/>
                  <a:pt x="1534" y="233"/>
                  <a:pt x="1535" y="236"/>
                </a:cubicBezTo>
                <a:cubicBezTo>
                  <a:pt x="1536" y="240"/>
                  <a:pt x="1536" y="245"/>
                  <a:pt x="1534" y="249"/>
                </a:cubicBezTo>
                <a:cubicBezTo>
                  <a:pt x="1534" y="250"/>
                  <a:pt x="1533" y="251"/>
                  <a:pt x="1533" y="251"/>
                </a:cubicBezTo>
                <a:cubicBezTo>
                  <a:pt x="1529" y="251"/>
                  <a:pt x="1526" y="253"/>
                  <a:pt x="1523" y="255"/>
                </a:cubicBezTo>
                <a:cubicBezTo>
                  <a:pt x="1518" y="258"/>
                  <a:pt x="1514" y="256"/>
                  <a:pt x="1511" y="252"/>
                </a:cubicBezTo>
                <a:cubicBezTo>
                  <a:pt x="1510" y="251"/>
                  <a:pt x="1510" y="250"/>
                  <a:pt x="1511" y="250"/>
                </a:cubicBezTo>
                <a:cubicBezTo>
                  <a:pt x="1512" y="247"/>
                  <a:pt x="1511" y="245"/>
                  <a:pt x="1509" y="243"/>
                </a:cubicBezTo>
                <a:cubicBezTo>
                  <a:pt x="1508" y="241"/>
                  <a:pt x="1506" y="239"/>
                  <a:pt x="1507" y="236"/>
                </a:cubicBezTo>
                <a:cubicBezTo>
                  <a:pt x="1508" y="234"/>
                  <a:pt x="1509" y="233"/>
                  <a:pt x="1510" y="231"/>
                </a:cubicBezTo>
                <a:cubicBezTo>
                  <a:pt x="1511" y="228"/>
                  <a:pt x="1514" y="226"/>
                  <a:pt x="1516" y="223"/>
                </a:cubicBezTo>
                <a:cubicBezTo>
                  <a:pt x="1515" y="223"/>
                  <a:pt x="1515" y="223"/>
                  <a:pt x="1515" y="223"/>
                </a:cubicBezTo>
                <a:cubicBezTo>
                  <a:pt x="1509" y="224"/>
                  <a:pt x="1505" y="226"/>
                  <a:pt x="1501" y="229"/>
                </a:cubicBezTo>
                <a:cubicBezTo>
                  <a:pt x="1496" y="234"/>
                  <a:pt x="1494" y="239"/>
                  <a:pt x="1493" y="245"/>
                </a:cubicBezTo>
                <a:cubicBezTo>
                  <a:pt x="1493" y="252"/>
                  <a:pt x="1495" y="258"/>
                  <a:pt x="1499" y="264"/>
                </a:cubicBezTo>
                <a:cubicBezTo>
                  <a:pt x="1499" y="265"/>
                  <a:pt x="1500" y="266"/>
                  <a:pt x="1500" y="268"/>
                </a:cubicBezTo>
                <a:cubicBezTo>
                  <a:pt x="1500" y="269"/>
                  <a:pt x="1499" y="271"/>
                  <a:pt x="1498" y="272"/>
                </a:cubicBezTo>
                <a:cubicBezTo>
                  <a:pt x="1498" y="274"/>
                  <a:pt x="1498" y="275"/>
                  <a:pt x="1500" y="275"/>
                </a:cubicBezTo>
                <a:cubicBezTo>
                  <a:pt x="1503" y="276"/>
                  <a:pt x="1506" y="276"/>
                  <a:pt x="1508" y="277"/>
                </a:cubicBezTo>
                <a:cubicBezTo>
                  <a:pt x="1509" y="277"/>
                  <a:pt x="1510" y="276"/>
                  <a:pt x="1510" y="276"/>
                </a:cubicBezTo>
                <a:cubicBezTo>
                  <a:pt x="1510" y="274"/>
                  <a:pt x="1510" y="273"/>
                  <a:pt x="1511" y="272"/>
                </a:cubicBezTo>
                <a:cubicBezTo>
                  <a:pt x="1513" y="270"/>
                  <a:pt x="1513" y="267"/>
                  <a:pt x="1513" y="264"/>
                </a:cubicBezTo>
                <a:cubicBezTo>
                  <a:pt x="1513" y="264"/>
                  <a:pt x="1513" y="263"/>
                  <a:pt x="1513" y="263"/>
                </a:cubicBezTo>
                <a:cubicBezTo>
                  <a:pt x="1513" y="262"/>
                  <a:pt x="1513" y="262"/>
                  <a:pt x="1513" y="262"/>
                </a:cubicBezTo>
                <a:cubicBezTo>
                  <a:pt x="1513" y="265"/>
                  <a:pt x="1515" y="265"/>
                  <a:pt x="1517" y="265"/>
                </a:cubicBezTo>
                <a:cubicBezTo>
                  <a:pt x="1518" y="265"/>
                  <a:pt x="1519" y="265"/>
                  <a:pt x="1520" y="265"/>
                </a:cubicBezTo>
                <a:cubicBezTo>
                  <a:pt x="1522" y="265"/>
                  <a:pt x="1525" y="266"/>
                  <a:pt x="1526" y="261"/>
                </a:cubicBezTo>
                <a:cubicBezTo>
                  <a:pt x="1526" y="264"/>
                  <a:pt x="1526" y="265"/>
                  <a:pt x="1526" y="266"/>
                </a:cubicBezTo>
                <a:cubicBezTo>
                  <a:pt x="1524" y="267"/>
                  <a:pt x="1523" y="268"/>
                  <a:pt x="1522" y="268"/>
                </a:cubicBezTo>
                <a:cubicBezTo>
                  <a:pt x="1521" y="269"/>
                  <a:pt x="1520" y="270"/>
                  <a:pt x="1521" y="271"/>
                </a:cubicBezTo>
                <a:cubicBezTo>
                  <a:pt x="1522" y="274"/>
                  <a:pt x="1523" y="276"/>
                  <a:pt x="1525" y="278"/>
                </a:cubicBezTo>
                <a:cubicBezTo>
                  <a:pt x="1526" y="279"/>
                  <a:pt x="1528" y="278"/>
                  <a:pt x="1530" y="277"/>
                </a:cubicBezTo>
                <a:cubicBezTo>
                  <a:pt x="1530" y="276"/>
                  <a:pt x="1531" y="275"/>
                  <a:pt x="1532" y="275"/>
                </a:cubicBezTo>
                <a:cubicBezTo>
                  <a:pt x="1534" y="273"/>
                  <a:pt x="1535" y="272"/>
                  <a:pt x="1537" y="271"/>
                </a:cubicBezTo>
                <a:cubicBezTo>
                  <a:pt x="1541" y="266"/>
                  <a:pt x="1543" y="260"/>
                  <a:pt x="1545" y="255"/>
                </a:cubicBezTo>
                <a:cubicBezTo>
                  <a:pt x="1545" y="254"/>
                  <a:pt x="1544" y="253"/>
                  <a:pt x="1543" y="253"/>
                </a:cubicBezTo>
                <a:cubicBezTo>
                  <a:pt x="1543" y="252"/>
                  <a:pt x="1541" y="251"/>
                  <a:pt x="1540" y="250"/>
                </a:cubicBezTo>
                <a:close/>
                <a:moveTo>
                  <a:pt x="1493" y="257"/>
                </a:moveTo>
                <a:cubicBezTo>
                  <a:pt x="1492" y="257"/>
                  <a:pt x="1491" y="258"/>
                  <a:pt x="1489" y="259"/>
                </a:cubicBezTo>
                <a:cubicBezTo>
                  <a:pt x="1489" y="260"/>
                  <a:pt x="1489" y="260"/>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2"/>
                  <a:pt x="1547" y="272"/>
                </a:cubicBezTo>
                <a:cubicBezTo>
                  <a:pt x="1547" y="272"/>
                  <a:pt x="1547" y="271"/>
                  <a:pt x="1547" y="270"/>
                </a:cubicBezTo>
                <a:cubicBezTo>
                  <a:pt x="1547" y="268"/>
                  <a:pt x="1547" y="265"/>
                  <a:pt x="1547" y="263"/>
                </a:cubicBezTo>
                <a:cubicBezTo>
                  <a:pt x="1547" y="261"/>
                  <a:pt x="1546" y="260"/>
                  <a:pt x="1546" y="259"/>
                </a:cubicBezTo>
                <a:close/>
                <a:moveTo>
                  <a:pt x="1493" y="238"/>
                </a:moveTo>
                <a:cubicBezTo>
                  <a:pt x="1492" y="239"/>
                  <a:pt x="1491" y="239"/>
                  <a:pt x="1491" y="239"/>
                </a:cubicBezTo>
                <a:cubicBezTo>
                  <a:pt x="1490" y="239"/>
                  <a:pt x="1489" y="239"/>
                  <a:pt x="1489" y="239"/>
                </a:cubicBezTo>
                <a:cubicBezTo>
                  <a:pt x="1489" y="238"/>
                  <a:pt x="1489" y="238"/>
                  <a:pt x="1489" y="237"/>
                </a:cubicBezTo>
                <a:cubicBezTo>
                  <a:pt x="1489" y="235"/>
                  <a:pt x="1490" y="233"/>
                  <a:pt x="1491" y="231"/>
                </a:cubicBezTo>
                <a:cubicBezTo>
                  <a:pt x="1490" y="231"/>
                  <a:pt x="1490" y="231"/>
                  <a:pt x="1490" y="231"/>
                </a:cubicBezTo>
                <a:cubicBezTo>
                  <a:pt x="1489" y="232"/>
                  <a:pt x="1488" y="232"/>
                  <a:pt x="1487" y="234"/>
                </a:cubicBezTo>
                <a:cubicBezTo>
                  <a:pt x="1486" y="235"/>
                  <a:pt x="1488" y="240"/>
                  <a:pt x="1489" y="241"/>
                </a:cubicBezTo>
                <a:cubicBezTo>
                  <a:pt x="1491" y="241"/>
                  <a:pt x="1493" y="240"/>
                  <a:pt x="1493" y="238"/>
                </a:cubicBezTo>
                <a:close/>
                <a:moveTo>
                  <a:pt x="1493" y="257"/>
                </a:moveTo>
                <a:cubicBezTo>
                  <a:pt x="1492" y="257"/>
                  <a:pt x="1491" y="258"/>
                  <a:pt x="1490" y="259"/>
                </a:cubicBezTo>
                <a:cubicBezTo>
                  <a:pt x="1489" y="260"/>
                  <a:pt x="1489" y="261"/>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3"/>
                  <a:pt x="1547" y="272"/>
                </a:cubicBezTo>
                <a:cubicBezTo>
                  <a:pt x="1547" y="272"/>
                  <a:pt x="1547" y="271"/>
                  <a:pt x="1547" y="271"/>
                </a:cubicBezTo>
                <a:cubicBezTo>
                  <a:pt x="1547" y="268"/>
                  <a:pt x="1547" y="265"/>
                  <a:pt x="1547" y="263"/>
                </a:cubicBezTo>
                <a:cubicBezTo>
                  <a:pt x="1547" y="261"/>
                  <a:pt x="1546" y="260"/>
                  <a:pt x="1546" y="259"/>
                </a:cubicBezTo>
                <a:close/>
                <a:moveTo>
                  <a:pt x="1493" y="238"/>
                </a:moveTo>
                <a:cubicBezTo>
                  <a:pt x="1492" y="239"/>
                  <a:pt x="1492" y="239"/>
                  <a:pt x="1491" y="239"/>
                </a:cubicBezTo>
                <a:cubicBezTo>
                  <a:pt x="1490" y="239"/>
                  <a:pt x="1490" y="239"/>
                  <a:pt x="1490" y="239"/>
                </a:cubicBezTo>
                <a:cubicBezTo>
                  <a:pt x="1489" y="238"/>
                  <a:pt x="1489" y="237"/>
                  <a:pt x="1489" y="237"/>
                </a:cubicBezTo>
                <a:cubicBezTo>
                  <a:pt x="1490" y="235"/>
                  <a:pt x="1490" y="233"/>
                  <a:pt x="1491" y="231"/>
                </a:cubicBezTo>
                <a:cubicBezTo>
                  <a:pt x="1490" y="231"/>
                  <a:pt x="1490" y="231"/>
                  <a:pt x="1490" y="231"/>
                </a:cubicBezTo>
                <a:cubicBezTo>
                  <a:pt x="1489" y="232"/>
                  <a:pt x="1488" y="232"/>
                  <a:pt x="1487" y="233"/>
                </a:cubicBezTo>
                <a:cubicBezTo>
                  <a:pt x="1486" y="235"/>
                  <a:pt x="1488" y="240"/>
                  <a:pt x="1490" y="241"/>
                </a:cubicBezTo>
                <a:cubicBezTo>
                  <a:pt x="1491" y="241"/>
                  <a:pt x="1493" y="240"/>
                  <a:pt x="1493" y="238"/>
                </a:cubicBezTo>
                <a:close/>
                <a:moveTo>
                  <a:pt x="1545" y="230"/>
                </a:moveTo>
                <a:cubicBezTo>
                  <a:pt x="1549" y="227"/>
                  <a:pt x="1549" y="227"/>
                  <a:pt x="1552" y="225"/>
                </a:cubicBezTo>
                <a:cubicBezTo>
                  <a:pt x="1552" y="227"/>
                  <a:pt x="1554" y="228"/>
                  <a:pt x="1555" y="228"/>
                </a:cubicBezTo>
                <a:cubicBezTo>
                  <a:pt x="1553" y="230"/>
                  <a:pt x="1551" y="231"/>
                  <a:pt x="1549" y="232"/>
                </a:cubicBezTo>
                <a:cubicBezTo>
                  <a:pt x="1548" y="231"/>
                  <a:pt x="1548" y="231"/>
                  <a:pt x="1547" y="230"/>
                </a:cubicBezTo>
                <a:cubicBezTo>
                  <a:pt x="1547" y="230"/>
                  <a:pt x="1546" y="230"/>
                  <a:pt x="1545" y="230"/>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532" y="220"/>
                </a:moveTo>
                <a:cubicBezTo>
                  <a:pt x="1526" y="219"/>
                  <a:pt x="1523" y="222"/>
                  <a:pt x="1522" y="230"/>
                </a:cubicBezTo>
                <a:cubicBezTo>
                  <a:pt x="1523" y="228"/>
                  <a:pt x="1524" y="225"/>
                  <a:pt x="1525" y="223"/>
                </a:cubicBezTo>
                <a:cubicBezTo>
                  <a:pt x="1526" y="223"/>
                  <a:pt x="1526" y="223"/>
                  <a:pt x="1526" y="223"/>
                </a:cubicBezTo>
                <a:cubicBezTo>
                  <a:pt x="1526" y="224"/>
                  <a:pt x="1526" y="225"/>
                  <a:pt x="1526" y="226"/>
                </a:cubicBezTo>
                <a:cubicBezTo>
                  <a:pt x="1527" y="222"/>
                  <a:pt x="1529" y="220"/>
                  <a:pt x="1532" y="220"/>
                </a:cubicBezTo>
                <a:close/>
                <a:moveTo>
                  <a:pt x="1576" y="222"/>
                </a:moveTo>
                <a:cubicBezTo>
                  <a:pt x="1574" y="223"/>
                  <a:pt x="1572" y="224"/>
                  <a:pt x="1570" y="226"/>
                </a:cubicBezTo>
                <a:cubicBezTo>
                  <a:pt x="1572" y="226"/>
                  <a:pt x="1575" y="224"/>
                  <a:pt x="1576" y="222"/>
                </a:cubicBezTo>
                <a:close/>
                <a:moveTo>
                  <a:pt x="1542" y="224"/>
                </a:moveTo>
                <a:cubicBezTo>
                  <a:pt x="1544" y="222"/>
                  <a:pt x="1545" y="221"/>
                  <a:pt x="1546" y="220"/>
                </a:cubicBezTo>
                <a:cubicBezTo>
                  <a:pt x="1543" y="221"/>
                  <a:pt x="1542" y="222"/>
                  <a:pt x="1542" y="224"/>
                </a:cubicBezTo>
                <a:close/>
                <a:moveTo>
                  <a:pt x="1553" y="245"/>
                </a:moveTo>
                <a:cubicBezTo>
                  <a:pt x="1551" y="246"/>
                  <a:pt x="1550" y="246"/>
                  <a:pt x="1550" y="247"/>
                </a:cubicBezTo>
                <a:cubicBezTo>
                  <a:pt x="1550" y="247"/>
                  <a:pt x="1552" y="246"/>
                  <a:pt x="1553" y="245"/>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099" y="111"/>
                </a:moveTo>
                <a:cubicBezTo>
                  <a:pt x="1099" y="111"/>
                  <a:pt x="1099" y="111"/>
                  <a:pt x="1099" y="111"/>
                </a:cubicBezTo>
                <a:cubicBezTo>
                  <a:pt x="1094" y="111"/>
                  <a:pt x="1094" y="111"/>
                  <a:pt x="1094" y="111"/>
                </a:cubicBezTo>
                <a:cubicBezTo>
                  <a:pt x="1092" y="113"/>
                  <a:pt x="1090" y="114"/>
                  <a:pt x="1088" y="115"/>
                </a:cubicBezTo>
                <a:cubicBezTo>
                  <a:pt x="1087" y="116"/>
                  <a:pt x="1085" y="117"/>
                  <a:pt x="1083" y="118"/>
                </a:cubicBezTo>
                <a:cubicBezTo>
                  <a:pt x="1082" y="119"/>
                  <a:pt x="1079" y="120"/>
                  <a:pt x="1078" y="121"/>
                </a:cubicBezTo>
                <a:cubicBezTo>
                  <a:pt x="1076" y="121"/>
                  <a:pt x="1074" y="122"/>
                  <a:pt x="1072" y="122"/>
                </a:cubicBezTo>
                <a:cubicBezTo>
                  <a:pt x="1072" y="122"/>
                  <a:pt x="1072" y="122"/>
                  <a:pt x="1072" y="132"/>
                </a:cubicBezTo>
                <a:cubicBezTo>
                  <a:pt x="1075" y="132"/>
                  <a:pt x="1078" y="131"/>
                  <a:pt x="1080" y="129"/>
                </a:cubicBezTo>
                <a:cubicBezTo>
                  <a:pt x="1083" y="129"/>
                  <a:pt x="1085" y="127"/>
                  <a:pt x="1087" y="126"/>
                </a:cubicBezTo>
                <a:cubicBezTo>
                  <a:pt x="1087" y="126"/>
                  <a:pt x="1087" y="126"/>
                  <a:pt x="1087" y="185"/>
                </a:cubicBezTo>
                <a:cubicBezTo>
                  <a:pt x="1087" y="185"/>
                  <a:pt x="1087" y="185"/>
                  <a:pt x="1099" y="185"/>
                </a:cubicBezTo>
                <a:cubicBezTo>
                  <a:pt x="1099" y="185"/>
                  <a:pt x="1099" y="185"/>
                  <a:pt x="1099" y="111"/>
                </a:cubicBezTo>
                <a:close/>
                <a:moveTo>
                  <a:pt x="1146" y="111"/>
                </a:moveTo>
                <a:cubicBezTo>
                  <a:pt x="1146" y="111"/>
                  <a:pt x="1146" y="111"/>
                  <a:pt x="1146" y="111"/>
                </a:cubicBezTo>
                <a:cubicBezTo>
                  <a:pt x="1141" y="111"/>
                  <a:pt x="1141" y="111"/>
                  <a:pt x="1141" y="111"/>
                </a:cubicBezTo>
                <a:cubicBezTo>
                  <a:pt x="1140" y="113"/>
                  <a:pt x="1137" y="114"/>
                  <a:pt x="1136" y="115"/>
                </a:cubicBezTo>
                <a:cubicBezTo>
                  <a:pt x="1134" y="116"/>
                  <a:pt x="1132" y="117"/>
                  <a:pt x="1130" y="118"/>
                </a:cubicBezTo>
                <a:cubicBezTo>
                  <a:pt x="1129" y="119"/>
                  <a:pt x="1126" y="120"/>
                  <a:pt x="1125" y="121"/>
                </a:cubicBezTo>
                <a:cubicBezTo>
                  <a:pt x="1123" y="121"/>
                  <a:pt x="1121" y="122"/>
                  <a:pt x="1119" y="122"/>
                </a:cubicBezTo>
                <a:cubicBezTo>
                  <a:pt x="1119" y="122"/>
                  <a:pt x="1119" y="122"/>
                  <a:pt x="1119" y="132"/>
                </a:cubicBezTo>
                <a:cubicBezTo>
                  <a:pt x="1122" y="132"/>
                  <a:pt x="1125" y="131"/>
                  <a:pt x="1128" y="129"/>
                </a:cubicBezTo>
                <a:cubicBezTo>
                  <a:pt x="1130" y="129"/>
                  <a:pt x="1132" y="127"/>
                  <a:pt x="1134" y="126"/>
                </a:cubicBezTo>
                <a:cubicBezTo>
                  <a:pt x="1134" y="126"/>
                  <a:pt x="1134" y="126"/>
                  <a:pt x="1134" y="185"/>
                </a:cubicBezTo>
                <a:cubicBezTo>
                  <a:pt x="1134" y="185"/>
                  <a:pt x="1134" y="185"/>
                  <a:pt x="1146" y="185"/>
                </a:cubicBezTo>
                <a:cubicBezTo>
                  <a:pt x="1146" y="185"/>
                  <a:pt x="1146" y="185"/>
                  <a:pt x="1146" y="111"/>
                </a:cubicBezTo>
                <a:close/>
                <a:moveTo>
                  <a:pt x="1192" y="111"/>
                </a:moveTo>
                <a:cubicBezTo>
                  <a:pt x="1192" y="111"/>
                  <a:pt x="1192" y="111"/>
                  <a:pt x="1192" y="111"/>
                </a:cubicBezTo>
                <a:cubicBezTo>
                  <a:pt x="1188" y="111"/>
                  <a:pt x="1188" y="111"/>
                  <a:pt x="1188" y="111"/>
                </a:cubicBezTo>
                <a:cubicBezTo>
                  <a:pt x="1186" y="113"/>
                  <a:pt x="1184" y="114"/>
                  <a:pt x="1182" y="115"/>
                </a:cubicBezTo>
                <a:cubicBezTo>
                  <a:pt x="1181" y="116"/>
                  <a:pt x="1178" y="117"/>
                  <a:pt x="1177" y="118"/>
                </a:cubicBezTo>
                <a:cubicBezTo>
                  <a:pt x="1175" y="119"/>
                  <a:pt x="1173" y="119"/>
                  <a:pt x="1171" y="120"/>
                </a:cubicBezTo>
                <a:cubicBezTo>
                  <a:pt x="1170" y="121"/>
                  <a:pt x="1168" y="121"/>
                  <a:pt x="1166" y="122"/>
                </a:cubicBezTo>
                <a:cubicBezTo>
                  <a:pt x="1166" y="122"/>
                  <a:pt x="1166" y="122"/>
                  <a:pt x="1166" y="132"/>
                </a:cubicBezTo>
                <a:cubicBezTo>
                  <a:pt x="1169" y="132"/>
                  <a:pt x="1172" y="130"/>
                  <a:pt x="1174" y="129"/>
                </a:cubicBezTo>
                <a:cubicBezTo>
                  <a:pt x="1176" y="129"/>
                  <a:pt x="1179" y="127"/>
                  <a:pt x="1181" y="126"/>
                </a:cubicBezTo>
                <a:cubicBezTo>
                  <a:pt x="1181" y="126"/>
                  <a:pt x="1181" y="126"/>
                  <a:pt x="1181" y="185"/>
                </a:cubicBezTo>
                <a:cubicBezTo>
                  <a:pt x="1181" y="185"/>
                  <a:pt x="1181" y="185"/>
                  <a:pt x="1192" y="185"/>
                </a:cubicBezTo>
                <a:cubicBezTo>
                  <a:pt x="1192" y="185"/>
                  <a:pt x="1192" y="185"/>
                  <a:pt x="1192" y="111"/>
                </a:cubicBezTo>
                <a:close/>
                <a:moveTo>
                  <a:pt x="1329" y="144"/>
                </a:moveTo>
                <a:cubicBezTo>
                  <a:pt x="1329" y="144"/>
                  <a:pt x="1329" y="144"/>
                  <a:pt x="1329" y="144"/>
                </a:cubicBezTo>
                <a:cubicBezTo>
                  <a:pt x="1328" y="152"/>
                  <a:pt x="1328" y="152"/>
                  <a:pt x="1328" y="152"/>
                </a:cubicBezTo>
                <a:cubicBezTo>
                  <a:pt x="1335" y="152"/>
                  <a:pt x="1336" y="155"/>
                  <a:pt x="1336" y="158"/>
                </a:cubicBezTo>
                <a:cubicBezTo>
                  <a:pt x="1336" y="160"/>
                  <a:pt x="1335" y="162"/>
                  <a:pt x="1335" y="165"/>
                </a:cubicBezTo>
                <a:cubicBezTo>
                  <a:pt x="1335" y="167"/>
                  <a:pt x="1334" y="170"/>
                  <a:pt x="1334" y="172"/>
                </a:cubicBezTo>
                <a:cubicBezTo>
                  <a:pt x="1334" y="181"/>
                  <a:pt x="1340" y="185"/>
                  <a:pt x="1349" y="185"/>
                </a:cubicBezTo>
                <a:cubicBezTo>
                  <a:pt x="1349" y="185"/>
                  <a:pt x="1349" y="185"/>
                  <a:pt x="1352" y="185"/>
                </a:cubicBezTo>
                <a:cubicBezTo>
                  <a:pt x="1352" y="185"/>
                  <a:pt x="1352" y="185"/>
                  <a:pt x="1352" y="176"/>
                </a:cubicBezTo>
                <a:cubicBezTo>
                  <a:pt x="1352" y="176"/>
                  <a:pt x="1352" y="176"/>
                  <a:pt x="1351" y="176"/>
                </a:cubicBezTo>
                <a:cubicBezTo>
                  <a:pt x="1347" y="176"/>
                  <a:pt x="1346" y="173"/>
                  <a:pt x="1346" y="170"/>
                </a:cubicBezTo>
                <a:cubicBezTo>
                  <a:pt x="1346" y="168"/>
                  <a:pt x="1346" y="167"/>
                  <a:pt x="1347" y="165"/>
                </a:cubicBezTo>
                <a:cubicBezTo>
                  <a:pt x="1347" y="163"/>
                  <a:pt x="1347" y="161"/>
                  <a:pt x="1347" y="159"/>
                </a:cubicBezTo>
                <a:cubicBezTo>
                  <a:pt x="1347" y="151"/>
                  <a:pt x="1344" y="149"/>
                  <a:pt x="1338" y="148"/>
                </a:cubicBezTo>
                <a:cubicBezTo>
                  <a:pt x="1338" y="148"/>
                  <a:pt x="1338" y="148"/>
                  <a:pt x="1338" y="147"/>
                </a:cubicBezTo>
                <a:cubicBezTo>
                  <a:pt x="1344" y="146"/>
                  <a:pt x="1347" y="144"/>
                  <a:pt x="1347" y="136"/>
                </a:cubicBezTo>
                <a:cubicBezTo>
                  <a:pt x="1347" y="134"/>
                  <a:pt x="1347" y="132"/>
                  <a:pt x="1347" y="130"/>
                </a:cubicBezTo>
                <a:cubicBezTo>
                  <a:pt x="1346" y="129"/>
                  <a:pt x="1346" y="127"/>
                  <a:pt x="1346" y="126"/>
                </a:cubicBezTo>
                <a:cubicBezTo>
                  <a:pt x="1346" y="122"/>
                  <a:pt x="1347" y="120"/>
                  <a:pt x="1351" y="120"/>
                </a:cubicBezTo>
                <a:cubicBezTo>
                  <a:pt x="1351" y="120"/>
                  <a:pt x="1351" y="120"/>
                  <a:pt x="1352" y="120"/>
                </a:cubicBezTo>
                <a:cubicBezTo>
                  <a:pt x="1352" y="120"/>
                  <a:pt x="1352" y="120"/>
                  <a:pt x="1352" y="110"/>
                </a:cubicBezTo>
                <a:cubicBezTo>
                  <a:pt x="1352" y="110"/>
                  <a:pt x="1352" y="110"/>
                  <a:pt x="1349" y="110"/>
                </a:cubicBezTo>
                <a:cubicBezTo>
                  <a:pt x="1340" y="110"/>
                  <a:pt x="1334" y="114"/>
                  <a:pt x="1334" y="123"/>
                </a:cubicBezTo>
                <a:cubicBezTo>
                  <a:pt x="1334" y="125"/>
                  <a:pt x="1335" y="128"/>
                  <a:pt x="1335" y="130"/>
                </a:cubicBezTo>
                <a:cubicBezTo>
                  <a:pt x="1335" y="133"/>
                  <a:pt x="1336" y="135"/>
                  <a:pt x="1336" y="137"/>
                </a:cubicBezTo>
                <a:cubicBezTo>
                  <a:pt x="1336" y="140"/>
                  <a:pt x="1335" y="143"/>
                  <a:pt x="1329" y="144"/>
                </a:cubicBezTo>
                <a:close/>
                <a:moveTo>
                  <a:pt x="1384" y="152"/>
                </a:moveTo>
                <a:cubicBezTo>
                  <a:pt x="1384" y="152"/>
                  <a:pt x="1384" y="152"/>
                  <a:pt x="1384" y="152"/>
                </a:cubicBezTo>
                <a:cubicBezTo>
                  <a:pt x="1384" y="144"/>
                  <a:pt x="1384" y="144"/>
                  <a:pt x="1384" y="144"/>
                </a:cubicBezTo>
                <a:cubicBezTo>
                  <a:pt x="1377" y="143"/>
                  <a:pt x="1377" y="140"/>
                  <a:pt x="1377" y="137"/>
                </a:cubicBezTo>
                <a:cubicBezTo>
                  <a:pt x="1377" y="135"/>
                  <a:pt x="1377" y="133"/>
                  <a:pt x="1377" y="130"/>
                </a:cubicBezTo>
                <a:cubicBezTo>
                  <a:pt x="1378" y="128"/>
                  <a:pt x="1378" y="125"/>
                  <a:pt x="1378" y="123"/>
                </a:cubicBezTo>
                <a:cubicBezTo>
                  <a:pt x="1378" y="114"/>
                  <a:pt x="1372" y="110"/>
                  <a:pt x="1363" y="110"/>
                </a:cubicBezTo>
                <a:cubicBezTo>
                  <a:pt x="1363" y="110"/>
                  <a:pt x="1363" y="110"/>
                  <a:pt x="1359" y="110"/>
                </a:cubicBezTo>
                <a:cubicBezTo>
                  <a:pt x="1359" y="110"/>
                  <a:pt x="1359" y="110"/>
                  <a:pt x="1359" y="120"/>
                </a:cubicBezTo>
                <a:cubicBezTo>
                  <a:pt x="1359" y="120"/>
                  <a:pt x="1359" y="120"/>
                  <a:pt x="1361" y="120"/>
                </a:cubicBezTo>
                <a:cubicBezTo>
                  <a:pt x="1364" y="120"/>
                  <a:pt x="1366" y="122"/>
                  <a:pt x="1366" y="126"/>
                </a:cubicBezTo>
                <a:cubicBezTo>
                  <a:pt x="1366" y="127"/>
                  <a:pt x="1366" y="129"/>
                  <a:pt x="1366" y="130"/>
                </a:cubicBezTo>
                <a:cubicBezTo>
                  <a:pt x="1365" y="132"/>
                  <a:pt x="1365" y="134"/>
                  <a:pt x="1365" y="136"/>
                </a:cubicBezTo>
                <a:cubicBezTo>
                  <a:pt x="1365" y="144"/>
                  <a:pt x="1368" y="146"/>
                  <a:pt x="1374" y="147"/>
                </a:cubicBezTo>
                <a:cubicBezTo>
                  <a:pt x="1374" y="147"/>
                  <a:pt x="1374" y="147"/>
                  <a:pt x="1374" y="148"/>
                </a:cubicBezTo>
                <a:cubicBezTo>
                  <a:pt x="1368" y="149"/>
                  <a:pt x="1365" y="151"/>
                  <a:pt x="1365" y="159"/>
                </a:cubicBezTo>
                <a:cubicBezTo>
                  <a:pt x="1365" y="161"/>
                  <a:pt x="1365" y="163"/>
                  <a:pt x="1366" y="165"/>
                </a:cubicBezTo>
                <a:cubicBezTo>
                  <a:pt x="1366" y="167"/>
                  <a:pt x="1366" y="168"/>
                  <a:pt x="1366" y="170"/>
                </a:cubicBezTo>
                <a:cubicBezTo>
                  <a:pt x="1366" y="173"/>
                  <a:pt x="1365" y="176"/>
                  <a:pt x="1361" y="176"/>
                </a:cubicBezTo>
                <a:cubicBezTo>
                  <a:pt x="1361" y="176"/>
                  <a:pt x="1361" y="176"/>
                  <a:pt x="1359" y="176"/>
                </a:cubicBezTo>
                <a:cubicBezTo>
                  <a:pt x="1359" y="176"/>
                  <a:pt x="1359" y="176"/>
                  <a:pt x="1359" y="185"/>
                </a:cubicBezTo>
                <a:cubicBezTo>
                  <a:pt x="1359" y="185"/>
                  <a:pt x="1359" y="185"/>
                  <a:pt x="1363" y="185"/>
                </a:cubicBezTo>
                <a:cubicBezTo>
                  <a:pt x="1372" y="185"/>
                  <a:pt x="1378" y="181"/>
                  <a:pt x="1378" y="172"/>
                </a:cubicBezTo>
                <a:cubicBezTo>
                  <a:pt x="1378" y="170"/>
                  <a:pt x="1378" y="167"/>
                  <a:pt x="1377" y="165"/>
                </a:cubicBezTo>
                <a:cubicBezTo>
                  <a:pt x="1377" y="162"/>
                  <a:pt x="1377" y="160"/>
                  <a:pt x="1377" y="158"/>
                </a:cubicBezTo>
                <a:cubicBezTo>
                  <a:pt x="1377" y="155"/>
                  <a:pt x="1377" y="152"/>
                  <a:pt x="1384" y="152"/>
                </a:cubicBezTo>
                <a:close/>
                <a:moveTo>
                  <a:pt x="1430" y="111"/>
                </a:moveTo>
                <a:cubicBezTo>
                  <a:pt x="1430" y="111"/>
                  <a:pt x="1430" y="111"/>
                  <a:pt x="1430" y="111"/>
                </a:cubicBezTo>
                <a:cubicBezTo>
                  <a:pt x="1425" y="111"/>
                  <a:pt x="1425" y="111"/>
                  <a:pt x="1425" y="111"/>
                </a:cubicBezTo>
                <a:cubicBezTo>
                  <a:pt x="1423" y="113"/>
                  <a:pt x="1422" y="114"/>
                  <a:pt x="1419" y="115"/>
                </a:cubicBezTo>
                <a:cubicBezTo>
                  <a:pt x="1418" y="116"/>
                  <a:pt x="1416" y="117"/>
                  <a:pt x="1414" y="118"/>
                </a:cubicBezTo>
                <a:cubicBezTo>
                  <a:pt x="1412" y="119"/>
                  <a:pt x="1411" y="119"/>
                  <a:pt x="1409" y="120"/>
                </a:cubicBezTo>
                <a:cubicBezTo>
                  <a:pt x="1407" y="121"/>
                  <a:pt x="1406" y="121"/>
                  <a:pt x="1403" y="122"/>
                </a:cubicBezTo>
                <a:cubicBezTo>
                  <a:pt x="1403" y="122"/>
                  <a:pt x="1403" y="122"/>
                  <a:pt x="1403" y="132"/>
                </a:cubicBezTo>
                <a:cubicBezTo>
                  <a:pt x="1406" y="132"/>
                  <a:pt x="1409" y="130"/>
                  <a:pt x="1411" y="129"/>
                </a:cubicBezTo>
                <a:cubicBezTo>
                  <a:pt x="1414" y="129"/>
                  <a:pt x="1416" y="127"/>
                  <a:pt x="1419" y="126"/>
                </a:cubicBezTo>
                <a:cubicBezTo>
                  <a:pt x="1419" y="126"/>
                  <a:pt x="1419" y="126"/>
                  <a:pt x="1419" y="185"/>
                </a:cubicBezTo>
                <a:cubicBezTo>
                  <a:pt x="1419" y="185"/>
                  <a:pt x="1419" y="185"/>
                  <a:pt x="1430" y="185"/>
                </a:cubicBezTo>
                <a:cubicBezTo>
                  <a:pt x="1430" y="185"/>
                  <a:pt x="1430" y="185"/>
                  <a:pt x="1430" y="111"/>
                </a:cubicBezTo>
                <a:close/>
                <a:moveTo>
                  <a:pt x="1477" y="111"/>
                </a:moveTo>
                <a:cubicBezTo>
                  <a:pt x="1477" y="111"/>
                  <a:pt x="1477" y="111"/>
                  <a:pt x="1477" y="111"/>
                </a:cubicBezTo>
                <a:cubicBezTo>
                  <a:pt x="1472" y="111"/>
                  <a:pt x="1472" y="111"/>
                  <a:pt x="1472" y="111"/>
                </a:cubicBezTo>
                <a:cubicBezTo>
                  <a:pt x="1470" y="113"/>
                  <a:pt x="1468" y="114"/>
                  <a:pt x="1466" y="115"/>
                </a:cubicBezTo>
                <a:cubicBezTo>
                  <a:pt x="1465" y="116"/>
                  <a:pt x="1463" y="117"/>
                  <a:pt x="1461" y="118"/>
                </a:cubicBezTo>
                <a:cubicBezTo>
                  <a:pt x="1460" y="119"/>
                  <a:pt x="1458" y="120"/>
                  <a:pt x="1456" y="121"/>
                </a:cubicBezTo>
                <a:cubicBezTo>
                  <a:pt x="1454" y="121"/>
                  <a:pt x="1453" y="122"/>
                  <a:pt x="1450" y="122"/>
                </a:cubicBezTo>
                <a:cubicBezTo>
                  <a:pt x="1450" y="122"/>
                  <a:pt x="1450" y="122"/>
                  <a:pt x="1450" y="132"/>
                </a:cubicBezTo>
                <a:cubicBezTo>
                  <a:pt x="1453" y="132"/>
                  <a:pt x="1456" y="131"/>
                  <a:pt x="1458" y="129"/>
                </a:cubicBezTo>
                <a:cubicBezTo>
                  <a:pt x="1461" y="129"/>
                  <a:pt x="1463" y="127"/>
                  <a:pt x="1465" y="126"/>
                </a:cubicBezTo>
                <a:cubicBezTo>
                  <a:pt x="1465" y="126"/>
                  <a:pt x="1465" y="126"/>
                  <a:pt x="1465" y="185"/>
                </a:cubicBezTo>
                <a:cubicBezTo>
                  <a:pt x="1465" y="185"/>
                  <a:pt x="1465" y="185"/>
                  <a:pt x="1477" y="185"/>
                </a:cubicBezTo>
                <a:cubicBezTo>
                  <a:pt x="1477" y="185"/>
                  <a:pt x="1477" y="185"/>
                  <a:pt x="1477" y="111"/>
                </a:cubicBezTo>
                <a:close/>
                <a:moveTo>
                  <a:pt x="1522" y="111"/>
                </a:moveTo>
                <a:cubicBezTo>
                  <a:pt x="1522" y="111"/>
                  <a:pt x="1522" y="111"/>
                  <a:pt x="1522" y="111"/>
                </a:cubicBezTo>
                <a:cubicBezTo>
                  <a:pt x="1518" y="111"/>
                  <a:pt x="1518" y="111"/>
                  <a:pt x="1518" y="111"/>
                </a:cubicBezTo>
                <a:cubicBezTo>
                  <a:pt x="1516" y="113"/>
                  <a:pt x="1514" y="114"/>
                  <a:pt x="1512" y="115"/>
                </a:cubicBezTo>
                <a:cubicBezTo>
                  <a:pt x="1511" y="116"/>
                  <a:pt x="1509" y="117"/>
                  <a:pt x="1507" y="118"/>
                </a:cubicBezTo>
                <a:cubicBezTo>
                  <a:pt x="1505" y="119"/>
                  <a:pt x="1504" y="120"/>
                  <a:pt x="1502" y="121"/>
                </a:cubicBezTo>
                <a:cubicBezTo>
                  <a:pt x="1500" y="121"/>
                  <a:pt x="1498" y="122"/>
                  <a:pt x="1496" y="122"/>
                </a:cubicBezTo>
                <a:cubicBezTo>
                  <a:pt x="1496" y="122"/>
                  <a:pt x="1496" y="122"/>
                  <a:pt x="1496" y="132"/>
                </a:cubicBezTo>
                <a:cubicBezTo>
                  <a:pt x="1499" y="132"/>
                  <a:pt x="1502" y="131"/>
                  <a:pt x="1504" y="129"/>
                </a:cubicBezTo>
                <a:cubicBezTo>
                  <a:pt x="1507" y="129"/>
                  <a:pt x="1509" y="127"/>
                  <a:pt x="1511" y="126"/>
                </a:cubicBezTo>
                <a:cubicBezTo>
                  <a:pt x="1511" y="126"/>
                  <a:pt x="1511" y="126"/>
                  <a:pt x="1511" y="185"/>
                </a:cubicBezTo>
                <a:cubicBezTo>
                  <a:pt x="1511" y="185"/>
                  <a:pt x="1511" y="185"/>
                  <a:pt x="1522" y="185"/>
                </a:cubicBezTo>
                <a:cubicBezTo>
                  <a:pt x="1522" y="185"/>
                  <a:pt x="1522" y="185"/>
                  <a:pt x="1522" y="111"/>
                </a:cubicBezTo>
                <a:close/>
                <a:moveTo>
                  <a:pt x="1272" y="159"/>
                </a:moveTo>
                <a:cubicBezTo>
                  <a:pt x="1273" y="160"/>
                  <a:pt x="1273" y="161"/>
                  <a:pt x="1274" y="163"/>
                </a:cubicBezTo>
                <a:cubicBezTo>
                  <a:pt x="1274" y="164"/>
                  <a:pt x="1275" y="166"/>
                  <a:pt x="1275" y="168"/>
                </a:cubicBezTo>
                <a:cubicBezTo>
                  <a:pt x="1275" y="170"/>
                  <a:pt x="1275" y="171"/>
                  <a:pt x="1275" y="173"/>
                </a:cubicBezTo>
                <a:cubicBezTo>
                  <a:pt x="1276" y="176"/>
                  <a:pt x="1275" y="178"/>
                  <a:pt x="1272" y="178"/>
                </a:cubicBezTo>
                <a:cubicBezTo>
                  <a:pt x="1269" y="178"/>
                  <a:pt x="1266" y="177"/>
                  <a:pt x="1263" y="177"/>
                </a:cubicBezTo>
                <a:cubicBezTo>
                  <a:pt x="1263" y="177"/>
                  <a:pt x="1262" y="177"/>
                  <a:pt x="1262" y="178"/>
                </a:cubicBezTo>
                <a:cubicBezTo>
                  <a:pt x="1260" y="179"/>
                  <a:pt x="1259" y="180"/>
                  <a:pt x="1258" y="182"/>
                </a:cubicBezTo>
                <a:cubicBezTo>
                  <a:pt x="1256" y="184"/>
                  <a:pt x="1252" y="185"/>
                  <a:pt x="1250" y="183"/>
                </a:cubicBezTo>
                <a:cubicBezTo>
                  <a:pt x="1248" y="180"/>
                  <a:pt x="1247" y="178"/>
                  <a:pt x="1245" y="175"/>
                </a:cubicBezTo>
                <a:cubicBezTo>
                  <a:pt x="1245" y="174"/>
                  <a:pt x="1245" y="172"/>
                  <a:pt x="1247" y="170"/>
                </a:cubicBezTo>
                <a:cubicBezTo>
                  <a:pt x="1245" y="170"/>
                  <a:pt x="1243" y="170"/>
                  <a:pt x="1241" y="170"/>
                </a:cubicBezTo>
                <a:cubicBezTo>
                  <a:pt x="1241" y="172"/>
                  <a:pt x="1239" y="174"/>
                  <a:pt x="1239" y="176"/>
                </a:cubicBezTo>
                <a:cubicBezTo>
                  <a:pt x="1239" y="177"/>
                  <a:pt x="1238" y="178"/>
                  <a:pt x="1238" y="179"/>
                </a:cubicBezTo>
                <a:cubicBezTo>
                  <a:pt x="1238" y="182"/>
                  <a:pt x="1237" y="183"/>
                  <a:pt x="1234" y="183"/>
                </a:cubicBezTo>
                <a:cubicBezTo>
                  <a:pt x="1231" y="182"/>
                  <a:pt x="1228" y="182"/>
                  <a:pt x="1225" y="180"/>
                </a:cubicBezTo>
                <a:cubicBezTo>
                  <a:pt x="1223" y="180"/>
                  <a:pt x="1222" y="178"/>
                  <a:pt x="1223" y="176"/>
                </a:cubicBezTo>
                <a:cubicBezTo>
                  <a:pt x="1223" y="176"/>
                  <a:pt x="1223" y="175"/>
                  <a:pt x="1224" y="175"/>
                </a:cubicBezTo>
                <a:cubicBezTo>
                  <a:pt x="1221" y="174"/>
                  <a:pt x="1219" y="173"/>
                  <a:pt x="1217" y="171"/>
                </a:cubicBezTo>
                <a:cubicBezTo>
                  <a:pt x="1216" y="170"/>
                  <a:pt x="1215" y="168"/>
                  <a:pt x="1214" y="167"/>
                </a:cubicBezTo>
                <a:cubicBezTo>
                  <a:pt x="1213" y="165"/>
                  <a:pt x="1213" y="163"/>
                  <a:pt x="1215" y="162"/>
                </a:cubicBezTo>
                <a:cubicBezTo>
                  <a:pt x="1218" y="159"/>
                  <a:pt x="1219" y="157"/>
                  <a:pt x="1218" y="153"/>
                </a:cubicBezTo>
                <a:cubicBezTo>
                  <a:pt x="1218" y="151"/>
                  <a:pt x="1218" y="148"/>
                  <a:pt x="1218" y="147"/>
                </a:cubicBezTo>
                <a:cubicBezTo>
                  <a:pt x="1217" y="146"/>
                  <a:pt x="1215" y="145"/>
                  <a:pt x="1214" y="144"/>
                </a:cubicBezTo>
                <a:cubicBezTo>
                  <a:pt x="1213" y="143"/>
                  <a:pt x="1212" y="141"/>
                  <a:pt x="1212" y="139"/>
                </a:cubicBezTo>
                <a:cubicBezTo>
                  <a:pt x="1212" y="136"/>
                  <a:pt x="1215" y="133"/>
                  <a:pt x="1218" y="132"/>
                </a:cubicBezTo>
                <a:cubicBezTo>
                  <a:pt x="1219" y="133"/>
                  <a:pt x="1219" y="134"/>
                  <a:pt x="1219" y="135"/>
                </a:cubicBezTo>
                <a:cubicBezTo>
                  <a:pt x="1219" y="136"/>
                  <a:pt x="1219" y="137"/>
                  <a:pt x="1219" y="138"/>
                </a:cubicBezTo>
                <a:cubicBezTo>
                  <a:pt x="1219" y="138"/>
                  <a:pt x="1218" y="138"/>
                  <a:pt x="1218" y="138"/>
                </a:cubicBezTo>
                <a:cubicBezTo>
                  <a:pt x="1217" y="139"/>
                  <a:pt x="1217" y="140"/>
                  <a:pt x="1216" y="142"/>
                </a:cubicBezTo>
                <a:cubicBezTo>
                  <a:pt x="1217" y="142"/>
                  <a:pt x="1218" y="142"/>
                  <a:pt x="1219" y="141"/>
                </a:cubicBezTo>
                <a:cubicBezTo>
                  <a:pt x="1220" y="140"/>
                  <a:pt x="1221" y="139"/>
                  <a:pt x="1221" y="138"/>
                </a:cubicBezTo>
                <a:cubicBezTo>
                  <a:pt x="1226" y="131"/>
                  <a:pt x="1232" y="127"/>
                  <a:pt x="1239" y="126"/>
                </a:cubicBezTo>
                <a:cubicBezTo>
                  <a:pt x="1243" y="125"/>
                  <a:pt x="1246" y="124"/>
                  <a:pt x="1248" y="121"/>
                </a:cubicBezTo>
                <a:cubicBezTo>
                  <a:pt x="1248" y="121"/>
                  <a:pt x="1249" y="121"/>
                  <a:pt x="1249" y="121"/>
                </a:cubicBezTo>
                <a:cubicBezTo>
                  <a:pt x="1252" y="120"/>
                  <a:pt x="1254" y="118"/>
                  <a:pt x="1256" y="116"/>
                </a:cubicBezTo>
                <a:cubicBezTo>
                  <a:pt x="1263" y="108"/>
                  <a:pt x="1275" y="108"/>
                  <a:pt x="1283" y="115"/>
                </a:cubicBezTo>
                <a:cubicBezTo>
                  <a:pt x="1285" y="117"/>
                  <a:pt x="1288" y="119"/>
                  <a:pt x="1290" y="121"/>
                </a:cubicBezTo>
                <a:cubicBezTo>
                  <a:pt x="1292" y="122"/>
                  <a:pt x="1293" y="123"/>
                  <a:pt x="1294" y="125"/>
                </a:cubicBezTo>
                <a:cubicBezTo>
                  <a:pt x="1295" y="127"/>
                  <a:pt x="1296" y="127"/>
                  <a:pt x="1297" y="126"/>
                </a:cubicBezTo>
                <a:cubicBezTo>
                  <a:pt x="1298" y="125"/>
                  <a:pt x="1299" y="125"/>
                  <a:pt x="1299" y="124"/>
                </a:cubicBezTo>
                <a:cubicBezTo>
                  <a:pt x="1301" y="121"/>
                  <a:pt x="1304" y="121"/>
                  <a:pt x="1306" y="124"/>
                </a:cubicBezTo>
                <a:cubicBezTo>
                  <a:pt x="1307" y="127"/>
                  <a:pt x="1308" y="130"/>
                  <a:pt x="1308" y="133"/>
                </a:cubicBezTo>
                <a:cubicBezTo>
                  <a:pt x="1309" y="138"/>
                  <a:pt x="1308" y="142"/>
                  <a:pt x="1307" y="146"/>
                </a:cubicBezTo>
                <a:cubicBezTo>
                  <a:pt x="1304" y="153"/>
                  <a:pt x="1300" y="156"/>
                  <a:pt x="1293" y="156"/>
                </a:cubicBezTo>
                <a:cubicBezTo>
                  <a:pt x="1292" y="156"/>
                  <a:pt x="1292" y="156"/>
                  <a:pt x="1291" y="156"/>
                </a:cubicBezTo>
                <a:cubicBezTo>
                  <a:pt x="1289" y="156"/>
                  <a:pt x="1288" y="156"/>
                  <a:pt x="1287" y="159"/>
                </a:cubicBezTo>
                <a:cubicBezTo>
                  <a:pt x="1285" y="163"/>
                  <a:pt x="1280" y="164"/>
                  <a:pt x="1276" y="161"/>
                </a:cubicBezTo>
                <a:cubicBezTo>
                  <a:pt x="1275" y="160"/>
                  <a:pt x="1274" y="159"/>
                  <a:pt x="1273" y="158"/>
                </a:cubicBezTo>
                <a:cubicBezTo>
                  <a:pt x="1273" y="159"/>
                  <a:pt x="1273" y="159"/>
                  <a:pt x="1272" y="159"/>
                </a:cubicBezTo>
                <a:close/>
                <a:moveTo>
                  <a:pt x="1267" y="154"/>
                </a:moveTo>
                <a:cubicBezTo>
                  <a:pt x="1270" y="156"/>
                  <a:pt x="1274" y="157"/>
                  <a:pt x="1276" y="160"/>
                </a:cubicBezTo>
                <a:cubicBezTo>
                  <a:pt x="1278" y="161"/>
                  <a:pt x="1280" y="162"/>
                  <a:pt x="1282" y="161"/>
                </a:cubicBezTo>
                <a:cubicBezTo>
                  <a:pt x="1285" y="161"/>
                  <a:pt x="1286" y="159"/>
                  <a:pt x="1286" y="155"/>
                </a:cubicBezTo>
                <a:cubicBezTo>
                  <a:pt x="1286" y="156"/>
                  <a:pt x="1285" y="156"/>
                  <a:pt x="1285" y="156"/>
                </a:cubicBezTo>
                <a:cubicBezTo>
                  <a:pt x="1285" y="158"/>
                  <a:pt x="1284" y="159"/>
                  <a:pt x="1283" y="160"/>
                </a:cubicBezTo>
                <a:cubicBezTo>
                  <a:pt x="1282" y="161"/>
                  <a:pt x="1280" y="161"/>
                  <a:pt x="1280" y="160"/>
                </a:cubicBezTo>
                <a:cubicBezTo>
                  <a:pt x="1279" y="160"/>
                  <a:pt x="1278" y="159"/>
                  <a:pt x="1278" y="158"/>
                </a:cubicBezTo>
                <a:cubicBezTo>
                  <a:pt x="1278" y="156"/>
                  <a:pt x="1279" y="154"/>
                  <a:pt x="1279" y="152"/>
                </a:cubicBezTo>
                <a:cubicBezTo>
                  <a:pt x="1282" y="153"/>
                  <a:pt x="1286" y="154"/>
                  <a:pt x="1289" y="154"/>
                </a:cubicBezTo>
                <a:cubicBezTo>
                  <a:pt x="1297" y="155"/>
                  <a:pt x="1303" y="154"/>
                  <a:pt x="1306" y="145"/>
                </a:cubicBezTo>
                <a:cubicBezTo>
                  <a:pt x="1307" y="140"/>
                  <a:pt x="1307" y="136"/>
                  <a:pt x="1306" y="130"/>
                </a:cubicBezTo>
                <a:cubicBezTo>
                  <a:pt x="1306" y="128"/>
                  <a:pt x="1305" y="127"/>
                  <a:pt x="1304" y="125"/>
                </a:cubicBezTo>
                <a:cubicBezTo>
                  <a:pt x="1303" y="123"/>
                  <a:pt x="1302" y="123"/>
                  <a:pt x="1301" y="125"/>
                </a:cubicBezTo>
                <a:cubicBezTo>
                  <a:pt x="1299" y="126"/>
                  <a:pt x="1298" y="128"/>
                  <a:pt x="1296" y="128"/>
                </a:cubicBezTo>
                <a:cubicBezTo>
                  <a:pt x="1295" y="129"/>
                  <a:pt x="1294" y="130"/>
                  <a:pt x="1295" y="131"/>
                </a:cubicBezTo>
                <a:cubicBezTo>
                  <a:pt x="1295" y="134"/>
                  <a:pt x="1295" y="137"/>
                  <a:pt x="1293" y="140"/>
                </a:cubicBezTo>
                <a:cubicBezTo>
                  <a:pt x="1293" y="138"/>
                  <a:pt x="1294" y="136"/>
                  <a:pt x="1294" y="135"/>
                </a:cubicBezTo>
                <a:cubicBezTo>
                  <a:pt x="1294" y="134"/>
                  <a:pt x="1293" y="134"/>
                  <a:pt x="1293" y="133"/>
                </a:cubicBezTo>
                <a:cubicBezTo>
                  <a:pt x="1293" y="134"/>
                  <a:pt x="1292" y="134"/>
                  <a:pt x="1292" y="134"/>
                </a:cubicBezTo>
                <a:cubicBezTo>
                  <a:pt x="1291" y="135"/>
                  <a:pt x="1290" y="137"/>
                  <a:pt x="1290" y="138"/>
                </a:cubicBezTo>
                <a:cubicBezTo>
                  <a:pt x="1289" y="138"/>
                  <a:pt x="1289" y="138"/>
                  <a:pt x="1289" y="138"/>
                </a:cubicBezTo>
                <a:cubicBezTo>
                  <a:pt x="1290" y="136"/>
                  <a:pt x="1290" y="135"/>
                  <a:pt x="1290" y="132"/>
                </a:cubicBezTo>
                <a:cubicBezTo>
                  <a:pt x="1289" y="133"/>
                  <a:pt x="1289" y="134"/>
                  <a:pt x="1288" y="134"/>
                </a:cubicBezTo>
                <a:cubicBezTo>
                  <a:pt x="1288" y="135"/>
                  <a:pt x="1287" y="136"/>
                  <a:pt x="1287" y="136"/>
                </a:cubicBezTo>
                <a:cubicBezTo>
                  <a:pt x="1287" y="133"/>
                  <a:pt x="1288" y="133"/>
                  <a:pt x="1293" y="132"/>
                </a:cubicBezTo>
                <a:cubicBezTo>
                  <a:pt x="1293" y="131"/>
                  <a:pt x="1292" y="130"/>
                  <a:pt x="1292" y="130"/>
                </a:cubicBezTo>
                <a:cubicBezTo>
                  <a:pt x="1290" y="131"/>
                  <a:pt x="1289" y="130"/>
                  <a:pt x="1288" y="127"/>
                </a:cubicBezTo>
                <a:cubicBezTo>
                  <a:pt x="1290" y="127"/>
                  <a:pt x="1291" y="126"/>
                  <a:pt x="1293" y="126"/>
                </a:cubicBezTo>
                <a:cubicBezTo>
                  <a:pt x="1291" y="124"/>
                  <a:pt x="1290" y="121"/>
                  <a:pt x="1287" y="121"/>
                </a:cubicBezTo>
                <a:cubicBezTo>
                  <a:pt x="1286" y="121"/>
                  <a:pt x="1286" y="120"/>
                  <a:pt x="1286" y="120"/>
                </a:cubicBezTo>
                <a:cubicBezTo>
                  <a:pt x="1284" y="118"/>
                  <a:pt x="1281" y="115"/>
                  <a:pt x="1278" y="113"/>
                </a:cubicBezTo>
                <a:cubicBezTo>
                  <a:pt x="1276" y="112"/>
                  <a:pt x="1273" y="111"/>
                  <a:pt x="1271" y="111"/>
                </a:cubicBezTo>
                <a:cubicBezTo>
                  <a:pt x="1268" y="112"/>
                  <a:pt x="1265" y="113"/>
                  <a:pt x="1262" y="114"/>
                </a:cubicBezTo>
                <a:cubicBezTo>
                  <a:pt x="1259" y="115"/>
                  <a:pt x="1256" y="117"/>
                  <a:pt x="1254" y="120"/>
                </a:cubicBezTo>
                <a:cubicBezTo>
                  <a:pt x="1256" y="120"/>
                  <a:pt x="1257" y="120"/>
                  <a:pt x="1258" y="120"/>
                </a:cubicBezTo>
                <a:cubicBezTo>
                  <a:pt x="1258" y="120"/>
                  <a:pt x="1257" y="121"/>
                  <a:pt x="1256" y="121"/>
                </a:cubicBezTo>
                <a:cubicBezTo>
                  <a:pt x="1254" y="121"/>
                  <a:pt x="1251" y="121"/>
                  <a:pt x="1249" y="123"/>
                </a:cubicBezTo>
                <a:cubicBezTo>
                  <a:pt x="1246" y="127"/>
                  <a:pt x="1242" y="130"/>
                  <a:pt x="1238" y="135"/>
                </a:cubicBezTo>
                <a:cubicBezTo>
                  <a:pt x="1237" y="137"/>
                  <a:pt x="1236" y="139"/>
                  <a:pt x="1235" y="142"/>
                </a:cubicBezTo>
                <a:cubicBezTo>
                  <a:pt x="1235" y="142"/>
                  <a:pt x="1235" y="143"/>
                  <a:pt x="1235" y="143"/>
                </a:cubicBezTo>
                <a:cubicBezTo>
                  <a:pt x="1236" y="145"/>
                  <a:pt x="1237" y="147"/>
                  <a:pt x="1239" y="149"/>
                </a:cubicBezTo>
                <a:cubicBezTo>
                  <a:pt x="1240" y="147"/>
                  <a:pt x="1241" y="146"/>
                  <a:pt x="1243" y="145"/>
                </a:cubicBezTo>
                <a:cubicBezTo>
                  <a:pt x="1242" y="146"/>
                  <a:pt x="1242" y="147"/>
                  <a:pt x="1241" y="149"/>
                </a:cubicBezTo>
                <a:cubicBezTo>
                  <a:pt x="1240" y="150"/>
                  <a:pt x="1239" y="151"/>
                  <a:pt x="1239" y="153"/>
                </a:cubicBezTo>
                <a:cubicBezTo>
                  <a:pt x="1239" y="153"/>
                  <a:pt x="1239" y="155"/>
                  <a:pt x="1239" y="155"/>
                </a:cubicBezTo>
                <a:cubicBezTo>
                  <a:pt x="1242" y="159"/>
                  <a:pt x="1245" y="159"/>
                  <a:pt x="1249" y="157"/>
                </a:cubicBezTo>
                <a:cubicBezTo>
                  <a:pt x="1251" y="155"/>
                  <a:pt x="1254" y="154"/>
                  <a:pt x="1257" y="153"/>
                </a:cubicBezTo>
                <a:cubicBezTo>
                  <a:pt x="1258" y="153"/>
                  <a:pt x="1260" y="152"/>
                  <a:pt x="1260" y="151"/>
                </a:cubicBezTo>
                <a:cubicBezTo>
                  <a:pt x="1260" y="147"/>
                  <a:pt x="1260" y="144"/>
                  <a:pt x="1260" y="141"/>
                </a:cubicBezTo>
                <a:cubicBezTo>
                  <a:pt x="1260" y="138"/>
                  <a:pt x="1260" y="135"/>
                  <a:pt x="1260" y="132"/>
                </a:cubicBezTo>
                <a:cubicBezTo>
                  <a:pt x="1260" y="134"/>
                  <a:pt x="1261" y="137"/>
                  <a:pt x="1261" y="140"/>
                </a:cubicBezTo>
                <a:cubicBezTo>
                  <a:pt x="1262" y="144"/>
                  <a:pt x="1262" y="149"/>
                  <a:pt x="1261" y="153"/>
                </a:cubicBezTo>
                <a:cubicBezTo>
                  <a:pt x="1260" y="154"/>
                  <a:pt x="1260" y="155"/>
                  <a:pt x="1259" y="155"/>
                </a:cubicBezTo>
                <a:cubicBezTo>
                  <a:pt x="1256" y="155"/>
                  <a:pt x="1252" y="157"/>
                  <a:pt x="1249" y="159"/>
                </a:cubicBezTo>
                <a:cubicBezTo>
                  <a:pt x="1244" y="162"/>
                  <a:pt x="1241" y="160"/>
                  <a:pt x="1237" y="156"/>
                </a:cubicBezTo>
                <a:cubicBezTo>
                  <a:pt x="1237" y="155"/>
                  <a:pt x="1237" y="154"/>
                  <a:pt x="1237" y="154"/>
                </a:cubicBezTo>
                <a:cubicBezTo>
                  <a:pt x="1238" y="151"/>
                  <a:pt x="1237" y="149"/>
                  <a:pt x="1236" y="147"/>
                </a:cubicBezTo>
                <a:cubicBezTo>
                  <a:pt x="1234" y="145"/>
                  <a:pt x="1232" y="143"/>
                  <a:pt x="1234" y="140"/>
                </a:cubicBezTo>
                <a:cubicBezTo>
                  <a:pt x="1234" y="138"/>
                  <a:pt x="1235" y="137"/>
                  <a:pt x="1236" y="135"/>
                </a:cubicBezTo>
                <a:cubicBezTo>
                  <a:pt x="1238" y="132"/>
                  <a:pt x="1240" y="130"/>
                  <a:pt x="1242" y="127"/>
                </a:cubicBezTo>
                <a:cubicBezTo>
                  <a:pt x="1242" y="127"/>
                  <a:pt x="1241" y="127"/>
                  <a:pt x="1241" y="127"/>
                </a:cubicBezTo>
                <a:cubicBezTo>
                  <a:pt x="1236" y="128"/>
                  <a:pt x="1232" y="130"/>
                  <a:pt x="1228" y="133"/>
                </a:cubicBezTo>
                <a:cubicBezTo>
                  <a:pt x="1223" y="138"/>
                  <a:pt x="1220" y="143"/>
                  <a:pt x="1220" y="149"/>
                </a:cubicBezTo>
                <a:cubicBezTo>
                  <a:pt x="1219" y="156"/>
                  <a:pt x="1222" y="162"/>
                  <a:pt x="1225" y="168"/>
                </a:cubicBezTo>
                <a:cubicBezTo>
                  <a:pt x="1226" y="169"/>
                  <a:pt x="1226" y="170"/>
                  <a:pt x="1226" y="172"/>
                </a:cubicBezTo>
                <a:cubicBezTo>
                  <a:pt x="1226" y="173"/>
                  <a:pt x="1226" y="175"/>
                  <a:pt x="1225" y="176"/>
                </a:cubicBezTo>
                <a:cubicBezTo>
                  <a:pt x="1224" y="178"/>
                  <a:pt x="1225" y="179"/>
                  <a:pt x="1226" y="179"/>
                </a:cubicBezTo>
                <a:cubicBezTo>
                  <a:pt x="1229" y="180"/>
                  <a:pt x="1232" y="180"/>
                  <a:pt x="1235" y="181"/>
                </a:cubicBezTo>
                <a:cubicBezTo>
                  <a:pt x="1236" y="181"/>
                  <a:pt x="1236" y="180"/>
                  <a:pt x="1236" y="180"/>
                </a:cubicBezTo>
                <a:cubicBezTo>
                  <a:pt x="1237" y="178"/>
                  <a:pt x="1237" y="177"/>
                  <a:pt x="1237" y="176"/>
                </a:cubicBezTo>
                <a:cubicBezTo>
                  <a:pt x="1239" y="174"/>
                  <a:pt x="1239" y="171"/>
                  <a:pt x="1239" y="168"/>
                </a:cubicBezTo>
                <a:cubicBezTo>
                  <a:pt x="1239" y="168"/>
                  <a:pt x="1239" y="167"/>
                  <a:pt x="1239" y="167"/>
                </a:cubicBezTo>
                <a:cubicBezTo>
                  <a:pt x="1239" y="166"/>
                  <a:pt x="1239" y="166"/>
                  <a:pt x="1239" y="166"/>
                </a:cubicBezTo>
                <a:cubicBezTo>
                  <a:pt x="1240" y="169"/>
                  <a:pt x="1241" y="169"/>
                  <a:pt x="1243" y="169"/>
                </a:cubicBezTo>
                <a:cubicBezTo>
                  <a:pt x="1244" y="169"/>
                  <a:pt x="1245" y="169"/>
                  <a:pt x="1246" y="169"/>
                </a:cubicBezTo>
                <a:cubicBezTo>
                  <a:pt x="1249" y="169"/>
                  <a:pt x="1252" y="170"/>
                  <a:pt x="1252" y="165"/>
                </a:cubicBezTo>
                <a:cubicBezTo>
                  <a:pt x="1252" y="168"/>
                  <a:pt x="1252" y="169"/>
                  <a:pt x="1252" y="170"/>
                </a:cubicBezTo>
                <a:cubicBezTo>
                  <a:pt x="1251" y="171"/>
                  <a:pt x="1250" y="172"/>
                  <a:pt x="1249" y="172"/>
                </a:cubicBezTo>
                <a:cubicBezTo>
                  <a:pt x="1247" y="173"/>
                  <a:pt x="1247" y="174"/>
                  <a:pt x="1247" y="175"/>
                </a:cubicBezTo>
                <a:cubicBezTo>
                  <a:pt x="1249" y="178"/>
                  <a:pt x="1250" y="180"/>
                  <a:pt x="1251" y="182"/>
                </a:cubicBezTo>
                <a:cubicBezTo>
                  <a:pt x="1253" y="183"/>
                  <a:pt x="1255" y="182"/>
                  <a:pt x="1256" y="181"/>
                </a:cubicBezTo>
                <a:cubicBezTo>
                  <a:pt x="1257" y="180"/>
                  <a:pt x="1258" y="179"/>
                  <a:pt x="1258" y="179"/>
                </a:cubicBezTo>
                <a:cubicBezTo>
                  <a:pt x="1260" y="177"/>
                  <a:pt x="1262" y="176"/>
                  <a:pt x="1263" y="175"/>
                </a:cubicBezTo>
                <a:cubicBezTo>
                  <a:pt x="1267" y="170"/>
                  <a:pt x="1269" y="164"/>
                  <a:pt x="1271" y="159"/>
                </a:cubicBezTo>
                <a:cubicBezTo>
                  <a:pt x="1271" y="158"/>
                  <a:pt x="1270" y="157"/>
                  <a:pt x="1270" y="157"/>
                </a:cubicBezTo>
                <a:cubicBezTo>
                  <a:pt x="1269" y="156"/>
                  <a:pt x="1268" y="155"/>
                  <a:pt x="1267" y="154"/>
                </a:cubicBezTo>
                <a:close/>
                <a:moveTo>
                  <a:pt x="1219" y="161"/>
                </a:moveTo>
                <a:cubicBezTo>
                  <a:pt x="1219" y="161"/>
                  <a:pt x="1217" y="162"/>
                  <a:pt x="1216" y="163"/>
                </a:cubicBezTo>
                <a:cubicBezTo>
                  <a:pt x="1215" y="164"/>
                  <a:pt x="1215" y="164"/>
                  <a:pt x="1215" y="165"/>
                </a:cubicBezTo>
                <a:cubicBezTo>
                  <a:pt x="1215" y="168"/>
                  <a:pt x="1219" y="172"/>
                  <a:pt x="1222" y="172"/>
                </a:cubicBezTo>
                <a:cubicBezTo>
                  <a:pt x="1224" y="172"/>
                  <a:pt x="1225" y="171"/>
                  <a:pt x="1224" y="169"/>
                </a:cubicBezTo>
                <a:cubicBezTo>
                  <a:pt x="1222" y="166"/>
                  <a:pt x="1221" y="163"/>
                  <a:pt x="1219" y="161"/>
                </a:cubicBezTo>
                <a:close/>
                <a:moveTo>
                  <a:pt x="1272" y="163"/>
                </a:moveTo>
                <a:cubicBezTo>
                  <a:pt x="1270" y="167"/>
                  <a:pt x="1267" y="172"/>
                  <a:pt x="1265" y="176"/>
                </a:cubicBezTo>
                <a:cubicBezTo>
                  <a:pt x="1268" y="176"/>
                  <a:pt x="1270" y="176"/>
                  <a:pt x="1273" y="176"/>
                </a:cubicBezTo>
                <a:cubicBezTo>
                  <a:pt x="1273" y="176"/>
                  <a:pt x="1274" y="175"/>
                  <a:pt x="1274" y="174"/>
                </a:cubicBezTo>
                <a:cubicBezTo>
                  <a:pt x="1274" y="172"/>
                  <a:pt x="1274" y="169"/>
                  <a:pt x="1273" y="167"/>
                </a:cubicBezTo>
                <a:cubicBezTo>
                  <a:pt x="1273" y="165"/>
                  <a:pt x="1273" y="164"/>
                  <a:pt x="1272" y="163"/>
                </a:cubicBezTo>
                <a:close/>
                <a:moveTo>
                  <a:pt x="1219" y="142"/>
                </a:moveTo>
                <a:cubicBezTo>
                  <a:pt x="1219" y="143"/>
                  <a:pt x="1218" y="143"/>
                  <a:pt x="1217" y="143"/>
                </a:cubicBezTo>
                <a:cubicBezTo>
                  <a:pt x="1217" y="143"/>
                  <a:pt x="1216" y="143"/>
                  <a:pt x="1216" y="143"/>
                </a:cubicBezTo>
                <a:cubicBezTo>
                  <a:pt x="1215" y="142"/>
                  <a:pt x="1215" y="142"/>
                  <a:pt x="1215" y="141"/>
                </a:cubicBezTo>
                <a:cubicBezTo>
                  <a:pt x="1216" y="139"/>
                  <a:pt x="1216" y="137"/>
                  <a:pt x="1217" y="135"/>
                </a:cubicBezTo>
                <a:cubicBezTo>
                  <a:pt x="1217" y="135"/>
                  <a:pt x="1217" y="135"/>
                  <a:pt x="1216" y="135"/>
                </a:cubicBezTo>
                <a:cubicBezTo>
                  <a:pt x="1215" y="136"/>
                  <a:pt x="1214" y="136"/>
                  <a:pt x="1213" y="138"/>
                </a:cubicBezTo>
                <a:cubicBezTo>
                  <a:pt x="1213" y="139"/>
                  <a:pt x="1214" y="144"/>
                  <a:pt x="1216" y="145"/>
                </a:cubicBezTo>
                <a:cubicBezTo>
                  <a:pt x="1217" y="145"/>
                  <a:pt x="1219" y="144"/>
                  <a:pt x="1219" y="142"/>
                </a:cubicBezTo>
                <a:close/>
                <a:moveTo>
                  <a:pt x="1219" y="161"/>
                </a:moveTo>
                <a:cubicBezTo>
                  <a:pt x="1219" y="161"/>
                  <a:pt x="1217" y="162"/>
                  <a:pt x="1216" y="163"/>
                </a:cubicBezTo>
                <a:cubicBezTo>
                  <a:pt x="1216" y="164"/>
                  <a:pt x="1215" y="165"/>
                  <a:pt x="1215" y="165"/>
                </a:cubicBezTo>
                <a:cubicBezTo>
                  <a:pt x="1215" y="168"/>
                  <a:pt x="1219" y="173"/>
                  <a:pt x="1223" y="172"/>
                </a:cubicBezTo>
                <a:cubicBezTo>
                  <a:pt x="1224" y="172"/>
                  <a:pt x="1225" y="171"/>
                  <a:pt x="1224" y="169"/>
                </a:cubicBezTo>
                <a:cubicBezTo>
                  <a:pt x="1223" y="166"/>
                  <a:pt x="1221" y="163"/>
                  <a:pt x="1219" y="161"/>
                </a:cubicBezTo>
                <a:close/>
                <a:moveTo>
                  <a:pt x="1272" y="163"/>
                </a:moveTo>
                <a:cubicBezTo>
                  <a:pt x="1270" y="167"/>
                  <a:pt x="1267" y="172"/>
                  <a:pt x="1265" y="176"/>
                </a:cubicBezTo>
                <a:cubicBezTo>
                  <a:pt x="1268" y="176"/>
                  <a:pt x="1270" y="177"/>
                  <a:pt x="1273" y="176"/>
                </a:cubicBezTo>
                <a:cubicBezTo>
                  <a:pt x="1273" y="176"/>
                  <a:pt x="1274" y="175"/>
                  <a:pt x="1274" y="175"/>
                </a:cubicBezTo>
                <a:cubicBezTo>
                  <a:pt x="1274" y="172"/>
                  <a:pt x="1274" y="169"/>
                  <a:pt x="1273" y="167"/>
                </a:cubicBezTo>
                <a:cubicBezTo>
                  <a:pt x="1273" y="165"/>
                  <a:pt x="1273" y="164"/>
                  <a:pt x="1272" y="163"/>
                </a:cubicBezTo>
                <a:close/>
                <a:moveTo>
                  <a:pt x="1220" y="143"/>
                </a:moveTo>
                <a:cubicBezTo>
                  <a:pt x="1219" y="143"/>
                  <a:pt x="1218" y="143"/>
                  <a:pt x="1218" y="143"/>
                </a:cubicBezTo>
                <a:cubicBezTo>
                  <a:pt x="1217" y="143"/>
                  <a:pt x="1216" y="143"/>
                  <a:pt x="1216" y="143"/>
                </a:cubicBezTo>
                <a:cubicBezTo>
                  <a:pt x="1216" y="143"/>
                  <a:pt x="1215" y="142"/>
                  <a:pt x="1215" y="141"/>
                </a:cubicBezTo>
                <a:cubicBezTo>
                  <a:pt x="1216" y="139"/>
                  <a:pt x="1216" y="137"/>
                  <a:pt x="1217" y="135"/>
                </a:cubicBezTo>
                <a:cubicBezTo>
                  <a:pt x="1217" y="135"/>
                  <a:pt x="1217" y="135"/>
                  <a:pt x="1216" y="135"/>
                </a:cubicBezTo>
                <a:cubicBezTo>
                  <a:pt x="1216" y="136"/>
                  <a:pt x="1214" y="136"/>
                  <a:pt x="1214" y="138"/>
                </a:cubicBezTo>
                <a:cubicBezTo>
                  <a:pt x="1213" y="139"/>
                  <a:pt x="1214" y="144"/>
                  <a:pt x="1216" y="145"/>
                </a:cubicBezTo>
                <a:cubicBezTo>
                  <a:pt x="1218" y="146"/>
                  <a:pt x="1220" y="145"/>
                  <a:pt x="1220" y="143"/>
                </a:cubicBezTo>
                <a:close/>
                <a:moveTo>
                  <a:pt x="1271" y="134"/>
                </a:moveTo>
                <a:cubicBezTo>
                  <a:pt x="1275" y="131"/>
                  <a:pt x="1275" y="131"/>
                  <a:pt x="1279" y="129"/>
                </a:cubicBezTo>
                <a:cubicBezTo>
                  <a:pt x="1279" y="131"/>
                  <a:pt x="1280" y="133"/>
                  <a:pt x="1281" y="133"/>
                </a:cubicBezTo>
                <a:cubicBezTo>
                  <a:pt x="1279" y="134"/>
                  <a:pt x="1277" y="135"/>
                  <a:pt x="1275" y="137"/>
                </a:cubicBezTo>
                <a:cubicBezTo>
                  <a:pt x="1274" y="136"/>
                  <a:pt x="1274" y="135"/>
                  <a:pt x="1273" y="134"/>
                </a:cubicBezTo>
                <a:cubicBezTo>
                  <a:pt x="1273" y="134"/>
                  <a:pt x="1272" y="134"/>
                  <a:pt x="1271" y="134"/>
                </a:cubicBezTo>
                <a:close/>
                <a:moveTo>
                  <a:pt x="1277" y="134"/>
                </a:moveTo>
                <a:cubicBezTo>
                  <a:pt x="1277" y="133"/>
                  <a:pt x="1276" y="133"/>
                  <a:pt x="1275" y="133"/>
                </a:cubicBezTo>
                <a:cubicBezTo>
                  <a:pt x="1275" y="133"/>
                  <a:pt x="1274" y="134"/>
                  <a:pt x="1274" y="134"/>
                </a:cubicBezTo>
                <a:cubicBezTo>
                  <a:pt x="1274" y="135"/>
                  <a:pt x="1275" y="135"/>
                  <a:pt x="1275" y="135"/>
                </a:cubicBezTo>
                <a:cubicBezTo>
                  <a:pt x="1276" y="135"/>
                  <a:pt x="1276" y="135"/>
                  <a:pt x="1277" y="134"/>
                </a:cubicBezTo>
                <a:close/>
                <a:moveTo>
                  <a:pt x="1259" y="124"/>
                </a:moveTo>
                <a:cubicBezTo>
                  <a:pt x="1252" y="123"/>
                  <a:pt x="1249" y="126"/>
                  <a:pt x="1248" y="134"/>
                </a:cubicBezTo>
                <a:cubicBezTo>
                  <a:pt x="1249" y="132"/>
                  <a:pt x="1250" y="129"/>
                  <a:pt x="1252" y="127"/>
                </a:cubicBezTo>
                <a:cubicBezTo>
                  <a:pt x="1252" y="127"/>
                  <a:pt x="1252" y="127"/>
                  <a:pt x="1252" y="127"/>
                </a:cubicBezTo>
                <a:cubicBezTo>
                  <a:pt x="1252" y="128"/>
                  <a:pt x="1252" y="129"/>
                  <a:pt x="1252" y="130"/>
                </a:cubicBezTo>
                <a:cubicBezTo>
                  <a:pt x="1254" y="126"/>
                  <a:pt x="1255" y="124"/>
                  <a:pt x="1259" y="124"/>
                </a:cubicBezTo>
                <a:close/>
                <a:moveTo>
                  <a:pt x="1302" y="126"/>
                </a:moveTo>
                <a:cubicBezTo>
                  <a:pt x="1300" y="127"/>
                  <a:pt x="1298" y="128"/>
                  <a:pt x="1297" y="130"/>
                </a:cubicBezTo>
                <a:cubicBezTo>
                  <a:pt x="1299" y="130"/>
                  <a:pt x="1301" y="128"/>
                  <a:pt x="1302" y="126"/>
                </a:cubicBezTo>
                <a:close/>
                <a:moveTo>
                  <a:pt x="1269" y="128"/>
                </a:moveTo>
                <a:cubicBezTo>
                  <a:pt x="1270" y="126"/>
                  <a:pt x="1271" y="125"/>
                  <a:pt x="1272" y="124"/>
                </a:cubicBezTo>
                <a:cubicBezTo>
                  <a:pt x="1269" y="125"/>
                  <a:pt x="1268" y="126"/>
                  <a:pt x="1269" y="128"/>
                </a:cubicBezTo>
                <a:close/>
                <a:moveTo>
                  <a:pt x="1279" y="149"/>
                </a:moveTo>
                <a:cubicBezTo>
                  <a:pt x="1277" y="150"/>
                  <a:pt x="1276" y="150"/>
                  <a:pt x="1276" y="151"/>
                </a:cubicBezTo>
                <a:cubicBezTo>
                  <a:pt x="1277" y="151"/>
                  <a:pt x="1278" y="150"/>
                  <a:pt x="1279" y="149"/>
                </a:cubicBezTo>
                <a:close/>
                <a:moveTo>
                  <a:pt x="1278" y="134"/>
                </a:moveTo>
                <a:cubicBezTo>
                  <a:pt x="1277" y="133"/>
                  <a:pt x="1276" y="133"/>
                  <a:pt x="1276" y="133"/>
                </a:cubicBezTo>
                <a:cubicBezTo>
                  <a:pt x="1275" y="133"/>
                  <a:pt x="1274" y="134"/>
                  <a:pt x="1274" y="134"/>
                </a:cubicBezTo>
                <a:cubicBezTo>
                  <a:pt x="1274" y="134"/>
                  <a:pt x="1275" y="135"/>
                  <a:pt x="1275" y="135"/>
                </a:cubicBezTo>
                <a:cubicBezTo>
                  <a:pt x="1276" y="135"/>
                  <a:pt x="1276" y="134"/>
                  <a:pt x="1278" y="134"/>
                </a:cubicBezTo>
                <a:close/>
                <a:moveTo>
                  <a:pt x="1568" y="111"/>
                </a:moveTo>
                <a:cubicBezTo>
                  <a:pt x="1568" y="111"/>
                  <a:pt x="1568" y="111"/>
                  <a:pt x="1568" y="111"/>
                </a:cubicBezTo>
                <a:cubicBezTo>
                  <a:pt x="1564" y="111"/>
                  <a:pt x="1564" y="111"/>
                  <a:pt x="1564" y="111"/>
                </a:cubicBezTo>
                <a:cubicBezTo>
                  <a:pt x="1562" y="113"/>
                  <a:pt x="1561" y="114"/>
                  <a:pt x="1558" y="115"/>
                </a:cubicBezTo>
                <a:cubicBezTo>
                  <a:pt x="1557" y="116"/>
                  <a:pt x="1555" y="117"/>
                  <a:pt x="1553" y="118"/>
                </a:cubicBezTo>
                <a:cubicBezTo>
                  <a:pt x="1551" y="119"/>
                  <a:pt x="1550" y="120"/>
                  <a:pt x="1548" y="121"/>
                </a:cubicBezTo>
                <a:cubicBezTo>
                  <a:pt x="1546" y="121"/>
                  <a:pt x="1544" y="122"/>
                  <a:pt x="1543" y="122"/>
                </a:cubicBezTo>
                <a:cubicBezTo>
                  <a:pt x="1543" y="122"/>
                  <a:pt x="1543" y="122"/>
                  <a:pt x="1543" y="132"/>
                </a:cubicBezTo>
                <a:cubicBezTo>
                  <a:pt x="1545" y="132"/>
                  <a:pt x="1548" y="131"/>
                  <a:pt x="1550" y="129"/>
                </a:cubicBezTo>
                <a:cubicBezTo>
                  <a:pt x="1553" y="129"/>
                  <a:pt x="1556" y="127"/>
                  <a:pt x="1557" y="126"/>
                </a:cubicBezTo>
                <a:cubicBezTo>
                  <a:pt x="1557" y="126"/>
                  <a:pt x="1557" y="126"/>
                  <a:pt x="1557" y="185"/>
                </a:cubicBezTo>
                <a:cubicBezTo>
                  <a:pt x="1557" y="185"/>
                  <a:pt x="1557" y="185"/>
                  <a:pt x="1568" y="185"/>
                </a:cubicBezTo>
                <a:cubicBezTo>
                  <a:pt x="1568" y="185"/>
                  <a:pt x="1568" y="185"/>
                  <a:pt x="1568" y="111"/>
                </a:cubicBezTo>
                <a:close/>
                <a:moveTo>
                  <a:pt x="1690" y="111"/>
                </a:moveTo>
                <a:cubicBezTo>
                  <a:pt x="1690" y="111"/>
                  <a:pt x="1690" y="111"/>
                  <a:pt x="1690" y="111"/>
                </a:cubicBezTo>
                <a:cubicBezTo>
                  <a:pt x="1685" y="111"/>
                  <a:pt x="1685" y="111"/>
                  <a:pt x="1685" y="111"/>
                </a:cubicBezTo>
                <a:cubicBezTo>
                  <a:pt x="1683" y="113"/>
                  <a:pt x="1682" y="114"/>
                  <a:pt x="1679" y="115"/>
                </a:cubicBezTo>
                <a:cubicBezTo>
                  <a:pt x="1678" y="116"/>
                  <a:pt x="1676" y="117"/>
                  <a:pt x="1674" y="118"/>
                </a:cubicBezTo>
                <a:cubicBezTo>
                  <a:pt x="1673" y="119"/>
                  <a:pt x="1670" y="120"/>
                  <a:pt x="1669" y="121"/>
                </a:cubicBezTo>
                <a:cubicBezTo>
                  <a:pt x="1667" y="121"/>
                  <a:pt x="1665" y="122"/>
                  <a:pt x="1663" y="122"/>
                </a:cubicBezTo>
                <a:cubicBezTo>
                  <a:pt x="1663" y="122"/>
                  <a:pt x="1663" y="122"/>
                  <a:pt x="1663" y="132"/>
                </a:cubicBezTo>
                <a:cubicBezTo>
                  <a:pt x="1666" y="132"/>
                  <a:pt x="1669" y="131"/>
                  <a:pt x="1672" y="129"/>
                </a:cubicBezTo>
                <a:cubicBezTo>
                  <a:pt x="1674" y="129"/>
                  <a:pt x="1676" y="127"/>
                  <a:pt x="1679" y="126"/>
                </a:cubicBezTo>
                <a:cubicBezTo>
                  <a:pt x="1679" y="126"/>
                  <a:pt x="1679" y="126"/>
                  <a:pt x="1679" y="185"/>
                </a:cubicBezTo>
                <a:cubicBezTo>
                  <a:pt x="1679" y="185"/>
                  <a:pt x="1679" y="185"/>
                  <a:pt x="1690" y="185"/>
                </a:cubicBezTo>
                <a:cubicBezTo>
                  <a:pt x="1690" y="185"/>
                  <a:pt x="1690" y="185"/>
                  <a:pt x="1690" y="111"/>
                </a:cubicBezTo>
                <a:close/>
                <a:moveTo>
                  <a:pt x="1737" y="111"/>
                </a:moveTo>
                <a:cubicBezTo>
                  <a:pt x="1737" y="111"/>
                  <a:pt x="1737" y="111"/>
                  <a:pt x="1737" y="111"/>
                </a:cubicBezTo>
                <a:cubicBezTo>
                  <a:pt x="1732" y="111"/>
                  <a:pt x="1732" y="111"/>
                  <a:pt x="1732" y="111"/>
                </a:cubicBezTo>
                <a:cubicBezTo>
                  <a:pt x="1730" y="113"/>
                  <a:pt x="1728" y="114"/>
                  <a:pt x="1726" y="115"/>
                </a:cubicBezTo>
                <a:cubicBezTo>
                  <a:pt x="1725" y="116"/>
                  <a:pt x="1722" y="117"/>
                  <a:pt x="1721" y="118"/>
                </a:cubicBezTo>
                <a:cubicBezTo>
                  <a:pt x="1720" y="119"/>
                  <a:pt x="1717" y="120"/>
                  <a:pt x="1716" y="121"/>
                </a:cubicBezTo>
                <a:cubicBezTo>
                  <a:pt x="1714" y="121"/>
                  <a:pt x="1712" y="122"/>
                  <a:pt x="1710" y="122"/>
                </a:cubicBezTo>
                <a:cubicBezTo>
                  <a:pt x="1710" y="122"/>
                  <a:pt x="1710" y="122"/>
                  <a:pt x="1710" y="132"/>
                </a:cubicBezTo>
                <a:cubicBezTo>
                  <a:pt x="1713" y="132"/>
                  <a:pt x="1716" y="131"/>
                  <a:pt x="1718" y="129"/>
                </a:cubicBezTo>
                <a:cubicBezTo>
                  <a:pt x="1721" y="129"/>
                  <a:pt x="1723" y="127"/>
                  <a:pt x="1725" y="126"/>
                </a:cubicBezTo>
                <a:cubicBezTo>
                  <a:pt x="1725" y="126"/>
                  <a:pt x="1725" y="126"/>
                  <a:pt x="1725" y="185"/>
                </a:cubicBezTo>
                <a:cubicBezTo>
                  <a:pt x="1725" y="185"/>
                  <a:pt x="1725" y="185"/>
                  <a:pt x="1737" y="185"/>
                </a:cubicBezTo>
                <a:cubicBezTo>
                  <a:pt x="1737" y="185"/>
                  <a:pt x="1737" y="185"/>
                  <a:pt x="1737" y="111"/>
                </a:cubicBezTo>
                <a:close/>
                <a:moveTo>
                  <a:pt x="1783" y="111"/>
                </a:moveTo>
                <a:cubicBezTo>
                  <a:pt x="1783" y="111"/>
                  <a:pt x="1783" y="111"/>
                  <a:pt x="1783" y="111"/>
                </a:cubicBezTo>
                <a:cubicBezTo>
                  <a:pt x="1779" y="111"/>
                  <a:pt x="1779" y="111"/>
                  <a:pt x="1779" y="111"/>
                </a:cubicBezTo>
                <a:cubicBezTo>
                  <a:pt x="1777" y="113"/>
                  <a:pt x="1775" y="114"/>
                  <a:pt x="1773" y="115"/>
                </a:cubicBezTo>
                <a:cubicBezTo>
                  <a:pt x="1772" y="116"/>
                  <a:pt x="1769" y="117"/>
                  <a:pt x="1768" y="118"/>
                </a:cubicBezTo>
                <a:cubicBezTo>
                  <a:pt x="1766" y="119"/>
                  <a:pt x="1764" y="119"/>
                  <a:pt x="1762" y="120"/>
                </a:cubicBezTo>
                <a:cubicBezTo>
                  <a:pt x="1761" y="121"/>
                  <a:pt x="1759" y="121"/>
                  <a:pt x="1757" y="122"/>
                </a:cubicBezTo>
                <a:cubicBezTo>
                  <a:pt x="1757" y="122"/>
                  <a:pt x="1757" y="122"/>
                  <a:pt x="1757" y="132"/>
                </a:cubicBezTo>
                <a:cubicBezTo>
                  <a:pt x="1760" y="132"/>
                  <a:pt x="1763" y="130"/>
                  <a:pt x="1765" y="129"/>
                </a:cubicBezTo>
                <a:cubicBezTo>
                  <a:pt x="1767" y="129"/>
                  <a:pt x="1770" y="127"/>
                  <a:pt x="1772" y="126"/>
                </a:cubicBezTo>
                <a:cubicBezTo>
                  <a:pt x="1772" y="126"/>
                  <a:pt x="1772" y="126"/>
                  <a:pt x="1772" y="185"/>
                </a:cubicBezTo>
                <a:cubicBezTo>
                  <a:pt x="1772" y="185"/>
                  <a:pt x="1772" y="185"/>
                  <a:pt x="1783" y="185"/>
                </a:cubicBezTo>
                <a:cubicBezTo>
                  <a:pt x="1783" y="185"/>
                  <a:pt x="1783" y="185"/>
                  <a:pt x="1783" y="111"/>
                </a:cubicBezTo>
                <a:close/>
                <a:moveTo>
                  <a:pt x="1589" y="144"/>
                </a:moveTo>
                <a:cubicBezTo>
                  <a:pt x="1589" y="144"/>
                  <a:pt x="1589" y="144"/>
                  <a:pt x="1589" y="144"/>
                </a:cubicBezTo>
                <a:cubicBezTo>
                  <a:pt x="1588" y="152"/>
                  <a:pt x="1588" y="152"/>
                  <a:pt x="1588" y="152"/>
                </a:cubicBezTo>
                <a:cubicBezTo>
                  <a:pt x="1595" y="152"/>
                  <a:pt x="1595" y="155"/>
                  <a:pt x="1595" y="158"/>
                </a:cubicBezTo>
                <a:cubicBezTo>
                  <a:pt x="1595" y="160"/>
                  <a:pt x="1595" y="162"/>
                  <a:pt x="1595" y="165"/>
                </a:cubicBezTo>
                <a:cubicBezTo>
                  <a:pt x="1595" y="167"/>
                  <a:pt x="1594" y="170"/>
                  <a:pt x="1594" y="172"/>
                </a:cubicBezTo>
                <a:cubicBezTo>
                  <a:pt x="1594" y="181"/>
                  <a:pt x="1600" y="185"/>
                  <a:pt x="1609" y="185"/>
                </a:cubicBezTo>
                <a:cubicBezTo>
                  <a:pt x="1609" y="185"/>
                  <a:pt x="1609" y="185"/>
                  <a:pt x="1613" y="185"/>
                </a:cubicBezTo>
                <a:cubicBezTo>
                  <a:pt x="1613" y="185"/>
                  <a:pt x="1613" y="185"/>
                  <a:pt x="1613" y="176"/>
                </a:cubicBezTo>
                <a:cubicBezTo>
                  <a:pt x="1613" y="176"/>
                  <a:pt x="1613" y="176"/>
                  <a:pt x="1611" y="176"/>
                </a:cubicBezTo>
                <a:cubicBezTo>
                  <a:pt x="1607" y="176"/>
                  <a:pt x="1606" y="173"/>
                  <a:pt x="1606" y="170"/>
                </a:cubicBezTo>
                <a:cubicBezTo>
                  <a:pt x="1606" y="168"/>
                  <a:pt x="1606" y="167"/>
                  <a:pt x="1607" y="165"/>
                </a:cubicBezTo>
                <a:cubicBezTo>
                  <a:pt x="1607" y="163"/>
                  <a:pt x="1607" y="161"/>
                  <a:pt x="1607" y="159"/>
                </a:cubicBezTo>
                <a:cubicBezTo>
                  <a:pt x="1607" y="151"/>
                  <a:pt x="1604" y="149"/>
                  <a:pt x="1598" y="148"/>
                </a:cubicBezTo>
                <a:cubicBezTo>
                  <a:pt x="1598" y="148"/>
                  <a:pt x="1598" y="148"/>
                  <a:pt x="1598" y="147"/>
                </a:cubicBezTo>
                <a:cubicBezTo>
                  <a:pt x="1604" y="146"/>
                  <a:pt x="1607" y="144"/>
                  <a:pt x="1607" y="136"/>
                </a:cubicBezTo>
                <a:cubicBezTo>
                  <a:pt x="1607" y="134"/>
                  <a:pt x="1607" y="132"/>
                  <a:pt x="1607" y="130"/>
                </a:cubicBezTo>
                <a:cubicBezTo>
                  <a:pt x="1606" y="129"/>
                  <a:pt x="1606" y="127"/>
                  <a:pt x="1606" y="126"/>
                </a:cubicBezTo>
                <a:cubicBezTo>
                  <a:pt x="1606" y="122"/>
                  <a:pt x="1607" y="120"/>
                  <a:pt x="1611" y="120"/>
                </a:cubicBezTo>
                <a:cubicBezTo>
                  <a:pt x="1611" y="120"/>
                  <a:pt x="1611" y="120"/>
                  <a:pt x="1613" y="120"/>
                </a:cubicBezTo>
                <a:cubicBezTo>
                  <a:pt x="1613" y="120"/>
                  <a:pt x="1613" y="120"/>
                  <a:pt x="1613" y="110"/>
                </a:cubicBezTo>
                <a:cubicBezTo>
                  <a:pt x="1613" y="110"/>
                  <a:pt x="1613" y="110"/>
                  <a:pt x="1609" y="110"/>
                </a:cubicBezTo>
                <a:cubicBezTo>
                  <a:pt x="1600" y="110"/>
                  <a:pt x="1594" y="114"/>
                  <a:pt x="1594" y="123"/>
                </a:cubicBezTo>
                <a:cubicBezTo>
                  <a:pt x="1594" y="125"/>
                  <a:pt x="1595" y="128"/>
                  <a:pt x="1595" y="130"/>
                </a:cubicBezTo>
                <a:cubicBezTo>
                  <a:pt x="1595" y="133"/>
                  <a:pt x="1595" y="135"/>
                  <a:pt x="1595" y="137"/>
                </a:cubicBezTo>
                <a:cubicBezTo>
                  <a:pt x="1595" y="140"/>
                  <a:pt x="1595" y="143"/>
                  <a:pt x="1589" y="144"/>
                </a:cubicBezTo>
                <a:close/>
                <a:moveTo>
                  <a:pt x="1643" y="152"/>
                </a:moveTo>
                <a:cubicBezTo>
                  <a:pt x="1643" y="152"/>
                  <a:pt x="1643" y="152"/>
                  <a:pt x="1643" y="152"/>
                </a:cubicBezTo>
                <a:cubicBezTo>
                  <a:pt x="1643" y="144"/>
                  <a:pt x="1643" y="144"/>
                  <a:pt x="1643" y="144"/>
                </a:cubicBezTo>
                <a:cubicBezTo>
                  <a:pt x="1637" y="143"/>
                  <a:pt x="1637" y="140"/>
                  <a:pt x="1637" y="137"/>
                </a:cubicBezTo>
                <a:cubicBezTo>
                  <a:pt x="1637" y="135"/>
                  <a:pt x="1637" y="133"/>
                  <a:pt x="1637" y="130"/>
                </a:cubicBezTo>
                <a:cubicBezTo>
                  <a:pt x="1637" y="128"/>
                  <a:pt x="1637" y="125"/>
                  <a:pt x="1637" y="123"/>
                </a:cubicBezTo>
                <a:cubicBezTo>
                  <a:pt x="1637" y="114"/>
                  <a:pt x="1632" y="110"/>
                  <a:pt x="1623" y="110"/>
                </a:cubicBezTo>
                <a:cubicBezTo>
                  <a:pt x="1623" y="110"/>
                  <a:pt x="1623" y="110"/>
                  <a:pt x="1619" y="110"/>
                </a:cubicBezTo>
                <a:cubicBezTo>
                  <a:pt x="1619" y="110"/>
                  <a:pt x="1619" y="110"/>
                  <a:pt x="1619" y="120"/>
                </a:cubicBezTo>
                <a:cubicBezTo>
                  <a:pt x="1619" y="120"/>
                  <a:pt x="1619" y="120"/>
                  <a:pt x="1621" y="120"/>
                </a:cubicBezTo>
                <a:cubicBezTo>
                  <a:pt x="1625" y="120"/>
                  <a:pt x="1626" y="122"/>
                  <a:pt x="1626" y="126"/>
                </a:cubicBezTo>
                <a:cubicBezTo>
                  <a:pt x="1626" y="127"/>
                  <a:pt x="1626" y="129"/>
                  <a:pt x="1626" y="130"/>
                </a:cubicBezTo>
                <a:cubicBezTo>
                  <a:pt x="1625" y="132"/>
                  <a:pt x="1625" y="134"/>
                  <a:pt x="1625" y="136"/>
                </a:cubicBezTo>
                <a:cubicBezTo>
                  <a:pt x="1625" y="144"/>
                  <a:pt x="1628" y="146"/>
                  <a:pt x="1634" y="147"/>
                </a:cubicBezTo>
                <a:cubicBezTo>
                  <a:pt x="1634" y="147"/>
                  <a:pt x="1634" y="147"/>
                  <a:pt x="1634" y="148"/>
                </a:cubicBezTo>
                <a:cubicBezTo>
                  <a:pt x="1628" y="149"/>
                  <a:pt x="1625" y="151"/>
                  <a:pt x="1625" y="159"/>
                </a:cubicBezTo>
                <a:cubicBezTo>
                  <a:pt x="1625" y="161"/>
                  <a:pt x="1625" y="163"/>
                  <a:pt x="1626" y="165"/>
                </a:cubicBezTo>
                <a:cubicBezTo>
                  <a:pt x="1626" y="167"/>
                  <a:pt x="1626" y="168"/>
                  <a:pt x="1626" y="170"/>
                </a:cubicBezTo>
                <a:cubicBezTo>
                  <a:pt x="1626" y="173"/>
                  <a:pt x="1625" y="176"/>
                  <a:pt x="1621" y="176"/>
                </a:cubicBezTo>
                <a:cubicBezTo>
                  <a:pt x="1621" y="176"/>
                  <a:pt x="1621" y="176"/>
                  <a:pt x="1619" y="176"/>
                </a:cubicBezTo>
                <a:cubicBezTo>
                  <a:pt x="1619" y="176"/>
                  <a:pt x="1619" y="176"/>
                  <a:pt x="1619" y="185"/>
                </a:cubicBezTo>
                <a:cubicBezTo>
                  <a:pt x="1619" y="185"/>
                  <a:pt x="1619" y="185"/>
                  <a:pt x="1623" y="185"/>
                </a:cubicBezTo>
                <a:cubicBezTo>
                  <a:pt x="1632" y="185"/>
                  <a:pt x="1637" y="181"/>
                  <a:pt x="1637" y="172"/>
                </a:cubicBezTo>
                <a:cubicBezTo>
                  <a:pt x="1637" y="170"/>
                  <a:pt x="1637" y="167"/>
                  <a:pt x="1637" y="165"/>
                </a:cubicBezTo>
                <a:cubicBezTo>
                  <a:pt x="1637" y="162"/>
                  <a:pt x="1637" y="160"/>
                  <a:pt x="1637" y="158"/>
                </a:cubicBezTo>
                <a:cubicBezTo>
                  <a:pt x="1637" y="155"/>
                  <a:pt x="1637" y="152"/>
                  <a:pt x="1643" y="152"/>
                </a:cubicBezTo>
                <a:close/>
                <a:moveTo>
                  <a:pt x="1827" y="185"/>
                </a:moveTo>
                <a:cubicBezTo>
                  <a:pt x="1820" y="185"/>
                  <a:pt x="1813" y="182"/>
                  <a:pt x="1809" y="176"/>
                </a:cubicBezTo>
                <a:cubicBezTo>
                  <a:pt x="1805" y="169"/>
                  <a:pt x="1803" y="161"/>
                  <a:pt x="1803" y="148"/>
                </a:cubicBezTo>
                <a:cubicBezTo>
                  <a:pt x="1803" y="135"/>
                  <a:pt x="1805" y="126"/>
                  <a:pt x="1809" y="119"/>
                </a:cubicBezTo>
                <a:cubicBezTo>
                  <a:pt x="1814" y="112"/>
                  <a:pt x="1820" y="109"/>
                  <a:pt x="1829" y="109"/>
                </a:cubicBezTo>
                <a:cubicBezTo>
                  <a:pt x="1846" y="109"/>
                  <a:pt x="1854" y="121"/>
                  <a:pt x="1854" y="147"/>
                </a:cubicBezTo>
                <a:cubicBezTo>
                  <a:pt x="1854" y="159"/>
                  <a:pt x="1851" y="169"/>
                  <a:pt x="1846" y="175"/>
                </a:cubicBezTo>
                <a:cubicBezTo>
                  <a:pt x="1842" y="182"/>
                  <a:pt x="1835" y="185"/>
                  <a:pt x="1827" y="185"/>
                </a:cubicBezTo>
                <a:close/>
                <a:moveTo>
                  <a:pt x="1829" y="118"/>
                </a:moveTo>
                <a:cubicBezTo>
                  <a:pt x="1819" y="118"/>
                  <a:pt x="1815" y="129"/>
                  <a:pt x="1815" y="148"/>
                </a:cubicBezTo>
                <a:cubicBezTo>
                  <a:pt x="1815" y="166"/>
                  <a:pt x="1819" y="175"/>
                  <a:pt x="1828" y="175"/>
                </a:cubicBezTo>
                <a:cubicBezTo>
                  <a:pt x="1837" y="175"/>
                  <a:pt x="1841" y="166"/>
                  <a:pt x="1841" y="147"/>
                </a:cubicBezTo>
                <a:cubicBezTo>
                  <a:pt x="1841" y="128"/>
                  <a:pt x="1837" y="118"/>
                  <a:pt x="1829" y="118"/>
                </a:cubicBezTo>
                <a:close/>
                <a:moveTo>
                  <a:pt x="1897" y="185"/>
                </a:moveTo>
                <a:cubicBezTo>
                  <a:pt x="1890" y="185"/>
                  <a:pt x="1884" y="182"/>
                  <a:pt x="1880" y="176"/>
                </a:cubicBezTo>
                <a:cubicBezTo>
                  <a:pt x="1875" y="169"/>
                  <a:pt x="1873" y="161"/>
                  <a:pt x="1873" y="148"/>
                </a:cubicBezTo>
                <a:cubicBezTo>
                  <a:pt x="1873" y="135"/>
                  <a:pt x="1875" y="126"/>
                  <a:pt x="1880" y="119"/>
                </a:cubicBezTo>
                <a:cubicBezTo>
                  <a:pt x="1884" y="112"/>
                  <a:pt x="1891" y="109"/>
                  <a:pt x="1900" y="109"/>
                </a:cubicBezTo>
                <a:cubicBezTo>
                  <a:pt x="1916" y="109"/>
                  <a:pt x="1924" y="121"/>
                  <a:pt x="1924" y="147"/>
                </a:cubicBezTo>
                <a:cubicBezTo>
                  <a:pt x="1924" y="159"/>
                  <a:pt x="1922" y="169"/>
                  <a:pt x="1917" y="175"/>
                </a:cubicBezTo>
                <a:cubicBezTo>
                  <a:pt x="1912" y="182"/>
                  <a:pt x="1906" y="185"/>
                  <a:pt x="1897" y="185"/>
                </a:cubicBezTo>
                <a:close/>
                <a:moveTo>
                  <a:pt x="1899" y="118"/>
                </a:moveTo>
                <a:cubicBezTo>
                  <a:pt x="1890" y="118"/>
                  <a:pt x="1885" y="129"/>
                  <a:pt x="1885" y="148"/>
                </a:cubicBezTo>
                <a:cubicBezTo>
                  <a:pt x="1885" y="166"/>
                  <a:pt x="1889" y="175"/>
                  <a:pt x="1898" y="175"/>
                </a:cubicBezTo>
                <a:cubicBezTo>
                  <a:pt x="1907" y="175"/>
                  <a:pt x="1911" y="166"/>
                  <a:pt x="1911" y="147"/>
                </a:cubicBezTo>
                <a:cubicBezTo>
                  <a:pt x="1911" y="128"/>
                  <a:pt x="1907" y="118"/>
                  <a:pt x="1899" y="118"/>
                </a:cubicBezTo>
                <a:close/>
                <a:moveTo>
                  <a:pt x="43" y="207"/>
                </a:moveTo>
                <a:cubicBezTo>
                  <a:pt x="43" y="207"/>
                  <a:pt x="43" y="207"/>
                  <a:pt x="43" y="207"/>
                </a:cubicBezTo>
                <a:cubicBezTo>
                  <a:pt x="37" y="207"/>
                  <a:pt x="37" y="207"/>
                  <a:pt x="37" y="207"/>
                </a:cubicBezTo>
                <a:cubicBezTo>
                  <a:pt x="35" y="209"/>
                  <a:pt x="34" y="210"/>
                  <a:pt x="32" y="211"/>
                </a:cubicBezTo>
                <a:cubicBezTo>
                  <a:pt x="30" y="212"/>
                  <a:pt x="29" y="213"/>
                  <a:pt x="27" y="214"/>
                </a:cubicBezTo>
                <a:cubicBezTo>
                  <a:pt x="25" y="215"/>
                  <a:pt x="23" y="216"/>
                  <a:pt x="22" y="217"/>
                </a:cubicBezTo>
                <a:cubicBezTo>
                  <a:pt x="19" y="217"/>
                  <a:pt x="18" y="218"/>
                  <a:pt x="16" y="218"/>
                </a:cubicBezTo>
                <a:cubicBezTo>
                  <a:pt x="16" y="218"/>
                  <a:pt x="16" y="218"/>
                  <a:pt x="16" y="228"/>
                </a:cubicBezTo>
                <a:cubicBezTo>
                  <a:pt x="19" y="228"/>
                  <a:pt x="22" y="227"/>
                  <a:pt x="24" y="225"/>
                </a:cubicBezTo>
                <a:cubicBezTo>
                  <a:pt x="27" y="225"/>
                  <a:pt x="29" y="223"/>
                  <a:pt x="31" y="222"/>
                </a:cubicBezTo>
                <a:cubicBezTo>
                  <a:pt x="31" y="222"/>
                  <a:pt x="31" y="222"/>
                  <a:pt x="31" y="281"/>
                </a:cubicBezTo>
                <a:cubicBezTo>
                  <a:pt x="31" y="281"/>
                  <a:pt x="31" y="281"/>
                  <a:pt x="43" y="281"/>
                </a:cubicBezTo>
                <a:cubicBezTo>
                  <a:pt x="43" y="281"/>
                  <a:pt x="43" y="281"/>
                  <a:pt x="43" y="207"/>
                </a:cubicBezTo>
                <a:close/>
                <a:moveTo>
                  <a:pt x="91" y="207"/>
                </a:moveTo>
                <a:cubicBezTo>
                  <a:pt x="91" y="207"/>
                  <a:pt x="91" y="207"/>
                  <a:pt x="91" y="207"/>
                </a:cubicBezTo>
                <a:cubicBezTo>
                  <a:pt x="85" y="207"/>
                  <a:pt x="85" y="207"/>
                  <a:pt x="85" y="207"/>
                </a:cubicBezTo>
                <a:cubicBezTo>
                  <a:pt x="83" y="209"/>
                  <a:pt x="82" y="210"/>
                  <a:pt x="79" y="211"/>
                </a:cubicBezTo>
                <a:cubicBezTo>
                  <a:pt x="78" y="212"/>
                  <a:pt x="76" y="213"/>
                  <a:pt x="74" y="214"/>
                </a:cubicBezTo>
                <a:cubicBezTo>
                  <a:pt x="73" y="215"/>
                  <a:pt x="71" y="216"/>
                  <a:pt x="69" y="217"/>
                </a:cubicBezTo>
                <a:cubicBezTo>
                  <a:pt x="67" y="217"/>
                  <a:pt x="65" y="218"/>
                  <a:pt x="63" y="218"/>
                </a:cubicBezTo>
                <a:cubicBezTo>
                  <a:pt x="63" y="218"/>
                  <a:pt x="63" y="218"/>
                  <a:pt x="63" y="228"/>
                </a:cubicBezTo>
                <a:cubicBezTo>
                  <a:pt x="66" y="228"/>
                  <a:pt x="69" y="227"/>
                  <a:pt x="71" y="225"/>
                </a:cubicBezTo>
                <a:cubicBezTo>
                  <a:pt x="74" y="225"/>
                  <a:pt x="77" y="223"/>
                  <a:pt x="79" y="222"/>
                </a:cubicBezTo>
                <a:cubicBezTo>
                  <a:pt x="79" y="222"/>
                  <a:pt x="79" y="222"/>
                  <a:pt x="79" y="281"/>
                </a:cubicBezTo>
                <a:cubicBezTo>
                  <a:pt x="79" y="281"/>
                  <a:pt x="79" y="281"/>
                  <a:pt x="91" y="281"/>
                </a:cubicBezTo>
                <a:cubicBezTo>
                  <a:pt x="91" y="281"/>
                  <a:pt x="91" y="281"/>
                  <a:pt x="91" y="207"/>
                </a:cubicBezTo>
                <a:close/>
                <a:moveTo>
                  <a:pt x="137" y="207"/>
                </a:moveTo>
                <a:cubicBezTo>
                  <a:pt x="137" y="207"/>
                  <a:pt x="137" y="207"/>
                  <a:pt x="137" y="207"/>
                </a:cubicBezTo>
                <a:cubicBezTo>
                  <a:pt x="133" y="207"/>
                  <a:pt x="133" y="207"/>
                  <a:pt x="133" y="207"/>
                </a:cubicBezTo>
                <a:cubicBezTo>
                  <a:pt x="131" y="209"/>
                  <a:pt x="129" y="210"/>
                  <a:pt x="127" y="211"/>
                </a:cubicBezTo>
                <a:cubicBezTo>
                  <a:pt x="125" y="212"/>
                  <a:pt x="123" y="213"/>
                  <a:pt x="122" y="214"/>
                </a:cubicBezTo>
                <a:cubicBezTo>
                  <a:pt x="120" y="215"/>
                  <a:pt x="118" y="215"/>
                  <a:pt x="116" y="216"/>
                </a:cubicBezTo>
                <a:cubicBezTo>
                  <a:pt x="114" y="217"/>
                  <a:pt x="112" y="217"/>
                  <a:pt x="111" y="218"/>
                </a:cubicBezTo>
                <a:cubicBezTo>
                  <a:pt x="111" y="218"/>
                  <a:pt x="111" y="218"/>
                  <a:pt x="111" y="228"/>
                </a:cubicBezTo>
                <a:cubicBezTo>
                  <a:pt x="114" y="228"/>
                  <a:pt x="117" y="226"/>
                  <a:pt x="119" y="225"/>
                </a:cubicBezTo>
                <a:cubicBezTo>
                  <a:pt x="121" y="225"/>
                  <a:pt x="124" y="223"/>
                  <a:pt x="125" y="222"/>
                </a:cubicBezTo>
                <a:cubicBezTo>
                  <a:pt x="125" y="222"/>
                  <a:pt x="125" y="222"/>
                  <a:pt x="125" y="281"/>
                </a:cubicBezTo>
                <a:cubicBezTo>
                  <a:pt x="125" y="281"/>
                  <a:pt x="125" y="281"/>
                  <a:pt x="137" y="281"/>
                </a:cubicBezTo>
                <a:cubicBezTo>
                  <a:pt x="137" y="281"/>
                  <a:pt x="137" y="281"/>
                  <a:pt x="137" y="207"/>
                </a:cubicBezTo>
                <a:close/>
                <a:moveTo>
                  <a:pt x="182" y="281"/>
                </a:moveTo>
                <a:cubicBezTo>
                  <a:pt x="174" y="281"/>
                  <a:pt x="168" y="278"/>
                  <a:pt x="163" y="272"/>
                </a:cubicBezTo>
                <a:cubicBezTo>
                  <a:pt x="160" y="265"/>
                  <a:pt x="157" y="257"/>
                  <a:pt x="157" y="244"/>
                </a:cubicBezTo>
                <a:cubicBezTo>
                  <a:pt x="157" y="231"/>
                  <a:pt x="160" y="222"/>
                  <a:pt x="164" y="215"/>
                </a:cubicBezTo>
                <a:cubicBezTo>
                  <a:pt x="168" y="208"/>
                  <a:pt x="175" y="205"/>
                  <a:pt x="184" y="205"/>
                </a:cubicBezTo>
                <a:cubicBezTo>
                  <a:pt x="200" y="205"/>
                  <a:pt x="208" y="217"/>
                  <a:pt x="208" y="243"/>
                </a:cubicBezTo>
                <a:cubicBezTo>
                  <a:pt x="208" y="255"/>
                  <a:pt x="206" y="265"/>
                  <a:pt x="201" y="271"/>
                </a:cubicBezTo>
                <a:cubicBezTo>
                  <a:pt x="196" y="278"/>
                  <a:pt x="190" y="281"/>
                  <a:pt x="182" y="281"/>
                </a:cubicBezTo>
                <a:close/>
                <a:moveTo>
                  <a:pt x="183" y="214"/>
                </a:moveTo>
                <a:cubicBezTo>
                  <a:pt x="174" y="214"/>
                  <a:pt x="169" y="225"/>
                  <a:pt x="169" y="244"/>
                </a:cubicBezTo>
                <a:cubicBezTo>
                  <a:pt x="169" y="262"/>
                  <a:pt x="174" y="271"/>
                  <a:pt x="182" y="271"/>
                </a:cubicBezTo>
                <a:cubicBezTo>
                  <a:pt x="191" y="271"/>
                  <a:pt x="196" y="262"/>
                  <a:pt x="196" y="243"/>
                </a:cubicBezTo>
                <a:cubicBezTo>
                  <a:pt x="196" y="224"/>
                  <a:pt x="191" y="214"/>
                  <a:pt x="183" y="214"/>
                </a:cubicBezTo>
                <a:close/>
                <a:moveTo>
                  <a:pt x="253" y="281"/>
                </a:moveTo>
                <a:cubicBezTo>
                  <a:pt x="245" y="281"/>
                  <a:pt x="239" y="278"/>
                  <a:pt x="235" y="272"/>
                </a:cubicBezTo>
                <a:cubicBezTo>
                  <a:pt x="231" y="265"/>
                  <a:pt x="228" y="257"/>
                  <a:pt x="228" y="244"/>
                </a:cubicBezTo>
                <a:cubicBezTo>
                  <a:pt x="228" y="231"/>
                  <a:pt x="231" y="222"/>
                  <a:pt x="235" y="215"/>
                </a:cubicBezTo>
                <a:cubicBezTo>
                  <a:pt x="239" y="208"/>
                  <a:pt x="246" y="205"/>
                  <a:pt x="255" y="205"/>
                </a:cubicBezTo>
                <a:cubicBezTo>
                  <a:pt x="271" y="205"/>
                  <a:pt x="279" y="217"/>
                  <a:pt x="279" y="243"/>
                </a:cubicBezTo>
                <a:cubicBezTo>
                  <a:pt x="279" y="255"/>
                  <a:pt x="277" y="265"/>
                  <a:pt x="273" y="271"/>
                </a:cubicBezTo>
                <a:cubicBezTo>
                  <a:pt x="267" y="278"/>
                  <a:pt x="262" y="281"/>
                  <a:pt x="253" y="281"/>
                </a:cubicBezTo>
                <a:close/>
                <a:moveTo>
                  <a:pt x="254" y="214"/>
                </a:moveTo>
                <a:cubicBezTo>
                  <a:pt x="245" y="214"/>
                  <a:pt x="240" y="225"/>
                  <a:pt x="240" y="244"/>
                </a:cubicBezTo>
                <a:cubicBezTo>
                  <a:pt x="240" y="262"/>
                  <a:pt x="245" y="271"/>
                  <a:pt x="253" y="271"/>
                </a:cubicBezTo>
                <a:cubicBezTo>
                  <a:pt x="262" y="271"/>
                  <a:pt x="267" y="262"/>
                  <a:pt x="267" y="243"/>
                </a:cubicBezTo>
                <a:cubicBezTo>
                  <a:pt x="267" y="224"/>
                  <a:pt x="262" y="214"/>
                  <a:pt x="254" y="214"/>
                </a:cubicBezTo>
                <a:close/>
                <a:moveTo>
                  <a:pt x="466" y="281"/>
                </a:moveTo>
                <a:cubicBezTo>
                  <a:pt x="458" y="281"/>
                  <a:pt x="452" y="278"/>
                  <a:pt x="448" y="271"/>
                </a:cubicBezTo>
                <a:cubicBezTo>
                  <a:pt x="444" y="265"/>
                  <a:pt x="441" y="256"/>
                  <a:pt x="441" y="244"/>
                </a:cubicBezTo>
                <a:cubicBezTo>
                  <a:pt x="441" y="231"/>
                  <a:pt x="444" y="222"/>
                  <a:pt x="448" y="214"/>
                </a:cubicBezTo>
                <a:cubicBezTo>
                  <a:pt x="452" y="208"/>
                  <a:pt x="459" y="205"/>
                  <a:pt x="468" y="205"/>
                </a:cubicBezTo>
                <a:cubicBezTo>
                  <a:pt x="484" y="205"/>
                  <a:pt x="492" y="217"/>
                  <a:pt x="492" y="242"/>
                </a:cubicBezTo>
                <a:cubicBezTo>
                  <a:pt x="492" y="255"/>
                  <a:pt x="490" y="265"/>
                  <a:pt x="485" y="271"/>
                </a:cubicBezTo>
                <a:cubicBezTo>
                  <a:pt x="480" y="278"/>
                  <a:pt x="474" y="281"/>
                  <a:pt x="466" y="281"/>
                </a:cubicBezTo>
                <a:close/>
                <a:moveTo>
                  <a:pt x="467" y="214"/>
                </a:moveTo>
                <a:cubicBezTo>
                  <a:pt x="458" y="214"/>
                  <a:pt x="454" y="224"/>
                  <a:pt x="454" y="243"/>
                </a:cubicBezTo>
                <a:cubicBezTo>
                  <a:pt x="454" y="262"/>
                  <a:pt x="458" y="271"/>
                  <a:pt x="467" y="271"/>
                </a:cubicBezTo>
                <a:cubicBezTo>
                  <a:pt x="475" y="271"/>
                  <a:pt x="479" y="262"/>
                  <a:pt x="479" y="243"/>
                </a:cubicBezTo>
                <a:cubicBezTo>
                  <a:pt x="479" y="224"/>
                  <a:pt x="476" y="214"/>
                  <a:pt x="467" y="214"/>
                </a:cubicBezTo>
                <a:close/>
                <a:moveTo>
                  <a:pt x="584" y="281"/>
                </a:moveTo>
                <a:cubicBezTo>
                  <a:pt x="576" y="281"/>
                  <a:pt x="570" y="278"/>
                  <a:pt x="566" y="271"/>
                </a:cubicBezTo>
                <a:cubicBezTo>
                  <a:pt x="562" y="265"/>
                  <a:pt x="560" y="256"/>
                  <a:pt x="560" y="244"/>
                </a:cubicBezTo>
                <a:cubicBezTo>
                  <a:pt x="560" y="231"/>
                  <a:pt x="562" y="222"/>
                  <a:pt x="566" y="214"/>
                </a:cubicBezTo>
                <a:cubicBezTo>
                  <a:pt x="570" y="208"/>
                  <a:pt x="577" y="205"/>
                  <a:pt x="586" y="205"/>
                </a:cubicBezTo>
                <a:cubicBezTo>
                  <a:pt x="602" y="205"/>
                  <a:pt x="610" y="217"/>
                  <a:pt x="610" y="242"/>
                </a:cubicBezTo>
                <a:cubicBezTo>
                  <a:pt x="610" y="255"/>
                  <a:pt x="608" y="265"/>
                  <a:pt x="603" y="271"/>
                </a:cubicBezTo>
                <a:cubicBezTo>
                  <a:pt x="598" y="278"/>
                  <a:pt x="592" y="281"/>
                  <a:pt x="584" y="281"/>
                </a:cubicBezTo>
                <a:close/>
                <a:moveTo>
                  <a:pt x="585" y="214"/>
                </a:moveTo>
                <a:cubicBezTo>
                  <a:pt x="576" y="214"/>
                  <a:pt x="572" y="224"/>
                  <a:pt x="572" y="243"/>
                </a:cubicBezTo>
                <a:cubicBezTo>
                  <a:pt x="572" y="262"/>
                  <a:pt x="576" y="271"/>
                  <a:pt x="585" y="271"/>
                </a:cubicBezTo>
                <a:cubicBezTo>
                  <a:pt x="593" y="271"/>
                  <a:pt x="598" y="262"/>
                  <a:pt x="598" y="243"/>
                </a:cubicBezTo>
                <a:cubicBezTo>
                  <a:pt x="598" y="224"/>
                  <a:pt x="594" y="214"/>
                  <a:pt x="585" y="214"/>
                </a:cubicBezTo>
                <a:close/>
                <a:moveTo>
                  <a:pt x="539" y="207"/>
                </a:moveTo>
                <a:cubicBezTo>
                  <a:pt x="539" y="207"/>
                  <a:pt x="539" y="207"/>
                  <a:pt x="539" y="207"/>
                </a:cubicBezTo>
                <a:cubicBezTo>
                  <a:pt x="534" y="207"/>
                  <a:pt x="534" y="207"/>
                  <a:pt x="534" y="207"/>
                </a:cubicBezTo>
                <a:cubicBezTo>
                  <a:pt x="532" y="209"/>
                  <a:pt x="530" y="210"/>
                  <a:pt x="528" y="211"/>
                </a:cubicBezTo>
                <a:cubicBezTo>
                  <a:pt x="527" y="212"/>
                  <a:pt x="525" y="213"/>
                  <a:pt x="523" y="214"/>
                </a:cubicBezTo>
                <a:cubicBezTo>
                  <a:pt x="522" y="215"/>
                  <a:pt x="520" y="215"/>
                  <a:pt x="518" y="216"/>
                </a:cubicBezTo>
                <a:cubicBezTo>
                  <a:pt x="516" y="217"/>
                  <a:pt x="515" y="217"/>
                  <a:pt x="512" y="218"/>
                </a:cubicBezTo>
                <a:cubicBezTo>
                  <a:pt x="512" y="218"/>
                  <a:pt x="512" y="218"/>
                  <a:pt x="512" y="228"/>
                </a:cubicBezTo>
                <a:cubicBezTo>
                  <a:pt x="515" y="228"/>
                  <a:pt x="518" y="226"/>
                  <a:pt x="520" y="225"/>
                </a:cubicBezTo>
                <a:cubicBezTo>
                  <a:pt x="523" y="225"/>
                  <a:pt x="525" y="223"/>
                  <a:pt x="527" y="222"/>
                </a:cubicBezTo>
                <a:cubicBezTo>
                  <a:pt x="527" y="222"/>
                  <a:pt x="527" y="222"/>
                  <a:pt x="527" y="281"/>
                </a:cubicBezTo>
                <a:cubicBezTo>
                  <a:pt x="527" y="281"/>
                  <a:pt x="527" y="281"/>
                  <a:pt x="539" y="281"/>
                </a:cubicBezTo>
                <a:cubicBezTo>
                  <a:pt x="539" y="281"/>
                  <a:pt x="539" y="281"/>
                  <a:pt x="539" y="207"/>
                </a:cubicBezTo>
                <a:close/>
                <a:moveTo>
                  <a:pt x="655" y="281"/>
                </a:moveTo>
                <a:cubicBezTo>
                  <a:pt x="647" y="281"/>
                  <a:pt x="641" y="278"/>
                  <a:pt x="637" y="272"/>
                </a:cubicBezTo>
                <a:cubicBezTo>
                  <a:pt x="633" y="265"/>
                  <a:pt x="631" y="257"/>
                  <a:pt x="631" y="244"/>
                </a:cubicBezTo>
                <a:cubicBezTo>
                  <a:pt x="631" y="231"/>
                  <a:pt x="633" y="222"/>
                  <a:pt x="637" y="215"/>
                </a:cubicBezTo>
                <a:cubicBezTo>
                  <a:pt x="642" y="208"/>
                  <a:pt x="648" y="205"/>
                  <a:pt x="657" y="205"/>
                </a:cubicBezTo>
                <a:cubicBezTo>
                  <a:pt x="673" y="205"/>
                  <a:pt x="681" y="217"/>
                  <a:pt x="681" y="243"/>
                </a:cubicBezTo>
                <a:cubicBezTo>
                  <a:pt x="681" y="255"/>
                  <a:pt x="679" y="265"/>
                  <a:pt x="674" y="271"/>
                </a:cubicBezTo>
                <a:cubicBezTo>
                  <a:pt x="669" y="278"/>
                  <a:pt x="663" y="281"/>
                  <a:pt x="655" y="281"/>
                </a:cubicBezTo>
                <a:close/>
                <a:moveTo>
                  <a:pt x="656" y="214"/>
                </a:moveTo>
                <a:cubicBezTo>
                  <a:pt x="647" y="214"/>
                  <a:pt x="642" y="225"/>
                  <a:pt x="642" y="244"/>
                </a:cubicBezTo>
                <a:cubicBezTo>
                  <a:pt x="642" y="262"/>
                  <a:pt x="647" y="271"/>
                  <a:pt x="655" y="271"/>
                </a:cubicBezTo>
                <a:cubicBezTo>
                  <a:pt x="664" y="271"/>
                  <a:pt x="669" y="262"/>
                  <a:pt x="669" y="243"/>
                </a:cubicBezTo>
                <a:cubicBezTo>
                  <a:pt x="669" y="224"/>
                  <a:pt x="664" y="214"/>
                  <a:pt x="656" y="214"/>
                </a:cubicBezTo>
                <a:close/>
                <a:moveTo>
                  <a:pt x="702" y="240"/>
                </a:moveTo>
                <a:cubicBezTo>
                  <a:pt x="702" y="240"/>
                  <a:pt x="702" y="240"/>
                  <a:pt x="702" y="240"/>
                </a:cubicBezTo>
                <a:cubicBezTo>
                  <a:pt x="702" y="248"/>
                  <a:pt x="702" y="248"/>
                  <a:pt x="702" y="248"/>
                </a:cubicBezTo>
                <a:cubicBezTo>
                  <a:pt x="708" y="248"/>
                  <a:pt x="709" y="251"/>
                  <a:pt x="709" y="254"/>
                </a:cubicBezTo>
                <a:cubicBezTo>
                  <a:pt x="709" y="256"/>
                  <a:pt x="708" y="258"/>
                  <a:pt x="708" y="261"/>
                </a:cubicBezTo>
                <a:cubicBezTo>
                  <a:pt x="708" y="263"/>
                  <a:pt x="708" y="266"/>
                  <a:pt x="708" y="268"/>
                </a:cubicBezTo>
                <a:cubicBezTo>
                  <a:pt x="708" y="277"/>
                  <a:pt x="713" y="281"/>
                  <a:pt x="722" y="281"/>
                </a:cubicBezTo>
                <a:cubicBezTo>
                  <a:pt x="722" y="281"/>
                  <a:pt x="722" y="281"/>
                  <a:pt x="726" y="281"/>
                </a:cubicBezTo>
                <a:cubicBezTo>
                  <a:pt x="726" y="281"/>
                  <a:pt x="726" y="281"/>
                  <a:pt x="726" y="272"/>
                </a:cubicBezTo>
                <a:cubicBezTo>
                  <a:pt x="726" y="272"/>
                  <a:pt x="726" y="272"/>
                  <a:pt x="724" y="272"/>
                </a:cubicBezTo>
                <a:cubicBezTo>
                  <a:pt x="720" y="272"/>
                  <a:pt x="719" y="269"/>
                  <a:pt x="719" y="266"/>
                </a:cubicBezTo>
                <a:cubicBezTo>
                  <a:pt x="719" y="264"/>
                  <a:pt x="719" y="263"/>
                  <a:pt x="720" y="261"/>
                </a:cubicBezTo>
                <a:cubicBezTo>
                  <a:pt x="720" y="259"/>
                  <a:pt x="720" y="257"/>
                  <a:pt x="720" y="255"/>
                </a:cubicBezTo>
                <a:cubicBezTo>
                  <a:pt x="720" y="247"/>
                  <a:pt x="717" y="245"/>
                  <a:pt x="712" y="244"/>
                </a:cubicBezTo>
                <a:cubicBezTo>
                  <a:pt x="712" y="244"/>
                  <a:pt x="712" y="244"/>
                  <a:pt x="712" y="243"/>
                </a:cubicBezTo>
                <a:cubicBezTo>
                  <a:pt x="717" y="242"/>
                  <a:pt x="720" y="240"/>
                  <a:pt x="720" y="232"/>
                </a:cubicBezTo>
                <a:cubicBezTo>
                  <a:pt x="720" y="230"/>
                  <a:pt x="720" y="228"/>
                  <a:pt x="720" y="226"/>
                </a:cubicBezTo>
                <a:cubicBezTo>
                  <a:pt x="719" y="225"/>
                  <a:pt x="719" y="223"/>
                  <a:pt x="719" y="222"/>
                </a:cubicBezTo>
                <a:cubicBezTo>
                  <a:pt x="719" y="218"/>
                  <a:pt x="720" y="216"/>
                  <a:pt x="724" y="216"/>
                </a:cubicBezTo>
                <a:cubicBezTo>
                  <a:pt x="724" y="216"/>
                  <a:pt x="724" y="216"/>
                  <a:pt x="726" y="216"/>
                </a:cubicBezTo>
                <a:cubicBezTo>
                  <a:pt x="726" y="216"/>
                  <a:pt x="726" y="216"/>
                  <a:pt x="726" y="206"/>
                </a:cubicBezTo>
                <a:cubicBezTo>
                  <a:pt x="726" y="206"/>
                  <a:pt x="726" y="206"/>
                  <a:pt x="722" y="206"/>
                </a:cubicBezTo>
                <a:cubicBezTo>
                  <a:pt x="713" y="206"/>
                  <a:pt x="708" y="210"/>
                  <a:pt x="708" y="219"/>
                </a:cubicBezTo>
                <a:cubicBezTo>
                  <a:pt x="708" y="221"/>
                  <a:pt x="708" y="224"/>
                  <a:pt x="708" y="226"/>
                </a:cubicBezTo>
                <a:cubicBezTo>
                  <a:pt x="708" y="229"/>
                  <a:pt x="709" y="231"/>
                  <a:pt x="709" y="233"/>
                </a:cubicBezTo>
                <a:cubicBezTo>
                  <a:pt x="709" y="236"/>
                  <a:pt x="708" y="239"/>
                  <a:pt x="702" y="240"/>
                </a:cubicBezTo>
                <a:close/>
                <a:moveTo>
                  <a:pt x="756" y="248"/>
                </a:moveTo>
                <a:cubicBezTo>
                  <a:pt x="756" y="248"/>
                  <a:pt x="756" y="248"/>
                  <a:pt x="756" y="248"/>
                </a:cubicBezTo>
                <a:cubicBezTo>
                  <a:pt x="756" y="240"/>
                  <a:pt x="756" y="240"/>
                  <a:pt x="756" y="240"/>
                </a:cubicBezTo>
                <a:cubicBezTo>
                  <a:pt x="750" y="239"/>
                  <a:pt x="750" y="236"/>
                  <a:pt x="750" y="233"/>
                </a:cubicBezTo>
                <a:cubicBezTo>
                  <a:pt x="750" y="231"/>
                  <a:pt x="750" y="229"/>
                  <a:pt x="750" y="226"/>
                </a:cubicBezTo>
                <a:cubicBezTo>
                  <a:pt x="750" y="224"/>
                  <a:pt x="750" y="221"/>
                  <a:pt x="750" y="219"/>
                </a:cubicBezTo>
                <a:cubicBezTo>
                  <a:pt x="750" y="210"/>
                  <a:pt x="745" y="206"/>
                  <a:pt x="736" y="206"/>
                </a:cubicBezTo>
                <a:cubicBezTo>
                  <a:pt x="736" y="206"/>
                  <a:pt x="736" y="206"/>
                  <a:pt x="732" y="206"/>
                </a:cubicBezTo>
                <a:cubicBezTo>
                  <a:pt x="732" y="206"/>
                  <a:pt x="732" y="206"/>
                  <a:pt x="732" y="216"/>
                </a:cubicBezTo>
                <a:cubicBezTo>
                  <a:pt x="732" y="216"/>
                  <a:pt x="732" y="216"/>
                  <a:pt x="734" y="216"/>
                </a:cubicBezTo>
                <a:cubicBezTo>
                  <a:pt x="738" y="216"/>
                  <a:pt x="739" y="218"/>
                  <a:pt x="739" y="222"/>
                </a:cubicBezTo>
                <a:cubicBezTo>
                  <a:pt x="739" y="223"/>
                  <a:pt x="739" y="225"/>
                  <a:pt x="739" y="226"/>
                </a:cubicBezTo>
                <a:cubicBezTo>
                  <a:pt x="738" y="228"/>
                  <a:pt x="738" y="230"/>
                  <a:pt x="738" y="232"/>
                </a:cubicBezTo>
                <a:cubicBezTo>
                  <a:pt x="738" y="240"/>
                  <a:pt x="741" y="242"/>
                  <a:pt x="747" y="243"/>
                </a:cubicBezTo>
                <a:cubicBezTo>
                  <a:pt x="747" y="243"/>
                  <a:pt x="747" y="243"/>
                  <a:pt x="747" y="244"/>
                </a:cubicBezTo>
                <a:cubicBezTo>
                  <a:pt x="741" y="245"/>
                  <a:pt x="738" y="247"/>
                  <a:pt x="738" y="255"/>
                </a:cubicBezTo>
                <a:cubicBezTo>
                  <a:pt x="738" y="257"/>
                  <a:pt x="738" y="259"/>
                  <a:pt x="739" y="261"/>
                </a:cubicBezTo>
                <a:cubicBezTo>
                  <a:pt x="739" y="263"/>
                  <a:pt x="739" y="264"/>
                  <a:pt x="739" y="266"/>
                </a:cubicBezTo>
                <a:cubicBezTo>
                  <a:pt x="739" y="269"/>
                  <a:pt x="738" y="272"/>
                  <a:pt x="734" y="272"/>
                </a:cubicBezTo>
                <a:cubicBezTo>
                  <a:pt x="734" y="272"/>
                  <a:pt x="734" y="272"/>
                  <a:pt x="732" y="272"/>
                </a:cubicBezTo>
                <a:cubicBezTo>
                  <a:pt x="732" y="272"/>
                  <a:pt x="732" y="272"/>
                  <a:pt x="732" y="281"/>
                </a:cubicBezTo>
                <a:cubicBezTo>
                  <a:pt x="732" y="281"/>
                  <a:pt x="732" y="281"/>
                  <a:pt x="736" y="281"/>
                </a:cubicBezTo>
                <a:cubicBezTo>
                  <a:pt x="745" y="281"/>
                  <a:pt x="750" y="277"/>
                  <a:pt x="750" y="268"/>
                </a:cubicBezTo>
                <a:cubicBezTo>
                  <a:pt x="750" y="266"/>
                  <a:pt x="750" y="263"/>
                  <a:pt x="750" y="261"/>
                </a:cubicBezTo>
                <a:cubicBezTo>
                  <a:pt x="750" y="258"/>
                  <a:pt x="750" y="256"/>
                  <a:pt x="750" y="254"/>
                </a:cubicBezTo>
                <a:cubicBezTo>
                  <a:pt x="750" y="251"/>
                  <a:pt x="750" y="248"/>
                  <a:pt x="756" y="248"/>
                </a:cubicBezTo>
                <a:close/>
                <a:moveTo>
                  <a:pt x="877" y="281"/>
                </a:moveTo>
                <a:cubicBezTo>
                  <a:pt x="870" y="281"/>
                  <a:pt x="863" y="278"/>
                  <a:pt x="859" y="272"/>
                </a:cubicBezTo>
                <a:cubicBezTo>
                  <a:pt x="855" y="265"/>
                  <a:pt x="853" y="257"/>
                  <a:pt x="853" y="244"/>
                </a:cubicBezTo>
                <a:cubicBezTo>
                  <a:pt x="853" y="231"/>
                  <a:pt x="855" y="222"/>
                  <a:pt x="859" y="215"/>
                </a:cubicBezTo>
                <a:cubicBezTo>
                  <a:pt x="864" y="208"/>
                  <a:pt x="870" y="205"/>
                  <a:pt x="879" y="205"/>
                </a:cubicBezTo>
                <a:cubicBezTo>
                  <a:pt x="895" y="205"/>
                  <a:pt x="903" y="217"/>
                  <a:pt x="903" y="243"/>
                </a:cubicBezTo>
                <a:cubicBezTo>
                  <a:pt x="903" y="255"/>
                  <a:pt x="901" y="265"/>
                  <a:pt x="896" y="271"/>
                </a:cubicBezTo>
                <a:cubicBezTo>
                  <a:pt x="892" y="278"/>
                  <a:pt x="885" y="281"/>
                  <a:pt x="877" y="281"/>
                </a:cubicBezTo>
                <a:close/>
                <a:moveTo>
                  <a:pt x="878" y="214"/>
                </a:moveTo>
                <a:cubicBezTo>
                  <a:pt x="869" y="214"/>
                  <a:pt x="865" y="225"/>
                  <a:pt x="865" y="244"/>
                </a:cubicBezTo>
                <a:cubicBezTo>
                  <a:pt x="865" y="262"/>
                  <a:pt x="869" y="271"/>
                  <a:pt x="878" y="271"/>
                </a:cubicBezTo>
                <a:cubicBezTo>
                  <a:pt x="886" y="271"/>
                  <a:pt x="891" y="262"/>
                  <a:pt x="891" y="243"/>
                </a:cubicBezTo>
                <a:cubicBezTo>
                  <a:pt x="891" y="224"/>
                  <a:pt x="886" y="214"/>
                  <a:pt x="878" y="214"/>
                </a:cubicBezTo>
                <a:close/>
                <a:moveTo>
                  <a:pt x="951" y="207"/>
                </a:moveTo>
                <a:cubicBezTo>
                  <a:pt x="951" y="207"/>
                  <a:pt x="951" y="207"/>
                  <a:pt x="951" y="207"/>
                </a:cubicBezTo>
                <a:cubicBezTo>
                  <a:pt x="946" y="207"/>
                  <a:pt x="946" y="207"/>
                  <a:pt x="946" y="207"/>
                </a:cubicBezTo>
                <a:cubicBezTo>
                  <a:pt x="943" y="209"/>
                  <a:pt x="942" y="210"/>
                  <a:pt x="940" y="211"/>
                </a:cubicBezTo>
                <a:cubicBezTo>
                  <a:pt x="938" y="212"/>
                  <a:pt x="936" y="213"/>
                  <a:pt x="935" y="214"/>
                </a:cubicBezTo>
                <a:cubicBezTo>
                  <a:pt x="933" y="215"/>
                  <a:pt x="931" y="215"/>
                  <a:pt x="930" y="216"/>
                </a:cubicBezTo>
                <a:cubicBezTo>
                  <a:pt x="927" y="217"/>
                  <a:pt x="926" y="217"/>
                  <a:pt x="924" y="218"/>
                </a:cubicBezTo>
                <a:cubicBezTo>
                  <a:pt x="924" y="218"/>
                  <a:pt x="924" y="218"/>
                  <a:pt x="924" y="228"/>
                </a:cubicBezTo>
                <a:cubicBezTo>
                  <a:pt x="927" y="228"/>
                  <a:pt x="930" y="226"/>
                  <a:pt x="932" y="225"/>
                </a:cubicBezTo>
                <a:cubicBezTo>
                  <a:pt x="935" y="225"/>
                  <a:pt x="937" y="223"/>
                  <a:pt x="939" y="222"/>
                </a:cubicBezTo>
                <a:cubicBezTo>
                  <a:pt x="939" y="222"/>
                  <a:pt x="939" y="222"/>
                  <a:pt x="939" y="281"/>
                </a:cubicBezTo>
                <a:cubicBezTo>
                  <a:pt x="939" y="281"/>
                  <a:pt x="939" y="281"/>
                  <a:pt x="951" y="281"/>
                </a:cubicBezTo>
                <a:cubicBezTo>
                  <a:pt x="951" y="281"/>
                  <a:pt x="951" y="281"/>
                  <a:pt x="951" y="207"/>
                </a:cubicBezTo>
                <a:close/>
                <a:moveTo>
                  <a:pt x="783" y="281"/>
                </a:moveTo>
                <a:cubicBezTo>
                  <a:pt x="786" y="262"/>
                  <a:pt x="786" y="262"/>
                  <a:pt x="786" y="262"/>
                </a:cubicBezTo>
                <a:cubicBezTo>
                  <a:pt x="777" y="262"/>
                  <a:pt x="777" y="262"/>
                  <a:pt x="777" y="262"/>
                </a:cubicBezTo>
                <a:cubicBezTo>
                  <a:pt x="777" y="249"/>
                  <a:pt x="777" y="249"/>
                  <a:pt x="777" y="249"/>
                </a:cubicBezTo>
                <a:cubicBezTo>
                  <a:pt x="788" y="249"/>
                  <a:pt x="788" y="249"/>
                  <a:pt x="788" y="249"/>
                </a:cubicBezTo>
                <a:cubicBezTo>
                  <a:pt x="789" y="239"/>
                  <a:pt x="789" y="239"/>
                  <a:pt x="789" y="239"/>
                </a:cubicBezTo>
                <a:cubicBezTo>
                  <a:pt x="780" y="239"/>
                  <a:pt x="780" y="239"/>
                  <a:pt x="780" y="239"/>
                </a:cubicBezTo>
                <a:cubicBezTo>
                  <a:pt x="780" y="227"/>
                  <a:pt x="780" y="227"/>
                  <a:pt x="780" y="227"/>
                </a:cubicBezTo>
                <a:cubicBezTo>
                  <a:pt x="791" y="227"/>
                  <a:pt x="791" y="227"/>
                  <a:pt x="791" y="227"/>
                </a:cubicBezTo>
                <a:cubicBezTo>
                  <a:pt x="794" y="208"/>
                  <a:pt x="794" y="208"/>
                  <a:pt x="794" y="208"/>
                </a:cubicBezTo>
                <a:cubicBezTo>
                  <a:pt x="805" y="208"/>
                  <a:pt x="805" y="208"/>
                  <a:pt x="805" y="208"/>
                </a:cubicBezTo>
                <a:cubicBezTo>
                  <a:pt x="802" y="227"/>
                  <a:pt x="802" y="227"/>
                  <a:pt x="802" y="227"/>
                </a:cubicBezTo>
                <a:cubicBezTo>
                  <a:pt x="812" y="227"/>
                  <a:pt x="812" y="227"/>
                  <a:pt x="812" y="227"/>
                </a:cubicBezTo>
                <a:cubicBezTo>
                  <a:pt x="815" y="208"/>
                  <a:pt x="815" y="208"/>
                  <a:pt x="815" y="208"/>
                </a:cubicBezTo>
                <a:cubicBezTo>
                  <a:pt x="826" y="208"/>
                  <a:pt x="826" y="208"/>
                  <a:pt x="826" y="208"/>
                </a:cubicBezTo>
                <a:cubicBezTo>
                  <a:pt x="823" y="227"/>
                  <a:pt x="823" y="227"/>
                  <a:pt x="823" y="227"/>
                </a:cubicBezTo>
                <a:cubicBezTo>
                  <a:pt x="832" y="227"/>
                  <a:pt x="832" y="227"/>
                  <a:pt x="832" y="227"/>
                </a:cubicBezTo>
                <a:cubicBezTo>
                  <a:pt x="832" y="239"/>
                  <a:pt x="832" y="239"/>
                  <a:pt x="832" y="239"/>
                </a:cubicBezTo>
                <a:cubicBezTo>
                  <a:pt x="821" y="239"/>
                  <a:pt x="821" y="239"/>
                  <a:pt x="821" y="239"/>
                </a:cubicBezTo>
                <a:cubicBezTo>
                  <a:pt x="820" y="249"/>
                  <a:pt x="820" y="249"/>
                  <a:pt x="820" y="249"/>
                </a:cubicBezTo>
                <a:cubicBezTo>
                  <a:pt x="829" y="249"/>
                  <a:pt x="829" y="249"/>
                  <a:pt x="829" y="249"/>
                </a:cubicBezTo>
                <a:cubicBezTo>
                  <a:pt x="829" y="262"/>
                  <a:pt x="829" y="262"/>
                  <a:pt x="829" y="262"/>
                </a:cubicBezTo>
                <a:cubicBezTo>
                  <a:pt x="818" y="262"/>
                  <a:pt x="818" y="262"/>
                  <a:pt x="818" y="262"/>
                </a:cubicBezTo>
                <a:cubicBezTo>
                  <a:pt x="815" y="281"/>
                  <a:pt x="815" y="281"/>
                  <a:pt x="815" y="281"/>
                </a:cubicBezTo>
                <a:cubicBezTo>
                  <a:pt x="804" y="281"/>
                  <a:pt x="804" y="281"/>
                  <a:pt x="804" y="281"/>
                </a:cubicBezTo>
                <a:cubicBezTo>
                  <a:pt x="807" y="262"/>
                  <a:pt x="807" y="262"/>
                  <a:pt x="807" y="262"/>
                </a:cubicBezTo>
                <a:cubicBezTo>
                  <a:pt x="797" y="262"/>
                  <a:pt x="797" y="262"/>
                  <a:pt x="797" y="262"/>
                </a:cubicBezTo>
                <a:cubicBezTo>
                  <a:pt x="794" y="281"/>
                  <a:pt x="794" y="281"/>
                  <a:pt x="794" y="281"/>
                </a:cubicBezTo>
                <a:cubicBezTo>
                  <a:pt x="783" y="281"/>
                  <a:pt x="783" y="281"/>
                  <a:pt x="783" y="281"/>
                </a:cubicBezTo>
                <a:cubicBezTo>
                  <a:pt x="783" y="281"/>
                  <a:pt x="783" y="281"/>
                  <a:pt x="783" y="281"/>
                </a:cubicBezTo>
                <a:close/>
                <a:moveTo>
                  <a:pt x="809" y="249"/>
                </a:moveTo>
                <a:cubicBezTo>
                  <a:pt x="810" y="239"/>
                  <a:pt x="810" y="239"/>
                  <a:pt x="810" y="239"/>
                </a:cubicBezTo>
                <a:cubicBezTo>
                  <a:pt x="800" y="239"/>
                  <a:pt x="800" y="239"/>
                  <a:pt x="800" y="239"/>
                </a:cubicBezTo>
                <a:cubicBezTo>
                  <a:pt x="799" y="249"/>
                  <a:pt x="799" y="249"/>
                  <a:pt x="799" y="249"/>
                </a:cubicBezTo>
                <a:cubicBezTo>
                  <a:pt x="809" y="249"/>
                  <a:pt x="809" y="249"/>
                  <a:pt x="809" y="249"/>
                </a:cubicBezTo>
                <a:cubicBezTo>
                  <a:pt x="809" y="249"/>
                  <a:pt x="809" y="249"/>
                  <a:pt x="809" y="249"/>
                </a:cubicBezTo>
                <a:close/>
                <a:moveTo>
                  <a:pt x="327" y="207"/>
                </a:moveTo>
                <a:cubicBezTo>
                  <a:pt x="327" y="207"/>
                  <a:pt x="327" y="207"/>
                  <a:pt x="327" y="207"/>
                </a:cubicBezTo>
                <a:cubicBezTo>
                  <a:pt x="322" y="207"/>
                  <a:pt x="322" y="207"/>
                  <a:pt x="322" y="207"/>
                </a:cubicBezTo>
                <a:cubicBezTo>
                  <a:pt x="319" y="209"/>
                  <a:pt x="318" y="210"/>
                  <a:pt x="316" y="211"/>
                </a:cubicBezTo>
                <a:cubicBezTo>
                  <a:pt x="314" y="212"/>
                  <a:pt x="313" y="213"/>
                  <a:pt x="310" y="214"/>
                </a:cubicBezTo>
                <a:cubicBezTo>
                  <a:pt x="309" y="215"/>
                  <a:pt x="307" y="216"/>
                  <a:pt x="305" y="217"/>
                </a:cubicBezTo>
                <a:cubicBezTo>
                  <a:pt x="303" y="217"/>
                  <a:pt x="302" y="218"/>
                  <a:pt x="299" y="218"/>
                </a:cubicBezTo>
                <a:cubicBezTo>
                  <a:pt x="299" y="218"/>
                  <a:pt x="299" y="218"/>
                  <a:pt x="299" y="228"/>
                </a:cubicBezTo>
                <a:cubicBezTo>
                  <a:pt x="302" y="228"/>
                  <a:pt x="305" y="227"/>
                  <a:pt x="308" y="225"/>
                </a:cubicBezTo>
                <a:cubicBezTo>
                  <a:pt x="310" y="225"/>
                  <a:pt x="313" y="223"/>
                  <a:pt x="315" y="222"/>
                </a:cubicBezTo>
                <a:cubicBezTo>
                  <a:pt x="315" y="222"/>
                  <a:pt x="315" y="222"/>
                  <a:pt x="315" y="281"/>
                </a:cubicBezTo>
                <a:cubicBezTo>
                  <a:pt x="315" y="281"/>
                  <a:pt x="315" y="281"/>
                  <a:pt x="327" y="281"/>
                </a:cubicBezTo>
                <a:cubicBezTo>
                  <a:pt x="327" y="281"/>
                  <a:pt x="327" y="281"/>
                  <a:pt x="327" y="207"/>
                </a:cubicBezTo>
                <a:close/>
                <a:moveTo>
                  <a:pt x="374" y="207"/>
                </a:moveTo>
                <a:cubicBezTo>
                  <a:pt x="374" y="207"/>
                  <a:pt x="374" y="207"/>
                  <a:pt x="374" y="207"/>
                </a:cubicBezTo>
                <a:cubicBezTo>
                  <a:pt x="369" y="207"/>
                  <a:pt x="369" y="207"/>
                  <a:pt x="369" y="207"/>
                </a:cubicBezTo>
                <a:cubicBezTo>
                  <a:pt x="367" y="209"/>
                  <a:pt x="365" y="210"/>
                  <a:pt x="363" y="211"/>
                </a:cubicBezTo>
                <a:cubicBezTo>
                  <a:pt x="362" y="212"/>
                  <a:pt x="359" y="213"/>
                  <a:pt x="358" y="214"/>
                </a:cubicBezTo>
                <a:cubicBezTo>
                  <a:pt x="357" y="215"/>
                  <a:pt x="354" y="216"/>
                  <a:pt x="353" y="217"/>
                </a:cubicBezTo>
                <a:cubicBezTo>
                  <a:pt x="351" y="217"/>
                  <a:pt x="349" y="218"/>
                  <a:pt x="347" y="218"/>
                </a:cubicBezTo>
                <a:cubicBezTo>
                  <a:pt x="347" y="218"/>
                  <a:pt x="347" y="218"/>
                  <a:pt x="347" y="228"/>
                </a:cubicBezTo>
                <a:cubicBezTo>
                  <a:pt x="350" y="228"/>
                  <a:pt x="353" y="227"/>
                  <a:pt x="355" y="225"/>
                </a:cubicBezTo>
                <a:cubicBezTo>
                  <a:pt x="358" y="225"/>
                  <a:pt x="360" y="223"/>
                  <a:pt x="362" y="222"/>
                </a:cubicBezTo>
                <a:cubicBezTo>
                  <a:pt x="362" y="222"/>
                  <a:pt x="362" y="222"/>
                  <a:pt x="362" y="281"/>
                </a:cubicBezTo>
                <a:cubicBezTo>
                  <a:pt x="362" y="281"/>
                  <a:pt x="362" y="281"/>
                  <a:pt x="374" y="281"/>
                </a:cubicBezTo>
                <a:cubicBezTo>
                  <a:pt x="374" y="281"/>
                  <a:pt x="374" y="281"/>
                  <a:pt x="374" y="207"/>
                </a:cubicBezTo>
                <a:close/>
                <a:moveTo>
                  <a:pt x="421" y="207"/>
                </a:moveTo>
                <a:cubicBezTo>
                  <a:pt x="421" y="207"/>
                  <a:pt x="421" y="207"/>
                  <a:pt x="421" y="207"/>
                </a:cubicBezTo>
                <a:cubicBezTo>
                  <a:pt x="416" y="207"/>
                  <a:pt x="416" y="207"/>
                  <a:pt x="416" y="207"/>
                </a:cubicBezTo>
                <a:cubicBezTo>
                  <a:pt x="414" y="209"/>
                  <a:pt x="413" y="210"/>
                  <a:pt x="411" y="211"/>
                </a:cubicBezTo>
                <a:cubicBezTo>
                  <a:pt x="409" y="212"/>
                  <a:pt x="407" y="213"/>
                  <a:pt x="406" y="214"/>
                </a:cubicBezTo>
                <a:cubicBezTo>
                  <a:pt x="404" y="215"/>
                  <a:pt x="402" y="215"/>
                  <a:pt x="400" y="216"/>
                </a:cubicBezTo>
                <a:cubicBezTo>
                  <a:pt x="398" y="217"/>
                  <a:pt x="396" y="217"/>
                  <a:pt x="395" y="218"/>
                </a:cubicBezTo>
                <a:cubicBezTo>
                  <a:pt x="395" y="218"/>
                  <a:pt x="395" y="218"/>
                  <a:pt x="395" y="228"/>
                </a:cubicBezTo>
                <a:cubicBezTo>
                  <a:pt x="398" y="228"/>
                  <a:pt x="401" y="226"/>
                  <a:pt x="403" y="225"/>
                </a:cubicBezTo>
                <a:cubicBezTo>
                  <a:pt x="405" y="225"/>
                  <a:pt x="408" y="223"/>
                  <a:pt x="409" y="222"/>
                </a:cubicBezTo>
                <a:cubicBezTo>
                  <a:pt x="409" y="222"/>
                  <a:pt x="409" y="222"/>
                  <a:pt x="409" y="281"/>
                </a:cubicBezTo>
                <a:cubicBezTo>
                  <a:pt x="409" y="281"/>
                  <a:pt x="409" y="281"/>
                  <a:pt x="421" y="281"/>
                </a:cubicBezTo>
                <a:cubicBezTo>
                  <a:pt x="421" y="281"/>
                  <a:pt x="421" y="281"/>
                  <a:pt x="421" y="207"/>
                </a:cubicBezTo>
                <a:close/>
                <a:moveTo>
                  <a:pt x="628" y="111"/>
                </a:moveTo>
                <a:cubicBezTo>
                  <a:pt x="628" y="111"/>
                  <a:pt x="628" y="111"/>
                  <a:pt x="628" y="111"/>
                </a:cubicBezTo>
                <a:cubicBezTo>
                  <a:pt x="623" y="111"/>
                  <a:pt x="623" y="111"/>
                  <a:pt x="623" y="111"/>
                </a:cubicBezTo>
                <a:cubicBezTo>
                  <a:pt x="621" y="113"/>
                  <a:pt x="619" y="114"/>
                  <a:pt x="617" y="115"/>
                </a:cubicBezTo>
                <a:cubicBezTo>
                  <a:pt x="616" y="116"/>
                  <a:pt x="613" y="117"/>
                  <a:pt x="612" y="118"/>
                </a:cubicBezTo>
                <a:cubicBezTo>
                  <a:pt x="610" y="119"/>
                  <a:pt x="608" y="119"/>
                  <a:pt x="607" y="120"/>
                </a:cubicBezTo>
                <a:cubicBezTo>
                  <a:pt x="605" y="121"/>
                  <a:pt x="603" y="121"/>
                  <a:pt x="601" y="122"/>
                </a:cubicBezTo>
                <a:cubicBezTo>
                  <a:pt x="601" y="122"/>
                  <a:pt x="601" y="122"/>
                  <a:pt x="601" y="132"/>
                </a:cubicBezTo>
                <a:cubicBezTo>
                  <a:pt x="604" y="132"/>
                  <a:pt x="607" y="130"/>
                  <a:pt x="609" y="129"/>
                </a:cubicBezTo>
                <a:cubicBezTo>
                  <a:pt x="612" y="129"/>
                  <a:pt x="614" y="127"/>
                  <a:pt x="616" y="126"/>
                </a:cubicBezTo>
                <a:cubicBezTo>
                  <a:pt x="616" y="126"/>
                  <a:pt x="616" y="126"/>
                  <a:pt x="616" y="185"/>
                </a:cubicBezTo>
                <a:cubicBezTo>
                  <a:pt x="616" y="185"/>
                  <a:pt x="616" y="185"/>
                  <a:pt x="628" y="185"/>
                </a:cubicBezTo>
                <a:cubicBezTo>
                  <a:pt x="628" y="185"/>
                  <a:pt x="628" y="185"/>
                  <a:pt x="628" y="111"/>
                </a:cubicBezTo>
                <a:close/>
                <a:moveTo>
                  <a:pt x="674" y="111"/>
                </a:moveTo>
                <a:cubicBezTo>
                  <a:pt x="674" y="111"/>
                  <a:pt x="674" y="111"/>
                  <a:pt x="674" y="111"/>
                </a:cubicBezTo>
                <a:cubicBezTo>
                  <a:pt x="669" y="111"/>
                  <a:pt x="669" y="111"/>
                  <a:pt x="669" y="111"/>
                </a:cubicBezTo>
                <a:cubicBezTo>
                  <a:pt x="667" y="113"/>
                  <a:pt x="666" y="114"/>
                  <a:pt x="664" y="115"/>
                </a:cubicBezTo>
                <a:cubicBezTo>
                  <a:pt x="662" y="116"/>
                  <a:pt x="660" y="117"/>
                  <a:pt x="659" y="118"/>
                </a:cubicBezTo>
                <a:cubicBezTo>
                  <a:pt x="657" y="119"/>
                  <a:pt x="655" y="120"/>
                  <a:pt x="654" y="121"/>
                </a:cubicBezTo>
                <a:cubicBezTo>
                  <a:pt x="651" y="121"/>
                  <a:pt x="650" y="122"/>
                  <a:pt x="648" y="122"/>
                </a:cubicBezTo>
                <a:cubicBezTo>
                  <a:pt x="648" y="122"/>
                  <a:pt x="648" y="122"/>
                  <a:pt x="648" y="132"/>
                </a:cubicBezTo>
                <a:cubicBezTo>
                  <a:pt x="651" y="132"/>
                  <a:pt x="654" y="131"/>
                  <a:pt x="656" y="129"/>
                </a:cubicBezTo>
                <a:cubicBezTo>
                  <a:pt x="659" y="129"/>
                  <a:pt x="661" y="127"/>
                  <a:pt x="663" y="126"/>
                </a:cubicBezTo>
                <a:cubicBezTo>
                  <a:pt x="663" y="126"/>
                  <a:pt x="663" y="126"/>
                  <a:pt x="663" y="185"/>
                </a:cubicBezTo>
                <a:cubicBezTo>
                  <a:pt x="663" y="185"/>
                  <a:pt x="663" y="185"/>
                  <a:pt x="674" y="185"/>
                </a:cubicBezTo>
                <a:cubicBezTo>
                  <a:pt x="674" y="185"/>
                  <a:pt x="674" y="185"/>
                  <a:pt x="674" y="111"/>
                </a:cubicBezTo>
                <a:close/>
                <a:moveTo>
                  <a:pt x="720" y="111"/>
                </a:moveTo>
                <a:cubicBezTo>
                  <a:pt x="720" y="111"/>
                  <a:pt x="720" y="111"/>
                  <a:pt x="720" y="111"/>
                </a:cubicBezTo>
                <a:cubicBezTo>
                  <a:pt x="716" y="111"/>
                  <a:pt x="716" y="111"/>
                  <a:pt x="716" y="111"/>
                </a:cubicBezTo>
                <a:cubicBezTo>
                  <a:pt x="714" y="113"/>
                  <a:pt x="712" y="114"/>
                  <a:pt x="710" y="115"/>
                </a:cubicBezTo>
                <a:cubicBezTo>
                  <a:pt x="709" y="116"/>
                  <a:pt x="707" y="117"/>
                  <a:pt x="705" y="118"/>
                </a:cubicBezTo>
                <a:cubicBezTo>
                  <a:pt x="703" y="119"/>
                  <a:pt x="702" y="120"/>
                  <a:pt x="699" y="121"/>
                </a:cubicBezTo>
                <a:cubicBezTo>
                  <a:pt x="698" y="121"/>
                  <a:pt x="696" y="122"/>
                  <a:pt x="694" y="122"/>
                </a:cubicBezTo>
                <a:cubicBezTo>
                  <a:pt x="694" y="122"/>
                  <a:pt x="694" y="122"/>
                  <a:pt x="694" y="132"/>
                </a:cubicBezTo>
                <a:cubicBezTo>
                  <a:pt x="697" y="132"/>
                  <a:pt x="700" y="131"/>
                  <a:pt x="702" y="129"/>
                </a:cubicBezTo>
                <a:cubicBezTo>
                  <a:pt x="704" y="129"/>
                  <a:pt x="707" y="127"/>
                  <a:pt x="709" y="126"/>
                </a:cubicBezTo>
                <a:cubicBezTo>
                  <a:pt x="709" y="126"/>
                  <a:pt x="709" y="126"/>
                  <a:pt x="709" y="185"/>
                </a:cubicBezTo>
                <a:cubicBezTo>
                  <a:pt x="709" y="185"/>
                  <a:pt x="709" y="185"/>
                  <a:pt x="720" y="185"/>
                </a:cubicBezTo>
                <a:cubicBezTo>
                  <a:pt x="720" y="185"/>
                  <a:pt x="720" y="185"/>
                  <a:pt x="720" y="111"/>
                </a:cubicBezTo>
                <a:close/>
                <a:moveTo>
                  <a:pt x="767" y="111"/>
                </a:moveTo>
                <a:cubicBezTo>
                  <a:pt x="767" y="111"/>
                  <a:pt x="767" y="111"/>
                  <a:pt x="767" y="111"/>
                </a:cubicBezTo>
                <a:cubicBezTo>
                  <a:pt x="762" y="111"/>
                  <a:pt x="762" y="111"/>
                  <a:pt x="762" y="111"/>
                </a:cubicBezTo>
                <a:cubicBezTo>
                  <a:pt x="760" y="113"/>
                  <a:pt x="758" y="114"/>
                  <a:pt x="756" y="115"/>
                </a:cubicBezTo>
                <a:cubicBezTo>
                  <a:pt x="755" y="116"/>
                  <a:pt x="753" y="117"/>
                  <a:pt x="751" y="118"/>
                </a:cubicBezTo>
                <a:cubicBezTo>
                  <a:pt x="750" y="119"/>
                  <a:pt x="747" y="120"/>
                  <a:pt x="746" y="121"/>
                </a:cubicBezTo>
                <a:cubicBezTo>
                  <a:pt x="744" y="121"/>
                  <a:pt x="742" y="122"/>
                  <a:pt x="740" y="122"/>
                </a:cubicBezTo>
                <a:cubicBezTo>
                  <a:pt x="740" y="122"/>
                  <a:pt x="740" y="122"/>
                  <a:pt x="740" y="132"/>
                </a:cubicBezTo>
                <a:cubicBezTo>
                  <a:pt x="743" y="132"/>
                  <a:pt x="746" y="131"/>
                  <a:pt x="748" y="129"/>
                </a:cubicBezTo>
                <a:cubicBezTo>
                  <a:pt x="751" y="129"/>
                  <a:pt x="753" y="127"/>
                  <a:pt x="756" y="126"/>
                </a:cubicBezTo>
                <a:cubicBezTo>
                  <a:pt x="756" y="126"/>
                  <a:pt x="756" y="126"/>
                  <a:pt x="756" y="185"/>
                </a:cubicBezTo>
                <a:cubicBezTo>
                  <a:pt x="756" y="185"/>
                  <a:pt x="756" y="185"/>
                  <a:pt x="767" y="185"/>
                </a:cubicBezTo>
                <a:cubicBezTo>
                  <a:pt x="767" y="185"/>
                  <a:pt x="767" y="185"/>
                  <a:pt x="767" y="111"/>
                </a:cubicBezTo>
                <a:close/>
                <a:moveTo>
                  <a:pt x="889" y="111"/>
                </a:moveTo>
                <a:cubicBezTo>
                  <a:pt x="889" y="111"/>
                  <a:pt x="889" y="111"/>
                  <a:pt x="889" y="111"/>
                </a:cubicBezTo>
                <a:cubicBezTo>
                  <a:pt x="884" y="111"/>
                  <a:pt x="884" y="111"/>
                  <a:pt x="884" y="111"/>
                </a:cubicBezTo>
                <a:cubicBezTo>
                  <a:pt x="882" y="113"/>
                  <a:pt x="880" y="114"/>
                  <a:pt x="878" y="115"/>
                </a:cubicBezTo>
                <a:cubicBezTo>
                  <a:pt x="876" y="116"/>
                  <a:pt x="875" y="117"/>
                  <a:pt x="873" y="118"/>
                </a:cubicBezTo>
                <a:cubicBezTo>
                  <a:pt x="871" y="119"/>
                  <a:pt x="869" y="120"/>
                  <a:pt x="868" y="121"/>
                </a:cubicBezTo>
                <a:cubicBezTo>
                  <a:pt x="866" y="121"/>
                  <a:pt x="864" y="122"/>
                  <a:pt x="862" y="122"/>
                </a:cubicBezTo>
                <a:cubicBezTo>
                  <a:pt x="862" y="122"/>
                  <a:pt x="862" y="122"/>
                  <a:pt x="862" y="132"/>
                </a:cubicBezTo>
                <a:cubicBezTo>
                  <a:pt x="865" y="132"/>
                  <a:pt x="868" y="131"/>
                  <a:pt x="871" y="129"/>
                </a:cubicBezTo>
                <a:cubicBezTo>
                  <a:pt x="873" y="129"/>
                  <a:pt x="875" y="127"/>
                  <a:pt x="877" y="126"/>
                </a:cubicBezTo>
                <a:cubicBezTo>
                  <a:pt x="877" y="126"/>
                  <a:pt x="877" y="126"/>
                  <a:pt x="877" y="185"/>
                </a:cubicBezTo>
                <a:cubicBezTo>
                  <a:pt x="877" y="185"/>
                  <a:pt x="877" y="185"/>
                  <a:pt x="889" y="185"/>
                </a:cubicBezTo>
                <a:cubicBezTo>
                  <a:pt x="889" y="185"/>
                  <a:pt x="889" y="185"/>
                  <a:pt x="889" y="111"/>
                </a:cubicBezTo>
                <a:close/>
                <a:moveTo>
                  <a:pt x="936" y="111"/>
                </a:moveTo>
                <a:cubicBezTo>
                  <a:pt x="936" y="111"/>
                  <a:pt x="936" y="111"/>
                  <a:pt x="936" y="111"/>
                </a:cubicBezTo>
                <a:cubicBezTo>
                  <a:pt x="931" y="111"/>
                  <a:pt x="931" y="111"/>
                  <a:pt x="931" y="111"/>
                </a:cubicBezTo>
                <a:cubicBezTo>
                  <a:pt x="929" y="113"/>
                  <a:pt x="927" y="114"/>
                  <a:pt x="925" y="115"/>
                </a:cubicBezTo>
                <a:cubicBezTo>
                  <a:pt x="924" y="116"/>
                  <a:pt x="921" y="117"/>
                  <a:pt x="920" y="118"/>
                </a:cubicBezTo>
                <a:cubicBezTo>
                  <a:pt x="918" y="119"/>
                  <a:pt x="916" y="120"/>
                  <a:pt x="915" y="121"/>
                </a:cubicBezTo>
                <a:cubicBezTo>
                  <a:pt x="913" y="121"/>
                  <a:pt x="911" y="122"/>
                  <a:pt x="909" y="122"/>
                </a:cubicBezTo>
                <a:cubicBezTo>
                  <a:pt x="909" y="122"/>
                  <a:pt x="909" y="122"/>
                  <a:pt x="909" y="132"/>
                </a:cubicBezTo>
                <a:cubicBezTo>
                  <a:pt x="912" y="132"/>
                  <a:pt x="915" y="131"/>
                  <a:pt x="917" y="129"/>
                </a:cubicBezTo>
                <a:cubicBezTo>
                  <a:pt x="920" y="129"/>
                  <a:pt x="922" y="127"/>
                  <a:pt x="924" y="126"/>
                </a:cubicBezTo>
                <a:cubicBezTo>
                  <a:pt x="924" y="126"/>
                  <a:pt x="924" y="126"/>
                  <a:pt x="924" y="185"/>
                </a:cubicBezTo>
                <a:cubicBezTo>
                  <a:pt x="924" y="185"/>
                  <a:pt x="924" y="185"/>
                  <a:pt x="936" y="185"/>
                </a:cubicBezTo>
                <a:cubicBezTo>
                  <a:pt x="936" y="185"/>
                  <a:pt x="936" y="185"/>
                  <a:pt x="936" y="111"/>
                </a:cubicBezTo>
                <a:close/>
                <a:moveTo>
                  <a:pt x="787" y="144"/>
                </a:moveTo>
                <a:cubicBezTo>
                  <a:pt x="787" y="144"/>
                  <a:pt x="787" y="144"/>
                  <a:pt x="787" y="144"/>
                </a:cubicBezTo>
                <a:cubicBezTo>
                  <a:pt x="787" y="152"/>
                  <a:pt x="787" y="152"/>
                  <a:pt x="787" y="152"/>
                </a:cubicBezTo>
                <a:cubicBezTo>
                  <a:pt x="793" y="152"/>
                  <a:pt x="794" y="155"/>
                  <a:pt x="794" y="158"/>
                </a:cubicBezTo>
                <a:cubicBezTo>
                  <a:pt x="794" y="160"/>
                  <a:pt x="794" y="162"/>
                  <a:pt x="794" y="165"/>
                </a:cubicBezTo>
                <a:cubicBezTo>
                  <a:pt x="793" y="167"/>
                  <a:pt x="793" y="170"/>
                  <a:pt x="793" y="172"/>
                </a:cubicBezTo>
                <a:cubicBezTo>
                  <a:pt x="793" y="181"/>
                  <a:pt x="799" y="185"/>
                  <a:pt x="807" y="185"/>
                </a:cubicBezTo>
                <a:cubicBezTo>
                  <a:pt x="807" y="185"/>
                  <a:pt x="807" y="185"/>
                  <a:pt x="811" y="185"/>
                </a:cubicBezTo>
                <a:cubicBezTo>
                  <a:pt x="811" y="185"/>
                  <a:pt x="811" y="185"/>
                  <a:pt x="811" y="176"/>
                </a:cubicBezTo>
                <a:cubicBezTo>
                  <a:pt x="811" y="176"/>
                  <a:pt x="811" y="176"/>
                  <a:pt x="810" y="176"/>
                </a:cubicBezTo>
                <a:cubicBezTo>
                  <a:pt x="806" y="176"/>
                  <a:pt x="805" y="173"/>
                  <a:pt x="805" y="170"/>
                </a:cubicBezTo>
                <a:cubicBezTo>
                  <a:pt x="805" y="168"/>
                  <a:pt x="805" y="167"/>
                  <a:pt x="805" y="165"/>
                </a:cubicBezTo>
                <a:cubicBezTo>
                  <a:pt x="805" y="163"/>
                  <a:pt x="806" y="161"/>
                  <a:pt x="806" y="159"/>
                </a:cubicBezTo>
                <a:cubicBezTo>
                  <a:pt x="806" y="151"/>
                  <a:pt x="803" y="149"/>
                  <a:pt x="797" y="148"/>
                </a:cubicBezTo>
                <a:cubicBezTo>
                  <a:pt x="797" y="148"/>
                  <a:pt x="797" y="148"/>
                  <a:pt x="797" y="147"/>
                </a:cubicBezTo>
                <a:cubicBezTo>
                  <a:pt x="803" y="146"/>
                  <a:pt x="806" y="144"/>
                  <a:pt x="806" y="136"/>
                </a:cubicBezTo>
                <a:cubicBezTo>
                  <a:pt x="806" y="134"/>
                  <a:pt x="805" y="132"/>
                  <a:pt x="805" y="130"/>
                </a:cubicBezTo>
                <a:cubicBezTo>
                  <a:pt x="805" y="129"/>
                  <a:pt x="805" y="127"/>
                  <a:pt x="805" y="126"/>
                </a:cubicBezTo>
                <a:cubicBezTo>
                  <a:pt x="805" y="122"/>
                  <a:pt x="806" y="120"/>
                  <a:pt x="810" y="120"/>
                </a:cubicBezTo>
                <a:cubicBezTo>
                  <a:pt x="810" y="120"/>
                  <a:pt x="810" y="120"/>
                  <a:pt x="811" y="120"/>
                </a:cubicBezTo>
                <a:cubicBezTo>
                  <a:pt x="811" y="120"/>
                  <a:pt x="811" y="120"/>
                  <a:pt x="811" y="110"/>
                </a:cubicBezTo>
                <a:cubicBezTo>
                  <a:pt x="811" y="110"/>
                  <a:pt x="811" y="110"/>
                  <a:pt x="807" y="110"/>
                </a:cubicBezTo>
                <a:cubicBezTo>
                  <a:pt x="798" y="110"/>
                  <a:pt x="793" y="114"/>
                  <a:pt x="793" y="123"/>
                </a:cubicBezTo>
                <a:cubicBezTo>
                  <a:pt x="793" y="125"/>
                  <a:pt x="793" y="128"/>
                  <a:pt x="793" y="130"/>
                </a:cubicBezTo>
                <a:cubicBezTo>
                  <a:pt x="794" y="133"/>
                  <a:pt x="794" y="135"/>
                  <a:pt x="794" y="137"/>
                </a:cubicBezTo>
                <a:cubicBezTo>
                  <a:pt x="794" y="140"/>
                  <a:pt x="793" y="143"/>
                  <a:pt x="787" y="144"/>
                </a:cubicBezTo>
                <a:close/>
                <a:moveTo>
                  <a:pt x="842" y="152"/>
                </a:moveTo>
                <a:cubicBezTo>
                  <a:pt x="842" y="152"/>
                  <a:pt x="842" y="152"/>
                  <a:pt x="842" y="152"/>
                </a:cubicBezTo>
                <a:cubicBezTo>
                  <a:pt x="842" y="144"/>
                  <a:pt x="842" y="144"/>
                  <a:pt x="842" y="144"/>
                </a:cubicBezTo>
                <a:cubicBezTo>
                  <a:pt x="836" y="143"/>
                  <a:pt x="835" y="140"/>
                  <a:pt x="835" y="137"/>
                </a:cubicBezTo>
                <a:cubicBezTo>
                  <a:pt x="835" y="135"/>
                  <a:pt x="835" y="133"/>
                  <a:pt x="836" y="130"/>
                </a:cubicBezTo>
                <a:cubicBezTo>
                  <a:pt x="836" y="128"/>
                  <a:pt x="836" y="125"/>
                  <a:pt x="836" y="123"/>
                </a:cubicBezTo>
                <a:cubicBezTo>
                  <a:pt x="836" y="114"/>
                  <a:pt x="831" y="110"/>
                  <a:pt x="822" y="110"/>
                </a:cubicBezTo>
                <a:cubicBezTo>
                  <a:pt x="822" y="110"/>
                  <a:pt x="822" y="110"/>
                  <a:pt x="818" y="110"/>
                </a:cubicBezTo>
                <a:cubicBezTo>
                  <a:pt x="818" y="110"/>
                  <a:pt x="818" y="110"/>
                  <a:pt x="818" y="120"/>
                </a:cubicBezTo>
                <a:cubicBezTo>
                  <a:pt x="818" y="120"/>
                  <a:pt x="818" y="120"/>
                  <a:pt x="819" y="120"/>
                </a:cubicBezTo>
                <a:cubicBezTo>
                  <a:pt x="823" y="120"/>
                  <a:pt x="825" y="122"/>
                  <a:pt x="825" y="126"/>
                </a:cubicBezTo>
                <a:cubicBezTo>
                  <a:pt x="825" y="127"/>
                  <a:pt x="824" y="129"/>
                  <a:pt x="824" y="130"/>
                </a:cubicBezTo>
                <a:cubicBezTo>
                  <a:pt x="824" y="132"/>
                  <a:pt x="824" y="134"/>
                  <a:pt x="824" y="136"/>
                </a:cubicBezTo>
                <a:cubicBezTo>
                  <a:pt x="824" y="144"/>
                  <a:pt x="826" y="146"/>
                  <a:pt x="832" y="147"/>
                </a:cubicBezTo>
                <a:cubicBezTo>
                  <a:pt x="832" y="147"/>
                  <a:pt x="832" y="147"/>
                  <a:pt x="832" y="148"/>
                </a:cubicBezTo>
                <a:cubicBezTo>
                  <a:pt x="826" y="149"/>
                  <a:pt x="824" y="151"/>
                  <a:pt x="824" y="159"/>
                </a:cubicBezTo>
                <a:cubicBezTo>
                  <a:pt x="824" y="161"/>
                  <a:pt x="824" y="163"/>
                  <a:pt x="824" y="165"/>
                </a:cubicBezTo>
                <a:cubicBezTo>
                  <a:pt x="824" y="167"/>
                  <a:pt x="825" y="168"/>
                  <a:pt x="825" y="170"/>
                </a:cubicBezTo>
                <a:cubicBezTo>
                  <a:pt x="825" y="173"/>
                  <a:pt x="823" y="176"/>
                  <a:pt x="819" y="176"/>
                </a:cubicBezTo>
                <a:cubicBezTo>
                  <a:pt x="819" y="176"/>
                  <a:pt x="819" y="176"/>
                  <a:pt x="818" y="176"/>
                </a:cubicBezTo>
                <a:cubicBezTo>
                  <a:pt x="818" y="176"/>
                  <a:pt x="818" y="176"/>
                  <a:pt x="818" y="185"/>
                </a:cubicBezTo>
                <a:cubicBezTo>
                  <a:pt x="818" y="185"/>
                  <a:pt x="818" y="185"/>
                  <a:pt x="822" y="185"/>
                </a:cubicBezTo>
                <a:cubicBezTo>
                  <a:pt x="831" y="185"/>
                  <a:pt x="836" y="181"/>
                  <a:pt x="836" y="172"/>
                </a:cubicBezTo>
                <a:cubicBezTo>
                  <a:pt x="836" y="170"/>
                  <a:pt x="836" y="167"/>
                  <a:pt x="836" y="165"/>
                </a:cubicBezTo>
                <a:cubicBezTo>
                  <a:pt x="835" y="162"/>
                  <a:pt x="835" y="160"/>
                  <a:pt x="835" y="158"/>
                </a:cubicBezTo>
                <a:cubicBezTo>
                  <a:pt x="835" y="155"/>
                  <a:pt x="836" y="152"/>
                  <a:pt x="842" y="152"/>
                </a:cubicBezTo>
                <a:close/>
                <a:moveTo>
                  <a:pt x="228" y="185"/>
                </a:moveTo>
                <a:cubicBezTo>
                  <a:pt x="221" y="185"/>
                  <a:pt x="214" y="182"/>
                  <a:pt x="210" y="176"/>
                </a:cubicBezTo>
                <a:cubicBezTo>
                  <a:pt x="206" y="169"/>
                  <a:pt x="204" y="161"/>
                  <a:pt x="204" y="148"/>
                </a:cubicBezTo>
                <a:cubicBezTo>
                  <a:pt x="204" y="135"/>
                  <a:pt x="206" y="126"/>
                  <a:pt x="210" y="119"/>
                </a:cubicBezTo>
                <a:cubicBezTo>
                  <a:pt x="215" y="112"/>
                  <a:pt x="221" y="109"/>
                  <a:pt x="230" y="109"/>
                </a:cubicBezTo>
                <a:cubicBezTo>
                  <a:pt x="246" y="109"/>
                  <a:pt x="254" y="121"/>
                  <a:pt x="254" y="147"/>
                </a:cubicBezTo>
                <a:cubicBezTo>
                  <a:pt x="254" y="159"/>
                  <a:pt x="252" y="169"/>
                  <a:pt x="247" y="175"/>
                </a:cubicBezTo>
                <a:cubicBezTo>
                  <a:pt x="243" y="182"/>
                  <a:pt x="236" y="185"/>
                  <a:pt x="228" y="185"/>
                </a:cubicBezTo>
                <a:close/>
                <a:moveTo>
                  <a:pt x="229" y="118"/>
                </a:moveTo>
                <a:cubicBezTo>
                  <a:pt x="220" y="118"/>
                  <a:pt x="216" y="129"/>
                  <a:pt x="216" y="148"/>
                </a:cubicBezTo>
                <a:cubicBezTo>
                  <a:pt x="216" y="166"/>
                  <a:pt x="220" y="175"/>
                  <a:pt x="229" y="175"/>
                </a:cubicBezTo>
                <a:cubicBezTo>
                  <a:pt x="237" y="175"/>
                  <a:pt x="242" y="166"/>
                  <a:pt x="242" y="147"/>
                </a:cubicBezTo>
                <a:cubicBezTo>
                  <a:pt x="242" y="128"/>
                  <a:pt x="237" y="118"/>
                  <a:pt x="229" y="118"/>
                </a:cubicBezTo>
                <a:close/>
                <a:moveTo>
                  <a:pt x="298" y="185"/>
                </a:moveTo>
                <a:cubicBezTo>
                  <a:pt x="291" y="185"/>
                  <a:pt x="284" y="182"/>
                  <a:pt x="281" y="176"/>
                </a:cubicBezTo>
                <a:cubicBezTo>
                  <a:pt x="276" y="169"/>
                  <a:pt x="274" y="161"/>
                  <a:pt x="274" y="148"/>
                </a:cubicBezTo>
                <a:cubicBezTo>
                  <a:pt x="274" y="135"/>
                  <a:pt x="276" y="126"/>
                  <a:pt x="281" y="119"/>
                </a:cubicBezTo>
                <a:cubicBezTo>
                  <a:pt x="285" y="112"/>
                  <a:pt x="292" y="109"/>
                  <a:pt x="300" y="109"/>
                </a:cubicBezTo>
                <a:cubicBezTo>
                  <a:pt x="317" y="109"/>
                  <a:pt x="325" y="121"/>
                  <a:pt x="325" y="147"/>
                </a:cubicBezTo>
                <a:cubicBezTo>
                  <a:pt x="325" y="159"/>
                  <a:pt x="323" y="169"/>
                  <a:pt x="318" y="175"/>
                </a:cubicBezTo>
                <a:cubicBezTo>
                  <a:pt x="313" y="182"/>
                  <a:pt x="307" y="185"/>
                  <a:pt x="298" y="185"/>
                </a:cubicBezTo>
                <a:close/>
                <a:moveTo>
                  <a:pt x="300" y="118"/>
                </a:moveTo>
                <a:cubicBezTo>
                  <a:pt x="291" y="118"/>
                  <a:pt x="286" y="129"/>
                  <a:pt x="286" y="148"/>
                </a:cubicBezTo>
                <a:cubicBezTo>
                  <a:pt x="286" y="166"/>
                  <a:pt x="290" y="175"/>
                  <a:pt x="299" y="175"/>
                </a:cubicBezTo>
                <a:cubicBezTo>
                  <a:pt x="308" y="175"/>
                  <a:pt x="312" y="166"/>
                  <a:pt x="312" y="147"/>
                </a:cubicBezTo>
                <a:cubicBezTo>
                  <a:pt x="312" y="128"/>
                  <a:pt x="308" y="118"/>
                  <a:pt x="300" y="118"/>
                </a:cubicBezTo>
                <a:close/>
                <a:moveTo>
                  <a:pt x="508" y="185"/>
                </a:moveTo>
                <a:cubicBezTo>
                  <a:pt x="501" y="185"/>
                  <a:pt x="495" y="182"/>
                  <a:pt x="491" y="175"/>
                </a:cubicBezTo>
                <a:cubicBezTo>
                  <a:pt x="486" y="169"/>
                  <a:pt x="484" y="160"/>
                  <a:pt x="484" y="148"/>
                </a:cubicBezTo>
                <a:cubicBezTo>
                  <a:pt x="484" y="135"/>
                  <a:pt x="486" y="126"/>
                  <a:pt x="491" y="118"/>
                </a:cubicBezTo>
                <a:cubicBezTo>
                  <a:pt x="495" y="112"/>
                  <a:pt x="502" y="109"/>
                  <a:pt x="510" y="109"/>
                </a:cubicBezTo>
                <a:cubicBezTo>
                  <a:pt x="527" y="109"/>
                  <a:pt x="535" y="121"/>
                  <a:pt x="535" y="146"/>
                </a:cubicBezTo>
                <a:cubicBezTo>
                  <a:pt x="535" y="159"/>
                  <a:pt x="532" y="169"/>
                  <a:pt x="528" y="175"/>
                </a:cubicBezTo>
                <a:cubicBezTo>
                  <a:pt x="523" y="182"/>
                  <a:pt x="517" y="185"/>
                  <a:pt x="508" y="185"/>
                </a:cubicBezTo>
                <a:close/>
                <a:moveTo>
                  <a:pt x="510" y="118"/>
                </a:moveTo>
                <a:cubicBezTo>
                  <a:pt x="501" y="118"/>
                  <a:pt x="497" y="128"/>
                  <a:pt x="497" y="147"/>
                </a:cubicBezTo>
                <a:cubicBezTo>
                  <a:pt x="497" y="166"/>
                  <a:pt x="501" y="175"/>
                  <a:pt x="510" y="175"/>
                </a:cubicBezTo>
                <a:cubicBezTo>
                  <a:pt x="518" y="175"/>
                  <a:pt x="522" y="166"/>
                  <a:pt x="522" y="147"/>
                </a:cubicBezTo>
                <a:cubicBezTo>
                  <a:pt x="522" y="128"/>
                  <a:pt x="519" y="118"/>
                  <a:pt x="510" y="118"/>
                </a:cubicBezTo>
                <a:close/>
                <a:moveTo>
                  <a:pt x="581" y="111"/>
                </a:moveTo>
                <a:cubicBezTo>
                  <a:pt x="581" y="111"/>
                  <a:pt x="581" y="111"/>
                  <a:pt x="581" y="111"/>
                </a:cubicBezTo>
                <a:cubicBezTo>
                  <a:pt x="576" y="111"/>
                  <a:pt x="576" y="111"/>
                  <a:pt x="576" y="111"/>
                </a:cubicBezTo>
                <a:cubicBezTo>
                  <a:pt x="574" y="113"/>
                  <a:pt x="573" y="114"/>
                  <a:pt x="570" y="115"/>
                </a:cubicBezTo>
                <a:cubicBezTo>
                  <a:pt x="569" y="116"/>
                  <a:pt x="567" y="117"/>
                  <a:pt x="565" y="118"/>
                </a:cubicBezTo>
                <a:cubicBezTo>
                  <a:pt x="564" y="119"/>
                  <a:pt x="562" y="119"/>
                  <a:pt x="560" y="120"/>
                </a:cubicBezTo>
                <a:cubicBezTo>
                  <a:pt x="558" y="121"/>
                  <a:pt x="557" y="121"/>
                  <a:pt x="555" y="122"/>
                </a:cubicBezTo>
                <a:cubicBezTo>
                  <a:pt x="555" y="122"/>
                  <a:pt x="555" y="122"/>
                  <a:pt x="555" y="132"/>
                </a:cubicBezTo>
                <a:cubicBezTo>
                  <a:pt x="558" y="132"/>
                  <a:pt x="560" y="130"/>
                  <a:pt x="563" y="129"/>
                </a:cubicBezTo>
                <a:cubicBezTo>
                  <a:pt x="565" y="129"/>
                  <a:pt x="568" y="127"/>
                  <a:pt x="570" y="126"/>
                </a:cubicBezTo>
                <a:cubicBezTo>
                  <a:pt x="570" y="126"/>
                  <a:pt x="570" y="126"/>
                  <a:pt x="570" y="185"/>
                </a:cubicBezTo>
                <a:cubicBezTo>
                  <a:pt x="570" y="185"/>
                  <a:pt x="570" y="185"/>
                  <a:pt x="581" y="185"/>
                </a:cubicBezTo>
                <a:cubicBezTo>
                  <a:pt x="581" y="185"/>
                  <a:pt x="581" y="185"/>
                  <a:pt x="581" y="111"/>
                </a:cubicBezTo>
                <a:close/>
                <a:moveTo>
                  <a:pt x="371" y="111"/>
                </a:moveTo>
                <a:cubicBezTo>
                  <a:pt x="371" y="111"/>
                  <a:pt x="371" y="111"/>
                  <a:pt x="371" y="111"/>
                </a:cubicBezTo>
                <a:cubicBezTo>
                  <a:pt x="366" y="111"/>
                  <a:pt x="366" y="111"/>
                  <a:pt x="366" y="111"/>
                </a:cubicBezTo>
                <a:cubicBezTo>
                  <a:pt x="364" y="113"/>
                  <a:pt x="363" y="114"/>
                  <a:pt x="360" y="115"/>
                </a:cubicBezTo>
                <a:cubicBezTo>
                  <a:pt x="359" y="116"/>
                  <a:pt x="358" y="117"/>
                  <a:pt x="355" y="118"/>
                </a:cubicBezTo>
                <a:cubicBezTo>
                  <a:pt x="354" y="119"/>
                  <a:pt x="352" y="120"/>
                  <a:pt x="350" y="121"/>
                </a:cubicBezTo>
                <a:cubicBezTo>
                  <a:pt x="348" y="121"/>
                  <a:pt x="347" y="122"/>
                  <a:pt x="344" y="122"/>
                </a:cubicBezTo>
                <a:cubicBezTo>
                  <a:pt x="344" y="122"/>
                  <a:pt x="344" y="122"/>
                  <a:pt x="344" y="132"/>
                </a:cubicBezTo>
                <a:cubicBezTo>
                  <a:pt x="347" y="132"/>
                  <a:pt x="350" y="131"/>
                  <a:pt x="353" y="129"/>
                </a:cubicBezTo>
                <a:cubicBezTo>
                  <a:pt x="355" y="129"/>
                  <a:pt x="358" y="127"/>
                  <a:pt x="360" y="126"/>
                </a:cubicBezTo>
                <a:cubicBezTo>
                  <a:pt x="360" y="126"/>
                  <a:pt x="360" y="126"/>
                  <a:pt x="360" y="185"/>
                </a:cubicBezTo>
                <a:cubicBezTo>
                  <a:pt x="360" y="185"/>
                  <a:pt x="360" y="185"/>
                  <a:pt x="371" y="185"/>
                </a:cubicBezTo>
                <a:cubicBezTo>
                  <a:pt x="371" y="185"/>
                  <a:pt x="371" y="185"/>
                  <a:pt x="371" y="111"/>
                </a:cubicBezTo>
                <a:close/>
                <a:moveTo>
                  <a:pt x="418" y="111"/>
                </a:moveTo>
                <a:cubicBezTo>
                  <a:pt x="418" y="111"/>
                  <a:pt x="418" y="111"/>
                  <a:pt x="418" y="111"/>
                </a:cubicBezTo>
                <a:cubicBezTo>
                  <a:pt x="413" y="111"/>
                  <a:pt x="413" y="111"/>
                  <a:pt x="413" y="111"/>
                </a:cubicBezTo>
                <a:cubicBezTo>
                  <a:pt x="411" y="113"/>
                  <a:pt x="410" y="114"/>
                  <a:pt x="408" y="115"/>
                </a:cubicBezTo>
                <a:cubicBezTo>
                  <a:pt x="406" y="116"/>
                  <a:pt x="404" y="117"/>
                  <a:pt x="402" y="118"/>
                </a:cubicBezTo>
                <a:cubicBezTo>
                  <a:pt x="401" y="119"/>
                  <a:pt x="399" y="120"/>
                  <a:pt x="397" y="121"/>
                </a:cubicBezTo>
                <a:cubicBezTo>
                  <a:pt x="395" y="121"/>
                  <a:pt x="394" y="122"/>
                  <a:pt x="392" y="122"/>
                </a:cubicBezTo>
                <a:cubicBezTo>
                  <a:pt x="392" y="122"/>
                  <a:pt x="392" y="122"/>
                  <a:pt x="392" y="132"/>
                </a:cubicBezTo>
                <a:cubicBezTo>
                  <a:pt x="394" y="132"/>
                  <a:pt x="397" y="131"/>
                  <a:pt x="400" y="129"/>
                </a:cubicBezTo>
                <a:cubicBezTo>
                  <a:pt x="402" y="129"/>
                  <a:pt x="405" y="127"/>
                  <a:pt x="407" y="126"/>
                </a:cubicBezTo>
                <a:cubicBezTo>
                  <a:pt x="407" y="126"/>
                  <a:pt x="407" y="126"/>
                  <a:pt x="407" y="185"/>
                </a:cubicBezTo>
                <a:cubicBezTo>
                  <a:pt x="407" y="185"/>
                  <a:pt x="407" y="185"/>
                  <a:pt x="418" y="185"/>
                </a:cubicBezTo>
                <a:cubicBezTo>
                  <a:pt x="418" y="185"/>
                  <a:pt x="418" y="185"/>
                  <a:pt x="418" y="111"/>
                </a:cubicBezTo>
                <a:close/>
                <a:moveTo>
                  <a:pt x="464" y="111"/>
                </a:moveTo>
                <a:cubicBezTo>
                  <a:pt x="464" y="111"/>
                  <a:pt x="464" y="111"/>
                  <a:pt x="464" y="111"/>
                </a:cubicBezTo>
                <a:cubicBezTo>
                  <a:pt x="460" y="111"/>
                  <a:pt x="460" y="111"/>
                  <a:pt x="460" y="111"/>
                </a:cubicBezTo>
                <a:cubicBezTo>
                  <a:pt x="458" y="113"/>
                  <a:pt x="456" y="114"/>
                  <a:pt x="454" y="115"/>
                </a:cubicBezTo>
                <a:cubicBezTo>
                  <a:pt x="453" y="116"/>
                  <a:pt x="451" y="117"/>
                  <a:pt x="449" y="118"/>
                </a:cubicBezTo>
                <a:cubicBezTo>
                  <a:pt x="447" y="119"/>
                  <a:pt x="445" y="119"/>
                  <a:pt x="443" y="120"/>
                </a:cubicBezTo>
                <a:cubicBezTo>
                  <a:pt x="442" y="121"/>
                  <a:pt x="440" y="121"/>
                  <a:pt x="438" y="122"/>
                </a:cubicBezTo>
                <a:cubicBezTo>
                  <a:pt x="438" y="122"/>
                  <a:pt x="438" y="122"/>
                  <a:pt x="438" y="132"/>
                </a:cubicBezTo>
                <a:cubicBezTo>
                  <a:pt x="441" y="132"/>
                  <a:pt x="444" y="130"/>
                  <a:pt x="446" y="129"/>
                </a:cubicBezTo>
                <a:cubicBezTo>
                  <a:pt x="448" y="129"/>
                  <a:pt x="451" y="127"/>
                  <a:pt x="453" y="126"/>
                </a:cubicBezTo>
                <a:cubicBezTo>
                  <a:pt x="453" y="126"/>
                  <a:pt x="453" y="126"/>
                  <a:pt x="453" y="185"/>
                </a:cubicBezTo>
                <a:cubicBezTo>
                  <a:pt x="453" y="185"/>
                  <a:pt x="453" y="185"/>
                  <a:pt x="464" y="185"/>
                </a:cubicBezTo>
                <a:cubicBezTo>
                  <a:pt x="464" y="185"/>
                  <a:pt x="464" y="185"/>
                  <a:pt x="464" y="111"/>
                </a:cubicBezTo>
                <a:close/>
                <a:moveTo>
                  <a:pt x="30" y="185"/>
                </a:moveTo>
                <a:cubicBezTo>
                  <a:pt x="23" y="185"/>
                  <a:pt x="16" y="182"/>
                  <a:pt x="12" y="176"/>
                </a:cubicBezTo>
                <a:cubicBezTo>
                  <a:pt x="8" y="169"/>
                  <a:pt x="6" y="161"/>
                  <a:pt x="6" y="148"/>
                </a:cubicBezTo>
                <a:cubicBezTo>
                  <a:pt x="6" y="135"/>
                  <a:pt x="8" y="126"/>
                  <a:pt x="12" y="119"/>
                </a:cubicBezTo>
                <a:cubicBezTo>
                  <a:pt x="17" y="112"/>
                  <a:pt x="23" y="109"/>
                  <a:pt x="32" y="109"/>
                </a:cubicBezTo>
                <a:cubicBezTo>
                  <a:pt x="48" y="109"/>
                  <a:pt x="56" y="121"/>
                  <a:pt x="56" y="147"/>
                </a:cubicBezTo>
                <a:cubicBezTo>
                  <a:pt x="56" y="159"/>
                  <a:pt x="54" y="169"/>
                  <a:pt x="50" y="175"/>
                </a:cubicBezTo>
                <a:cubicBezTo>
                  <a:pt x="45" y="182"/>
                  <a:pt x="39" y="185"/>
                  <a:pt x="30" y="185"/>
                </a:cubicBezTo>
                <a:close/>
                <a:moveTo>
                  <a:pt x="31" y="118"/>
                </a:moveTo>
                <a:cubicBezTo>
                  <a:pt x="23" y="118"/>
                  <a:pt x="17" y="129"/>
                  <a:pt x="17" y="148"/>
                </a:cubicBezTo>
                <a:cubicBezTo>
                  <a:pt x="17" y="166"/>
                  <a:pt x="22" y="175"/>
                  <a:pt x="31" y="175"/>
                </a:cubicBezTo>
                <a:cubicBezTo>
                  <a:pt x="40" y="175"/>
                  <a:pt x="44" y="166"/>
                  <a:pt x="44" y="147"/>
                </a:cubicBezTo>
                <a:cubicBezTo>
                  <a:pt x="44" y="128"/>
                  <a:pt x="40" y="118"/>
                  <a:pt x="31" y="118"/>
                </a:cubicBezTo>
                <a:close/>
                <a:moveTo>
                  <a:pt x="91" y="111"/>
                </a:moveTo>
                <a:cubicBezTo>
                  <a:pt x="91" y="111"/>
                  <a:pt x="91" y="111"/>
                  <a:pt x="91" y="111"/>
                </a:cubicBezTo>
                <a:cubicBezTo>
                  <a:pt x="86" y="111"/>
                  <a:pt x="86" y="111"/>
                  <a:pt x="86" y="111"/>
                </a:cubicBezTo>
                <a:cubicBezTo>
                  <a:pt x="84" y="113"/>
                  <a:pt x="82" y="114"/>
                  <a:pt x="80" y="115"/>
                </a:cubicBezTo>
                <a:cubicBezTo>
                  <a:pt x="79" y="116"/>
                  <a:pt x="77" y="117"/>
                  <a:pt x="75" y="118"/>
                </a:cubicBezTo>
                <a:cubicBezTo>
                  <a:pt x="74" y="119"/>
                  <a:pt x="71" y="120"/>
                  <a:pt x="70" y="121"/>
                </a:cubicBezTo>
                <a:cubicBezTo>
                  <a:pt x="68" y="121"/>
                  <a:pt x="66" y="122"/>
                  <a:pt x="64" y="122"/>
                </a:cubicBezTo>
                <a:cubicBezTo>
                  <a:pt x="64" y="122"/>
                  <a:pt x="64" y="122"/>
                  <a:pt x="64" y="132"/>
                </a:cubicBezTo>
                <a:cubicBezTo>
                  <a:pt x="67" y="132"/>
                  <a:pt x="70" y="131"/>
                  <a:pt x="73" y="129"/>
                </a:cubicBezTo>
                <a:cubicBezTo>
                  <a:pt x="75" y="129"/>
                  <a:pt x="77" y="127"/>
                  <a:pt x="79" y="126"/>
                </a:cubicBezTo>
                <a:cubicBezTo>
                  <a:pt x="79" y="126"/>
                  <a:pt x="79" y="126"/>
                  <a:pt x="79" y="185"/>
                </a:cubicBezTo>
                <a:cubicBezTo>
                  <a:pt x="79" y="185"/>
                  <a:pt x="79" y="185"/>
                  <a:pt x="91" y="185"/>
                </a:cubicBezTo>
                <a:cubicBezTo>
                  <a:pt x="91" y="185"/>
                  <a:pt x="91" y="185"/>
                  <a:pt x="91" y="111"/>
                </a:cubicBezTo>
                <a:close/>
                <a:moveTo>
                  <a:pt x="138" y="111"/>
                </a:moveTo>
                <a:cubicBezTo>
                  <a:pt x="138" y="111"/>
                  <a:pt x="138" y="111"/>
                  <a:pt x="138" y="111"/>
                </a:cubicBezTo>
                <a:cubicBezTo>
                  <a:pt x="133" y="111"/>
                  <a:pt x="133" y="111"/>
                  <a:pt x="133" y="111"/>
                </a:cubicBezTo>
                <a:cubicBezTo>
                  <a:pt x="131" y="113"/>
                  <a:pt x="129" y="114"/>
                  <a:pt x="127" y="115"/>
                </a:cubicBezTo>
                <a:cubicBezTo>
                  <a:pt x="126" y="116"/>
                  <a:pt x="124" y="117"/>
                  <a:pt x="122" y="118"/>
                </a:cubicBezTo>
                <a:cubicBezTo>
                  <a:pt x="121" y="119"/>
                  <a:pt x="118" y="120"/>
                  <a:pt x="117" y="121"/>
                </a:cubicBezTo>
                <a:cubicBezTo>
                  <a:pt x="115" y="121"/>
                  <a:pt x="113" y="122"/>
                  <a:pt x="111" y="122"/>
                </a:cubicBezTo>
                <a:cubicBezTo>
                  <a:pt x="111" y="122"/>
                  <a:pt x="111" y="122"/>
                  <a:pt x="111" y="132"/>
                </a:cubicBezTo>
                <a:cubicBezTo>
                  <a:pt x="114" y="132"/>
                  <a:pt x="117" y="131"/>
                  <a:pt x="119" y="129"/>
                </a:cubicBezTo>
                <a:cubicBezTo>
                  <a:pt x="122" y="129"/>
                  <a:pt x="124" y="127"/>
                  <a:pt x="126" y="126"/>
                </a:cubicBezTo>
                <a:cubicBezTo>
                  <a:pt x="126" y="126"/>
                  <a:pt x="126" y="126"/>
                  <a:pt x="126" y="185"/>
                </a:cubicBezTo>
                <a:cubicBezTo>
                  <a:pt x="126" y="185"/>
                  <a:pt x="126" y="185"/>
                  <a:pt x="138" y="185"/>
                </a:cubicBezTo>
                <a:cubicBezTo>
                  <a:pt x="138" y="185"/>
                  <a:pt x="138" y="185"/>
                  <a:pt x="138" y="111"/>
                </a:cubicBezTo>
                <a:close/>
                <a:moveTo>
                  <a:pt x="184" y="111"/>
                </a:moveTo>
                <a:cubicBezTo>
                  <a:pt x="184" y="111"/>
                  <a:pt x="184" y="111"/>
                  <a:pt x="184" y="111"/>
                </a:cubicBezTo>
                <a:cubicBezTo>
                  <a:pt x="180" y="111"/>
                  <a:pt x="180" y="111"/>
                  <a:pt x="180" y="111"/>
                </a:cubicBezTo>
                <a:cubicBezTo>
                  <a:pt x="178" y="113"/>
                  <a:pt x="176" y="114"/>
                  <a:pt x="174" y="115"/>
                </a:cubicBezTo>
                <a:cubicBezTo>
                  <a:pt x="172" y="116"/>
                  <a:pt x="170" y="117"/>
                  <a:pt x="169" y="118"/>
                </a:cubicBezTo>
                <a:cubicBezTo>
                  <a:pt x="167" y="119"/>
                  <a:pt x="165" y="119"/>
                  <a:pt x="163" y="120"/>
                </a:cubicBezTo>
                <a:cubicBezTo>
                  <a:pt x="161" y="121"/>
                  <a:pt x="159" y="121"/>
                  <a:pt x="158" y="122"/>
                </a:cubicBezTo>
                <a:cubicBezTo>
                  <a:pt x="158" y="122"/>
                  <a:pt x="158" y="122"/>
                  <a:pt x="158" y="132"/>
                </a:cubicBezTo>
                <a:cubicBezTo>
                  <a:pt x="161" y="132"/>
                  <a:pt x="164" y="130"/>
                  <a:pt x="166" y="129"/>
                </a:cubicBezTo>
                <a:cubicBezTo>
                  <a:pt x="168" y="129"/>
                  <a:pt x="171" y="127"/>
                  <a:pt x="172" y="126"/>
                </a:cubicBezTo>
                <a:cubicBezTo>
                  <a:pt x="172" y="126"/>
                  <a:pt x="172" y="126"/>
                  <a:pt x="172" y="185"/>
                </a:cubicBezTo>
                <a:cubicBezTo>
                  <a:pt x="172" y="185"/>
                  <a:pt x="172" y="185"/>
                  <a:pt x="184" y="185"/>
                </a:cubicBezTo>
                <a:cubicBezTo>
                  <a:pt x="184" y="185"/>
                  <a:pt x="184" y="185"/>
                  <a:pt x="184" y="111"/>
                </a:cubicBezTo>
                <a:close/>
                <a:moveTo>
                  <a:pt x="99" y="77"/>
                </a:moveTo>
                <a:cubicBezTo>
                  <a:pt x="92" y="77"/>
                  <a:pt x="85" y="74"/>
                  <a:pt x="81" y="68"/>
                </a:cubicBezTo>
                <a:cubicBezTo>
                  <a:pt x="77" y="62"/>
                  <a:pt x="75" y="53"/>
                  <a:pt x="75" y="41"/>
                </a:cubicBezTo>
                <a:cubicBezTo>
                  <a:pt x="75" y="28"/>
                  <a:pt x="77" y="18"/>
                  <a:pt x="81" y="12"/>
                </a:cubicBezTo>
                <a:cubicBezTo>
                  <a:pt x="86" y="5"/>
                  <a:pt x="92" y="1"/>
                  <a:pt x="101" y="1"/>
                </a:cubicBezTo>
                <a:cubicBezTo>
                  <a:pt x="117" y="1"/>
                  <a:pt x="125" y="14"/>
                  <a:pt x="125" y="39"/>
                </a:cubicBezTo>
                <a:cubicBezTo>
                  <a:pt x="125" y="52"/>
                  <a:pt x="123" y="61"/>
                  <a:pt x="118" y="68"/>
                </a:cubicBezTo>
                <a:cubicBezTo>
                  <a:pt x="113" y="74"/>
                  <a:pt x="107" y="77"/>
                  <a:pt x="99" y="77"/>
                </a:cubicBezTo>
                <a:close/>
                <a:moveTo>
                  <a:pt x="100" y="11"/>
                </a:moveTo>
                <a:cubicBezTo>
                  <a:pt x="91" y="11"/>
                  <a:pt x="86" y="21"/>
                  <a:pt x="86" y="41"/>
                </a:cubicBezTo>
                <a:cubicBezTo>
                  <a:pt x="86" y="59"/>
                  <a:pt x="91" y="68"/>
                  <a:pt x="100" y="68"/>
                </a:cubicBezTo>
                <a:cubicBezTo>
                  <a:pt x="108" y="68"/>
                  <a:pt x="113" y="59"/>
                  <a:pt x="113" y="40"/>
                </a:cubicBezTo>
                <a:cubicBezTo>
                  <a:pt x="113" y="20"/>
                  <a:pt x="108" y="11"/>
                  <a:pt x="100" y="11"/>
                </a:cubicBezTo>
                <a:close/>
                <a:moveTo>
                  <a:pt x="173" y="4"/>
                </a:moveTo>
                <a:cubicBezTo>
                  <a:pt x="173" y="4"/>
                  <a:pt x="173" y="4"/>
                  <a:pt x="173" y="4"/>
                </a:cubicBezTo>
                <a:cubicBezTo>
                  <a:pt x="168" y="4"/>
                  <a:pt x="168" y="4"/>
                  <a:pt x="168" y="4"/>
                </a:cubicBezTo>
                <a:cubicBezTo>
                  <a:pt x="165" y="5"/>
                  <a:pt x="164" y="7"/>
                  <a:pt x="162" y="7"/>
                </a:cubicBezTo>
                <a:cubicBezTo>
                  <a:pt x="160" y="9"/>
                  <a:pt x="158" y="10"/>
                  <a:pt x="157" y="10"/>
                </a:cubicBezTo>
                <a:cubicBezTo>
                  <a:pt x="154" y="11"/>
                  <a:pt x="153" y="12"/>
                  <a:pt x="152" y="12"/>
                </a:cubicBezTo>
                <a:cubicBezTo>
                  <a:pt x="149" y="13"/>
                  <a:pt x="148" y="14"/>
                  <a:pt x="146" y="15"/>
                </a:cubicBezTo>
                <a:cubicBezTo>
                  <a:pt x="146" y="15"/>
                  <a:pt x="146" y="15"/>
                  <a:pt x="146" y="25"/>
                </a:cubicBezTo>
                <a:cubicBezTo>
                  <a:pt x="149" y="24"/>
                  <a:pt x="152" y="23"/>
                  <a:pt x="154" y="22"/>
                </a:cubicBezTo>
                <a:cubicBezTo>
                  <a:pt x="157" y="21"/>
                  <a:pt x="159" y="20"/>
                  <a:pt x="161" y="18"/>
                </a:cubicBezTo>
                <a:cubicBezTo>
                  <a:pt x="161" y="18"/>
                  <a:pt x="161" y="18"/>
                  <a:pt x="161" y="77"/>
                </a:cubicBezTo>
                <a:cubicBezTo>
                  <a:pt x="161" y="77"/>
                  <a:pt x="161" y="77"/>
                  <a:pt x="173" y="77"/>
                </a:cubicBezTo>
                <a:cubicBezTo>
                  <a:pt x="173" y="77"/>
                  <a:pt x="173" y="77"/>
                  <a:pt x="173" y="4"/>
                </a:cubicBezTo>
                <a:close/>
                <a:moveTo>
                  <a:pt x="220" y="4"/>
                </a:moveTo>
                <a:cubicBezTo>
                  <a:pt x="220" y="4"/>
                  <a:pt x="220" y="4"/>
                  <a:pt x="220" y="4"/>
                </a:cubicBezTo>
                <a:cubicBezTo>
                  <a:pt x="215" y="4"/>
                  <a:pt x="215" y="4"/>
                  <a:pt x="215" y="4"/>
                </a:cubicBezTo>
                <a:cubicBezTo>
                  <a:pt x="213" y="5"/>
                  <a:pt x="211" y="7"/>
                  <a:pt x="209" y="7"/>
                </a:cubicBezTo>
                <a:cubicBezTo>
                  <a:pt x="208" y="9"/>
                  <a:pt x="205" y="10"/>
                  <a:pt x="204" y="10"/>
                </a:cubicBezTo>
                <a:cubicBezTo>
                  <a:pt x="203" y="12"/>
                  <a:pt x="200" y="12"/>
                  <a:pt x="199" y="13"/>
                </a:cubicBezTo>
                <a:cubicBezTo>
                  <a:pt x="197" y="14"/>
                  <a:pt x="195" y="15"/>
                  <a:pt x="193" y="15"/>
                </a:cubicBezTo>
                <a:cubicBezTo>
                  <a:pt x="193" y="15"/>
                  <a:pt x="193" y="15"/>
                  <a:pt x="193" y="25"/>
                </a:cubicBezTo>
                <a:cubicBezTo>
                  <a:pt x="196" y="24"/>
                  <a:pt x="199" y="23"/>
                  <a:pt x="201" y="22"/>
                </a:cubicBezTo>
                <a:cubicBezTo>
                  <a:pt x="204" y="21"/>
                  <a:pt x="206" y="20"/>
                  <a:pt x="208" y="18"/>
                </a:cubicBezTo>
                <a:cubicBezTo>
                  <a:pt x="208" y="18"/>
                  <a:pt x="208" y="18"/>
                  <a:pt x="208" y="77"/>
                </a:cubicBezTo>
                <a:cubicBezTo>
                  <a:pt x="208" y="77"/>
                  <a:pt x="208" y="77"/>
                  <a:pt x="220" y="77"/>
                </a:cubicBezTo>
                <a:cubicBezTo>
                  <a:pt x="220" y="77"/>
                  <a:pt x="220" y="77"/>
                  <a:pt x="220" y="4"/>
                </a:cubicBezTo>
                <a:close/>
                <a:moveTo>
                  <a:pt x="266" y="4"/>
                </a:moveTo>
                <a:cubicBezTo>
                  <a:pt x="266" y="4"/>
                  <a:pt x="266" y="4"/>
                  <a:pt x="266" y="4"/>
                </a:cubicBezTo>
                <a:cubicBezTo>
                  <a:pt x="262" y="4"/>
                  <a:pt x="262" y="4"/>
                  <a:pt x="262" y="4"/>
                </a:cubicBezTo>
                <a:cubicBezTo>
                  <a:pt x="260" y="5"/>
                  <a:pt x="258" y="7"/>
                  <a:pt x="256" y="7"/>
                </a:cubicBezTo>
                <a:cubicBezTo>
                  <a:pt x="255" y="9"/>
                  <a:pt x="253" y="10"/>
                  <a:pt x="251" y="10"/>
                </a:cubicBezTo>
                <a:cubicBezTo>
                  <a:pt x="249" y="12"/>
                  <a:pt x="248" y="12"/>
                  <a:pt x="245" y="13"/>
                </a:cubicBezTo>
                <a:cubicBezTo>
                  <a:pt x="244" y="14"/>
                  <a:pt x="242" y="15"/>
                  <a:pt x="240" y="15"/>
                </a:cubicBezTo>
                <a:cubicBezTo>
                  <a:pt x="240" y="15"/>
                  <a:pt x="240" y="15"/>
                  <a:pt x="240" y="25"/>
                </a:cubicBezTo>
                <a:cubicBezTo>
                  <a:pt x="243" y="24"/>
                  <a:pt x="246" y="23"/>
                  <a:pt x="248" y="22"/>
                </a:cubicBezTo>
                <a:cubicBezTo>
                  <a:pt x="250" y="21"/>
                  <a:pt x="253" y="20"/>
                  <a:pt x="255" y="18"/>
                </a:cubicBezTo>
                <a:cubicBezTo>
                  <a:pt x="255" y="18"/>
                  <a:pt x="255" y="18"/>
                  <a:pt x="255" y="77"/>
                </a:cubicBezTo>
                <a:cubicBezTo>
                  <a:pt x="255" y="77"/>
                  <a:pt x="255" y="77"/>
                  <a:pt x="266" y="77"/>
                </a:cubicBezTo>
                <a:cubicBezTo>
                  <a:pt x="266" y="77"/>
                  <a:pt x="266" y="77"/>
                  <a:pt x="266" y="4"/>
                </a:cubicBezTo>
                <a:close/>
                <a:moveTo>
                  <a:pt x="314" y="4"/>
                </a:moveTo>
                <a:cubicBezTo>
                  <a:pt x="314" y="4"/>
                  <a:pt x="314" y="4"/>
                  <a:pt x="314" y="4"/>
                </a:cubicBezTo>
                <a:cubicBezTo>
                  <a:pt x="309" y="4"/>
                  <a:pt x="309" y="4"/>
                  <a:pt x="309" y="4"/>
                </a:cubicBezTo>
                <a:cubicBezTo>
                  <a:pt x="307" y="5"/>
                  <a:pt x="305" y="7"/>
                  <a:pt x="303" y="7"/>
                </a:cubicBezTo>
                <a:cubicBezTo>
                  <a:pt x="301" y="9"/>
                  <a:pt x="300" y="10"/>
                  <a:pt x="298" y="10"/>
                </a:cubicBezTo>
                <a:cubicBezTo>
                  <a:pt x="296" y="12"/>
                  <a:pt x="294" y="12"/>
                  <a:pt x="293" y="13"/>
                </a:cubicBezTo>
                <a:cubicBezTo>
                  <a:pt x="291" y="14"/>
                  <a:pt x="289" y="15"/>
                  <a:pt x="287" y="15"/>
                </a:cubicBezTo>
                <a:cubicBezTo>
                  <a:pt x="287" y="15"/>
                  <a:pt x="287" y="15"/>
                  <a:pt x="287" y="25"/>
                </a:cubicBezTo>
                <a:cubicBezTo>
                  <a:pt x="290" y="24"/>
                  <a:pt x="293" y="23"/>
                  <a:pt x="295" y="22"/>
                </a:cubicBezTo>
                <a:cubicBezTo>
                  <a:pt x="298" y="21"/>
                  <a:pt x="300" y="20"/>
                  <a:pt x="302" y="18"/>
                </a:cubicBezTo>
                <a:cubicBezTo>
                  <a:pt x="302" y="18"/>
                  <a:pt x="302" y="18"/>
                  <a:pt x="302" y="77"/>
                </a:cubicBezTo>
                <a:cubicBezTo>
                  <a:pt x="302" y="77"/>
                  <a:pt x="302" y="77"/>
                  <a:pt x="314" y="77"/>
                </a:cubicBezTo>
                <a:cubicBezTo>
                  <a:pt x="314" y="77"/>
                  <a:pt x="314" y="77"/>
                  <a:pt x="314" y="4"/>
                </a:cubicBezTo>
                <a:close/>
                <a:moveTo>
                  <a:pt x="437" y="4"/>
                </a:moveTo>
                <a:cubicBezTo>
                  <a:pt x="437" y="4"/>
                  <a:pt x="437" y="4"/>
                  <a:pt x="437" y="4"/>
                </a:cubicBezTo>
                <a:cubicBezTo>
                  <a:pt x="432" y="4"/>
                  <a:pt x="432" y="4"/>
                  <a:pt x="432" y="4"/>
                </a:cubicBezTo>
                <a:cubicBezTo>
                  <a:pt x="429" y="5"/>
                  <a:pt x="428" y="7"/>
                  <a:pt x="426" y="7"/>
                </a:cubicBezTo>
                <a:cubicBezTo>
                  <a:pt x="424" y="9"/>
                  <a:pt x="423" y="10"/>
                  <a:pt x="421" y="10"/>
                </a:cubicBezTo>
                <a:cubicBezTo>
                  <a:pt x="419" y="12"/>
                  <a:pt x="417" y="12"/>
                  <a:pt x="416" y="13"/>
                </a:cubicBezTo>
                <a:cubicBezTo>
                  <a:pt x="413" y="14"/>
                  <a:pt x="412" y="15"/>
                  <a:pt x="410" y="15"/>
                </a:cubicBezTo>
                <a:cubicBezTo>
                  <a:pt x="410" y="15"/>
                  <a:pt x="410" y="15"/>
                  <a:pt x="410" y="25"/>
                </a:cubicBezTo>
                <a:cubicBezTo>
                  <a:pt x="413" y="24"/>
                  <a:pt x="416" y="23"/>
                  <a:pt x="418" y="22"/>
                </a:cubicBezTo>
                <a:cubicBezTo>
                  <a:pt x="421" y="21"/>
                  <a:pt x="423" y="20"/>
                  <a:pt x="425" y="18"/>
                </a:cubicBezTo>
                <a:cubicBezTo>
                  <a:pt x="425" y="18"/>
                  <a:pt x="425" y="18"/>
                  <a:pt x="425" y="77"/>
                </a:cubicBezTo>
                <a:cubicBezTo>
                  <a:pt x="425" y="77"/>
                  <a:pt x="425" y="77"/>
                  <a:pt x="437" y="77"/>
                </a:cubicBezTo>
                <a:cubicBezTo>
                  <a:pt x="437" y="77"/>
                  <a:pt x="437" y="77"/>
                  <a:pt x="437" y="4"/>
                </a:cubicBezTo>
                <a:close/>
                <a:moveTo>
                  <a:pt x="484" y="4"/>
                </a:moveTo>
                <a:cubicBezTo>
                  <a:pt x="484" y="4"/>
                  <a:pt x="484" y="4"/>
                  <a:pt x="484" y="4"/>
                </a:cubicBezTo>
                <a:cubicBezTo>
                  <a:pt x="479" y="4"/>
                  <a:pt x="479" y="4"/>
                  <a:pt x="479" y="4"/>
                </a:cubicBezTo>
                <a:cubicBezTo>
                  <a:pt x="477" y="5"/>
                  <a:pt x="475" y="7"/>
                  <a:pt x="473" y="7"/>
                </a:cubicBezTo>
                <a:cubicBezTo>
                  <a:pt x="472" y="9"/>
                  <a:pt x="470" y="10"/>
                  <a:pt x="468" y="10"/>
                </a:cubicBezTo>
                <a:cubicBezTo>
                  <a:pt x="467" y="12"/>
                  <a:pt x="465" y="12"/>
                  <a:pt x="463" y="13"/>
                </a:cubicBezTo>
                <a:cubicBezTo>
                  <a:pt x="461" y="14"/>
                  <a:pt x="459" y="15"/>
                  <a:pt x="457" y="15"/>
                </a:cubicBezTo>
                <a:cubicBezTo>
                  <a:pt x="457" y="15"/>
                  <a:pt x="457" y="15"/>
                  <a:pt x="457" y="25"/>
                </a:cubicBezTo>
                <a:cubicBezTo>
                  <a:pt x="460" y="24"/>
                  <a:pt x="463" y="23"/>
                  <a:pt x="465" y="22"/>
                </a:cubicBezTo>
                <a:cubicBezTo>
                  <a:pt x="468" y="21"/>
                  <a:pt x="470" y="20"/>
                  <a:pt x="473" y="18"/>
                </a:cubicBezTo>
                <a:cubicBezTo>
                  <a:pt x="473" y="18"/>
                  <a:pt x="473" y="18"/>
                  <a:pt x="473" y="77"/>
                </a:cubicBezTo>
                <a:cubicBezTo>
                  <a:pt x="473" y="77"/>
                  <a:pt x="473" y="77"/>
                  <a:pt x="484" y="77"/>
                </a:cubicBezTo>
                <a:cubicBezTo>
                  <a:pt x="484" y="77"/>
                  <a:pt x="484" y="77"/>
                  <a:pt x="484" y="4"/>
                </a:cubicBezTo>
                <a:close/>
                <a:moveTo>
                  <a:pt x="532" y="4"/>
                </a:moveTo>
                <a:cubicBezTo>
                  <a:pt x="532" y="4"/>
                  <a:pt x="532" y="4"/>
                  <a:pt x="532" y="4"/>
                </a:cubicBezTo>
                <a:cubicBezTo>
                  <a:pt x="527" y="4"/>
                  <a:pt x="527" y="4"/>
                  <a:pt x="527" y="4"/>
                </a:cubicBezTo>
                <a:cubicBezTo>
                  <a:pt x="525" y="5"/>
                  <a:pt x="523" y="7"/>
                  <a:pt x="522" y="7"/>
                </a:cubicBezTo>
                <a:cubicBezTo>
                  <a:pt x="519" y="9"/>
                  <a:pt x="518" y="10"/>
                  <a:pt x="516" y="10"/>
                </a:cubicBezTo>
                <a:cubicBezTo>
                  <a:pt x="514" y="12"/>
                  <a:pt x="512" y="12"/>
                  <a:pt x="511" y="13"/>
                </a:cubicBezTo>
                <a:cubicBezTo>
                  <a:pt x="508" y="14"/>
                  <a:pt x="507" y="15"/>
                  <a:pt x="505" y="15"/>
                </a:cubicBezTo>
                <a:cubicBezTo>
                  <a:pt x="505" y="15"/>
                  <a:pt x="505" y="15"/>
                  <a:pt x="505" y="25"/>
                </a:cubicBezTo>
                <a:cubicBezTo>
                  <a:pt x="508" y="24"/>
                  <a:pt x="511" y="23"/>
                  <a:pt x="514" y="22"/>
                </a:cubicBezTo>
                <a:cubicBezTo>
                  <a:pt x="516" y="21"/>
                  <a:pt x="518" y="20"/>
                  <a:pt x="520" y="18"/>
                </a:cubicBezTo>
                <a:cubicBezTo>
                  <a:pt x="520" y="18"/>
                  <a:pt x="520" y="18"/>
                  <a:pt x="520" y="77"/>
                </a:cubicBezTo>
                <a:cubicBezTo>
                  <a:pt x="520" y="77"/>
                  <a:pt x="520" y="77"/>
                  <a:pt x="532" y="77"/>
                </a:cubicBezTo>
                <a:cubicBezTo>
                  <a:pt x="532" y="77"/>
                  <a:pt x="532" y="77"/>
                  <a:pt x="532" y="4"/>
                </a:cubicBezTo>
                <a:close/>
                <a:moveTo>
                  <a:pt x="578" y="4"/>
                </a:moveTo>
                <a:cubicBezTo>
                  <a:pt x="578" y="4"/>
                  <a:pt x="578" y="4"/>
                  <a:pt x="578" y="4"/>
                </a:cubicBezTo>
                <a:cubicBezTo>
                  <a:pt x="574" y="4"/>
                  <a:pt x="574" y="4"/>
                  <a:pt x="574" y="4"/>
                </a:cubicBezTo>
                <a:cubicBezTo>
                  <a:pt x="572" y="5"/>
                  <a:pt x="570" y="7"/>
                  <a:pt x="568" y="7"/>
                </a:cubicBezTo>
                <a:cubicBezTo>
                  <a:pt x="567" y="9"/>
                  <a:pt x="565" y="10"/>
                  <a:pt x="563" y="10"/>
                </a:cubicBezTo>
                <a:cubicBezTo>
                  <a:pt x="561" y="11"/>
                  <a:pt x="560" y="12"/>
                  <a:pt x="557" y="12"/>
                </a:cubicBezTo>
                <a:cubicBezTo>
                  <a:pt x="556" y="13"/>
                  <a:pt x="554" y="14"/>
                  <a:pt x="552" y="15"/>
                </a:cubicBezTo>
                <a:cubicBezTo>
                  <a:pt x="552" y="15"/>
                  <a:pt x="552" y="15"/>
                  <a:pt x="552" y="25"/>
                </a:cubicBezTo>
                <a:cubicBezTo>
                  <a:pt x="555" y="24"/>
                  <a:pt x="558" y="23"/>
                  <a:pt x="560" y="22"/>
                </a:cubicBezTo>
                <a:cubicBezTo>
                  <a:pt x="562" y="21"/>
                  <a:pt x="565" y="20"/>
                  <a:pt x="567" y="18"/>
                </a:cubicBezTo>
                <a:cubicBezTo>
                  <a:pt x="567" y="18"/>
                  <a:pt x="567" y="18"/>
                  <a:pt x="567" y="77"/>
                </a:cubicBezTo>
                <a:cubicBezTo>
                  <a:pt x="567" y="77"/>
                  <a:pt x="567" y="77"/>
                  <a:pt x="578" y="77"/>
                </a:cubicBezTo>
                <a:cubicBezTo>
                  <a:pt x="578" y="77"/>
                  <a:pt x="578" y="77"/>
                  <a:pt x="578" y="4"/>
                </a:cubicBezTo>
                <a:close/>
                <a:moveTo>
                  <a:pt x="335" y="36"/>
                </a:moveTo>
                <a:cubicBezTo>
                  <a:pt x="335" y="36"/>
                  <a:pt x="335" y="36"/>
                  <a:pt x="335" y="36"/>
                </a:cubicBezTo>
                <a:cubicBezTo>
                  <a:pt x="334" y="44"/>
                  <a:pt x="334" y="44"/>
                  <a:pt x="334" y="44"/>
                </a:cubicBezTo>
                <a:cubicBezTo>
                  <a:pt x="341" y="45"/>
                  <a:pt x="341" y="48"/>
                  <a:pt x="341" y="50"/>
                </a:cubicBezTo>
                <a:cubicBezTo>
                  <a:pt x="341" y="53"/>
                  <a:pt x="341" y="55"/>
                  <a:pt x="341" y="57"/>
                </a:cubicBezTo>
                <a:cubicBezTo>
                  <a:pt x="341" y="60"/>
                  <a:pt x="340" y="62"/>
                  <a:pt x="340" y="65"/>
                </a:cubicBezTo>
                <a:cubicBezTo>
                  <a:pt x="340" y="74"/>
                  <a:pt x="346" y="77"/>
                  <a:pt x="355" y="77"/>
                </a:cubicBezTo>
                <a:cubicBezTo>
                  <a:pt x="355" y="77"/>
                  <a:pt x="355" y="77"/>
                  <a:pt x="358" y="77"/>
                </a:cubicBezTo>
                <a:cubicBezTo>
                  <a:pt x="358" y="77"/>
                  <a:pt x="358" y="77"/>
                  <a:pt x="358" y="68"/>
                </a:cubicBezTo>
                <a:cubicBezTo>
                  <a:pt x="358" y="68"/>
                  <a:pt x="358" y="68"/>
                  <a:pt x="357" y="68"/>
                </a:cubicBezTo>
                <a:cubicBezTo>
                  <a:pt x="353" y="68"/>
                  <a:pt x="352" y="66"/>
                  <a:pt x="352" y="62"/>
                </a:cubicBezTo>
                <a:cubicBezTo>
                  <a:pt x="352" y="61"/>
                  <a:pt x="352" y="59"/>
                  <a:pt x="353" y="57"/>
                </a:cubicBezTo>
                <a:cubicBezTo>
                  <a:pt x="353" y="56"/>
                  <a:pt x="353" y="54"/>
                  <a:pt x="353" y="52"/>
                </a:cubicBezTo>
                <a:cubicBezTo>
                  <a:pt x="353" y="44"/>
                  <a:pt x="350" y="42"/>
                  <a:pt x="344" y="40"/>
                </a:cubicBezTo>
                <a:cubicBezTo>
                  <a:pt x="344" y="40"/>
                  <a:pt x="344" y="40"/>
                  <a:pt x="344" y="40"/>
                </a:cubicBezTo>
                <a:cubicBezTo>
                  <a:pt x="350" y="39"/>
                  <a:pt x="353" y="37"/>
                  <a:pt x="353" y="29"/>
                </a:cubicBezTo>
                <a:cubicBezTo>
                  <a:pt x="353" y="27"/>
                  <a:pt x="353" y="25"/>
                  <a:pt x="353" y="23"/>
                </a:cubicBezTo>
                <a:cubicBezTo>
                  <a:pt x="352" y="21"/>
                  <a:pt x="352" y="20"/>
                  <a:pt x="352" y="18"/>
                </a:cubicBezTo>
                <a:cubicBezTo>
                  <a:pt x="352" y="15"/>
                  <a:pt x="353" y="13"/>
                  <a:pt x="357" y="13"/>
                </a:cubicBezTo>
                <a:cubicBezTo>
                  <a:pt x="357" y="13"/>
                  <a:pt x="357" y="13"/>
                  <a:pt x="358" y="13"/>
                </a:cubicBezTo>
                <a:cubicBezTo>
                  <a:pt x="358" y="13"/>
                  <a:pt x="358" y="13"/>
                  <a:pt x="358" y="3"/>
                </a:cubicBezTo>
                <a:cubicBezTo>
                  <a:pt x="358" y="3"/>
                  <a:pt x="358" y="3"/>
                  <a:pt x="355" y="3"/>
                </a:cubicBezTo>
                <a:cubicBezTo>
                  <a:pt x="346" y="3"/>
                  <a:pt x="340" y="7"/>
                  <a:pt x="340" y="16"/>
                </a:cubicBezTo>
                <a:cubicBezTo>
                  <a:pt x="340" y="18"/>
                  <a:pt x="341" y="21"/>
                  <a:pt x="341" y="23"/>
                </a:cubicBezTo>
                <a:cubicBezTo>
                  <a:pt x="341" y="26"/>
                  <a:pt x="341" y="28"/>
                  <a:pt x="341" y="30"/>
                </a:cubicBezTo>
                <a:cubicBezTo>
                  <a:pt x="341" y="33"/>
                  <a:pt x="341" y="36"/>
                  <a:pt x="335" y="36"/>
                </a:cubicBezTo>
                <a:close/>
                <a:moveTo>
                  <a:pt x="389" y="44"/>
                </a:moveTo>
                <a:cubicBezTo>
                  <a:pt x="389" y="44"/>
                  <a:pt x="389" y="44"/>
                  <a:pt x="389" y="44"/>
                </a:cubicBezTo>
                <a:cubicBezTo>
                  <a:pt x="389" y="36"/>
                  <a:pt x="389" y="36"/>
                  <a:pt x="389" y="36"/>
                </a:cubicBezTo>
                <a:cubicBezTo>
                  <a:pt x="383" y="36"/>
                  <a:pt x="382" y="33"/>
                  <a:pt x="382" y="30"/>
                </a:cubicBezTo>
                <a:cubicBezTo>
                  <a:pt x="382" y="28"/>
                  <a:pt x="382" y="26"/>
                  <a:pt x="383" y="23"/>
                </a:cubicBezTo>
                <a:cubicBezTo>
                  <a:pt x="383" y="21"/>
                  <a:pt x="383" y="18"/>
                  <a:pt x="383" y="16"/>
                </a:cubicBezTo>
                <a:cubicBezTo>
                  <a:pt x="383" y="7"/>
                  <a:pt x="378" y="3"/>
                  <a:pt x="369" y="3"/>
                </a:cubicBezTo>
                <a:cubicBezTo>
                  <a:pt x="369" y="3"/>
                  <a:pt x="369" y="3"/>
                  <a:pt x="365" y="3"/>
                </a:cubicBezTo>
                <a:cubicBezTo>
                  <a:pt x="365" y="3"/>
                  <a:pt x="365" y="3"/>
                  <a:pt x="365" y="13"/>
                </a:cubicBezTo>
                <a:cubicBezTo>
                  <a:pt x="365" y="13"/>
                  <a:pt x="365" y="13"/>
                  <a:pt x="367" y="13"/>
                </a:cubicBezTo>
                <a:cubicBezTo>
                  <a:pt x="370" y="13"/>
                  <a:pt x="372" y="15"/>
                  <a:pt x="372" y="18"/>
                </a:cubicBezTo>
                <a:cubicBezTo>
                  <a:pt x="372" y="20"/>
                  <a:pt x="371" y="21"/>
                  <a:pt x="371" y="23"/>
                </a:cubicBezTo>
                <a:cubicBezTo>
                  <a:pt x="371" y="25"/>
                  <a:pt x="371" y="27"/>
                  <a:pt x="371" y="29"/>
                </a:cubicBezTo>
                <a:cubicBezTo>
                  <a:pt x="371" y="37"/>
                  <a:pt x="374" y="39"/>
                  <a:pt x="380" y="40"/>
                </a:cubicBezTo>
                <a:cubicBezTo>
                  <a:pt x="380" y="40"/>
                  <a:pt x="380" y="40"/>
                  <a:pt x="380" y="40"/>
                </a:cubicBezTo>
                <a:cubicBezTo>
                  <a:pt x="374" y="42"/>
                  <a:pt x="371" y="44"/>
                  <a:pt x="371" y="52"/>
                </a:cubicBezTo>
                <a:cubicBezTo>
                  <a:pt x="371" y="54"/>
                  <a:pt x="371" y="56"/>
                  <a:pt x="371" y="57"/>
                </a:cubicBezTo>
                <a:cubicBezTo>
                  <a:pt x="371" y="59"/>
                  <a:pt x="372" y="61"/>
                  <a:pt x="372" y="62"/>
                </a:cubicBezTo>
                <a:cubicBezTo>
                  <a:pt x="372" y="66"/>
                  <a:pt x="371" y="68"/>
                  <a:pt x="367" y="68"/>
                </a:cubicBezTo>
                <a:cubicBezTo>
                  <a:pt x="367" y="68"/>
                  <a:pt x="367" y="68"/>
                  <a:pt x="365" y="68"/>
                </a:cubicBezTo>
                <a:cubicBezTo>
                  <a:pt x="365" y="68"/>
                  <a:pt x="365" y="68"/>
                  <a:pt x="365" y="77"/>
                </a:cubicBezTo>
                <a:cubicBezTo>
                  <a:pt x="365" y="77"/>
                  <a:pt x="365" y="77"/>
                  <a:pt x="369" y="77"/>
                </a:cubicBezTo>
                <a:cubicBezTo>
                  <a:pt x="378" y="77"/>
                  <a:pt x="383" y="74"/>
                  <a:pt x="383" y="65"/>
                </a:cubicBezTo>
                <a:cubicBezTo>
                  <a:pt x="383" y="62"/>
                  <a:pt x="383" y="60"/>
                  <a:pt x="383" y="57"/>
                </a:cubicBezTo>
                <a:cubicBezTo>
                  <a:pt x="382" y="55"/>
                  <a:pt x="382" y="53"/>
                  <a:pt x="382" y="50"/>
                </a:cubicBezTo>
                <a:cubicBezTo>
                  <a:pt x="382" y="48"/>
                  <a:pt x="383" y="45"/>
                  <a:pt x="389" y="44"/>
                </a:cubicBezTo>
                <a:close/>
                <a:moveTo>
                  <a:pt x="716" y="36"/>
                </a:moveTo>
                <a:cubicBezTo>
                  <a:pt x="716" y="36"/>
                  <a:pt x="716" y="36"/>
                  <a:pt x="716" y="36"/>
                </a:cubicBezTo>
                <a:cubicBezTo>
                  <a:pt x="716" y="44"/>
                  <a:pt x="716" y="44"/>
                  <a:pt x="716" y="44"/>
                </a:cubicBezTo>
                <a:cubicBezTo>
                  <a:pt x="722" y="45"/>
                  <a:pt x="723" y="48"/>
                  <a:pt x="723" y="50"/>
                </a:cubicBezTo>
                <a:cubicBezTo>
                  <a:pt x="723" y="53"/>
                  <a:pt x="723" y="55"/>
                  <a:pt x="723" y="57"/>
                </a:cubicBezTo>
                <a:cubicBezTo>
                  <a:pt x="722" y="60"/>
                  <a:pt x="722" y="62"/>
                  <a:pt x="722" y="65"/>
                </a:cubicBezTo>
                <a:cubicBezTo>
                  <a:pt x="722" y="74"/>
                  <a:pt x="728" y="77"/>
                  <a:pt x="736" y="77"/>
                </a:cubicBezTo>
                <a:cubicBezTo>
                  <a:pt x="736" y="77"/>
                  <a:pt x="736" y="77"/>
                  <a:pt x="740" y="77"/>
                </a:cubicBezTo>
                <a:cubicBezTo>
                  <a:pt x="740" y="77"/>
                  <a:pt x="740" y="77"/>
                  <a:pt x="740" y="68"/>
                </a:cubicBezTo>
                <a:cubicBezTo>
                  <a:pt x="740" y="68"/>
                  <a:pt x="740" y="68"/>
                  <a:pt x="739" y="68"/>
                </a:cubicBezTo>
                <a:cubicBezTo>
                  <a:pt x="735" y="68"/>
                  <a:pt x="734" y="66"/>
                  <a:pt x="734" y="62"/>
                </a:cubicBezTo>
                <a:cubicBezTo>
                  <a:pt x="734" y="61"/>
                  <a:pt x="734" y="59"/>
                  <a:pt x="734" y="57"/>
                </a:cubicBezTo>
                <a:cubicBezTo>
                  <a:pt x="734" y="56"/>
                  <a:pt x="734" y="54"/>
                  <a:pt x="734" y="52"/>
                </a:cubicBezTo>
                <a:cubicBezTo>
                  <a:pt x="734" y="44"/>
                  <a:pt x="732" y="42"/>
                  <a:pt x="726" y="40"/>
                </a:cubicBezTo>
                <a:cubicBezTo>
                  <a:pt x="726" y="40"/>
                  <a:pt x="726" y="40"/>
                  <a:pt x="726" y="40"/>
                </a:cubicBezTo>
                <a:cubicBezTo>
                  <a:pt x="732" y="39"/>
                  <a:pt x="734" y="37"/>
                  <a:pt x="734" y="29"/>
                </a:cubicBezTo>
                <a:cubicBezTo>
                  <a:pt x="734" y="27"/>
                  <a:pt x="734" y="25"/>
                  <a:pt x="734" y="23"/>
                </a:cubicBezTo>
                <a:cubicBezTo>
                  <a:pt x="734" y="21"/>
                  <a:pt x="734" y="20"/>
                  <a:pt x="734" y="18"/>
                </a:cubicBezTo>
                <a:cubicBezTo>
                  <a:pt x="734" y="15"/>
                  <a:pt x="735" y="13"/>
                  <a:pt x="739" y="13"/>
                </a:cubicBezTo>
                <a:cubicBezTo>
                  <a:pt x="739" y="13"/>
                  <a:pt x="739" y="13"/>
                  <a:pt x="740" y="13"/>
                </a:cubicBezTo>
                <a:cubicBezTo>
                  <a:pt x="740" y="13"/>
                  <a:pt x="740" y="13"/>
                  <a:pt x="740" y="3"/>
                </a:cubicBezTo>
                <a:cubicBezTo>
                  <a:pt x="740" y="3"/>
                  <a:pt x="740" y="3"/>
                  <a:pt x="736" y="3"/>
                </a:cubicBezTo>
                <a:cubicBezTo>
                  <a:pt x="727" y="3"/>
                  <a:pt x="722" y="7"/>
                  <a:pt x="722" y="16"/>
                </a:cubicBezTo>
                <a:cubicBezTo>
                  <a:pt x="722" y="18"/>
                  <a:pt x="722" y="21"/>
                  <a:pt x="722" y="23"/>
                </a:cubicBezTo>
                <a:cubicBezTo>
                  <a:pt x="723" y="26"/>
                  <a:pt x="723" y="28"/>
                  <a:pt x="723" y="30"/>
                </a:cubicBezTo>
                <a:cubicBezTo>
                  <a:pt x="723" y="33"/>
                  <a:pt x="722" y="36"/>
                  <a:pt x="716" y="36"/>
                </a:cubicBezTo>
                <a:close/>
                <a:moveTo>
                  <a:pt x="771" y="44"/>
                </a:moveTo>
                <a:cubicBezTo>
                  <a:pt x="771" y="44"/>
                  <a:pt x="771" y="44"/>
                  <a:pt x="771" y="44"/>
                </a:cubicBezTo>
                <a:cubicBezTo>
                  <a:pt x="771" y="36"/>
                  <a:pt x="771" y="36"/>
                  <a:pt x="771" y="36"/>
                </a:cubicBezTo>
                <a:cubicBezTo>
                  <a:pt x="764" y="36"/>
                  <a:pt x="764" y="33"/>
                  <a:pt x="764" y="30"/>
                </a:cubicBezTo>
                <a:cubicBezTo>
                  <a:pt x="764" y="28"/>
                  <a:pt x="764" y="26"/>
                  <a:pt x="764" y="23"/>
                </a:cubicBezTo>
                <a:cubicBezTo>
                  <a:pt x="765" y="21"/>
                  <a:pt x="765" y="18"/>
                  <a:pt x="765" y="16"/>
                </a:cubicBezTo>
                <a:cubicBezTo>
                  <a:pt x="765" y="7"/>
                  <a:pt x="760" y="3"/>
                  <a:pt x="750" y="3"/>
                </a:cubicBezTo>
                <a:cubicBezTo>
                  <a:pt x="750" y="3"/>
                  <a:pt x="750" y="3"/>
                  <a:pt x="747" y="3"/>
                </a:cubicBezTo>
                <a:cubicBezTo>
                  <a:pt x="747" y="3"/>
                  <a:pt x="747" y="3"/>
                  <a:pt x="747" y="13"/>
                </a:cubicBezTo>
                <a:cubicBezTo>
                  <a:pt x="747" y="13"/>
                  <a:pt x="747" y="13"/>
                  <a:pt x="748" y="13"/>
                </a:cubicBezTo>
                <a:cubicBezTo>
                  <a:pt x="752" y="13"/>
                  <a:pt x="753" y="15"/>
                  <a:pt x="753" y="18"/>
                </a:cubicBezTo>
                <a:cubicBezTo>
                  <a:pt x="753" y="20"/>
                  <a:pt x="753" y="21"/>
                  <a:pt x="753" y="23"/>
                </a:cubicBezTo>
                <a:cubicBezTo>
                  <a:pt x="753" y="25"/>
                  <a:pt x="753" y="27"/>
                  <a:pt x="753" y="29"/>
                </a:cubicBezTo>
                <a:cubicBezTo>
                  <a:pt x="753" y="37"/>
                  <a:pt x="755" y="39"/>
                  <a:pt x="761" y="40"/>
                </a:cubicBezTo>
                <a:cubicBezTo>
                  <a:pt x="761" y="40"/>
                  <a:pt x="761" y="40"/>
                  <a:pt x="761" y="40"/>
                </a:cubicBezTo>
                <a:cubicBezTo>
                  <a:pt x="755" y="42"/>
                  <a:pt x="753" y="44"/>
                  <a:pt x="753" y="52"/>
                </a:cubicBezTo>
                <a:cubicBezTo>
                  <a:pt x="753" y="54"/>
                  <a:pt x="753" y="56"/>
                  <a:pt x="753" y="57"/>
                </a:cubicBezTo>
                <a:cubicBezTo>
                  <a:pt x="753" y="59"/>
                  <a:pt x="753" y="61"/>
                  <a:pt x="753" y="62"/>
                </a:cubicBezTo>
                <a:cubicBezTo>
                  <a:pt x="753" y="66"/>
                  <a:pt x="752" y="68"/>
                  <a:pt x="748" y="68"/>
                </a:cubicBezTo>
                <a:cubicBezTo>
                  <a:pt x="748" y="68"/>
                  <a:pt x="748" y="68"/>
                  <a:pt x="747" y="68"/>
                </a:cubicBezTo>
                <a:cubicBezTo>
                  <a:pt x="747" y="68"/>
                  <a:pt x="747" y="68"/>
                  <a:pt x="747" y="77"/>
                </a:cubicBezTo>
                <a:cubicBezTo>
                  <a:pt x="747" y="77"/>
                  <a:pt x="747" y="77"/>
                  <a:pt x="750" y="77"/>
                </a:cubicBezTo>
                <a:cubicBezTo>
                  <a:pt x="759" y="77"/>
                  <a:pt x="765" y="74"/>
                  <a:pt x="765" y="65"/>
                </a:cubicBezTo>
                <a:cubicBezTo>
                  <a:pt x="765" y="62"/>
                  <a:pt x="765" y="60"/>
                  <a:pt x="764" y="57"/>
                </a:cubicBezTo>
                <a:cubicBezTo>
                  <a:pt x="764" y="55"/>
                  <a:pt x="764" y="53"/>
                  <a:pt x="764" y="50"/>
                </a:cubicBezTo>
                <a:cubicBezTo>
                  <a:pt x="764" y="48"/>
                  <a:pt x="764" y="45"/>
                  <a:pt x="771" y="44"/>
                </a:cubicBezTo>
                <a:close/>
                <a:moveTo>
                  <a:pt x="818" y="4"/>
                </a:moveTo>
                <a:cubicBezTo>
                  <a:pt x="818" y="4"/>
                  <a:pt x="818" y="4"/>
                  <a:pt x="818" y="4"/>
                </a:cubicBezTo>
                <a:cubicBezTo>
                  <a:pt x="813" y="4"/>
                  <a:pt x="813" y="4"/>
                  <a:pt x="813" y="4"/>
                </a:cubicBezTo>
                <a:cubicBezTo>
                  <a:pt x="811" y="5"/>
                  <a:pt x="810" y="7"/>
                  <a:pt x="807" y="7"/>
                </a:cubicBezTo>
                <a:cubicBezTo>
                  <a:pt x="806" y="9"/>
                  <a:pt x="804" y="10"/>
                  <a:pt x="802" y="10"/>
                </a:cubicBezTo>
                <a:cubicBezTo>
                  <a:pt x="800" y="11"/>
                  <a:pt x="799" y="12"/>
                  <a:pt x="797" y="12"/>
                </a:cubicBezTo>
                <a:cubicBezTo>
                  <a:pt x="795" y="13"/>
                  <a:pt x="794" y="14"/>
                  <a:pt x="791" y="15"/>
                </a:cubicBezTo>
                <a:cubicBezTo>
                  <a:pt x="791" y="15"/>
                  <a:pt x="791" y="15"/>
                  <a:pt x="791" y="25"/>
                </a:cubicBezTo>
                <a:cubicBezTo>
                  <a:pt x="794" y="24"/>
                  <a:pt x="797" y="23"/>
                  <a:pt x="799" y="22"/>
                </a:cubicBezTo>
                <a:cubicBezTo>
                  <a:pt x="802" y="21"/>
                  <a:pt x="804" y="20"/>
                  <a:pt x="807" y="18"/>
                </a:cubicBezTo>
                <a:cubicBezTo>
                  <a:pt x="807" y="18"/>
                  <a:pt x="807" y="18"/>
                  <a:pt x="807" y="77"/>
                </a:cubicBezTo>
                <a:cubicBezTo>
                  <a:pt x="807" y="77"/>
                  <a:pt x="807" y="77"/>
                  <a:pt x="818" y="77"/>
                </a:cubicBezTo>
                <a:cubicBezTo>
                  <a:pt x="818" y="77"/>
                  <a:pt x="818" y="77"/>
                  <a:pt x="818" y="4"/>
                </a:cubicBezTo>
                <a:close/>
                <a:moveTo>
                  <a:pt x="865" y="4"/>
                </a:moveTo>
                <a:cubicBezTo>
                  <a:pt x="865" y="4"/>
                  <a:pt x="865" y="4"/>
                  <a:pt x="865" y="4"/>
                </a:cubicBezTo>
                <a:cubicBezTo>
                  <a:pt x="860" y="4"/>
                  <a:pt x="860" y="4"/>
                  <a:pt x="860" y="4"/>
                </a:cubicBezTo>
                <a:cubicBezTo>
                  <a:pt x="858" y="5"/>
                  <a:pt x="857" y="7"/>
                  <a:pt x="855" y="7"/>
                </a:cubicBezTo>
                <a:cubicBezTo>
                  <a:pt x="853" y="9"/>
                  <a:pt x="851" y="10"/>
                  <a:pt x="850" y="10"/>
                </a:cubicBezTo>
                <a:cubicBezTo>
                  <a:pt x="848" y="12"/>
                  <a:pt x="846" y="12"/>
                  <a:pt x="845" y="13"/>
                </a:cubicBezTo>
                <a:cubicBezTo>
                  <a:pt x="842" y="14"/>
                  <a:pt x="841" y="15"/>
                  <a:pt x="839" y="15"/>
                </a:cubicBezTo>
                <a:cubicBezTo>
                  <a:pt x="839" y="15"/>
                  <a:pt x="839" y="15"/>
                  <a:pt x="839" y="25"/>
                </a:cubicBezTo>
                <a:cubicBezTo>
                  <a:pt x="842" y="24"/>
                  <a:pt x="845" y="23"/>
                  <a:pt x="847" y="22"/>
                </a:cubicBezTo>
                <a:cubicBezTo>
                  <a:pt x="850" y="21"/>
                  <a:pt x="852" y="20"/>
                  <a:pt x="854" y="18"/>
                </a:cubicBezTo>
                <a:cubicBezTo>
                  <a:pt x="854" y="18"/>
                  <a:pt x="854" y="18"/>
                  <a:pt x="854" y="77"/>
                </a:cubicBezTo>
                <a:cubicBezTo>
                  <a:pt x="854" y="77"/>
                  <a:pt x="854" y="77"/>
                  <a:pt x="865" y="77"/>
                </a:cubicBezTo>
                <a:cubicBezTo>
                  <a:pt x="865" y="77"/>
                  <a:pt x="865" y="77"/>
                  <a:pt x="865" y="4"/>
                </a:cubicBezTo>
                <a:close/>
                <a:moveTo>
                  <a:pt x="912" y="4"/>
                </a:moveTo>
                <a:cubicBezTo>
                  <a:pt x="912" y="4"/>
                  <a:pt x="912" y="4"/>
                  <a:pt x="912" y="4"/>
                </a:cubicBezTo>
                <a:cubicBezTo>
                  <a:pt x="908" y="4"/>
                  <a:pt x="908" y="4"/>
                  <a:pt x="908" y="4"/>
                </a:cubicBezTo>
                <a:cubicBezTo>
                  <a:pt x="905" y="5"/>
                  <a:pt x="904" y="7"/>
                  <a:pt x="902" y="7"/>
                </a:cubicBezTo>
                <a:cubicBezTo>
                  <a:pt x="900" y="9"/>
                  <a:pt x="898" y="10"/>
                  <a:pt x="897" y="10"/>
                </a:cubicBezTo>
                <a:cubicBezTo>
                  <a:pt x="895" y="12"/>
                  <a:pt x="893" y="12"/>
                  <a:pt x="891" y="13"/>
                </a:cubicBezTo>
                <a:cubicBezTo>
                  <a:pt x="890" y="14"/>
                  <a:pt x="887" y="15"/>
                  <a:pt x="886" y="15"/>
                </a:cubicBezTo>
                <a:cubicBezTo>
                  <a:pt x="886" y="15"/>
                  <a:pt x="886" y="15"/>
                  <a:pt x="886" y="25"/>
                </a:cubicBezTo>
                <a:cubicBezTo>
                  <a:pt x="889" y="24"/>
                  <a:pt x="892" y="23"/>
                  <a:pt x="894" y="22"/>
                </a:cubicBezTo>
                <a:cubicBezTo>
                  <a:pt x="896" y="21"/>
                  <a:pt x="899" y="20"/>
                  <a:pt x="900" y="18"/>
                </a:cubicBezTo>
                <a:cubicBezTo>
                  <a:pt x="900" y="18"/>
                  <a:pt x="900" y="18"/>
                  <a:pt x="900" y="77"/>
                </a:cubicBezTo>
                <a:cubicBezTo>
                  <a:pt x="900" y="77"/>
                  <a:pt x="900" y="77"/>
                  <a:pt x="912" y="77"/>
                </a:cubicBezTo>
                <a:cubicBezTo>
                  <a:pt x="912" y="77"/>
                  <a:pt x="912" y="77"/>
                  <a:pt x="912" y="4"/>
                </a:cubicBezTo>
                <a:close/>
                <a:moveTo>
                  <a:pt x="1035" y="4"/>
                </a:moveTo>
                <a:cubicBezTo>
                  <a:pt x="1035" y="4"/>
                  <a:pt x="1035" y="4"/>
                  <a:pt x="1035" y="4"/>
                </a:cubicBezTo>
                <a:cubicBezTo>
                  <a:pt x="1030" y="4"/>
                  <a:pt x="1030" y="4"/>
                  <a:pt x="1030" y="4"/>
                </a:cubicBezTo>
                <a:cubicBezTo>
                  <a:pt x="1027" y="5"/>
                  <a:pt x="1026" y="7"/>
                  <a:pt x="1024" y="7"/>
                </a:cubicBezTo>
                <a:cubicBezTo>
                  <a:pt x="1022" y="9"/>
                  <a:pt x="1021" y="10"/>
                  <a:pt x="1019" y="10"/>
                </a:cubicBezTo>
                <a:cubicBezTo>
                  <a:pt x="1017" y="12"/>
                  <a:pt x="1015" y="12"/>
                  <a:pt x="1014" y="13"/>
                </a:cubicBezTo>
                <a:cubicBezTo>
                  <a:pt x="1011" y="14"/>
                  <a:pt x="1010" y="15"/>
                  <a:pt x="1008" y="15"/>
                </a:cubicBezTo>
                <a:cubicBezTo>
                  <a:pt x="1008" y="15"/>
                  <a:pt x="1008" y="15"/>
                  <a:pt x="1008" y="25"/>
                </a:cubicBezTo>
                <a:cubicBezTo>
                  <a:pt x="1011" y="24"/>
                  <a:pt x="1014" y="23"/>
                  <a:pt x="1017" y="22"/>
                </a:cubicBezTo>
                <a:cubicBezTo>
                  <a:pt x="1019" y="21"/>
                  <a:pt x="1021" y="20"/>
                  <a:pt x="1023" y="18"/>
                </a:cubicBezTo>
                <a:cubicBezTo>
                  <a:pt x="1023" y="18"/>
                  <a:pt x="1023" y="18"/>
                  <a:pt x="1023" y="77"/>
                </a:cubicBezTo>
                <a:cubicBezTo>
                  <a:pt x="1023" y="77"/>
                  <a:pt x="1023" y="77"/>
                  <a:pt x="1035" y="77"/>
                </a:cubicBezTo>
                <a:cubicBezTo>
                  <a:pt x="1035" y="77"/>
                  <a:pt x="1035" y="77"/>
                  <a:pt x="1035" y="4"/>
                </a:cubicBezTo>
                <a:close/>
                <a:moveTo>
                  <a:pt x="1082" y="4"/>
                </a:moveTo>
                <a:cubicBezTo>
                  <a:pt x="1082" y="4"/>
                  <a:pt x="1082" y="4"/>
                  <a:pt x="1082" y="4"/>
                </a:cubicBezTo>
                <a:cubicBezTo>
                  <a:pt x="1077" y="4"/>
                  <a:pt x="1077" y="4"/>
                  <a:pt x="1077" y="4"/>
                </a:cubicBezTo>
                <a:cubicBezTo>
                  <a:pt x="1075" y="5"/>
                  <a:pt x="1074" y="7"/>
                  <a:pt x="1071" y="7"/>
                </a:cubicBezTo>
                <a:cubicBezTo>
                  <a:pt x="1070" y="9"/>
                  <a:pt x="1068" y="10"/>
                  <a:pt x="1066" y="10"/>
                </a:cubicBezTo>
                <a:cubicBezTo>
                  <a:pt x="1065" y="12"/>
                  <a:pt x="1063" y="12"/>
                  <a:pt x="1061" y="13"/>
                </a:cubicBezTo>
                <a:cubicBezTo>
                  <a:pt x="1059" y="14"/>
                  <a:pt x="1058" y="15"/>
                  <a:pt x="1055" y="15"/>
                </a:cubicBezTo>
                <a:cubicBezTo>
                  <a:pt x="1055" y="15"/>
                  <a:pt x="1055" y="15"/>
                  <a:pt x="1055" y="25"/>
                </a:cubicBezTo>
                <a:cubicBezTo>
                  <a:pt x="1058" y="24"/>
                  <a:pt x="1061" y="23"/>
                  <a:pt x="1063" y="22"/>
                </a:cubicBezTo>
                <a:cubicBezTo>
                  <a:pt x="1066" y="21"/>
                  <a:pt x="1068" y="20"/>
                  <a:pt x="1071" y="18"/>
                </a:cubicBezTo>
                <a:cubicBezTo>
                  <a:pt x="1071" y="18"/>
                  <a:pt x="1071" y="18"/>
                  <a:pt x="1071" y="77"/>
                </a:cubicBezTo>
                <a:cubicBezTo>
                  <a:pt x="1071" y="77"/>
                  <a:pt x="1071" y="77"/>
                  <a:pt x="1082" y="77"/>
                </a:cubicBezTo>
                <a:cubicBezTo>
                  <a:pt x="1082" y="77"/>
                  <a:pt x="1082" y="77"/>
                  <a:pt x="1082" y="4"/>
                </a:cubicBezTo>
                <a:close/>
                <a:moveTo>
                  <a:pt x="1129" y="4"/>
                </a:moveTo>
                <a:cubicBezTo>
                  <a:pt x="1129" y="4"/>
                  <a:pt x="1129" y="4"/>
                  <a:pt x="1129" y="4"/>
                </a:cubicBezTo>
                <a:cubicBezTo>
                  <a:pt x="1124" y="4"/>
                  <a:pt x="1124" y="4"/>
                  <a:pt x="1124" y="4"/>
                </a:cubicBezTo>
                <a:cubicBezTo>
                  <a:pt x="1122" y="5"/>
                  <a:pt x="1121" y="7"/>
                  <a:pt x="1119" y="7"/>
                </a:cubicBezTo>
                <a:cubicBezTo>
                  <a:pt x="1117" y="9"/>
                  <a:pt x="1115" y="10"/>
                  <a:pt x="1114" y="10"/>
                </a:cubicBezTo>
                <a:cubicBezTo>
                  <a:pt x="1112" y="11"/>
                  <a:pt x="1110" y="12"/>
                  <a:pt x="1108" y="12"/>
                </a:cubicBezTo>
                <a:cubicBezTo>
                  <a:pt x="1106" y="13"/>
                  <a:pt x="1104" y="14"/>
                  <a:pt x="1103" y="15"/>
                </a:cubicBezTo>
                <a:cubicBezTo>
                  <a:pt x="1103" y="15"/>
                  <a:pt x="1103" y="15"/>
                  <a:pt x="1103" y="25"/>
                </a:cubicBezTo>
                <a:cubicBezTo>
                  <a:pt x="1106" y="24"/>
                  <a:pt x="1109" y="23"/>
                  <a:pt x="1111" y="22"/>
                </a:cubicBezTo>
                <a:cubicBezTo>
                  <a:pt x="1113" y="21"/>
                  <a:pt x="1116" y="20"/>
                  <a:pt x="1117" y="18"/>
                </a:cubicBezTo>
                <a:cubicBezTo>
                  <a:pt x="1117" y="18"/>
                  <a:pt x="1117" y="18"/>
                  <a:pt x="1117" y="77"/>
                </a:cubicBezTo>
                <a:cubicBezTo>
                  <a:pt x="1117" y="77"/>
                  <a:pt x="1117" y="77"/>
                  <a:pt x="1129" y="77"/>
                </a:cubicBezTo>
                <a:cubicBezTo>
                  <a:pt x="1129" y="77"/>
                  <a:pt x="1129" y="77"/>
                  <a:pt x="1129" y="4"/>
                </a:cubicBezTo>
                <a:close/>
                <a:moveTo>
                  <a:pt x="1174" y="77"/>
                </a:moveTo>
                <a:cubicBezTo>
                  <a:pt x="1166" y="77"/>
                  <a:pt x="1160" y="74"/>
                  <a:pt x="1155" y="68"/>
                </a:cubicBezTo>
                <a:cubicBezTo>
                  <a:pt x="1152" y="62"/>
                  <a:pt x="1149" y="53"/>
                  <a:pt x="1149" y="41"/>
                </a:cubicBezTo>
                <a:cubicBezTo>
                  <a:pt x="1149" y="28"/>
                  <a:pt x="1152" y="18"/>
                  <a:pt x="1156" y="12"/>
                </a:cubicBezTo>
                <a:cubicBezTo>
                  <a:pt x="1160" y="5"/>
                  <a:pt x="1167" y="1"/>
                  <a:pt x="1176" y="1"/>
                </a:cubicBezTo>
                <a:cubicBezTo>
                  <a:pt x="1192" y="1"/>
                  <a:pt x="1200" y="14"/>
                  <a:pt x="1200" y="39"/>
                </a:cubicBezTo>
                <a:cubicBezTo>
                  <a:pt x="1200" y="52"/>
                  <a:pt x="1198" y="61"/>
                  <a:pt x="1193" y="68"/>
                </a:cubicBezTo>
                <a:cubicBezTo>
                  <a:pt x="1188" y="74"/>
                  <a:pt x="1182" y="77"/>
                  <a:pt x="1174" y="77"/>
                </a:cubicBezTo>
                <a:close/>
                <a:moveTo>
                  <a:pt x="1175" y="11"/>
                </a:moveTo>
                <a:cubicBezTo>
                  <a:pt x="1166" y="11"/>
                  <a:pt x="1161" y="21"/>
                  <a:pt x="1161" y="41"/>
                </a:cubicBezTo>
                <a:cubicBezTo>
                  <a:pt x="1161" y="59"/>
                  <a:pt x="1166" y="68"/>
                  <a:pt x="1174" y="68"/>
                </a:cubicBezTo>
                <a:cubicBezTo>
                  <a:pt x="1183" y="68"/>
                  <a:pt x="1187" y="59"/>
                  <a:pt x="1187" y="40"/>
                </a:cubicBezTo>
                <a:cubicBezTo>
                  <a:pt x="1187" y="20"/>
                  <a:pt x="1183" y="11"/>
                  <a:pt x="1175" y="11"/>
                </a:cubicBezTo>
                <a:close/>
                <a:moveTo>
                  <a:pt x="1245" y="77"/>
                </a:moveTo>
                <a:cubicBezTo>
                  <a:pt x="1237" y="77"/>
                  <a:pt x="1231" y="74"/>
                  <a:pt x="1227" y="68"/>
                </a:cubicBezTo>
                <a:cubicBezTo>
                  <a:pt x="1223" y="62"/>
                  <a:pt x="1220" y="53"/>
                  <a:pt x="1220" y="41"/>
                </a:cubicBezTo>
                <a:cubicBezTo>
                  <a:pt x="1220" y="28"/>
                  <a:pt x="1223" y="18"/>
                  <a:pt x="1227" y="12"/>
                </a:cubicBezTo>
                <a:cubicBezTo>
                  <a:pt x="1231" y="5"/>
                  <a:pt x="1238" y="1"/>
                  <a:pt x="1247" y="1"/>
                </a:cubicBezTo>
                <a:cubicBezTo>
                  <a:pt x="1263" y="1"/>
                  <a:pt x="1271" y="14"/>
                  <a:pt x="1271" y="39"/>
                </a:cubicBezTo>
                <a:cubicBezTo>
                  <a:pt x="1271" y="52"/>
                  <a:pt x="1269" y="61"/>
                  <a:pt x="1264" y="68"/>
                </a:cubicBezTo>
                <a:cubicBezTo>
                  <a:pt x="1259" y="74"/>
                  <a:pt x="1253" y="77"/>
                  <a:pt x="1245" y="77"/>
                </a:cubicBezTo>
                <a:close/>
                <a:moveTo>
                  <a:pt x="1246" y="11"/>
                </a:moveTo>
                <a:cubicBezTo>
                  <a:pt x="1237" y="11"/>
                  <a:pt x="1232" y="21"/>
                  <a:pt x="1232" y="41"/>
                </a:cubicBezTo>
                <a:cubicBezTo>
                  <a:pt x="1232" y="59"/>
                  <a:pt x="1237" y="68"/>
                  <a:pt x="1245" y="68"/>
                </a:cubicBezTo>
                <a:cubicBezTo>
                  <a:pt x="1254" y="68"/>
                  <a:pt x="1258" y="59"/>
                  <a:pt x="1258" y="40"/>
                </a:cubicBezTo>
                <a:cubicBezTo>
                  <a:pt x="1258" y="20"/>
                  <a:pt x="1254" y="11"/>
                  <a:pt x="1246" y="11"/>
                </a:cubicBezTo>
                <a:close/>
                <a:moveTo>
                  <a:pt x="933" y="36"/>
                </a:moveTo>
                <a:cubicBezTo>
                  <a:pt x="933" y="36"/>
                  <a:pt x="933" y="36"/>
                  <a:pt x="933" y="36"/>
                </a:cubicBezTo>
                <a:cubicBezTo>
                  <a:pt x="932" y="44"/>
                  <a:pt x="932" y="44"/>
                  <a:pt x="932" y="44"/>
                </a:cubicBezTo>
                <a:cubicBezTo>
                  <a:pt x="939" y="45"/>
                  <a:pt x="940" y="48"/>
                  <a:pt x="940" y="50"/>
                </a:cubicBezTo>
                <a:cubicBezTo>
                  <a:pt x="940" y="53"/>
                  <a:pt x="939" y="55"/>
                  <a:pt x="939" y="57"/>
                </a:cubicBezTo>
                <a:cubicBezTo>
                  <a:pt x="939" y="60"/>
                  <a:pt x="938" y="62"/>
                  <a:pt x="938" y="65"/>
                </a:cubicBezTo>
                <a:cubicBezTo>
                  <a:pt x="938" y="74"/>
                  <a:pt x="944" y="77"/>
                  <a:pt x="953" y="77"/>
                </a:cubicBezTo>
                <a:cubicBezTo>
                  <a:pt x="953" y="77"/>
                  <a:pt x="953" y="77"/>
                  <a:pt x="956" y="77"/>
                </a:cubicBezTo>
                <a:cubicBezTo>
                  <a:pt x="956" y="77"/>
                  <a:pt x="956" y="77"/>
                  <a:pt x="956" y="68"/>
                </a:cubicBezTo>
                <a:cubicBezTo>
                  <a:pt x="956" y="68"/>
                  <a:pt x="956" y="68"/>
                  <a:pt x="955" y="68"/>
                </a:cubicBezTo>
                <a:cubicBezTo>
                  <a:pt x="951" y="68"/>
                  <a:pt x="950" y="66"/>
                  <a:pt x="950" y="62"/>
                </a:cubicBezTo>
                <a:cubicBezTo>
                  <a:pt x="950" y="61"/>
                  <a:pt x="950" y="59"/>
                  <a:pt x="951" y="57"/>
                </a:cubicBezTo>
                <a:cubicBezTo>
                  <a:pt x="951" y="56"/>
                  <a:pt x="951" y="54"/>
                  <a:pt x="951" y="52"/>
                </a:cubicBezTo>
                <a:cubicBezTo>
                  <a:pt x="951" y="44"/>
                  <a:pt x="948" y="42"/>
                  <a:pt x="942" y="40"/>
                </a:cubicBezTo>
                <a:cubicBezTo>
                  <a:pt x="942" y="40"/>
                  <a:pt x="942" y="40"/>
                  <a:pt x="942" y="40"/>
                </a:cubicBezTo>
                <a:cubicBezTo>
                  <a:pt x="948" y="39"/>
                  <a:pt x="951" y="37"/>
                  <a:pt x="951" y="29"/>
                </a:cubicBezTo>
                <a:cubicBezTo>
                  <a:pt x="951" y="27"/>
                  <a:pt x="951" y="25"/>
                  <a:pt x="951" y="23"/>
                </a:cubicBezTo>
                <a:cubicBezTo>
                  <a:pt x="950" y="21"/>
                  <a:pt x="950" y="20"/>
                  <a:pt x="950" y="18"/>
                </a:cubicBezTo>
                <a:cubicBezTo>
                  <a:pt x="950" y="15"/>
                  <a:pt x="951" y="13"/>
                  <a:pt x="955" y="13"/>
                </a:cubicBezTo>
                <a:cubicBezTo>
                  <a:pt x="955" y="13"/>
                  <a:pt x="955" y="13"/>
                  <a:pt x="956" y="13"/>
                </a:cubicBezTo>
                <a:cubicBezTo>
                  <a:pt x="956" y="13"/>
                  <a:pt x="956" y="13"/>
                  <a:pt x="956" y="3"/>
                </a:cubicBezTo>
                <a:cubicBezTo>
                  <a:pt x="956" y="3"/>
                  <a:pt x="956" y="3"/>
                  <a:pt x="953" y="3"/>
                </a:cubicBezTo>
                <a:cubicBezTo>
                  <a:pt x="944" y="3"/>
                  <a:pt x="938" y="7"/>
                  <a:pt x="938" y="16"/>
                </a:cubicBezTo>
                <a:cubicBezTo>
                  <a:pt x="938" y="18"/>
                  <a:pt x="939" y="21"/>
                  <a:pt x="939" y="23"/>
                </a:cubicBezTo>
                <a:cubicBezTo>
                  <a:pt x="939" y="26"/>
                  <a:pt x="940" y="28"/>
                  <a:pt x="940" y="30"/>
                </a:cubicBezTo>
                <a:cubicBezTo>
                  <a:pt x="940" y="33"/>
                  <a:pt x="939" y="36"/>
                  <a:pt x="933" y="36"/>
                </a:cubicBezTo>
                <a:close/>
                <a:moveTo>
                  <a:pt x="987" y="44"/>
                </a:moveTo>
                <a:cubicBezTo>
                  <a:pt x="987" y="44"/>
                  <a:pt x="987" y="44"/>
                  <a:pt x="987" y="44"/>
                </a:cubicBezTo>
                <a:cubicBezTo>
                  <a:pt x="987" y="36"/>
                  <a:pt x="987" y="36"/>
                  <a:pt x="987" y="36"/>
                </a:cubicBezTo>
                <a:cubicBezTo>
                  <a:pt x="981" y="36"/>
                  <a:pt x="981" y="33"/>
                  <a:pt x="981" y="30"/>
                </a:cubicBezTo>
                <a:cubicBezTo>
                  <a:pt x="981" y="28"/>
                  <a:pt x="981" y="26"/>
                  <a:pt x="981" y="23"/>
                </a:cubicBezTo>
                <a:cubicBezTo>
                  <a:pt x="981" y="21"/>
                  <a:pt x="981" y="18"/>
                  <a:pt x="981" y="16"/>
                </a:cubicBezTo>
                <a:cubicBezTo>
                  <a:pt x="981" y="7"/>
                  <a:pt x="976" y="3"/>
                  <a:pt x="967" y="3"/>
                </a:cubicBezTo>
                <a:cubicBezTo>
                  <a:pt x="967" y="3"/>
                  <a:pt x="967" y="3"/>
                  <a:pt x="963" y="3"/>
                </a:cubicBezTo>
                <a:cubicBezTo>
                  <a:pt x="963" y="3"/>
                  <a:pt x="963" y="3"/>
                  <a:pt x="963" y="13"/>
                </a:cubicBezTo>
                <a:cubicBezTo>
                  <a:pt x="963" y="13"/>
                  <a:pt x="963" y="13"/>
                  <a:pt x="965" y="13"/>
                </a:cubicBezTo>
                <a:cubicBezTo>
                  <a:pt x="968" y="13"/>
                  <a:pt x="970" y="15"/>
                  <a:pt x="970" y="18"/>
                </a:cubicBezTo>
                <a:cubicBezTo>
                  <a:pt x="970" y="20"/>
                  <a:pt x="969" y="21"/>
                  <a:pt x="969" y="23"/>
                </a:cubicBezTo>
                <a:cubicBezTo>
                  <a:pt x="969" y="25"/>
                  <a:pt x="969" y="27"/>
                  <a:pt x="969" y="29"/>
                </a:cubicBezTo>
                <a:cubicBezTo>
                  <a:pt x="969" y="37"/>
                  <a:pt x="972" y="39"/>
                  <a:pt x="978" y="40"/>
                </a:cubicBezTo>
                <a:cubicBezTo>
                  <a:pt x="978" y="40"/>
                  <a:pt x="978" y="40"/>
                  <a:pt x="978" y="40"/>
                </a:cubicBezTo>
                <a:cubicBezTo>
                  <a:pt x="972" y="42"/>
                  <a:pt x="969" y="44"/>
                  <a:pt x="969" y="52"/>
                </a:cubicBezTo>
                <a:cubicBezTo>
                  <a:pt x="969" y="54"/>
                  <a:pt x="969" y="56"/>
                  <a:pt x="969" y="57"/>
                </a:cubicBezTo>
                <a:cubicBezTo>
                  <a:pt x="969" y="59"/>
                  <a:pt x="970" y="61"/>
                  <a:pt x="970" y="62"/>
                </a:cubicBezTo>
                <a:cubicBezTo>
                  <a:pt x="970" y="66"/>
                  <a:pt x="969" y="68"/>
                  <a:pt x="965" y="68"/>
                </a:cubicBezTo>
                <a:cubicBezTo>
                  <a:pt x="965" y="68"/>
                  <a:pt x="965" y="68"/>
                  <a:pt x="963" y="68"/>
                </a:cubicBezTo>
                <a:cubicBezTo>
                  <a:pt x="963" y="68"/>
                  <a:pt x="963" y="68"/>
                  <a:pt x="963" y="77"/>
                </a:cubicBezTo>
                <a:cubicBezTo>
                  <a:pt x="963" y="77"/>
                  <a:pt x="963" y="77"/>
                  <a:pt x="967" y="77"/>
                </a:cubicBezTo>
                <a:cubicBezTo>
                  <a:pt x="976" y="77"/>
                  <a:pt x="981" y="74"/>
                  <a:pt x="981" y="65"/>
                </a:cubicBezTo>
                <a:cubicBezTo>
                  <a:pt x="981" y="62"/>
                  <a:pt x="981" y="60"/>
                  <a:pt x="981" y="57"/>
                </a:cubicBezTo>
                <a:cubicBezTo>
                  <a:pt x="981" y="55"/>
                  <a:pt x="981" y="53"/>
                  <a:pt x="981" y="50"/>
                </a:cubicBezTo>
                <a:cubicBezTo>
                  <a:pt x="981" y="48"/>
                  <a:pt x="981" y="45"/>
                  <a:pt x="987" y="44"/>
                </a:cubicBezTo>
                <a:close/>
                <a:moveTo>
                  <a:pt x="1457" y="77"/>
                </a:moveTo>
                <a:cubicBezTo>
                  <a:pt x="1450" y="77"/>
                  <a:pt x="1444" y="74"/>
                  <a:pt x="1439" y="68"/>
                </a:cubicBezTo>
                <a:cubicBezTo>
                  <a:pt x="1435" y="62"/>
                  <a:pt x="1433" y="52"/>
                  <a:pt x="1433" y="41"/>
                </a:cubicBezTo>
                <a:cubicBezTo>
                  <a:pt x="1433" y="28"/>
                  <a:pt x="1435" y="18"/>
                  <a:pt x="1439" y="11"/>
                </a:cubicBezTo>
                <a:cubicBezTo>
                  <a:pt x="1444" y="4"/>
                  <a:pt x="1450" y="1"/>
                  <a:pt x="1459" y="1"/>
                </a:cubicBezTo>
                <a:cubicBezTo>
                  <a:pt x="1475" y="1"/>
                  <a:pt x="1484" y="14"/>
                  <a:pt x="1484" y="39"/>
                </a:cubicBezTo>
                <a:cubicBezTo>
                  <a:pt x="1484" y="52"/>
                  <a:pt x="1481" y="61"/>
                  <a:pt x="1477" y="68"/>
                </a:cubicBezTo>
                <a:cubicBezTo>
                  <a:pt x="1472" y="74"/>
                  <a:pt x="1466" y="77"/>
                  <a:pt x="1457" y="77"/>
                </a:cubicBezTo>
                <a:close/>
                <a:moveTo>
                  <a:pt x="1458" y="11"/>
                </a:moveTo>
                <a:cubicBezTo>
                  <a:pt x="1450" y="11"/>
                  <a:pt x="1445" y="20"/>
                  <a:pt x="1445" y="40"/>
                </a:cubicBezTo>
                <a:cubicBezTo>
                  <a:pt x="1445" y="58"/>
                  <a:pt x="1450" y="68"/>
                  <a:pt x="1458" y="68"/>
                </a:cubicBezTo>
                <a:cubicBezTo>
                  <a:pt x="1467" y="68"/>
                  <a:pt x="1471" y="58"/>
                  <a:pt x="1471" y="40"/>
                </a:cubicBezTo>
                <a:cubicBezTo>
                  <a:pt x="1471" y="20"/>
                  <a:pt x="1467" y="11"/>
                  <a:pt x="1458" y="11"/>
                </a:cubicBezTo>
                <a:close/>
                <a:moveTo>
                  <a:pt x="1530" y="4"/>
                </a:moveTo>
                <a:cubicBezTo>
                  <a:pt x="1530" y="4"/>
                  <a:pt x="1530" y="4"/>
                  <a:pt x="1530" y="4"/>
                </a:cubicBezTo>
                <a:cubicBezTo>
                  <a:pt x="1525" y="4"/>
                  <a:pt x="1525" y="4"/>
                  <a:pt x="1525" y="4"/>
                </a:cubicBezTo>
                <a:cubicBezTo>
                  <a:pt x="1523" y="5"/>
                  <a:pt x="1522" y="7"/>
                  <a:pt x="1519" y="7"/>
                </a:cubicBezTo>
                <a:cubicBezTo>
                  <a:pt x="1518" y="9"/>
                  <a:pt x="1516" y="10"/>
                  <a:pt x="1514" y="10"/>
                </a:cubicBezTo>
                <a:cubicBezTo>
                  <a:pt x="1513" y="11"/>
                  <a:pt x="1511" y="12"/>
                  <a:pt x="1509" y="12"/>
                </a:cubicBezTo>
                <a:cubicBezTo>
                  <a:pt x="1507" y="13"/>
                  <a:pt x="1506" y="14"/>
                  <a:pt x="1504" y="15"/>
                </a:cubicBezTo>
                <a:cubicBezTo>
                  <a:pt x="1504" y="15"/>
                  <a:pt x="1504" y="15"/>
                  <a:pt x="1504" y="25"/>
                </a:cubicBezTo>
                <a:cubicBezTo>
                  <a:pt x="1507" y="24"/>
                  <a:pt x="1509" y="23"/>
                  <a:pt x="1512" y="22"/>
                </a:cubicBezTo>
                <a:cubicBezTo>
                  <a:pt x="1514" y="21"/>
                  <a:pt x="1517" y="20"/>
                  <a:pt x="1519" y="18"/>
                </a:cubicBezTo>
                <a:cubicBezTo>
                  <a:pt x="1519" y="18"/>
                  <a:pt x="1519" y="18"/>
                  <a:pt x="1519" y="77"/>
                </a:cubicBezTo>
                <a:cubicBezTo>
                  <a:pt x="1519" y="77"/>
                  <a:pt x="1519" y="77"/>
                  <a:pt x="1530" y="77"/>
                </a:cubicBezTo>
                <a:cubicBezTo>
                  <a:pt x="1530" y="77"/>
                  <a:pt x="1530" y="77"/>
                  <a:pt x="1530" y="4"/>
                </a:cubicBezTo>
                <a:close/>
                <a:moveTo>
                  <a:pt x="1868" y="77"/>
                </a:moveTo>
                <a:cubicBezTo>
                  <a:pt x="1860" y="77"/>
                  <a:pt x="1854" y="74"/>
                  <a:pt x="1849" y="68"/>
                </a:cubicBezTo>
                <a:cubicBezTo>
                  <a:pt x="1846" y="62"/>
                  <a:pt x="1844" y="53"/>
                  <a:pt x="1844" y="41"/>
                </a:cubicBezTo>
                <a:cubicBezTo>
                  <a:pt x="1844" y="28"/>
                  <a:pt x="1846" y="18"/>
                  <a:pt x="1850" y="12"/>
                </a:cubicBezTo>
                <a:cubicBezTo>
                  <a:pt x="1855" y="5"/>
                  <a:pt x="1861" y="1"/>
                  <a:pt x="1870" y="1"/>
                </a:cubicBezTo>
                <a:cubicBezTo>
                  <a:pt x="1886" y="1"/>
                  <a:pt x="1894" y="14"/>
                  <a:pt x="1894" y="39"/>
                </a:cubicBezTo>
                <a:cubicBezTo>
                  <a:pt x="1894" y="52"/>
                  <a:pt x="1892" y="61"/>
                  <a:pt x="1887" y="68"/>
                </a:cubicBezTo>
                <a:cubicBezTo>
                  <a:pt x="1883" y="74"/>
                  <a:pt x="1876" y="77"/>
                  <a:pt x="1868" y="77"/>
                </a:cubicBezTo>
                <a:close/>
                <a:moveTo>
                  <a:pt x="1869" y="11"/>
                </a:moveTo>
                <a:cubicBezTo>
                  <a:pt x="1860" y="11"/>
                  <a:pt x="1855" y="21"/>
                  <a:pt x="1855" y="41"/>
                </a:cubicBezTo>
                <a:cubicBezTo>
                  <a:pt x="1855" y="59"/>
                  <a:pt x="1860" y="68"/>
                  <a:pt x="1869" y="68"/>
                </a:cubicBezTo>
                <a:cubicBezTo>
                  <a:pt x="1877" y="68"/>
                  <a:pt x="1882" y="59"/>
                  <a:pt x="1882" y="40"/>
                </a:cubicBezTo>
                <a:cubicBezTo>
                  <a:pt x="1882" y="20"/>
                  <a:pt x="1877" y="11"/>
                  <a:pt x="1869" y="11"/>
                </a:cubicBezTo>
                <a:close/>
                <a:moveTo>
                  <a:pt x="1938" y="4"/>
                </a:moveTo>
                <a:cubicBezTo>
                  <a:pt x="1938" y="4"/>
                  <a:pt x="1938" y="4"/>
                  <a:pt x="1938" y="4"/>
                </a:cubicBezTo>
                <a:cubicBezTo>
                  <a:pt x="1933" y="4"/>
                  <a:pt x="1933" y="4"/>
                  <a:pt x="1933" y="4"/>
                </a:cubicBezTo>
                <a:cubicBezTo>
                  <a:pt x="1930" y="5"/>
                  <a:pt x="1929" y="7"/>
                  <a:pt x="1927" y="7"/>
                </a:cubicBezTo>
                <a:cubicBezTo>
                  <a:pt x="1925" y="9"/>
                  <a:pt x="1923" y="10"/>
                  <a:pt x="1922" y="10"/>
                </a:cubicBezTo>
                <a:cubicBezTo>
                  <a:pt x="1919" y="11"/>
                  <a:pt x="1918" y="12"/>
                  <a:pt x="1917" y="12"/>
                </a:cubicBezTo>
                <a:cubicBezTo>
                  <a:pt x="1914" y="13"/>
                  <a:pt x="1913" y="14"/>
                  <a:pt x="1911" y="15"/>
                </a:cubicBezTo>
                <a:cubicBezTo>
                  <a:pt x="1911" y="15"/>
                  <a:pt x="1911" y="15"/>
                  <a:pt x="1911" y="25"/>
                </a:cubicBezTo>
                <a:cubicBezTo>
                  <a:pt x="1914" y="24"/>
                  <a:pt x="1917" y="23"/>
                  <a:pt x="1919" y="22"/>
                </a:cubicBezTo>
                <a:cubicBezTo>
                  <a:pt x="1922" y="21"/>
                  <a:pt x="1924" y="20"/>
                  <a:pt x="1926" y="18"/>
                </a:cubicBezTo>
                <a:cubicBezTo>
                  <a:pt x="1926" y="18"/>
                  <a:pt x="1926" y="18"/>
                  <a:pt x="1926" y="77"/>
                </a:cubicBezTo>
                <a:cubicBezTo>
                  <a:pt x="1926" y="77"/>
                  <a:pt x="1926" y="77"/>
                  <a:pt x="1938" y="77"/>
                </a:cubicBezTo>
                <a:cubicBezTo>
                  <a:pt x="1938" y="77"/>
                  <a:pt x="1938" y="77"/>
                  <a:pt x="1938" y="4"/>
                </a:cubicBezTo>
                <a:close/>
                <a:moveTo>
                  <a:pt x="1774" y="77"/>
                </a:moveTo>
                <a:cubicBezTo>
                  <a:pt x="1777" y="58"/>
                  <a:pt x="1777" y="58"/>
                  <a:pt x="1777" y="58"/>
                </a:cubicBezTo>
                <a:cubicBezTo>
                  <a:pt x="1768" y="58"/>
                  <a:pt x="1768" y="58"/>
                  <a:pt x="1768" y="58"/>
                </a:cubicBezTo>
                <a:cubicBezTo>
                  <a:pt x="1768" y="46"/>
                  <a:pt x="1768" y="46"/>
                  <a:pt x="1768" y="46"/>
                </a:cubicBezTo>
                <a:cubicBezTo>
                  <a:pt x="1779" y="46"/>
                  <a:pt x="1779" y="46"/>
                  <a:pt x="1779" y="46"/>
                </a:cubicBezTo>
                <a:cubicBezTo>
                  <a:pt x="1781" y="35"/>
                  <a:pt x="1781" y="35"/>
                  <a:pt x="1781" y="35"/>
                </a:cubicBezTo>
                <a:cubicBezTo>
                  <a:pt x="1771" y="35"/>
                  <a:pt x="1771" y="35"/>
                  <a:pt x="1771" y="35"/>
                </a:cubicBezTo>
                <a:cubicBezTo>
                  <a:pt x="1771" y="23"/>
                  <a:pt x="1771" y="23"/>
                  <a:pt x="1771" y="23"/>
                </a:cubicBezTo>
                <a:cubicBezTo>
                  <a:pt x="1782" y="23"/>
                  <a:pt x="1782" y="23"/>
                  <a:pt x="1782" y="23"/>
                </a:cubicBezTo>
                <a:cubicBezTo>
                  <a:pt x="1785" y="5"/>
                  <a:pt x="1785" y="5"/>
                  <a:pt x="1785" y="5"/>
                </a:cubicBezTo>
                <a:cubicBezTo>
                  <a:pt x="1797" y="5"/>
                  <a:pt x="1797" y="5"/>
                  <a:pt x="1797" y="5"/>
                </a:cubicBezTo>
                <a:cubicBezTo>
                  <a:pt x="1794" y="23"/>
                  <a:pt x="1794" y="23"/>
                  <a:pt x="1794" y="23"/>
                </a:cubicBezTo>
                <a:cubicBezTo>
                  <a:pt x="1803" y="23"/>
                  <a:pt x="1803" y="23"/>
                  <a:pt x="1803" y="23"/>
                </a:cubicBezTo>
                <a:cubicBezTo>
                  <a:pt x="1806" y="5"/>
                  <a:pt x="1806" y="5"/>
                  <a:pt x="1806" y="5"/>
                </a:cubicBezTo>
                <a:cubicBezTo>
                  <a:pt x="1818" y="5"/>
                  <a:pt x="1818" y="5"/>
                  <a:pt x="1818" y="5"/>
                </a:cubicBezTo>
                <a:cubicBezTo>
                  <a:pt x="1814" y="23"/>
                  <a:pt x="1814" y="23"/>
                  <a:pt x="1814" y="23"/>
                </a:cubicBezTo>
                <a:cubicBezTo>
                  <a:pt x="1823" y="23"/>
                  <a:pt x="1823" y="23"/>
                  <a:pt x="1823" y="23"/>
                </a:cubicBezTo>
                <a:cubicBezTo>
                  <a:pt x="1823" y="35"/>
                  <a:pt x="1823" y="35"/>
                  <a:pt x="1823" y="35"/>
                </a:cubicBezTo>
                <a:cubicBezTo>
                  <a:pt x="1813" y="35"/>
                  <a:pt x="1813" y="35"/>
                  <a:pt x="1813" y="35"/>
                </a:cubicBezTo>
                <a:cubicBezTo>
                  <a:pt x="1811" y="46"/>
                  <a:pt x="1811" y="46"/>
                  <a:pt x="1811" y="46"/>
                </a:cubicBezTo>
                <a:cubicBezTo>
                  <a:pt x="1820" y="46"/>
                  <a:pt x="1820" y="46"/>
                  <a:pt x="1820" y="46"/>
                </a:cubicBezTo>
                <a:cubicBezTo>
                  <a:pt x="1820" y="58"/>
                  <a:pt x="1820" y="58"/>
                  <a:pt x="1820" y="58"/>
                </a:cubicBezTo>
                <a:cubicBezTo>
                  <a:pt x="1809" y="58"/>
                  <a:pt x="1809" y="58"/>
                  <a:pt x="1809" y="58"/>
                </a:cubicBezTo>
                <a:cubicBezTo>
                  <a:pt x="1806" y="77"/>
                  <a:pt x="1806" y="77"/>
                  <a:pt x="1806" y="77"/>
                </a:cubicBezTo>
                <a:cubicBezTo>
                  <a:pt x="1795" y="77"/>
                  <a:pt x="1795" y="77"/>
                  <a:pt x="1795" y="77"/>
                </a:cubicBezTo>
                <a:cubicBezTo>
                  <a:pt x="1798" y="58"/>
                  <a:pt x="1798" y="58"/>
                  <a:pt x="1798" y="58"/>
                </a:cubicBezTo>
                <a:cubicBezTo>
                  <a:pt x="1788" y="58"/>
                  <a:pt x="1788" y="58"/>
                  <a:pt x="1788" y="58"/>
                </a:cubicBezTo>
                <a:cubicBezTo>
                  <a:pt x="1785" y="77"/>
                  <a:pt x="1785" y="77"/>
                  <a:pt x="1785" y="77"/>
                </a:cubicBezTo>
                <a:cubicBezTo>
                  <a:pt x="1774" y="77"/>
                  <a:pt x="1774" y="77"/>
                  <a:pt x="1774" y="77"/>
                </a:cubicBezTo>
                <a:cubicBezTo>
                  <a:pt x="1774" y="77"/>
                  <a:pt x="1774" y="77"/>
                  <a:pt x="1774" y="77"/>
                </a:cubicBezTo>
                <a:close/>
                <a:moveTo>
                  <a:pt x="1800" y="46"/>
                </a:moveTo>
                <a:cubicBezTo>
                  <a:pt x="1801" y="35"/>
                  <a:pt x="1801" y="35"/>
                  <a:pt x="1801" y="35"/>
                </a:cubicBezTo>
                <a:cubicBezTo>
                  <a:pt x="1792" y="35"/>
                  <a:pt x="1792" y="35"/>
                  <a:pt x="1792" y="35"/>
                </a:cubicBezTo>
                <a:cubicBezTo>
                  <a:pt x="1790" y="46"/>
                  <a:pt x="1790" y="46"/>
                  <a:pt x="1790" y="46"/>
                </a:cubicBezTo>
                <a:cubicBezTo>
                  <a:pt x="1800" y="46"/>
                  <a:pt x="1800" y="46"/>
                  <a:pt x="1800" y="46"/>
                </a:cubicBezTo>
                <a:cubicBezTo>
                  <a:pt x="1800" y="46"/>
                  <a:pt x="1800" y="46"/>
                  <a:pt x="1800" y="46"/>
                </a:cubicBezTo>
                <a:close/>
                <a:moveTo>
                  <a:pt x="659" y="51"/>
                </a:moveTo>
                <a:cubicBezTo>
                  <a:pt x="659" y="53"/>
                  <a:pt x="660" y="54"/>
                  <a:pt x="660" y="55"/>
                </a:cubicBezTo>
                <a:cubicBezTo>
                  <a:pt x="661" y="57"/>
                  <a:pt x="661" y="59"/>
                  <a:pt x="662" y="61"/>
                </a:cubicBezTo>
                <a:cubicBezTo>
                  <a:pt x="662" y="62"/>
                  <a:pt x="662" y="64"/>
                  <a:pt x="662" y="65"/>
                </a:cubicBezTo>
                <a:cubicBezTo>
                  <a:pt x="663" y="68"/>
                  <a:pt x="662" y="70"/>
                  <a:pt x="659" y="70"/>
                </a:cubicBezTo>
                <a:cubicBezTo>
                  <a:pt x="656" y="70"/>
                  <a:pt x="653" y="70"/>
                  <a:pt x="650" y="70"/>
                </a:cubicBezTo>
                <a:cubicBezTo>
                  <a:pt x="650" y="70"/>
                  <a:pt x="649" y="70"/>
                  <a:pt x="649" y="70"/>
                </a:cubicBezTo>
                <a:cubicBezTo>
                  <a:pt x="647" y="72"/>
                  <a:pt x="646" y="73"/>
                  <a:pt x="644" y="74"/>
                </a:cubicBezTo>
                <a:cubicBezTo>
                  <a:pt x="642" y="77"/>
                  <a:pt x="639" y="77"/>
                  <a:pt x="637" y="75"/>
                </a:cubicBezTo>
                <a:cubicBezTo>
                  <a:pt x="635" y="73"/>
                  <a:pt x="634" y="70"/>
                  <a:pt x="632" y="68"/>
                </a:cubicBezTo>
                <a:cubicBezTo>
                  <a:pt x="631" y="66"/>
                  <a:pt x="632" y="64"/>
                  <a:pt x="634" y="63"/>
                </a:cubicBezTo>
                <a:cubicBezTo>
                  <a:pt x="631" y="63"/>
                  <a:pt x="630" y="63"/>
                  <a:pt x="628" y="63"/>
                </a:cubicBezTo>
                <a:cubicBezTo>
                  <a:pt x="628" y="65"/>
                  <a:pt x="626" y="67"/>
                  <a:pt x="626" y="69"/>
                </a:cubicBezTo>
                <a:cubicBezTo>
                  <a:pt x="626" y="70"/>
                  <a:pt x="625" y="70"/>
                  <a:pt x="625" y="71"/>
                </a:cubicBezTo>
                <a:cubicBezTo>
                  <a:pt x="625" y="74"/>
                  <a:pt x="624" y="76"/>
                  <a:pt x="621" y="75"/>
                </a:cubicBezTo>
                <a:cubicBezTo>
                  <a:pt x="618" y="75"/>
                  <a:pt x="615" y="74"/>
                  <a:pt x="612" y="73"/>
                </a:cubicBezTo>
                <a:cubicBezTo>
                  <a:pt x="610" y="72"/>
                  <a:pt x="609" y="71"/>
                  <a:pt x="610" y="69"/>
                </a:cubicBezTo>
                <a:cubicBezTo>
                  <a:pt x="610" y="68"/>
                  <a:pt x="610" y="67"/>
                  <a:pt x="611" y="67"/>
                </a:cubicBezTo>
                <a:cubicBezTo>
                  <a:pt x="608" y="66"/>
                  <a:pt x="606" y="65"/>
                  <a:pt x="604" y="64"/>
                </a:cubicBezTo>
                <a:cubicBezTo>
                  <a:pt x="603" y="63"/>
                  <a:pt x="602" y="61"/>
                  <a:pt x="601" y="59"/>
                </a:cubicBezTo>
                <a:cubicBezTo>
                  <a:pt x="600" y="57"/>
                  <a:pt x="600" y="56"/>
                  <a:pt x="602" y="54"/>
                </a:cubicBezTo>
                <a:cubicBezTo>
                  <a:pt x="605" y="52"/>
                  <a:pt x="606" y="49"/>
                  <a:pt x="605" y="45"/>
                </a:cubicBezTo>
                <a:cubicBezTo>
                  <a:pt x="605" y="43"/>
                  <a:pt x="605" y="41"/>
                  <a:pt x="605" y="39"/>
                </a:cubicBezTo>
                <a:cubicBezTo>
                  <a:pt x="604" y="38"/>
                  <a:pt x="602" y="38"/>
                  <a:pt x="601" y="37"/>
                </a:cubicBezTo>
                <a:cubicBezTo>
                  <a:pt x="600" y="35"/>
                  <a:pt x="599" y="33"/>
                  <a:pt x="599" y="31"/>
                </a:cubicBezTo>
                <a:cubicBezTo>
                  <a:pt x="599" y="28"/>
                  <a:pt x="602" y="26"/>
                  <a:pt x="605" y="25"/>
                </a:cubicBezTo>
                <a:cubicBezTo>
                  <a:pt x="606" y="26"/>
                  <a:pt x="606" y="26"/>
                  <a:pt x="606" y="27"/>
                </a:cubicBezTo>
                <a:cubicBezTo>
                  <a:pt x="606" y="28"/>
                  <a:pt x="606" y="29"/>
                  <a:pt x="606" y="30"/>
                </a:cubicBezTo>
                <a:cubicBezTo>
                  <a:pt x="606" y="30"/>
                  <a:pt x="605" y="30"/>
                  <a:pt x="605" y="30"/>
                </a:cubicBezTo>
                <a:cubicBezTo>
                  <a:pt x="604" y="31"/>
                  <a:pt x="604" y="32"/>
                  <a:pt x="603" y="34"/>
                </a:cubicBezTo>
                <a:cubicBezTo>
                  <a:pt x="604" y="34"/>
                  <a:pt x="605" y="34"/>
                  <a:pt x="606" y="34"/>
                </a:cubicBezTo>
                <a:cubicBezTo>
                  <a:pt x="607" y="32"/>
                  <a:pt x="608" y="32"/>
                  <a:pt x="608" y="30"/>
                </a:cubicBezTo>
                <a:cubicBezTo>
                  <a:pt x="613" y="24"/>
                  <a:pt x="619" y="20"/>
                  <a:pt x="626" y="18"/>
                </a:cubicBezTo>
                <a:cubicBezTo>
                  <a:pt x="629" y="18"/>
                  <a:pt x="633" y="17"/>
                  <a:pt x="635" y="14"/>
                </a:cubicBezTo>
                <a:cubicBezTo>
                  <a:pt x="635" y="13"/>
                  <a:pt x="636" y="13"/>
                  <a:pt x="636" y="13"/>
                </a:cubicBezTo>
                <a:cubicBezTo>
                  <a:pt x="639" y="13"/>
                  <a:pt x="640" y="10"/>
                  <a:pt x="642" y="8"/>
                </a:cubicBezTo>
                <a:cubicBezTo>
                  <a:pt x="650" y="1"/>
                  <a:pt x="662" y="0"/>
                  <a:pt x="669" y="7"/>
                </a:cubicBezTo>
                <a:cubicBezTo>
                  <a:pt x="672" y="9"/>
                  <a:pt x="675" y="11"/>
                  <a:pt x="677" y="13"/>
                </a:cubicBezTo>
                <a:cubicBezTo>
                  <a:pt x="679" y="14"/>
                  <a:pt x="680" y="16"/>
                  <a:pt x="681" y="18"/>
                </a:cubicBezTo>
                <a:cubicBezTo>
                  <a:pt x="682" y="19"/>
                  <a:pt x="682" y="19"/>
                  <a:pt x="684" y="18"/>
                </a:cubicBezTo>
                <a:cubicBezTo>
                  <a:pt x="684" y="18"/>
                  <a:pt x="685" y="17"/>
                  <a:pt x="686" y="16"/>
                </a:cubicBezTo>
                <a:cubicBezTo>
                  <a:pt x="688" y="13"/>
                  <a:pt x="691" y="13"/>
                  <a:pt x="692" y="17"/>
                </a:cubicBezTo>
                <a:cubicBezTo>
                  <a:pt x="693" y="20"/>
                  <a:pt x="694" y="23"/>
                  <a:pt x="695" y="26"/>
                </a:cubicBezTo>
                <a:cubicBezTo>
                  <a:pt x="695" y="30"/>
                  <a:pt x="695" y="34"/>
                  <a:pt x="693" y="39"/>
                </a:cubicBezTo>
                <a:cubicBezTo>
                  <a:pt x="691" y="45"/>
                  <a:pt x="686" y="49"/>
                  <a:pt x="680" y="49"/>
                </a:cubicBezTo>
                <a:cubicBezTo>
                  <a:pt x="679" y="49"/>
                  <a:pt x="679" y="49"/>
                  <a:pt x="678" y="49"/>
                </a:cubicBezTo>
                <a:cubicBezTo>
                  <a:pt x="675" y="48"/>
                  <a:pt x="674" y="49"/>
                  <a:pt x="673" y="51"/>
                </a:cubicBezTo>
                <a:cubicBezTo>
                  <a:pt x="672" y="55"/>
                  <a:pt x="666" y="57"/>
                  <a:pt x="663" y="54"/>
                </a:cubicBezTo>
                <a:cubicBezTo>
                  <a:pt x="662" y="53"/>
                  <a:pt x="661" y="52"/>
                  <a:pt x="660" y="51"/>
                </a:cubicBezTo>
                <a:cubicBezTo>
                  <a:pt x="659" y="51"/>
                  <a:pt x="659" y="51"/>
                  <a:pt x="659" y="51"/>
                </a:cubicBezTo>
                <a:close/>
                <a:moveTo>
                  <a:pt x="653" y="47"/>
                </a:moveTo>
                <a:cubicBezTo>
                  <a:pt x="657" y="48"/>
                  <a:pt x="660" y="49"/>
                  <a:pt x="663" y="52"/>
                </a:cubicBezTo>
                <a:cubicBezTo>
                  <a:pt x="665" y="54"/>
                  <a:pt x="667" y="55"/>
                  <a:pt x="669" y="54"/>
                </a:cubicBezTo>
                <a:cubicBezTo>
                  <a:pt x="671" y="53"/>
                  <a:pt x="673" y="51"/>
                  <a:pt x="673" y="48"/>
                </a:cubicBezTo>
                <a:cubicBezTo>
                  <a:pt x="673" y="48"/>
                  <a:pt x="672" y="48"/>
                  <a:pt x="672" y="49"/>
                </a:cubicBezTo>
                <a:cubicBezTo>
                  <a:pt x="671" y="50"/>
                  <a:pt x="670" y="51"/>
                  <a:pt x="669" y="52"/>
                </a:cubicBezTo>
                <a:cubicBezTo>
                  <a:pt x="668" y="53"/>
                  <a:pt x="667" y="53"/>
                  <a:pt x="666" y="53"/>
                </a:cubicBezTo>
                <a:cubicBezTo>
                  <a:pt x="666" y="53"/>
                  <a:pt x="665" y="51"/>
                  <a:pt x="665" y="51"/>
                </a:cubicBezTo>
                <a:cubicBezTo>
                  <a:pt x="665" y="48"/>
                  <a:pt x="666" y="46"/>
                  <a:pt x="666" y="44"/>
                </a:cubicBezTo>
                <a:cubicBezTo>
                  <a:pt x="669" y="45"/>
                  <a:pt x="672" y="46"/>
                  <a:pt x="676" y="47"/>
                </a:cubicBezTo>
                <a:cubicBezTo>
                  <a:pt x="683" y="48"/>
                  <a:pt x="689" y="46"/>
                  <a:pt x="692" y="38"/>
                </a:cubicBezTo>
                <a:cubicBezTo>
                  <a:pt x="694" y="33"/>
                  <a:pt x="693" y="28"/>
                  <a:pt x="693" y="23"/>
                </a:cubicBezTo>
                <a:cubicBezTo>
                  <a:pt x="692" y="21"/>
                  <a:pt x="691" y="19"/>
                  <a:pt x="691" y="17"/>
                </a:cubicBezTo>
                <a:cubicBezTo>
                  <a:pt x="690" y="16"/>
                  <a:pt x="689" y="15"/>
                  <a:pt x="688" y="17"/>
                </a:cubicBezTo>
                <a:cubicBezTo>
                  <a:pt x="686" y="19"/>
                  <a:pt x="684" y="20"/>
                  <a:pt x="682" y="21"/>
                </a:cubicBezTo>
                <a:cubicBezTo>
                  <a:pt x="682" y="21"/>
                  <a:pt x="681" y="22"/>
                  <a:pt x="681" y="23"/>
                </a:cubicBezTo>
                <a:cubicBezTo>
                  <a:pt x="682" y="26"/>
                  <a:pt x="681" y="30"/>
                  <a:pt x="680" y="33"/>
                </a:cubicBezTo>
                <a:cubicBezTo>
                  <a:pt x="680" y="31"/>
                  <a:pt x="680" y="29"/>
                  <a:pt x="680" y="27"/>
                </a:cubicBezTo>
                <a:cubicBezTo>
                  <a:pt x="680" y="26"/>
                  <a:pt x="680" y="26"/>
                  <a:pt x="680" y="26"/>
                </a:cubicBezTo>
                <a:cubicBezTo>
                  <a:pt x="679" y="26"/>
                  <a:pt x="679" y="26"/>
                  <a:pt x="679" y="26"/>
                </a:cubicBezTo>
                <a:cubicBezTo>
                  <a:pt x="678" y="28"/>
                  <a:pt x="677" y="29"/>
                  <a:pt x="676" y="30"/>
                </a:cubicBezTo>
                <a:cubicBezTo>
                  <a:pt x="676" y="30"/>
                  <a:pt x="676" y="30"/>
                  <a:pt x="676" y="30"/>
                </a:cubicBezTo>
                <a:cubicBezTo>
                  <a:pt x="676" y="29"/>
                  <a:pt x="677" y="27"/>
                  <a:pt x="677" y="25"/>
                </a:cubicBezTo>
                <a:cubicBezTo>
                  <a:pt x="676" y="26"/>
                  <a:pt x="675" y="26"/>
                  <a:pt x="675" y="27"/>
                </a:cubicBezTo>
                <a:cubicBezTo>
                  <a:pt x="674" y="27"/>
                  <a:pt x="674" y="28"/>
                  <a:pt x="673" y="29"/>
                </a:cubicBezTo>
                <a:cubicBezTo>
                  <a:pt x="674" y="25"/>
                  <a:pt x="674" y="25"/>
                  <a:pt x="680" y="24"/>
                </a:cubicBezTo>
                <a:cubicBezTo>
                  <a:pt x="680" y="24"/>
                  <a:pt x="679" y="23"/>
                  <a:pt x="679" y="23"/>
                </a:cubicBezTo>
                <a:cubicBezTo>
                  <a:pt x="676" y="24"/>
                  <a:pt x="675" y="22"/>
                  <a:pt x="675" y="20"/>
                </a:cubicBezTo>
                <a:cubicBezTo>
                  <a:pt x="677" y="19"/>
                  <a:pt x="678" y="19"/>
                  <a:pt x="680" y="19"/>
                </a:cubicBezTo>
                <a:cubicBezTo>
                  <a:pt x="678" y="16"/>
                  <a:pt x="677" y="13"/>
                  <a:pt x="673" y="13"/>
                </a:cubicBezTo>
                <a:cubicBezTo>
                  <a:pt x="673" y="13"/>
                  <a:pt x="673" y="13"/>
                  <a:pt x="673" y="12"/>
                </a:cubicBezTo>
                <a:cubicBezTo>
                  <a:pt x="670" y="10"/>
                  <a:pt x="668" y="8"/>
                  <a:pt x="665" y="6"/>
                </a:cubicBezTo>
                <a:cubicBezTo>
                  <a:pt x="663" y="5"/>
                  <a:pt x="660" y="4"/>
                  <a:pt x="658" y="4"/>
                </a:cubicBezTo>
                <a:cubicBezTo>
                  <a:pt x="655" y="4"/>
                  <a:pt x="651" y="6"/>
                  <a:pt x="648" y="6"/>
                </a:cubicBezTo>
                <a:cubicBezTo>
                  <a:pt x="646" y="7"/>
                  <a:pt x="643" y="9"/>
                  <a:pt x="641" y="12"/>
                </a:cubicBezTo>
                <a:cubicBezTo>
                  <a:pt x="643" y="12"/>
                  <a:pt x="644" y="12"/>
                  <a:pt x="645" y="12"/>
                </a:cubicBezTo>
                <a:cubicBezTo>
                  <a:pt x="645" y="13"/>
                  <a:pt x="644" y="13"/>
                  <a:pt x="643" y="13"/>
                </a:cubicBezTo>
                <a:cubicBezTo>
                  <a:pt x="641" y="14"/>
                  <a:pt x="638" y="13"/>
                  <a:pt x="636" y="15"/>
                </a:cubicBezTo>
                <a:cubicBezTo>
                  <a:pt x="633" y="19"/>
                  <a:pt x="629" y="23"/>
                  <a:pt x="625" y="27"/>
                </a:cubicBezTo>
                <a:cubicBezTo>
                  <a:pt x="624" y="29"/>
                  <a:pt x="623" y="32"/>
                  <a:pt x="622" y="34"/>
                </a:cubicBezTo>
                <a:cubicBezTo>
                  <a:pt x="622" y="34"/>
                  <a:pt x="622" y="35"/>
                  <a:pt x="622" y="36"/>
                </a:cubicBezTo>
                <a:cubicBezTo>
                  <a:pt x="623" y="38"/>
                  <a:pt x="624" y="40"/>
                  <a:pt x="626" y="42"/>
                </a:cubicBezTo>
                <a:cubicBezTo>
                  <a:pt x="627" y="40"/>
                  <a:pt x="628" y="38"/>
                  <a:pt x="629" y="37"/>
                </a:cubicBezTo>
                <a:cubicBezTo>
                  <a:pt x="629" y="38"/>
                  <a:pt x="629" y="40"/>
                  <a:pt x="628" y="41"/>
                </a:cubicBezTo>
                <a:cubicBezTo>
                  <a:pt x="627" y="42"/>
                  <a:pt x="626" y="44"/>
                  <a:pt x="626" y="45"/>
                </a:cubicBezTo>
                <a:cubicBezTo>
                  <a:pt x="626" y="46"/>
                  <a:pt x="626" y="47"/>
                  <a:pt x="626" y="48"/>
                </a:cubicBezTo>
                <a:cubicBezTo>
                  <a:pt x="629" y="51"/>
                  <a:pt x="632" y="51"/>
                  <a:pt x="636" y="49"/>
                </a:cubicBezTo>
                <a:cubicBezTo>
                  <a:pt x="638" y="48"/>
                  <a:pt x="641" y="47"/>
                  <a:pt x="644" y="46"/>
                </a:cubicBezTo>
                <a:cubicBezTo>
                  <a:pt x="645" y="45"/>
                  <a:pt x="646" y="45"/>
                  <a:pt x="646" y="43"/>
                </a:cubicBezTo>
                <a:cubicBezTo>
                  <a:pt x="646" y="40"/>
                  <a:pt x="646" y="36"/>
                  <a:pt x="646" y="33"/>
                </a:cubicBezTo>
                <a:cubicBezTo>
                  <a:pt x="646" y="30"/>
                  <a:pt x="646" y="27"/>
                  <a:pt x="646" y="24"/>
                </a:cubicBezTo>
                <a:cubicBezTo>
                  <a:pt x="647" y="27"/>
                  <a:pt x="648" y="30"/>
                  <a:pt x="648" y="32"/>
                </a:cubicBezTo>
                <a:cubicBezTo>
                  <a:pt x="649" y="37"/>
                  <a:pt x="649" y="41"/>
                  <a:pt x="648" y="45"/>
                </a:cubicBezTo>
                <a:cubicBezTo>
                  <a:pt x="647" y="46"/>
                  <a:pt x="646" y="47"/>
                  <a:pt x="646" y="47"/>
                </a:cubicBezTo>
                <a:cubicBezTo>
                  <a:pt x="642" y="47"/>
                  <a:pt x="639" y="49"/>
                  <a:pt x="636" y="51"/>
                </a:cubicBezTo>
                <a:cubicBezTo>
                  <a:pt x="631" y="54"/>
                  <a:pt x="628" y="52"/>
                  <a:pt x="624" y="48"/>
                </a:cubicBezTo>
                <a:cubicBezTo>
                  <a:pt x="624" y="48"/>
                  <a:pt x="624" y="47"/>
                  <a:pt x="624" y="46"/>
                </a:cubicBezTo>
                <a:cubicBezTo>
                  <a:pt x="625" y="44"/>
                  <a:pt x="624" y="42"/>
                  <a:pt x="622" y="40"/>
                </a:cubicBezTo>
                <a:cubicBezTo>
                  <a:pt x="621" y="38"/>
                  <a:pt x="619" y="36"/>
                  <a:pt x="620" y="33"/>
                </a:cubicBezTo>
                <a:cubicBezTo>
                  <a:pt x="621" y="31"/>
                  <a:pt x="622" y="29"/>
                  <a:pt x="623" y="28"/>
                </a:cubicBezTo>
                <a:cubicBezTo>
                  <a:pt x="625" y="25"/>
                  <a:pt x="627" y="23"/>
                  <a:pt x="629" y="20"/>
                </a:cubicBezTo>
                <a:cubicBezTo>
                  <a:pt x="629" y="20"/>
                  <a:pt x="628" y="20"/>
                  <a:pt x="628" y="20"/>
                </a:cubicBezTo>
                <a:cubicBezTo>
                  <a:pt x="623" y="21"/>
                  <a:pt x="619" y="23"/>
                  <a:pt x="615" y="26"/>
                </a:cubicBezTo>
                <a:cubicBezTo>
                  <a:pt x="610" y="30"/>
                  <a:pt x="607" y="35"/>
                  <a:pt x="607" y="42"/>
                </a:cubicBezTo>
                <a:cubicBezTo>
                  <a:pt x="606" y="49"/>
                  <a:pt x="609" y="55"/>
                  <a:pt x="612" y="61"/>
                </a:cubicBezTo>
                <a:cubicBezTo>
                  <a:pt x="613" y="61"/>
                  <a:pt x="613" y="63"/>
                  <a:pt x="613" y="64"/>
                </a:cubicBezTo>
                <a:cubicBezTo>
                  <a:pt x="613" y="66"/>
                  <a:pt x="613" y="67"/>
                  <a:pt x="612" y="68"/>
                </a:cubicBezTo>
                <a:cubicBezTo>
                  <a:pt x="611" y="70"/>
                  <a:pt x="612" y="71"/>
                  <a:pt x="613" y="72"/>
                </a:cubicBezTo>
                <a:cubicBezTo>
                  <a:pt x="616" y="72"/>
                  <a:pt x="619" y="73"/>
                  <a:pt x="622" y="73"/>
                </a:cubicBezTo>
                <a:cubicBezTo>
                  <a:pt x="622" y="73"/>
                  <a:pt x="623" y="72"/>
                  <a:pt x="623" y="72"/>
                </a:cubicBezTo>
                <a:cubicBezTo>
                  <a:pt x="624" y="71"/>
                  <a:pt x="624" y="69"/>
                  <a:pt x="624" y="68"/>
                </a:cubicBezTo>
                <a:cubicBezTo>
                  <a:pt x="626" y="66"/>
                  <a:pt x="626" y="63"/>
                  <a:pt x="626" y="61"/>
                </a:cubicBezTo>
                <a:cubicBezTo>
                  <a:pt x="626" y="60"/>
                  <a:pt x="626" y="60"/>
                  <a:pt x="626" y="59"/>
                </a:cubicBezTo>
                <a:cubicBezTo>
                  <a:pt x="626" y="59"/>
                  <a:pt x="626" y="59"/>
                  <a:pt x="626" y="59"/>
                </a:cubicBezTo>
                <a:cubicBezTo>
                  <a:pt x="627" y="61"/>
                  <a:pt x="628" y="61"/>
                  <a:pt x="630" y="61"/>
                </a:cubicBezTo>
                <a:cubicBezTo>
                  <a:pt x="631" y="61"/>
                  <a:pt x="632" y="61"/>
                  <a:pt x="633" y="61"/>
                </a:cubicBezTo>
                <a:cubicBezTo>
                  <a:pt x="635" y="61"/>
                  <a:pt x="639" y="62"/>
                  <a:pt x="639" y="58"/>
                </a:cubicBezTo>
                <a:cubicBezTo>
                  <a:pt x="639" y="60"/>
                  <a:pt x="639" y="62"/>
                  <a:pt x="639" y="63"/>
                </a:cubicBezTo>
                <a:cubicBezTo>
                  <a:pt x="638" y="63"/>
                  <a:pt x="637" y="64"/>
                  <a:pt x="635" y="64"/>
                </a:cubicBezTo>
                <a:cubicBezTo>
                  <a:pt x="634" y="65"/>
                  <a:pt x="633" y="67"/>
                  <a:pt x="634" y="68"/>
                </a:cubicBezTo>
                <a:cubicBezTo>
                  <a:pt x="635" y="70"/>
                  <a:pt x="637" y="72"/>
                  <a:pt x="638" y="74"/>
                </a:cubicBezTo>
                <a:cubicBezTo>
                  <a:pt x="640" y="75"/>
                  <a:pt x="642" y="75"/>
                  <a:pt x="643" y="73"/>
                </a:cubicBezTo>
                <a:cubicBezTo>
                  <a:pt x="644" y="72"/>
                  <a:pt x="644" y="72"/>
                  <a:pt x="645" y="71"/>
                </a:cubicBezTo>
                <a:cubicBezTo>
                  <a:pt x="647" y="70"/>
                  <a:pt x="648" y="68"/>
                  <a:pt x="650" y="67"/>
                </a:cubicBezTo>
                <a:cubicBezTo>
                  <a:pt x="654" y="63"/>
                  <a:pt x="656" y="57"/>
                  <a:pt x="658" y="51"/>
                </a:cubicBezTo>
                <a:cubicBezTo>
                  <a:pt x="658" y="51"/>
                  <a:pt x="657" y="50"/>
                  <a:pt x="657" y="49"/>
                </a:cubicBezTo>
                <a:cubicBezTo>
                  <a:pt x="656" y="48"/>
                  <a:pt x="655" y="47"/>
                  <a:pt x="653" y="47"/>
                </a:cubicBezTo>
                <a:close/>
                <a:moveTo>
                  <a:pt x="606" y="53"/>
                </a:moveTo>
                <a:cubicBezTo>
                  <a:pt x="606" y="54"/>
                  <a:pt x="604" y="55"/>
                  <a:pt x="603" y="56"/>
                </a:cubicBezTo>
                <a:cubicBezTo>
                  <a:pt x="602" y="56"/>
                  <a:pt x="602" y="57"/>
                  <a:pt x="602" y="58"/>
                </a:cubicBezTo>
                <a:cubicBezTo>
                  <a:pt x="602" y="61"/>
                  <a:pt x="606" y="65"/>
                  <a:pt x="609" y="64"/>
                </a:cubicBezTo>
                <a:cubicBezTo>
                  <a:pt x="611" y="64"/>
                  <a:pt x="612" y="63"/>
                  <a:pt x="611" y="62"/>
                </a:cubicBezTo>
                <a:cubicBezTo>
                  <a:pt x="609" y="59"/>
                  <a:pt x="608" y="56"/>
                  <a:pt x="606" y="53"/>
                </a:cubicBezTo>
                <a:close/>
                <a:moveTo>
                  <a:pt x="659" y="55"/>
                </a:moveTo>
                <a:cubicBezTo>
                  <a:pt x="657" y="60"/>
                  <a:pt x="654" y="64"/>
                  <a:pt x="652" y="68"/>
                </a:cubicBezTo>
                <a:cubicBezTo>
                  <a:pt x="655" y="68"/>
                  <a:pt x="657" y="69"/>
                  <a:pt x="660" y="68"/>
                </a:cubicBezTo>
                <a:cubicBezTo>
                  <a:pt x="660" y="68"/>
                  <a:pt x="660" y="67"/>
                  <a:pt x="660" y="67"/>
                </a:cubicBezTo>
                <a:cubicBezTo>
                  <a:pt x="660" y="64"/>
                  <a:pt x="660" y="62"/>
                  <a:pt x="660" y="59"/>
                </a:cubicBezTo>
                <a:cubicBezTo>
                  <a:pt x="660" y="58"/>
                  <a:pt x="659" y="57"/>
                  <a:pt x="659" y="55"/>
                </a:cubicBezTo>
                <a:close/>
                <a:moveTo>
                  <a:pt x="606" y="35"/>
                </a:moveTo>
                <a:cubicBezTo>
                  <a:pt x="606" y="35"/>
                  <a:pt x="605" y="36"/>
                  <a:pt x="604" y="36"/>
                </a:cubicBezTo>
                <a:cubicBezTo>
                  <a:pt x="604" y="36"/>
                  <a:pt x="603" y="36"/>
                  <a:pt x="603" y="35"/>
                </a:cubicBezTo>
                <a:cubicBezTo>
                  <a:pt x="602" y="35"/>
                  <a:pt x="602" y="34"/>
                  <a:pt x="602" y="33"/>
                </a:cubicBezTo>
                <a:cubicBezTo>
                  <a:pt x="603" y="31"/>
                  <a:pt x="603" y="29"/>
                  <a:pt x="604" y="27"/>
                </a:cubicBezTo>
                <a:cubicBezTo>
                  <a:pt x="604" y="27"/>
                  <a:pt x="604" y="27"/>
                  <a:pt x="603" y="27"/>
                </a:cubicBezTo>
                <a:cubicBezTo>
                  <a:pt x="602" y="28"/>
                  <a:pt x="601" y="29"/>
                  <a:pt x="600" y="30"/>
                </a:cubicBezTo>
                <a:cubicBezTo>
                  <a:pt x="600" y="31"/>
                  <a:pt x="601" y="36"/>
                  <a:pt x="603" y="37"/>
                </a:cubicBezTo>
                <a:cubicBezTo>
                  <a:pt x="604" y="38"/>
                  <a:pt x="606" y="37"/>
                  <a:pt x="606" y="35"/>
                </a:cubicBezTo>
                <a:close/>
                <a:moveTo>
                  <a:pt x="606" y="53"/>
                </a:moveTo>
                <a:cubicBezTo>
                  <a:pt x="605" y="54"/>
                  <a:pt x="604" y="55"/>
                  <a:pt x="603" y="56"/>
                </a:cubicBezTo>
                <a:cubicBezTo>
                  <a:pt x="602" y="56"/>
                  <a:pt x="602" y="57"/>
                  <a:pt x="602" y="58"/>
                </a:cubicBezTo>
                <a:cubicBezTo>
                  <a:pt x="602" y="61"/>
                  <a:pt x="606" y="65"/>
                  <a:pt x="609" y="65"/>
                </a:cubicBezTo>
                <a:cubicBezTo>
                  <a:pt x="611" y="65"/>
                  <a:pt x="612" y="64"/>
                  <a:pt x="611" y="62"/>
                </a:cubicBezTo>
                <a:cubicBezTo>
                  <a:pt x="609" y="59"/>
                  <a:pt x="608" y="56"/>
                  <a:pt x="606" y="53"/>
                </a:cubicBezTo>
                <a:close/>
                <a:moveTo>
                  <a:pt x="659" y="55"/>
                </a:moveTo>
                <a:cubicBezTo>
                  <a:pt x="656" y="60"/>
                  <a:pt x="654" y="64"/>
                  <a:pt x="652" y="69"/>
                </a:cubicBezTo>
                <a:cubicBezTo>
                  <a:pt x="654" y="69"/>
                  <a:pt x="657" y="69"/>
                  <a:pt x="660" y="69"/>
                </a:cubicBezTo>
                <a:cubicBezTo>
                  <a:pt x="660" y="69"/>
                  <a:pt x="660" y="67"/>
                  <a:pt x="660" y="67"/>
                </a:cubicBezTo>
                <a:cubicBezTo>
                  <a:pt x="660" y="64"/>
                  <a:pt x="660" y="62"/>
                  <a:pt x="660" y="59"/>
                </a:cubicBezTo>
                <a:cubicBezTo>
                  <a:pt x="660" y="58"/>
                  <a:pt x="659" y="57"/>
                  <a:pt x="659" y="55"/>
                </a:cubicBezTo>
                <a:close/>
                <a:moveTo>
                  <a:pt x="606" y="35"/>
                </a:moveTo>
                <a:cubicBezTo>
                  <a:pt x="605" y="35"/>
                  <a:pt x="605" y="36"/>
                  <a:pt x="604" y="36"/>
                </a:cubicBezTo>
                <a:cubicBezTo>
                  <a:pt x="603" y="36"/>
                  <a:pt x="603" y="36"/>
                  <a:pt x="603" y="35"/>
                </a:cubicBezTo>
                <a:cubicBezTo>
                  <a:pt x="602" y="35"/>
                  <a:pt x="602" y="34"/>
                  <a:pt x="602" y="33"/>
                </a:cubicBezTo>
                <a:cubicBezTo>
                  <a:pt x="603" y="31"/>
                  <a:pt x="603" y="29"/>
                  <a:pt x="604" y="27"/>
                </a:cubicBezTo>
                <a:cubicBezTo>
                  <a:pt x="603" y="27"/>
                  <a:pt x="603" y="27"/>
                  <a:pt x="603" y="27"/>
                </a:cubicBezTo>
                <a:cubicBezTo>
                  <a:pt x="602" y="28"/>
                  <a:pt x="601" y="29"/>
                  <a:pt x="600" y="30"/>
                </a:cubicBezTo>
                <a:cubicBezTo>
                  <a:pt x="599" y="31"/>
                  <a:pt x="601" y="37"/>
                  <a:pt x="603" y="37"/>
                </a:cubicBezTo>
                <a:cubicBezTo>
                  <a:pt x="604" y="38"/>
                  <a:pt x="606" y="37"/>
                  <a:pt x="606" y="35"/>
                </a:cubicBezTo>
                <a:close/>
                <a:moveTo>
                  <a:pt x="658" y="27"/>
                </a:moveTo>
                <a:cubicBezTo>
                  <a:pt x="661" y="23"/>
                  <a:pt x="661" y="23"/>
                  <a:pt x="665" y="22"/>
                </a:cubicBezTo>
                <a:cubicBezTo>
                  <a:pt x="665" y="24"/>
                  <a:pt x="666" y="25"/>
                  <a:pt x="668" y="25"/>
                </a:cubicBezTo>
                <a:cubicBezTo>
                  <a:pt x="666" y="26"/>
                  <a:pt x="664" y="28"/>
                  <a:pt x="662" y="29"/>
                </a:cubicBezTo>
                <a:cubicBezTo>
                  <a:pt x="661" y="28"/>
                  <a:pt x="661" y="28"/>
                  <a:pt x="660" y="26"/>
                </a:cubicBezTo>
                <a:cubicBezTo>
                  <a:pt x="660" y="26"/>
                  <a:pt x="659" y="26"/>
                  <a:pt x="658" y="27"/>
                </a:cubicBezTo>
                <a:close/>
                <a:moveTo>
                  <a:pt x="664" y="26"/>
                </a:moveTo>
                <a:cubicBezTo>
                  <a:pt x="663" y="26"/>
                  <a:pt x="663" y="26"/>
                  <a:pt x="662" y="26"/>
                </a:cubicBezTo>
                <a:cubicBezTo>
                  <a:pt x="662" y="26"/>
                  <a:pt x="661" y="26"/>
                  <a:pt x="661" y="27"/>
                </a:cubicBezTo>
                <a:cubicBezTo>
                  <a:pt x="661" y="27"/>
                  <a:pt x="661" y="28"/>
                  <a:pt x="662" y="28"/>
                </a:cubicBezTo>
                <a:cubicBezTo>
                  <a:pt x="663" y="28"/>
                  <a:pt x="663" y="27"/>
                  <a:pt x="664" y="26"/>
                </a:cubicBezTo>
                <a:close/>
                <a:moveTo>
                  <a:pt x="645" y="17"/>
                </a:moveTo>
                <a:cubicBezTo>
                  <a:pt x="639" y="16"/>
                  <a:pt x="636" y="19"/>
                  <a:pt x="635" y="26"/>
                </a:cubicBezTo>
                <a:cubicBezTo>
                  <a:pt x="636" y="24"/>
                  <a:pt x="637" y="22"/>
                  <a:pt x="638" y="20"/>
                </a:cubicBezTo>
                <a:cubicBezTo>
                  <a:pt x="639" y="20"/>
                  <a:pt x="639" y="20"/>
                  <a:pt x="639" y="20"/>
                </a:cubicBezTo>
                <a:cubicBezTo>
                  <a:pt x="639" y="21"/>
                  <a:pt x="639" y="22"/>
                  <a:pt x="639" y="22"/>
                </a:cubicBezTo>
                <a:cubicBezTo>
                  <a:pt x="640" y="19"/>
                  <a:pt x="642" y="17"/>
                  <a:pt x="645" y="17"/>
                </a:cubicBezTo>
                <a:close/>
                <a:moveTo>
                  <a:pt x="689" y="18"/>
                </a:moveTo>
                <a:cubicBezTo>
                  <a:pt x="687" y="19"/>
                  <a:pt x="685" y="21"/>
                  <a:pt x="684" y="22"/>
                </a:cubicBezTo>
                <a:cubicBezTo>
                  <a:pt x="686" y="23"/>
                  <a:pt x="688" y="21"/>
                  <a:pt x="689" y="18"/>
                </a:cubicBezTo>
                <a:close/>
                <a:moveTo>
                  <a:pt x="656" y="21"/>
                </a:moveTo>
                <a:cubicBezTo>
                  <a:pt x="657" y="19"/>
                  <a:pt x="658" y="18"/>
                  <a:pt x="659" y="17"/>
                </a:cubicBezTo>
                <a:cubicBezTo>
                  <a:pt x="656" y="18"/>
                  <a:pt x="656" y="19"/>
                  <a:pt x="656" y="21"/>
                </a:cubicBezTo>
                <a:close/>
                <a:moveTo>
                  <a:pt x="666" y="42"/>
                </a:moveTo>
                <a:cubicBezTo>
                  <a:pt x="664" y="42"/>
                  <a:pt x="663" y="43"/>
                  <a:pt x="663" y="44"/>
                </a:cubicBezTo>
                <a:cubicBezTo>
                  <a:pt x="664" y="43"/>
                  <a:pt x="665" y="42"/>
                  <a:pt x="666" y="42"/>
                </a:cubicBezTo>
                <a:close/>
                <a:moveTo>
                  <a:pt x="665" y="26"/>
                </a:moveTo>
                <a:cubicBezTo>
                  <a:pt x="664" y="26"/>
                  <a:pt x="663" y="25"/>
                  <a:pt x="663" y="25"/>
                </a:cubicBezTo>
                <a:cubicBezTo>
                  <a:pt x="662" y="25"/>
                  <a:pt x="661" y="26"/>
                  <a:pt x="661" y="27"/>
                </a:cubicBezTo>
                <a:cubicBezTo>
                  <a:pt x="661" y="27"/>
                  <a:pt x="662" y="27"/>
                  <a:pt x="662" y="28"/>
                </a:cubicBezTo>
                <a:cubicBezTo>
                  <a:pt x="663" y="27"/>
                  <a:pt x="663" y="27"/>
                  <a:pt x="665" y="26"/>
                </a:cubicBezTo>
                <a:close/>
                <a:moveTo>
                  <a:pt x="1318" y="4"/>
                </a:moveTo>
                <a:cubicBezTo>
                  <a:pt x="1318" y="4"/>
                  <a:pt x="1318" y="4"/>
                  <a:pt x="1318" y="4"/>
                </a:cubicBezTo>
                <a:cubicBezTo>
                  <a:pt x="1313" y="4"/>
                  <a:pt x="1313" y="4"/>
                  <a:pt x="1313" y="4"/>
                </a:cubicBezTo>
                <a:cubicBezTo>
                  <a:pt x="1311" y="5"/>
                  <a:pt x="1310" y="7"/>
                  <a:pt x="1307" y="7"/>
                </a:cubicBezTo>
                <a:cubicBezTo>
                  <a:pt x="1306" y="9"/>
                  <a:pt x="1304" y="10"/>
                  <a:pt x="1302" y="10"/>
                </a:cubicBezTo>
                <a:cubicBezTo>
                  <a:pt x="1301" y="12"/>
                  <a:pt x="1298" y="12"/>
                  <a:pt x="1297" y="13"/>
                </a:cubicBezTo>
                <a:cubicBezTo>
                  <a:pt x="1295" y="14"/>
                  <a:pt x="1293" y="15"/>
                  <a:pt x="1291" y="15"/>
                </a:cubicBezTo>
                <a:cubicBezTo>
                  <a:pt x="1291" y="15"/>
                  <a:pt x="1291" y="15"/>
                  <a:pt x="1291" y="25"/>
                </a:cubicBezTo>
                <a:cubicBezTo>
                  <a:pt x="1294" y="24"/>
                  <a:pt x="1297" y="23"/>
                  <a:pt x="1300" y="22"/>
                </a:cubicBezTo>
                <a:cubicBezTo>
                  <a:pt x="1302" y="21"/>
                  <a:pt x="1304" y="20"/>
                  <a:pt x="1307" y="18"/>
                </a:cubicBezTo>
                <a:cubicBezTo>
                  <a:pt x="1307" y="18"/>
                  <a:pt x="1307" y="18"/>
                  <a:pt x="1307" y="77"/>
                </a:cubicBezTo>
                <a:cubicBezTo>
                  <a:pt x="1307" y="77"/>
                  <a:pt x="1307" y="77"/>
                  <a:pt x="1318" y="77"/>
                </a:cubicBezTo>
                <a:cubicBezTo>
                  <a:pt x="1318" y="77"/>
                  <a:pt x="1318" y="77"/>
                  <a:pt x="1318" y="4"/>
                </a:cubicBezTo>
                <a:close/>
                <a:moveTo>
                  <a:pt x="1366" y="4"/>
                </a:moveTo>
                <a:cubicBezTo>
                  <a:pt x="1366" y="4"/>
                  <a:pt x="1366" y="4"/>
                  <a:pt x="1366" y="4"/>
                </a:cubicBezTo>
                <a:cubicBezTo>
                  <a:pt x="1361" y="4"/>
                  <a:pt x="1361" y="4"/>
                  <a:pt x="1361" y="4"/>
                </a:cubicBezTo>
                <a:cubicBezTo>
                  <a:pt x="1359" y="5"/>
                  <a:pt x="1357" y="7"/>
                  <a:pt x="1355" y="7"/>
                </a:cubicBezTo>
                <a:cubicBezTo>
                  <a:pt x="1353" y="9"/>
                  <a:pt x="1351" y="10"/>
                  <a:pt x="1350" y="10"/>
                </a:cubicBezTo>
                <a:cubicBezTo>
                  <a:pt x="1348" y="12"/>
                  <a:pt x="1346" y="12"/>
                  <a:pt x="1344" y="13"/>
                </a:cubicBezTo>
                <a:cubicBezTo>
                  <a:pt x="1342" y="14"/>
                  <a:pt x="1341" y="15"/>
                  <a:pt x="1339" y="15"/>
                </a:cubicBezTo>
                <a:cubicBezTo>
                  <a:pt x="1339" y="15"/>
                  <a:pt x="1339" y="15"/>
                  <a:pt x="1339" y="25"/>
                </a:cubicBezTo>
                <a:cubicBezTo>
                  <a:pt x="1342" y="24"/>
                  <a:pt x="1344" y="23"/>
                  <a:pt x="1347" y="22"/>
                </a:cubicBezTo>
                <a:cubicBezTo>
                  <a:pt x="1350" y="21"/>
                  <a:pt x="1352" y="20"/>
                  <a:pt x="1354" y="18"/>
                </a:cubicBezTo>
                <a:cubicBezTo>
                  <a:pt x="1354" y="18"/>
                  <a:pt x="1354" y="18"/>
                  <a:pt x="1354" y="77"/>
                </a:cubicBezTo>
                <a:cubicBezTo>
                  <a:pt x="1354" y="77"/>
                  <a:pt x="1354" y="77"/>
                  <a:pt x="1366" y="77"/>
                </a:cubicBezTo>
                <a:cubicBezTo>
                  <a:pt x="1366" y="77"/>
                  <a:pt x="1366" y="77"/>
                  <a:pt x="1366" y="4"/>
                </a:cubicBezTo>
                <a:close/>
                <a:moveTo>
                  <a:pt x="1412" y="4"/>
                </a:moveTo>
                <a:cubicBezTo>
                  <a:pt x="1412" y="4"/>
                  <a:pt x="1412" y="4"/>
                  <a:pt x="1412" y="4"/>
                </a:cubicBezTo>
                <a:cubicBezTo>
                  <a:pt x="1408" y="4"/>
                  <a:pt x="1408" y="4"/>
                  <a:pt x="1408" y="4"/>
                </a:cubicBezTo>
                <a:cubicBezTo>
                  <a:pt x="1406" y="5"/>
                  <a:pt x="1404" y="7"/>
                  <a:pt x="1402" y="7"/>
                </a:cubicBezTo>
                <a:cubicBezTo>
                  <a:pt x="1401" y="9"/>
                  <a:pt x="1399" y="10"/>
                  <a:pt x="1397" y="10"/>
                </a:cubicBezTo>
                <a:cubicBezTo>
                  <a:pt x="1395" y="11"/>
                  <a:pt x="1393" y="12"/>
                  <a:pt x="1391" y="12"/>
                </a:cubicBezTo>
                <a:cubicBezTo>
                  <a:pt x="1390" y="13"/>
                  <a:pt x="1388" y="14"/>
                  <a:pt x="1386" y="15"/>
                </a:cubicBezTo>
                <a:cubicBezTo>
                  <a:pt x="1386" y="15"/>
                  <a:pt x="1386" y="15"/>
                  <a:pt x="1386" y="25"/>
                </a:cubicBezTo>
                <a:cubicBezTo>
                  <a:pt x="1389" y="24"/>
                  <a:pt x="1392" y="23"/>
                  <a:pt x="1394" y="22"/>
                </a:cubicBezTo>
                <a:cubicBezTo>
                  <a:pt x="1396" y="21"/>
                  <a:pt x="1399" y="20"/>
                  <a:pt x="1401" y="18"/>
                </a:cubicBezTo>
                <a:cubicBezTo>
                  <a:pt x="1401" y="18"/>
                  <a:pt x="1401" y="18"/>
                  <a:pt x="1401" y="77"/>
                </a:cubicBezTo>
                <a:cubicBezTo>
                  <a:pt x="1401" y="77"/>
                  <a:pt x="1401" y="77"/>
                  <a:pt x="1412" y="77"/>
                </a:cubicBezTo>
                <a:cubicBezTo>
                  <a:pt x="1412" y="77"/>
                  <a:pt x="1412" y="77"/>
                  <a:pt x="1412" y="4"/>
                </a:cubicBezTo>
                <a:close/>
                <a:moveTo>
                  <a:pt x="47" y="3"/>
                </a:moveTo>
                <a:cubicBezTo>
                  <a:pt x="47" y="3"/>
                  <a:pt x="47" y="3"/>
                  <a:pt x="47" y="3"/>
                </a:cubicBezTo>
                <a:cubicBezTo>
                  <a:pt x="42" y="3"/>
                  <a:pt x="42" y="3"/>
                  <a:pt x="42" y="3"/>
                </a:cubicBezTo>
                <a:cubicBezTo>
                  <a:pt x="40" y="5"/>
                  <a:pt x="38" y="6"/>
                  <a:pt x="36" y="7"/>
                </a:cubicBezTo>
                <a:cubicBezTo>
                  <a:pt x="35" y="8"/>
                  <a:pt x="32" y="9"/>
                  <a:pt x="31" y="10"/>
                </a:cubicBezTo>
                <a:cubicBezTo>
                  <a:pt x="29" y="11"/>
                  <a:pt x="27" y="12"/>
                  <a:pt x="26" y="13"/>
                </a:cubicBezTo>
                <a:cubicBezTo>
                  <a:pt x="24" y="13"/>
                  <a:pt x="22" y="14"/>
                  <a:pt x="20" y="14"/>
                </a:cubicBezTo>
                <a:cubicBezTo>
                  <a:pt x="20" y="14"/>
                  <a:pt x="20" y="14"/>
                  <a:pt x="20" y="24"/>
                </a:cubicBezTo>
                <a:cubicBezTo>
                  <a:pt x="23" y="23"/>
                  <a:pt x="26" y="23"/>
                  <a:pt x="28" y="21"/>
                </a:cubicBezTo>
                <a:cubicBezTo>
                  <a:pt x="31" y="21"/>
                  <a:pt x="33" y="19"/>
                  <a:pt x="35" y="18"/>
                </a:cubicBezTo>
                <a:cubicBezTo>
                  <a:pt x="35" y="18"/>
                  <a:pt x="35" y="18"/>
                  <a:pt x="35" y="76"/>
                </a:cubicBezTo>
                <a:cubicBezTo>
                  <a:pt x="35" y="76"/>
                  <a:pt x="35" y="76"/>
                  <a:pt x="47" y="76"/>
                </a:cubicBezTo>
                <a:cubicBezTo>
                  <a:pt x="47" y="76"/>
                  <a:pt x="47" y="76"/>
                  <a:pt x="47" y="3"/>
                </a:cubicBezTo>
                <a:close/>
                <a:moveTo>
                  <a:pt x="2026" y="1078"/>
                </a:moveTo>
                <a:cubicBezTo>
                  <a:pt x="2019" y="1078"/>
                  <a:pt x="2012" y="1075"/>
                  <a:pt x="2008" y="1069"/>
                </a:cubicBezTo>
                <a:cubicBezTo>
                  <a:pt x="2004" y="1063"/>
                  <a:pt x="2002" y="1054"/>
                  <a:pt x="2002" y="1042"/>
                </a:cubicBezTo>
                <a:cubicBezTo>
                  <a:pt x="2002" y="1028"/>
                  <a:pt x="2004" y="1019"/>
                  <a:pt x="2009" y="1012"/>
                </a:cubicBezTo>
                <a:cubicBezTo>
                  <a:pt x="2013" y="1006"/>
                  <a:pt x="2019" y="1002"/>
                  <a:pt x="2028" y="1002"/>
                </a:cubicBezTo>
                <a:cubicBezTo>
                  <a:pt x="2044" y="1002"/>
                  <a:pt x="2052" y="1015"/>
                  <a:pt x="2052" y="1040"/>
                </a:cubicBezTo>
                <a:cubicBezTo>
                  <a:pt x="2052" y="1052"/>
                  <a:pt x="2050" y="1062"/>
                  <a:pt x="2045" y="1068"/>
                </a:cubicBezTo>
                <a:cubicBezTo>
                  <a:pt x="2041" y="1075"/>
                  <a:pt x="2034" y="1078"/>
                  <a:pt x="2026" y="1078"/>
                </a:cubicBezTo>
                <a:close/>
                <a:moveTo>
                  <a:pt x="2027" y="1012"/>
                </a:moveTo>
                <a:cubicBezTo>
                  <a:pt x="2018" y="1012"/>
                  <a:pt x="2014" y="1022"/>
                  <a:pt x="2014" y="1042"/>
                </a:cubicBezTo>
                <a:cubicBezTo>
                  <a:pt x="2014" y="1060"/>
                  <a:pt x="2018" y="1068"/>
                  <a:pt x="2027" y="1068"/>
                </a:cubicBezTo>
                <a:cubicBezTo>
                  <a:pt x="2036" y="1068"/>
                  <a:pt x="2040" y="1060"/>
                  <a:pt x="2040" y="1041"/>
                </a:cubicBezTo>
                <a:cubicBezTo>
                  <a:pt x="2040" y="1021"/>
                  <a:pt x="2036" y="1012"/>
                  <a:pt x="2027" y="1012"/>
                </a:cubicBezTo>
                <a:close/>
                <a:moveTo>
                  <a:pt x="2100" y="1005"/>
                </a:moveTo>
                <a:cubicBezTo>
                  <a:pt x="2100" y="1005"/>
                  <a:pt x="2100" y="1005"/>
                  <a:pt x="2100" y="1005"/>
                </a:cubicBezTo>
                <a:cubicBezTo>
                  <a:pt x="2095" y="1005"/>
                  <a:pt x="2095" y="1005"/>
                  <a:pt x="2095" y="1005"/>
                </a:cubicBezTo>
                <a:cubicBezTo>
                  <a:pt x="2093" y="1006"/>
                  <a:pt x="2091" y="1007"/>
                  <a:pt x="2089" y="1008"/>
                </a:cubicBezTo>
                <a:cubicBezTo>
                  <a:pt x="2088" y="1010"/>
                  <a:pt x="2085" y="1010"/>
                  <a:pt x="2084" y="1011"/>
                </a:cubicBezTo>
                <a:cubicBezTo>
                  <a:pt x="2082" y="1012"/>
                  <a:pt x="2080" y="1013"/>
                  <a:pt x="2079" y="1013"/>
                </a:cubicBezTo>
                <a:cubicBezTo>
                  <a:pt x="2077" y="1014"/>
                  <a:pt x="2075" y="1015"/>
                  <a:pt x="2073" y="1015"/>
                </a:cubicBezTo>
                <a:cubicBezTo>
                  <a:pt x="2073" y="1015"/>
                  <a:pt x="2073" y="1015"/>
                  <a:pt x="2073" y="1026"/>
                </a:cubicBezTo>
                <a:cubicBezTo>
                  <a:pt x="2076" y="1025"/>
                  <a:pt x="2079" y="1023"/>
                  <a:pt x="2081" y="1023"/>
                </a:cubicBezTo>
                <a:cubicBezTo>
                  <a:pt x="2084" y="1022"/>
                  <a:pt x="2086" y="1021"/>
                  <a:pt x="2088" y="1019"/>
                </a:cubicBezTo>
                <a:cubicBezTo>
                  <a:pt x="2088" y="1019"/>
                  <a:pt x="2088" y="1019"/>
                  <a:pt x="2088" y="1078"/>
                </a:cubicBezTo>
                <a:cubicBezTo>
                  <a:pt x="2088" y="1078"/>
                  <a:pt x="2088" y="1078"/>
                  <a:pt x="2100" y="1078"/>
                </a:cubicBezTo>
                <a:cubicBezTo>
                  <a:pt x="2100" y="1078"/>
                  <a:pt x="2100" y="1078"/>
                  <a:pt x="2100" y="1005"/>
                </a:cubicBezTo>
                <a:close/>
                <a:moveTo>
                  <a:pt x="2147" y="1005"/>
                </a:moveTo>
                <a:cubicBezTo>
                  <a:pt x="2147" y="1005"/>
                  <a:pt x="2147" y="1005"/>
                  <a:pt x="2147" y="1005"/>
                </a:cubicBezTo>
                <a:cubicBezTo>
                  <a:pt x="2142" y="1005"/>
                  <a:pt x="2142" y="1005"/>
                  <a:pt x="2142" y="1005"/>
                </a:cubicBezTo>
                <a:cubicBezTo>
                  <a:pt x="2140" y="1006"/>
                  <a:pt x="2138" y="1007"/>
                  <a:pt x="2136" y="1008"/>
                </a:cubicBezTo>
                <a:cubicBezTo>
                  <a:pt x="2135" y="1010"/>
                  <a:pt x="2133" y="1010"/>
                  <a:pt x="2131" y="1011"/>
                </a:cubicBezTo>
                <a:cubicBezTo>
                  <a:pt x="2130" y="1013"/>
                  <a:pt x="2128" y="1013"/>
                  <a:pt x="2126" y="1014"/>
                </a:cubicBezTo>
                <a:cubicBezTo>
                  <a:pt x="2124" y="1015"/>
                  <a:pt x="2123" y="1015"/>
                  <a:pt x="2120" y="1015"/>
                </a:cubicBezTo>
                <a:cubicBezTo>
                  <a:pt x="2120" y="1015"/>
                  <a:pt x="2120" y="1015"/>
                  <a:pt x="2120" y="1026"/>
                </a:cubicBezTo>
                <a:cubicBezTo>
                  <a:pt x="2123" y="1025"/>
                  <a:pt x="2126" y="1024"/>
                  <a:pt x="2128" y="1023"/>
                </a:cubicBezTo>
                <a:cubicBezTo>
                  <a:pt x="2131" y="1022"/>
                  <a:pt x="2133" y="1021"/>
                  <a:pt x="2135" y="1019"/>
                </a:cubicBezTo>
                <a:cubicBezTo>
                  <a:pt x="2135" y="1019"/>
                  <a:pt x="2135" y="1019"/>
                  <a:pt x="2135" y="1078"/>
                </a:cubicBezTo>
                <a:cubicBezTo>
                  <a:pt x="2135" y="1078"/>
                  <a:pt x="2135" y="1078"/>
                  <a:pt x="2147" y="1078"/>
                </a:cubicBezTo>
                <a:cubicBezTo>
                  <a:pt x="2147" y="1078"/>
                  <a:pt x="2147" y="1078"/>
                  <a:pt x="2147" y="1005"/>
                </a:cubicBezTo>
                <a:close/>
                <a:moveTo>
                  <a:pt x="2193" y="1005"/>
                </a:moveTo>
                <a:cubicBezTo>
                  <a:pt x="2193" y="1005"/>
                  <a:pt x="2193" y="1005"/>
                  <a:pt x="2193" y="1005"/>
                </a:cubicBezTo>
                <a:cubicBezTo>
                  <a:pt x="2189" y="1005"/>
                  <a:pt x="2189" y="1005"/>
                  <a:pt x="2189" y="1005"/>
                </a:cubicBezTo>
                <a:cubicBezTo>
                  <a:pt x="2187" y="1006"/>
                  <a:pt x="2186" y="1007"/>
                  <a:pt x="2183" y="1008"/>
                </a:cubicBezTo>
                <a:cubicBezTo>
                  <a:pt x="2182" y="1010"/>
                  <a:pt x="2180" y="1010"/>
                  <a:pt x="2178" y="1011"/>
                </a:cubicBezTo>
                <a:cubicBezTo>
                  <a:pt x="2176" y="1013"/>
                  <a:pt x="2175" y="1013"/>
                  <a:pt x="2173" y="1014"/>
                </a:cubicBezTo>
                <a:cubicBezTo>
                  <a:pt x="2171" y="1015"/>
                  <a:pt x="2169" y="1015"/>
                  <a:pt x="2168" y="1015"/>
                </a:cubicBezTo>
                <a:cubicBezTo>
                  <a:pt x="2168" y="1015"/>
                  <a:pt x="2168" y="1015"/>
                  <a:pt x="2168" y="1026"/>
                </a:cubicBezTo>
                <a:cubicBezTo>
                  <a:pt x="2170" y="1025"/>
                  <a:pt x="2173" y="1024"/>
                  <a:pt x="2175" y="1023"/>
                </a:cubicBezTo>
                <a:cubicBezTo>
                  <a:pt x="2178" y="1022"/>
                  <a:pt x="2180" y="1021"/>
                  <a:pt x="2182" y="1019"/>
                </a:cubicBezTo>
                <a:cubicBezTo>
                  <a:pt x="2182" y="1019"/>
                  <a:pt x="2182" y="1019"/>
                  <a:pt x="2182" y="1078"/>
                </a:cubicBezTo>
                <a:cubicBezTo>
                  <a:pt x="2182" y="1078"/>
                  <a:pt x="2182" y="1078"/>
                  <a:pt x="2193" y="1078"/>
                </a:cubicBezTo>
                <a:cubicBezTo>
                  <a:pt x="2193" y="1078"/>
                  <a:pt x="2193" y="1078"/>
                  <a:pt x="2193" y="1005"/>
                </a:cubicBezTo>
                <a:close/>
                <a:moveTo>
                  <a:pt x="2241" y="1005"/>
                </a:moveTo>
                <a:cubicBezTo>
                  <a:pt x="2241" y="1005"/>
                  <a:pt x="2241" y="1005"/>
                  <a:pt x="2241" y="1005"/>
                </a:cubicBezTo>
                <a:cubicBezTo>
                  <a:pt x="2236" y="1005"/>
                  <a:pt x="2236" y="1005"/>
                  <a:pt x="2236" y="1005"/>
                </a:cubicBezTo>
                <a:cubicBezTo>
                  <a:pt x="2234" y="1006"/>
                  <a:pt x="2232" y="1007"/>
                  <a:pt x="2230" y="1008"/>
                </a:cubicBezTo>
                <a:cubicBezTo>
                  <a:pt x="2228" y="1010"/>
                  <a:pt x="2227" y="1010"/>
                  <a:pt x="2225" y="1011"/>
                </a:cubicBezTo>
                <a:cubicBezTo>
                  <a:pt x="2223" y="1013"/>
                  <a:pt x="2221" y="1013"/>
                  <a:pt x="2220" y="1014"/>
                </a:cubicBezTo>
                <a:cubicBezTo>
                  <a:pt x="2217" y="1015"/>
                  <a:pt x="2216" y="1015"/>
                  <a:pt x="2214" y="1015"/>
                </a:cubicBezTo>
                <a:cubicBezTo>
                  <a:pt x="2214" y="1015"/>
                  <a:pt x="2214" y="1015"/>
                  <a:pt x="2214" y="1026"/>
                </a:cubicBezTo>
                <a:cubicBezTo>
                  <a:pt x="2217" y="1025"/>
                  <a:pt x="2220" y="1024"/>
                  <a:pt x="2222" y="1023"/>
                </a:cubicBezTo>
                <a:cubicBezTo>
                  <a:pt x="2225" y="1022"/>
                  <a:pt x="2227" y="1021"/>
                  <a:pt x="2229" y="1019"/>
                </a:cubicBezTo>
                <a:cubicBezTo>
                  <a:pt x="2229" y="1019"/>
                  <a:pt x="2229" y="1019"/>
                  <a:pt x="2229" y="1078"/>
                </a:cubicBezTo>
                <a:cubicBezTo>
                  <a:pt x="2229" y="1078"/>
                  <a:pt x="2229" y="1078"/>
                  <a:pt x="2241" y="1078"/>
                </a:cubicBezTo>
                <a:cubicBezTo>
                  <a:pt x="2241" y="1078"/>
                  <a:pt x="2241" y="1078"/>
                  <a:pt x="2241" y="1005"/>
                </a:cubicBezTo>
                <a:close/>
                <a:moveTo>
                  <a:pt x="2364" y="1005"/>
                </a:moveTo>
                <a:cubicBezTo>
                  <a:pt x="2364" y="1005"/>
                  <a:pt x="2364" y="1005"/>
                  <a:pt x="2364" y="1005"/>
                </a:cubicBezTo>
                <a:cubicBezTo>
                  <a:pt x="2359" y="1005"/>
                  <a:pt x="2359" y="1005"/>
                  <a:pt x="2359" y="1005"/>
                </a:cubicBezTo>
                <a:cubicBezTo>
                  <a:pt x="2357" y="1006"/>
                  <a:pt x="2355" y="1007"/>
                  <a:pt x="2353" y="1008"/>
                </a:cubicBezTo>
                <a:cubicBezTo>
                  <a:pt x="2352" y="1010"/>
                  <a:pt x="2350" y="1010"/>
                  <a:pt x="2348" y="1011"/>
                </a:cubicBezTo>
                <a:cubicBezTo>
                  <a:pt x="2346" y="1013"/>
                  <a:pt x="2344" y="1013"/>
                  <a:pt x="2343" y="1014"/>
                </a:cubicBezTo>
                <a:cubicBezTo>
                  <a:pt x="2341" y="1015"/>
                  <a:pt x="2339" y="1015"/>
                  <a:pt x="2337" y="1015"/>
                </a:cubicBezTo>
                <a:cubicBezTo>
                  <a:pt x="2337" y="1015"/>
                  <a:pt x="2337" y="1015"/>
                  <a:pt x="2337" y="1026"/>
                </a:cubicBezTo>
                <a:cubicBezTo>
                  <a:pt x="2340" y="1025"/>
                  <a:pt x="2343" y="1024"/>
                  <a:pt x="2346" y="1023"/>
                </a:cubicBezTo>
                <a:cubicBezTo>
                  <a:pt x="2348" y="1022"/>
                  <a:pt x="2350" y="1021"/>
                  <a:pt x="2352" y="1019"/>
                </a:cubicBezTo>
                <a:cubicBezTo>
                  <a:pt x="2352" y="1019"/>
                  <a:pt x="2352" y="1019"/>
                  <a:pt x="2352" y="1078"/>
                </a:cubicBezTo>
                <a:cubicBezTo>
                  <a:pt x="2352" y="1078"/>
                  <a:pt x="2352" y="1078"/>
                  <a:pt x="2364" y="1078"/>
                </a:cubicBezTo>
                <a:cubicBezTo>
                  <a:pt x="2364" y="1078"/>
                  <a:pt x="2364" y="1078"/>
                  <a:pt x="2364" y="1005"/>
                </a:cubicBezTo>
                <a:close/>
                <a:moveTo>
                  <a:pt x="2411" y="1005"/>
                </a:moveTo>
                <a:cubicBezTo>
                  <a:pt x="2411" y="1005"/>
                  <a:pt x="2411" y="1005"/>
                  <a:pt x="2411" y="1005"/>
                </a:cubicBezTo>
                <a:cubicBezTo>
                  <a:pt x="2406" y="1005"/>
                  <a:pt x="2406" y="1005"/>
                  <a:pt x="2406" y="1005"/>
                </a:cubicBezTo>
                <a:cubicBezTo>
                  <a:pt x="2404" y="1006"/>
                  <a:pt x="2403" y="1007"/>
                  <a:pt x="2400" y="1008"/>
                </a:cubicBezTo>
                <a:cubicBezTo>
                  <a:pt x="2399" y="1010"/>
                  <a:pt x="2397" y="1010"/>
                  <a:pt x="2395" y="1011"/>
                </a:cubicBezTo>
                <a:cubicBezTo>
                  <a:pt x="2394" y="1013"/>
                  <a:pt x="2392" y="1013"/>
                  <a:pt x="2390" y="1014"/>
                </a:cubicBezTo>
                <a:cubicBezTo>
                  <a:pt x="2388" y="1015"/>
                  <a:pt x="2387" y="1015"/>
                  <a:pt x="2384" y="1015"/>
                </a:cubicBezTo>
                <a:cubicBezTo>
                  <a:pt x="2384" y="1015"/>
                  <a:pt x="2384" y="1015"/>
                  <a:pt x="2384" y="1026"/>
                </a:cubicBezTo>
                <a:cubicBezTo>
                  <a:pt x="2387" y="1025"/>
                  <a:pt x="2390" y="1024"/>
                  <a:pt x="2392" y="1023"/>
                </a:cubicBezTo>
                <a:cubicBezTo>
                  <a:pt x="2395" y="1022"/>
                  <a:pt x="2398" y="1021"/>
                  <a:pt x="2400" y="1019"/>
                </a:cubicBezTo>
                <a:cubicBezTo>
                  <a:pt x="2400" y="1019"/>
                  <a:pt x="2400" y="1019"/>
                  <a:pt x="2400" y="1078"/>
                </a:cubicBezTo>
                <a:cubicBezTo>
                  <a:pt x="2400" y="1078"/>
                  <a:pt x="2400" y="1078"/>
                  <a:pt x="2411" y="1078"/>
                </a:cubicBezTo>
                <a:cubicBezTo>
                  <a:pt x="2411" y="1078"/>
                  <a:pt x="2411" y="1078"/>
                  <a:pt x="2411" y="1005"/>
                </a:cubicBezTo>
                <a:close/>
                <a:moveTo>
                  <a:pt x="2459" y="1005"/>
                </a:moveTo>
                <a:cubicBezTo>
                  <a:pt x="2459" y="1005"/>
                  <a:pt x="2459" y="1005"/>
                  <a:pt x="2459" y="1005"/>
                </a:cubicBezTo>
                <a:cubicBezTo>
                  <a:pt x="2454" y="1005"/>
                  <a:pt x="2454" y="1005"/>
                  <a:pt x="2454" y="1005"/>
                </a:cubicBezTo>
                <a:cubicBezTo>
                  <a:pt x="2452" y="1006"/>
                  <a:pt x="2450" y="1007"/>
                  <a:pt x="2449" y="1008"/>
                </a:cubicBezTo>
                <a:cubicBezTo>
                  <a:pt x="2447" y="1010"/>
                  <a:pt x="2445" y="1010"/>
                  <a:pt x="2443" y="1011"/>
                </a:cubicBezTo>
                <a:cubicBezTo>
                  <a:pt x="2441" y="1013"/>
                  <a:pt x="2439" y="1013"/>
                  <a:pt x="2438" y="1014"/>
                </a:cubicBezTo>
                <a:cubicBezTo>
                  <a:pt x="2436" y="1015"/>
                  <a:pt x="2434" y="1015"/>
                  <a:pt x="2432" y="1015"/>
                </a:cubicBezTo>
                <a:cubicBezTo>
                  <a:pt x="2432" y="1015"/>
                  <a:pt x="2432" y="1015"/>
                  <a:pt x="2432" y="1026"/>
                </a:cubicBezTo>
                <a:cubicBezTo>
                  <a:pt x="2435" y="1025"/>
                  <a:pt x="2438" y="1024"/>
                  <a:pt x="2441" y="1023"/>
                </a:cubicBezTo>
                <a:cubicBezTo>
                  <a:pt x="2443" y="1022"/>
                  <a:pt x="2445" y="1021"/>
                  <a:pt x="2447" y="1019"/>
                </a:cubicBezTo>
                <a:cubicBezTo>
                  <a:pt x="2447" y="1019"/>
                  <a:pt x="2447" y="1019"/>
                  <a:pt x="2447" y="1078"/>
                </a:cubicBezTo>
                <a:cubicBezTo>
                  <a:pt x="2447" y="1078"/>
                  <a:pt x="2447" y="1078"/>
                  <a:pt x="2459" y="1078"/>
                </a:cubicBezTo>
                <a:cubicBezTo>
                  <a:pt x="2459" y="1078"/>
                  <a:pt x="2459" y="1078"/>
                  <a:pt x="2459" y="1005"/>
                </a:cubicBezTo>
                <a:close/>
                <a:moveTo>
                  <a:pt x="2505" y="1005"/>
                </a:moveTo>
                <a:cubicBezTo>
                  <a:pt x="2505" y="1005"/>
                  <a:pt x="2505" y="1005"/>
                  <a:pt x="2505" y="1005"/>
                </a:cubicBezTo>
                <a:cubicBezTo>
                  <a:pt x="2501" y="1005"/>
                  <a:pt x="2501" y="1005"/>
                  <a:pt x="2501" y="1005"/>
                </a:cubicBezTo>
                <a:cubicBezTo>
                  <a:pt x="2499" y="1006"/>
                  <a:pt x="2498" y="1007"/>
                  <a:pt x="2495" y="1008"/>
                </a:cubicBezTo>
                <a:cubicBezTo>
                  <a:pt x="2494" y="1010"/>
                  <a:pt x="2492" y="1010"/>
                  <a:pt x="2490" y="1011"/>
                </a:cubicBezTo>
                <a:cubicBezTo>
                  <a:pt x="2488" y="1012"/>
                  <a:pt x="2487" y="1013"/>
                  <a:pt x="2485" y="1013"/>
                </a:cubicBezTo>
                <a:cubicBezTo>
                  <a:pt x="2483" y="1014"/>
                  <a:pt x="2481" y="1015"/>
                  <a:pt x="2480" y="1015"/>
                </a:cubicBezTo>
                <a:cubicBezTo>
                  <a:pt x="2480" y="1015"/>
                  <a:pt x="2480" y="1015"/>
                  <a:pt x="2480" y="1026"/>
                </a:cubicBezTo>
                <a:cubicBezTo>
                  <a:pt x="2482" y="1025"/>
                  <a:pt x="2485" y="1023"/>
                  <a:pt x="2487" y="1023"/>
                </a:cubicBezTo>
                <a:cubicBezTo>
                  <a:pt x="2490" y="1022"/>
                  <a:pt x="2492" y="1021"/>
                  <a:pt x="2494" y="1019"/>
                </a:cubicBezTo>
                <a:cubicBezTo>
                  <a:pt x="2494" y="1019"/>
                  <a:pt x="2494" y="1019"/>
                  <a:pt x="2494" y="1078"/>
                </a:cubicBezTo>
                <a:cubicBezTo>
                  <a:pt x="2494" y="1078"/>
                  <a:pt x="2494" y="1078"/>
                  <a:pt x="2505" y="1078"/>
                </a:cubicBezTo>
                <a:cubicBezTo>
                  <a:pt x="2505" y="1078"/>
                  <a:pt x="2505" y="1078"/>
                  <a:pt x="2505" y="1005"/>
                </a:cubicBezTo>
                <a:close/>
                <a:moveTo>
                  <a:pt x="2262" y="1037"/>
                </a:moveTo>
                <a:cubicBezTo>
                  <a:pt x="2262" y="1037"/>
                  <a:pt x="2262" y="1037"/>
                  <a:pt x="2262" y="1037"/>
                </a:cubicBezTo>
                <a:cubicBezTo>
                  <a:pt x="2261" y="1045"/>
                  <a:pt x="2261" y="1045"/>
                  <a:pt x="2261" y="1045"/>
                </a:cubicBezTo>
                <a:cubicBezTo>
                  <a:pt x="2268" y="1046"/>
                  <a:pt x="2268" y="1049"/>
                  <a:pt x="2268" y="1051"/>
                </a:cubicBezTo>
                <a:cubicBezTo>
                  <a:pt x="2268" y="1053"/>
                  <a:pt x="2268" y="1056"/>
                  <a:pt x="2268" y="1058"/>
                </a:cubicBezTo>
                <a:cubicBezTo>
                  <a:pt x="2268" y="1061"/>
                  <a:pt x="2267" y="1063"/>
                  <a:pt x="2267" y="1065"/>
                </a:cubicBezTo>
                <a:cubicBezTo>
                  <a:pt x="2267" y="1075"/>
                  <a:pt x="2273" y="1078"/>
                  <a:pt x="2282" y="1078"/>
                </a:cubicBezTo>
                <a:cubicBezTo>
                  <a:pt x="2282" y="1078"/>
                  <a:pt x="2282" y="1078"/>
                  <a:pt x="2286" y="1078"/>
                </a:cubicBezTo>
                <a:cubicBezTo>
                  <a:pt x="2286" y="1078"/>
                  <a:pt x="2286" y="1078"/>
                  <a:pt x="2286" y="1069"/>
                </a:cubicBezTo>
                <a:cubicBezTo>
                  <a:pt x="2286" y="1069"/>
                  <a:pt x="2286" y="1069"/>
                  <a:pt x="2284" y="1069"/>
                </a:cubicBezTo>
                <a:cubicBezTo>
                  <a:pt x="2280" y="1069"/>
                  <a:pt x="2279" y="1066"/>
                  <a:pt x="2279" y="1063"/>
                </a:cubicBezTo>
                <a:cubicBezTo>
                  <a:pt x="2279" y="1062"/>
                  <a:pt x="2279" y="1060"/>
                  <a:pt x="2280" y="1058"/>
                </a:cubicBezTo>
                <a:cubicBezTo>
                  <a:pt x="2280" y="1057"/>
                  <a:pt x="2280" y="1055"/>
                  <a:pt x="2280" y="1052"/>
                </a:cubicBezTo>
                <a:cubicBezTo>
                  <a:pt x="2280" y="1045"/>
                  <a:pt x="2277" y="1042"/>
                  <a:pt x="2271" y="1041"/>
                </a:cubicBezTo>
                <a:cubicBezTo>
                  <a:pt x="2271" y="1041"/>
                  <a:pt x="2271" y="1041"/>
                  <a:pt x="2271" y="1041"/>
                </a:cubicBezTo>
                <a:cubicBezTo>
                  <a:pt x="2277" y="1040"/>
                  <a:pt x="2280" y="1037"/>
                  <a:pt x="2280" y="1030"/>
                </a:cubicBezTo>
                <a:cubicBezTo>
                  <a:pt x="2280" y="1027"/>
                  <a:pt x="2280" y="1026"/>
                  <a:pt x="2280" y="1024"/>
                </a:cubicBezTo>
                <a:cubicBezTo>
                  <a:pt x="2279" y="1022"/>
                  <a:pt x="2279" y="1020"/>
                  <a:pt x="2279" y="1019"/>
                </a:cubicBezTo>
                <a:cubicBezTo>
                  <a:pt x="2279" y="1016"/>
                  <a:pt x="2280" y="1013"/>
                  <a:pt x="2284" y="1013"/>
                </a:cubicBezTo>
                <a:cubicBezTo>
                  <a:pt x="2284" y="1013"/>
                  <a:pt x="2284" y="1013"/>
                  <a:pt x="2286" y="1013"/>
                </a:cubicBezTo>
                <a:cubicBezTo>
                  <a:pt x="2286" y="1013"/>
                  <a:pt x="2286" y="1013"/>
                  <a:pt x="2286" y="1004"/>
                </a:cubicBezTo>
                <a:cubicBezTo>
                  <a:pt x="2286" y="1004"/>
                  <a:pt x="2286" y="1004"/>
                  <a:pt x="2282" y="1004"/>
                </a:cubicBezTo>
                <a:cubicBezTo>
                  <a:pt x="2273" y="1004"/>
                  <a:pt x="2267" y="1008"/>
                  <a:pt x="2267" y="1017"/>
                </a:cubicBezTo>
                <a:cubicBezTo>
                  <a:pt x="2267" y="1019"/>
                  <a:pt x="2268" y="1022"/>
                  <a:pt x="2268" y="1024"/>
                </a:cubicBezTo>
                <a:cubicBezTo>
                  <a:pt x="2268" y="1026"/>
                  <a:pt x="2268" y="1029"/>
                  <a:pt x="2268" y="1031"/>
                </a:cubicBezTo>
                <a:cubicBezTo>
                  <a:pt x="2268" y="1033"/>
                  <a:pt x="2268" y="1037"/>
                  <a:pt x="2262" y="1037"/>
                </a:cubicBezTo>
                <a:close/>
                <a:moveTo>
                  <a:pt x="2316" y="1045"/>
                </a:moveTo>
                <a:cubicBezTo>
                  <a:pt x="2316" y="1045"/>
                  <a:pt x="2316" y="1045"/>
                  <a:pt x="2316" y="1045"/>
                </a:cubicBezTo>
                <a:cubicBezTo>
                  <a:pt x="2316" y="1037"/>
                  <a:pt x="2316" y="1037"/>
                  <a:pt x="2316" y="1037"/>
                </a:cubicBezTo>
                <a:cubicBezTo>
                  <a:pt x="2310" y="1037"/>
                  <a:pt x="2310" y="1033"/>
                  <a:pt x="2310" y="1031"/>
                </a:cubicBezTo>
                <a:cubicBezTo>
                  <a:pt x="2310" y="1029"/>
                  <a:pt x="2310" y="1026"/>
                  <a:pt x="2310" y="1024"/>
                </a:cubicBezTo>
                <a:cubicBezTo>
                  <a:pt x="2310" y="1022"/>
                  <a:pt x="2310" y="1019"/>
                  <a:pt x="2310" y="1017"/>
                </a:cubicBezTo>
                <a:cubicBezTo>
                  <a:pt x="2310" y="1008"/>
                  <a:pt x="2305" y="1004"/>
                  <a:pt x="2296" y="1004"/>
                </a:cubicBezTo>
                <a:cubicBezTo>
                  <a:pt x="2296" y="1004"/>
                  <a:pt x="2296" y="1004"/>
                  <a:pt x="2292" y="1004"/>
                </a:cubicBezTo>
                <a:cubicBezTo>
                  <a:pt x="2292" y="1004"/>
                  <a:pt x="2292" y="1004"/>
                  <a:pt x="2292" y="1013"/>
                </a:cubicBezTo>
                <a:cubicBezTo>
                  <a:pt x="2292" y="1013"/>
                  <a:pt x="2292" y="1013"/>
                  <a:pt x="2294" y="1013"/>
                </a:cubicBezTo>
                <a:cubicBezTo>
                  <a:pt x="2298" y="1013"/>
                  <a:pt x="2299" y="1016"/>
                  <a:pt x="2299" y="1019"/>
                </a:cubicBezTo>
                <a:cubicBezTo>
                  <a:pt x="2299" y="1020"/>
                  <a:pt x="2299" y="1022"/>
                  <a:pt x="2299" y="1024"/>
                </a:cubicBezTo>
                <a:cubicBezTo>
                  <a:pt x="2298" y="1026"/>
                  <a:pt x="2298" y="1027"/>
                  <a:pt x="2298" y="1030"/>
                </a:cubicBezTo>
                <a:cubicBezTo>
                  <a:pt x="2298" y="1037"/>
                  <a:pt x="2301" y="1040"/>
                  <a:pt x="2307" y="1041"/>
                </a:cubicBezTo>
                <a:cubicBezTo>
                  <a:pt x="2307" y="1041"/>
                  <a:pt x="2307" y="1041"/>
                  <a:pt x="2307" y="1041"/>
                </a:cubicBezTo>
                <a:cubicBezTo>
                  <a:pt x="2301" y="1042"/>
                  <a:pt x="2298" y="1045"/>
                  <a:pt x="2298" y="1052"/>
                </a:cubicBezTo>
                <a:cubicBezTo>
                  <a:pt x="2298" y="1055"/>
                  <a:pt x="2298" y="1057"/>
                  <a:pt x="2299" y="1058"/>
                </a:cubicBezTo>
                <a:cubicBezTo>
                  <a:pt x="2299" y="1060"/>
                  <a:pt x="2299" y="1062"/>
                  <a:pt x="2299" y="1063"/>
                </a:cubicBezTo>
                <a:cubicBezTo>
                  <a:pt x="2299" y="1066"/>
                  <a:pt x="2298" y="1069"/>
                  <a:pt x="2294" y="1069"/>
                </a:cubicBezTo>
                <a:cubicBezTo>
                  <a:pt x="2294" y="1069"/>
                  <a:pt x="2294" y="1069"/>
                  <a:pt x="2292" y="1069"/>
                </a:cubicBezTo>
                <a:cubicBezTo>
                  <a:pt x="2292" y="1069"/>
                  <a:pt x="2292" y="1069"/>
                  <a:pt x="2292" y="1078"/>
                </a:cubicBezTo>
                <a:cubicBezTo>
                  <a:pt x="2292" y="1078"/>
                  <a:pt x="2292" y="1078"/>
                  <a:pt x="2296" y="1078"/>
                </a:cubicBezTo>
                <a:cubicBezTo>
                  <a:pt x="2305" y="1078"/>
                  <a:pt x="2310" y="1075"/>
                  <a:pt x="2310" y="1065"/>
                </a:cubicBezTo>
                <a:cubicBezTo>
                  <a:pt x="2310" y="1063"/>
                  <a:pt x="2310" y="1061"/>
                  <a:pt x="2310" y="1058"/>
                </a:cubicBezTo>
                <a:cubicBezTo>
                  <a:pt x="2310" y="1056"/>
                  <a:pt x="2310" y="1053"/>
                  <a:pt x="2310" y="1051"/>
                </a:cubicBezTo>
                <a:cubicBezTo>
                  <a:pt x="2310" y="1049"/>
                  <a:pt x="2310" y="1046"/>
                  <a:pt x="2316" y="1045"/>
                </a:cubicBezTo>
                <a:close/>
                <a:moveTo>
                  <a:pt x="2644" y="1037"/>
                </a:moveTo>
                <a:cubicBezTo>
                  <a:pt x="2644" y="1037"/>
                  <a:pt x="2644" y="1037"/>
                  <a:pt x="2644" y="1037"/>
                </a:cubicBezTo>
                <a:cubicBezTo>
                  <a:pt x="2643" y="1045"/>
                  <a:pt x="2643" y="1045"/>
                  <a:pt x="2643" y="1045"/>
                </a:cubicBezTo>
                <a:cubicBezTo>
                  <a:pt x="2649" y="1046"/>
                  <a:pt x="2650" y="1049"/>
                  <a:pt x="2650" y="1051"/>
                </a:cubicBezTo>
                <a:cubicBezTo>
                  <a:pt x="2650" y="1053"/>
                  <a:pt x="2650" y="1056"/>
                  <a:pt x="2650" y="1058"/>
                </a:cubicBezTo>
                <a:cubicBezTo>
                  <a:pt x="2649" y="1061"/>
                  <a:pt x="2649" y="1063"/>
                  <a:pt x="2649" y="1065"/>
                </a:cubicBezTo>
                <a:cubicBezTo>
                  <a:pt x="2649" y="1075"/>
                  <a:pt x="2655" y="1078"/>
                  <a:pt x="2664" y="1078"/>
                </a:cubicBezTo>
                <a:cubicBezTo>
                  <a:pt x="2664" y="1078"/>
                  <a:pt x="2664" y="1078"/>
                  <a:pt x="2667" y="1078"/>
                </a:cubicBezTo>
                <a:cubicBezTo>
                  <a:pt x="2667" y="1078"/>
                  <a:pt x="2667" y="1078"/>
                  <a:pt x="2667" y="1069"/>
                </a:cubicBezTo>
                <a:cubicBezTo>
                  <a:pt x="2667" y="1069"/>
                  <a:pt x="2667" y="1069"/>
                  <a:pt x="2666" y="1069"/>
                </a:cubicBezTo>
                <a:cubicBezTo>
                  <a:pt x="2662" y="1069"/>
                  <a:pt x="2661" y="1066"/>
                  <a:pt x="2661" y="1063"/>
                </a:cubicBezTo>
                <a:cubicBezTo>
                  <a:pt x="2661" y="1062"/>
                  <a:pt x="2661" y="1060"/>
                  <a:pt x="2661" y="1058"/>
                </a:cubicBezTo>
                <a:cubicBezTo>
                  <a:pt x="2661" y="1057"/>
                  <a:pt x="2662" y="1055"/>
                  <a:pt x="2662" y="1052"/>
                </a:cubicBezTo>
                <a:cubicBezTo>
                  <a:pt x="2662" y="1045"/>
                  <a:pt x="2659" y="1042"/>
                  <a:pt x="2653" y="1041"/>
                </a:cubicBezTo>
                <a:cubicBezTo>
                  <a:pt x="2653" y="1041"/>
                  <a:pt x="2653" y="1041"/>
                  <a:pt x="2653" y="1041"/>
                </a:cubicBezTo>
                <a:cubicBezTo>
                  <a:pt x="2659" y="1040"/>
                  <a:pt x="2662" y="1037"/>
                  <a:pt x="2662" y="1030"/>
                </a:cubicBezTo>
                <a:cubicBezTo>
                  <a:pt x="2662" y="1027"/>
                  <a:pt x="2661" y="1026"/>
                  <a:pt x="2661" y="1024"/>
                </a:cubicBezTo>
                <a:cubicBezTo>
                  <a:pt x="2661" y="1022"/>
                  <a:pt x="2661" y="1020"/>
                  <a:pt x="2661" y="1019"/>
                </a:cubicBezTo>
                <a:cubicBezTo>
                  <a:pt x="2661" y="1016"/>
                  <a:pt x="2662" y="1013"/>
                  <a:pt x="2666" y="1013"/>
                </a:cubicBezTo>
                <a:cubicBezTo>
                  <a:pt x="2666" y="1013"/>
                  <a:pt x="2666" y="1013"/>
                  <a:pt x="2667" y="1013"/>
                </a:cubicBezTo>
                <a:cubicBezTo>
                  <a:pt x="2667" y="1013"/>
                  <a:pt x="2667" y="1013"/>
                  <a:pt x="2667" y="1004"/>
                </a:cubicBezTo>
                <a:cubicBezTo>
                  <a:pt x="2667" y="1004"/>
                  <a:pt x="2667" y="1004"/>
                  <a:pt x="2664" y="1004"/>
                </a:cubicBezTo>
                <a:cubicBezTo>
                  <a:pt x="2655" y="1004"/>
                  <a:pt x="2649" y="1008"/>
                  <a:pt x="2649" y="1017"/>
                </a:cubicBezTo>
                <a:cubicBezTo>
                  <a:pt x="2649" y="1019"/>
                  <a:pt x="2649" y="1022"/>
                  <a:pt x="2649" y="1024"/>
                </a:cubicBezTo>
                <a:cubicBezTo>
                  <a:pt x="2650" y="1026"/>
                  <a:pt x="2650" y="1029"/>
                  <a:pt x="2650" y="1031"/>
                </a:cubicBezTo>
                <a:cubicBezTo>
                  <a:pt x="2650" y="1033"/>
                  <a:pt x="2649" y="1037"/>
                  <a:pt x="2644" y="1037"/>
                </a:cubicBezTo>
                <a:close/>
                <a:moveTo>
                  <a:pt x="2698" y="1045"/>
                </a:moveTo>
                <a:cubicBezTo>
                  <a:pt x="2698" y="1045"/>
                  <a:pt x="2698" y="1045"/>
                  <a:pt x="2698" y="1045"/>
                </a:cubicBezTo>
                <a:cubicBezTo>
                  <a:pt x="2698" y="1037"/>
                  <a:pt x="2698" y="1037"/>
                  <a:pt x="2698" y="1037"/>
                </a:cubicBezTo>
                <a:cubicBezTo>
                  <a:pt x="2692" y="1037"/>
                  <a:pt x="2691" y="1033"/>
                  <a:pt x="2691" y="1031"/>
                </a:cubicBezTo>
                <a:cubicBezTo>
                  <a:pt x="2691" y="1029"/>
                  <a:pt x="2691" y="1026"/>
                  <a:pt x="2692" y="1024"/>
                </a:cubicBezTo>
                <a:cubicBezTo>
                  <a:pt x="2692" y="1022"/>
                  <a:pt x="2692" y="1019"/>
                  <a:pt x="2692" y="1017"/>
                </a:cubicBezTo>
                <a:cubicBezTo>
                  <a:pt x="2692" y="1008"/>
                  <a:pt x="2687" y="1004"/>
                  <a:pt x="2678" y="1004"/>
                </a:cubicBezTo>
                <a:cubicBezTo>
                  <a:pt x="2678" y="1004"/>
                  <a:pt x="2678" y="1004"/>
                  <a:pt x="2674" y="1004"/>
                </a:cubicBezTo>
                <a:cubicBezTo>
                  <a:pt x="2674" y="1004"/>
                  <a:pt x="2674" y="1004"/>
                  <a:pt x="2674" y="1013"/>
                </a:cubicBezTo>
                <a:cubicBezTo>
                  <a:pt x="2674" y="1013"/>
                  <a:pt x="2674" y="1013"/>
                  <a:pt x="2675" y="1013"/>
                </a:cubicBezTo>
                <a:cubicBezTo>
                  <a:pt x="2679" y="1013"/>
                  <a:pt x="2681" y="1016"/>
                  <a:pt x="2681" y="1019"/>
                </a:cubicBezTo>
                <a:cubicBezTo>
                  <a:pt x="2681" y="1020"/>
                  <a:pt x="2680" y="1022"/>
                  <a:pt x="2680" y="1024"/>
                </a:cubicBezTo>
                <a:cubicBezTo>
                  <a:pt x="2680" y="1026"/>
                  <a:pt x="2680" y="1027"/>
                  <a:pt x="2680" y="1030"/>
                </a:cubicBezTo>
                <a:cubicBezTo>
                  <a:pt x="2680" y="1037"/>
                  <a:pt x="2682" y="1040"/>
                  <a:pt x="2688" y="1041"/>
                </a:cubicBezTo>
                <a:cubicBezTo>
                  <a:pt x="2688" y="1041"/>
                  <a:pt x="2688" y="1041"/>
                  <a:pt x="2688" y="1041"/>
                </a:cubicBezTo>
                <a:cubicBezTo>
                  <a:pt x="2682" y="1042"/>
                  <a:pt x="2680" y="1045"/>
                  <a:pt x="2680" y="1052"/>
                </a:cubicBezTo>
                <a:cubicBezTo>
                  <a:pt x="2680" y="1055"/>
                  <a:pt x="2680" y="1057"/>
                  <a:pt x="2680" y="1058"/>
                </a:cubicBezTo>
                <a:cubicBezTo>
                  <a:pt x="2680" y="1060"/>
                  <a:pt x="2681" y="1062"/>
                  <a:pt x="2681" y="1063"/>
                </a:cubicBezTo>
                <a:cubicBezTo>
                  <a:pt x="2681" y="1066"/>
                  <a:pt x="2679" y="1069"/>
                  <a:pt x="2675" y="1069"/>
                </a:cubicBezTo>
                <a:cubicBezTo>
                  <a:pt x="2675" y="1069"/>
                  <a:pt x="2675" y="1069"/>
                  <a:pt x="2674" y="1069"/>
                </a:cubicBezTo>
                <a:cubicBezTo>
                  <a:pt x="2674" y="1069"/>
                  <a:pt x="2674" y="1069"/>
                  <a:pt x="2674" y="1078"/>
                </a:cubicBezTo>
                <a:cubicBezTo>
                  <a:pt x="2674" y="1078"/>
                  <a:pt x="2674" y="1078"/>
                  <a:pt x="2678" y="1078"/>
                </a:cubicBezTo>
                <a:cubicBezTo>
                  <a:pt x="2686" y="1078"/>
                  <a:pt x="2692" y="1075"/>
                  <a:pt x="2692" y="1065"/>
                </a:cubicBezTo>
                <a:cubicBezTo>
                  <a:pt x="2692" y="1063"/>
                  <a:pt x="2692" y="1061"/>
                  <a:pt x="2692" y="1058"/>
                </a:cubicBezTo>
                <a:cubicBezTo>
                  <a:pt x="2691" y="1056"/>
                  <a:pt x="2691" y="1053"/>
                  <a:pt x="2691" y="1051"/>
                </a:cubicBezTo>
                <a:cubicBezTo>
                  <a:pt x="2691" y="1049"/>
                  <a:pt x="2692" y="1046"/>
                  <a:pt x="2698" y="1045"/>
                </a:cubicBezTo>
                <a:close/>
                <a:moveTo>
                  <a:pt x="2745" y="1005"/>
                </a:moveTo>
                <a:cubicBezTo>
                  <a:pt x="2745" y="1005"/>
                  <a:pt x="2745" y="1005"/>
                  <a:pt x="2745" y="1005"/>
                </a:cubicBezTo>
                <a:cubicBezTo>
                  <a:pt x="2740" y="1005"/>
                  <a:pt x="2740" y="1005"/>
                  <a:pt x="2740" y="1005"/>
                </a:cubicBezTo>
                <a:cubicBezTo>
                  <a:pt x="2738" y="1006"/>
                  <a:pt x="2737" y="1007"/>
                  <a:pt x="2735" y="1008"/>
                </a:cubicBezTo>
                <a:cubicBezTo>
                  <a:pt x="2733" y="1010"/>
                  <a:pt x="2731" y="1010"/>
                  <a:pt x="2729" y="1011"/>
                </a:cubicBezTo>
                <a:cubicBezTo>
                  <a:pt x="2727" y="1012"/>
                  <a:pt x="2726" y="1013"/>
                  <a:pt x="2724" y="1013"/>
                </a:cubicBezTo>
                <a:cubicBezTo>
                  <a:pt x="2722" y="1014"/>
                  <a:pt x="2721" y="1015"/>
                  <a:pt x="2719" y="1015"/>
                </a:cubicBezTo>
                <a:cubicBezTo>
                  <a:pt x="2719" y="1015"/>
                  <a:pt x="2719" y="1015"/>
                  <a:pt x="2719" y="1026"/>
                </a:cubicBezTo>
                <a:cubicBezTo>
                  <a:pt x="2721" y="1025"/>
                  <a:pt x="2724" y="1023"/>
                  <a:pt x="2727" y="1023"/>
                </a:cubicBezTo>
                <a:cubicBezTo>
                  <a:pt x="2729" y="1022"/>
                  <a:pt x="2732" y="1021"/>
                  <a:pt x="2734" y="1019"/>
                </a:cubicBezTo>
                <a:cubicBezTo>
                  <a:pt x="2734" y="1019"/>
                  <a:pt x="2734" y="1019"/>
                  <a:pt x="2734" y="1078"/>
                </a:cubicBezTo>
                <a:cubicBezTo>
                  <a:pt x="2734" y="1078"/>
                  <a:pt x="2734" y="1078"/>
                  <a:pt x="2745" y="1078"/>
                </a:cubicBezTo>
                <a:cubicBezTo>
                  <a:pt x="2745" y="1078"/>
                  <a:pt x="2745" y="1078"/>
                  <a:pt x="2745" y="1005"/>
                </a:cubicBezTo>
                <a:close/>
                <a:moveTo>
                  <a:pt x="2792" y="1005"/>
                </a:moveTo>
                <a:cubicBezTo>
                  <a:pt x="2792" y="1005"/>
                  <a:pt x="2792" y="1005"/>
                  <a:pt x="2792" y="1005"/>
                </a:cubicBezTo>
                <a:cubicBezTo>
                  <a:pt x="2787" y="1005"/>
                  <a:pt x="2787" y="1005"/>
                  <a:pt x="2787" y="1005"/>
                </a:cubicBezTo>
                <a:cubicBezTo>
                  <a:pt x="2785" y="1006"/>
                  <a:pt x="2784" y="1007"/>
                  <a:pt x="2782" y="1008"/>
                </a:cubicBezTo>
                <a:cubicBezTo>
                  <a:pt x="2780" y="1010"/>
                  <a:pt x="2778" y="1010"/>
                  <a:pt x="2777" y="1011"/>
                </a:cubicBezTo>
                <a:cubicBezTo>
                  <a:pt x="2775" y="1013"/>
                  <a:pt x="2773" y="1013"/>
                  <a:pt x="2772" y="1014"/>
                </a:cubicBezTo>
                <a:cubicBezTo>
                  <a:pt x="2770" y="1015"/>
                  <a:pt x="2768" y="1015"/>
                  <a:pt x="2766" y="1015"/>
                </a:cubicBezTo>
                <a:cubicBezTo>
                  <a:pt x="2766" y="1015"/>
                  <a:pt x="2766" y="1015"/>
                  <a:pt x="2766" y="1026"/>
                </a:cubicBezTo>
                <a:cubicBezTo>
                  <a:pt x="2769" y="1025"/>
                  <a:pt x="2772" y="1024"/>
                  <a:pt x="2774" y="1023"/>
                </a:cubicBezTo>
                <a:cubicBezTo>
                  <a:pt x="2777" y="1022"/>
                  <a:pt x="2779" y="1021"/>
                  <a:pt x="2781" y="1019"/>
                </a:cubicBezTo>
                <a:cubicBezTo>
                  <a:pt x="2781" y="1019"/>
                  <a:pt x="2781" y="1019"/>
                  <a:pt x="2781" y="1078"/>
                </a:cubicBezTo>
                <a:cubicBezTo>
                  <a:pt x="2781" y="1078"/>
                  <a:pt x="2781" y="1078"/>
                  <a:pt x="2792" y="1078"/>
                </a:cubicBezTo>
                <a:cubicBezTo>
                  <a:pt x="2792" y="1078"/>
                  <a:pt x="2792" y="1078"/>
                  <a:pt x="2792" y="1005"/>
                </a:cubicBezTo>
                <a:close/>
                <a:moveTo>
                  <a:pt x="2839" y="1005"/>
                </a:moveTo>
                <a:cubicBezTo>
                  <a:pt x="2839" y="1005"/>
                  <a:pt x="2839" y="1005"/>
                  <a:pt x="2839" y="1005"/>
                </a:cubicBezTo>
                <a:cubicBezTo>
                  <a:pt x="2835" y="1005"/>
                  <a:pt x="2835" y="1005"/>
                  <a:pt x="2835" y="1005"/>
                </a:cubicBezTo>
                <a:cubicBezTo>
                  <a:pt x="2833" y="1006"/>
                  <a:pt x="2831" y="1007"/>
                  <a:pt x="2829" y="1008"/>
                </a:cubicBezTo>
                <a:cubicBezTo>
                  <a:pt x="2828" y="1010"/>
                  <a:pt x="2825" y="1010"/>
                  <a:pt x="2824" y="1011"/>
                </a:cubicBezTo>
                <a:cubicBezTo>
                  <a:pt x="2822" y="1013"/>
                  <a:pt x="2820" y="1013"/>
                  <a:pt x="2818" y="1014"/>
                </a:cubicBezTo>
                <a:cubicBezTo>
                  <a:pt x="2817" y="1015"/>
                  <a:pt x="2815" y="1015"/>
                  <a:pt x="2813" y="1015"/>
                </a:cubicBezTo>
                <a:cubicBezTo>
                  <a:pt x="2813" y="1015"/>
                  <a:pt x="2813" y="1015"/>
                  <a:pt x="2813" y="1026"/>
                </a:cubicBezTo>
                <a:cubicBezTo>
                  <a:pt x="2816" y="1025"/>
                  <a:pt x="2819" y="1024"/>
                  <a:pt x="2821" y="1023"/>
                </a:cubicBezTo>
                <a:cubicBezTo>
                  <a:pt x="2823" y="1022"/>
                  <a:pt x="2826" y="1021"/>
                  <a:pt x="2828" y="1019"/>
                </a:cubicBezTo>
                <a:cubicBezTo>
                  <a:pt x="2828" y="1019"/>
                  <a:pt x="2828" y="1019"/>
                  <a:pt x="2828" y="1078"/>
                </a:cubicBezTo>
                <a:cubicBezTo>
                  <a:pt x="2828" y="1078"/>
                  <a:pt x="2828" y="1078"/>
                  <a:pt x="2839" y="1078"/>
                </a:cubicBezTo>
                <a:cubicBezTo>
                  <a:pt x="2839" y="1078"/>
                  <a:pt x="2839" y="1078"/>
                  <a:pt x="2839" y="1005"/>
                </a:cubicBezTo>
                <a:close/>
                <a:moveTo>
                  <a:pt x="2962" y="1005"/>
                </a:moveTo>
                <a:cubicBezTo>
                  <a:pt x="2962" y="1005"/>
                  <a:pt x="2962" y="1005"/>
                  <a:pt x="2962" y="1005"/>
                </a:cubicBezTo>
                <a:cubicBezTo>
                  <a:pt x="2957" y="1005"/>
                  <a:pt x="2957" y="1005"/>
                  <a:pt x="2957" y="1005"/>
                </a:cubicBezTo>
                <a:cubicBezTo>
                  <a:pt x="2955" y="1006"/>
                  <a:pt x="2953" y="1007"/>
                  <a:pt x="2951" y="1008"/>
                </a:cubicBezTo>
                <a:cubicBezTo>
                  <a:pt x="2950" y="1010"/>
                  <a:pt x="2948" y="1010"/>
                  <a:pt x="2946" y="1011"/>
                </a:cubicBezTo>
                <a:cubicBezTo>
                  <a:pt x="2944" y="1013"/>
                  <a:pt x="2942" y="1013"/>
                  <a:pt x="2941" y="1014"/>
                </a:cubicBezTo>
                <a:cubicBezTo>
                  <a:pt x="2939" y="1015"/>
                  <a:pt x="2937" y="1015"/>
                  <a:pt x="2935" y="1015"/>
                </a:cubicBezTo>
                <a:cubicBezTo>
                  <a:pt x="2935" y="1015"/>
                  <a:pt x="2935" y="1015"/>
                  <a:pt x="2935" y="1026"/>
                </a:cubicBezTo>
                <a:cubicBezTo>
                  <a:pt x="2938" y="1025"/>
                  <a:pt x="2941" y="1024"/>
                  <a:pt x="2944" y="1023"/>
                </a:cubicBezTo>
                <a:cubicBezTo>
                  <a:pt x="2946" y="1022"/>
                  <a:pt x="2948" y="1021"/>
                  <a:pt x="2950" y="1019"/>
                </a:cubicBezTo>
                <a:cubicBezTo>
                  <a:pt x="2950" y="1019"/>
                  <a:pt x="2950" y="1019"/>
                  <a:pt x="2950" y="1078"/>
                </a:cubicBezTo>
                <a:cubicBezTo>
                  <a:pt x="2950" y="1078"/>
                  <a:pt x="2950" y="1078"/>
                  <a:pt x="2962" y="1078"/>
                </a:cubicBezTo>
                <a:cubicBezTo>
                  <a:pt x="2962" y="1078"/>
                  <a:pt x="2962" y="1078"/>
                  <a:pt x="2962" y="1005"/>
                </a:cubicBezTo>
                <a:close/>
                <a:moveTo>
                  <a:pt x="3009" y="1005"/>
                </a:moveTo>
                <a:cubicBezTo>
                  <a:pt x="3009" y="1005"/>
                  <a:pt x="3009" y="1005"/>
                  <a:pt x="3009" y="1005"/>
                </a:cubicBezTo>
                <a:cubicBezTo>
                  <a:pt x="3004" y="1005"/>
                  <a:pt x="3004" y="1005"/>
                  <a:pt x="3004" y="1005"/>
                </a:cubicBezTo>
                <a:cubicBezTo>
                  <a:pt x="3002" y="1006"/>
                  <a:pt x="3001" y="1007"/>
                  <a:pt x="2999" y="1008"/>
                </a:cubicBezTo>
                <a:cubicBezTo>
                  <a:pt x="2997" y="1010"/>
                  <a:pt x="2995" y="1010"/>
                  <a:pt x="2993" y="1011"/>
                </a:cubicBezTo>
                <a:cubicBezTo>
                  <a:pt x="2992" y="1013"/>
                  <a:pt x="2990" y="1013"/>
                  <a:pt x="2988" y="1014"/>
                </a:cubicBezTo>
                <a:cubicBezTo>
                  <a:pt x="2986" y="1015"/>
                  <a:pt x="2985" y="1015"/>
                  <a:pt x="2983" y="1015"/>
                </a:cubicBezTo>
                <a:cubicBezTo>
                  <a:pt x="2983" y="1015"/>
                  <a:pt x="2983" y="1015"/>
                  <a:pt x="2983" y="1026"/>
                </a:cubicBezTo>
                <a:cubicBezTo>
                  <a:pt x="2985" y="1025"/>
                  <a:pt x="2988" y="1024"/>
                  <a:pt x="2991" y="1023"/>
                </a:cubicBezTo>
                <a:cubicBezTo>
                  <a:pt x="2993" y="1022"/>
                  <a:pt x="2996" y="1021"/>
                  <a:pt x="2998" y="1019"/>
                </a:cubicBezTo>
                <a:cubicBezTo>
                  <a:pt x="2998" y="1019"/>
                  <a:pt x="2998" y="1019"/>
                  <a:pt x="2998" y="1078"/>
                </a:cubicBezTo>
                <a:cubicBezTo>
                  <a:pt x="2998" y="1078"/>
                  <a:pt x="2998" y="1078"/>
                  <a:pt x="3009" y="1078"/>
                </a:cubicBezTo>
                <a:cubicBezTo>
                  <a:pt x="3009" y="1078"/>
                  <a:pt x="3009" y="1078"/>
                  <a:pt x="3009" y="1005"/>
                </a:cubicBezTo>
                <a:close/>
                <a:moveTo>
                  <a:pt x="3056" y="1005"/>
                </a:moveTo>
                <a:cubicBezTo>
                  <a:pt x="3056" y="1005"/>
                  <a:pt x="3056" y="1005"/>
                  <a:pt x="3056" y="1005"/>
                </a:cubicBezTo>
                <a:cubicBezTo>
                  <a:pt x="3052" y="1005"/>
                  <a:pt x="3052" y="1005"/>
                  <a:pt x="3052" y="1005"/>
                </a:cubicBezTo>
                <a:cubicBezTo>
                  <a:pt x="3050" y="1006"/>
                  <a:pt x="3048" y="1007"/>
                  <a:pt x="3046" y="1008"/>
                </a:cubicBezTo>
                <a:cubicBezTo>
                  <a:pt x="3044" y="1010"/>
                  <a:pt x="3042" y="1010"/>
                  <a:pt x="3041" y="1011"/>
                </a:cubicBezTo>
                <a:cubicBezTo>
                  <a:pt x="3039" y="1012"/>
                  <a:pt x="3037" y="1013"/>
                  <a:pt x="3035" y="1013"/>
                </a:cubicBezTo>
                <a:cubicBezTo>
                  <a:pt x="3034" y="1014"/>
                  <a:pt x="3032" y="1015"/>
                  <a:pt x="3030" y="1015"/>
                </a:cubicBezTo>
                <a:cubicBezTo>
                  <a:pt x="3030" y="1015"/>
                  <a:pt x="3030" y="1015"/>
                  <a:pt x="3030" y="1026"/>
                </a:cubicBezTo>
                <a:cubicBezTo>
                  <a:pt x="3033" y="1025"/>
                  <a:pt x="3036" y="1023"/>
                  <a:pt x="3038" y="1023"/>
                </a:cubicBezTo>
                <a:cubicBezTo>
                  <a:pt x="3040" y="1022"/>
                  <a:pt x="3043" y="1021"/>
                  <a:pt x="3044" y="1019"/>
                </a:cubicBezTo>
                <a:cubicBezTo>
                  <a:pt x="3044" y="1019"/>
                  <a:pt x="3044" y="1019"/>
                  <a:pt x="3044" y="1078"/>
                </a:cubicBezTo>
                <a:cubicBezTo>
                  <a:pt x="3044" y="1078"/>
                  <a:pt x="3044" y="1078"/>
                  <a:pt x="3056" y="1078"/>
                </a:cubicBezTo>
                <a:cubicBezTo>
                  <a:pt x="3056" y="1078"/>
                  <a:pt x="3056" y="1078"/>
                  <a:pt x="3056" y="1005"/>
                </a:cubicBezTo>
                <a:close/>
                <a:moveTo>
                  <a:pt x="3101" y="1078"/>
                </a:moveTo>
                <a:cubicBezTo>
                  <a:pt x="3093" y="1078"/>
                  <a:pt x="3087" y="1075"/>
                  <a:pt x="3082" y="1069"/>
                </a:cubicBezTo>
                <a:cubicBezTo>
                  <a:pt x="3079" y="1063"/>
                  <a:pt x="3077" y="1054"/>
                  <a:pt x="3077" y="1042"/>
                </a:cubicBezTo>
                <a:cubicBezTo>
                  <a:pt x="3077" y="1028"/>
                  <a:pt x="3079" y="1019"/>
                  <a:pt x="3083" y="1012"/>
                </a:cubicBezTo>
                <a:cubicBezTo>
                  <a:pt x="3088" y="1006"/>
                  <a:pt x="3094" y="1002"/>
                  <a:pt x="3103" y="1002"/>
                </a:cubicBezTo>
                <a:cubicBezTo>
                  <a:pt x="3119" y="1002"/>
                  <a:pt x="3127" y="1015"/>
                  <a:pt x="3127" y="1040"/>
                </a:cubicBezTo>
                <a:cubicBezTo>
                  <a:pt x="3127" y="1052"/>
                  <a:pt x="3125" y="1062"/>
                  <a:pt x="3120" y="1068"/>
                </a:cubicBezTo>
                <a:cubicBezTo>
                  <a:pt x="3115" y="1075"/>
                  <a:pt x="3109" y="1078"/>
                  <a:pt x="3101" y="1078"/>
                </a:cubicBezTo>
                <a:close/>
                <a:moveTo>
                  <a:pt x="3102" y="1012"/>
                </a:moveTo>
                <a:cubicBezTo>
                  <a:pt x="3093" y="1012"/>
                  <a:pt x="3088" y="1022"/>
                  <a:pt x="3088" y="1042"/>
                </a:cubicBezTo>
                <a:cubicBezTo>
                  <a:pt x="3088" y="1060"/>
                  <a:pt x="3093" y="1068"/>
                  <a:pt x="3101" y="1068"/>
                </a:cubicBezTo>
                <a:cubicBezTo>
                  <a:pt x="3110" y="1068"/>
                  <a:pt x="3115" y="1060"/>
                  <a:pt x="3115" y="1041"/>
                </a:cubicBezTo>
                <a:cubicBezTo>
                  <a:pt x="3115" y="1021"/>
                  <a:pt x="3110" y="1012"/>
                  <a:pt x="3102" y="1012"/>
                </a:cubicBezTo>
                <a:close/>
                <a:moveTo>
                  <a:pt x="3172" y="1078"/>
                </a:moveTo>
                <a:cubicBezTo>
                  <a:pt x="3164" y="1078"/>
                  <a:pt x="3158" y="1075"/>
                  <a:pt x="3154" y="1069"/>
                </a:cubicBezTo>
                <a:cubicBezTo>
                  <a:pt x="3149" y="1063"/>
                  <a:pt x="3147" y="1054"/>
                  <a:pt x="3147" y="1042"/>
                </a:cubicBezTo>
                <a:cubicBezTo>
                  <a:pt x="3147" y="1028"/>
                  <a:pt x="3149" y="1019"/>
                  <a:pt x="3154" y="1012"/>
                </a:cubicBezTo>
                <a:cubicBezTo>
                  <a:pt x="3158" y="1006"/>
                  <a:pt x="3165" y="1002"/>
                  <a:pt x="3174" y="1002"/>
                </a:cubicBezTo>
                <a:cubicBezTo>
                  <a:pt x="3190" y="1002"/>
                  <a:pt x="3198" y="1015"/>
                  <a:pt x="3198" y="1040"/>
                </a:cubicBezTo>
                <a:cubicBezTo>
                  <a:pt x="3198" y="1052"/>
                  <a:pt x="3196" y="1062"/>
                  <a:pt x="3191" y="1068"/>
                </a:cubicBezTo>
                <a:cubicBezTo>
                  <a:pt x="3186" y="1075"/>
                  <a:pt x="3180" y="1078"/>
                  <a:pt x="3172" y="1078"/>
                </a:cubicBezTo>
                <a:close/>
                <a:moveTo>
                  <a:pt x="3173" y="1012"/>
                </a:moveTo>
                <a:cubicBezTo>
                  <a:pt x="3164" y="1012"/>
                  <a:pt x="3159" y="1022"/>
                  <a:pt x="3159" y="1042"/>
                </a:cubicBezTo>
                <a:cubicBezTo>
                  <a:pt x="3159" y="1060"/>
                  <a:pt x="3163" y="1068"/>
                  <a:pt x="3172" y="1068"/>
                </a:cubicBezTo>
                <a:cubicBezTo>
                  <a:pt x="3181" y="1068"/>
                  <a:pt x="3186" y="1060"/>
                  <a:pt x="3186" y="1041"/>
                </a:cubicBezTo>
                <a:cubicBezTo>
                  <a:pt x="3186" y="1021"/>
                  <a:pt x="3181" y="1012"/>
                  <a:pt x="3173" y="1012"/>
                </a:cubicBezTo>
                <a:close/>
                <a:moveTo>
                  <a:pt x="2860" y="1037"/>
                </a:moveTo>
                <a:cubicBezTo>
                  <a:pt x="2860" y="1037"/>
                  <a:pt x="2860" y="1037"/>
                  <a:pt x="2860" y="1037"/>
                </a:cubicBezTo>
                <a:cubicBezTo>
                  <a:pt x="2860" y="1045"/>
                  <a:pt x="2860" y="1045"/>
                  <a:pt x="2860" y="1045"/>
                </a:cubicBezTo>
                <a:cubicBezTo>
                  <a:pt x="2866" y="1046"/>
                  <a:pt x="2867" y="1049"/>
                  <a:pt x="2867" y="1051"/>
                </a:cubicBezTo>
                <a:cubicBezTo>
                  <a:pt x="2867" y="1053"/>
                  <a:pt x="2866" y="1056"/>
                  <a:pt x="2866" y="1058"/>
                </a:cubicBezTo>
                <a:cubicBezTo>
                  <a:pt x="2866" y="1061"/>
                  <a:pt x="2866" y="1063"/>
                  <a:pt x="2866" y="1065"/>
                </a:cubicBezTo>
                <a:cubicBezTo>
                  <a:pt x="2866" y="1075"/>
                  <a:pt x="2872" y="1078"/>
                  <a:pt x="2880" y="1078"/>
                </a:cubicBezTo>
                <a:cubicBezTo>
                  <a:pt x="2880" y="1078"/>
                  <a:pt x="2880" y="1078"/>
                  <a:pt x="2884" y="1078"/>
                </a:cubicBezTo>
                <a:cubicBezTo>
                  <a:pt x="2884" y="1078"/>
                  <a:pt x="2884" y="1078"/>
                  <a:pt x="2884" y="1069"/>
                </a:cubicBezTo>
                <a:cubicBezTo>
                  <a:pt x="2884" y="1069"/>
                  <a:pt x="2884" y="1069"/>
                  <a:pt x="2882" y="1069"/>
                </a:cubicBezTo>
                <a:cubicBezTo>
                  <a:pt x="2879" y="1069"/>
                  <a:pt x="2877" y="1066"/>
                  <a:pt x="2877" y="1063"/>
                </a:cubicBezTo>
                <a:cubicBezTo>
                  <a:pt x="2877" y="1062"/>
                  <a:pt x="2877" y="1060"/>
                  <a:pt x="2878" y="1058"/>
                </a:cubicBezTo>
                <a:cubicBezTo>
                  <a:pt x="2878" y="1057"/>
                  <a:pt x="2878" y="1055"/>
                  <a:pt x="2878" y="1052"/>
                </a:cubicBezTo>
                <a:cubicBezTo>
                  <a:pt x="2878" y="1045"/>
                  <a:pt x="2875" y="1042"/>
                  <a:pt x="2870" y="1041"/>
                </a:cubicBezTo>
                <a:cubicBezTo>
                  <a:pt x="2870" y="1041"/>
                  <a:pt x="2870" y="1041"/>
                  <a:pt x="2870" y="1041"/>
                </a:cubicBezTo>
                <a:cubicBezTo>
                  <a:pt x="2875" y="1040"/>
                  <a:pt x="2878" y="1037"/>
                  <a:pt x="2878" y="1030"/>
                </a:cubicBezTo>
                <a:cubicBezTo>
                  <a:pt x="2878" y="1027"/>
                  <a:pt x="2878" y="1026"/>
                  <a:pt x="2878" y="1024"/>
                </a:cubicBezTo>
                <a:cubicBezTo>
                  <a:pt x="2877" y="1022"/>
                  <a:pt x="2877" y="1020"/>
                  <a:pt x="2877" y="1019"/>
                </a:cubicBezTo>
                <a:cubicBezTo>
                  <a:pt x="2877" y="1016"/>
                  <a:pt x="2879" y="1013"/>
                  <a:pt x="2882" y="1013"/>
                </a:cubicBezTo>
                <a:cubicBezTo>
                  <a:pt x="2882" y="1013"/>
                  <a:pt x="2882" y="1013"/>
                  <a:pt x="2884" y="1013"/>
                </a:cubicBezTo>
                <a:cubicBezTo>
                  <a:pt x="2884" y="1013"/>
                  <a:pt x="2884" y="1013"/>
                  <a:pt x="2884" y="1004"/>
                </a:cubicBezTo>
                <a:cubicBezTo>
                  <a:pt x="2884" y="1004"/>
                  <a:pt x="2884" y="1004"/>
                  <a:pt x="2880" y="1004"/>
                </a:cubicBezTo>
                <a:cubicBezTo>
                  <a:pt x="2871" y="1004"/>
                  <a:pt x="2866" y="1008"/>
                  <a:pt x="2866" y="1017"/>
                </a:cubicBezTo>
                <a:cubicBezTo>
                  <a:pt x="2866" y="1019"/>
                  <a:pt x="2866" y="1022"/>
                  <a:pt x="2866" y="1024"/>
                </a:cubicBezTo>
                <a:cubicBezTo>
                  <a:pt x="2866" y="1026"/>
                  <a:pt x="2867" y="1029"/>
                  <a:pt x="2867" y="1031"/>
                </a:cubicBezTo>
                <a:cubicBezTo>
                  <a:pt x="2867" y="1033"/>
                  <a:pt x="2866" y="1037"/>
                  <a:pt x="2860" y="1037"/>
                </a:cubicBezTo>
                <a:close/>
                <a:moveTo>
                  <a:pt x="2914" y="1045"/>
                </a:moveTo>
                <a:cubicBezTo>
                  <a:pt x="2914" y="1045"/>
                  <a:pt x="2914" y="1045"/>
                  <a:pt x="2914" y="1045"/>
                </a:cubicBezTo>
                <a:cubicBezTo>
                  <a:pt x="2914" y="1037"/>
                  <a:pt x="2914" y="1037"/>
                  <a:pt x="2914" y="1037"/>
                </a:cubicBezTo>
                <a:cubicBezTo>
                  <a:pt x="2908" y="1037"/>
                  <a:pt x="2908" y="1033"/>
                  <a:pt x="2908" y="1031"/>
                </a:cubicBezTo>
                <a:cubicBezTo>
                  <a:pt x="2908" y="1029"/>
                  <a:pt x="2908" y="1026"/>
                  <a:pt x="2908" y="1024"/>
                </a:cubicBezTo>
                <a:cubicBezTo>
                  <a:pt x="2909" y="1022"/>
                  <a:pt x="2909" y="1019"/>
                  <a:pt x="2909" y="1017"/>
                </a:cubicBezTo>
                <a:cubicBezTo>
                  <a:pt x="2909" y="1008"/>
                  <a:pt x="2903" y="1004"/>
                  <a:pt x="2894" y="1004"/>
                </a:cubicBezTo>
                <a:cubicBezTo>
                  <a:pt x="2894" y="1004"/>
                  <a:pt x="2894" y="1004"/>
                  <a:pt x="2890" y="1004"/>
                </a:cubicBezTo>
                <a:cubicBezTo>
                  <a:pt x="2890" y="1004"/>
                  <a:pt x="2890" y="1004"/>
                  <a:pt x="2890" y="1013"/>
                </a:cubicBezTo>
                <a:cubicBezTo>
                  <a:pt x="2890" y="1013"/>
                  <a:pt x="2890" y="1013"/>
                  <a:pt x="2892" y="1013"/>
                </a:cubicBezTo>
                <a:cubicBezTo>
                  <a:pt x="2896" y="1013"/>
                  <a:pt x="2897" y="1016"/>
                  <a:pt x="2897" y="1019"/>
                </a:cubicBezTo>
                <a:cubicBezTo>
                  <a:pt x="2897" y="1020"/>
                  <a:pt x="2897" y="1022"/>
                  <a:pt x="2897" y="1024"/>
                </a:cubicBezTo>
                <a:cubicBezTo>
                  <a:pt x="2896" y="1026"/>
                  <a:pt x="2896" y="1027"/>
                  <a:pt x="2896" y="1030"/>
                </a:cubicBezTo>
                <a:cubicBezTo>
                  <a:pt x="2896" y="1037"/>
                  <a:pt x="2899" y="1040"/>
                  <a:pt x="2905" y="1041"/>
                </a:cubicBezTo>
                <a:cubicBezTo>
                  <a:pt x="2905" y="1041"/>
                  <a:pt x="2905" y="1041"/>
                  <a:pt x="2905" y="1041"/>
                </a:cubicBezTo>
                <a:cubicBezTo>
                  <a:pt x="2899" y="1042"/>
                  <a:pt x="2896" y="1045"/>
                  <a:pt x="2896" y="1052"/>
                </a:cubicBezTo>
                <a:cubicBezTo>
                  <a:pt x="2896" y="1055"/>
                  <a:pt x="2896" y="1057"/>
                  <a:pt x="2897" y="1058"/>
                </a:cubicBezTo>
                <a:cubicBezTo>
                  <a:pt x="2897" y="1060"/>
                  <a:pt x="2897" y="1062"/>
                  <a:pt x="2897" y="1063"/>
                </a:cubicBezTo>
                <a:cubicBezTo>
                  <a:pt x="2897" y="1066"/>
                  <a:pt x="2896" y="1069"/>
                  <a:pt x="2892" y="1069"/>
                </a:cubicBezTo>
                <a:cubicBezTo>
                  <a:pt x="2892" y="1069"/>
                  <a:pt x="2892" y="1069"/>
                  <a:pt x="2890" y="1069"/>
                </a:cubicBezTo>
                <a:cubicBezTo>
                  <a:pt x="2890" y="1069"/>
                  <a:pt x="2890" y="1069"/>
                  <a:pt x="2890" y="1078"/>
                </a:cubicBezTo>
                <a:cubicBezTo>
                  <a:pt x="2890" y="1078"/>
                  <a:pt x="2890" y="1078"/>
                  <a:pt x="2894" y="1078"/>
                </a:cubicBezTo>
                <a:cubicBezTo>
                  <a:pt x="2903" y="1078"/>
                  <a:pt x="2909" y="1075"/>
                  <a:pt x="2909" y="1065"/>
                </a:cubicBezTo>
                <a:cubicBezTo>
                  <a:pt x="2909" y="1063"/>
                  <a:pt x="2909" y="1061"/>
                  <a:pt x="2908" y="1058"/>
                </a:cubicBezTo>
                <a:cubicBezTo>
                  <a:pt x="2908" y="1056"/>
                  <a:pt x="2908" y="1053"/>
                  <a:pt x="2908" y="1051"/>
                </a:cubicBezTo>
                <a:cubicBezTo>
                  <a:pt x="2908" y="1049"/>
                  <a:pt x="2908" y="1046"/>
                  <a:pt x="2914" y="1045"/>
                </a:cubicBezTo>
                <a:close/>
                <a:moveTo>
                  <a:pt x="3384" y="1078"/>
                </a:moveTo>
                <a:cubicBezTo>
                  <a:pt x="3377" y="1078"/>
                  <a:pt x="3371" y="1075"/>
                  <a:pt x="3366" y="1068"/>
                </a:cubicBezTo>
                <a:cubicBezTo>
                  <a:pt x="3362" y="1063"/>
                  <a:pt x="3360" y="1053"/>
                  <a:pt x="3360" y="1042"/>
                </a:cubicBezTo>
                <a:cubicBezTo>
                  <a:pt x="3360" y="1028"/>
                  <a:pt x="3362" y="1019"/>
                  <a:pt x="3366" y="1012"/>
                </a:cubicBezTo>
                <a:cubicBezTo>
                  <a:pt x="3371" y="1005"/>
                  <a:pt x="3377" y="1002"/>
                  <a:pt x="3386" y="1002"/>
                </a:cubicBezTo>
                <a:cubicBezTo>
                  <a:pt x="3402" y="1002"/>
                  <a:pt x="3410" y="1015"/>
                  <a:pt x="3410" y="1039"/>
                </a:cubicBezTo>
                <a:cubicBezTo>
                  <a:pt x="3410" y="1052"/>
                  <a:pt x="3408" y="1062"/>
                  <a:pt x="3404" y="1068"/>
                </a:cubicBezTo>
                <a:cubicBezTo>
                  <a:pt x="3399" y="1075"/>
                  <a:pt x="3393" y="1078"/>
                  <a:pt x="3384" y="1078"/>
                </a:cubicBezTo>
                <a:close/>
                <a:moveTo>
                  <a:pt x="3385" y="1012"/>
                </a:moveTo>
                <a:cubicBezTo>
                  <a:pt x="3377" y="1012"/>
                  <a:pt x="3372" y="1021"/>
                  <a:pt x="3372" y="1041"/>
                </a:cubicBezTo>
                <a:cubicBezTo>
                  <a:pt x="3372" y="1059"/>
                  <a:pt x="3377" y="1068"/>
                  <a:pt x="3385" y="1068"/>
                </a:cubicBezTo>
                <a:cubicBezTo>
                  <a:pt x="3393" y="1068"/>
                  <a:pt x="3398" y="1059"/>
                  <a:pt x="3398" y="1041"/>
                </a:cubicBezTo>
                <a:cubicBezTo>
                  <a:pt x="3398" y="1021"/>
                  <a:pt x="3394" y="1012"/>
                  <a:pt x="3385" y="1012"/>
                </a:cubicBezTo>
                <a:close/>
                <a:moveTo>
                  <a:pt x="3502" y="1078"/>
                </a:moveTo>
                <a:cubicBezTo>
                  <a:pt x="3495" y="1078"/>
                  <a:pt x="3489" y="1075"/>
                  <a:pt x="3485" y="1068"/>
                </a:cubicBezTo>
                <a:cubicBezTo>
                  <a:pt x="3480" y="1063"/>
                  <a:pt x="3478" y="1053"/>
                  <a:pt x="3478" y="1042"/>
                </a:cubicBezTo>
                <a:cubicBezTo>
                  <a:pt x="3478" y="1028"/>
                  <a:pt x="3480" y="1019"/>
                  <a:pt x="3485" y="1012"/>
                </a:cubicBezTo>
                <a:cubicBezTo>
                  <a:pt x="3489" y="1005"/>
                  <a:pt x="3495" y="1002"/>
                  <a:pt x="3504" y="1002"/>
                </a:cubicBezTo>
                <a:cubicBezTo>
                  <a:pt x="3520" y="1002"/>
                  <a:pt x="3528" y="1015"/>
                  <a:pt x="3528" y="1039"/>
                </a:cubicBezTo>
                <a:cubicBezTo>
                  <a:pt x="3528" y="1052"/>
                  <a:pt x="3526" y="1062"/>
                  <a:pt x="3522" y="1068"/>
                </a:cubicBezTo>
                <a:cubicBezTo>
                  <a:pt x="3517" y="1075"/>
                  <a:pt x="3511" y="1078"/>
                  <a:pt x="3502" y="1078"/>
                </a:cubicBezTo>
                <a:close/>
                <a:moveTo>
                  <a:pt x="3503" y="1012"/>
                </a:moveTo>
                <a:cubicBezTo>
                  <a:pt x="3495" y="1012"/>
                  <a:pt x="3490" y="1021"/>
                  <a:pt x="3490" y="1041"/>
                </a:cubicBezTo>
                <a:cubicBezTo>
                  <a:pt x="3490" y="1059"/>
                  <a:pt x="3495" y="1068"/>
                  <a:pt x="3503" y="1068"/>
                </a:cubicBezTo>
                <a:cubicBezTo>
                  <a:pt x="3512" y="1068"/>
                  <a:pt x="3516" y="1059"/>
                  <a:pt x="3516" y="1041"/>
                </a:cubicBezTo>
                <a:cubicBezTo>
                  <a:pt x="3516" y="1021"/>
                  <a:pt x="3512" y="1012"/>
                  <a:pt x="3503" y="1012"/>
                </a:cubicBezTo>
                <a:close/>
                <a:moveTo>
                  <a:pt x="3457" y="1005"/>
                </a:moveTo>
                <a:cubicBezTo>
                  <a:pt x="3457" y="1005"/>
                  <a:pt x="3457" y="1005"/>
                  <a:pt x="3457" y="1005"/>
                </a:cubicBezTo>
                <a:cubicBezTo>
                  <a:pt x="3452" y="1005"/>
                  <a:pt x="3452" y="1005"/>
                  <a:pt x="3452" y="1005"/>
                </a:cubicBezTo>
                <a:cubicBezTo>
                  <a:pt x="3450" y="1006"/>
                  <a:pt x="3449" y="1007"/>
                  <a:pt x="3447" y="1008"/>
                </a:cubicBezTo>
                <a:cubicBezTo>
                  <a:pt x="3445" y="1010"/>
                  <a:pt x="3443" y="1010"/>
                  <a:pt x="3442" y="1011"/>
                </a:cubicBezTo>
                <a:cubicBezTo>
                  <a:pt x="3440" y="1012"/>
                  <a:pt x="3438" y="1013"/>
                  <a:pt x="3437" y="1013"/>
                </a:cubicBezTo>
                <a:cubicBezTo>
                  <a:pt x="3434" y="1014"/>
                  <a:pt x="3433" y="1015"/>
                  <a:pt x="3431" y="1015"/>
                </a:cubicBezTo>
                <a:cubicBezTo>
                  <a:pt x="3431" y="1015"/>
                  <a:pt x="3431" y="1015"/>
                  <a:pt x="3431" y="1026"/>
                </a:cubicBezTo>
                <a:cubicBezTo>
                  <a:pt x="3434" y="1025"/>
                  <a:pt x="3437" y="1023"/>
                  <a:pt x="3439" y="1023"/>
                </a:cubicBezTo>
                <a:cubicBezTo>
                  <a:pt x="3442" y="1022"/>
                  <a:pt x="3444" y="1021"/>
                  <a:pt x="3446" y="1019"/>
                </a:cubicBezTo>
                <a:cubicBezTo>
                  <a:pt x="3446" y="1019"/>
                  <a:pt x="3446" y="1019"/>
                  <a:pt x="3446" y="1078"/>
                </a:cubicBezTo>
                <a:cubicBezTo>
                  <a:pt x="3446" y="1078"/>
                  <a:pt x="3446" y="1078"/>
                  <a:pt x="3457" y="1078"/>
                </a:cubicBezTo>
                <a:cubicBezTo>
                  <a:pt x="3457" y="1078"/>
                  <a:pt x="3457" y="1078"/>
                  <a:pt x="3457" y="1005"/>
                </a:cubicBezTo>
                <a:close/>
                <a:moveTo>
                  <a:pt x="3573" y="1078"/>
                </a:moveTo>
                <a:cubicBezTo>
                  <a:pt x="3566" y="1078"/>
                  <a:pt x="3559" y="1075"/>
                  <a:pt x="3556" y="1069"/>
                </a:cubicBezTo>
                <a:cubicBezTo>
                  <a:pt x="3551" y="1063"/>
                  <a:pt x="3549" y="1054"/>
                  <a:pt x="3549" y="1042"/>
                </a:cubicBezTo>
                <a:cubicBezTo>
                  <a:pt x="3549" y="1028"/>
                  <a:pt x="3551" y="1019"/>
                  <a:pt x="3556" y="1012"/>
                </a:cubicBezTo>
                <a:cubicBezTo>
                  <a:pt x="3560" y="1006"/>
                  <a:pt x="3567" y="1002"/>
                  <a:pt x="3575" y="1002"/>
                </a:cubicBezTo>
                <a:cubicBezTo>
                  <a:pt x="3591" y="1002"/>
                  <a:pt x="3599" y="1015"/>
                  <a:pt x="3599" y="1040"/>
                </a:cubicBezTo>
                <a:cubicBezTo>
                  <a:pt x="3599" y="1052"/>
                  <a:pt x="3597" y="1062"/>
                  <a:pt x="3593" y="1068"/>
                </a:cubicBezTo>
                <a:cubicBezTo>
                  <a:pt x="3588" y="1075"/>
                  <a:pt x="3582" y="1078"/>
                  <a:pt x="3573" y="1078"/>
                </a:cubicBezTo>
                <a:close/>
                <a:moveTo>
                  <a:pt x="3575" y="1012"/>
                </a:moveTo>
                <a:cubicBezTo>
                  <a:pt x="3566" y="1012"/>
                  <a:pt x="3561" y="1022"/>
                  <a:pt x="3561" y="1042"/>
                </a:cubicBezTo>
                <a:cubicBezTo>
                  <a:pt x="3561" y="1060"/>
                  <a:pt x="3565" y="1068"/>
                  <a:pt x="3574" y="1068"/>
                </a:cubicBezTo>
                <a:cubicBezTo>
                  <a:pt x="3583" y="1068"/>
                  <a:pt x="3587" y="1060"/>
                  <a:pt x="3587" y="1041"/>
                </a:cubicBezTo>
                <a:cubicBezTo>
                  <a:pt x="3587" y="1021"/>
                  <a:pt x="3583" y="1012"/>
                  <a:pt x="3575" y="1012"/>
                </a:cubicBezTo>
                <a:close/>
                <a:moveTo>
                  <a:pt x="3620" y="1037"/>
                </a:moveTo>
                <a:cubicBezTo>
                  <a:pt x="3620" y="1037"/>
                  <a:pt x="3620" y="1037"/>
                  <a:pt x="3620" y="1037"/>
                </a:cubicBezTo>
                <a:cubicBezTo>
                  <a:pt x="3620" y="1045"/>
                  <a:pt x="3620" y="1045"/>
                  <a:pt x="3620" y="1045"/>
                </a:cubicBezTo>
                <a:cubicBezTo>
                  <a:pt x="3626" y="1046"/>
                  <a:pt x="3627" y="1049"/>
                  <a:pt x="3627" y="1051"/>
                </a:cubicBezTo>
                <a:cubicBezTo>
                  <a:pt x="3627" y="1053"/>
                  <a:pt x="3627" y="1056"/>
                  <a:pt x="3627" y="1058"/>
                </a:cubicBezTo>
                <a:cubicBezTo>
                  <a:pt x="3626" y="1061"/>
                  <a:pt x="3626" y="1063"/>
                  <a:pt x="3626" y="1065"/>
                </a:cubicBezTo>
                <a:cubicBezTo>
                  <a:pt x="3626" y="1075"/>
                  <a:pt x="3632" y="1078"/>
                  <a:pt x="3640" y="1078"/>
                </a:cubicBezTo>
                <a:cubicBezTo>
                  <a:pt x="3640" y="1078"/>
                  <a:pt x="3640" y="1078"/>
                  <a:pt x="3644" y="1078"/>
                </a:cubicBezTo>
                <a:cubicBezTo>
                  <a:pt x="3644" y="1078"/>
                  <a:pt x="3644" y="1078"/>
                  <a:pt x="3644" y="1069"/>
                </a:cubicBezTo>
                <a:cubicBezTo>
                  <a:pt x="3644" y="1069"/>
                  <a:pt x="3644" y="1069"/>
                  <a:pt x="3643" y="1069"/>
                </a:cubicBezTo>
                <a:cubicBezTo>
                  <a:pt x="3639" y="1069"/>
                  <a:pt x="3638" y="1066"/>
                  <a:pt x="3638" y="1063"/>
                </a:cubicBezTo>
                <a:cubicBezTo>
                  <a:pt x="3638" y="1062"/>
                  <a:pt x="3638" y="1060"/>
                  <a:pt x="3638" y="1058"/>
                </a:cubicBezTo>
                <a:cubicBezTo>
                  <a:pt x="3638" y="1057"/>
                  <a:pt x="3638" y="1055"/>
                  <a:pt x="3638" y="1052"/>
                </a:cubicBezTo>
                <a:cubicBezTo>
                  <a:pt x="3638" y="1045"/>
                  <a:pt x="3636" y="1042"/>
                  <a:pt x="3630" y="1041"/>
                </a:cubicBezTo>
                <a:cubicBezTo>
                  <a:pt x="3630" y="1041"/>
                  <a:pt x="3630" y="1041"/>
                  <a:pt x="3630" y="1041"/>
                </a:cubicBezTo>
                <a:cubicBezTo>
                  <a:pt x="3636" y="1040"/>
                  <a:pt x="3638" y="1037"/>
                  <a:pt x="3638" y="1030"/>
                </a:cubicBezTo>
                <a:cubicBezTo>
                  <a:pt x="3638" y="1027"/>
                  <a:pt x="3638" y="1026"/>
                  <a:pt x="3638" y="1024"/>
                </a:cubicBezTo>
                <a:cubicBezTo>
                  <a:pt x="3638" y="1022"/>
                  <a:pt x="3638" y="1020"/>
                  <a:pt x="3638" y="1019"/>
                </a:cubicBezTo>
                <a:cubicBezTo>
                  <a:pt x="3638" y="1016"/>
                  <a:pt x="3639" y="1013"/>
                  <a:pt x="3643" y="1013"/>
                </a:cubicBezTo>
                <a:cubicBezTo>
                  <a:pt x="3643" y="1013"/>
                  <a:pt x="3643" y="1013"/>
                  <a:pt x="3644" y="1013"/>
                </a:cubicBezTo>
                <a:cubicBezTo>
                  <a:pt x="3644" y="1013"/>
                  <a:pt x="3644" y="1013"/>
                  <a:pt x="3644" y="1004"/>
                </a:cubicBezTo>
                <a:cubicBezTo>
                  <a:pt x="3644" y="1004"/>
                  <a:pt x="3644" y="1004"/>
                  <a:pt x="3640" y="1004"/>
                </a:cubicBezTo>
                <a:cubicBezTo>
                  <a:pt x="3631" y="1004"/>
                  <a:pt x="3626" y="1008"/>
                  <a:pt x="3626" y="1017"/>
                </a:cubicBezTo>
                <a:cubicBezTo>
                  <a:pt x="3626" y="1019"/>
                  <a:pt x="3626" y="1022"/>
                  <a:pt x="3626" y="1024"/>
                </a:cubicBezTo>
                <a:cubicBezTo>
                  <a:pt x="3627" y="1026"/>
                  <a:pt x="3627" y="1029"/>
                  <a:pt x="3627" y="1031"/>
                </a:cubicBezTo>
                <a:cubicBezTo>
                  <a:pt x="3627" y="1033"/>
                  <a:pt x="3626" y="1037"/>
                  <a:pt x="3620" y="1037"/>
                </a:cubicBezTo>
                <a:close/>
                <a:moveTo>
                  <a:pt x="3675" y="1045"/>
                </a:moveTo>
                <a:cubicBezTo>
                  <a:pt x="3675" y="1045"/>
                  <a:pt x="3675" y="1045"/>
                  <a:pt x="3675" y="1045"/>
                </a:cubicBezTo>
                <a:cubicBezTo>
                  <a:pt x="3675" y="1037"/>
                  <a:pt x="3675" y="1037"/>
                  <a:pt x="3675" y="1037"/>
                </a:cubicBezTo>
                <a:cubicBezTo>
                  <a:pt x="3668" y="1037"/>
                  <a:pt x="3668" y="1033"/>
                  <a:pt x="3668" y="1031"/>
                </a:cubicBezTo>
                <a:cubicBezTo>
                  <a:pt x="3668" y="1029"/>
                  <a:pt x="3668" y="1026"/>
                  <a:pt x="3668" y="1024"/>
                </a:cubicBezTo>
                <a:cubicBezTo>
                  <a:pt x="3669" y="1022"/>
                  <a:pt x="3669" y="1019"/>
                  <a:pt x="3669" y="1017"/>
                </a:cubicBezTo>
                <a:cubicBezTo>
                  <a:pt x="3669" y="1008"/>
                  <a:pt x="3664" y="1004"/>
                  <a:pt x="3654" y="1004"/>
                </a:cubicBezTo>
                <a:cubicBezTo>
                  <a:pt x="3654" y="1004"/>
                  <a:pt x="3654" y="1004"/>
                  <a:pt x="3651" y="1004"/>
                </a:cubicBezTo>
                <a:cubicBezTo>
                  <a:pt x="3651" y="1004"/>
                  <a:pt x="3651" y="1004"/>
                  <a:pt x="3651" y="1013"/>
                </a:cubicBezTo>
                <a:cubicBezTo>
                  <a:pt x="3651" y="1013"/>
                  <a:pt x="3651" y="1013"/>
                  <a:pt x="3652" y="1013"/>
                </a:cubicBezTo>
                <a:cubicBezTo>
                  <a:pt x="3656" y="1013"/>
                  <a:pt x="3657" y="1016"/>
                  <a:pt x="3657" y="1019"/>
                </a:cubicBezTo>
                <a:cubicBezTo>
                  <a:pt x="3657" y="1020"/>
                  <a:pt x="3657" y="1022"/>
                  <a:pt x="3657" y="1024"/>
                </a:cubicBezTo>
                <a:cubicBezTo>
                  <a:pt x="3657" y="1026"/>
                  <a:pt x="3657" y="1027"/>
                  <a:pt x="3657" y="1030"/>
                </a:cubicBezTo>
                <a:cubicBezTo>
                  <a:pt x="3657" y="1037"/>
                  <a:pt x="3659" y="1040"/>
                  <a:pt x="3665" y="1041"/>
                </a:cubicBezTo>
                <a:cubicBezTo>
                  <a:pt x="3665" y="1041"/>
                  <a:pt x="3665" y="1041"/>
                  <a:pt x="3665" y="1041"/>
                </a:cubicBezTo>
                <a:cubicBezTo>
                  <a:pt x="3659" y="1042"/>
                  <a:pt x="3657" y="1045"/>
                  <a:pt x="3657" y="1052"/>
                </a:cubicBezTo>
                <a:cubicBezTo>
                  <a:pt x="3657" y="1055"/>
                  <a:pt x="3657" y="1057"/>
                  <a:pt x="3657" y="1058"/>
                </a:cubicBezTo>
                <a:cubicBezTo>
                  <a:pt x="3657" y="1060"/>
                  <a:pt x="3657" y="1062"/>
                  <a:pt x="3657" y="1063"/>
                </a:cubicBezTo>
                <a:cubicBezTo>
                  <a:pt x="3657" y="1066"/>
                  <a:pt x="3656" y="1069"/>
                  <a:pt x="3652" y="1069"/>
                </a:cubicBezTo>
                <a:cubicBezTo>
                  <a:pt x="3652" y="1069"/>
                  <a:pt x="3652" y="1069"/>
                  <a:pt x="3651" y="1069"/>
                </a:cubicBezTo>
                <a:cubicBezTo>
                  <a:pt x="3651" y="1069"/>
                  <a:pt x="3651" y="1069"/>
                  <a:pt x="3651" y="1078"/>
                </a:cubicBezTo>
                <a:cubicBezTo>
                  <a:pt x="3651" y="1078"/>
                  <a:pt x="3651" y="1078"/>
                  <a:pt x="3654" y="1078"/>
                </a:cubicBezTo>
                <a:cubicBezTo>
                  <a:pt x="3663" y="1078"/>
                  <a:pt x="3669" y="1075"/>
                  <a:pt x="3669" y="1065"/>
                </a:cubicBezTo>
                <a:cubicBezTo>
                  <a:pt x="3669" y="1063"/>
                  <a:pt x="3669" y="1061"/>
                  <a:pt x="3668" y="1058"/>
                </a:cubicBezTo>
                <a:cubicBezTo>
                  <a:pt x="3668" y="1056"/>
                  <a:pt x="3668" y="1053"/>
                  <a:pt x="3668" y="1051"/>
                </a:cubicBezTo>
                <a:cubicBezTo>
                  <a:pt x="3668" y="1049"/>
                  <a:pt x="3668" y="1046"/>
                  <a:pt x="3675" y="1045"/>
                </a:cubicBezTo>
                <a:close/>
                <a:moveTo>
                  <a:pt x="3795" y="1078"/>
                </a:moveTo>
                <a:cubicBezTo>
                  <a:pt x="3788" y="1078"/>
                  <a:pt x="3781" y="1075"/>
                  <a:pt x="3777" y="1069"/>
                </a:cubicBezTo>
                <a:cubicBezTo>
                  <a:pt x="3773" y="1063"/>
                  <a:pt x="3771" y="1054"/>
                  <a:pt x="3771" y="1042"/>
                </a:cubicBezTo>
                <a:cubicBezTo>
                  <a:pt x="3771" y="1028"/>
                  <a:pt x="3773" y="1019"/>
                  <a:pt x="3777" y="1012"/>
                </a:cubicBezTo>
                <a:cubicBezTo>
                  <a:pt x="3782" y="1006"/>
                  <a:pt x="3788" y="1002"/>
                  <a:pt x="3797" y="1002"/>
                </a:cubicBezTo>
                <a:cubicBezTo>
                  <a:pt x="3813" y="1002"/>
                  <a:pt x="3821" y="1015"/>
                  <a:pt x="3821" y="1040"/>
                </a:cubicBezTo>
                <a:cubicBezTo>
                  <a:pt x="3821" y="1052"/>
                  <a:pt x="3819" y="1062"/>
                  <a:pt x="3814" y="1068"/>
                </a:cubicBezTo>
                <a:cubicBezTo>
                  <a:pt x="3809" y="1075"/>
                  <a:pt x="3803" y="1078"/>
                  <a:pt x="3795" y="1078"/>
                </a:cubicBezTo>
                <a:close/>
                <a:moveTo>
                  <a:pt x="3796" y="1012"/>
                </a:moveTo>
                <a:cubicBezTo>
                  <a:pt x="3787" y="1012"/>
                  <a:pt x="3782" y="1022"/>
                  <a:pt x="3782" y="1042"/>
                </a:cubicBezTo>
                <a:cubicBezTo>
                  <a:pt x="3782" y="1060"/>
                  <a:pt x="3787" y="1068"/>
                  <a:pt x="3796" y="1068"/>
                </a:cubicBezTo>
                <a:cubicBezTo>
                  <a:pt x="3804" y="1068"/>
                  <a:pt x="3809" y="1060"/>
                  <a:pt x="3809" y="1041"/>
                </a:cubicBezTo>
                <a:cubicBezTo>
                  <a:pt x="3809" y="1021"/>
                  <a:pt x="3804" y="1012"/>
                  <a:pt x="3796" y="1012"/>
                </a:cubicBezTo>
                <a:close/>
                <a:moveTo>
                  <a:pt x="3869" y="1005"/>
                </a:moveTo>
                <a:cubicBezTo>
                  <a:pt x="3869" y="1005"/>
                  <a:pt x="3869" y="1005"/>
                  <a:pt x="3869" y="1005"/>
                </a:cubicBezTo>
                <a:cubicBezTo>
                  <a:pt x="3864" y="1005"/>
                  <a:pt x="3864" y="1005"/>
                  <a:pt x="3864" y="1005"/>
                </a:cubicBezTo>
                <a:cubicBezTo>
                  <a:pt x="3861" y="1006"/>
                  <a:pt x="3860" y="1007"/>
                  <a:pt x="3858" y="1008"/>
                </a:cubicBezTo>
                <a:cubicBezTo>
                  <a:pt x="3856" y="1010"/>
                  <a:pt x="3854" y="1010"/>
                  <a:pt x="3853" y="1011"/>
                </a:cubicBezTo>
                <a:cubicBezTo>
                  <a:pt x="3850" y="1012"/>
                  <a:pt x="3849" y="1013"/>
                  <a:pt x="3848" y="1013"/>
                </a:cubicBezTo>
                <a:cubicBezTo>
                  <a:pt x="3845" y="1014"/>
                  <a:pt x="3844" y="1015"/>
                  <a:pt x="3842" y="1015"/>
                </a:cubicBezTo>
                <a:cubicBezTo>
                  <a:pt x="3842" y="1015"/>
                  <a:pt x="3842" y="1015"/>
                  <a:pt x="3842" y="1026"/>
                </a:cubicBezTo>
                <a:cubicBezTo>
                  <a:pt x="3845" y="1025"/>
                  <a:pt x="3848" y="1023"/>
                  <a:pt x="3850" y="1023"/>
                </a:cubicBezTo>
                <a:cubicBezTo>
                  <a:pt x="3853" y="1022"/>
                  <a:pt x="3855" y="1021"/>
                  <a:pt x="3857" y="1019"/>
                </a:cubicBezTo>
                <a:cubicBezTo>
                  <a:pt x="3857" y="1019"/>
                  <a:pt x="3857" y="1019"/>
                  <a:pt x="3857" y="1078"/>
                </a:cubicBezTo>
                <a:cubicBezTo>
                  <a:pt x="3857" y="1078"/>
                  <a:pt x="3857" y="1078"/>
                  <a:pt x="3869" y="1078"/>
                </a:cubicBezTo>
                <a:cubicBezTo>
                  <a:pt x="3869" y="1078"/>
                  <a:pt x="3869" y="1078"/>
                  <a:pt x="3869" y="1005"/>
                </a:cubicBezTo>
                <a:close/>
                <a:moveTo>
                  <a:pt x="2065" y="957"/>
                </a:moveTo>
                <a:cubicBezTo>
                  <a:pt x="2066" y="958"/>
                  <a:pt x="2066" y="960"/>
                  <a:pt x="2067" y="961"/>
                </a:cubicBezTo>
                <a:cubicBezTo>
                  <a:pt x="2067" y="963"/>
                  <a:pt x="2068" y="965"/>
                  <a:pt x="2068" y="966"/>
                </a:cubicBezTo>
                <a:cubicBezTo>
                  <a:pt x="2068" y="968"/>
                  <a:pt x="2068" y="969"/>
                  <a:pt x="2068" y="971"/>
                </a:cubicBezTo>
                <a:cubicBezTo>
                  <a:pt x="2069" y="974"/>
                  <a:pt x="2068" y="976"/>
                  <a:pt x="2065" y="976"/>
                </a:cubicBezTo>
                <a:cubicBezTo>
                  <a:pt x="2062" y="976"/>
                  <a:pt x="2059" y="975"/>
                  <a:pt x="2057" y="975"/>
                </a:cubicBezTo>
                <a:cubicBezTo>
                  <a:pt x="2056" y="975"/>
                  <a:pt x="2055" y="975"/>
                  <a:pt x="2055" y="976"/>
                </a:cubicBezTo>
                <a:cubicBezTo>
                  <a:pt x="2054" y="977"/>
                  <a:pt x="2052" y="979"/>
                  <a:pt x="2051" y="980"/>
                </a:cubicBezTo>
                <a:cubicBezTo>
                  <a:pt x="2049" y="983"/>
                  <a:pt x="2046" y="983"/>
                  <a:pt x="2043" y="981"/>
                </a:cubicBezTo>
                <a:cubicBezTo>
                  <a:pt x="2041" y="979"/>
                  <a:pt x="2040" y="976"/>
                  <a:pt x="2039" y="973"/>
                </a:cubicBezTo>
                <a:cubicBezTo>
                  <a:pt x="2038" y="972"/>
                  <a:pt x="2038" y="970"/>
                  <a:pt x="2041" y="969"/>
                </a:cubicBezTo>
                <a:cubicBezTo>
                  <a:pt x="2038" y="969"/>
                  <a:pt x="2036" y="969"/>
                  <a:pt x="2035" y="969"/>
                </a:cubicBezTo>
                <a:cubicBezTo>
                  <a:pt x="2034" y="971"/>
                  <a:pt x="2033" y="973"/>
                  <a:pt x="2032" y="975"/>
                </a:cubicBezTo>
                <a:cubicBezTo>
                  <a:pt x="2032" y="975"/>
                  <a:pt x="2032" y="976"/>
                  <a:pt x="2032" y="977"/>
                </a:cubicBezTo>
                <a:cubicBezTo>
                  <a:pt x="2032" y="980"/>
                  <a:pt x="2030" y="981"/>
                  <a:pt x="2027" y="981"/>
                </a:cubicBezTo>
                <a:cubicBezTo>
                  <a:pt x="2024" y="981"/>
                  <a:pt x="2021" y="980"/>
                  <a:pt x="2018" y="979"/>
                </a:cubicBezTo>
                <a:cubicBezTo>
                  <a:pt x="2016" y="978"/>
                  <a:pt x="2016" y="977"/>
                  <a:pt x="2016" y="975"/>
                </a:cubicBezTo>
                <a:cubicBezTo>
                  <a:pt x="2017" y="974"/>
                  <a:pt x="2017" y="973"/>
                  <a:pt x="2017" y="973"/>
                </a:cubicBezTo>
                <a:cubicBezTo>
                  <a:pt x="2015" y="972"/>
                  <a:pt x="2012" y="971"/>
                  <a:pt x="2010" y="969"/>
                </a:cubicBezTo>
                <a:cubicBezTo>
                  <a:pt x="2009" y="969"/>
                  <a:pt x="2008" y="967"/>
                  <a:pt x="2007" y="965"/>
                </a:cubicBezTo>
                <a:cubicBezTo>
                  <a:pt x="2006" y="963"/>
                  <a:pt x="2006" y="962"/>
                  <a:pt x="2008" y="960"/>
                </a:cubicBezTo>
                <a:cubicBezTo>
                  <a:pt x="2012" y="958"/>
                  <a:pt x="2012" y="955"/>
                  <a:pt x="2012" y="951"/>
                </a:cubicBezTo>
                <a:cubicBezTo>
                  <a:pt x="2012" y="949"/>
                  <a:pt x="2012" y="947"/>
                  <a:pt x="2012" y="945"/>
                </a:cubicBezTo>
                <a:cubicBezTo>
                  <a:pt x="2010" y="944"/>
                  <a:pt x="2008" y="944"/>
                  <a:pt x="2008" y="943"/>
                </a:cubicBezTo>
                <a:cubicBezTo>
                  <a:pt x="2006" y="941"/>
                  <a:pt x="2006" y="939"/>
                  <a:pt x="2006" y="937"/>
                </a:cubicBezTo>
                <a:cubicBezTo>
                  <a:pt x="2005" y="934"/>
                  <a:pt x="2009" y="931"/>
                  <a:pt x="2012" y="931"/>
                </a:cubicBezTo>
                <a:cubicBezTo>
                  <a:pt x="2012" y="931"/>
                  <a:pt x="2012" y="932"/>
                  <a:pt x="2012" y="933"/>
                </a:cubicBezTo>
                <a:cubicBezTo>
                  <a:pt x="2012" y="934"/>
                  <a:pt x="2012" y="935"/>
                  <a:pt x="2013" y="936"/>
                </a:cubicBezTo>
                <a:cubicBezTo>
                  <a:pt x="2012" y="936"/>
                  <a:pt x="2012" y="936"/>
                  <a:pt x="2011" y="936"/>
                </a:cubicBezTo>
                <a:cubicBezTo>
                  <a:pt x="2011" y="937"/>
                  <a:pt x="2010" y="938"/>
                  <a:pt x="2010" y="940"/>
                </a:cubicBezTo>
                <a:cubicBezTo>
                  <a:pt x="2011" y="940"/>
                  <a:pt x="2012" y="940"/>
                  <a:pt x="2012" y="939"/>
                </a:cubicBezTo>
                <a:cubicBezTo>
                  <a:pt x="2013" y="938"/>
                  <a:pt x="2014" y="937"/>
                  <a:pt x="2015" y="936"/>
                </a:cubicBezTo>
                <a:cubicBezTo>
                  <a:pt x="2019" y="929"/>
                  <a:pt x="2025" y="926"/>
                  <a:pt x="2033" y="924"/>
                </a:cubicBezTo>
                <a:cubicBezTo>
                  <a:pt x="2036" y="924"/>
                  <a:pt x="2039" y="922"/>
                  <a:pt x="2041" y="920"/>
                </a:cubicBezTo>
                <a:cubicBezTo>
                  <a:pt x="2041" y="919"/>
                  <a:pt x="2042" y="919"/>
                  <a:pt x="2043" y="919"/>
                </a:cubicBezTo>
                <a:cubicBezTo>
                  <a:pt x="2045" y="918"/>
                  <a:pt x="2047" y="916"/>
                  <a:pt x="2049" y="914"/>
                </a:cubicBezTo>
                <a:cubicBezTo>
                  <a:pt x="2056" y="907"/>
                  <a:pt x="2068" y="906"/>
                  <a:pt x="2076" y="913"/>
                </a:cubicBezTo>
                <a:cubicBezTo>
                  <a:pt x="2078" y="915"/>
                  <a:pt x="2081" y="917"/>
                  <a:pt x="2083" y="919"/>
                </a:cubicBezTo>
                <a:cubicBezTo>
                  <a:pt x="2085" y="920"/>
                  <a:pt x="2086" y="922"/>
                  <a:pt x="2087" y="924"/>
                </a:cubicBezTo>
                <a:cubicBezTo>
                  <a:pt x="2088" y="925"/>
                  <a:pt x="2089" y="925"/>
                  <a:pt x="2090" y="924"/>
                </a:cubicBezTo>
                <a:cubicBezTo>
                  <a:pt x="2091" y="924"/>
                  <a:pt x="2092" y="923"/>
                  <a:pt x="2092" y="922"/>
                </a:cubicBezTo>
                <a:cubicBezTo>
                  <a:pt x="2094" y="919"/>
                  <a:pt x="2097" y="919"/>
                  <a:pt x="2099" y="922"/>
                </a:cubicBezTo>
                <a:cubicBezTo>
                  <a:pt x="2100" y="926"/>
                  <a:pt x="2101" y="928"/>
                  <a:pt x="2101" y="931"/>
                </a:cubicBezTo>
                <a:cubicBezTo>
                  <a:pt x="2102" y="936"/>
                  <a:pt x="2101" y="940"/>
                  <a:pt x="2100" y="945"/>
                </a:cubicBezTo>
                <a:cubicBezTo>
                  <a:pt x="2097" y="951"/>
                  <a:pt x="2093" y="954"/>
                  <a:pt x="2086" y="954"/>
                </a:cubicBezTo>
                <a:cubicBezTo>
                  <a:pt x="2085" y="954"/>
                  <a:pt x="2085" y="954"/>
                  <a:pt x="2084" y="954"/>
                </a:cubicBezTo>
                <a:cubicBezTo>
                  <a:pt x="2082" y="954"/>
                  <a:pt x="2081" y="954"/>
                  <a:pt x="2080" y="957"/>
                </a:cubicBezTo>
                <a:cubicBezTo>
                  <a:pt x="2078" y="961"/>
                  <a:pt x="2073" y="963"/>
                  <a:pt x="2069" y="960"/>
                </a:cubicBezTo>
                <a:cubicBezTo>
                  <a:pt x="2068" y="958"/>
                  <a:pt x="2067" y="958"/>
                  <a:pt x="2066" y="956"/>
                </a:cubicBezTo>
                <a:cubicBezTo>
                  <a:pt x="2066" y="957"/>
                  <a:pt x="2066" y="957"/>
                  <a:pt x="2065" y="957"/>
                </a:cubicBezTo>
                <a:close/>
                <a:moveTo>
                  <a:pt x="2060" y="952"/>
                </a:moveTo>
                <a:cubicBezTo>
                  <a:pt x="2063" y="954"/>
                  <a:pt x="2067" y="955"/>
                  <a:pt x="2070" y="958"/>
                </a:cubicBezTo>
                <a:cubicBezTo>
                  <a:pt x="2071" y="960"/>
                  <a:pt x="2073" y="960"/>
                  <a:pt x="2075" y="960"/>
                </a:cubicBezTo>
                <a:cubicBezTo>
                  <a:pt x="2078" y="959"/>
                  <a:pt x="2079" y="957"/>
                  <a:pt x="2079" y="954"/>
                </a:cubicBezTo>
                <a:cubicBezTo>
                  <a:pt x="2079" y="954"/>
                  <a:pt x="2078" y="954"/>
                  <a:pt x="2078" y="954"/>
                </a:cubicBezTo>
                <a:cubicBezTo>
                  <a:pt x="2078" y="956"/>
                  <a:pt x="2077" y="957"/>
                  <a:pt x="2076" y="958"/>
                </a:cubicBezTo>
                <a:cubicBezTo>
                  <a:pt x="2075" y="959"/>
                  <a:pt x="2074" y="959"/>
                  <a:pt x="2073" y="958"/>
                </a:cubicBezTo>
                <a:cubicBezTo>
                  <a:pt x="2072" y="958"/>
                  <a:pt x="2072" y="957"/>
                  <a:pt x="2072" y="956"/>
                </a:cubicBezTo>
                <a:cubicBezTo>
                  <a:pt x="2072" y="954"/>
                  <a:pt x="2072" y="952"/>
                  <a:pt x="2072" y="950"/>
                </a:cubicBezTo>
                <a:cubicBezTo>
                  <a:pt x="2075" y="951"/>
                  <a:pt x="2079" y="952"/>
                  <a:pt x="2082" y="952"/>
                </a:cubicBezTo>
                <a:cubicBezTo>
                  <a:pt x="2090" y="954"/>
                  <a:pt x="2095" y="952"/>
                  <a:pt x="2099" y="943"/>
                </a:cubicBezTo>
                <a:cubicBezTo>
                  <a:pt x="2100" y="939"/>
                  <a:pt x="2100" y="934"/>
                  <a:pt x="2099" y="929"/>
                </a:cubicBezTo>
                <a:cubicBezTo>
                  <a:pt x="2099" y="927"/>
                  <a:pt x="2098" y="925"/>
                  <a:pt x="2097" y="923"/>
                </a:cubicBezTo>
                <a:cubicBezTo>
                  <a:pt x="2096" y="922"/>
                  <a:pt x="2095" y="921"/>
                  <a:pt x="2094" y="923"/>
                </a:cubicBezTo>
                <a:cubicBezTo>
                  <a:pt x="2092" y="924"/>
                  <a:pt x="2091" y="926"/>
                  <a:pt x="2089" y="927"/>
                </a:cubicBezTo>
                <a:cubicBezTo>
                  <a:pt x="2088" y="927"/>
                  <a:pt x="2087" y="928"/>
                  <a:pt x="2088" y="929"/>
                </a:cubicBezTo>
                <a:cubicBezTo>
                  <a:pt x="2088" y="932"/>
                  <a:pt x="2088" y="935"/>
                  <a:pt x="2086" y="939"/>
                </a:cubicBezTo>
                <a:cubicBezTo>
                  <a:pt x="2086" y="937"/>
                  <a:pt x="2087" y="935"/>
                  <a:pt x="2087" y="933"/>
                </a:cubicBezTo>
                <a:cubicBezTo>
                  <a:pt x="2087" y="932"/>
                  <a:pt x="2086" y="932"/>
                  <a:pt x="2086" y="931"/>
                </a:cubicBezTo>
                <a:cubicBezTo>
                  <a:pt x="2086" y="932"/>
                  <a:pt x="2085" y="932"/>
                  <a:pt x="2085" y="932"/>
                </a:cubicBezTo>
                <a:cubicBezTo>
                  <a:pt x="2084" y="933"/>
                  <a:pt x="2083" y="935"/>
                  <a:pt x="2083" y="936"/>
                </a:cubicBezTo>
                <a:cubicBezTo>
                  <a:pt x="2082" y="936"/>
                  <a:pt x="2082" y="936"/>
                  <a:pt x="2082" y="936"/>
                </a:cubicBezTo>
                <a:cubicBezTo>
                  <a:pt x="2083" y="935"/>
                  <a:pt x="2083" y="933"/>
                  <a:pt x="2083" y="931"/>
                </a:cubicBezTo>
                <a:cubicBezTo>
                  <a:pt x="2082" y="931"/>
                  <a:pt x="2082" y="932"/>
                  <a:pt x="2081" y="933"/>
                </a:cubicBezTo>
                <a:cubicBezTo>
                  <a:pt x="2081" y="933"/>
                  <a:pt x="2080" y="934"/>
                  <a:pt x="2080" y="935"/>
                </a:cubicBezTo>
                <a:cubicBezTo>
                  <a:pt x="2080" y="931"/>
                  <a:pt x="2081" y="931"/>
                  <a:pt x="2086" y="930"/>
                </a:cubicBezTo>
                <a:cubicBezTo>
                  <a:pt x="2086" y="929"/>
                  <a:pt x="2085" y="929"/>
                  <a:pt x="2085" y="929"/>
                </a:cubicBezTo>
                <a:cubicBezTo>
                  <a:pt x="2083" y="929"/>
                  <a:pt x="2082" y="928"/>
                  <a:pt x="2081" y="926"/>
                </a:cubicBezTo>
                <a:cubicBezTo>
                  <a:pt x="2083" y="925"/>
                  <a:pt x="2085" y="925"/>
                  <a:pt x="2086" y="924"/>
                </a:cubicBezTo>
                <a:cubicBezTo>
                  <a:pt x="2085" y="922"/>
                  <a:pt x="2083" y="919"/>
                  <a:pt x="2080" y="919"/>
                </a:cubicBezTo>
                <a:cubicBezTo>
                  <a:pt x="2079" y="919"/>
                  <a:pt x="2079" y="918"/>
                  <a:pt x="2079" y="918"/>
                </a:cubicBezTo>
                <a:cubicBezTo>
                  <a:pt x="2077" y="916"/>
                  <a:pt x="2074" y="914"/>
                  <a:pt x="2072" y="912"/>
                </a:cubicBezTo>
                <a:cubicBezTo>
                  <a:pt x="2069" y="910"/>
                  <a:pt x="2066" y="910"/>
                  <a:pt x="2064" y="910"/>
                </a:cubicBezTo>
                <a:cubicBezTo>
                  <a:pt x="2061" y="910"/>
                  <a:pt x="2058" y="911"/>
                  <a:pt x="2055" y="912"/>
                </a:cubicBezTo>
                <a:cubicBezTo>
                  <a:pt x="2052" y="913"/>
                  <a:pt x="2049" y="915"/>
                  <a:pt x="2048" y="918"/>
                </a:cubicBezTo>
                <a:cubicBezTo>
                  <a:pt x="2049" y="918"/>
                  <a:pt x="2050" y="918"/>
                  <a:pt x="2052" y="918"/>
                </a:cubicBezTo>
                <a:cubicBezTo>
                  <a:pt x="2051" y="918"/>
                  <a:pt x="2050" y="919"/>
                  <a:pt x="2050" y="919"/>
                </a:cubicBezTo>
                <a:cubicBezTo>
                  <a:pt x="2047" y="920"/>
                  <a:pt x="2045" y="919"/>
                  <a:pt x="2043" y="921"/>
                </a:cubicBezTo>
                <a:cubicBezTo>
                  <a:pt x="2039" y="925"/>
                  <a:pt x="2035" y="929"/>
                  <a:pt x="2032" y="933"/>
                </a:cubicBezTo>
                <a:cubicBezTo>
                  <a:pt x="2030" y="935"/>
                  <a:pt x="2029" y="937"/>
                  <a:pt x="2028" y="940"/>
                </a:cubicBezTo>
                <a:cubicBezTo>
                  <a:pt x="2028" y="940"/>
                  <a:pt x="2028" y="941"/>
                  <a:pt x="2028" y="941"/>
                </a:cubicBezTo>
                <a:cubicBezTo>
                  <a:pt x="2030" y="943"/>
                  <a:pt x="2031" y="945"/>
                  <a:pt x="2032" y="947"/>
                </a:cubicBezTo>
                <a:cubicBezTo>
                  <a:pt x="2034" y="946"/>
                  <a:pt x="2035" y="944"/>
                  <a:pt x="2036" y="943"/>
                </a:cubicBezTo>
                <a:cubicBezTo>
                  <a:pt x="2035" y="944"/>
                  <a:pt x="2035" y="945"/>
                  <a:pt x="2034" y="947"/>
                </a:cubicBezTo>
                <a:cubicBezTo>
                  <a:pt x="2034" y="948"/>
                  <a:pt x="2033" y="949"/>
                  <a:pt x="2032" y="951"/>
                </a:cubicBezTo>
                <a:cubicBezTo>
                  <a:pt x="2032" y="952"/>
                  <a:pt x="2032" y="953"/>
                  <a:pt x="2033" y="954"/>
                </a:cubicBezTo>
                <a:cubicBezTo>
                  <a:pt x="2035" y="957"/>
                  <a:pt x="2038" y="957"/>
                  <a:pt x="2042" y="955"/>
                </a:cubicBezTo>
                <a:cubicBezTo>
                  <a:pt x="2045" y="954"/>
                  <a:pt x="2047" y="952"/>
                  <a:pt x="2050" y="952"/>
                </a:cubicBezTo>
                <a:cubicBezTo>
                  <a:pt x="2052" y="951"/>
                  <a:pt x="2053" y="950"/>
                  <a:pt x="2053" y="949"/>
                </a:cubicBezTo>
                <a:cubicBezTo>
                  <a:pt x="2053" y="946"/>
                  <a:pt x="2053" y="942"/>
                  <a:pt x="2053" y="939"/>
                </a:cubicBezTo>
                <a:cubicBezTo>
                  <a:pt x="2053" y="936"/>
                  <a:pt x="2053" y="933"/>
                  <a:pt x="2053" y="930"/>
                </a:cubicBezTo>
                <a:cubicBezTo>
                  <a:pt x="2054" y="933"/>
                  <a:pt x="2054" y="935"/>
                  <a:pt x="2054" y="938"/>
                </a:cubicBezTo>
                <a:cubicBezTo>
                  <a:pt x="2055" y="943"/>
                  <a:pt x="2055" y="947"/>
                  <a:pt x="2054" y="951"/>
                </a:cubicBezTo>
                <a:cubicBezTo>
                  <a:pt x="2054" y="952"/>
                  <a:pt x="2053" y="953"/>
                  <a:pt x="2052" y="953"/>
                </a:cubicBezTo>
                <a:cubicBezTo>
                  <a:pt x="2049" y="953"/>
                  <a:pt x="2046" y="955"/>
                  <a:pt x="2043" y="957"/>
                </a:cubicBezTo>
                <a:cubicBezTo>
                  <a:pt x="2037" y="960"/>
                  <a:pt x="2034" y="958"/>
                  <a:pt x="2030" y="954"/>
                </a:cubicBezTo>
                <a:cubicBezTo>
                  <a:pt x="2030" y="954"/>
                  <a:pt x="2030" y="952"/>
                  <a:pt x="2030" y="952"/>
                </a:cubicBezTo>
                <a:cubicBezTo>
                  <a:pt x="2032" y="950"/>
                  <a:pt x="2030" y="948"/>
                  <a:pt x="2029" y="946"/>
                </a:cubicBezTo>
                <a:cubicBezTo>
                  <a:pt x="2027" y="944"/>
                  <a:pt x="2026" y="941"/>
                  <a:pt x="2027" y="939"/>
                </a:cubicBezTo>
                <a:cubicBezTo>
                  <a:pt x="2027" y="937"/>
                  <a:pt x="2028" y="935"/>
                  <a:pt x="2030" y="933"/>
                </a:cubicBezTo>
                <a:cubicBezTo>
                  <a:pt x="2031" y="931"/>
                  <a:pt x="2034" y="928"/>
                  <a:pt x="2035" y="926"/>
                </a:cubicBezTo>
                <a:cubicBezTo>
                  <a:pt x="2035" y="926"/>
                  <a:pt x="2034" y="926"/>
                  <a:pt x="2034" y="926"/>
                </a:cubicBezTo>
                <a:cubicBezTo>
                  <a:pt x="2029" y="927"/>
                  <a:pt x="2025" y="928"/>
                  <a:pt x="2021" y="931"/>
                </a:cubicBezTo>
                <a:cubicBezTo>
                  <a:pt x="2016" y="936"/>
                  <a:pt x="2014" y="941"/>
                  <a:pt x="2013" y="948"/>
                </a:cubicBezTo>
                <a:cubicBezTo>
                  <a:pt x="2013" y="954"/>
                  <a:pt x="2015" y="960"/>
                  <a:pt x="2019" y="966"/>
                </a:cubicBezTo>
                <a:cubicBezTo>
                  <a:pt x="2019" y="967"/>
                  <a:pt x="2020" y="969"/>
                  <a:pt x="2019" y="970"/>
                </a:cubicBezTo>
                <a:cubicBezTo>
                  <a:pt x="2019" y="971"/>
                  <a:pt x="2019" y="973"/>
                  <a:pt x="2018" y="974"/>
                </a:cubicBezTo>
                <a:cubicBezTo>
                  <a:pt x="2018" y="976"/>
                  <a:pt x="2018" y="977"/>
                  <a:pt x="2019" y="977"/>
                </a:cubicBezTo>
                <a:cubicBezTo>
                  <a:pt x="2023" y="978"/>
                  <a:pt x="2025" y="979"/>
                  <a:pt x="2028" y="979"/>
                </a:cubicBezTo>
                <a:cubicBezTo>
                  <a:pt x="2029" y="979"/>
                  <a:pt x="2030" y="978"/>
                  <a:pt x="2030" y="978"/>
                </a:cubicBezTo>
                <a:cubicBezTo>
                  <a:pt x="2030" y="977"/>
                  <a:pt x="2030" y="975"/>
                  <a:pt x="2031" y="974"/>
                </a:cubicBezTo>
                <a:cubicBezTo>
                  <a:pt x="2033" y="972"/>
                  <a:pt x="2033" y="969"/>
                  <a:pt x="2033" y="966"/>
                </a:cubicBezTo>
                <a:cubicBezTo>
                  <a:pt x="2033" y="966"/>
                  <a:pt x="2033" y="966"/>
                  <a:pt x="2033" y="965"/>
                </a:cubicBezTo>
                <a:cubicBezTo>
                  <a:pt x="2033" y="965"/>
                  <a:pt x="2033" y="965"/>
                  <a:pt x="2033" y="964"/>
                </a:cubicBezTo>
                <a:cubicBezTo>
                  <a:pt x="2033" y="967"/>
                  <a:pt x="2035" y="967"/>
                  <a:pt x="2037" y="967"/>
                </a:cubicBezTo>
                <a:cubicBezTo>
                  <a:pt x="2037" y="967"/>
                  <a:pt x="2039" y="967"/>
                  <a:pt x="2039" y="967"/>
                </a:cubicBezTo>
                <a:cubicBezTo>
                  <a:pt x="2042" y="967"/>
                  <a:pt x="2045" y="968"/>
                  <a:pt x="2046" y="964"/>
                </a:cubicBezTo>
                <a:cubicBezTo>
                  <a:pt x="2046" y="966"/>
                  <a:pt x="2046" y="967"/>
                  <a:pt x="2046" y="968"/>
                </a:cubicBezTo>
                <a:cubicBezTo>
                  <a:pt x="2044" y="969"/>
                  <a:pt x="2043" y="970"/>
                  <a:pt x="2042" y="970"/>
                </a:cubicBezTo>
                <a:cubicBezTo>
                  <a:pt x="2040" y="971"/>
                  <a:pt x="2040" y="973"/>
                  <a:pt x="2041" y="973"/>
                </a:cubicBezTo>
                <a:cubicBezTo>
                  <a:pt x="2042" y="976"/>
                  <a:pt x="2043" y="978"/>
                  <a:pt x="2045" y="980"/>
                </a:cubicBezTo>
                <a:cubicBezTo>
                  <a:pt x="2046" y="981"/>
                  <a:pt x="2048" y="981"/>
                  <a:pt x="2050" y="979"/>
                </a:cubicBezTo>
                <a:cubicBezTo>
                  <a:pt x="2050" y="978"/>
                  <a:pt x="2051" y="977"/>
                  <a:pt x="2052" y="977"/>
                </a:cubicBezTo>
                <a:cubicBezTo>
                  <a:pt x="2053" y="975"/>
                  <a:pt x="2055" y="974"/>
                  <a:pt x="2056" y="973"/>
                </a:cubicBezTo>
                <a:cubicBezTo>
                  <a:pt x="2061" y="969"/>
                  <a:pt x="2063" y="963"/>
                  <a:pt x="2064" y="957"/>
                </a:cubicBezTo>
                <a:cubicBezTo>
                  <a:pt x="2064" y="956"/>
                  <a:pt x="2063" y="956"/>
                  <a:pt x="2063" y="955"/>
                </a:cubicBezTo>
                <a:cubicBezTo>
                  <a:pt x="2062" y="954"/>
                  <a:pt x="2061" y="953"/>
                  <a:pt x="2060" y="952"/>
                </a:cubicBezTo>
                <a:close/>
                <a:moveTo>
                  <a:pt x="2013" y="959"/>
                </a:moveTo>
                <a:cubicBezTo>
                  <a:pt x="2012" y="960"/>
                  <a:pt x="2010" y="960"/>
                  <a:pt x="2009" y="962"/>
                </a:cubicBezTo>
                <a:cubicBezTo>
                  <a:pt x="2009" y="962"/>
                  <a:pt x="2008" y="963"/>
                  <a:pt x="2008" y="964"/>
                </a:cubicBezTo>
                <a:cubicBezTo>
                  <a:pt x="2008" y="966"/>
                  <a:pt x="2013" y="971"/>
                  <a:pt x="2016" y="970"/>
                </a:cubicBezTo>
                <a:cubicBezTo>
                  <a:pt x="2017" y="970"/>
                  <a:pt x="2018" y="969"/>
                  <a:pt x="2017" y="967"/>
                </a:cubicBezTo>
                <a:cubicBezTo>
                  <a:pt x="2016" y="964"/>
                  <a:pt x="2014" y="962"/>
                  <a:pt x="2013" y="959"/>
                </a:cubicBezTo>
                <a:close/>
                <a:moveTo>
                  <a:pt x="2065" y="961"/>
                </a:moveTo>
                <a:cubicBezTo>
                  <a:pt x="2063" y="966"/>
                  <a:pt x="2061" y="970"/>
                  <a:pt x="2058" y="974"/>
                </a:cubicBezTo>
                <a:cubicBezTo>
                  <a:pt x="2061" y="974"/>
                  <a:pt x="2063" y="975"/>
                  <a:pt x="2066" y="974"/>
                </a:cubicBezTo>
                <a:cubicBezTo>
                  <a:pt x="2066" y="974"/>
                  <a:pt x="2067" y="973"/>
                  <a:pt x="2067" y="973"/>
                </a:cubicBezTo>
                <a:cubicBezTo>
                  <a:pt x="2067" y="970"/>
                  <a:pt x="2067" y="967"/>
                  <a:pt x="2066" y="965"/>
                </a:cubicBezTo>
                <a:cubicBezTo>
                  <a:pt x="2066" y="964"/>
                  <a:pt x="2066" y="962"/>
                  <a:pt x="2065" y="961"/>
                </a:cubicBezTo>
                <a:close/>
                <a:moveTo>
                  <a:pt x="2013" y="941"/>
                </a:moveTo>
                <a:cubicBezTo>
                  <a:pt x="2012" y="941"/>
                  <a:pt x="2011" y="941"/>
                  <a:pt x="2011" y="941"/>
                </a:cubicBezTo>
                <a:cubicBezTo>
                  <a:pt x="2010" y="941"/>
                  <a:pt x="2009" y="941"/>
                  <a:pt x="2009" y="941"/>
                </a:cubicBezTo>
                <a:cubicBezTo>
                  <a:pt x="2009" y="941"/>
                  <a:pt x="2008" y="940"/>
                  <a:pt x="2008" y="939"/>
                </a:cubicBezTo>
                <a:cubicBezTo>
                  <a:pt x="2009" y="937"/>
                  <a:pt x="2010" y="935"/>
                  <a:pt x="2010" y="933"/>
                </a:cubicBezTo>
                <a:cubicBezTo>
                  <a:pt x="2010" y="933"/>
                  <a:pt x="2010" y="933"/>
                  <a:pt x="2010" y="933"/>
                </a:cubicBezTo>
                <a:cubicBezTo>
                  <a:pt x="2009" y="934"/>
                  <a:pt x="2008" y="935"/>
                  <a:pt x="2007" y="936"/>
                </a:cubicBezTo>
                <a:cubicBezTo>
                  <a:pt x="2006" y="937"/>
                  <a:pt x="2008" y="942"/>
                  <a:pt x="2009" y="943"/>
                </a:cubicBezTo>
                <a:cubicBezTo>
                  <a:pt x="2011" y="944"/>
                  <a:pt x="2013" y="943"/>
                  <a:pt x="2013" y="941"/>
                </a:cubicBezTo>
                <a:close/>
                <a:moveTo>
                  <a:pt x="2013" y="959"/>
                </a:moveTo>
                <a:cubicBezTo>
                  <a:pt x="2012" y="960"/>
                  <a:pt x="2010" y="961"/>
                  <a:pt x="2009" y="962"/>
                </a:cubicBezTo>
                <a:cubicBezTo>
                  <a:pt x="2009" y="962"/>
                  <a:pt x="2008" y="963"/>
                  <a:pt x="2008" y="964"/>
                </a:cubicBezTo>
                <a:cubicBezTo>
                  <a:pt x="2008" y="967"/>
                  <a:pt x="2013" y="971"/>
                  <a:pt x="2016" y="971"/>
                </a:cubicBezTo>
                <a:cubicBezTo>
                  <a:pt x="2017" y="971"/>
                  <a:pt x="2018" y="969"/>
                  <a:pt x="2017" y="968"/>
                </a:cubicBezTo>
                <a:cubicBezTo>
                  <a:pt x="2016" y="965"/>
                  <a:pt x="2014" y="962"/>
                  <a:pt x="2013" y="959"/>
                </a:cubicBezTo>
                <a:close/>
                <a:moveTo>
                  <a:pt x="2065" y="961"/>
                </a:moveTo>
                <a:cubicBezTo>
                  <a:pt x="2063" y="966"/>
                  <a:pt x="2060" y="970"/>
                  <a:pt x="2058" y="974"/>
                </a:cubicBezTo>
                <a:cubicBezTo>
                  <a:pt x="2061" y="974"/>
                  <a:pt x="2063" y="975"/>
                  <a:pt x="2066" y="974"/>
                </a:cubicBezTo>
                <a:cubicBezTo>
                  <a:pt x="2066" y="974"/>
                  <a:pt x="2067" y="973"/>
                  <a:pt x="2067" y="973"/>
                </a:cubicBezTo>
                <a:cubicBezTo>
                  <a:pt x="2067" y="970"/>
                  <a:pt x="2067" y="968"/>
                  <a:pt x="2066" y="965"/>
                </a:cubicBezTo>
                <a:cubicBezTo>
                  <a:pt x="2066" y="964"/>
                  <a:pt x="2066" y="962"/>
                  <a:pt x="2065" y="961"/>
                </a:cubicBezTo>
                <a:close/>
                <a:moveTo>
                  <a:pt x="2012" y="941"/>
                </a:moveTo>
                <a:cubicBezTo>
                  <a:pt x="2012" y="941"/>
                  <a:pt x="2011" y="942"/>
                  <a:pt x="2011" y="942"/>
                </a:cubicBezTo>
                <a:cubicBezTo>
                  <a:pt x="2010" y="942"/>
                  <a:pt x="2009" y="942"/>
                  <a:pt x="2009" y="941"/>
                </a:cubicBezTo>
                <a:cubicBezTo>
                  <a:pt x="2009" y="941"/>
                  <a:pt x="2008" y="940"/>
                  <a:pt x="2008" y="939"/>
                </a:cubicBezTo>
                <a:cubicBezTo>
                  <a:pt x="2009" y="937"/>
                  <a:pt x="2009" y="935"/>
                  <a:pt x="2010" y="933"/>
                </a:cubicBezTo>
                <a:cubicBezTo>
                  <a:pt x="2010" y="933"/>
                  <a:pt x="2010" y="933"/>
                  <a:pt x="2009" y="933"/>
                </a:cubicBezTo>
                <a:cubicBezTo>
                  <a:pt x="2009" y="934"/>
                  <a:pt x="2007" y="935"/>
                  <a:pt x="2007" y="936"/>
                </a:cubicBezTo>
                <a:cubicBezTo>
                  <a:pt x="2006" y="937"/>
                  <a:pt x="2007" y="942"/>
                  <a:pt x="2009" y="943"/>
                </a:cubicBezTo>
                <a:cubicBezTo>
                  <a:pt x="2011" y="944"/>
                  <a:pt x="2012" y="943"/>
                  <a:pt x="2012" y="941"/>
                </a:cubicBezTo>
                <a:close/>
                <a:moveTo>
                  <a:pt x="2065" y="933"/>
                </a:moveTo>
                <a:cubicBezTo>
                  <a:pt x="2068" y="929"/>
                  <a:pt x="2068" y="929"/>
                  <a:pt x="2072" y="928"/>
                </a:cubicBezTo>
                <a:cubicBezTo>
                  <a:pt x="2072" y="930"/>
                  <a:pt x="2073" y="931"/>
                  <a:pt x="2074" y="931"/>
                </a:cubicBezTo>
                <a:cubicBezTo>
                  <a:pt x="2072" y="932"/>
                  <a:pt x="2070" y="934"/>
                  <a:pt x="2068" y="935"/>
                </a:cubicBezTo>
                <a:cubicBezTo>
                  <a:pt x="2068" y="934"/>
                  <a:pt x="2067" y="933"/>
                  <a:pt x="2066" y="932"/>
                </a:cubicBezTo>
                <a:cubicBezTo>
                  <a:pt x="2066" y="932"/>
                  <a:pt x="2066" y="932"/>
                  <a:pt x="2065" y="933"/>
                </a:cubicBezTo>
                <a:close/>
                <a:moveTo>
                  <a:pt x="2071" y="932"/>
                </a:moveTo>
                <a:cubicBezTo>
                  <a:pt x="2070" y="932"/>
                  <a:pt x="2069" y="931"/>
                  <a:pt x="2069" y="931"/>
                </a:cubicBezTo>
                <a:cubicBezTo>
                  <a:pt x="2068" y="931"/>
                  <a:pt x="2068" y="932"/>
                  <a:pt x="2068" y="933"/>
                </a:cubicBezTo>
                <a:cubicBezTo>
                  <a:pt x="2068" y="933"/>
                  <a:pt x="2068" y="933"/>
                  <a:pt x="2068" y="934"/>
                </a:cubicBezTo>
                <a:cubicBezTo>
                  <a:pt x="2069" y="933"/>
                  <a:pt x="2069" y="933"/>
                  <a:pt x="2071" y="932"/>
                </a:cubicBezTo>
                <a:close/>
                <a:moveTo>
                  <a:pt x="2052" y="922"/>
                </a:moveTo>
                <a:cubicBezTo>
                  <a:pt x="2045" y="921"/>
                  <a:pt x="2042" y="924"/>
                  <a:pt x="2041" y="932"/>
                </a:cubicBezTo>
                <a:cubicBezTo>
                  <a:pt x="2042" y="930"/>
                  <a:pt x="2044" y="928"/>
                  <a:pt x="2045" y="925"/>
                </a:cubicBezTo>
                <a:cubicBezTo>
                  <a:pt x="2045" y="925"/>
                  <a:pt x="2045" y="925"/>
                  <a:pt x="2045" y="925"/>
                </a:cubicBezTo>
                <a:cubicBezTo>
                  <a:pt x="2045" y="926"/>
                  <a:pt x="2046" y="927"/>
                  <a:pt x="2046" y="928"/>
                </a:cubicBezTo>
                <a:cubicBezTo>
                  <a:pt x="2047" y="925"/>
                  <a:pt x="2048" y="923"/>
                  <a:pt x="2052" y="922"/>
                </a:cubicBezTo>
                <a:close/>
                <a:moveTo>
                  <a:pt x="2096" y="924"/>
                </a:moveTo>
                <a:cubicBezTo>
                  <a:pt x="2094" y="925"/>
                  <a:pt x="2092" y="927"/>
                  <a:pt x="2090" y="928"/>
                </a:cubicBezTo>
                <a:cubicBezTo>
                  <a:pt x="2092" y="928"/>
                  <a:pt x="2094" y="927"/>
                  <a:pt x="2096" y="924"/>
                </a:cubicBezTo>
                <a:close/>
                <a:moveTo>
                  <a:pt x="2062" y="926"/>
                </a:moveTo>
                <a:cubicBezTo>
                  <a:pt x="2063" y="925"/>
                  <a:pt x="2064" y="923"/>
                  <a:pt x="2066" y="922"/>
                </a:cubicBezTo>
                <a:cubicBezTo>
                  <a:pt x="2062" y="923"/>
                  <a:pt x="2061" y="924"/>
                  <a:pt x="2062" y="926"/>
                </a:cubicBezTo>
                <a:close/>
                <a:moveTo>
                  <a:pt x="2072" y="947"/>
                </a:moveTo>
                <a:cubicBezTo>
                  <a:pt x="2070" y="948"/>
                  <a:pt x="2070" y="949"/>
                  <a:pt x="2070" y="949"/>
                </a:cubicBezTo>
                <a:cubicBezTo>
                  <a:pt x="2070" y="949"/>
                  <a:pt x="2071" y="948"/>
                  <a:pt x="2072" y="947"/>
                </a:cubicBezTo>
                <a:close/>
                <a:moveTo>
                  <a:pt x="2071" y="932"/>
                </a:moveTo>
                <a:cubicBezTo>
                  <a:pt x="2070" y="931"/>
                  <a:pt x="2069" y="931"/>
                  <a:pt x="2069" y="931"/>
                </a:cubicBezTo>
                <a:cubicBezTo>
                  <a:pt x="2068" y="931"/>
                  <a:pt x="2068" y="932"/>
                  <a:pt x="2068" y="932"/>
                </a:cubicBezTo>
                <a:cubicBezTo>
                  <a:pt x="2068" y="933"/>
                  <a:pt x="2068" y="933"/>
                  <a:pt x="2068" y="933"/>
                </a:cubicBezTo>
                <a:cubicBezTo>
                  <a:pt x="2069" y="933"/>
                  <a:pt x="2069" y="933"/>
                  <a:pt x="2071" y="932"/>
                </a:cubicBezTo>
                <a:close/>
                <a:moveTo>
                  <a:pt x="3701" y="1078"/>
                </a:moveTo>
                <a:cubicBezTo>
                  <a:pt x="3704" y="1059"/>
                  <a:pt x="3704" y="1059"/>
                  <a:pt x="3704" y="1059"/>
                </a:cubicBezTo>
                <a:cubicBezTo>
                  <a:pt x="3695" y="1059"/>
                  <a:pt x="3695" y="1059"/>
                  <a:pt x="3695" y="1059"/>
                </a:cubicBezTo>
                <a:cubicBezTo>
                  <a:pt x="3695" y="1047"/>
                  <a:pt x="3695" y="1047"/>
                  <a:pt x="3695" y="1047"/>
                </a:cubicBezTo>
                <a:cubicBezTo>
                  <a:pt x="3706" y="1047"/>
                  <a:pt x="3706" y="1047"/>
                  <a:pt x="3706" y="1047"/>
                </a:cubicBezTo>
                <a:cubicBezTo>
                  <a:pt x="3708" y="1036"/>
                  <a:pt x="3708" y="1036"/>
                  <a:pt x="3708" y="1036"/>
                </a:cubicBezTo>
                <a:cubicBezTo>
                  <a:pt x="3698" y="1036"/>
                  <a:pt x="3698" y="1036"/>
                  <a:pt x="3698" y="1036"/>
                </a:cubicBezTo>
                <a:cubicBezTo>
                  <a:pt x="3698" y="1024"/>
                  <a:pt x="3698" y="1024"/>
                  <a:pt x="3698" y="1024"/>
                </a:cubicBezTo>
                <a:cubicBezTo>
                  <a:pt x="3710" y="1024"/>
                  <a:pt x="3710" y="1024"/>
                  <a:pt x="3710" y="1024"/>
                </a:cubicBezTo>
                <a:cubicBezTo>
                  <a:pt x="3712" y="1006"/>
                  <a:pt x="3712" y="1006"/>
                  <a:pt x="3712" y="1006"/>
                </a:cubicBezTo>
                <a:cubicBezTo>
                  <a:pt x="3724" y="1006"/>
                  <a:pt x="3724" y="1006"/>
                  <a:pt x="3724" y="1006"/>
                </a:cubicBezTo>
                <a:cubicBezTo>
                  <a:pt x="3721" y="1024"/>
                  <a:pt x="3721" y="1024"/>
                  <a:pt x="3721" y="1024"/>
                </a:cubicBezTo>
                <a:cubicBezTo>
                  <a:pt x="3730" y="1024"/>
                  <a:pt x="3730" y="1024"/>
                  <a:pt x="3730" y="1024"/>
                </a:cubicBezTo>
                <a:cubicBezTo>
                  <a:pt x="3733" y="1006"/>
                  <a:pt x="3733" y="1006"/>
                  <a:pt x="3733" y="1006"/>
                </a:cubicBezTo>
                <a:cubicBezTo>
                  <a:pt x="3745" y="1006"/>
                  <a:pt x="3745" y="1006"/>
                  <a:pt x="3745" y="1006"/>
                </a:cubicBezTo>
                <a:cubicBezTo>
                  <a:pt x="3742" y="1024"/>
                  <a:pt x="3742" y="1024"/>
                  <a:pt x="3742" y="1024"/>
                </a:cubicBezTo>
                <a:cubicBezTo>
                  <a:pt x="3751" y="1024"/>
                  <a:pt x="3751" y="1024"/>
                  <a:pt x="3751" y="1024"/>
                </a:cubicBezTo>
                <a:cubicBezTo>
                  <a:pt x="3751" y="1036"/>
                  <a:pt x="3751" y="1036"/>
                  <a:pt x="3751" y="1036"/>
                </a:cubicBezTo>
                <a:cubicBezTo>
                  <a:pt x="3740" y="1036"/>
                  <a:pt x="3740" y="1036"/>
                  <a:pt x="3740" y="1036"/>
                </a:cubicBezTo>
                <a:cubicBezTo>
                  <a:pt x="3738" y="1047"/>
                  <a:pt x="3738" y="1047"/>
                  <a:pt x="3738" y="1047"/>
                </a:cubicBezTo>
                <a:cubicBezTo>
                  <a:pt x="3747" y="1047"/>
                  <a:pt x="3747" y="1047"/>
                  <a:pt x="3747" y="1047"/>
                </a:cubicBezTo>
                <a:cubicBezTo>
                  <a:pt x="3747" y="1059"/>
                  <a:pt x="3747" y="1059"/>
                  <a:pt x="3747" y="1059"/>
                </a:cubicBezTo>
                <a:cubicBezTo>
                  <a:pt x="3736" y="1059"/>
                  <a:pt x="3736" y="1059"/>
                  <a:pt x="3736" y="1059"/>
                </a:cubicBezTo>
                <a:cubicBezTo>
                  <a:pt x="3734" y="1078"/>
                  <a:pt x="3734" y="1078"/>
                  <a:pt x="3734" y="1078"/>
                </a:cubicBezTo>
                <a:cubicBezTo>
                  <a:pt x="3722" y="1078"/>
                  <a:pt x="3722" y="1078"/>
                  <a:pt x="3722" y="1078"/>
                </a:cubicBezTo>
                <a:cubicBezTo>
                  <a:pt x="3725" y="1059"/>
                  <a:pt x="3725" y="1059"/>
                  <a:pt x="3725" y="1059"/>
                </a:cubicBezTo>
                <a:cubicBezTo>
                  <a:pt x="3715" y="1059"/>
                  <a:pt x="3715" y="1059"/>
                  <a:pt x="3715" y="1059"/>
                </a:cubicBezTo>
                <a:cubicBezTo>
                  <a:pt x="3713" y="1078"/>
                  <a:pt x="3713" y="1078"/>
                  <a:pt x="3713" y="1078"/>
                </a:cubicBezTo>
                <a:cubicBezTo>
                  <a:pt x="3701" y="1078"/>
                  <a:pt x="3701" y="1078"/>
                  <a:pt x="3701" y="1078"/>
                </a:cubicBezTo>
                <a:cubicBezTo>
                  <a:pt x="3701" y="1078"/>
                  <a:pt x="3701" y="1078"/>
                  <a:pt x="3701" y="1078"/>
                </a:cubicBezTo>
                <a:close/>
                <a:moveTo>
                  <a:pt x="3727" y="1047"/>
                </a:moveTo>
                <a:cubicBezTo>
                  <a:pt x="3729" y="1036"/>
                  <a:pt x="3729" y="1036"/>
                  <a:pt x="3729" y="1036"/>
                </a:cubicBezTo>
                <a:cubicBezTo>
                  <a:pt x="3719" y="1036"/>
                  <a:pt x="3719" y="1036"/>
                  <a:pt x="3719" y="1036"/>
                </a:cubicBezTo>
                <a:cubicBezTo>
                  <a:pt x="3718" y="1047"/>
                  <a:pt x="3718" y="1047"/>
                  <a:pt x="3718" y="1047"/>
                </a:cubicBezTo>
                <a:cubicBezTo>
                  <a:pt x="3727" y="1047"/>
                  <a:pt x="3727" y="1047"/>
                  <a:pt x="3727" y="1047"/>
                </a:cubicBezTo>
                <a:cubicBezTo>
                  <a:pt x="3727" y="1047"/>
                  <a:pt x="3727" y="1047"/>
                  <a:pt x="3727" y="1047"/>
                </a:cubicBezTo>
                <a:close/>
                <a:moveTo>
                  <a:pt x="2586" y="1052"/>
                </a:moveTo>
                <a:cubicBezTo>
                  <a:pt x="2586" y="1053"/>
                  <a:pt x="2587" y="1055"/>
                  <a:pt x="2588" y="1056"/>
                </a:cubicBezTo>
                <a:cubicBezTo>
                  <a:pt x="2588" y="1058"/>
                  <a:pt x="2588" y="1060"/>
                  <a:pt x="2589" y="1061"/>
                </a:cubicBezTo>
                <a:cubicBezTo>
                  <a:pt x="2589" y="1063"/>
                  <a:pt x="2589" y="1065"/>
                  <a:pt x="2589" y="1066"/>
                </a:cubicBezTo>
                <a:cubicBezTo>
                  <a:pt x="2590" y="1069"/>
                  <a:pt x="2589" y="1071"/>
                  <a:pt x="2586" y="1071"/>
                </a:cubicBezTo>
                <a:cubicBezTo>
                  <a:pt x="2583" y="1071"/>
                  <a:pt x="2580" y="1070"/>
                  <a:pt x="2577" y="1070"/>
                </a:cubicBezTo>
                <a:cubicBezTo>
                  <a:pt x="2577" y="1070"/>
                  <a:pt x="2576" y="1070"/>
                  <a:pt x="2576" y="1071"/>
                </a:cubicBezTo>
                <a:cubicBezTo>
                  <a:pt x="2574" y="1072"/>
                  <a:pt x="2573" y="1074"/>
                  <a:pt x="2572" y="1075"/>
                </a:cubicBezTo>
                <a:cubicBezTo>
                  <a:pt x="2570" y="1078"/>
                  <a:pt x="2566" y="1078"/>
                  <a:pt x="2564" y="1076"/>
                </a:cubicBezTo>
                <a:cubicBezTo>
                  <a:pt x="2562" y="1074"/>
                  <a:pt x="2561" y="1071"/>
                  <a:pt x="2559" y="1068"/>
                </a:cubicBezTo>
                <a:cubicBezTo>
                  <a:pt x="2559" y="1067"/>
                  <a:pt x="2559" y="1065"/>
                  <a:pt x="2561" y="1064"/>
                </a:cubicBezTo>
                <a:cubicBezTo>
                  <a:pt x="2559" y="1064"/>
                  <a:pt x="2557" y="1064"/>
                  <a:pt x="2556" y="1064"/>
                </a:cubicBezTo>
                <a:cubicBezTo>
                  <a:pt x="2555" y="1066"/>
                  <a:pt x="2554" y="1068"/>
                  <a:pt x="2553" y="1070"/>
                </a:cubicBezTo>
                <a:cubicBezTo>
                  <a:pt x="2553" y="1070"/>
                  <a:pt x="2552" y="1071"/>
                  <a:pt x="2552" y="1072"/>
                </a:cubicBezTo>
                <a:cubicBezTo>
                  <a:pt x="2552" y="1075"/>
                  <a:pt x="2551" y="1076"/>
                  <a:pt x="2548" y="1076"/>
                </a:cubicBezTo>
                <a:cubicBezTo>
                  <a:pt x="2545" y="1076"/>
                  <a:pt x="2542" y="1075"/>
                  <a:pt x="2539" y="1074"/>
                </a:cubicBezTo>
                <a:cubicBezTo>
                  <a:pt x="2537" y="1073"/>
                  <a:pt x="2537" y="1072"/>
                  <a:pt x="2537" y="1070"/>
                </a:cubicBezTo>
                <a:cubicBezTo>
                  <a:pt x="2537" y="1069"/>
                  <a:pt x="2537" y="1068"/>
                  <a:pt x="2538" y="1068"/>
                </a:cubicBezTo>
                <a:cubicBezTo>
                  <a:pt x="2536" y="1067"/>
                  <a:pt x="2533" y="1066"/>
                  <a:pt x="2531" y="1065"/>
                </a:cubicBezTo>
                <a:cubicBezTo>
                  <a:pt x="2530" y="1064"/>
                  <a:pt x="2529" y="1062"/>
                  <a:pt x="2528" y="1060"/>
                </a:cubicBezTo>
                <a:cubicBezTo>
                  <a:pt x="2527" y="1058"/>
                  <a:pt x="2527" y="1057"/>
                  <a:pt x="2529" y="1055"/>
                </a:cubicBezTo>
                <a:cubicBezTo>
                  <a:pt x="2532" y="1053"/>
                  <a:pt x="2533" y="1050"/>
                  <a:pt x="2532" y="1046"/>
                </a:cubicBezTo>
                <a:cubicBezTo>
                  <a:pt x="2532" y="1044"/>
                  <a:pt x="2532" y="1042"/>
                  <a:pt x="2532" y="1040"/>
                </a:cubicBezTo>
                <a:cubicBezTo>
                  <a:pt x="2531" y="1039"/>
                  <a:pt x="2529" y="1039"/>
                  <a:pt x="2528" y="1038"/>
                </a:cubicBezTo>
                <a:cubicBezTo>
                  <a:pt x="2527" y="1036"/>
                  <a:pt x="2526" y="1034"/>
                  <a:pt x="2526" y="1032"/>
                </a:cubicBezTo>
                <a:cubicBezTo>
                  <a:pt x="2526" y="1029"/>
                  <a:pt x="2530" y="1026"/>
                  <a:pt x="2532" y="1026"/>
                </a:cubicBezTo>
                <a:cubicBezTo>
                  <a:pt x="2533" y="1026"/>
                  <a:pt x="2533" y="1027"/>
                  <a:pt x="2533" y="1028"/>
                </a:cubicBezTo>
                <a:cubicBezTo>
                  <a:pt x="2533" y="1029"/>
                  <a:pt x="2533" y="1030"/>
                  <a:pt x="2534" y="1031"/>
                </a:cubicBezTo>
                <a:cubicBezTo>
                  <a:pt x="2533" y="1031"/>
                  <a:pt x="2532" y="1031"/>
                  <a:pt x="2532" y="1031"/>
                </a:cubicBezTo>
                <a:cubicBezTo>
                  <a:pt x="2532" y="1032"/>
                  <a:pt x="2531" y="1033"/>
                  <a:pt x="2530" y="1035"/>
                </a:cubicBezTo>
                <a:cubicBezTo>
                  <a:pt x="2532" y="1035"/>
                  <a:pt x="2532" y="1035"/>
                  <a:pt x="2533" y="1034"/>
                </a:cubicBezTo>
                <a:cubicBezTo>
                  <a:pt x="2534" y="1033"/>
                  <a:pt x="2535" y="1032"/>
                  <a:pt x="2536" y="1031"/>
                </a:cubicBezTo>
                <a:cubicBezTo>
                  <a:pt x="2540" y="1025"/>
                  <a:pt x="2546" y="1021"/>
                  <a:pt x="2554" y="1019"/>
                </a:cubicBezTo>
                <a:cubicBezTo>
                  <a:pt x="2557" y="1019"/>
                  <a:pt x="2560" y="1017"/>
                  <a:pt x="2562" y="1015"/>
                </a:cubicBezTo>
                <a:cubicBezTo>
                  <a:pt x="2562" y="1014"/>
                  <a:pt x="2563" y="1014"/>
                  <a:pt x="2563" y="1014"/>
                </a:cubicBezTo>
                <a:cubicBezTo>
                  <a:pt x="2566" y="1013"/>
                  <a:pt x="2568" y="1011"/>
                  <a:pt x="2570" y="1009"/>
                </a:cubicBezTo>
                <a:cubicBezTo>
                  <a:pt x="2577" y="1002"/>
                  <a:pt x="2589" y="1001"/>
                  <a:pt x="2597" y="1008"/>
                </a:cubicBezTo>
                <a:cubicBezTo>
                  <a:pt x="2599" y="1010"/>
                  <a:pt x="2602" y="1012"/>
                  <a:pt x="2604" y="1014"/>
                </a:cubicBezTo>
                <a:cubicBezTo>
                  <a:pt x="2606" y="1015"/>
                  <a:pt x="2607" y="1017"/>
                  <a:pt x="2608" y="1019"/>
                </a:cubicBezTo>
                <a:cubicBezTo>
                  <a:pt x="2609" y="1020"/>
                  <a:pt x="2610" y="1020"/>
                  <a:pt x="2611" y="1019"/>
                </a:cubicBezTo>
                <a:cubicBezTo>
                  <a:pt x="2612" y="1019"/>
                  <a:pt x="2612" y="1018"/>
                  <a:pt x="2613" y="1017"/>
                </a:cubicBezTo>
                <a:cubicBezTo>
                  <a:pt x="2615" y="1014"/>
                  <a:pt x="2618" y="1014"/>
                  <a:pt x="2619" y="1017"/>
                </a:cubicBezTo>
                <a:cubicBezTo>
                  <a:pt x="2621" y="1021"/>
                  <a:pt x="2621" y="1023"/>
                  <a:pt x="2622" y="1026"/>
                </a:cubicBezTo>
                <a:cubicBezTo>
                  <a:pt x="2623" y="1031"/>
                  <a:pt x="2622" y="1035"/>
                  <a:pt x="2621" y="1040"/>
                </a:cubicBezTo>
                <a:cubicBezTo>
                  <a:pt x="2618" y="1046"/>
                  <a:pt x="2614" y="1049"/>
                  <a:pt x="2607" y="1049"/>
                </a:cubicBezTo>
                <a:cubicBezTo>
                  <a:pt x="2606" y="1049"/>
                  <a:pt x="2606" y="1049"/>
                  <a:pt x="2605" y="1049"/>
                </a:cubicBezTo>
                <a:cubicBezTo>
                  <a:pt x="2603" y="1049"/>
                  <a:pt x="2601" y="1049"/>
                  <a:pt x="2601" y="1052"/>
                </a:cubicBezTo>
                <a:cubicBezTo>
                  <a:pt x="2599" y="1056"/>
                  <a:pt x="2594" y="1058"/>
                  <a:pt x="2590" y="1055"/>
                </a:cubicBezTo>
                <a:cubicBezTo>
                  <a:pt x="2589" y="1053"/>
                  <a:pt x="2588" y="1053"/>
                  <a:pt x="2587" y="1051"/>
                </a:cubicBezTo>
                <a:cubicBezTo>
                  <a:pt x="2586" y="1052"/>
                  <a:pt x="2586" y="1052"/>
                  <a:pt x="2586" y="1052"/>
                </a:cubicBezTo>
                <a:close/>
                <a:moveTo>
                  <a:pt x="2581" y="1047"/>
                </a:moveTo>
                <a:cubicBezTo>
                  <a:pt x="2584" y="1049"/>
                  <a:pt x="2588" y="1050"/>
                  <a:pt x="2590" y="1053"/>
                </a:cubicBezTo>
                <a:cubicBezTo>
                  <a:pt x="2592" y="1055"/>
                  <a:pt x="2594" y="1055"/>
                  <a:pt x="2596" y="1055"/>
                </a:cubicBezTo>
                <a:cubicBezTo>
                  <a:pt x="2599" y="1054"/>
                  <a:pt x="2600" y="1052"/>
                  <a:pt x="2600" y="1049"/>
                </a:cubicBezTo>
                <a:cubicBezTo>
                  <a:pt x="2600" y="1049"/>
                  <a:pt x="2599" y="1049"/>
                  <a:pt x="2599" y="1049"/>
                </a:cubicBezTo>
                <a:cubicBezTo>
                  <a:pt x="2599" y="1051"/>
                  <a:pt x="2597" y="1052"/>
                  <a:pt x="2597" y="1053"/>
                </a:cubicBezTo>
                <a:cubicBezTo>
                  <a:pt x="2596" y="1054"/>
                  <a:pt x="2594" y="1054"/>
                  <a:pt x="2594" y="1053"/>
                </a:cubicBezTo>
                <a:cubicBezTo>
                  <a:pt x="2593" y="1053"/>
                  <a:pt x="2592" y="1052"/>
                  <a:pt x="2592" y="1051"/>
                </a:cubicBezTo>
                <a:cubicBezTo>
                  <a:pt x="2592" y="1049"/>
                  <a:pt x="2593" y="1047"/>
                  <a:pt x="2593" y="1045"/>
                </a:cubicBezTo>
                <a:cubicBezTo>
                  <a:pt x="2596" y="1046"/>
                  <a:pt x="2599" y="1047"/>
                  <a:pt x="2603" y="1047"/>
                </a:cubicBezTo>
                <a:cubicBezTo>
                  <a:pt x="2610" y="1049"/>
                  <a:pt x="2616" y="1047"/>
                  <a:pt x="2619" y="1038"/>
                </a:cubicBezTo>
                <a:cubicBezTo>
                  <a:pt x="2621" y="1034"/>
                  <a:pt x="2621" y="1029"/>
                  <a:pt x="2620" y="1024"/>
                </a:cubicBezTo>
                <a:cubicBezTo>
                  <a:pt x="2619" y="1022"/>
                  <a:pt x="2619" y="1020"/>
                  <a:pt x="2618" y="1018"/>
                </a:cubicBezTo>
                <a:cubicBezTo>
                  <a:pt x="2617" y="1017"/>
                  <a:pt x="2616" y="1016"/>
                  <a:pt x="2615" y="1018"/>
                </a:cubicBezTo>
                <a:cubicBezTo>
                  <a:pt x="2613" y="1019"/>
                  <a:pt x="2612" y="1021"/>
                  <a:pt x="2610" y="1022"/>
                </a:cubicBezTo>
                <a:cubicBezTo>
                  <a:pt x="2609" y="1022"/>
                  <a:pt x="2608" y="1023"/>
                  <a:pt x="2608" y="1024"/>
                </a:cubicBezTo>
                <a:cubicBezTo>
                  <a:pt x="2609" y="1027"/>
                  <a:pt x="2608" y="1030"/>
                  <a:pt x="2607" y="1034"/>
                </a:cubicBezTo>
                <a:cubicBezTo>
                  <a:pt x="2607" y="1032"/>
                  <a:pt x="2608" y="1030"/>
                  <a:pt x="2608" y="1028"/>
                </a:cubicBezTo>
                <a:cubicBezTo>
                  <a:pt x="2608" y="1027"/>
                  <a:pt x="2607" y="1027"/>
                  <a:pt x="2607" y="1026"/>
                </a:cubicBezTo>
                <a:cubicBezTo>
                  <a:pt x="2606" y="1027"/>
                  <a:pt x="2606" y="1027"/>
                  <a:pt x="2606" y="1027"/>
                </a:cubicBezTo>
                <a:cubicBezTo>
                  <a:pt x="2605" y="1028"/>
                  <a:pt x="2604" y="1030"/>
                  <a:pt x="2603" y="1031"/>
                </a:cubicBezTo>
                <a:cubicBezTo>
                  <a:pt x="2603" y="1031"/>
                  <a:pt x="2603" y="1031"/>
                  <a:pt x="2603" y="1031"/>
                </a:cubicBezTo>
                <a:cubicBezTo>
                  <a:pt x="2603" y="1030"/>
                  <a:pt x="2604" y="1028"/>
                  <a:pt x="2604" y="1026"/>
                </a:cubicBezTo>
                <a:cubicBezTo>
                  <a:pt x="2603" y="1026"/>
                  <a:pt x="2603" y="1027"/>
                  <a:pt x="2602" y="1028"/>
                </a:cubicBezTo>
                <a:cubicBezTo>
                  <a:pt x="2601" y="1028"/>
                  <a:pt x="2601" y="1029"/>
                  <a:pt x="2601" y="1030"/>
                </a:cubicBezTo>
                <a:cubicBezTo>
                  <a:pt x="2601" y="1026"/>
                  <a:pt x="2601" y="1026"/>
                  <a:pt x="2607" y="1025"/>
                </a:cubicBezTo>
                <a:cubicBezTo>
                  <a:pt x="2607" y="1025"/>
                  <a:pt x="2606" y="1024"/>
                  <a:pt x="2606" y="1024"/>
                </a:cubicBezTo>
                <a:cubicBezTo>
                  <a:pt x="2603" y="1025"/>
                  <a:pt x="2603" y="1023"/>
                  <a:pt x="2602" y="1021"/>
                </a:cubicBezTo>
                <a:cubicBezTo>
                  <a:pt x="2604" y="1020"/>
                  <a:pt x="2605" y="1020"/>
                  <a:pt x="2607" y="1019"/>
                </a:cubicBezTo>
                <a:cubicBezTo>
                  <a:pt x="2605" y="1017"/>
                  <a:pt x="2604" y="1014"/>
                  <a:pt x="2601" y="1014"/>
                </a:cubicBezTo>
                <a:cubicBezTo>
                  <a:pt x="2600" y="1014"/>
                  <a:pt x="2600" y="1013"/>
                  <a:pt x="2600" y="1013"/>
                </a:cubicBezTo>
                <a:cubicBezTo>
                  <a:pt x="2597" y="1011"/>
                  <a:pt x="2595" y="1009"/>
                  <a:pt x="2592" y="1007"/>
                </a:cubicBezTo>
                <a:cubicBezTo>
                  <a:pt x="2590" y="1006"/>
                  <a:pt x="2587" y="1005"/>
                  <a:pt x="2585" y="1005"/>
                </a:cubicBezTo>
                <a:cubicBezTo>
                  <a:pt x="2582" y="1005"/>
                  <a:pt x="2579" y="1006"/>
                  <a:pt x="2576" y="1007"/>
                </a:cubicBezTo>
                <a:cubicBezTo>
                  <a:pt x="2573" y="1008"/>
                  <a:pt x="2570" y="1010"/>
                  <a:pt x="2568" y="1013"/>
                </a:cubicBezTo>
                <a:cubicBezTo>
                  <a:pt x="2570" y="1013"/>
                  <a:pt x="2571" y="1013"/>
                  <a:pt x="2572" y="1013"/>
                </a:cubicBezTo>
                <a:cubicBezTo>
                  <a:pt x="2572" y="1013"/>
                  <a:pt x="2571" y="1014"/>
                  <a:pt x="2570" y="1014"/>
                </a:cubicBezTo>
                <a:cubicBezTo>
                  <a:pt x="2568" y="1015"/>
                  <a:pt x="2565" y="1014"/>
                  <a:pt x="2563" y="1016"/>
                </a:cubicBezTo>
                <a:cubicBezTo>
                  <a:pt x="2560" y="1020"/>
                  <a:pt x="2556" y="1024"/>
                  <a:pt x="2552" y="1028"/>
                </a:cubicBezTo>
                <a:cubicBezTo>
                  <a:pt x="2551" y="1030"/>
                  <a:pt x="2550" y="1032"/>
                  <a:pt x="2549" y="1035"/>
                </a:cubicBezTo>
                <a:cubicBezTo>
                  <a:pt x="2549" y="1035"/>
                  <a:pt x="2549" y="1036"/>
                  <a:pt x="2549" y="1036"/>
                </a:cubicBezTo>
                <a:cubicBezTo>
                  <a:pt x="2550" y="1038"/>
                  <a:pt x="2552" y="1040"/>
                  <a:pt x="2553" y="1042"/>
                </a:cubicBezTo>
                <a:cubicBezTo>
                  <a:pt x="2554" y="1041"/>
                  <a:pt x="2556" y="1039"/>
                  <a:pt x="2557" y="1038"/>
                </a:cubicBezTo>
                <a:cubicBezTo>
                  <a:pt x="2556" y="1039"/>
                  <a:pt x="2556" y="1040"/>
                  <a:pt x="2555" y="1042"/>
                </a:cubicBezTo>
                <a:cubicBezTo>
                  <a:pt x="2554" y="1043"/>
                  <a:pt x="2554" y="1044"/>
                  <a:pt x="2553" y="1046"/>
                </a:cubicBezTo>
                <a:cubicBezTo>
                  <a:pt x="2553" y="1047"/>
                  <a:pt x="2553" y="1048"/>
                  <a:pt x="2554" y="1049"/>
                </a:cubicBezTo>
                <a:cubicBezTo>
                  <a:pt x="2556" y="1052"/>
                  <a:pt x="2559" y="1052"/>
                  <a:pt x="2563" y="1050"/>
                </a:cubicBezTo>
                <a:cubicBezTo>
                  <a:pt x="2565" y="1049"/>
                  <a:pt x="2568" y="1047"/>
                  <a:pt x="2571" y="1047"/>
                </a:cubicBezTo>
                <a:cubicBezTo>
                  <a:pt x="2572" y="1046"/>
                  <a:pt x="2574" y="1045"/>
                  <a:pt x="2574" y="1044"/>
                </a:cubicBezTo>
                <a:cubicBezTo>
                  <a:pt x="2574" y="1041"/>
                  <a:pt x="2574" y="1037"/>
                  <a:pt x="2574" y="1034"/>
                </a:cubicBezTo>
                <a:cubicBezTo>
                  <a:pt x="2574" y="1031"/>
                  <a:pt x="2574" y="1028"/>
                  <a:pt x="2574" y="1025"/>
                </a:cubicBezTo>
                <a:cubicBezTo>
                  <a:pt x="2574" y="1028"/>
                  <a:pt x="2575" y="1030"/>
                  <a:pt x="2575" y="1033"/>
                </a:cubicBezTo>
                <a:cubicBezTo>
                  <a:pt x="2576" y="1038"/>
                  <a:pt x="2576" y="1042"/>
                  <a:pt x="2575" y="1046"/>
                </a:cubicBezTo>
                <a:cubicBezTo>
                  <a:pt x="2574" y="1047"/>
                  <a:pt x="2574" y="1048"/>
                  <a:pt x="2573" y="1048"/>
                </a:cubicBezTo>
                <a:cubicBezTo>
                  <a:pt x="2570" y="1048"/>
                  <a:pt x="2566" y="1050"/>
                  <a:pt x="2563" y="1052"/>
                </a:cubicBezTo>
                <a:cubicBezTo>
                  <a:pt x="2558" y="1055"/>
                  <a:pt x="2555" y="1053"/>
                  <a:pt x="2551" y="1049"/>
                </a:cubicBezTo>
                <a:cubicBezTo>
                  <a:pt x="2551" y="1049"/>
                  <a:pt x="2551" y="1047"/>
                  <a:pt x="2551" y="1047"/>
                </a:cubicBezTo>
                <a:cubicBezTo>
                  <a:pt x="2552" y="1045"/>
                  <a:pt x="2551" y="1043"/>
                  <a:pt x="2550" y="1041"/>
                </a:cubicBezTo>
                <a:cubicBezTo>
                  <a:pt x="2548" y="1039"/>
                  <a:pt x="2546" y="1036"/>
                  <a:pt x="2548" y="1034"/>
                </a:cubicBezTo>
                <a:cubicBezTo>
                  <a:pt x="2548" y="1032"/>
                  <a:pt x="2549" y="1030"/>
                  <a:pt x="2550" y="1028"/>
                </a:cubicBezTo>
                <a:cubicBezTo>
                  <a:pt x="2552" y="1026"/>
                  <a:pt x="2554" y="1023"/>
                  <a:pt x="2556" y="1021"/>
                </a:cubicBezTo>
                <a:cubicBezTo>
                  <a:pt x="2556" y="1021"/>
                  <a:pt x="2555" y="1021"/>
                  <a:pt x="2555" y="1021"/>
                </a:cubicBezTo>
                <a:cubicBezTo>
                  <a:pt x="2550" y="1022"/>
                  <a:pt x="2546" y="1023"/>
                  <a:pt x="2542" y="1026"/>
                </a:cubicBezTo>
                <a:cubicBezTo>
                  <a:pt x="2537" y="1031"/>
                  <a:pt x="2534" y="1036"/>
                  <a:pt x="2534" y="1043"/>
                </a:cubicBezTo>
                <a:cubicBezTo>
                  <a:pt x="2534" y="1049"/>
                  <a:pt x="2536" y="1055"/>
                  <a:pt x="2539" y="1061"/>
                </a:cubicBezTo>
                <a:cubicBezTo>
                  <a:pt x="2540" y="1062"/>
                  <a:pt x="2541" y="1064"/>
                  <a:pt x="2540" y="1065"/>
                </a:cubicBezTo>
                <a:cubicBezTo>
                  <a:pt x="2540" y="1066"/>
                  <a:pt x="2540" y="1068"/>
                  <a:pt x="2539" y="1069"/>
                </a:cubicBezTo>
                <a:cubicBezTo>
                  <a:pt x="2539" y="1071"/>
                  <a:pt x="2539" y="1072"/>
                  <a:pt x="2540" y="1072"/>
                </a:cubicBezTo>
                <a:cubicBezTo>
                  <a:pt x="2543" y="1073"/>
                  <a:pt x="2546" y="1074"/>
                  <a:pt x="2549" y="1074"/>
                </a:cubicBezTo>
                <a:cubicBezTo>
                  <a:pt x="2550" y="1074"/>
                  <a:pt x="2550" y="1073"/>
                  <a:pt x="2550" y="1073"/>
                </a:cubicBezTo>
                <a:cubicBezTo>
                  <a:pt x="2551" y="1072"/>
                  <a:pt x="2551" y="1070"/>
                  <a:pt x="2552" y="1069"/>
                </a:cubicBezTo>
                <a:cubicBezTo>
                  <a:pt x="2554" y="1067"/>
                  <a:pt x="2554" y="1064"/>
                  <a:pt x="2554" y="1061"/>
                </a:cubicBezTo>
                <a:cubicBezTo>
                  <a:pt x="2554" y="1061"/>
                  <a:pt x="2554" y="1061"/>
                  <a:pt x="2554" y="1060"/>
                </a:cubicBezTo>
                <a:cubicBezTo>
                  <a:pt x="2554" y="1060"/>
                  <a:pt x="2554" y="1060"/>
                  <a:pt x="2554" y="1059"/>
                </a:cubicBezTo>
                <a:cubicBezTo>
                  <a:pt x="2554" y="1062"/>
                  <a:pt x="2556" y="1062"/>
                  <a:pt x="2557" y="1062"/>
                </a:cubicBezTo>
                <a:cubicBezTo>
                  <a:pt x="2558" y="1062"/>
                  <a:pt x="2559" y="1062"/>
                  <a:pt x="2560" y="1062"/>
                </a:cubicBezTo>
                <a:cubicBezTo>
                  <a:pt x="2563" y="1062"/>
                  <a:pt x="2566" y="1063"/>
                  <a:pt x="2566" y="1059"/>
                </a:cubicBezTo>
                <a:cubicBezTo>
                  <a:pt x="2566" y="1061"/>
                  <a:pt x="2566" y="1063"/>
                  <a:pt x="2566" y="1063"/>
                </a:cubicBezTo>
                <a:cubicBezTo>
                  <a:pt x="2565" y="1064"/>
                  <a:pt x="2564" y="1065"/>
                  <a:pt x="2563" y="1065"/>
                </a:cubicBezTo>
                <a:cubicBezTo>
                  <a:pt x="2561" y="1066"/>
                  <a:pt x="2561" y="1068"/>
                  <a:pt x="2561" y="1068"/>
                </a:cubicBezTo>
                <a:cubicBezTo>
                  <a:pt x="2563" y="1071"/>
                  <a:pt x="2564" y="1073"/>
                  <a:pt x="2565" y="1075"/>
                </a:cubicBezTo>
                <a:cubicBezTo>
                  <a:pt x="2567" y="1076"/>
                  <a:pt x="2569" y="1076"/>
                  <a:pt x="2570" y="1074"/>
                </a:cubicBezTo>
                <a:cubicBezTo>
                  <a:pt x="2571" y="1073"/>
                  <a:pt x="2572" y="1072"/>
                  <a:pt x="2572" y="1072"/>
                </a:cubicBezTo>
                <a:cubicBezTo>
                  <a:pt x="2574" y="1070"/>
                  <a:pt x="2576" y="1069"/>
                  <a:pt x="2577" y="1068"/>
                </a:cubicBezTo>
                <a:cubicBezTo>
                  <a:pt x="2581" y="1064"/>
                  <a:pt x="2583" y="1058"/>
                  <a:pt x="2585" y="1052"/>
                </a:cubicBezTo>
                <a:cubicBezTo>
                  <a:pt x="2585" y="1051"/>
                  <a:pt x="2584" y="1051"/>
                  <a:pt x="2584" y="1050"/>
                </a:cubicBezTo>
                <a:cubicBezTo>
                  <a:pt x="2583" y="1049"/>
                  <a:pt x="2582" y="1048"/>
                  <a:pt x="2581" y="1047"/>
                </a:cubicBezTo>
                <a:close/>
                <a:moveTo>
                  <a:pt x="2534" y="1054"/>
                </a:moveTo>
                <a:cubicBezTo>
                  <a:pt x="2533" y="1055"/>
                  <a:pt x="2531" y="1055"/>
                  <a:pt x="2530" y="1057"/>
                </a:cubicBezTo>
                <a:cubicBezTo>
                  <a:pt x="2530" y="1057"/>
                  <a:pt x="2529" y="1058"/>
                  <a:pt x="2529" y="1059"/>
                </a:cubicBezTo>
                <a:cubicBezTo>
                  <a:pt x="2529" y="1061"/>
                  <a:pt x="2534" y="1066"/>
                  <a:pt x="2537" y="1065"/>
                </a:cubicBezTo>
                <a:cubicBezTo>
                  <a:pt x="2538" y="1065"/>
                  <a:pt x="2539" y="1064"/>
                  <a:pt x="2538" y="1063"/>
                </a:cubicBezTo>
                <a:cubicBezTo>
                  <a:pt x="2537" y="1059"/>
                  <a:pt x="2535" y="1057"/>
                  <a:pt x="2534"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4" y="1036"/>
                </a:moveTo>
                <a:cubicBezTo>
                  <a:pt x="2533" y="1036"/>
                  <a:pt x="2532" y="1036"/>
                  <a:pt x="2532" y="1036"/>
                </a:cubicBezTo>
                <a:cubicBezTo>
                  <a:pt x="2531" y="1036"/>
                  <a:pt x="2530" y="1036"/>
                  <a:pt x="2530" y="1036"/>
                </a:cubicBezTo>
                <a:cubicBezTo>
                  <a:pt x="2530" y="1036"/>
                  <a:pt x="2529" y="1035"/>
                  <a:pt x="2529" y="1034"/>
                </a:cubicBezTo>
                <a:cubicBezTo>
                  <a:pt x="2530" y="1032"/>
                  <a:pt x="2530" y="1030"/>
                  <a:pt x="2531" y="1028"/>
                </a:cubicBezTo>
                <a:cubicBezTo>
                  <a:pt x="2531" y="1028"/>
                  <a:pt x="2531" y="1028"/>
                  <a:pt x="2530" y="1028"/>
                </a:cubicBezTo>
                <a:cubicBezTo>
                  <a:pt x="2530" y="1029"/>
                  <a:pt x="2528" y="1030"/>
                  <a:pt x="2528" y="1031"/>
                </a:cubicBezTo>
                <a:cubicBezTo>
                  <a:pt x="2527" y="1032"/>
                  <a:pt x="2528" y="1037"/>
                  <a:pt x="2530" y="1038"/>
                </a:cubicBezTo>
                <a:cubicBezTo>
                  <a:pt x="2532" y="1039"/>
                  <a:pt x="2534" y="1038"/>
                  <a:pt x="2534" y="1036"/>
                </a:cubicBezTo>
                <a:close/>
                <a:moveTo>
                  <a:pt x="2533" y="1054"/>
                </a:moveTo>
                <a:cubicBezTo>
                  <a:pt x="2532" y="1055"/>
                  <a:pt x="2531" y="1056"/>
                  <a:pt x="2530" y="1057"/>
                </a:cubicBezTo>
                <a:cubicBezTo>
                  <a:pt x="2529" y="1057"/>
                  <a:pt x="2529" y="1058"/>
                  <a:pt x="2529" y="1059"/>
                </a:cubicBezTo>
                <a:cubicBezTo>
                  <a:pt x="2529" y="1062"/>
                  <a:pt x="2533" y="1066"/>
                  <a:pt x="2536" y="1066"/>
                </a:cubicBezTo>
                <a:cubicBezTo>
                  <a:pt x="2538" y="1066"/>
                  <a:pt x="2539" y="1064"/>
                  <a:pt x="2538" y="1063"/>
                </a:cubicBezTo>
                <a:cubicBezTo>
                  <a:pt x="2536" y="1060"/>
                  <a:pt x="2535" y="1057"/>
                  <a:pt x="2533"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3" y="1036"/>
                </a:moveTo>
                <a:cubicBezTo>
                  <a:pt x="2533" y="1036"/>
                  <a:pt x="2532" y="1037"/>
                  <a:pt x="2531" y="1037"/>
                </a:cubicBezTo>
                <a:cubicBezTo>
                  <a:pt x="2531" y="1037"/>
                  <a:pt x="2530" y="1037"/>
                  <a:pt x="2530" y="1036"/>
                </a:cubicBezTo>
                <a:cubicBezTo>
                  <a:pt x="2529" y="1036"/>
                  <a:pt x="2529" y="1035"/>
                  <a:pt x="2529" y="1034"/>
                </a:cubicBezTo>
                <a:cubicBezTo>
                  <a:pt x="2530" y="1032"/>
                  <a:pt x="2530" y="1030"/>
                  <a:pt x="2531" y="1028"/>
                </a:cubicBezTo>
                <a:cubicBezTo>
                  <a:pt x="2531" y="1028"/>
                  <a:pt x="2531" y="1028"/>
                  <a:pt x="2530" y="1028"/>
                </a:cubicBezTo>
                <a:cubicBezTo>
                  <a:pt x="2529" y="1029"/>
                  <a:pt x="2528" y="1030"/>
                  <a:pt x="2527" y="1031"/>
                </a:cubicBezTo>
                <a:cubicBezTo>
                  <a:pt x="2527" y="1032"/>
                  <a:pt x="2528" y="1037"/>
                  <a:pt x="2530" y="1038"/>
                </a:cubicBezTo>
                <a:cubicBezTo>
                  <a:pt x="2531" y="1039"/>
                  <a:pt x="2533" y="1038"/>
                  <a:pt x="2533" y="1036"/>
                </a:cubicBezTo>
                <a:close/>
                <a:moveTo>
                  <a:pt x="2586" y="1028"/>
                </a:moveTo>
                <a:cubicBezTo>
                  <a:pt x="2589" y="1024"/>
                  <a:pt x="2589" y="1024"/>
                  <a:pt x="2593" y="1023"/>
                </a:cubicBezTo>
                <a:cubicBezTo>
                  <a:pt x="2593" y="1025"/>
                  <a:pt x="2594" y="1026"/>
                  <a:pt x="2595" y="1026"/>
                </a:cubicBezTo>
                <a:cubicBezTo>
                  <a:pt x="2593" y="1027"/>
                  <a:pt x="2591" y="1029"/>
                  <a:pt x="2589" y="1030"/>
                </a:cubicBezTo>
                <a:cubicBezTo>
                  <a:pt x="2588" y="1029"/>
                  <a:pt x="2588" y="1028"/>
                  <a:pt x="2587" y="1027"/>
                </a:cubicBezTo>
                <a:cubicBezTo>
                  <a:pt x="2587" y="1027"/>
                  <a:pt x="2586" y="1027"/>
                  <a:pt x="2586" y="1028"/>
                </a:cubicBezTo>
                <a:close/>
                <a:moveTo>
                  <a:pt x="2591" y="1027"/>
                </a:moveTo>
                <a:cubicBezTo>
                  <a:pt x="2591" y="1027"/>
                  <a:pt x="2590" y="1026"/>
                  <a:pt x="2589" y="1026"/>
                </a:cubicBezTo>
                <a:cubicBezTo>
                  <a:pt x="2589" y="1026"/>
                  <a:pt x="2588" y="1027"/>
                  <a:pt x="2588" y="1028"/>
                </a:cubicBezTo>
                <a:cubicBezTo>
                  <a:pt x="2588" y="1028"/>
                  <a:pt x="2589" y="1028"/>
                  <a:pt x="2589" y="1029"/>
                </a:cubicBezTo>
                <a:cubicBezTo>
                  <a:pt x="2590" y="1028"/>
                  <a:pt x="2590" y="1028"/>
                  <a:pt x="2591" y="1027"/>
                </a:cubicBezTo>
                <a:close/>
                <a:moveTo>
                  <a:pt x="2573" y="1018"/>
                </a:moveTo>
                <a:cubicBezTo>
                  <a:pt x="2566" y="1017"/>
                  <a:pt x="2563" y="1019"/>
                  <a:pt x="2562" y="1027"/>
                </a:cubicBezTo>
                <a:cubicBezTo>
                  <a:pt x="2563" y="1025"/>
                  <a:pt x="2564" y="1023"/>
                  <a:pt x="2566" y="1020"/>
                </a:cubicBezTo>
                <a:cubicBezTo>
                  <a:pt x="2566" y="1020"/>
                  <a:pt x="2566" y="1020"/>
                  <a:pt x="2566" y="1020"/>
                </a:cubicBezTo>
                <a:cubicBezTo>
                  <a:pt x="2566" y="1022"/>
                  <a:pt x="2566" y="1022"/>
                  <a:pt x="2566" y="1023"/>
                </a:cubicBezTo>
                <a:cubicBezTo>
                  <a:pt x="2568" y="1020"/>
                  <a:pt x="2569" y="1018"/>
                  <a:pt x="2573" y="1018"/>
                </a:cubicBezTo>
                <a:close/>
                <a:moveTo>
                  <a:pt x="2616" y="1019"/>
                </a:moveTo>
                <a:cubicBezTo>
                  <a:pt x="2614" y="1020"/>
                  <a:pt x="2612" y="1022"/>
                  <a:pt x="2611" y="1023"/>
                </a:cubicBezTo>
                <a:cubicBezTo>
                  <a:pt x="2613" y="1024"/>
                  <a:pt x="2615" y="1022"/>
                  <a:pt x="2616" y="1019"/>
                </a:cubicBezTo>
                <a:close/>
                <a:moveTo>
                  <a:pt x="2583" y="1021"/>
                </a:moveTo>
                <a:cubicBezTo>
                  <a:pt x="2584" y="1020"/>
                  <a:pt x="2585" y="1019"/>
                  <a:pt x="2587" y="1017"/>
                </a:cubicBezTo>
                <a:cubicBezTo>
                  <a:pt x="2583" y="1019"/>
                  <a:pt x="2582" y="1019"/>
                  <a:pt x="2583" y="1021"/>
                </a:cubicBezTo>
                <a:close/>
                <a:moveTo>
                  <a:pt x="2593" y="1042"/>
                </a:moveTo>
                <a:cubicBezTo>
                  <a:pt x="2591" y="1043"/>
                  <a:pt x="2590" y="1044"/>
                  <a:pt x="2590" y="1044"/>
                </a:cubicBezTo>
                <a:cubicBezTo>
                  <a:pt x="2591" y="1044"/>
                  <a:pt x="2592" y="1043"/>
                  <a:pt x="2593" y="1042"/>
                </a:cubicBezTo>
                <a:close/>
                <a:moveTo>
                  <a:pt x="2591" y="1027"/>
                </a:moveTo>
                <a:cubicBezTo>
                  <a:pt x="2591" y="1027"/>
                  <a:pt x="2590" y="1026"/>
                  <a:pt x="2590" y="1026"/>
                </a:cubicBezTo>
                <a:cubicBezTo>
                  <a:pt x="2589" y="1026"/>
                  <a:pt x="2588" y="1027"/>
                  <a:pt x="2588" y="1027"/>
                </a:cubicBezTo>
                <a:cubicBezTo>
                  <a:pt x="2588" y="1028"/>
                  <a:pt x="2589" y="1028"/>
                  <a:pt x="2589" y="1029"/>
                </a:cubicBezTo>
                <a:cubicBezTo>
                  <a:pt x="2590" y="1028"/>
                  <a:pt x="2590" y="1028"/>
                  <a:pt x="2591" y="1027"/>
                </a:cubicBezTo>
                <a:close/>
                <a:moveTo>
                  <a:pt x="3246" y="1005"/>
                </a:moveTo>
                <a:cubicBezTo>
                  <a:pt x="3246" y="1005"/>
                  <a:pt x="3246" y="1005"/>
                  <a:pt x="3246" y="1005"/>
                </a:cubicBezTo>
                <a:cubicBezTo>
                  <a:pt x="3240" y="1005"/>
                  <a:pt x="3240" y="1005"/>
                  <a:pt x="3240" y="1005"/>
                </a:cubicBezTo>
                <a:cubicBezTo>
                  <a:pt x="3238" y="1006"/>
                  <a:pt x="3237" y="1007"/>
                  <a:pt x="3235" y="1008"/>
                </a:cubicBezTo>
                <a:cubicBezTo>
                  <a:pt x="3233" y="1010"/>
                  <a:pt x="3232" y="1010"/>
                  <a:pt x="3229" y="1011"/>
                </a:cubicBezTo>
                <a:cubicBezTo>
                  <a:pt x="3228" y="1013"/>
                  <a:pt x="3226" y="1013"/>
                  <a:pt x="3224" y="1014"/>
                </a:cubicBezTo>
                <a:cubicBezTo>
                  <a:pt x="3222" y="1015"/>
                  <a:pt x="3220" y="1015"/>
                  <a:pt x="3218" y="1015"/>
                </a:cubicBezTo>
                <a:cubicBezTo>
                  <a:pt x="3218" y="1015"/>
                  <a:pt x="3218" y="1015"/>
                  <a:pt x="3218" y="1026"/>
                </a:cubicBezTo>
                <a:cubicBezTo>
                  <a:pt x="3221" y="1025"/>
                  <a:pt x="3224" y="1024"/>
                  <a:pt x="3227" y="1023"/>
                </a:cubicBezTo>
                <a:cubicBezTo>
                  <a:pt x="3229" y="1022"/>
                  <a:pt x="3232" y="1021"/>
                  <a:pt x="3234" y="1019"/>
                </a:cubicBezTo>
                <a:cubicBezTo>
                  <a:pt x="3234" y="1019"/>
                  <a:pt x="3234" y="1019"/>
                  <a:pt x="3234" y="1078"/>
                </a:cubicBezTo>
                <a:cubicBezTo>
                  <a:pt x="3234" y="1078"/>
                  <a:pt x="3234" y="1078"/>
                  <a:pt x="3246" y="1078"/>
                </a:cubicBezTo>
                <a:cubicBezTo>
                  <a:pt x="3246" y="1078"/>
                  <a:pt x="3246" y="1078"/>
                  <a:pt x="3246" y="1005"/>
                </a:cubicBezTo>
                <a:close/>
                <a:moveTo>
                  <a:pt x="3293" y="1005"/>
                </a:moveTo>
                <a:cubicBezTo>
                  <a:pt x="3293" y="1005"/>
                  <a:pt x="3293" y="1005"/>
                  <a:pt x="3293" y="1005"/>
                </a:cubicBezTo>
                <a:cubicBezTo>
                  <a:pt x="3288" y="1005"/>
                  <a:pt x="3288" y="1005"/>
                  <a:pt x="3288" y="1005"/>
                </a:cubicBezTo>
                <a:cubicBezTo>
                  <a:pt x="3286" y="1006"/>
                  <a:pt x="3284" y="1007"/>
                  <a:pt x="3282" y="1008"/>
                </a:cubicBezTo>
                <a:cubicBezTo>
                  <a:pt x="3281" y="1010"/>
                  <a:pt x="3278" y="1010"/>
                  <a:pt x="3277" y="1011"/>
                </a:cubicBezTo>
                <a:cubicBezTo>
                  <a:pt x="3275" y="1013"/>
                  <a:pt x="3273" y="1013"/>
                  <a:pt x="3272" y="1014"/>
                </a:cubicBezTo>
                <a:cubicBezTo>
                  <a:pt x="3269" y="1015"/>
                  <a:pt x="3268" y="1015"/>
                  <a:pt x="3266" y="1015"/>
                </a:cubicBezTo>
                <a:cubicBezTo>
                  <a:pt x="3266" y="1015"/>
                  <a:pt x="3266" y="1015"/>
                  <a:pt x="3266" y="1026"/>
                </a:cubicBezTo>
                <a:cubicBezTo>
                  <a:pt x="3269" y="1025"/>
                  <a:pt x="3272" y="1024"/>
                  <a:pt x="3274" y="1023"/>
                </a:cubicBezTo>
                <a:cubicBezTo>
                  <a:pt x="3277" y="1022"/>
                  <a:pt x="3279" y="1021"/>
                  <a:pt x="3281" y="1019"/>
                </a:cubicBezTo>
                <a:cubicBezTo>
                  <a:pt x="3281" y="1019"/>
                  <a:pt x="3281" y="1019"/>
                  <a:pt x="3281" y="1078"/>
                </a:cubicBezTo>
                <a:cubicBezTo>
                  <a:pt x="3281" y="1078"/>
                  <a:pt x="3281" y="1078"/>
                  <a:pt x="3293" y="1078"/>
                </a:cubicBezTo>
                <a:cubicBezTo>
                  <a:pt x="3293" y="1078"/>
                  <a:pt x="3293" y="1078"/>
                  <a:pt x="3293" y="1005"/>
                </a:cubicBezTo>
                <a:close/>
                <a:moveTo>
                  <a:pt x="3340" y="1005"/>
                </a:moveTo>
                <a:cubicBezTo>
                  <a:pt x="3340" y="1005"/>
                  <a:pt x="3340" y="1005"/>
                  <a:pt x="3340" y="1005"/>
                </a:cubicBezTo>
                <a:cubicBezTo>
                  <a:pt x="3335" y="1005"/>
                  <a:pt x="3335" y="1005"/>
                  <a:pt x="3335" y="1005"/>
                </a:cubicBezTo>
                <a:cubicBezTo>
                  <a:pt x="3333" y="1006"/>
                  <a:pt x="3332" y="1007"/>
                  <a:pt x="3329" y="1008"/>
                </a:cubicBezTo>
                <a:cubicBezTo>
                  <a:pt x="3328" y="1010"/>
                  <a:pt x="3326" y="1010"/>
                  <a:pt x="3324" y="1011"/>
                </a:cubicBezTo>
                <a:cubicBezTo>
                  <a:pt x="3322" y="1012"/>
                  <a:pt x="3321" y="1013"/>
                  <a:pt x="3318" y="1013"/>
                </a:cubicBezTo>
                <a:cubicBezTo>
                  <a:pt x="3317" y="1014"/>
                  <a:pt x="3315" y="1015"/>
                  <a:pt x="3313" y="1015"/>
                </a:cubicBezTo>
                <a:cubicBezTo>
                  <a:pt x="3313" y="1015"/>
                  <a:pt x="3313" y="1015"/>
                  <a:pt x="3313" y="1026"/>
                </a:cubicBezTo>
                <a:cubicBezTo>
                  <a:pt x="3316" y="1025"/>
                  <a:pt x="3319" y="1023"/>
                  <a:pt x="3321" y="1023"/>
                </a:cubicBezTo>
                <a:cubicBezTo>
                  <a:pt x="3324" y="1022"/>
                  <a:pt x="3326" y="1021"/>
                  <a:pt x="3328" y="1019"/>
                </a:cubicBezTo>
                <a:cubicBezTo>
                  <a:pt x="3328" y="1019"/>
                  <a:pt x="3328" y="1019"/>
                  <a:pt x="3328" y="1078"/>
                </a:cubicBezTo>
                <a:cubicBezTo>
                  <a:pt x="3328" y="1078"/>
                  <a:pt x="3328" y="1078"/>
                  <a:pt x="3340" y="1078"/>
                </a:cubicBezTo>
                <a:cubicBezTo>
                  <a:pt x="3340" y="1078"/>
                  <a:pt x="3340" y="1078"/>
                  <a:pt x="3340" y="1005"/>
                </a:cubicBezTo>
                <a:close/>
                <a:moveTo>
                  <a:pt x="3550" y="909"/>
                </a:moveTo>
                <a:cubicBezTo>
                  <a:pt x="3550" y="909"/>
                  <a:pt x="3550" y="909"/>
                  <a:pt x="3550" y="909"/>
                </a:cubicBezTo>
                <a:cubicBezTo>
                  <a:pt x="3545" y="909"/>
                  <a:pt x="3545" y="909"/>
                  <a:pt x="3545" y="909"/>
                </a:cubicBezTo>
                <a:cubicBezTo>
                  <a:pt x="3543" y="911"/>
                  <a:pt x="3542" y="912"/>
                  <a:pt x="3539" y="913"/>
                </a:cubicBezTo>
                <a:cubicBezTo>
                  <a:pt x="3538" y="915"/>
                  <a:pt x="3536" y="915"/>
                  <a:pt x="3534" y="916"/>
                </a:cubicBezTo>
                <a:cubicBezTo>
                  <a:pt x="3532" y="917"/>
                  <a:pt x="3530" y="917"/>
                  <a:pt x="3529" y="918"/>
                </a:cubicBezTo>
                <a:cubicBezTo>
                  <a:pt x="3527" y="919"/>
                  <a:pt x="3525" y="920"/>
                  <a:pt x="3523" y="920"/>
                </a:cubicBezTo>
                <a:cubicBezTo>
                  <a:pt x="3523" y="920"/>
                  <a:pt x="3523" y="920"/>
                  <a:pt x="3523" y="931"/>
                </a:cubicBezTo>
                <a:cubicBezTo>
                  <a:pt x="3526" y="930"/>
                  <a:pt x="3529" y="928"/>
                  <a:pt x="3531" y="928"/>
                </a:cubicBezTo>
                <a:cubicBezTo>
                  <a:pt x="3534" y="927"/>
                  <a:pt x="3536" y="925"/>
                  <a:pt x="3539" y="924"/>
                </a:cubicBezTo>
                <a:cubicBezTo>
                  <a:pt x="3539" y="924"/>
                  <a:pt x="3539" y="924"/>
                  <a:pt x="3539" y="983"/>
                </a:cubicBezTo>
                <a:cubicBezTo>
                  <a:pt x="3539" y="983"/>
                  <a:pt x="3539" y="983"/>
                  <a:pt x="3550" y="983"/>
                </a:cubicBezTo>
                <a:cubicBezTo>
                  <a:pt x="3550" y="983"/>
                  <a:pt x="3550" y="983"/>
                  <a:pt x="3550" y="909"/>
                </a:cubicBezTo>
                <a:close/>
                <a:moveTo>
                  <a:pt x="3596" y="909"/>
                </a:moveTo>
                <a:cubicBezTo>
                  <a:pt x="3596" y="909"/>
                  <a:pt x="3596" y="909"/>
                  <a:pt x="3596" y="909"/>
                </a:cubicBezTo>
                <a:cubicBezTo>
                  <a:pt x="3591" y="909"/>
                  <a:pt x="3591" y="909"/>
                  <a:pt x="3591" y="909"/>
                </a:cubicBezTo>
                <a:cubicBezTo>
                  <a:pt x="3589" y="911"/>
                  <a:pt x="3588" y="912"/>
                  <a:pt x="3586" y="913"/>
                </a:cubicBezTo>
                <a:cubicBezTo>
                  <a:pt x="3584" y="915"/>
                  <a:pt x="3582" y="915"/>
                  <a:pt x="3581" y="916"/>
                </a:cubicBezTo>
                <a:cubicBezTo>
                  <a:pt x="3579" y="917"/>
                  <a:pt x="3577" y="918"/>
                  <a:pt x="3576" y="919"/>
                </a:cubicBezTo>
                <a:cubicBezTo>
                  <a:pt x="3574" y="920"/>
                  <a:pt x="3572" y="920"/>
                  <a:pt x="3570" y="920"/>
                </a:cubicBezTo>
                <a:cubicBezTo>
                  <a:pt x="3570" y="920"/>
                  <a:pt x="3570" y="920"/>
                  <a:pt x="3570" y="931"/>
                </a:cubicBezTo>
                <a:cubicBezTo>
                  <a:pt x="3573" y="930"/>
                  <a:pt x="3576" y="929"/>
                  <a:pt x="3578" y="928"/>
                </a:cubicBezTo>
                <a:cubicBezTo>
                  <a:pt x="3581" y="927"/>
                  <a:pt x="3583" y="925"/>
                  <a:pt x="3585" y="924"/>
                </a:cubicBezTo>
                <a:cubicBezTo>
                  <a:pt x="3585" y="924"/>
                  <a:pt x="3585" y="924"/>
                  <a:pt x="3585" y="983"/>
                </a:cubicBezTo>
                <a:cubicBezTo>
                  <a:pt x="3585" y="983"/>
                  <a:pt x="3585" y="983"/>
                  <a:pt x="3596" y="983"/>
                </a:cubicBezTo>
                <a:cubicBezTo>
                  <a:pt x="3596" y="983"/>
                  <a:pt x="3596" y="983"/>
                  <a:pt x="3596" y="909"/>
                </a:cubicBezTo>
                <a:close/>
                <a:moveTo>
                  <a:pt x="3643" y="909"/>
                </a:moveTo>
                <a:cubicBezTo>
                  <a:pt x="3643" y="909"/>
                  <a:pt x="3643" y="909"/>
                  <a:pt x="3643" y="909"/>
                </a:cubicBezTo>
                <a:cubicBezTo>
                  <a:pt x="3638" y="909"/>
                  <a:pt x="3638" y="909"/>
                  <a:pt x="3638" y="909"/>
                </a:cubicBezTo>
                <a:cubicBezTo>
                  <a:pt x="3636" y="911"/>
                  <a:pt x="3635" y="912"/>
                  <a:pt x="3632" y="913"/>
                </a:cubicBezTo>
                <a:cubicBezTo>
                  <a:pt x="3631" y="915"/>
                  <a:pt x="3629" y="915"/>
                  <a:pt x="3627" y="916"/>
                </a:cubicBezTo>
                <a:cubicBezTo>
                  <a:pt x="3625" y="917"/>
                  <a:pt x="3624" y="918"/>
                  <a:pt x="3621" y="919"/>
                </a:cubicBezTo>
                <a:cubicBezTo>
                  <a:pt x="3620" y="920"/>
                  <a:pt x="3618" y="920"/>
                  <a:pt x="3616" y="920"/>
                </a:cubicBezTo>
                <a:cubicBezTo>
                  <a:pt x="3616" y="920"/>
                  <a:pt x="3616" y="920"/>
                  <a:pt x="3616" y="931"/>
                </a:cubicBezTo>
                <a:cubicBezTo>
                  <a:pt x="3619" y="930"/>
                  <a:pt x="3622" y="929"/>
                  <a:pt x="3624" y="928"/>
                </a:cubicBezTo>
                <a:cubicBezTo>
                  <a:pt x="3626" y="927"/>
                  <a:pt x="3629" y="925"/>
                  <a:pt x="3631" y="924"/>
                </a:cubicBezTo>
                <a:cubicBezTo>
                  <a:pt x="3631" y="924"/>
                  <a:pt x="3631" y="924"/>
                  <a:pt x="3631" y="983"/>
                </a:cubicBezTo>
                <a:cubicBezTo>
                  <a:pt x="3631" y="983"/>
                  <a:pt x="3631" y="983"/>
                  <a:pt x="3643" y="983"/>
                </a:cubicBezTo>
                <a:cubicBezTo>
                  <a:pt x="3643" y="983"/>
                  <a:pt x="3643" y="983"/>
                  <a:pt x="3643" y="909"/>
                </a:cubicBezTo>
                <a:close/>
                <a:moveTo>
                  <a:pt x="3689" y="909"/>
                </a:moveTo>
                <a:cubicBezTo>
                  <a:pt x="3689" y="909"/>
                  <a:pt x="3689" y="909"/>
                  <a:pt x="3689" y="909"/>
                </a:cubicBezTo>
                <a:cubicBezTo>
                  <a:pt x="3684" y="909"/>
                  <a:pt x="3684" y="909"/>
                  <a:pt x="3684" y="909"/>
                </a:cubicBezTo>
                <a:cubicBezTo>
                  <a:pt x="3682" y="911"/>
                  <a:pt x="3680" y="912"/>
                  <a:pt x="3678" y="913"/>
                </a:cubicBezTo>
                <a:cubicBezTo>
                  <a:pt x="3677" y="915"/>
                  <a:pt x="3675" y="915"/>
                  <a:pt x="3673" y="916"/>
                </a:cubicBezTo>
                <a:cubicBezTo>
                  <a:pt x="3672" y="917"/>
                  <a:pt x="3670" y="918"/>
                  <a:pt x="3668" y="919"/>
                </a:cubicBezTo>
                <a:cubicBezTo>
                  <a:pt x="3666" y="920"/>
                  <a:pt x="3664" y="920"/>
                  <a:pt x="3662" y="920"/>
                </a:cubicBezTo>
                <a:cubicBezTo>
                  <a:pt x="3662" y="920"/>
                  <a:pt x="3662" y="920"/>
                  <a:pt x="3662" y="931"/>
                </a:cubicBezTo>
                <a:cubicBezTo>
                  <a:pt x="3665" y="930"/>
                  <a:pt x="3668" y="929"/>
                  <a:pt x="3670" y="928"/>
                </a:cubicBezTo>
                <a:cubicBezTo>
                  <a:pt x="3673" y="927"/>
                  <a:pt x="3675" y="925"/>
                  <a:pt x="3678" y="924"/>
                </a:cubicBezTo>
                <a:cubicBezTo>
                  <a:pt x="3678" y="924"/>
                  <a:pt x="3678" y="924"/>
                  <a:pt x="3678" y="983"/>
                </a:cubicBezTo>
                <a:cubicBezTo>
                  <a:pt x="3678" y="983"/>
                  <a:pt x="3678" y="983"/>
                  <a:pt x="3689" y="983"/>
                </a:cubicBezTo>
                <a:cubicBezTo>
                  <a:pt x="3689" y="983"/>
                  <a:pt x="3689" y="983"/>
                  <a:pt x="3689" y="909"/>
                </a:cubicBezTo>
                <a:close/>
                <a:moveTo>
                  <a:pt x="3811" y="909"/>
                </a:moveTo>
                <a:cubicBezTo>
                  <a:pt x="3811" y="909"/>
                  <a:pt x="3811" y="909"/>
                  <a:pt x="3811" y="909"/>
                </a:cubicBezTo>
                <a:cubicBezTo>
                  <a:pt x="3806" y="909"/>
                  <a:pt x="3806" y="909"/>
                  <a:pt x="3806" y="909"/>
                </a:cubicBezTo>
                <a:cubicBezTo>
                  <a:pt x="3804" y="911"/>
                  <a:pt x="3802" y="912"/>
                  <a:pt x="3800" y="913"/>
                </a:cubicBezTo>
                <a:cubicBezTo>
                  <a:pt x="3798" y="915"/>
                  <a:pt x="3797" y="915"/>
                  <a:pt x="3795" y="916"/>
                </a:cubicBezTo>
                <a:cubicBezTo>
                  <a:pt x="3793" y="917"/>
                  <a:pt x="3791" y="918"/>
                  <a:pt x="3790" y="919"/>
                </a:cubicBezTo>
                <a:cubicBezTo>
                  <a:pt x="3787" y="920"/>
                  <a:pt x="3786" y="920"/>
                  <a:pt x="3784" y="920"/>
                </a:cubicBezTo>
                <a:cubicBezTo>
                  <a:pt x="3784" y="920"/>
                  <a:pt x="3784" y="920"/>
                  <a:pt x="3784" y="931"/>
                </a:cubicBezTo>
                <a:cubicBezTo>
                  <a:pt x="3787" y="930"/>
                  <a:pt x="3790" y="929"/>
                  <a:pt x="3793" y="928"/>
                </a:cubicBezTo>
                <a:cubicBezTo>
                  <a:pt x="3795" y="927"/>
                  <a:pt x="3797" y="925"/>
                  <a:pt x="3799" y="924"/>
                </a:cubicBezTo>
                <a:cubicBezTo>
                  <a:pt x="3799" y="924"/>
                  <a:pt x="3799" y="924"/>
                  <a:pt x="3799" y="983"/>
                </a:cubicBezTo>
                <a:cubicBezTo>
                  <a:pt x="3799" y="983"/>
                  <a:pt x="3799" y="983"/>
                  <a:pt x="3811" y="983"/>
                </a:cubicBezTo>
                <a:cubicBezTo>
                  <a:pt x="3811" y="983"/>
                  <a:pt x="3811" y="983"/>
                  <a:pt x="3811" y="909"/>
                </a:cubicBezTo>
                <a:close/>
                <a:moveTo>
                  <a:pt x="3858" y="909"/>
                </a:moveTo>
                <a:cubicBezTo>
                  <a:pt x="3858" y="909"/>
                  <a:pt x="3858" y="909"/>
                  <a:pt x="3858" y="909"/>
                </a:cubicBezTo>
                <a:cubicBezTo>
                  <a:pt x="3853" y="909"/>
                  <a:pt x="3853" y="909"/>
                  <a:pt x="3853" y="909"/>
                </a:cubicBezTo>
                <a:cubicBezTo>
                  <a:pt x="3850" y="911"/>
                  <a:pt x="3849" y="912"/>
                  <a:pt x="3847" y="913"/>
                </a:cubicBezTo>
                <a:cubicBezTo>
                  <a:pt x="3845" y="915"/>
                  <a:pt x="3843" y="915"/>
                  <a:pt x="3842" y="916"/>
                </a:cubicBezTo>
                <a:cubicBezTo>
                  <a:pt x="3840" y="917"/>
                  <a:pt x="3838" y="918"/>
                  <a:pt x="3837" y="919"/>
                </a:cubicBezTo>
                <a:cubicBezTo>
                  <a:pt x="3834" y="920"/>
                  <a:pt x="3833" y="920"/>
                  <a:pt x="3831" y="920"/>
                </a:cubicBezTo>
                <a:cubicBezTo>
                  <a:pt x="3831" y="920"/>
                  <a:pt x="3831" y="920"/>
                  <a:pt x="3831" y="931"/>
                </a:cubicBezTo>
                <a:cubicBezTo>
                  <a:pt x="3834" y="930"/>
                  <a:pt x="3837" y="929"/>
                  <a:pt x="3839" y="928"/>
                </a:cubicBezTo>
                <a:cubicBezTo>
                  <a:pt x="3842" y="927"/>
                  <a:pt x="3844" y="925"/>
                  <a:pt x="3846" y="924"/>
                </a:cubicBezTo>
                <a:cubicBezTo>
                  <a:pt x="3846" y="924"/>
                  <a:pt x="3846" y="924"/>
                  <a:pt x="3846" y="983"/>
                </a:cubicBezTo>
                <a:cubicBezTo>
                  <a:pt x="3846" y="983"/>
                  <a:pt x="3846" y="983"/>
                  <a:pt x="3858" y="983"/>
                </a:cubicBezTo>
                <a:cubicBezTo>
                  <a:pt x="3858" y="983"/>
                  <a:pt x="3858" y="983"/>
                  <a:pt x="3858" y="909"/>
                </a:cubicBezTo>
                <a:close/>
                <a:moveTo>
                  <a:pt x="3709" y="942"/>
                </a:moveTo>
                <a:cubicBezTo>
                  <a:pt x="3709" y="942"/>
                  <a:pt x="3709" y="942"/>
                  <a:pt x="3709" y="942"/>
                </a:cubicBezTo>
                <a:cubicBezTo>
                  <a:pt x="3709" y="950"/>
                  <a:pt x="3709" y="950"/>
                  <a:pt x="3709" y="950"/>
                </a:cubicBezTo>
                <a:cubicBezTo>
                  <a:pt x="3715" y="950"/>
                  <a:pt x="3716" y="953"/>
                  <a:pt x="3716" y="956"/>
                </a:cubicBezTo>
                <a:cubicBezTo>
                  <a:pt x="3716" y="958"/>
                  <a:pt x="3716" y="960"/>
                  <a:pt x="3716" y="963"/>
                </a:cubicBezTo>
                <a:cubicBezTo>
                  <a:pt x="3715" y="966"/>
                  <a:pt x="3715" y="968"/>
                  <a:pt x="3715" y="970"/>
                </a:cubicBezTo>
                <a:cubicBezTo>
                  <a:pt x="3715" y="980"/>
                  <a:pt x="3721" y="983"/>
                  <a:pt x="3730" y="983"/>
                </a:cubicBezTo>
                <a:cubicBezTo>
                  <a:pt x="3730" y="983"/>
                  <a:pt x="3730" y="983"/>
                  <a:pt x="3733" y="983"/>
                </a:cubicBezTo>
                <a:cubicBezTo>
                  <a:pt x="3733" y="983"/>
                  <a:pt x="3733" y="983"/>
                  <a:pt x="3733" y="974"/>
                </a:cubicBezTo>
                <a:cubicBezTo>
                  <a:pt x="3733" y="974"/>
                  <a:pt x="3733" y="974"/>
                  <a:pt x="3732" y="974"/>
                </a:cubicBezTo>
                <a:cubicBezTo>
                  <a:pt x="3728" y="974"/>
                  <a:pt x="3727" y="971"/>
                  <a:pt x="3727" y="968"/>
                </a:cubicBezTo>
                <a:cubicBezTo>
                  <a:pt x="3727" y="966"/>
                  <a:pt x="3727" y="965"/>
                  <a:pt x="3727" y="963"/>
                </a:cubicBezTo>
                <a:cubicBezTo>
                  <a:pt x="3727" y="962"/>
                  <a:pt x="3728" y="959"/>
                  <a:pt x="3728" y="957"/>
                </a:cubicBezTo>
                <a:cubicBezTo>
                  <a:pt x="3728" y="950"/>
                  <a:pt x="3725" y="947"/>
                  <a:pt x="3719" y="946"/>
                </a:cubicBezTo>
                <a:cubicBezTo>
                  <a:pt x="3719" y="946"/>
                  <a:pt x="3719" y="946"/>
                  <a:pt x="3719" y="946"/>
                </a:cubicBezTo>
                <a:cubicBezTo>
                  <a:pt x="3725" y="944"/>
                  <a:pt x="3728" y="942"/>
                  <a:pt x="3728" y="935"/>
                </a:cubicBezTo>
                <a:cubicBezTo>
                  <a:pt x="3728" y="932"/>
                  <a:pt x="3727" y="930"/>
                  <a:pt x="3727" y="928"/>
                </a:cubicBezTo>
                <a:cubicBezTo>
                  <a:pt x="3727" y="927"/>
                  <a:pt x="3727" y="925"/>
                  <a:pt x="3727" y="924"/>
                </a:cubicBezTo>
                <a:cubicBezTo>
                  <a:pt x="3727" y="920"/>
                  <a:pt x="3728" y="918"/>
                  <a:pt x="3732" y="918"/>
                </a:cubicBezTo>
                <a:cubicBezTo>
                  <a:pt x="3732" y="918"/>
                  <a:pt x="3732" y="918"/>
                  <a:pt x="3733" y="918"/>
                </a:cubicBezTo>
                <a:cubicBezTo>
                  <a:pt x="3733" y="918"/>
                  <a:pt x="3733" y="918"/>
                  <a:pt x="3733" y="909"/>
                </a:cubicBezTo>
                <a:cubicBezTo>
                  <a:pt x="3733" y="909"/>
                  <a:pt x="3733" y="909"/>
                  <a:pt x="3730" y="909"/>
                </a:cubicBezTo>
                <a:cubicBezTo>
                  <a:pt x="3720" y="909"/>
                  <a:pt x="3715" y="913"/>
                  <a:pt x="3715" y="921"/>
                </a:cubicBezTo>
                <a:cubicBezTo>
                  <a:pt x="3715" y="923"/>
                  <a:pt x="3715" y="926"/>
                  <a:pt x="3715" y="929"/>
                </a:cubicBezTo>
                <a:cubicBezTo>
                  <a:pt x="3716" y="931"/>
                  <a:pt x="3716" y="934"/>
                  <a:pt x="3716" y="935"/>
                </a:cubicBezTo>
                <a:cubicBezTo>
                  <a:pt x="3716" y="938"/>
                  <a:pt x="3715" y="941"/>
                  <a:pt x="3709" y="942"/>
                </a:cubicBezTo>
                <a:close/>
                <a:moveTo>
                  <a:pt x="3764" y="950"/>
                </a:moveTo>
                <a:cubicBezTo>
                  <a:pt x="3764" y="950"/>
                  <a:pt x="3764" y="950"/>
                  <a:pt x="3764" y="950"/>
                </a:cubicBezTo>
                <a:cubicBezTo>
                  <a:pt x="3764" y="942"/>
                  <a:pt x="3764" y="942"/>
                  <a:pt x="3764" y="942"/>
                </a:cubicBezTo>
                <a:cubicBezTo>
                  <a:pt x="3758" y="941"/>
                  <a:pt x="3757" y="938"/>
                  <a:pt x="3757" y="935"/>
                </a:cubicBezTo>
                <a:cubicBezTo>
                  <a:pt x="3757" y="934"/>
                  <a:pt x="3757" y="931"/>
                  <a:pt x="3758" y="929"/>
                </a:cubicBezTo>
                <a:cubicBezTo>
                  <a:pt x="3758" y="926"/>
                  <a:pt x="3758" y="923"/>
                  <a:pt x="3758" y="921"/>
                </a:cubicBezTo>
                <a:cubicBezTo>
                  <a:pt x="3758" y="913"/>
                  <a:pt x="3753" y="909"/>
                  <a:pt x="3744" y="909"/>
                </a:cubicBezTo>
                <a:cubicBezTo>
                  <a:pt x="3744" y="909"/>
                  <a:pt x="3744" y="909"/>
                  <a:pt x="3740" y="909"/>
                </a:cubicBezTo>
                <a:cubicBezTo>
                  <a:pt x="3740" y="909"/>
                  <a:pt x="3740" y="909"/>
                  <a:pt x="3740" y="918"/>
                </a:cubicBezTo>
                <a:cubicBezTo>
                  <a:pt x="3740" y="918"/>
                  <a:pt x="3740" y="918"/>
                  <a:pt x="3741" y="918"/>
                </a:cubicBezTo>
                <a:cubicBezTo>
                  <a:pt x="3745" y="918"/>
                  <a:pt x="3747" y="920"/>
                  <a:pt x="3747" y="924"/>
                </a:cubicBezTo>
                <a:cubicBezTo>
                  <a:pt x="3747" y="925"/>
                  <a:pt x="3746" y="927"/>
                  <a:pt x="3746" y="928"/>
                </a:cubicBezTo>
                <a:cubicBezTo>
                  <a:pt x="3746" y="930"/>
                  <a:pt x="3746" y="932"/>
                  <a:pt x="3746" y="935"/>
                </a:cubicBezTo>
                <a:cubicBezTo>
                  <a:pt x="3746" y="942"/>
                  <a:pt x="3749" y="944"/>
                  <a:pt x="3754" y="946"/>
                </a:cubicBezTo>
                <a:cubicBezTo>
                  <a:pt x="3754" y="946"/>
                  <a:pt x="3754" y="946"/>
                  <a:pt x="3754" y="946"/>
                </a:cubicBezTo>
                <a:cubicBezTo>
                  <a:pt x="3749" y="947"/>
                  <a:pt x="3746" y="950"/>
                  <a:pt x="3746" y="957"/>
                </a:cubicBezTo>
                <a:cubicBezTo>
                  <a:pt x="3746" y="959"/>
                  <a:pt x="3746" y="962"/>
                  <a:pt x="3746" y="963"/>
                </a:cubicBezTo>
                <a:cubicBezTo>
                  <a:pt x="3746" y="965"/>
                  <a:pt x="3747" y="966"/>
                  <a:pt x="3747" y="968"/>
                </a:cubicBezTo>
                <a:cubicBezTo>
                  <a:pt x="3747" y="971"/>
                  <a:pt x="3746" y="974"/>
                  <a:pt x="3741" y="974"/>
                </a:cubicBezTo>
                <a:cubicBezTo>
                  <a:pt x="3741" y="974"/>
                  <a:pt x="3741" y="974"/>
                  <a:pt x="3740" y="974"/>
                </a:cubicBezTo>
                <a:cubicBezTo>
                  <a:pt x="3740" y="974"/>
                  <a:pt x="3740" y="974"/>
                  <a:pt x="3740" y="983"/>
                </a:cubicBezTo>
                <a:cubicBezTo>
                  <a:pt x="3740" y="983"/>
                  <a:pt x="3740" y="983"/>
                  <a:pt x="3744" y="983"/>
                </a:cubicBezTo>
                <a:cubicBezTo>
                  <a:pt x="3753" y="983"/>
                  <a:pt x="3758" y="980"/>
                  <a:pt x="3758" y="970"/>
                </a:cubicBezTo>
                <a:cubicBezTo>
                  <a:pt x="3758" y="968"/>
                  <a:pt x="3758" y="966"/>
                  <a:pt x="3758" y="963"/>
                </a:cubicBezTo>
                <a:cubicBezTo>
                  <a:pt x="3757" y="960"/>
                  <a:pt x="3757" y="958"/>
                  <a:pt x="3757" y="956"/>
                </a:cubicBezTo>
                <a:cubicBezTo>
                  <a:pt x="3757" y="953"/>
                  <a:pt x="3758" y="950"/>
                  <a:pt x="3764" y="950"/>
                </a:cubicBezTo>
                <a:close/>
                <a:moveTo>
                  <a:pt x="3151" y="983"/>
                </a:moveTo>
                <a:cubicBezTo>
                  <a:pt x="3144" y="983"/>
                  <a:pt x="3137" y="980"/>
                  <a:pt x="3133" y="974"/>
                </a:cubicBezTo>
                <a:cubicBezTo>
                  <a:pt x="3129" y="968"/>
                  <a:pt x="3127" y="959"/>
                  <a:pt x="3127" y="946"/>
                </a:cubicBezTo>
                <a:cubicBezTo>
                  <a:pt x="3127" y="933"/>
                  <a:pt x="3129" y="924"/>
                  <a:pt x="3134" y="917"/>
                </a:cubicBezTo>
                <a:cubicBezTo>
                  <a:pt x="3138" y="911"/>
                  <a:pt x="3145" y="907"/>
                  <a:pt x="3153" y="907"/>
                </a:cubicBezTo>
                <a:cubicBezTo>
                  <a:pt x="3169" y="907"/>
                  <a:pt x="3177" y="919"/>
                  <a:pt x="3177" y="945"/>
                </a:cubicBezTo>
                <a:cubicBezTo>
                  <a:pt x="3177" y="957"/>
                  <a:pt x="3175" y="967"/>
                  <a:pt x="3170" y="973"/>
                </a:cubicBezTo>
                <a:cubicBezTo>
                  <a:pt x="3166" y="980"/>
                  <a:pt x="3159" y="983"/>
                  <a:pt x="3151" y="983"/>
                </a:cubicBezTo>
                <a:close/>
                <a:moveTo>
                  <a:pt x="3153" y="917"/>
                </a:moveTo>
                <a:cubicBezTo>
                  <a:pt x="3143" y="917"/>
                  <a:pt x="3139" y="927"/>
                  <a:pt x="3139" y="946"/>
                </a:cubicBezTo>
                <a:cubicBezTo>
                  <a:pt x="3139" y="965"/>
                  <a:pt x="3143" y="973"/>
                  <a:pt x="3152" y="973"/>
                </a:cubicBezTo>
                <a:cubicBezTo>
                  <a:pt x="3161" y="973"/>
                  <a:pt x="3165" y="965"/>
                  <a:pt x="3165" y="946"/>
                </a:cubicBezTo>
                <a:cubicBezTo>
                  <a:pt x="3165" y="926"/>
                  <a:pt x="3161" y="917"/>
                  <a:pt x="3153" y="917"/>
                </a:cubicBezTo>
                <a:close/>
                <a:moveTo>
                  <a:pt x="3221" y="983"/>
                </a:moveTo>
                <a:cubicBezTo>
                  <a:pt x="3214" y="983"/>
                  <a:pt x="3207" y="980"/>
                  <a:pt x="3204" y="974"/>
                </a:cubicBezTo>
                <a:cubicBezTo>
                  <a:pt x="3199" y="968"/>
                  <a:pt x="3197" y="959"/>
                  <a:pt x="3197" y="946"/>
                </a:cubicBezTo>
                <a:cubicBezTo>
                  <a:pt x="3197" y="933"/>
                  <a:pt x="3199" y="924"/>
                  <a:pt x="3204" y="917"/>
                </a:cubicBezTo>
                <a:cubicBezTo>
                  <a:pt x="3208" y="911"/>
                  <a:pt x="3215" y="907"/>
                  <a:pt x="3223" y="907"/>
                </a:cubicBezTo>
                <a:cubicBezTo>
                  <a:pt x="3239" y="907"/>
                  <a:pt x="3248" y="919"/>
                  <a:pt x="3248" y="945"/>
                </a:cubicBezTo>
                <a:cubicBezTo>
                  <a:pt x="3248" y="957"/>
                  <a:pt x="3245" y="967"/>
                  <a:pt x="3241" y="973"/>
                </a:cubicBezTo>
                <a:cubicBezTo>
                  <a:pt x="3236" y="980"/>
                  <a:pt x="3230" y="983"/>
                  <a:pt x="3221" y="983"/>
                </a:cubicBezTo>
                <a:close/>
                <a:moveTo>
                  <a:pt x="3223" y="917"/>
                </a:moveTo>
                <a:cubicBezTo>
                  <a:pt x="3214" y="917"/>
                  <a:pt x="3209" y="927"/>
                  <a:pt x="3209" y="946"/>
                </a:cubicBezTo>
                <a:cubicBezTo>
                  <a:pt x="3209" y="965"/>
                  <a:pt x="3213" y="973"/>
                  <a:pt x="3222" y="973"/>
                </a:cubicBezTo>
                <a:cubicBezTo>
                  <a:pt x="3231" y="973"/>
                  <a:pt x="3235" y="965"/>
                  <a:pt x="3235" y="946"/>
                </a:cubicBezTo>
                <a:cubicBezTo>
                  <a:pt x="3235" y="926"/>
                  <a:pt x="3231" y="917"/>
                  <a:pt x="3223" y="917"/>
                </a:cubicBezTo>
                <a:close/>
                <a:moveTo>
                  <a:pt x="3431" y="983"/>
                </a:moveTo>
                <a:cubicBezTo>
                  <a:pt x="3424" y="983"/>
                  <a:pt x="3418" y="980"/>
                  <a:pt x="3413" y="973"/>
                </a:cubicBezTo>
                <a:cubicBezTo>
                  <a:pt x="3409" y="968"/>
                  <a:pt x="3407" y="958"/>
                  <a:pt x="3407" y="946"/>
                </a:cubicBezTo>
                <a:cubicBezTo>
                  <a:pt x="3407" y="933"/>
                  <a:pt x="3409" y="924"/>
                  <a:pt x="3413" y="917"/>
                </a:cubicBezTo>
                <a:cubicBezTo>
                  <a:pt x="3418" y="910"/>
                  <a:pt x="3424" y="907"/>
                  <a:pt x="3433" y="907"/>
                </a:cubicBezTo>
                <a:cubicBezTo>
                  <a:pt x="3449" y="907"/>
                  <a:pt x="3457" y="919"/>
                  <a:pt x="3457" y="944"/>
                </a:cubicBezTo>
                <a:cubicBezTo>
                  <a:pt x="3457" y="957"/>
                  <a:pt x="3455" y="967"/>
                  <a:pt x="3451" y="973"/>
                </a:cubicBezTo>
                <a:cubicBezTo>
                  <a:pt x="3446" y="980"/>
                  <a:pt x="3440" y="983"/>
                  <a:pt x="3431" y="983"/>
                </a:cubicBezTo>
                <a:close/>
                <a:moveTo>
                  <a:pt x="3432" y="917"/>
                </a:moveTo>
                <a:cubicBezTo>
                  <a:pt x="3424" y="917"/>
                  <a:pt x="3419" y="926"/>
                  <a:pt x="3419" y="946"/>
                </a:cubicBezTo>
                <a:cubicBezTo>
                  <a:pt x="3419" y="964"/>
                  <a:pt x="3424" y="973"/>
                  <a:pt x="3432" y="973"/>
                </a:cubicBezTo>
                <a:cubicBezTo>
                  <a:pt x="3440" y="973"/>
                  <a:pt x="3445" y="964"/>
                  <a:pt x="3445" y="946"/>
                </a:cubicBezTo>
                <a:cubicBezTo>
                  <a:pt x="3445" y="926"/>
                  <a:pt x="3441" y="917"/>
                  <a:pt x="3432" y="917"/>
                </a:cubicBezTo>
                <a:close/>
                <a:moveTo>
                  <a:pt x="3503" y="909"/>
                </a:moveTo>
                <a:cubicBezTo>
                  <a:pt x="3503" y="909"/>
                  <a:pt x="3503" y="909"/>
                  <a:pt x="3503" y="909"/>
                </a:cubicBezTo>
                <a:cubicBezTo>
                  <a:pt x="3498" y="909"/>
                  <a:pt x="3498" y="909"/>
                  <a:pt x="3498" y="909"/>
                </a:cubicBezTo>
                <a:cubicBezTo>
                  <a:pt x="3496" y="911"/>
                  <a:pt x="3495" y="912"/>
                  <a:pt x="3493" y="913"/>
                </a:cubicBezTo>
                <a:cubicBezTo>
                  <a:pt x="3491" y="915"/>
                  <a:pt x="3489" y="915"/>
                  <a:pt x="3488" y="916"/>
                </a:cubicBezTo>
                <a:cubicBezTo>
                  <a:pt x="3486" y="917"/>
                  <a:pt x="3484" y="917"/>
                  <a:pt x="3483" y="918"/>
                </a:cubicBezTo>
                <a:cubicBezTo>
                  <a:pt x="3481" y="919"/>
                  <a:pt x="3479" y="920"/>
                  <a:pt x="3477" y="920"/>
                </a:cubicBezTo>
                <a:cubicBezTo>
                  <a:pt x="3477" y="920"/>
                  <a:pt x="3477" y="920"/>
                  <a:pt x="3477" y="931"/>
                </a:cubicBezTo>
                <a:cubicBezTo>
                  <a:pt x="3480" y="930"/>
                  <a:pt x="3483" y="928"/>
                  <a:pt x="3485" y="928"/>
                </a:cubicBezTo>
                <a:cubicBezTo>
                  <a:pt x="3488" y="927"/>
                  <a:pt x="3490" y="925"/>
                  <a:pt x="3492" y="924"/>
                </a:cubicBezTo>
                <a:cubicBezTo>
                  <a:pt x="3492" y="924"/>
                  <a:pt x="3492" y="924"/>
                  <a:pt x="3492" y="983"/>
                </a:cubicBezTo>
                <a:cubicBezTo>
                  <a:pt x="3492" y="983"/>
                  <a:pt x="3492" y="983"/>
                  <a:pt x="3503" y="983"/>
                </a:cubicBezTo>
                <a:cubicBezTo>
                  <a:pt x="3503" y="983"/>
                  <a:pt x="3503" y="983"/>
                  <a:pt x="3503" y="909"/>
                </a:cubicBezTo>
                <a:close/>
                <a:moveTo>
                  <a:pt x="3295" y="909"/>
                </a:moveTo>
                <a:cubicBezTo>
                  <a:pt x="3295" y="909"/>
                  <a:pt x="3295" y="909"/>
                  <a:pt x="3295" y="909"/>
                </a:cubicBezTo>
                <a:cubicBezTo>
                  <a:pt x="3289" y="909"/>
                  <a:pt x="3289" y="909"/>
                  <a:pt x="3289" y="909"/>
                </a:cubicBezTo>
                <a:cubicBezTo>
                  <a:pt x="3287" y="911"/>
                  <a:pt x="3286" y="912"/>
                  <a:pt x="3283" y="913"/>
                </a:cubicBezTo>
                <a:cubicBezTo>
                  <a:pt x="3282" y="915"/>
                  <a:pt x="3281" y="915"/>
                  <a:pt x="3278" y="916"/>
                </a:cubicBezTo>
                <a:cubicBezTo>
                  <a:pt x="3277" y="917"/>
                  <a:pt x="3275" y="918"/>
                  <a:pt x="3273" y="919"/>
                </a:cubicBezTo>
                <a:cubicBezTo>
                  <a:pt x="3271" y="920"/>
                  <a:pt x="3269" y="920"/>
                  <a:pt x="3267" y="920"/>
                </a:cubicBezTo>
                <a:cubicBezTo>
                  <a:pt x="3267" y="920"/>
                  <a:pt x="3267" y="920"/>
                  <a:pt x="3267" y="931"/>
                </a:cubicBezTo>
                <a:cubicBezTo>
                  <a:pt x="3270" y="930"/>
                  <a:pt x="3273" y="929"/>
                  <a:pt x="3276" y="928"/>
                </a:cubicBezTo>
                <a:cubicBezTo>
                  <a:pt x="3278" y="927"/>
                  <a:pt x="3281" y="925"/>
                  <a:pt x="3283" y="924"/>
                </a:cubicBezTo>
                <a:cubicBezTo>
                  <a:pt x="3283" y="924"/>
                  <a:pt x="3283" y="924"/>
                  <a:pt x="3283" y="983"/>
                </a:cubicBezTo>
                <a:cubicBezTo>
                  <a:pt x="3283" y="983"/>
                  <a:pt x="3283" y="983"/>
                  <a:pt x="3295" y="983"/>
                </a:cubicBezTo>
                <a:cubicBezTo>
                  <a:pt x="3295" y="983"/>
                  <a:pt x="3295" y="983"/>
                  <a:pt x="3295" y="909"/>
                </a:cubicBezTo>
                <a:close/>
                <a:moveTo>
                  <a:pt x="3341" y="909"/>
                </a:moveTo>
                <a:cubicBezTo>
                  <a:pt x="3341" y="909"/>
                  <a:pt x="3341" y="909"/>
                  <a:pt x="3341" y="909"/>
                </a:cubicBezTo>
                <a:cubicBezTo>
                  <a:pt x="3336" y="909"/>
                  <a:pt x="3336" y="909"/>
                  <a:pt x="3336" y="909"/>
                </a:cubicBezTo>
                <a:cubicBezTo>
                  <a:pt x="3334" y="911"/>
                  <a:pt x="3332" y="912"/>
                  <a:pt x="3330" y="913"/>
                </a:cubicBezTo>
                <a:cubicBezTo>
                  <a:pt x="3329" y="915"/>
                  <a:pt x="3327" y="915"/>
                  <a:pt x="3325" y="916"/>
                </a:cubicBezTo>
                <a:cubicBezTo>
                  <a:pt x="3324" y="917"/>
                  <a:pt x="3322" y="918"/>
                  <a:pt x="3320" y="919"/>
                </a:cubicBezTo>
                <a:cubicBezTo>
                  <a:pt x="3318" y="920"/>
                  <a:pt x="3316" y="920"/>
                  <a:pt x="3314" y="920"/>
                </a:cubicBezTo>
                <a:cubicBezTo>
                  <a:pt x="3314" y="920"/>
                  <a:pt x="3314" y="920"/>
                  <a:pt x="3314" y="931"/>
                </a:cubicBezTo>
                <a:cubicBezTo>
                  <a:pt x="3317" y="930"/>
                  <a:pt x="3320" y="929"/>
                  <a:pt x="3322" y="928"/>
                </a:cubicBezTo>
                <a:cubicBezTo>
                  <a:pt x="3325" y="927"/>
                  <a:pt x="3327" y="925"/>
                  <a:pt x="3330" y="924"/>
                </a:cubicBezTo>
                <a:cubicBezTo>
                  <a:pt x="3330" y="924"/>
                  <a:pt x="3330" y="924"/>
                  <a:pt x="3330" y="983"/>
                </a:cubicBezTo>
                <a:cubicBezTo>
                  <a:pt x="3330" y="983"/>
                  <a:pt x="3330" y="983"/>
                  <a:pt x="3341" y="983"/>
                </a:cubicBezTo>
                <a:cubicBezTo>
                  <a:pt x="3341" y="983"/>
                  <a:pt x="3341" y="983"/>
                  <a:pt x="3341" y="909"/>
                </a:cubicBezTo>
                <a:close/>
                <a:moveTo>
                  <a:pt x="3387" y="909"/>
                </a:moveTo>
                <a:cubicBezTo>
                  <a:pt x="3387" y="909"/>
                  <a:pt x="3387" y="909"/>
                  <a:pt x="3387" y="909"/>
                </a:cubicBezTo>
                <a:cubicBezTo>
                  <a:pt x="3383" y="909"/>
                  <a:pt x="3383" y="909"/>
                  <a:pt x="3383" y="909"/>
                </a:cubicBezTo>
                <a:cubicBezTo>
                  <a:pt x="3381" y="911"/>
                  <a:pt x="3379" y="912"/>
                  <a:pt x="3377" y="913"/>
                </a:cubicBezTo>
                <a:cubicBezTo>
                  <a:pt x="3375" y="915"/>
                  <a:pt x="3373" y="915"/>
                  <a:pt x="3372" y="916"/>
                </a:cubicBezTo>
                <a:cubicBezTo>
                  <a:pt x="3370" y="917"/>
                  <a:pt x="3368" y="917"/>
                  <a:pt x="3366" y="918"/>
                </a:cubicBezTo>
                <a:cubicBezTo>
                  <a:pt x="3364" y="919"/>
                  <a:pt x="3362" y="920"/>
                  <a:pt x="3361" y="920"/>
                </a:cubicBezTo>
                <a:cubicBezTo>
                  <a:pt x="3361" y="920"/>
                  <a:pt x="3361" y="920"/>
                  <a:pt x="3361" y="931"/>
                </a:cubicBezTo>
                <a:cubicBezTo>
                  <a:pt x="3364" y="930"/>
                  <a:pt x="3367" y="928"/>
                  <a:pt x="3369" y="928"/>
                </a:cubicBezTo>
                <a:cubicBezTo>
                  <a:pt x="3371" y="927"/>
                  <a:pt x="3374" y="925"/>
                  <a:pt x="3375" y="924"/>
                </a:cubicBezTo>
                <a:cubicBezTo>
                  <a:pt x="3375" y="924"/>
                  <a:pt x="3375" y="924"/>
                  <a:pt x="3375" y="983"/>
                </a:cubicBezTo>
                <a:cubicBezTo>
                  <a:pt x="3375" y="983"/>
                  <a:pt x="3375" y="983"/>
                  <a:pt x="3387" y="983"/>
                </a:cubicBezTo>
                <a:cubicBezTo>
                  <a:pt x="3387" y="983"/>
                  <a:pt x="3387" y="983"/>
                  <a:pt x="3387" y="909"/>
                </a:cubicBezTo>
                <a:close/>
                <a:moveTo>
                  <a:pt x="2144" y="909"/>
                </a:moveTo>
                <a:cubicBezTo>
                  <a:pt x="2144" y="909"/>
                  <a:pt x="2144" y="909"/>
                  <a:pt x="2144" y="909"/>
                </a:cubicBezTo>
                <a:cubicBezTo>
                  <a:pt x="2139" y="909"/>
                  <a:pt x="2139" y="909"/>
                  <a:pt x="2139" y="909"/>
                </a:cubicBezTo>
                <a:cubicBezTo>
                  <a:pt x="2137" y="911"/>
                  <a:pt x="2136" y="912"/>
                  <a:pt x="2134" y="913"/>
                </a:cubicBezTo>
                <a:cubicBezTo>
                  <a:pt x="2132" y="915"/>
                  <a:pt x="2130" y="915"/>
                  <a:pt x="2129" y="916"/>
                </a:cubicBezTo>
                <a:cubicBezTo>
                  <a:pt x="2127" y="917"/>
                  <a:pt x="2125" y="918"/>
                  <a:pt x="2123" y="919"/>
                </a:cubicBezTo>
                <a:cubicBezTo>
                  <a:pt x="2121" y="920"/>
                  <a:pt x="2120" y="920"/>
                  <a:pt x="2118" y="920"/>
                </a:cubicBezTo>
                <a:cubicBezTo>
                  <a:pt x="2118" y="920"/>
                  <a:pt x="2118" y="920"/>
                  <a:pt x="2118" y="931"/>
                </a:cubicBezTo>
                <a:cubicBezTo>
                  <a:pt x="2121" y="930"/>
                  <a:pt x="2123" y="929"/>
                  <a:pt x="2126" y="928"/>
                </a:cubicBezTo>
                <a:cubicBezTo>
                  <a:pt x="2129" y="927"/>
                  <a:pt x="2131" y="925"/>
                  <a:pt x="2133" y="924"/>
                </a:cubicBezTo>
                <a:cubicBezTo>
                  <a:pt x="2133" y="924"/>
                  <a:pt x="2133" y="924"/>
                  <a:pt x="2133" y="983"/>
                </a:cubicBezTo>
                <a:cubicBezTo>
                  <a:pt x="2133" y="983"/>
                  <a:pt x="2133" y="983"/>
                  <a:pt x="2144" y="983"/>
                </a:cubicBezTo>
                <a:cubicBezTo>
                  <a:pt x="2144" y="983"/>
                  <a:pt x="2144" y="983"/>
                  <a:pt x="2144" y="909"/>
                </a:cubicBezTo>
                <a:close/>
                <a:moveTo>
                  <a:pt x="2192" y="909"/>
                </a:moveTo>
                <a:cubicBezTo>
                  <a:pt x="2192" y="909"/>
                  <a:pt x="2192" y="909"/>
                  <a:pt x="2192" y="909"/>
                </a:cubicBezTo>
                <a:cubicBezTo>
                  <a:pt x="2186" y="909"/>
                  <a:pt x="2186" y="909"/>
                  <a:pt x="2186" y="909"/>
                </a:cubicBezTo>
                <a:cubicBezTo>
                  <a:pt x="2185" y="911"/>
                  <a:pt x="2183" y="912"/>
                  <a:pt x="2181" y="913"/>
                </a:cubicBezTo>
                <a:cubicBezTo>
                  <a:pt x="2179" y="915"/>
                  <a:pt x="2177" y="915"/>
                  <a:pt x="2175" y="916"/>
                </a:cubicBezTo>
                <a:cubicBezTo>
                  <a:pt x="2174" y="917"/>
                  <a:pt x="2172" y="918"/>
                  <a:pt x="2170" y="919"/>
                </a:cubicBezTo>
                <a:cubicBezTo>
                  <a:pt x="2168" y="920"/>
                  <a:pt x="2166" y="920"/>
                  <a:pt x="2164" y="920"/>
                </a:cubicBezTo>
                <a:cubicBezTo>
                  <a:pt x="2164" y="920"/>
                  <a:pt x="2164" y="920"/>
                  <a:pt x="2164" y="931"/>
                </a:cubicBezTo>
                <a:cubicBezTo>
                  <a:pt x="2167" y="930"/>
                  <a:pt x="2170" y="929"/>
                  <a:pt x="2173" y="928"/>
                </a:cubicBezTo>
                <a:cubicBezTo>
                  <a:pt x="2175" y="927"/>
                  <a:pt x="2177" y="925"/>
                  <a:pt x="2180" y="924"/>
                </a:cubicBezTo>
                <a:cubicBezTo>
                  <a:pt x="2180" y="924"/>
                  <a:pt x="2180" y="924"/>
                  <a:pt x="2180" y="983"/>
                </a:cubicBezTo>
                <a:cubicBezTo>
                  <a:pt x="2180" y="983"/>
                  <a:pt x="2180" y="983"/>
                  <a:pt x="2192" y="983"/>
                </a:cubicBezTo>
                <a:cubicBezTo>
                  <a:pt x="2192" y="983"/>
                  <a:pt x="2192" y="983"/>
                  <a:pt x="2192" y="909"/>
                </a:cubicBezTo>
                <a:close/>
                <a:moveTo>
                  <a:pt x="2237" y="909"/>
                </a:moveTo>
                <a:cubicBezTo>
                  <a:pt x="2237" y="909"/>
                  <a:pt x="2237" y="909"/>
                  <a:pt x="2237" y="909"/>
                </a:cubicBezTo>
                <a:cubicBezTo>
                  <a:pt x="2233" y="909"/>
                  <a:pt x="2233" y="909"/>
                  <a:pt x="2233" y="909"/>
                </a:cubicBezTo>
                <a:cubicBezTo>
                  <a:pt x="2231" y="911"/>
                  <a:pt x="2229" y="912"/>
                  <a:pt x="2227" y="913"/>
                </a:cubicBezTo>
                <a:cubicBezTo>
                  <a:pt x="2226" y="915"/>
                  <a:pt x="2223" y="915"/>
                  <a:pt x="2222" y="916"/>
                </a:cubicBezTo>
                <a:cubicBezTo>
                  <a:pt x="2220" y="917"/>
                  <a:pt x="2218" y="917"/>
                  <a:pt x="2216" y="918"/>
                </a:cubicBezTo>
                <a:cubicBezTo>
                  <a:pt x="2215" y="919"/>
                  <a:pt x="2213" y="920"/>
                  <a:pt x="2211" y="920"/>
                </a:cubicBezTo>
                <a:cubicBezTo>
                  <a:pt x="2211" y="920"/>
                  <a:pt x="2211" y="920"/>
                  <a:pt x="2211" y="931"/>
                </a:cubicBezTo>
                <a:cubicBezTo>
                  <a:pt x="2214" y="930"/>
                  <a:pt x="2217" y="928"/>
                  <a:pt x="2219" y="928"/>
                </a:cubicBezTo>
                <a:cubicBezTo>
                  <a:pt x="2221" y="927"/>
                  <a:pt x="2224" y="925"/>
                  <a:pt x="2226" y="924"/>
                </a:cubicBezTo>
                <a:cubicBezTo>
                  <a:pt x="2226" y="924"/>
                  <a:pt x="2226" y="924"/>
                  <a:pt x="2226" y="983"/>
                </a:cubicBezTo>
                <a:cubicBezTo>
                  <a:pt x="2226" y="983"/>
                  <a:pt x="2226" y="983"/>
                  <a:pt x="2237" y="983"/>
                </a:cubicBezTo>
                <a:cubicBezTo>
                  <a:pt x="2237" y="983"/>
                  <a:pt x="2237" y="983"/>
                  <a:pt x="2237" y="909"/>
                </a:cubicBezTo>
                <a:close/>
                <a:moveTo>
                  <a:pt x="2374" y="942"/>
                </a:moveTo>
                <a:cubicBezTo>
                  <a:pt x="2374" y="942"/>
                  <a:pt x="2374" y="942"/>
                  <a:pt x="2374" y="942"/>
                </a:cubicBezTo>
                <a:cubicBezTo>
                  <a:pt x="2373" y="950"/>
                  <a:pt x="2373" y="950"/>
                  <a:pt x="2373" y="950"/>
                </a:cubicBezTo>
                <a:cubicBezTo>
                  <a:pt x="2380" y="950"/>
                  <a:pt x="2380" y="953"/>
                  <a:pt x="2380" y="956"/>
                </a:cubicBezTo>
                <a:cubicBezTo>
                  <a:pt x="2380" y="958"/>
                  <a:pt x="2380" y="960"/>
                  <a:pt x="2380" y="963"/>
                </a:cubicBezTo>
                <a:cubicBezTo>
                  <a:pt x="2380" y="966"/>
                  <a:pt x="2379" y="968"/>
                  <a:pt x="2379" y="970"/>
                </a:cubicBezTo>
                <a:cubicBezTo>
                  <a:pt x="2379" y="980"/>
                  <a:pt x="2385" y="983"/>
                  <a:pt x="2394" y="983"/>
                </a:cubicBezTo>
                <a:cubicBezTo>
                  <a:pt x="2394" y="983"/>
                  <a:pt x="2394" y="983"/>
                  <a:pt x="2397" y="983"/>
                </a:cubicBezTo>
                <a:cubicBezTo>
                  <a:pt x="2397" y="983"/>
                  <a:pt x="2397" y="983"/>
                  <a:pt x="2397" y="974"/>
                </a:cubicBezTo>
                <a:cubicBezTo>
                  <a:pt x="2397" y="974"/>
                  <a:pt x="2397" y="974"/>
                  <a:pt x="2396" y="974"/>
                </a:cubicBezTo>
                <a:cubicBezTo>
                  <a:pt x="2392" y="974"/>
                  <a:pt x="2391" y="971"/>
                  <a:pt x="2391" y="968"/>
                </a:cubicBezTo>
                <a:cubicBezTo>
                  <a:pt x="2391" y="966"/>
                  <a:pt x="2391" y="965"/>
                  <a:pt x="2392" y="963"/>
                </a:cubicBezTo>
                <a:cubicBezTo>
                  <a:pt x="2392" y="962"/>
                  <a:pt x="2392" y="959"/>
                  <a:pt x="2392" y="957"/>
                </a:cubicBezTo>
                <a:cubicBezTo>
                  <a:pt x="2392" y="950"/>
                  <a:pt x="2389" y="947"/>
                  <a:pt x="2383" y="946"/>
                </a:cubicBezTo>
                <a:cubicBezTo>
                  <a:pt x="2383" y="946"/>
                  <a:pt x="2383" y="946"/>
                  <a:pt x="2383" y="946"/>
                </a:cubicBezTo>
                <a:cubicBezTo>
                  <a:pt x="2389" y="944"/>
                  <a:pt x="2392" y="942"/>
                  <a:pt x="2392" y="935"/>
                </a:cubicBezTo>
                <a:cubicBezTo>
                  <a:pt x="2392" y="932"/>
                  <a:pt x="2392" y="930"/>
                  <a:pt x="2392" y="928"/>
                </a:cubicBezTo>
                <a:cubicBezTo>
                  <a:pt x="2391" y="927"/>
                  <a:pt x="2391" y="925"/>
                  <a:pt x="2391" y="924"/>
                </a:cubicBezTo>
                <a:cubicBezTo>
                  <a:pt x="2391" y="920"/>
                  <a:pt x="2392" y="918"/>
                  <a:pt x="2396" y="918"/>
                </a:cubicBezTo>
                <a:cubicBezTo>
                  <a:pt x="2396" y="918"/>
                  <a:pt x="2396" y="918"/>
                  <a:pt x="2397" y="918"/>
                </a:cubicBezTo>
                <a:cubicBezTo>
                  <a:pt x="2397" y="918"/>
                  <a:pt x="2397" y="918"/>
                  <a:pt x="2397" y="909"/>
                </a:cubicBezTo>
                <a:cubicBezTo>
                  <a:pt x="2397" y="909"/>
                  <a:pt x="2397" y="909"/>
                  <a:pt x="2394" y="909"/>
                </a:cubicBezTo>
                <a:cubicBezTo>
                  <a:pt x="2385" y="909"/>
                  <a:pt x="2379" y="913"/>
                  <a:pt x="2379" y="921"/>
                </a:cubicBezTo>
                <a:cubicBezTo>
                  <a:pt x="2379" y="923"/>
                  <a:pt x="2380" y="926"/>
                  <a:pt x="2380" y="929"/>
                </a:cubicBezTo>
                <a:cubicBezTo>
                  <a:pt x="2380" y="931"/>
                  <a:pt x="2380" y="934"/>
                  <a:pt x="2380" y="935"/>
                </a:cubicBezTo>
                <a:cubicBezTo>
                  <a:pt x="2380" y="938"/>
                  <a:pt x="2380" y="941"/>
                  <a:pt x="2374" y="942"/>
                </a:cubicBezTo>
                <a:close/>
                <a:moveTo>
                  <a:pt x="2428" y="950"/>
                </a:moveTo>
                <a:cubicBezTo>
                  <a:pt x="2428" y="950"/>
                  <a:pt x="2428" y="950"/>
                  <a:pt x="2428" y="950"/>
                </a:cubicBezTo>
                <a:cubicBezTo>
                  <a:pt x="2428" y="942"/>
                  <a:pt x="2428" y="942"/>
                  <a:pt x="2428" y="942"/>
                </a:cubicBezTo>
                <a:cubicBezTo>
                  <a:pt x="2422" y="941"/>
                  <a:pt x="2422" y="938"/>
                  <a:pt x="2422" y="935"/>
                </a:cubicBezTo>
                <a:cubicBezTo>
                  <a:pt x="2422" y="934"/>
                  <a:pt x="2422" y="931"/>
                  <a:pt x="2422" y="929"/>
                </a:cubicBezTo>
                <a:cubicBezTo>
                  <a:pt x="2422" y="926"/>
                  <a:pt x="2422" y="923"/>
                  <a:pt x="2422" y="921"/>
                </a:cubicBezTo>
                <a:cubicBezTo>
                  <a:pt x="2422" y="913"/>
                  <a:pt x="2417" y="909"/>
                  <a:pt x="2408" y="909"/>
                </a:cubicBezTo>
                <a:cubicBezTo>
                  <a:pt x="2408" y="909"/>
                  <a:pt x="2408" y="909"/>
                  <a:pt x="2404" y="909"/>
                </a:cubicBezTo>
                <a:cubicBezTo>
                  <a:pt x="2404" y="909"/>
                  <a:pt x="2404" y="909"/>
                  <a:pt x="2404" y="918"/>
                </a:cubicBezTo>
                <a:cubicBezTo>
                  <a:pt x="2404" y="918"/>
                  <a:pt x="2404" y="918"/>
                  <a:pt x="2406" y="918"/>
                </a:cubicBezTo>
                <a:cubicBezTo>
                  <a:pt x="2409" y="918"/>
                  <a:pt x="2411" y="920"/>
                  <a:pt x="2411" y="924"/>
                </a:cubicBezTo>
                <a:cubicBezTo>
                  <a:pt x="2411" y="925"/>
                  <a:pt x="2410" y="927"/>
                  <a:pt x="2410" y="928"/>
                </a:cubicBezTo>
                <a:cubicBezTo>
                  <a:pt x="2410" y="930"/>
                  <a:pt x="2410" y="932"/>
                  <a:pt x="2410" y="935"/>
                </a:cubicBezTo>
                <a:cubicBezTo>
                  <a:pt x="2410" y="942"/>
                  <a:pt x="2413" y="944"/>
                  <a:pt x="2419" y="946"/>
                </a:cubicBezTo>
                <a:cubicBezTo>
                  <a:pt x="2419" y="946"/>
                  <a:pt x="2419" y="946"/>
                  <a:pt x="2419" y="946"/>
                </a:cubicBezTo>
                <a:cubicBezTo>
                  <a:pt x="2413" y="947"/>
                  <a:pt x="2410" y="950"/>
                  <a:pt x="2410" y="957"/>
                </a:cubicBezTo>
                <a:cubicBezTo>
                  <a:pt x="2410" y="959"/>
                  <a:pt x="2410" y="962"/>
                  <a:pt x="2410" y="963"/>
                </a:cubicBezTo>
                <a:cubicBezTo>
                  <a:pt x="2410" y="965"/>
                  <a:pt x="2411" y="966"/>
                  <a:pt x="2411" y="968"/>
                </a:cubicBezTo>
                <a:cubicBezTo>
                  <a:pt x="2411" y="971"/>
                  <a:pt x="2410" y="974"/>
                  <a:pt x="2406" y="974"/>
                </a:cubicBezTo>
                <a:cubicBezTo>
                  <a:pt x="2406" y="974"/>
                  <a:pt x="2406" y="974"/>
                  <a:pt x="2404" y="974"/>
                </a:cubicBezTo>
                <a:cubicBezTo>
                  <a:pt x="2404" y="974"/>
                  <a:pt x="2404" y="974"/>
                  <a:pt x="2404" y="983"/>
                </a:cubicBezTo>
                <a:cubicBezTo>
                  <a:pt x="2404" y="983"/>
                  <a:pt x="2404" y="983"/>
                  <a:pt x="2408" y="983"/>
                </a:cubicBezTo>
                <a:cubicBezTo>
                  <a:pt x="2417" y="983"/>
                  <a:pt x="2422" y="980"/>
                  <a:pt x="2422" y="970"/>
                </a:cubicBezTo>
                <a:cubicBezTo>
                  <a:pt x="2422" y="968"/>
                  <a:pt x="2422" y="966"/>
                  <a:pt x="2422" y="963"/>
                </a:cubicBezTo>
                <a:cubicBezTo>
                  <a:pt x="2422" y="960"/>
                  <a:pt x="2422" y="958"/>
                  <a:pt x="2422" y="956"/>
                </a:cubicBezTo>
                <a:cubicBezTo>
                  <a:pt x="2422" y="953"/>
                  <a:pt x="2422" y="950"/>
                  <a:pt x="2428" y="950"/>
                </a:cubicBezTo>
                <a:close/>
                <a:moveTo>
                  <a:pt x="2475" y="909"/>
                </a:moveTo>
                <a:cubicBezTo>
                  <a:pt x="2475" y="909"/>
                  <a:pt x="2475" y="909"/>
                  <a:pt x="2475" y="909"/>
                </a:cubicBezTo>
                <a:cubicBezTo>
                  <a:pt x="2470" y="909"/>
                  <a:pt x="2470" y="909"/>
                  <a:pt x="2470" y="909"/>
                </a:cubicBezTo>
                <a:cubicBezTo>
                  <a:pt x="2468" y="911"/>
                  <a:pt x="2466" y="912"/>
                  <a:pt x="2464" y="913"/>
                </a:cubicBezTo>
                <a:cubicBezTo>
                  <a:pt x="2463" y="915"/>
                  <a:pt x="2461" y="915"/>
                  <a:pt x="2459" y="916"/>
                </a:cubicBezTo>
                <a:cubicBezTo>
                  <a:pt x="2457" y="917"/>
                  <a:pt x="2456" y="917"/>
                  <a:pt x="2454" y="918"/>
                </a:cubicBezTo>
                <a:cubicBezTo>
                  <a:pt x="2452" y="919"/>
                  <a:pt x="2451" y="920"/>
                  <a:pt x="2448" y="920"/>
                </a:cubicBezTo>
                <a:cubicBezTo>
                  <a:pt x="2448" y="920"/>
                  <a:pt x="2448" y="920"/>
                  <a:pt x="2448" y="931"/>
                </a:cubicBezTo>
                <a:cubicBezTo>
                  <a:pt x="2451" y="930"/>
                  <a:pt x="2454" y="928"/>
                  <a:pt x="2456" y="928"/>
                </a:cubicBezTo>
                <a:cubicBezTo>
                  <a:pt x="2459" y="927"/>
                  <a:pt x="2461" y="925"/>
                  <a:pt x="2464" y="924"/>
                </a:cubicBezTo>
                <a:cubicBezTo>
                  <a:pt x="2464" y="924"/>
                  <a:pt x="2464" y="924"/>
                  <a:pt x="2464" y="983"/>
                </a:cubicBezTo>
                <a:cubicBezTo>
                  <a:pt x="2464" y="983"/>
                  <a:pt x="2464" y="983"/>
                  <a:pt x="2475" y="983"/>
                </a:cubicBezTo>
                <a:cubicBezTo>
                  <a:pt x="2475" y="983"/>
                  <a:pt x="2475" y="983"/>
                  <a:pt x="2475" y="909"/>
                </a:cubicBezTo>
                <a:close/>
                <a:moveTo>
                  <a:pt x="2521" y="909"/>
                </a:moveTo>
                <a:cubicBezTo>
                  <a:pt x="2521" y="909"/>
                  <a:pt x="2521" y="909"/>
                  <a:pt x="2521" y="909"/>
                </a:cubicBezTo>
                <a:cubicBezTo>
                  <a:pt x="2516" y="909"/>
                  <a:pt x="2516" y="909"/>
                  <a:pt x="2516" y="909"/>
                </a:cubicBezTo>
                <a:cubicBezTo>
                  <a:pt x="2514" y="911"/>
                  <a:pt x="2513" y="912"/>
                  <a:pt x="2511" y="913"/>
                </a:cubicBezTo>
                <a:cubicBezTo>
                  <a:pt x="2509" y="915"/>
                  <a:pt x="2507" y="915"/>
                  <a:pt x="2506" y="916"/>
                </a:cubicBezTo>
                <a:cubicBezTo>
                  <a:pt x="2504" y="917"/>
                  <a:pt x="2502" y="918"/>
                  <a:pt x="2501" y="919"/>
                </a:cubicBezTo>
                <a:cubicBezTo>
                  <a:pt x="2498" y="920"/>
                  <a:pt x="2497" y="920"/>
                  <a:pt x="2495" y="920"/>
                </a:cubicBezTo>
                <a:cubicBezTo>
                  <a:pt x="2495" y="920"/>
                  <a:pt x="2495" y="920"/>
                  <a:pt x="2495" y="931"/>
                </a:cubicBezTo>
                <a:cubicBezTo>
                  <a:pt x="2498" y="930"/>
                  <a:pt x="2501" y="929"/>
                  <a:pt x="2503" y="928"/>
                </a:cubicBezTo>
                <a:cubicBezTo>
                  <a:pt x="2506" y="927"/>
                  <a:pt x="2508" y="925"/>
                  <a:pt x="2510" y="924"/>
                </a:cubicBezTo>
                <a:cubicBezTo>
                  <a:pt x="2510" y="924"/>
                  <a:pt x="2510" y="924"/>
                  <a:pt x="2510" y="983"/>
                </a:cubicBezTo>
                <a:cubicBezTo>
                  <a:pt x="2510" y="983"/>
                  <a:pt x="2510" y="983"/>
                  <a:pt x="2521" y="983"/>
                </a:cubicBezTo>
                <a:cubicBezTo>
                  <a:pt x="2521" y="983"/>
                  <a:pt x="2521" y="983"/>
                  <a:pt x="2521" y="909"/>
                </a:cubicBezTo>
                <a:close/>
                <a:moveTo>
                  <a:pt x="2567" y="909"/>
                </a:moveTo>
                <a:cubicBezTo>
                  <a:pt x="2567" y="909"/>
                  <a:pt x="2567" y="909"/>
                  <a:pt x="2567" y="909"/>
                </a:cubicBezTo>
                <a:cubicBezTo>
                  <a:pt x="2563" y="909"/>
                  <a:pt x="2563" y="909"/>
                  <a:pt x="2563" y="909"/>
                </a:cubicBezTo>
                <a:cubicBezTo>
                  <a:pt x="2561" y="911"/>
                  <a:pt x="2559" y="912"/>
                  <a:pt x="2557" y="913"/>
                </a:cubicBezTo>
                <a:cubicBezTo>
                  <a:pt x="2556" y="915"/>
                  <a:pt x="2554" y="915"/>
                  <a:pt x="2552" y="916"/>
                </a:cubicBezTo>
                <a:cubicBezTo>
                  <a:pt x="2550" y="917"/>
                  <a:pt x="2549" y="918"/>
                  <a:pt x="2546" y="919"/>
                </a:cubicBezTo>
                <a:cubicBezTo>
                  <a:pt x="2545" y="920"/>
                  <a:pt x="2543" y="920"/>
                  <a:pt x="2541" y="920"/>
                </a:cubicBezTo>
                <a:cubicBezTo>
                  <a:pt x="2541" y="920"/>
                  <a:pt x="2541" y="920"/>
                  <a:pt x="2541" y="931"/>
                </a:cubicBezTo>
                <a:cubicBezTo>
                  <a:pt x="2544" y="930"/>
                  <a:pt x="2547" y="929"/>
                  <a:pt x="2549" y="928"/>
                </a:cubicBezTo>
                <a:cubicBezTo>
                  <a:pt x="2552" y="927"/>
                  <a:pt x="2554" y="925"/>
                  <a:pt x="2556" y="924"/>
                </a:cubicBezTo>
                <a:cubicBezTo>
                  <a:pt x="2556" y="924"/>
                  <a:pt x="2556" y="924"/>
                  <a:pt x="2556" y="983"/>
                </a:cubicBezTo>
                <a:cubicBezTo>
                  <a:pt x="2556" y="983"/>
                  <a:pt x="2556" y="983"/>
                  <a:pt x="2567" y="983"/>
                </a:cubicBezTo>
                <a:cubicBezTo>
                  <a:pt x="2567" y="983"/>
                  <a:pt x="2567" y="983"/>
                  <a:pt x="2567" y="909"/>
                </a:cubicBezTo>
                <a:close/>
                <a:moveTo>
                  <a:pt x="2317" y="957"/>
                </a:moveTo>
                <a:cubicBezTo>
                  <a:pt x="2318" y="958"/>
                  <a:pt x="2318" y="960"/>
                  <a:pt x="2319" y="961"/>
                </a:cubicBezTo>
                <a:cubicBezTo>
                  <a:pt x="2319" y="963"/>
                  <a:pt x="2319" y="965"/>
                  <a:pt x="2320" y="966"/>
                </a:cubicBezTo>
                <a:cubicBezTo>
                  <a:pt x="2320" y="968"/>
                  <a:pt x="2320" y="969"/>
                  <a:pt x="2320" y="971"/>
                </a:cubicBezTo>
                <a:cubicBezTo>
                  <a:pt x="2321" y="974"/>
                  <a:pt x="2320" y="976"/>
                  <a:pt x="2317" y="976"/>
                </a:cubicBezTo>
                <a:cubicBezTo>
                  <a:pt x="2314" y="976"/>
                  <a:pt x="2311" y="975"/>
                  <a:pt x="2308" y="975"/>
                </a:cubicBezTo>
                <a:cubicBezTo>
                  <a:pt x="2308" y="975"/>
                  <a:pt x="2307" y="975"/>
                  <a:pt x="2307" y="976"/>
                </a:cubicBezTo>
                <a:cubicBezTo>
                  <a:pt x="2305" y="977"/>
                  <a:pt x="2304" y="979"/>
                  <a:pt x="2303" y="980"/>
                </a:cubicBezTo>
                <a:cubicBezTo>
                  <a:pt x="2301" y="983"/>
                  <a:pt x="2297" y="983"/>
                  <a:pt x="2295" y="981"/>
                </a:cubicBezTo>
                <a:cubicBezTo>
                  <a:pt x="2293" y="979"/>
                  <a:pt x="2292" y="976"/>
                  <a:pt x="2290" y="973"/>
                </a:cubicBezTo>
                <a:cubicBezTo>
                  <a:pt x="2290" y="972"/>
                  <a:pt x="2290" y="970"/>
                  <a:pt x="2292" y="969"/>
                </a:cubicBezTo>
                <a:cubicBezTo>
                  <a:pt x="2290" y="969"/>
                  <a:pt x="2288" y="969"/>
                  <a:pt x="2286" y="969"/>
                </a:cubicBezTo>
                <a:cubicBezTo>
                  <a:pt x="2286" y="971"/>
                  <a:pt x="2284" y="973"/>
                  <a:pt x="2284" y="975"/>
                </a:cubicBezTo>
                <a:cubicBezTo>
                  <a:pt x="2284" y="975"/>
                  <a:pt x="2283" y="976"/>
                  <a:pt x="2283" y="977"/>
                </a:cubicBezTo>
                <a:cubicBezTo>
                  <a:pt x="2283" y="980"/>
                  <a:pt x="2282" y="981"/>
                  <a:pt x="2279" y="981"/>
                </a:cubicBezTo>
                <a:cubicBezTo>
                  <a:pt x="2276" y="981"/>
                  <a:pt x="2273" y="980"/>
                  <a:pt x="2270" y="979"/>
                </a:cubicBezTo>
                <a:cubicBezTo>
                  <a:pt x="2268" y="978"/>
                  <a:pt x="2267" y="977"/>
                  <a:pt x="2268" y="975"/>
                </a:cubicBezTo>
                <a:cubicBezTo>
                  <a:pt x="2268" y="974"/>
                  <a:pt x="2268" y="973"/>
                  <a:pt x="2269" y="973"/>
                </a:cubicBezTo>
                <a:cubicBezTo>
                  <a:pt x="2266" y="972"/>
                  <a:pt x="2264" y="971"/>
                  <a:pt x="2262" y="969"/>
                </a:cubicBezTo>
                <a:cubicBezTo>
                  <a:pt x="2261" y="969"/>
                  <a:pt x="2260" y="967"/>
                  <a:pt x="2259" y="965"/>
                </a:cubicBezTo>
                <a:cubicBezTo>
                  <a:pt x="2258" y="963"/>
                  <a:pt x="2258" y="962"/>
                  <a:pt x="2260" y="960"/>
                </a:cubicBezTo>
                <a:cubicBezTo>
                  <a:pt x="2263" y="958"/>
                  <a:pt x="2264" y="955"/>
                  <a:pt x="2263" y="951"/>
                </a:cubicBezTo>
                <a:cubicBezTo>
                  <a:pt x="2263" y="949"/>
                  <a:pt x="2263" y="947"/>
                  <a:pt x="2263" y="945"/>
                </a:cubicBezTo>
                <a:cubicBezTo>
                  <a:pt x="2262" y="944"/>
                  <a:pt x="2260" y="944"/>
                  <a:pt x="2259" y="943"/>
                </a:cubicBezTo>
                <a:cubicBezTo>
                  <a:pt x="2258" y="941"/>
                  <a:pt x="2257" y="939"/>
                  <a:pt x="2257" y="937"/>
                </a:cubicBezTo>
                <a:cubicBezTo>
                  <a:pt x="2257" y="934"/>
                  <a:pt x="2260" y="931"/>
                  <a:pt x="2263" y="931"/>
                </a:cubicBezTo>
                <a:cubicBezTo>
                  <a:pt x="2264" y="931"/>
                  <a:pt x="2264" y="932"/>
                  <a:pt x="2264" y="933"/>
                </a:cubicBezTo>
                <a:cubicBezTo>
                  <a:pt x="2264" y="934"/>
                  <a:pt x="2264" y="935"/>
                  <a:pt x="2264" y="936"/>
                </a:cubicBezTo>
                <a:cubicBezTo>
                  <a:pt x="2264" y="936"/>
                  <a:pt x="2263" y="936"/>
                  <a:pt x="2263" y="936"/>
                </a:cubicBezTo>
                <a:cubicBezTo>
                  <a:pt x="2262" y="937"/>
                  <a:pt x="2262" y="938"/>
                  <a:pt x="2261" y="940"/>
                </a:cubicBezTo>
                <a:cubicBezTo>
                  <a:pt x="2262" y="940"/>
                  <a:pt x="2263" y="940"/>
                  <a:pt x="2264" y="939"/>
                </a:cubicBezTo>
                <a:cubicBezTo>
                  <a:pt x="2265" y="938"/>
                  <a:pt x="2265" y="937"/>
                  <a:pt x="2266" y="936"/>
                </a:cubicBezTo>
                <a:cubicBezTo>
                  <a:pt x="2271" y="929"/>
                  <a:pt x="2277" y="926"/>
                  <a:pt x="2284" y="924"/>
                </a:cubicBezTo>
                <a:cubicBezTo>
                  <a:pt x="2288" y="924"/>
                  <a:pt x="2291" y="922"/>
                  <a:pt x="2293" y="920"/>
                </a:cubicBezTo>
                <a:cubicBezTo>
                  <a:pt x="2293" y="919"/>
                  <a:pt x="2294" y="919"/>
                  <a:pt x="2294" y="919"/>
                </a:cubicBezTo>
                <a:cubicBezTo>
                  <a:pt x="2297" y="918"/>
                  <a:pt x="2299" y="916"/>
                  <a:pt x="2301" y="914"/>
                </a:cubicBezTo>
                <a:cubicBezTo>
                  <a:pt x="2308" y="907"/>
                  <a:pt x="2320" y="906"/>
                  <a:pt x="2328" y="913"/>
                </a:cubicBezTo>
                <a:cubicBezTo>
                  <a:pt x="2330" y="915"/>
                  <a:pt x="2333" y="917"/>
                  <a:pt x="2335" y="919"/>
                </a:cubicBezTo>
                <a:cubicBezTo>
                  <a:pt x="2337" y="920"/>
                  <a:pt x="2338" y="922"/>
                  <a:pt x="2339" y="924"/>
                </a:cubicBezTo>
                <a:cubicBezTo>
                  <a:pt x="2340" y="925"/>
                  <a:pt x="2341" y="925"/>
                  <a:pt x="2342" y="924"/>
                </a:cubicBezTo>
                <a:cubicBezTo>
                  <a:pt x="2343" y="924"/>
                  <a:pt x="2344" y="923"/>
                  <a:pt x="2344" y="922"/>
                </a:cubicBezTo>
                <a:cubicBezTo>
                  <a:pt x="2346" y="919"/>
                  <a:pt x="2349" y="919"/>
                  <a:pt x="2351" y="922"/>
                </a:cubicBezTo>
                <a:cubicBezTo>
                  <a:pt x="2352" y="926"/>
                  <a:pt x="2353" y="928"/>
                  <a:pt x="2353" y="931"/>
                </a:cubicBezTo>
                <a:cubicBezTo>
                  <a:pt x="2354" y="936"/>
                  <a:pt x="2353" y="940"/>
                  <a:pt x="2352" y="945"/>
                </a:cubicBezTo>
                <a:cubicBezTo>
                  <a:pt x="2349" y="951"/>
                  <a:pt x="2345" y="954"/>
                  <a:pt x="2338" y="954"/>
                </a:cubicBezTo>
                <a:cubicBezTo>
                  <a:pt x="2337" y="954"/>
                  <a:pt x="2337" y="954"/>
                  <a:pt x="2336" y="954"/>
                </a:cubicBezTo>
                <a:cubicBezTo>
                  <a:pt x="2334" y="954"/>
                  <a:pt x="2332" y="954"/>
                  <a:pt x="2332" y="957"/>
                </a:cubicBezTo>
                <a:cubicBezTo>
                  <a:pt x="2330" y="961"/>
                  <a:pt x="2325" y="963"/>
                  <a:pt x="2321" y="960"/>
                </a:cubicBezTo>
                <a:cubicBezTo>
                  <a:pt x="2320" y="958"/>
                  <a:pt x="2319" y="958"/>
                  <a:pt x="2318" y="956"/>
                </a:cubicBezTo>
                <a:cubicBezTo>
                  <a:pt x="2318" y="957"/>
                  <a:pt x="2318" y="957"/>
                  <a:pt x="2317" y="957"/>
                </a:cubicBezTo>
                <a:close/>
                <a:moveTo>
                  <a:pt x="2312" y="952"/>
                </a:moveTo>
                <a:cubicBezTo>
                  <a:pt x="2315" y="954"/>
                  <a:pt x="2319" y="955"/>
                  <a:pt x="2321" y="958"/>
                </a:cubicBezTo>
                <a:cubicBezTo>
                  <a:pt x="2323" y="960"/>
                  <a:pt x="2325" y="960"/>
                  <a:pt x="2327" y="960"/>
                </a:cubicBezTo>
                <a:cubicBezTo>
                  <a:pt x="2330" y="959"/>
                  <a:pt x="2331" y="957"/>
                  <a:pt x="2331" y="954"/>
                </a:cubicBezTo>
                <a:cubicBezTo>
                  <a:pt x="2331" y="954"/>
                  <a:pt x="2330" y="954"/>
                  <a:pt x="2330" y="954"/>
                </a:cubicBezTo>
                <a:cubicBezTo>
                  <a:pt x="2330" y="956"/>
                  <a:pt x="2329" y="957"/>
                  <a:pt x="2328" y="958"/>
                </a:cubicBezTo>
                <a:cubicBezTo>
                  <a:pt x="2327" y="959"/>
                  <a:pt x="2325" y="959"/>
                  <a:pt x="2325" y="958"/>
                </a:cubicBezTo>
                <a:cubicBezTo>
                  <a:pt x="2324" y="958"/>
                  <a:pt x="2323" y="957"/>
                  <a:pt x="2323" y="956"/>
                </a:cubicBezTo>
                <a:cubicBezTo>
                  <a:pt x="2323" y="954"/>
                  <a:pt x="2324" y="952"/>
                  <a:pt x="2324" y="950"/>
                </a:cubicBezTo>
                <a:cubicBezTo>
                  <a:pt x="2327" y="951"/>
                  <a:pt x="2331" y="952"/>
                  <a:pt x="2334" y="952"/>
                </a:cubicBezTo>
                <a:cubicBezTo>
                  <a:pt x="2342" y="954"/>
                  <a:pt x="2347" y="952"/>
                  <a:pt x="2351" y="943"/>
                </a:cubicBezTo>
                <a:cubicBezTo>
                  <a:pt x="2352" y="939"/>
                  <a:pt x="2352" y="934"/>
                  <a:pt x="2351" y="929"/>
                </a:cubicBezTo>
                <a:cubicBezTo>
                  <a:pt x="2351" y="927"/>
                  <a:pt x="2350" y="925"/>
                  <a:pt x="2349" y="923"/>
                </a:cubicBezTo>
                <a:cubicBezTo>
                  <a:pt x="2348" y="922"/>
                  <a:pt x="2347" y="921"/>
                  <a:pt x="2346" y="923"/>
                </a:cubicBezTo>
                <a:cubicBezTo>
                  <a:pt x="2344" y="924"/>
                  <a:pt x="2343" y="926"/>
                  <a:pt x="2341" y="927"/>
                </a:cubicBezTo>
                <a:cubicBezTo>
                  <a:pt x="2340" y="927"/>
                  <a:pt x="2339" y="928"/>
                  <a:pt x="2340" y="929"/>
                </a:cubicBezTo>
                <a:cubicBezTo>
                  <a:pt x="2340" y="932"/>
                  <a:pt x="2340" y="935"/>
                  <a:pt x="2338" y="939"/>
                </a:cubicBezTo>
                <a:cubicBezTo>
                  <a:pt x="2338" y="937"/>
                  <a:pt x="2339" y="935"/>
                  <a:pt x="2339" y="933"/>
                </a:cubicBezTo>
                <a:cubicBezTo>
                  <a:pt x="2339" y="932"/>
                  <a:pt x="2338" y="932"/>
                  <a:pt x="2338" y="931"/>
                </a:cubicBezTo>
                <a:cubicBezTo>
                  <a:pt x="2338" y="932"/>
                  <a:pt x="2337" y="932"/>
                  <a:pt x="2337" y="932"/>
                </a:cubicBezTo>
                <a:cubicBezTo>
                  <a:pt x="2336" y="933"/>
                  <a:pt x="2335" y="935"/>
                  <a:pt x="2334" y="936"/>
                </a:cubicBezTo>
                <a:cubicBezTo>
                  <a:pt x="2334" y="936"/>
                  <a:pt x="2334" y="936"/>
                  <a:pt x="2334" y="936"/>
                </a:cubicBezTo>
                <a:cubicBezTo>
                  <a:pt x="2334" y="935"/>
                  <a:pt x="2335" y="933"/>
                  <a:pt x="2335" y="931"/>
                </a:cubicBezTo>
                <a:cubicBezTo>
                  <a:pt x="2334" y="931"/>
                  <a:pt x="2334" y="932"/>
                  <a:pt x="2333" y="933"/>
                </a:cubicBezTo>
                <a:cubicBezTo>
                  <a:pt x="2332" y="933"/>
                  <a:pt x="2332" y="934"/>
                  <a:pt x="2332" y="935"/>
                </a:cubicBezTo>
                <a:cubicBezTo>
                  <a:pt x="2332" y="931"/>
                  <a:pt x="2332" y="931"/>
                  <a:pt x="2338" y="930"/>
                </a:cubicBezTo>
                <a:cubicBezTo>
                  <a:pt x="2338" y="929"/>
                  <a:pt x="2337" y="929"/>
                  <a:pt x="2337" y="929"/>
                </a:cubicBezTo>
                <a:cubicBezTo>
                  <a:pt x="2334" y="929"/>
                  <a:pt x="2334" y="928"/>
                  <a:pt x="2333" y="926"/>
                </a:cubicBezTo>
                <a:cubicBezTo>
                  <a:pt x="2335" y="925"/>
                  <a:pt x="2336" y="925"/>
                  <a:pt x="2338" y="924"/>
                </a:cubicBezTo>
                <a:cubicBezTo>
                  <a:pt x="2336" y="922"/>
                  <a:pt x="2335" y="919"/>
                  <a:pt x="2332" y="919"/>
                </a:cubicBezTo>
                <a:cubicBezTo>
                  <a:pt x="2331" y="919"/>
                  <a:pt x="2331" y="918"/>
                  <a:pt x="2331" y="918"/>
                </a:cubicBezTo>
                <a:cubicBezTo>
                  <a:pt x="2329" y="916"/>
                  <a:pt x="2326" y="914"/>
                  <a:pt x="2323" y="912"/>
                </a:cubicBezTo>
                <a:cubicBezTo>
                  <a:pt x="2321" y="910"/>
                  <a:pt x="2318" y="910"/>
                  <a:pt x="2316" y="910"/>
                </a:cubicBezTo>
                <a:cubicBezTo>
                  <a:pt x="2313" y="910"/>
                  <a:pt x="2310" y="911"/>
                  <a:pt x="2306" y="912"/>
                </a:cubicBezTo>
                <a:cubicBezTo>
                  <a:pt x="2304" y="913"/>
                  <a:pt x="2301" y="915"/>
                  <a:pt x="2299" y="918"/>
                </a:cubicBezTo>
                <a:cubicBezTo>
                  <a:pt x="2301" y="918"/>
                  <a:pt x="2302" y="918"/>
                  <a:pt x="2303" y="918"/>
                </a:cubicBezTo>
                <a:cubicBezTo>
                  <a:pt x="2303" y="918"/>
                  <a:pt x="2302" y="919"/>
                  <a:pt x="2301" y="919"/>
                </a:cubicBezTo>
                <a:cubicBezTo>
                  <a:pt x="2299" y="920"/>
                  <a:pt x="2296" y="919"/>
                  <a:pt x="2294" y="921"/>
                </a:cubicBezTo>
                <a:cubicBezTo>
                  <a:pt x="2291" y="925"/>
                  <a:pt x="2287" y="929"/>
                  <a:pt x="2283" y="933"/>
                </a:cubicBezTo>
                <a:cubicBezTo>
                  <a:pt x="2282" y="935"/>
                  <a:pt x="2281" y="937"/>
                  <a:pt x="2280" y="940"/>
                </a:cubicBezTo>
                <a:cubicBezTo>
                  <a:pt x="2280" y="940"/>
                  <a:pt x="2280" y="941"/>
                  <a:pt x="2280" y="941"/>
                </a:cubicBezTo>
                <a:cubicBezTo>
                  <a:pt x="2281" y="943"/>
                  <a:pt x="2282" y="945"/>
                  <a:pt x="2284" y="947"/>
                </a:cubicBezTo>
                <a:cubicBezTo>
                  <a:pt x="2285" y="946"/>
                  <a:pt x="2286" y="944"/>
                  <a:pt x="2288" y="943"/>
                </a:cubicBezTo>
                <a:cubicBezTo>
                  <a:pt x="2287" y="944"/>
                  <a:pt x="2287" y="945"/>
                  <a:pt x="2286" y="947"/>
                </a:cubicBezTo>
                <a:cubicBezTo>
                  <a:pt x="2285" y="948"/>
                  <a:pt x="2284" y="949"/>
                  <a:pt x="2284" y="951"/>
                </a:cubicBezTo>
                <a:cubicBezTo>
                  <a:pt x="2284" y="952"/>
                  <a:pt x="2284" y="953"/>
                  <a:pt x="2284" y="954"/>
                </a:cubicBezTo>
                <a:cubicBezTo>
                  <a:pt x="2287" y="957"/>
                  <a:pt x="2290" y="957"/>
                  <a:pt x="2294" y="955"/>
                </a:cubicBezTo>
                <a:cubicBezTo>
                  <a:pt x="2296" y="954"/>
                  <a:pt x="2299" y="952"/>
                  <a:pt x="2302" y="952"/>
                </a:cubicBezTo>
                <a:cubicBezTo>
                  <a:pt x="2303" y="951"/>
                  <a:pt x="2305" y="950"/>
                  <a:pt x="2305" y="949"/>
                </a:cubicBezTo>
                <a:cubicBezTo>
                  <a:pt x="2305" y="946"/>
                  <a:pt x="2305" y="942"/>
                  <a:pt x="2305" y="939"/>
                </a:cubicBezTo>
                <a:cubicBezTo>
                  <a:pt x="2305" y="936"/>
                  <a:pt x="2305" y="933"/>
                  <a:pt x="2305" y="930"/>
                </a:cubicBezTo>
                <a:cubicBezTo>
                  <a:pt x="2305" y="933"/>
                  <a:pt x="2306" y="935"/>
                  <a:pt x="2306" y="938"/>
                </a:cubicBezTo>
                <a:cubicBezTo>
                  <a:pt x="2307" y="943"/>
                  <a:pt x="2307" y="947"/>
                  <a:pt x="2306" y="951"/>
                </a:cubicBezTo>
                <a:cubicBezTo>
                  <a:pt x="2305" y="952"/>
                  <a:pt x="2305" y="953"/>
                  <a:pt x="2304" y="953"/>
                </a:cubicBezTo>
                <a:cubicBezTo>
                  <a:pt x="2301" y="953"/>
                  <a:pt x="2297" y="955"/>
                  <a:pt x="2294" y="957"/>
                </a:cubicBezTo>
                <a:cubicBezTo>
                  <a:pt x="2289" y="960"/>
                  <a:pt x="2286" y="958"/>
                  <a:pt x="2282" y="954"/>
                </a:cubicBezTo>
                <a:cubicBezTo>
                  <a:pt x="2282" y="954"/>
                  <a:pt x="2282" y="952"/>
                  <a:pt x="2282" y="952"/>
                </a:cubicBezTo>
                <a:cubicBezTo>
                  <a:pt x="2283" y="950"/>
                  <a:pt x="2282" y="948"/>
                  <a:pt x="2280" y="946"/>
                </a:cubicBezTo>
                <a:cubicBezTo>
                  <a:pt x="2279" y="944"/>
                  <a:pt x="2277" y="941"/>
                  <a:pt x="2278" y="939"/>
                </a:cubicBezTo>
                <a:cubicBezTo>
                  <a:pt x="2279" y="937"/>
                  <a:pt x="2280" y="935"/>
                  <a:pt x="2281" y="933"/>
                </a:cubicBezTo>
                <a:cubicBezTo>
                  <a:pt x="2283" y="931"/>
                  <a:pt x="2285" y="928"/>
                  <a:pt x="2287" y="926"/>
                </a:cubicBezTo>
                <a:cubicBezTo>
                  <a:pt x="2287" y="926"/>
                  <a:pt x="2286" y="926"/>
                  <a:pt x="2286" y="926"/>
                </a:cubicBezTo>
                <a:cubicBezTo>
                  <a:pt x="2281" y="927"/>
                  <a:pt x="2277" y="928"/>
                  <a:pt x="2273" y="931"/>
                </a:cubicBezTo>
                <a:cubicBezTo>
                  <a:pt x="2268" y="936"/>
                  <a:pt x="2265" y="941"/>
                  <a:pt x="2265" y="948"/>
                </a:cubicBezTo>
                <a:cubicBezTo>
                  <a:pt x="2264" y="954"/>
                  <a:pt x="2267" y="960"/>
                  <a:pt x="2270" y="966"/>
                </a:cubicBezTo>
                <a:cubicBezTo>
                  <a:pt x="2271" y="967"/>
                  <a:pt x="2271" y="969"/>
                  <a:pt x="2271" y="970"/>
                </a:cubicBezTo>
                <a:cubicBezTo>
                  <a:pt x="2271" y="971"/>
                  <a:pt x="2271" y="973"/>
                  <a:pt x="2270" y="974"/>
                </a:cubicBezTo>
                <a:cubicBezTo>
                  <a:pt x="2269" y="976"/>
                  <a:pt x="2270" y="977"/>
                  <a:pt x="2271" y="977"/>
                </a:cubicBezTo>
                <a:cubicBezTo>
                  <a:pt x="2274" y="978"/>
                  <a:pt x="2277" y="979"/>
                  <a:pt x="2280" y="979"/>
                </a:cubicBezTo>
                <a:cubicBezTo>
                  <a:pt x="2280" y="979"/>
                  <a:pt x="2281" y="978"/>
                  <a:pt x="2281" y="978"/>
                </a:cubicBezTo>
                <a:cubicBezTo>
                  <a:pt x="2282" y="977"/>
                  <a:pt x="2282" y="975"/>
                  <a:pt x="2282" y="974"/>
                </a:cubicBezTo>
                <a:cubicBezTo>
                  <a:pt x="2284" y="972"/>
                  <a:pt x="2284" y="969"/>
                  <a:pt x="2284" y="966"/>
                </a:cubicBezTo>
                <a:cubicBezTo>
                  <a:pt x="2284" y="966"/>
                  <a:pt x="2284" y="966"/>
                  <a:pt x="2284" y="965"/>
                </a:cubicBezTo>
                <a:cubicBezTo>
                  <a:pt x="2284" y="965"/>
                  <a:pt x="2284" y="965"/>
                  <a:pt x="2284" y="964"/>
                </a:cubicBezTo>
                <a:cubicBezTo>
                  <a:pt x="2285" y="967"/>
                  <a:pt x="2286" y="967"/>
                  <a:pt x="2288" y="967"/>
                </a:cubicBezTo>
                <a:cubicBezTo>
                  <a:pt x="2289" y="967"/>
                  <a:pt x="2290" y="967"/>
                  <a:pt x="2291" y="967"/>
                </a:cubicBezTo>
                <a:cubicBezTo>
                  <a:pt x="2293" y="967"/>
                  <a:pt x="2297" y="968"/>
                  <a:pt x="2297" y="964"/>
                </a:cubicBezTo>
                <a:cubicBezTo>
                  <a:pt x="2297" y="966"/>
                  <a:pt x="2297" y="967"/>
                  <a:pt x="2297" y="968"/>
                </a:cubicBezTo>
                <a:cubicBezTo>
                  <a:pt x="2296" y="969"/>
                  <a:pt x="2295" y="970"/>
                  <a:pt x="2293" y="970"/>
                </a:cubicBezTo>
                <a:cubicBezTo>
                  <a:pt x="2292" y="971"/>
                  <a:pt x="2291" y="973"/>
                  <a:pt x="2292" y="973"/>
                </a:cubicBezTo>
                <a:cubicBezTo>
                  <a:pt x="2293" y="976"/>
                  <a:pt x="2295" y="978"/>
                  <a:pt x="2296" y="980"/>
                </a:cubicBezTo>
                <a:cubicBezTo>
                  <a:pt x="2298" y="981"/>
                  <a:pt x="2300" y="981"/>
                  <a:pt x="2301" y="979"/>
                </a:cubicBezTo>
                <a:cubicBezTo>
                  <a:pt x="2302" y="978"/>
                  <a:pt x="2303" y="977"/>
                  <a:pt x="2303" y="977"/>
                </a:cubicBezTo>
                <a:cubicBezTo>
                  <a:pt x="2305" y="975"/>
                  <a:pt x="2306" y="974"/>
                  <a:pt x="2308" y="973"/>
                </a:cubicBezTo>
                <a:cubicBezTo>
                  <a:pt x="2312" y="969"/>
                  <a:pt x="2314" y="963"/>
                  <a:pt x="2316" y="957"/>
                </a:cubicBezTo>
                <a:cubicBezTo>
                  <a:pt x="2316" y="956"/>
                  <a:pt x="2315" y="956"/>
                  <a:pt x="2315" y="955"/>
                </a:cubicBezTo>
                <a:cubicBezTo>
                  <a:pt x="2314" y="954"/>
                  <a:pt x="2313" y="953"/>
                  <a:pt x="2312" y="952"/>
                </a:cubicBezTo>
                <a:close/>
                <a:moveTo>
                  <a:pt x="2264" y="959"/>
                </a:moveTo>
                <a:cubicBezTo>
                  <a:pt x="2264" y="960"/>
                  <a:pt x="2262" y="960"/>
                  <a:pt x="2261" y="962"/>
                </a:cubicBezTo>
                <a:cubicBezTo>
                  <a:pt x="2260" y="962"/>
                  <a:pt x="2260" y="963"/>
                  <a:pt x="2260" y="964"/>
                </a:cubicBezTo>
                <a:cubicBezTo>
                  <a:pt x="2260" y="966"/>
                  <a:pt x="2264" y="971"/>
                  <a:pt x="2267" y="970"/>
                </a:cubicBezTo>
                <a:cubicBezTo>
                  <a:pt x="2269" y="970"/>
                  <a:pt x="2270" y="969"/>
                  <a:pt x="2269" y="967"/>
                </a:cubicBezTo>
                <a:cubicBezTo>
                  <a:pt x="2267" y="964"/>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7"/>
                  <a:pt x="2318" y="965"/>
                </a:cubicBezTo>
                <a:cubicBezTo>
                  <a:pt x="2318" y="964"/>
                  <a:pt x="2318" y="962"/>
                  <a:pt x="2317" y="961"/>
                </a:cubicBezTo>
                <a:close/>
                <a:moveTo>
                  <a:pt x="2264" y="941"/>
                </a:moveTo>
                <a:cubicBezTo>
                  <a:pt x="2264" y="941"/>
                  <a:pt x="2263" y="941"/>
                  <a:pt x="2262" y="941"/>
                </a:cubicBezTo>
                <a:cubicBezTo>
                  <a:pt x="2262" y="941"/>
                  <a:pt x="2261" y="941"/>
                  <a:pt x="2261" y="941"/>
                </a:cubicBezTo>
                <a:cubicBezTo>
                  <a:pt x="2260" y="941"/>
                  <a:pt x="2260" y="940"/>
                  <a:pt x="2260" y="939"/>
                </a:cubicBezTo>
                <a:cubicBezTo>
                  <a:pt x="2261" y="937"/>
                  <a:pt x="2261" y="935"/>
                  <a:pt x="2262" y="933"/>
                </a:cubicBezTo>
                <a:cubicBezTo>
                  <a:pt x="2262" y="933"/>
                  <a:pt x="2262" y="933"/>
                  <a:pt x="2261" y="933"/>
                </a:cubicBezTo>
                <a:cubicBezTo>
                  <a:pt x="2260" y="934"/>
                  <a:pt x="2259" y="935"/>
                  <a:pt x="2258" y="936"/>
                </a:cubicBezTo>
                <a:cubicBezTo>
                  <a:pt x="2258" y="937"/>
                  <a:pt x="2259" y="942"/>
                  <a:pt x="2261" y="943"/>
                </a:cubicBezTo>
                <a:cubicBezTo>
                  <a:pt x="2262" y="944"/>
                  <a:pt x="2264" y="943"/>
                  <a:pt x="2264" y="941"/>
                </a:cubicBezTo>
                <a:close/>
                <a:moveTo>
                  <a:pt x="2264" y="959"/>
                </a:moveTo>
                <a:cubicBezTo>
                  <a:pt x="2264" y="960"/>
                  <a:pt x="2262" y="961"/>
                  <a:pt x="2261" y="962"/>
                </a:cubicBezTo>
                <a:cubicBezTo>
                  <a:pt x="2261" y="962"/>
                  <a:pt x="2260" y="963"/>
                  <a:pt x="2260" y="964"/>
                </a:cubicBezTo>
                <a:cubicBezTo>
                  <a:pt x="2260" y="967"/>
                  <a:pt x="2264" y="971"/>
                  <a:pt x="2267" y="971"/>
                </a:cubicBezTo>
                <a:cubicBezTo>
                  <a:pt x="2269" y="971"/>
                  <a:pt x="2270" y="969"/>
                  <a:pt x="2269" y="968"/>
                </a:cubicBezTo>
                <a:cubicBezTo>
                  <a:pt x="2267" y="965"/>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8"/>
                  <a:pt x="2318" y="965"/>
                </a:cubicBezTo>
                <a:cubicBezTo>
                  <a:pt x="2318" y="964"/>
                  <a:pt x="2318" y="962"/>
                  <a:pt x="2317" y="961"/>
                </a:cubicBezTo>
                <a:close/>
                <a:moveTo>
                  <a:pt x="2264" y="941"/>
                </a:moveTo>
                <a:cubicBezTo>
                  <a:pt x="2264" y="941"/>
                  <a:pt x="2263" y="942"/>
                  <a:pt x="2263" y="942"/>
                </a:cubicBezTo>
                <a:cubicBezTo>
                  <a:pt x="2262" y="942"/>
                  <a:pt x="2261" y="942"/>
                  <a:pt x="2261" y="941"/>
                </a:cubicBezTo>
                <a:cubicBezTo>
                  <a:pt x="2261" y="941"/>
                  <a:pt x="2260" y="940"/>
                  <a:pt x="2260" y="939"/>
                </a:cubicBezTo>
                <a:cubicBezTo>
                  <a:pt x="2261" y="937"/>
                  <a:pt x="2261" y="935"/>
                  <a:pt x="2262" y="933"/>
                </a:cubicBezTo>
                <a:cubicBezTo>
                  <a:pt x="2262" y="933"/>
                  <a:pt x="2262" y="933"/>
                  <a:pt x="2261" y="933"/>
                </a:cubicBezTo>
                <a:cubicBezTo>
                  <a:pt x="2261" y="934"/>
                  <a:pt x="2259" y="935"/>
                  <a:pt x="2259" y="936"/>
                </a:cubicBezTo>
                <a:cubicBezTo>
                  <a:pt x="2258" y="937"/>
                  <a:pt x="2259" y="942"/>
                  <a:pt x="2261" y="943"/>
                </a:cubicBezTo>
                <a:cubicBezTo>
                  <a:pt x="2263" y="944"/>
                  <a:pt x="2264" y="943"/>
                  <a:pt x="2264" y="941"/>
                </a:cubicBezTo>
                <a:close/>
                <a:moveTo>
                  <a:pt x="2317" y="933"/>
                </a:moveTo>
                <a:cubicBezTo>
                  <a:pt x="2320" y="929"/>
                  <a:pt x="2320" y="929"/>
                  <a:pt x="2324" y="928"/>
                </a:cubicBezTo>
                <a:cubicBezTo>
                  <a:pt x="2324" y="930"/>
                  <a:pt x="2325" y="931"/>
                  <a:pt x="2326" y="931"/>
                </a:cubicBezTo>
                <a:cubicBezTo>
                  <a:pt x="2324" y="932"/>
                  <a:pt x="2322" y="934"/>
                  <a:pt x="2320" y="935"/>
                </a:cubicBezTo>
                <a:cubicBezTo>
                  <a:pt x="2320" y="934"/>
                  <a:pt x="2319" y="933"/>
                  <a:pt x="2318" y="932"/>
                </a:cubicBezTo>
                <a:cubicBezTo>
                  <a:pt x="2318" y="932"/>
                  <a:pt x="2318" y="932"/>
                  <a:pt x="2317" y="933"/>
                </a:cubicBezTo>
                <a:close/>
                <a:moveTo>
                  <a:pt x="2323" y="932"/>
                </a:moveTo>
                <a:cubicBezTo>
                  <a:pt x="2322" y="932"/>
                  <a:pt x="2321" y="931"/>
                  <a:pt x="2321" y="931"/>
                </a:cubicBezTo>
                <a:cubicBezTo>
                  <a:pt x="2320" y="931"/>
                  <a:pt x="2320" y="932"/>
                  <a:pt x="2320" y="933"/>
                </a:cubicBezTo>
                <a:cubicBezTo>
                  <a:pt x="2320" y="933"/>
                  <a:pt x="2320" y="933"/>
                  <a:pt x="2320" y="934"/>
                </a:cubicBezTo>
                <a:cubicBezTo>
                  <a:pt x="2321" y="933"/>
                  <a:pt x="2321" y="933"/>
                  <a:pt x="2323" y="932"/>
                </a:cubicBezTo>
                <a:close/>
                <a:moveTo>
                  <a:pt x="2304" y="922"/>
                </a:moveTo>
                <a:cubicBezTo>
                  <a:pt x="2297" y="921"/>
                  <a:pt x="2294" y="924"/>
                  <a:pt x="2293" y="932"/>
                </a:cubicBezTo>
                <a:cubicBezTo>
                  <a:pt x="2294" y="930"/>
                  <a:pt x="2296" y="928"/>
                  <a:pt x="2297" y="925"/>
                </a:cubicBezTo>
                <a:cubicBezTo>
                  <a:pt x="2297" y="925"/>
                  <a:pt x="2297" y="925"/>
                  <a:pt x="2297" y="925"/>
                </a:cubicBezTo>
                <a:cubicBezTo>
                  <a:pt x="2297" y="926"/>
                  <a:pt x="2298" y="927"/>
                  <a:pt x="2298" y="928"/>
                </a:cubicBezTo>
                <a:cubicBezTo>
                  <a:pt x="2299" y="925"/>
                  <a:pt x="2300" y="923"/>
                  <a:pt x="2304" y="922"/>
                </a:cubicBezTo>
                <a:close/>
                <a:moveTo>
                  <a:pt x="2348" y="924"/>
                </a:moveTo>
                <a:cubicBezTo>
                  <a:pt x="2345" y="925"/>
                  <a:pt x="2343" y="927"/>
                  <a:pt x="2342" y="928"/>
                </a:cubicBezTo>
                <a:cubicBezTo>
                  <a:pt x="2344" y="928"/>
                  <a:pt x="2346" y="927"/>
                  <a:pt x="2348" y="924"/>
                </a:cubicBezTo>
                <a:close/>
                <a:moveTo>
                  <a:pt x="2314" y="926"/>
                </a:moveTo>
                <a:cubicBezTo>
                  <a:pt x="2315" y="925"/>
                  <a:pt x="2316" y="923"/>
                  <a:pt x="2317" y="922"/>
                </a:cubicBezTo>
                <a:cubicBezTo>
                  <a:pt x="2314" y="923"/>
                  <a:pt x="2313" y="924"/>
                  <a:pt x="2314" y="926"/>
                </a:cubicBezTo>
                <a:close/>
                <a:moveTo>
                  <a:pt x="2324" y="947"/>
                </a:moveTo>
                <a:cubicBezTo>
                  <a:pt x="2322" y="948"/>
                  <a:pt x="2321" y="949"/>
                  <a:pt x="2321" y="949"/>
                </a:cubicBezTo>
                <a:cubicBezTo>
                  <a:pt x="2322" y="949"/>
                  <a:pt x="2323" y="948"/>
                  <a:pt x="2324" y="947"/>
                </a:cubicBezTo>
                <a:close/>
                <a:moveTo>
                  <a:pt x="2323" y="932"/>
                </a:moveTo>
                <a:cubicBezTo>
                  <a:pt x="2322" y="931"/>
                  <a:pt x="2321" y="931"/>
                  <a:pt x="2321" y="931"/>
                </a:cubicBezTo>
                <a:cubicBezTo>
                  <a:pt x="2320" y="931"/>
                  <a:pt x="2320" y="932"/>
                  <a:pt x="2320" y="932"/>
                </a:cubicBezTo>
                <a:cubicBezTo>
                  <a:pt x="2320" y="933"/>
                  <a:pt x="2320" y="933"/>
                  <a:pt x="2320" y="933"/>
                </a:cubicBezTo>
                <a:cubicBezTo>
                  <a:pt x="2321" y="933"/>
                  <a:pt x="2321" y="933"/>
                  <a:pt x="2323" y="932"/>
                </a:cubicBezTo>
                <a:close/>
                <a:moveTo>
                  <a:pt x="2613" y="909"/>
                </a:moveTo>
                <a:cubicBezTo>
                  <a:pt x="2613" y="909"/>
                  <a:pt x="2613" y="909"/>
                  <a:pt x="2613" y="909"/>
                </a:cubicBezTo>
                <a:cubicBezTo>
                  <a:pt x="2609" y="909"/>
                  <a:pt x="2609" y="909"/>
                  <a:pt x="2609" y="909"/>
                </a:cubicBezTo>
                <a:cubicBezTo>
                  <a:pt x="2606" y="911"/>
                  <a:pt x="2605" y="912"/>
                  <a:pt x="2603" y="913"/>
                </a:cubicBezTo>
                <a:cubicBezTo>
                  <a:pt x="2601" y="915"/>
                  <a:pt x="2599" y="915"/>
                  <a:pt x="2598" y="916"/>
                </a:cubicBezTo>
                <a:cubicBezTo>
                  <a:pt x="2596" y="917"/>
                  <a:pt x="2594" y="918"/>
                  <a:pt x="2592" y="919"/>
                </a:cubicBezTo>
                <a:cubicBezTo>
                  <a:pt x="2591" y="920"/>
                  <a:pt x="2588" y="920"/>
                  <a:pt x="2587" y="920"/>
                </a:cubicBezTo>
                <a:cubicBezTo>
                  <a:pt x="2587" y="920"/>
                  <a:pt x="2587" y="920"/>
                  <a:pt x="2587" y="931"/>
                </a:cubicBezTo>
                <a:cubicBezTo>
                  <a:pt x="2590" y="930"/>
                  <a:pt x="2593" y="929"/>
                  <a:pt x="2595" y="928"/>
                </a:cubicBezTo>
                <a:cubicBezTo>
                  <a:pt x="2597" y="927"/>
                  <a:pt x="2600" y="925"/>
                  <a:pt x="2601" y="924"/>
                </a:cubicBezTo>
                <a:cubicBezTo>
                  <a:pt x="2601" y="924"/>
                  <a:pt x="2601" y="924"/>
                  <a:pt x="2601" y="983"/>
                </a:cubicBezTo>
                <a:cubicBezTo>
                  <a:pt x="2601" y="983"/>
                  <a:pt x="2601" y="983"/>
                  <a:pt x="2613" y="983"/>
                </a:cubicBezTo>
                <a:cubicBezTo>
                  <a:pt x="2613" y="983"/>
                  <a:pt x="2613" y="983"/>
                  <a:pt x="2613" y="909"/>
                </a:cubicBezTo>
                <a:close/>
                <a:moveTo>
                  <a:pt x="2734" y="909"/>
                </a:moveTo>
                <a:cubicBezTo>
                  <a:pt x="2734" y="909"/>
                  <a:pt x="2734" y="909"/>
                  <a:pt x="2734" y="909"/>
                </a:cubicBezTo>
                <a:cubicBezTo>
                  <a:pt x="2729" y="909"/>
                  <a:pt x="2729" y="909"/>
                  <a:pt x="2729" y="909"/>
                </a:cubicBezTo>
                <a:cubicBezTo>
                  <a:pt x="2727" y="911"/>
                  <a:pt x="2726" y="912"/>
                  <a:pt x="2724" y="913"/>
                </a:cubicBezTo>
                <a:cubicBezTo>
                  <a:pt x="2722" y="915"/>
                  <a:pt x="2721" y="915"/>
                  <a:pt x="2718" y="916"/>
                </a:cubicBezTo>
                <a:cubicBezTo>
                  <a:pt x="2717" y="917"/>
                  <a:pt x="2715" y="918"/>
                  <a:pt x="2713" y="919"/>
                </a:cubicBezTo>
                <a:cubicBezTo>
                  <a:pt x="2711" y="920"/>
                  <a:pt x="2710" y="920"/>
                  <a:pt x="2708" y="920"/>
                </a:cubicBezTo>
                <a:cubicBezTo>
                  <a:pt x="2708" y="920"/>
                  <a:pt x="2708" y="920"/>
                  <a:pt x="2708" y="931"/>
                </a:cubicBezTo>
                <a:cubicBezTo>
                  <a:pt x="2710" y="930"/>
                  <a:pt x="2713" y="929"/>
                  <a:pt x="2716" y="928"/>
                </a:cubicBezTo>
                <a:cubicBezTo>
                  <a:pt x="2718" y="927"/>
                  <a:pt x="2721" y="925"/>
                  <a:pt x="2723" y="924"/>
                </a:cubicBezTo>
                <a:cubicBezTo>
                  <a:pt x="2723" y="924"/>
                  <a:pt x="2723" y="924"/>
                  <a:pt x="2723" y="983"/>
                </a:cubicBezTo>
                <a:cubicBezTo>
                  <a:pt x="2723" y="983"/>
                  <a:pt x="2723" y="983"/>
                  <a:pt x="2734" y="983"/>
                </a:cubicBezTo>
                <a:cubicBezTo>
                  <a:pt x="2734" y="983"/>
                  <a:pt x="2734" y="983"/>
                  <a:pt x="2734" y="909"/>
                </a:cubicBezTo>
                <a:close/>
                <a:moveTo>
                  <a:pt x="2781" y="909"/>
                </a:moveTo>
                <a:cubicBezTo>
                  <a:pt x="2781" y="909"/>
                  <a:pt x="2781" y="909"/>
                  <a:pt x="2781" y="909"/>
                </a:cubicBezTo>
                <a:cubicBezTo>
                  <a:pt x="2776" y="909"/>
                  <a:pt x="2776" y="909"/>
                  <a:pt x="2776" y="909"/>
                </a:cubicBezTo>
                <a:cubicBezTo>
                  <a:pt x="2774" y="911"/>
                  <a:pt x="2773" y="912"/>
                  <a:pt x="2771" y="913"/>
                </a:cubicBezTo>
                <a:cubicBezTo>
                  <a:pt x="2769" y="915"/>
                  <a:pt x="2767" y="915"/>
                  <a:pt x="2765" y="916"/>
                </a:cubicBezTo>
                <a:cubicBezTo>
                  <a:pt x="2764" y="917"/>
                  <a:pt x="2762" y="918"/>
                  <a:pt x="2760" y="919"/>
                </a:cubicBezTo>
                <a:cubicBezTo>
                  <a:pt x="2758" y="920"/>
                  <a:pt x="2757" y="920"/>
                  <a:pt x="2755" y="920"/>
                </a:cubicBezTo>
                <a:cubicBezTo>
                  <a:pt x="2755" y="920"/>
                  <a:pt x="2755" y="920"/>
                  <a:pt x="2755" y="931"/>
                </a:cubicBezTo>
                <a:cubicBezTo>
                  <a:pt x="2757" y="930"/>
                  <a:pt x="2760" y="929"/>
                  <a:pt x="2763" y="928"/>
                </a:cubicBezTo>
                <a:cubicBezTo>
                  <a:pt x="2765" y="927"/>
                  <a:pt x="2768" y="925"/>
                  <a:pt x="2770" y="924"/>
                </a:cubicBezTo>
                <a:cubicBezTo>
                  <a:pt x="2770" y="924"/>
                  <a:pt x="2770" y="924"/>
                  <a:pt x="2770" y="983"/>
                </a:cubicBezTo>
                <a:cubicBezTo>
                  <a:pt x="2770" y="983"/>
                  <a:pt x="2770" y="983"/>
                  <a:pt x="2781" y="983"/>
                </a:cubicBezTo>
                <a:cubicBezTo>
                  <a:pt x="2781" y="983"/>
                  <a:pt x="2781" y="983"/>
                  <a:pt x="2781" y="909"/>
                </a:cubicBezTo>
                <a:close/>
                <a:moveTo>
                  <a:pt x="2827" y="909"/>
                </a:moveTo>
                <a:cubicBezTo>
                  <a:pt x="2827" y="909"/>
                  <a:pt x="2827" y="909"/>
                  <a:pt x="2827" y="909"/>
                </a:cubicBezTo>
                <a:cubicBezTo>
                  <a:pt x="2823" y="909"/>
                  <a:pt x="2823" y="909"/>
                  <a:pt x="2823" y="909"/>
                </a:cubicBezTo>
                <a:cubicBezTo>
                  <a:pt x="2821" y="911"/>
                  <a:pt x="2819" y="912"/>
                  <a:pt x="2817" y="913"/>
                </a:cubicBezTo>
                <a:cubicBezTo>
                  <a:pt x="2816" y="915"/>
                  <a:pt x="2813" y="915"/>
                  <a:pt x="2812" y="916"/>
                </a:cubicBezTo>
                <a:cubicBezTo>
                  <a:pt x="2810" y="917"/>
                  <a:pt x="2808" y="917"/>
                  <a:pt x="2806" y="918"/>
                </a:cubicBezTo>
                <a:cubicBezTo>
                  <a:pt x="2805" y="919"/>
                  <a:pt x="2803" y="920"/>
                  <a:pt x="2801" y="920"/>
                </a:cubicBezTo>
                <a:cubicBezTo>
                  <a:pt x="2801" y="920"/>
                  <a:pt x="2801" y="920"/>
                  <a:pt x="2801" y="931"/>
                </a:cubicBezTo>
                <a:cubicBezTo>
                  <a:pt x="2804" y="930"/>
                  <a:pt x="2807" y="928"/>
                  <a:pt x="2809" y="928"/>
                </a:cubicBezTo>
                <a:cubicBezTo>
                  <a:pt x="2811" y="927"/>
                  <a:pt x="2814" y="925"/>
                  <a:pt x="2816" y="924"/>
                </a:cubicBezTo>
                <a:cubicBezTo>
                  <a:pt x="2816" y="924"/>
                  <a:pt x="2816" y="924"/>
                  <a:pt x="2816" y="983"/>
                </a:cubicBezTo>
                <a:cubicBezTo>
                  <a:pt x="2816" y="983"/>
                  <a:pt x="2816" y="983"/>
                  <a:pt x="2827" y="983"/>
                </a:cubicBezTo>
                <a:cubicBezTo>
                  <a:pt x="2827" y="983"/>
                  <a:pt x="2827" y="983"/>
                  <a:pt x="2827" y="909"/>
                </a:cubicBezTo>
                <a:close/>
                <a:moveTo>
                  <a:pt x="2633" y="942"/>
                </a:moveTo>
                <a:cubicBezTo>
                  <a:pt x="2633" y="942"/>
                  <a:pt x="2633" y="942"/>
                  <a:pt x="2633" y="942"/>
                </a:cubicBezTo>
                <a:cubicBezTo>
                  <a:pt x="2633" y="950"/>
                  <a:pt x="2633" y="950"/>
                  <a:pt x="2633" y="950"/>
                </a:cubicBezTo>
                <a:cubicBezTo>
                  <a:pt x="2639" y="950"/>
                  <a:pt x="2640" y="953"/>
                  <a:pt x="2640" y="956"/>
                </a:cubicBezTo>
                <a:cubicBezTo>
                  <a:pt x="2640" y="958"/>
                  <a:pt x="2639" y="960"/>
                  <a:pt x="2639" y="963"/>
                </a:cubicBezTo>
                <a:cubicBezTo>
                  <a:pt x="2639" y="966"/>
                  <a:pt x="2639" y="968"/>
                  <a:pt x="2639" y="970"/>
                </a:cubicBezTo>
                <a:cubicBezTo>
                  <a:pt x="2639" y="980"/>
                  <a:pt x="2645" y="983"/>
                  <a:pt x="2653" y="983"/>
                </a:cubicBezTo>
                <a:cubicBezTo>
                  <a:pt x="2653" y="983"/>
                  <a:pt x="2653" y="983"/>
                  <a:pt x="2657" y="983"/>
                </a:cubicBezTo>
                <a:cubicBezTo>
                  <a:pt x="2657" y="983"/>
                  <a:pt x="2657" y="983"/>
                  <a:pt x="2657" y="974"/>
                </a:cubicBezTo>
                <a:cubicBezTo>
                  <a:pt x="2657" y="974"/>
                  <a:pt x="2657" y="974"/>
                  <a:pt x="2656" y="974"/>
                </a:cubicBezTo>
                <a:cubicBezTo>
                  <a:pt x="2652" y="974"/>
                  <a:pt x="2651" y="971"/>
                  <a:pt x="2651" y="968"/>
                </a:cubicBezTo>
                <a:cubicBezTo>
                  <a:pt x="2651" y="966"/>
                  <a:pt x="2651" y="965"/>
                  <a:pt x="2651" y="963"/>
                </a:cubicBezTo>
                <a:cubicBezTo>
                  <a:pt x="2651" y="962"/>
                  <a:pt x="2651" y="959"/>
                  <a:pt x="2651" y="957"/>
                </a:cubicBezTo>
                <a:cubicBezTo>
                  <a:pt x="2651" y="950"/>
                  <a:pt x="2648" y="947"/>
                  <a:pt x="2643" y="946"/>
                </a:cubicBezTo>
                <a:cubicBezTo>
                  <a:pt x="2643" y="946"/>
                  <a:pt x="2643" y="946"/>
                  <a:pt x="2643" y="946"/>
                </a:cubicBezTo>
                <a:cubicBezTo>
                  <a:pt x="2648" y="944"/>
                  <a:pt x="2651" y="942"/>
                  <a:pt x="2651" y="935"/>
                </a:cubicBezTo>
                <a:cubicBezTo>
                  <a:pt x="2651" y="932"/>
                  <a:pt x="2651" y="930"/>
                  <a:pt x="2651" y="928"/>
                </a:cubicBezTo>
                <a:cubicBezTo>
                  <a:pt x="2651" y="927"/>
                  <a:pt x="2651" y="925"/>
                  <a:pt x="2651" y="924"/>
                </a:cubicBezTo>
                <a:cubicBezTo>
                  <a:pt x="2651" y="920"/>
                  <a:pt x="2652" y="918"/>
                  <a:pt x="2656" y="918"/>
                </a:cubicBezTo>
                <a:cubicBezTo>
                  <a:pt x="2656" y="918"/>
                  <a:pt x="2656" y="918"/>
                  <a:pt x="2657" y="918"/>
                </a:cubicBezTo>
                <a:cubicBezTo>
                  <a:pt x="2657" y="918"/>
                  <a:pt x="2657" y="918"/>
                  <a:pt x="2657" y="909"/>
                </a:cubicBezTo>
                <a:cubicBezTo>
                  <a:pt x="2657" y="909"/>
                  <a:pt x="2657" y="909"/>
                  <a:pt x="2653" y="909"/>
                </a:cubicBezTo>
                <a:cubicBezTo>
                  <a:pt x="2644" y="909"/>
                  <a:pt x="2639" y="913"/>
                  <a:pt x="2639" y="921"/>
                </a:cubicBezTo>
                <a:cubicBezTo>
                  <a:pt x="2639" y="923"/>
                  <a:pt x="2639" y="926"/>
                  <a:pt x="2639" y="929"/>
                </a:cubicBezTo>
                <a:cubicBezTo>
                  <a:pt x="2639" y="931"/>
                  <a:pt x="2640" y="934"/>
                  <a:pt x="2640" y="935"/>
                </a:cubicBezTo>
                <a:cubicBezTo>
                  <a:pt x="2640" y="938"/>
                  <a:pt x="2639" y="941"/>
                  <a:pt x="2633" y="942"/>
                </a:cubicBezTo>
                <a:close/>
                <a:moveTo>
                  <a:pt x="2688" y="950"/>
                </a:moveTo>
                <a:cubicBezTo>
                  <a:pt x="2688" y="950"/>
                  <a:pt x="2688" y="950"/>
                  <a:pt x="2688" y="950"/>
                </a:cubicBezTo>
                <a:cubicBezTo>
                  <a:pt x="2688" y="942"/>
                  <a:pt x="2688" y="942"/>
                  <a:pt x="2688" y="942"/>
                </a:cubicBezTo>
                <a:cubicBezTo>
                  <a:pt x="2682" y="941"/>
                  <a:pt x="2681" y="938"/>
                  <a:pt x="2681" y="935"/>
                </a:cubicBezTo>
                <a:cubicBezTo>
                  <a:pt x="2681" y="934"/>
                  <a:pt x="2681" y="931"/>
                  <a:pt x="2682" y="929"/>
                </a:cubicBezTo>
                <a:cubicBezTo>
                  <a:pt x="2682" y="926"/>
                  <a:pt x="2682" y="923"/>
                  <a:pt x="2682" y="921"/>
                </a:cubicBezTo>
                <a:cubicBezTo>
                  <a:pt x="2682" y="913"/>
                  <a:pt x="2677" y="909"/>
                  <a:pt x="2668" y="909"/>
                </a:cubicBezTo>
                <a:cubicBezTo>
                  <a:pt x="2668" y="909"/>
                  <a:pt x="2668" y="909"/>
                  <a:pt x="2664" y="909"/>
                </a:cubicBezTo>
                <a:cubicBezTo>
                  <a:pt x="2664" y="909"/>
                  <a:pt x="2664" y="909"/>
                  <a:pt x="2664" y="918"/>
                </a:cubicBezTo>
                <a:cubicBezTo>
                  <a:pt x="2664" y="918"/>
                  <a:pt x="2664" y="918"/>
                  <a:pt x="2665" y="918"/>
                </a:cubicBezTo>
                <a:cubicBezTo>
                  <a:pt x="2669" y="918"/>
                  <a:pt x="2670" y="920"/>
                  <a:pt x="2670" y="924"/>
                </a:cubicBezTo>
                <a:cubicBezTo>
                  <a:pt x="2670" y="925"/>
                  <a:pt x="2670" y="927"/>
                  <a:pt x="2670" y="928"/>
                </a:cubicBezTo>
                <a:cubicBezTo>
                  <a:pt x="2670" y="930"/>
                  <a:pt x="2670" y="932"/>
                  <a:pt x="2670" y="935"/>
                </a:cubicBezTo>
                <a:cubicBezTo>
                  <a:pt x="2670" y="942"/>
                  <a:pt x="2672" y="944"/>
                  <a:pt x="2678" y="946"/>
                </a:cubicBezTo>
                <a:cubicBezTo>
                  <a:pt x="2678" y="946"/>
                  <a:pt x="2678" y="946"/>
                  <a:pt x="2678" y="946"/>
                </a:cubicBezTo>
                <a:cubicBezTo>
                  <a:pt x="2672" y="947"/>
                  <a:pt x="2670" y="950"/>
                  <a:pt x="2670" y="957"/>
                </a:cubicBezTo>
                <a:cubicBezTo>
                  <a:pt x="2670" y="959"/>
                  <a:pt x="2670" y="962"/>
                  <a:pt x="2670" y="963"/>
                </a:cubicBezTo>
                <a:cubicBezTo>
                  <a:pt x="2670" y="965"/>
                  <a:pt x="2670" y="966"/>
                  <a:pt x="2670" y="968"/>
                </a:cubicBezTo>
                <a:cubicBezTo>
                  <a:pt x="2670" y="971"/>
                  <a:pt x="2669" y="974"/>
                  <a:pt x="2665" y="974"/>
                </a:cubicBezTo>
                <a:cubicBezTo>
                  <a:pt x="2665" y="974"/>
                  <a:pt x="2665" y="974"/>
                  <a:pt x="2664" y="974"/>
                </a:cubicBezTo>
                <a:cubicBezTo>
                  <a:pt x="2664" y="974"/>
                  <a:pt x="2664" y="974"/>
                  <a:pt x="2664" y="983"/>
                </a:cubicBezTo>
                <a:cubicBezTo>
                  <a:pt x="2664" y="983"/>
                  <a:pt x="2664" y="983"/>
                  <a:pt x="2668" y="983"/>
                </a:cubicBezTo>
                <a:cubicBezTo>
                  <a:pt x="2676" y="983"/>
                  <a:pt x="2682" y="980"/>
                  <a:pt x="2682" y="970"/>
                </a:cubicBezTo>
                <a:cubicBezTo>
                  <a:pt x="2682" y="968"/>
                  <a:pt x="2682" y="966"/>
                  <a:pt x="2682" y="963"/>
                </a:cubicBezTo>
                <a:cubicBezTo>
                  <a:pt x="2681" y="960"/>
                  <a:pt x="2681" y="958"/>
                  <a:pt x="2681" y="956"/>
                </a:cubicBezTo>
                <a:cubicBezTo>
                  <a:pt x="2681" y="953"/>
                  <a:pt x="2682" y="950"/>
                  <a:pt x="2688" y="950"/>
                </a:cubicBezTo>
                <a:close/>
                <a:moveTo>
                  <a:pt x="2871" y="983"/>
                </a:moveTo>
                <a:cubicBezTo>
                  <a:pt x="2864" y="983"/>
                  <a:pt x="2857" y="980"/>
                  <a:pt x="2853" y="974"/>
                </a:cubicBezTo>
                <a:cubicBezTo>
                  <a:pt x="2849" y="968"/>
                  <a:pt x="2847" y="959"/>
                  <a:pt x="2847" y="946"/>
                </a:cubicBezTo>
                <a:cubicBezTo>
                  <a:pt x="2847" y="933"/>
                  <a:pt x="2849" y="924"/>
                  <a:pt x="2853" y="917"/>
                </a:cubicBezTo>
                <a:cubicBezTo>
                  <a:pt x="2858" y="911"/>
                  <a:pt x="2864" y="907"/>
                  <a:pt x="2873" y="907"/>
                </a:cubicBezTo>
                <a:cubicBezTo>
                  <a:pt x="2890" y="907"/>
                  <a:pt x="2898" y="919"/>
                  <a:pt x="2898" y="945"/>
                </a:cubicBezTo>
                <a:cubicBezTo>
                  <a:pt x="2898" y="957"/>
                  <a:pt x="2895" y="967"/>
                  <a:pt x="2890" y="973"/>
                </a:cubicBezTo>
                <a:cubicBezTo>
                  <a:pt x="2886" y="980"/>
                  <a:pt x="2879" y="983"/>
                  <a:pt x="2871" y="983"/>
                </a:cubicBezTo>
                <a:close/>
                <a:moveTo>
                  <a:pt x="2873" y="917"/>
                </a:moveTo>
                <a:cubicBezTo>
                  <a:pt x="2863" y="917"/>
                  <a:pt x="2859" y="927"/>
                  <a:pt x="2859" y="946"/>
                </a:cubicBezTo>
                <a:cubicBezTo>
                  <a:pt x="2859" y="965"/>
                  <a:pt x="2863" y="973"/>
                  <a:pt x="2872" y="973"/>
                </a:cubicBezTo>
                <a:cubicBezTo>
                  <a:pt x="2881" y="973"/>
                  <a:pt x="2885" y="965"/>
                  <a:pt x="2885" y="946"/>
                </a:cubicBezTo>
                <a:cubicBezTo>
                  <a:pt x="2885" y="926"/>
                  <a:pt x="2881" y="917"/>
                  <a:pt x="2873" y="917"/>
                </a:cubicBezTo>
                <a:close/>
                <a:moveTo>
                  <a:pt x="2941" y="983"/>
                </a:moveTo>
                <a:cubicBezTo>
                  <a:pt x="2934" y="983"/>
                  <a:pt x="2928" y="980"/>
                  <a:pt x="2924" y="974"/>
                </a:cubicBezTo>
                <a:cubicBezTo>
                  <a:pt x="2919" y="968"/>
                  <a:pt x="2917" y="959"/>
                  <a:pt x="2917" y="946"/>
                </a:cubicBezTo>
                <a:cubicBezTo>
                  <a:pt x="2917" y="933"/>
                  <a:pt x="2919" y="924"/>
                  <a:pt x="2924" y="917"/>
                </a:cubicBezTo>
                <a:cubicBezTo>
                  <a:pt x="2928" y="911"/>
                  <a:pt x="2935" y="907"/>
                  <a:pt x="2944" y="907"/>
                </a:cubicBezTo>
                <a:cubicBezTo>
                  <a:pt x="2960" y="907"/>
                  <a:pt x="2968" y="919"/>
                  <a:pt x="2968" y="945"/>
                </a:cubicBezTo>
                <a:cubicBezTo>
                  <a:pt x="2968" y="957"/>
                  <a:pt x="2966" y="967"/>
                  <a:pt x="2961" y="973"/>
                </a:cubicBezTo>
                <a:cubicBezTo>
                  <a:pt x="2956" y="980"/>
                  <a:pt x="2950" y="983"/>
                  <a:pt x="2941" y="983"/>
                </a:cubicBezTo>
                <a:close/>
                <a:moveTo>
                  <a:pt x="2943" y="917"/>
                </a:moveTo>
                <a:cubicBezTo>
                  <a:pt x="2934" y="917"/>
                  <a:pt x="2929" y="927"/>
                  <a:pt x="2929" y="946"/>
                </a:cubicBezTo>
                <a:cubicBezTo>
                  <a:pt x="2929" y="965"/>
                  <a:pt x="2933" y="973"/>
                  <a:pt x="2942" y="973"/>
                </a:cubicBezTo>
                <a:cubicBezTo>
                  <a:pt x="2951" y="973"/>
                  <a:pt x="2955" y="965"/>
                  <a:pt x="2955" y="946"/>
                </a:cubicBezTo>
                <a:cubicBezTo>
                  <a:pt x="2955" y="926"/>
                  <a:pt x="2951" y="917"/>
                  <a:pt x="2943" y="917"/>
                </a:cubicBezTo>
                <a:close/>
                <a:moveTo>
                  <a:pt x="3015" y="909"/>
                </a:moveTo>
                <a:cubicBezTo>
                  <a:pt x="3015" y="909"/>
                  <a:pt x="3015" y="909"/>
                  <a:pt x="3015" y="909"/>
                </a:cubicBezTo>
                <a:cubicBezTo>
                  <a:pt x="3010" y="909"/>
                  <a:pt x="3010" y="909"/>
                  <a:pt x="3010" y="909"/>
                </a:cubicBezTo>
                <a:cubicBezTo>
                  <a:pt x="3007" y="911"/>
                  <a:pt x="3006" y="912"/>
                  <a:pt x="3004" y="913"/>
                </a:cubicBezTo>
                <a:cubicBezTo>
                  <a:pt x="3002" y="915"/>
                  <a:pt x="3001" y="915"/>
                  <a:pt x="2998" y="916"/>
                </a:cubicBezTo>
                <a:cubicBezTo>
                  <a:pt x="2997" y="917"/>
                  <a:pt x="2995" y="918"/>
                  <a:pt x="2993" y="919"/>
                </a:cubicBezTo>
                <a:cubicBezTo>
                  <a:pt x="2991" y="920"/>
                  <a:pt x="2990" y="920"/>
                  <a:pt x="2987" y="920"/>
                </a:cubicBezTo>
                <a:cubicBezTo>
                  <a:pt x="2987" y="920"/>
                  <a:pt x="2987" y="920"/>
                  <a:pt x="2987" y="931"/>
                </a:cubicBezTo>
                <a:cubicBezTo>
                  <a:pt x="2990" y="930"/>
                  <a:pt x="2993" y="929"/>
                  <a:pt x="2996" y="928"/>
                </a:cubicBezTo>
                <a:cubicBezTo>
                  <a:pt x="2998" y="927"/>
                  <a:pt x="3001" y="925"/>
                  <a:pt x="3003" y="924"/>
                </a:cubicBezTo>
                <a:cubicBezTo>
                  <a:pt x="3003" y="924"/>
                  <a:pt x="3003" y="924"/>
                  <a:pt x="3003" y="983"/>
                </a:cubicBezTo>
                <a:cubicBezTo>
                  <a:pt x="3003" y="983"/>
                  <a:pt x="3003" y="983"/>
                  <a:pt x="3015" y="983"/>
                </a:cubicBezTo>
                <a:cubicBezTo>
                  <a:pt x="3015" y="983"/>
                  <a:pt x="3015" y="983"/>
                  <a:pt x="3015" y="909"/>
                </a:cubicBezTo>
                <a:close/>
                <a:moveTo>
                  <a:pt x="3061" y="909"/>
                </a:moveTo>
                <a:cubicBezTo>
                  <a:pt x="3061" y="909"/>
                  <a:pt x="3061" y="909"/>
                  <a:pt x="3061" y="909"/>
                </a:cubicBezTo>
                <a:cubicBezTo>
                  <a:pt x="3056" y="909"/>
                  <a:pt x="3056" y="909"/>
                  <a:pt x="3056" y="909"/>
                </a:cubicBezTo>
                <a:cubicBezTo>
                  <a:pt x="3054" y="911"/>
                  <a:pt x="3053" y="912"/>
                  <a:pt x="3050" y="913"/>
                </a:cubicBezTo>
                <a:cubicBezTo>
                  <a:pt x="3049" y="915"/>
                  <a:pt x="3047" y="915"/>
                  <a:pt x="3045" y="916"/>
                </a:cubicBezTo>
                <a:cubicBezTo>
                  <a:pt x="3044" y="917"/>
                  <a:pt x="3042" y="918"/>
                  <a:pt x="3040" y="919"/>
                </a:cubicBezTo>
                <a:cubicBezTo>
                  <a:pt x="3038" y="920"/>
                  <a:pt x="3037" y="920"/>
                  <a:pt x="3034" y="920"/>
                </a:cubicBezTo>
                <a:cubicBezTo>
                  <a:pt x="3034" y="920"/>
                  <a:pt x="3034" y="920"/>
                  <a:pt x="3034" y="931"/>
                </a:cubicBezTo>
                <a:cubicBezTo>
                  <a:pt x="3037" y="930"/>
                  <a:pt x="3040" y="929"/>
                  <a:pt x="3042" y="928"/>
                </a:cubicBezTo>
                <a:cubicBezTo>
                  <a:pt x="3045" y="927"/>
                  <a:pt x="3047" y="925"/>
                  <a:pt x="3050" y="924"/>
                </a:cubicBezTo>
                <a:cubicBezTo>
                  <a:pt x="3050" y="924"/>
                  <a:pt x="3050" y="924"/>
                  <a:pt x="3050" y="983"/>
                </a:cubicBezTo>
                <a:cubicBezTo>
                  <a:pt x="3050" y="983"/>
                  <a:pt x="3050" y="983"/>
                  <a:pt x="3061" y="983"/>
                </a:cubicBezTo>
                <a:cubicBezTo>
                  <a:pt x="3061" y="983"/>
                  <a:pt x="3061" y="983"/>
                  <a:pt x="3061" y="909"/>
                </a:cubicBezTo>
                <a:close/>
                <a:moveTo>
                  <a:pt x="3107" y="909"/>
                </a:moveTo>
                <a:cubicBezTo>
                  <a:pt x="3107" y="909"/>
                  <a:pt x="3107" y="909"/>
                  <a:pt x="3107" y="909"/>
                </a:cubicBezTo>
                <a:cubicBezTo>
                  <a:pt x="3103" y="909"/>
                  <a:pt x="3103" y="909"/>
                  <a:pt x="3103" y="909"/>
                </a:cubicBezTo>
                <a:cubicBezTo>
                  <a:pt x="3100" y="911"/>
                  <a:pt x="3099" y="912"/>
                  <a:pt x="3097" y="913"/>
                </a:cubicBezTo>
                <a:cubicBezTo>
                  <a:pt x="3095" y="915"/>
                  <a:pt x="3093" y="915"/>
                  <a:pt x="3092" y="916"/>
                </a:cubicBezTo>
                <a:cubicBezTo>
                  <a:pt x="3090" y="917"/>
                  <a:pt x="3088" y="917"/>
                  <a:pt x="3086" y="918"/>
                </a:cubicBezTo>
                <a:cubicBezTo>
                  <a:pt x="3085" y="919"/>
                  <a:pt x="3082" y="920"/>
                  <a:pt x="3081" y="920"/>
                </a:cubicBezTo>
                <a:cubicBezTo>
                  <a:pt x="3081" y="920"/>
                  <a:pt x="3081" y="920"/>
                  <a:pt x="3081" y="931"/>
                </a:cubicBezTo>
                <a:cubicBezTo>
                  <a:pt x="3084" y="930"/>
                  <a:pt x="3087" y="928"/>
                  <a:pt x="3089" y="928"/>
                </a:cubicBezTo>
                <a:cubicBezTo>
                  <a:pt x="3091" y="927"/>
                  <a:pt x="3094" y="925"/>
                  <a:pt x="3095" y="924"/>
                </a:cubicBezTo>
                <a:cubicBezTo>
                  <a:pt x="3095" y="924"/>
                  <a:pt x="3095" y="924"/>
                  <a:pt x="3095" y="983"/>
                </a:cubicBezTo>
                <a:cubicBezTo>
                  <a:pt x="3095" y="983"/>
                  <a:pt x="3095" y="983"/>
                  <a:pt x="3107" y="983"/>
                </a:cubicBezTo>
                <a:cubicBezTo>
                  <a:pt x="3107" y="983"/>
                  <a:pt x="3107" y="983"/>
                  <a:pt x="3107" y="909"/>
                </a:cubicBezTo>
                <a:close/>
                <a:moveTo>
                  <a:pt x="2916" y="874"/>
                </a:moveTo>
                <a:cubicBezTo>
                  <a:pt x="2909" y="874"/>
                  <a:pt x="2902" y="872"/>
                  <a:pt x="2898" y="866"/>
                </a:cubicBezTo>
                <a:cubicBezTo>
                  <a:pt x="2894" y="859"/>
                  <a:pt x="2892" y="850"/>
                  <a:pt x="2892" y="838"/>
                </a:cubicBezTo>
                <a:cubicBezTo>
                  <a:pt x="2892" y="825"/>
                  <a:pt x="2894" y="815"/>
                  <a:pt x="2898" y="808"/>
                </a:cubicBezTo>
                <a:cubicBezTo>
                  <a:pt x="2903" y="802"/>
                  <a:pt x="2909" y="798"/>
                  <a:pt x="2918" y="798"/>
                </a:cubicBezTo>
                <a:cubicBezTo>
                  <a:pt x="2934" y="798"/>
                  <a:pt x="2942" y="811"/>
                  <a:pt x="2942" y="836"/>
                </a:cubicBezTo>
                <a:cubicBezTo>
                  <a:pt x="2942" y="849"/>
                  <a:pt x="2940" y="858"/>
                  <a:pt x="2935" y="865"/>
                </a:cubicBezTo>
                <a:cubicBezTo>
                  <a:pt x="2931" y="872"/>
                  <a:pt x="2924" y="874"/>
                  <a:pt x="2916" y="874"/>
                </a:cubicBezTo>
                <a:close/>
                <a:moveTo>
                  <a:pt x="2917" y="808"/>
                </a:moveTo>
                <a:cubicBezTo>
                  <a:pt x="2908" y="808"/>
                  <a:pt x="2904" y="818"/>
                  <a:pt x="2904" y="838"/>
                </a:cubicBezTo>
                <a:cubicBezTo>
                  <a:pt x="2904" y="856"/>
                  <a:pt x="2908" y="865"/>
                  <a:pt x="2917" y="865"/>
                </a:cubicBezTo>
                <a:cubicBezTo>
                  <a:pt x="2925" y="865"/>
                  <a:pt x="2930" y="856"/>
                  <a:pt x="2930" y="837"/>
                </a:cubicBezTo>
                <a:cubicBezTo>
                  <a:pt x="2930" y="817"/>
                  <a:pt x="2925" y="808"/>
                  <a:pt x="2917" y="808"/>
                </a:cubicBezTo>
                <a:close/>
                <a:moveTo>
                  <a:pt x="2990" y="801"/>
                </a:moveTo>
                <a:cubicBezTo>
                  <a:pt x="2990" y="801"/>
                  <a:pt x="2990" y="801"/>
                  <a:pt x="2990" y="801"/>
                </a:cubicBezTo>
                <a:cubicBezTo>
                  <a:pt x="2985" y="801"/>
                  <a:pt x="2985" y="801"/>
                  <a:pt x="2985" y="801"/>
                </a:cubicBezTo>
                <a:cubicBezTo>
                  <a:pt x="2983" y="802"/>
                  <a:pt x="2981" y="804"/>
                  <a:pt x="2979" y="805"/>
                </a:cubicBezTo>
                <a:cubicBezTo>
                  <a:pt x="2978" y="806"/>
                  <a:pt x="2975" y="807"/>
                  <a:pt x="2974" y="808"/>
                </a:cubicBezTo>
                <a:cubicBezTo>
                  <a:pt x="2972" y="808"/>
                  <a:pt x="2970" y="809"/>
                  <a:pt x="2969" y="810"/>
                </a:cubicBezTo>
                <a:cubicBezTo>
                  <a:pt x="2967" y="810"/>
                  <a:pt x="2965" y="811"/>
                  <a:pt x="2963" y="812"/>
                </a:cubicBezTo>
                <a:cubicBezTo>
                  <a:pt x="2963" y="812"/>
                  <a:pt x="2963" y="812"/>
                  <a:pt x="2963" y="822"/>
                </a:cubicBezTo>
                <a:cubicBezTo>
                  <a:pt x="2966" y="821"/>
                  <a:pt x="2969" y="820"/>
                  <a:pt x="2971" y="819"/>
                </a:cubicBezTo>
                <a:cubicBezTo>
                  <a:pt x="2974" y="818"/>
                  <a:pt x="2976" y="817"/>
                  <a:pt x="2978" y="816"/>
                </a:cubicBezTo>
                <a:cubicBezTo>
                  <a:pt x="2978" y="816"/>
                  <a:pt x="2978" y="816"/>
                  <a:pt x="2978" y="874"/>
                </a:cubicBezTo>
                <a:cubicBezTo>
                  <a:pt x="2978" y="874"/>
                  <a:pt x="2978" y="874"/>
                  <a:pt x="2990" y="874"/>
                </a:cubicBezTo>
                <a:cubicBezTo>
                  <a:pt x="2990" y="874"/>
                  <a:pt x="2990" y="874"/>
                  <a:pt x="2990" y="801"/>
                </a:cubicBezTo>
                <a:close/>
                <a:moveTo>
                  <a:pt x="3037" y="801"/>
                </a:moveTo>
                <a:cubicBezTo>
                  <a:pt x="3037" y="801"/>
                  <a:pt x="3037" y="801"/>
                  <a:pt x="3037" y="801"/>
                </a:cubicBezTo>
                <a:cubicBezTo>
                  <a:pt x="3032" y="801"/>
                  <a:pt x="3032" y="801"/>
                  <a:pt x="3032" y="801"/>
                </a:cubicBezTo>
                <a:cubicBezTo>
                  <a:pt x="3030" y="802"/>
                  <a:pt x="3029" y="804"/>
                  <a:pt x="3026" y="805"/>
                </a:cubicBezTo>
                <a:cubicBezTo>
                  <a:pt x="3025" y="806"/>
                  <a:pt x="3023" y="807"/>
                  <a:pt x="3021" y="808"/>
                </a:cubicBezTo>
                <a:cubicBezTo>
                  <a:pt x="3020" y="809"/>
                  <a:pt x="3018" y="810"/>
                  <a:pt x="3016" y="810"/>
                </a:cubicBezTo>
                <a:cubicBezTo>
                  <a:pt x="3014" y="811"/>
                  <a:pt x="3013" y="812"/>
                  <a:pt x="3010" y="812"/>
                </a:cubicBezTo>
                <a:cubicBezTo>
                  <a:pt x="3010" y="812"/>
                  <a:pt x="3010" y="812"/>
                  <a:pt x="3010" y="822"/>
                </a:cubicBezTo>
                <a:cubicBezTo>
                  <a:pt x="3013" y="821"/>
                  <a:pt x="3016" y="821"/>
                  <a:pt x="3018" y="819"/>
                </a:cubicBezTo>
                <a:cubicBezTo>
                  <a:pt x="3021" y="818"/>
                  <a:pt x="3023" y="817"/>
                  <a:pt x="3026" y="816"/>
                </a:cubicBezTo>
                <a:cubicBezTo>
                  <a:pt x="3026" y="816"/>
                  <a:pt x="3026" y="816"/>
                  <a:pt x="3026" y="874"/>
                </a:cubicBezTo>
                <a:cubicBezTo>
                  <a:pt x="3026" y="874"/>
                  <a:pt x="3026" y="874"/>
                  <a:pt x="3037" y="874"/>
                </a:cubicBezTo>
                <a:cubicBezTo>
                  <a:pt x="3037" y="874"/>
                  <a:pt x="3037" y="874"/>
                  <a:pt x="3037" y="801"/>
                </a:cubicBezTo>
                <a:close/>
                <a:moveTo>
                  <a:pt x="3084" y="801"/>
                </a:moveTo>
                <a:cubicBezTo>
                  <a:pt x="3084" y="801"/>
                  <a:pt x="3084" y="801"/>
                  <a:pt x="3084" y="801"/>
                </a:cubicBezTo>
                <a:cubicBezTo>
                  <a:pt x="3079" y="801"/>
                  <a:pt x="3079" y="801"/>
                  <a:pt x="3079" y="801"/>
                </a:cubicBezTo>
                <a:cubicBezTo>
                  <a:pt x="3077" y="802"/>
                  <a:pt x="3076" y="804"/>
                  <a:pt x="3074" y="805"/>
                </a:cubicBezTo>
                <a:cubicBezTo>
                  <a:pt x="3072" y="806"/>
                  <a:pt x="3070" y="807"/>
                  <a:pt x="3068" y="808"/>
                </a:cubicBezTo>
                <a:cubicBezTo>
                  <a:pt x="3066" y="809"/>
                  <a:pt x="3065" y="810"/>
                  <a:pt x="3063" y="810"/>
                </a:cubicBezTo>
                <a:cubicBezTo>
                  <a:pt x="3061" y="811"/>
                  <a:pt x="3059" y="812"/>
                  <a:pt x="3057" y="812"/>
                </a:cubicBezTo>
                <a:cubicBezTo>
                  <a:pt x="3057" y="812"/>
                  <a:pt x="3057" y="812"/>
                  <a:pt x="3057" y="822"/>
                </a:cubicBezTo>
                <a:cubicBezTo>
                  <a:pt x="3060" y="821"/>
                  <a:pt x="3063" y="821"/>
                  <a:pt x="3066" y="819"/>
                </a:cubicBezTo>
                <a:cubicBezTo>
                  <a:pt x="3068" y="818"/>
                  <a:pt x="3071" y="817"/>
                  <a:pt x="3072" y="816"/>
                </a:cubicBezTo>
                <a:cubicBezTo>
                  <a:pt x="3072" y="816"/>
                  <a:pt x="3072" y="816"/>
                  <a:pt x="3072" y="874"/>
                </a:cubicBezTo>
                <a:cubicBezTo>
                  <a:pt x="3072" y="874"/>
                  <a:pt x="3072" y="874"/>
                  <a:pt x="3084" y="874"/>
                </a:cubicBezTo>
                <a:cubicBezTo>
                  <a:pt x="3084" y="874"/>
                  <a:pt x="3084" y="874"/>
                  <a:pt x="3084" y="801"/>
                </a:cubicBezTo>
                <a:close/>
                <a:moveTo>
                  <a:pt x="3131" y="801"/>
                </a:moveTo>
                <a:cubicBezTo>
                  <a:pt x="3131" y="801"/>
                  <a:pt x="3131" y="801"/>
                  <a:pt x="3131" y="801"/>
                </a:cubicBezTo>
                <a:cubicBezTo>
                  <a:pt x="3126" y="801"/>
                  <a:pt x="3126" y="801"/>
                  <a:pt x="3126" y="801"/>
                </a:cubicBezTo>
                <a:cubicBezTo>
                  <a:pt x="3124" y="802"/>
                  <a:pt x="3123" y="804"/>
                  <a:pt x="3120" y="805"/>
                </a:cubicBezTo>
                <a:cubicBezTo>
                  <a:pt x="3119" y="806"/>
                  <a:pt x="3117" y="807"/>
                  <a:pt x="3115" y="808"/>
                </a:cubicBezTo>
                <a:cubicBezTo>
                  <a:pt x="3114" y="809"/>
                  <a:pt x="3111" y="810"/>
                  <a:pt x="3110" y="810"/>
                </a:cubicBezTo>
                <a:cubicBezTo>
                  <a:pt x="3108" y="811"/>
                  <a:pt x="3106" y="812"/>
                  <a:pt x="3104" y="812"/>
                </a:cubicBezTo>
                <a:cubicBezTo>
                  <a:pt x="3104" y="812"/>
                  <a:pt x="3104" y="812"/>
                  <a:pt x="3104" y="822"/>
                </a:cubicBezTo>
                <a:cubicBezTo>
                  <a:pt x="3107" y="821"/>
                  <a:pt x="3110" y="821"/>
                  <a:pt x="3112" y="819"/>
                </a:cubicBezTo>
                <a:cubicBezTo>
                  <a:pt x="3115" y="818"/>
                  <a:pt x="3117" y="817"/>
                  <a:pt x="3120" y="816"/>
                </a:cubicBezTo>
                <a:cubicBezTo>
                  <a:pt x="3120" y="816"/>
                  <a:pt x="3120" y="816"/>
                  <a:pt x="3120" y="874"/>
                </a:cubicBezTo>
                <a:cubicBezTo>
                  <a:pt x="3120" y="874"/>
                  <a:pt x="3120" y="874"/>
                  <a:pt x="3131" y="874"/>
                </a:cubicBezTo>
                <a:cubicBezTo>
                  <a:pt x="3131" y="874"/>
                  <a:pt x="3131" y="874"/>
                  <a:pt x="3131" y="801"/>
                </a:cubicBezTo>
                <a:close/>
                <a:moveTo>
                  <a:pt x="3254" y="801"/>
                </a:moveTo>
                <a:cubicBezTo>
                  <a:pt x="3254" y="801"/>
                  <a:pt x="3254" y="801"/>
                  <a:pt x="3254" y="801"/>
                </a:cubicBezTo>
                <a:cubicBezTo>
                  <a:pt x="3249" y="801"/>
                  <a:pt x="3249" y="801"/>
                  <a:pt x="3249" y="801"/>
                </a:cubicBezTo>
                <a:cubicBezTo>
                  <a:pt x="3247" y="802"/>
                  <a:pt x="3246" y="804"/>
                  <a:pt x="3243" y="805"/>
                </a:cubicBezTo>
                <a:cubicBezTo>
                  <a:pt x="3242" y="806"/>
                  <a:pt x="3240" y="807"/>
                  <a:pt x="3238" y="808"/>
                </a:cubicBezTo>
                <a:cubicBezTo>
                  <a:pt x="3237" y="809"/>
                  <a:pt x="3235" y="810"/>
                  <a:pt x="3233" y="810"/>
                </a:cubicBezTo>
                <a:cubicBezTo>
                  <a:pt x="3231" y="811"/>
                  <a:pt x="3230" y="812"/>
                  <a:pt x="3227" y="812"/>
                </a:cubicBezTo>
                <a:cubicBezTo>
                  <a:pt x="3227" y="812"/>
                  <a:pt x="3227" y="812"/>
                  <a:pt x="3227" y="822"/>
                </a:cubicBezTo>
                <a:cubicBezTo>
                  <a:pt x="3230" y="821"/>
                  <a:pt x="3233" y="821"/>
                  <a:pt x="3236" y="819"/>
                </a:cubicBezTo>
                <a:cubicBezTo>
                  <a:pt x="3238" y="818"/>
                  <a:pt x="3240" y="817"/>
                  <a:pt x="3243" y="816"/>
                </a:cubicBezTo>
                <a:cubicBezTo>
                  <a:pt x="3243" y="816"/>
                  <a:pt x="3243" y="816"/>
                  <a:pt x="3243" y="874"/>
                </a:cubicBezTo>
                <a:cubicBezTo>
                  <a:pt x="3243" y="874"/>
                  <a:pt x="3243" y="874"/>
                  <a:pt x="3254" y="874"/>
                </a:cubicBezTo>
                <a:cubicBezTo>
                  <a:pt x="3254" y="874"/>
                  <a:pt x="3254" y="874"/>
                  <a:pt x="3254" y="801"/>
                </a:cubicBezTo>
                <a:close/>
                <a:moveTo>
                  <a:pt x="3302" y="801"/>
                </a:moveTo>
                <a:cubicBezTo>
                  <a:pt x="3302" y="801"/>
                  <a:pt x="3302" y="801"/>
                  <a:pt x="3302" y="801"/>
                </a:cubicBezTo>
                <a:cubicBezTo>
                  <a:pt x="3297" y="801"/>
                  <a:pt x="3297" y="801"/>
                  <a:pt x="3297" y="801"/>
                </a:cubicBezTo>
                <a:cubicBezTo>
                  <a:pt x="3295" y="802"/>
                  <a:pt x="3293" y="804"/>
                  <a:pt x="3291" y="805"/>
                </a:cubicBezTo>
                <a:cubicBezTo>
                  <a:pt x="3290" y="806"/>
                  <a:pt x="3287" y="807"/>
                  <a:pt x="3286" y="808"/>
                </a:cubicBezTo>
                <a:cubicBezTo>
                  <a:pt x="3285" y="809"/>
                  <a:pt x="3282" y="810"/>
                  <a:pt x="3281" y="810"/>
                </a:cubicBezTo>
                <a:cubicBezTo>
                  <a:pt x="3279" y="811"/>
                  <a:pt x="3277" y="812"/>
                  <a:pt x="3275" y="812"/>
                </a:cubicBezTo>
                <a:cubicBezTo>
                  <a:pt x="3275" y="812"/>
                  <a:pt x="3275" y="812"/>
                  <a:pt x="3275" y="822"/>
                </a:cubicBezTo>
                <a:cubicBezTo>
                  <a:pt x="3278" y="821"/>
                  <a:pt x="3281" y="821"/>
                  <a:pt x="3283" y="819"/>
                </a:cubicBezTo>
                <a:cubicBezTo>
                  <a:pt x="3286" y="818"/>
                  <a:pt x="3288" y="817"/>
                  <a:pt x="3290" y="816"/>
                </a:cubicBezTo>
                <a:cubicBezTo>
                  <a:pt x="3290" y="816"/>
                  <a:pt x="3290" y="816"/>
                  <a:pt x="3290" y="874"/>
                </a:cubicBezTo>
                <a:cubicBezTo>
                  <a:pt x="3290" y="874"/>
                  <a:pt x="3290" y="874"/>
                  <a:pt x="3302" y="874"/>
                </a:cubicBezTo>
                <a:cubicBezTo>
                  <a:pt x="3302" y="874"/>
                  <a:pt x="3302" y="874"/>
                  <a:pt x="3302" y="801"/>
                </a:cubicBezTo>
                <a:close/>
                <a:moveTo>
                  <a:pt x="3350" y="801"/>
                </a:moveTo>
                <a:cubicBezTo>
                  <a:pt x="3350" y="801"/>
                  <a:pt x="3350" y="801"/>
                  <a:pt x="3350" y="801"/>
                </a:cubicBezTo>
                <a:cubicBezTo>
                  <a:pt x="3345" y="801"/>
                  <a:pt x="3345" y="801"/>
                  <a:pt x="3345" y="801"/>
                </a:cubicBezTo>
                <a:cubicBezTo>
                  <a:pt x="3343" y="802"/>
                  <a:pt x="3341" y="804"/>
                  <a:pt x="3339" y="805"/>
                </a:cubicBezTo>
                <a:cubicBezTo>
                  <a:pt x="3337" y="806"/>
                  <a:pt x="3336" y="807"/>
                  <a:pt x="3334" y="808"/>
                </a:cubicBezTo>
                <a:cubicBezTo>
                  <a:pt x="3332" y="809"/>
                  <a:pt x="3330" y="810"/>
                  <a:pt x="3328" y="810"/>
                </a:cubicBezTo>
                <a:cubicBezTo>
                  <a:pt x="3326" y="811"/>
                  <a:pt x="3325" y="812"/>
                  <a:pt x="3322" y="812"/>
                </a:cubicBezTo>
                <a:cubicBezTo>
                  <a:pt x="3322" y="812"/>
                  <a:pt x="3322" y="812"/>
                  <a:pt x="3322" y="822"/>
                </a:cubicBezTo>
                <a:cubicBezTo>
                  <a:pt x="3325" y="821"/>
                  <a:pt x="3328" y="821"/>
                  <a:pt x="3331" y="819"/>
                </a:cubicBezTo>
                <a:cubicBezTo>
                  <a:pt x="3334" y="818"/>
                  <a:pt x="3336" y="817"/>
                  <a:pt x="3338" y="816"/>
                </a:cubicBezTo>
                <a:cubicBezTo>
                  <a:pt x="3338" y="816"/>
                  <a:pt x="3338" y="816"/>
                  <a:pt x="3338" y="874"/>
                </a:cubicBezTo>
                <a:cubicBezTo>
                  <a:pt x="3338" y="874"/>
                  <a:pt x="3338" y="874"/>
                  <a:pt x="3350" y="874"/>
                </a:cubicBezTo>
                <a:cubicBezTo>
                  <a:pt x="3350" y="874"/>
                  <a:pt x="3350" y="874"/>
                  <a:pt x="3350" y="801"/>
                </a:cubicBezTo>
                <a:close/>
                <a:moveTo>
                  <a:pt x="3396" y="801"/>
                </a:moveTo>
                <a:cubicBezTo>
                  <a:pt x="3396" y="801"/>
                  <a:pt x="3396" y="801"/>
                  <a:pt x="3396" y="801"/>
                </a:cubicBezTo>
                <a:cubicBezTo>
                  <a:pt x="3392" y="801"/>
                  <a:pt x="3392" y="801"/>
                  <a:pt x="3392" y="801"/>
                </a:cubicBezTo>
                <a:cubicBezTo>
                  <a:pt x="3390" y="802"/>
                  <a:pt x="3388" y="804"/>
                  <a:pt x="3386" y="805"/>
                </a:cubicBezTo>
                <a:cubicBezTo>
                  <a:pt x="3385" y="806"/>
                  <a:pt x="3383" y="807"/>
                  <a:pt x="3381" y="808"/>
                </a:cubicBezTo>
                <a:cubicBezTo>
                  <a:pt x="3379" y="808"/>
                  <a:pt x="3378" y="809"/>
                  <a:pt x="3375" y="810"/>
                </a:cubicBezTo>
                <a:cubicBezTo>
                  <a:pt x="3374" y="810"/>
                  <a:pt x="3372" y="811"/>
                  <a:pt x="3370" y="812"/>
                </a:cubicBezTo>
                <a:cubicBezTo>
                  <a:pt x="3370" y="812"/>
                  <a:pt x="3370" y="812"/>
                  <a:pt x="3370" y="822"/>
                </a:cubicBezTo>
                <a:cubicBezTo>
                  <a:pt x="3373" y="821"/>
                  <a:pt x="3376" y="820"/>
                  <a:pt x="3378" y="819"/>
                </a:cubicBezTo>
                <a:cubicBezTo>
                  <a:pt x="3380" y="818"/>
                  <a:pt x="3383" y="817"/>
                  <a:pt x="3385" y="816"/>
                </a:cubicBezTo>
                <a:cubicBezTo>
                  <a:pt x="3385" y="816"/>
                  <a:pt x="3385" y="816"/>
                  <a:pt x="3385" y="874"/>
                </a:cubicBezTo>
                <a:cubicBezTo>
                  <a:pt x="3385" y="874"/>
                  <a:pt x="3385" y="874"/>
                  <a:pt x="3396" y="874"/>
                </a:cubicBezTo>
                <a:cubicBezTo>
                  <a:pt x="3396" y="874"/>
                  <a:pt x="3396" y="874"/>
                  <a:pt x="3396" y="801"/>
                </a:cubicBezTo>
                <a:close/>
                <a:moveTo>
                  <a:pt x="3152" y="833"/>
                </a:moveTo>
                <a:cubicBezTo>
                  <a:pt x="3152" y="833"/>
                  <a:pt x="3152" y="833"/>
                  <a:pt x="3152" y="833"/>
                </a:cubicBezTo>
                <a:cubicBezTo>
                  <a:pt x="3152" y="842"/>
                  <a:pt x="3152" y="842"/>
                  <a:pt x="3152" y="842"/>
                </a:cubicBezTo>
                <a:cubicBezTo>
                  <a:pt x="3158" y="842"/>
                  <a:pt x="3159" y="845"/>
                  <a:pt x="3159" y="848"/>
                </a:cubicBezTo>
                <a:cubicBezTo>
                  <a:pt x="3159" y="850"/>
                  <a:pt x="3159" y="852"/>
                  <a:pt x="3159" y="855"/>
                </a:cubicBezTo>
                <a:cubicBezTo>
                  <a:pt x="3158" y="857"/>
                  <a:pt x="3158" y="859"/>
                  <a:pt x="3158" y="862"/>
                </a:cubicBezTo>
                <a:cubicBezTo>
                  <a:pt x="3158" y="871"/>
                  <a:pt x="3164" y="874"/>
                  <a:pt x="3172" y="874"/>
                </a:cubicBezTo>
                <a:cubicBezTo>
                  <a:pt x="3172" y="874"/>
                  <a:pt x="3172" y="874"/>
                  <a:pt x="3176" y="874"/>
                </a:cubicBezTo>
                <a:cubicBezTo>
                  <a:pt x="3176" y="874"/>
                  <a:pt x="3176" y="874"/>
                  <a:pt x="3176" y="865"/>
                </a:cubicBezTo>
                <a:cubicBezTo>
                  <a:pt x="3176" y="865"/>
                  <a:pt x="3176" y="865"/>
                  <a:pt x="3175" y="865"/>
                </a:cubicBezTo>
                <a:cubicBezTo>
                  <a:pt x="3171" y="865"/>
                  <a:pt x="3170" y="863"/>
                  <a:pt x="3170" y="859"/>
                </a:cubicBezTo>
                <a:cubicBezTo>
                  <a:pt x="3170" y="858"/>
                  <a:pt x="3170" y="856"/>
                  <a:pt x="3170" y="855"/>
                </a:cubicBezTo>
                <a:cubicBezTo>
                  <a:pt x="3170" y="853"/>
                  <a:pt x="3170" y="851"/>
                  <a:pt x="3170" y="849"/>
                </a:cubicBezTo>
                <a:cubicBezTo>
                  <a:pt x="3170" y="841"/>
                  <a:pt x="3168" y="839"/>
                  <a:pt x="3162" y="837"/>
                </a:cubicBezTo>
                <a:cubicBezTo>
                  <a:pt x="3162" y="837"/>
                  <a:pt x="3162" y="837"/>
                  <a:pt x="3162" y="837"/>
                </a:cubicBezTo>
                <a:cubicBezTo>
                  <a:pt x="3168" y="836"/>
                  <a:pt x="3170" y="834"/>
                  <a:pt x="3170" y="826"/>
                </a:cubicBezTo>
                <a:cubicBezTo>
                  <a:pt x="3170" y="824"/>
                  <a:pt x="3170" y="822"/>
                  <a:pt x="3170" y="820"/>
                </a:cubicBezTo>
                <a:cubicBezTo>
                  <a:pt x="3170" y="818"/>
                  <a:pt x="3170" y="816"/>
                  <a:pt x="3170" y="815"/>
                </a:cubicBezTo>
                <a:cubicBezTo>
                  <a:pt x="3170" y="812"/>
                  <a:pt x="3171" y="809"/>
                  <a:pt x="3175" y="809"/>
                </a:cubicBezTo>
                <a:cubicBezTo>
                  <a:pt x="3175" y="809"/>
                  <a:pt x="3175" y="809"/>
                  <a:pt x="3176" y="809"/>
                </a:cubicBezTo>
                <a:cubicBezTo>
                  <a:pt x="3176" y="809"/>
                  <a:pt x="3176" y="809"/>
                  <a:pt x="3176" y="800"/>
                </a:cubicBezTo>
                <a:cubicBezTo>
                  <a:pt x="3176" y="800"/>
                  <a:pt x="3176" y="800"/>
                  <a:pt x="3172" y="800"/>
                </a:cubicBezTo>
                <a:cubicBezTo>
                  <a:pt x="3163" y="800"/>
                  <a:pt x="3158" y="804"/>
                  <a:pt x="3158" y="813"/>
                </a:cubicBezTo>
                <a:cubicBezTo>
                  <a:pt x="3158" y="815"/>
                  <a:pt x="3158" y="818"/>
                  <a:pt x="3158" y="820"/>
                </a:cubicBezTo>
                <a:cubicBezTo>
                  <a:pt x="3159" y="822"/>
                  <a:pt x="3159" y="825"/>
                  <a:pt x="3159" y="827"/>
                </a:cubicBezTo>
                <a:cubicBezTo>
                  <a:pt x="3159" y="830"/>
                  <a:pt x="3158" y="833"/>
                  <a:pt x="3152" y="833"/>
                </a:cubicBezTo>
                <a:close/>
                <a:moveTo>
                  <a:pt x="3207" y="842"/>
                </a:moveTo>
                <a:cubicBezTo>
                  <a:pt x="3207" y="842"/>
                  <a:pt x="3207" y="842"/>
                  <a:pt x="3207" y="842"/>
                </a:cubicBezTo>
                <a:cubicBezTo>
                  <a:pt x="3207" y="833"/>
                  <a:pt x="3207" y="833"/>
                  <a:pt x="3207" y="833"/>
                </a:cubicBezTo>
                <a:cubicBezTo>
                  <a:pt x="3200" y="833"/>
                  <a:pt x="3200" y="830"/>
                  <a:pt x="3200" y="827"/>
                </a:cubicBezTo>
                <a:cubicBezTo>
                  <a:pt x="3200" y="825"/>
                  <a:pt x="3200" y="822"/>
                  <a:pt x="3200" y="820"/>
                </a:cubicBezTo>
                <a:cubicBezTo>
                  <a:pt x="3201" y="818"/>
                  <a:pt x="3201" y="815"/>
                  <a:pt x="3201" y="813"/>
                </a:cubicBezTo>
                <a:cubicBezTo>
                  <a:pt x="3201" y="804"/>
                  <a:pt x="3196" y="800"/>
                  <a:pt x="3186" y="800"/>
                </a:cubicBezTo>
                <a:cubicBezTo>
                  <a:pt x="3186" y="800"/>
                  <a:pt x="3186" y="800"/>
                  <a:pt x="3183" y="800"/>
                </a:cubicBezTo>
                <a:cubicBezTo>
                  <a:pt x="3183" y="800"/>
                  <a:pt x="3183" y="800"/>
                  <a:pt x="3183" y="809"/>
                </a:cubicBezTo>
                <a:cubicBezTo>
                  <a:pt x="3183" y="809"/>
                  <a:pt x="3183" y="809"/>
                  <a:pt x="3184" y="809"/>
                </a:cubicBezTo>
                <a:cubicBezTo>
                  <a:pt x="3188" y="809"/>
                  <a:pt x="3189" y="812"/>
                  <a:pt x="3189" y="815"/>
                </a:cubicBezTo>
                <a:cubicBezTo>
                  <a:pt x="3189" y="816"/>
                  <a:pt x="3189" y="818"/>
                  <a:pt x="3189" y="820"/>
                </a:cubicBezTo>
                <a:cubicBezTo>
                  <a:pt x="3189" y="822"/>
                  <a:pt x="3189" y="824"/>
                  <a:pt x="3189" y="826"/>
                </a:cubicBezTo>
                <a:cubicBezTo>
                  <a:pt x="3189" y="834"/>
                  <a:pt x="3191" y="836"/>
                  <a:pt x="3197" y="837"/>
                </a:cubicBezTo>
                <a:cubicBezTo>
                  <a:pt x="3197" y="837"/>
                  <a:pt x="3197" y="837"/>
                  <a:pt x="3197" y="837"/>
                </a:cubicBezTo>
                <a:cubicBezTo>
                  <a:pt x="3191" y="839"/>
                  <a:pt x="3189" y="841"/>
                  <a:pt x="3189" y="849"/>
                </a:cubicBezTo>
                <a:cubicBezTo>
                  <a:pt x="3189" y="851"/>
                  <a:pt x="3189" y="853"/>
                  <a:pt x="3189" y="855"/>
                </a:cubicBezTo>
                <a:cubicBezTo>
                  <a:pt x="3189" y="856"/>
                  <a:pt x="3189" y="858"/>
                  <a:pt x="3189" y="859"/>
                </a:cubicBezTo>
                <a:cubicBezTo>
                  <a:pt x="3189" y="863"/>
                  <a:pt x="3188" y="865"/>
                  <a:pt x="3184" y="865"/>
                </a:cubicBezTo>
                <a:cubicBezTo>
                  <a:pt x="3184" y="865"/>
                  <a:pt x="3184" y="865"/>
                  <a:pt x="3183" y="865"/>
                </a:cubicBezTo>
                <a:cubicBezTo>
                  <a:pt x="3183" y="865"/>
                  <a:pt x="3183" y="865"/>
                  <a:pt x="3183" y="874"/>
                </a:cubicBezTo>
                <a:cubicBezTo>
                  <a:pt x="3183" y="874"/>
                  <a:pt x="3183" y="874"/>
                  <a:pt x="3186" y="874"/>
                </a:cubicBezTo>
                <a:cubicBezTo>
                  <a:pt x="3195" y="874"/>
                  <a:pt x="3201" y="871"/>
                  <a:pt x="3201" y="862"/>
                </a:cubicBezTo>
                <a:cubicBezTo>
                  <a:pt x="3201" y="859"/>
                  <a:pt x="3201" y="857"/>
                  <a:pt x="3200" y="855"/>
                </a:cubicBezTo>
                <a:cubicBezTo>
                  <a:pt x="3200" y="852"/>
                  <a:pt x="3200" y="850"/>
                  <a:pt x="3200" y="848"/>
                </a:cubicBezTo>
                <a:cubicBezTo>
                  <a:pt x="3200" y="845"/>
                  <a:pt x="3200" y="842"/>
                  <a:pt x="3207" y="842"/>
                </a:cubicBezTo>
                <a:close/>
                <a:moveTo>
                  <a:pt x="3534" y="833"/>
                </a:moveTo>
                <a:cubicBezTo>
                  <a:pt x="3534" y="833"/>
                  <a:pt x="3534" y="833"/>
                  <a:pt x="3534" y="833"/>
                </a:cubicBezTo>
                <a:cubicBezTo>
                  <a:pt x="3534" y="842"/>
                  <a:pt x="3534" y="842"/>
                  <a:pt x="3534" y="842"/>
                </a:cubicBezTo>
                <a:cubicBezTo>
                  <a:pt x="3540" y="842"/>
                  <a:pt x="3541" y="845"/>
                  <a:pt x="3541" y="848"/>
                </a:cubicBezTo>
                <a:cubicBezTo>
                  <a:pt x="3541" y="850"/>
                  <a:pt x="3541" y="852"/>
                  <a:pt x="3541" y="855"/>
                </a:cubicBezTo>
                <a:cubicBezTo>
                  <a:pt x="3540" y="857"/>
                  <a:pt x="3540" y="859"/>
                  <a:pt x="3540" y="862"/>
                </a:cubicBezTo>
                <a:cubicBezTo>
                  <a:pt x="3540" y="871"/>
                  <a:pt x="3546" y="874"/>
                  <a:pt x="3554" y="874"/>
                </a:cubicBezTo>
                <a:cubicBezTo>
                  <a:pt x="3554" y="874"/>
                  <a:pt x="3554" y="874"/>
                  <a:pt x="3558" y="874"/>
                </a:cubicBezTo>
                <a:cubicBezTo>
                  <a:pt x="3558" y="874"/>
                  <a:pt x="3558" y="874"/>
                  <a:pt x="3558" y="865"/>
                </a:cubicBezTo>
                <a:cubicBezTo>
                  <a:pt x="3558" y="865"/>
                  <a:pt x="3558" y="865"/>
                  <a:pt x="3557" y="865"/>
                </a:cubicBezTo>
                <a:cubicBezTo>
                  <a:pt x="3553" y="865"/>
                  <a:pt x="3552" y="863"/>
                  <a:pt x="3552" y="859"/>
                </a:cubicBezTo>
                <a:cubicBezTo>
                  <a:pt x="3552" y="858"/>
                  <a:pt x="3552" y="856"/>
                  <a:pt x="3552" y="855"/>
                </a:cubicBezTo>
                <a:cubicBezTo>
                  <a:pt x="3552" y="853"/>
                  <a:pt x="3553" y="851"/>
                  <a:pt x="3553" y="849"/>
                </a:cubicBezTo>
                <a:cubicBezTo>
                  <a:pt x="3553" y="841"/>
                  <a:pt x="3550" y="839"/>
                  <a:pt x="3544" y="837"/>
                </a:cubicBezTo>
                <a:cubicBezTo>
                  <a:pt x="3544" y="837"/>
                  <a:pt x="3544" y="837"/>
                  <a:pt x="3544" y="837"/>
                </a:cubicBezTo>
                <a:cubicBezTo>
                  <a:pt x="3550" y="836"/>
                  <a:pt x="3553" y="834"/>
                  <a:pt x="3553" y="826"/>
                </a:cubicBezTo>
                <a:cubicBezTo>
                  <a:pt x="3553" y="824"/>
                  <a:pt x="3552" y="822"/>
                  <a:pt x="3552" y="820"/>
                </a:cubicBezTo>
                <a:cubicBezTo>
                  <a:pt x="3552" y="818"/>
                  <a:pt x="3552" y="816"/>
                  <a:pt x="3552" y="815"/>
                </a:cubicBezTo>
                <a:cubicBezTo>
                  <a:pt x="3552" y="812"/>
                  <a:pt x="3553" y="809"/>
                  <a:pt x="3557" y="809"/>
                </a:cubicBezTo>
                <a:cubicBezTo>
                  <a:pt x="3557" y="809"/>
                  <a:pt x="3557" y="809"/>
                  <a:pt x="3558" y="809"/>
                </a:cubicBezTo>
                <a:cubicBezTo>
                  <a:pt x="3558" y="809"/>
                  <a:pt x="3558" y="809"/>
                  <a:pt x="3558" y="800"/>
                </a:cubicBezTo>
                <a:cubicBezTo>
                  <a:pt x="3558" y="800"/>
                  <a:pt x="3558" y="800"/>
                  <a:pt x="3554" y="800"/>
                </a:cubicBezTo>
                <a:cubicBezTo>
                  <a:pt x="3546" y="800"/>
                  <a:pt x="3540" y="804"/>
                  <a:pt x="3540" y="813"/>
                </a:cubicBezTo>
                <a:cubicBezTo>
                  <a:pt x="3540" y="815"/>
                  <a:pt x="3540" y="818"/>
                  <a:pt x="3540" y="820"/>
                </a:cubicBezTo>
                <a:cubicBezTo>
                  <a:pt x="3541" y="822"/>
                  <a:pt x="3541" y="825"/>
                  <a:pt x="3541" y="827"/>
                </a:cubicBezTo>
                <a:cubicBezTo>
                  <a:pt x="3541" y="830"/>
                  <a:pt x="3540" y="833"/>
                  <a:pt x="3534" y="833"/>
                </a:cubicBezTo>
                <a:close/>
                <a:moveTo>
                  <a:pt x="3589" y="842"/>
                </a:moveTo>
                <a:cubicBezTo>
                  <a:pt x="3589" y="842"/>
                  <a:pt x="3589" y="842"/>
                  <a:pt x="3589" y="842"/>
                </a:cubicBezTo>
                <a:cubicBezTo>
                  <a:pt x="3589" y="833"/>
                  <a:pt x="3589" y="833"/>
                  <a:pt x="3589" y="833"/>
                </a:cubicBezTo>
                <a:cubicBezTo>
                  <a:pt x="3583" y="833"/>
                  <a:pt x="3582" y="830"/>
                  <a:pt x="3582" y="827"/>
                </a:cubicBezTo>
                <a:cubicBezTo>
                  <a:pt x="3582" y="825"/>
                  <a:pt x="3582" y="822"/>
                  <a:pt x="3583" y="820"/>
                </a:cubicBezTo>
                <a:cubicBezTo>
                  <a:pt x="3583" y="818"/>
                  <a:pt x="3583" y="815"/>
                  <a:pt x="3583" y="813"/>
                </a:cubicBezTo>
                <a:cubicBezTo>
                  <a:pt x="3583" y="804"/>
                  <a:pt x="3578" y="800"/>
                  <a:pt x="3569" y="800"/>
                </a:cubicBezTo>
                <a:cubicBezTo>
                  <a:pt x="3569" y="800"/>
                  <a:pt x="3569" y="800"/>
                  <a:pt x="3565" y="800"/>
                </a:cubicBezTo>
                <a:cubicBezTo>
                  <a:pt x="3565" y="800"/>
                  <a:pt x="3565" y="800"/>
                  <a:pt x="3565" y="809"/>
                </a:cubicBezTo>
                <a:cubicBezTo>
                  <a:pt x="3565" y="809"/>
                  <a:pt x="3565" y="809"/>
                  <a:pt x="3566" y="809"/>
                </a:cubicBezTo>
                <a:cubicBezTo>
                  <a:pt x="3570" y="809"/>
                  <a:pt x="3571" y="812"/>
                  <a:pt x="3571" y="815"/>
                </a:cubicBezTo>
                <a:cubicBezTo>
                  <a:pt x="3571" y="816"/>
                  <a:pt x="3571" y="818"/>
                  <a:pt x="3571" y="820"/>
                </a:cubicBezTo>
                <a:cubicBezTo>
                  <a:pt x="3571" y="822"/>
                  <a:pt x="3571" y="824"/>
                  <a:pt x="3571" y="826"/>
                </a:cubicBezTo>
                <a:cubicBezTo>
                  <a:pt x="3571" y="834"/>
                  <a:pt x="3573" y="836"/>
                  <a:pt x="3579" y="837"/>
                </a:cubicBezTo>
                <a:cubicBezTo>
                  <a:pt x="3579" y="837"/>
                  <a:pt x="3579" y="837"/>
                  <a:pt x="3579" y="837"/>
                </a:cubicBezTo>
                <a:cubicBezTo>
                  <a:pt x="3573" y="839"/>
                  <a:pt x="3571" y="841"/>
                  <a:pt x="3571" y="849"/>
                </a:cubicBezTo>
                <a:cubicBezTo>
                  <a:pt x="3571" y="851"/>
                  <a:pt x="3571" y="853"/>
                  <a:pt x="3571" y="855"/>
                </a:cubicBezTo>
                <a:cubicBezTo>
                  <a:pt x="3571" y="856"/>
                  <a:pt x="3571" y="858"/>
                  <a:pt x="3571" y="859"/>
                </a:cubicBezTo>
                <a:cubicBezTo>
                  <a:pt x="3571" y="863"/>
                  <a:pt x="3570" y="865"/>
                  <a:pt x="3566" y="865"/>
                </a:cubicBezTo>
                <a:cubicBezTo>
                  <a:pt x="3566" y="865"/>
                  <a:pt x="3566" y="865"/>
                  <a:pt x="3565" y="865"/>
                </a:cubicBezTo>
                <a:cubicBezTo>
                  <a:pt x="3565" y="865"/>
                  <a:pt x="3565" y="865"/>
                  <a:pt x="3565" y="874"/>
                </a:cubicBezTo>
                <a:cubicBezTo>
                  <a:pt x="3565" y="874"/>
                  <a:pt x="3565" y="874"/>
                  <a:pt x="3569" y="874"/>
                </a:cubicBezTo>
                <a:cubicBezTo>
                  <a:pt x="3577" y="874"/>
                  <a:pt x="3583" y="871"/>
                  <a:pt x="3583" y="862"/>
                </a:cubicBezTo>
                <a:cubicBezTo>
                  <a:pt x="3583" y="859"/>
                  <a:pt x="3583" y="857"/>
                  <a:pt x="3583" y="855"/>
                </a:cubicBezTo>
                <a:cubicBezTo>
                  <a:pt x="3582" y="852"/>
                  <a:pt x="3582" y="850"/>
                  <a:pt x="3582" y="848"/>
                </a:cubicBezTo>
                <a:cubicBezTo>
                  <a:pt x="3582" y="845"/>
                  <a:pt x="3583" y="842"/>
                  <a:pt x="3589" y="842"/>
                </a:cubicBezTo>
                <a:close/>
                <a:moveTo>
                  <a:pt x="3637" y="801"/>
                </a:moveTo>
                <a:cubicBezTo>
                  <a:pt x="3637" y="801"/>
                  <a:pt x="3637" y="801"/>
                  <a:pt x="3637" y="801"/>
                </a:cubicBezTo>
                <a:cubicBezTo>
                  <a:pt x="3632" y="801"/>
                  <a:pt x="3632" y="801"/>
                  <a:pt x="3632" y="801"/>
                </a:cubicBezTo>
                <a:cubicBezTo>
                  <a:pt x="3629" y="802"/>
                  <a:pt x="3628" y="804"/>
                  <a:pt x="3626" y="805"/>
                </a:cubicBezTo>
                <a:cubicBezTo>
                  <a:pt x="3624" y="806"/>
                  <a:pt x="3622" y="807"/>
                  <a:pt x="3621" y="808"/>
                </a:cubicBezTo>
                <a:cubicBezTo>
                  <a:pt x="3618" y="808"/>
                  <a:pt x="3617" y="809"/>
                  <a:pt x="3615" y="810"/>
                </a:cubicBezTo>
                <a:cubicBezTo>
                  <a:pt x="3613" y="810"/>
                  <a:pt x="3612" y="811"/>
                  <a:pt x="3609" y="812"/>
                </a:cubicBezTo>
                <a:cubicBezTo>
                  <a:pt x="3609" y="812"/>
                  <a:pt x="3609" y="812"/>
                  <a:pt x="3609" y="822"/>
                </a:cubicBezTo>
                <a:cubicBezTo>
                  <a:pt x="3612" y="821"/>
                  <a:pt x="3615" y="820"/>
                  <a:pt x="3618" y="819"/>
                </a:cubicBezTo>
                <a:cubicBezTo>
                  <a:pt x="3621" y="818"/>
                  <a:pt x="3623" y="817"/>
                  <a:pt x="3625" y="816"/>
                </a:cubicBezTo>
                <a:cubicBezTo>
                  <a:pt x="3625" y="816"/>
                  <a:pt x="3625" y="816"/>
                  <a:pt x="3625" y="874"/>
                </a:cubicBezTo>
                <a:cubicBezTo>
                  <a:pt x="3625" y="874"/>
                  <a:pt x="3625" y="874"/>
                  <a:pt x="3637" y="874"/>
                </a:cubicBezTo>
                <a:cubicBezTo>
                  <a:pt x="3637" y="874"/>
                  <a:pt x="3637" y="874"/>
                  <a:pt x="3637" y="801"/>
                </a:cubicBezTo>
                <a:close/>
                <a:moveTo>
                  <a:pt x="3684" y="801"/>
                </a:moveTo>
                <a:cubicBezTo>
                  <a:pt x="3684" y="801"/>
                  <a:pt x="3684" y="801"/>
                  <a:pt x="3684" y="801"/>
                </a:cubicBezTo>
                <a:cubicBezTo>
                  <a:pt x="3679" y="801"/>
                  <a:pt x="3679" y="801"/>
                  <a:pt x="3679" y="801"/>
                </a:cubicBezTo>
                <a:cubicBezTo>
                  <a:pt x="3677" y="802"/>
                  <a:pt x="3675" y="804"/>
                  <a:pt x="3673" y="805"/>
                </a:cubicBezTo>
                <a:cubicBezTo>
                  <a:pt x="3672" y="806"/>
                  <a:pt x="3669" y="807"/>
                  <a:pt x="3668" y="808"/>
                </a:cubicBezTo>
                <a:cubicBezTo>
                  <a:pt x="3666" y="809"/>
                  <a:pt x="3664" y="810"/>
                  <a:pt x="3663" y="810"/>
                </a:cubicBezTo>
                <a:cubicBezTo>
                  <a:pt x="3661" y="811"/>
                  <a:pt x="3659" y="812"/>
                  <a:pt x="3657" y="812"/>
                </a:cubicBezTo>
                <a:cubicBezTo>
                  <a:pt x="3657" y="812"/>
                  <a:pt x="3657" y="812"/>
                  <a:pt x="3657" y="822"/>
                </a:cubicBezTo>
                <a:cubicBezTo>
                  <a:pt x="3660" y="821"/>
                  <a:pt x="3663" y="821"/>
                  <a:pt x="3665" y="819"/>
                </a:cubicBezTo>
                <a:cubicBezTo>
                  <a:pt x="3668" y="818"/>
                  <a:pt x="3670" y="817"/>
                  <a:pt x="3672" y="816"/>
                </a:cubicBezTo>
                <a:cubicBezTo>
                  <a:pt x="3672" y="816"/>
                  <a:pt x="3672" y="816"/>
                  <a:pt x="3672" y="874"/>
                </a:cubicBezTo>
                <a:cubicBezTo>
                  <a:pt x="3672" y="874"/>
                  <a:pt x="3672" y="874"/>
                  <a:pt x="3684" y="874"/>
                </a:cubicBezTo>
                <a:cubicBezTo>
                  <a:pt x="3684" y="874"/>
                  <a:pt x="3684" y="874"/>
                  <a:pt x="3684" y="801"/>
                </a:cubicBezTo>
                <a:close/>
                <a:moveTo>
                  <a:pt x="3730" y="801"/>
                </a:moveTo>
                <a:cubicBezTo>
                  <a:pt x="3730" y="801"/>
                  <a:pt x="3730" y="801"/>
                  <a:pt x="3730" y="801"/>
                </a:cubicBezTo>
                <a:cubicBezTo>
                  <a:pt x="3726" y="801"/>
                  <a:pt x="3726" y="801"/>
                  <a:pt x="3726" y="801"/>
                </a:cubicBezTo>
                <a:cubicBezTo>
                  <a:pt x="3724" y="802"/>
                  <a:pt x="3722" y="804"/>
                  <a:pt x="3720" y="805"/>
                </a:cubicBezTo>
                <a:cubicBezTo>
                  <a:pt x="3719" y="806"/>
                  <a:pt x="3716" y="807"/>
                  <a:pt x="3715" y="808"/>
                </a:cubicBezTo>
                <a:cubicBezTo>
                  <a:pt x="3713" y="809"/>
                  <a:pt x="3711" y="810"/>
                  <a:pt x="3709" y="810"/>
                </a:cubicBezTo>
                <a:cubicBezTo>
                  <a:pt x="3708" y="811"/>
                  <a:pt x="3705" y="812"/>
                  <a:pt x="3704" y="812"/>
                </a:cubicBezTo>
                <a:cubicBezTo>
                  <a:pt x="3704" y="812"/>
                  <a:pt x="3704" y="812"/>
                  <a:pt x="3704" y="822"/>
                </a:cubicBezTo>
                <a:cubicBezTo>
                  <a:pt x="3707" y="821"/>
                  <a:pt x="3710" y="821"/>
                  <a:pt x="3712" y="819"/>
                </a:cubicBezTo>
                <a:cubicBezTo>
                  <a:pt x="3714" y="818"/>
                  <a:pt x="3717" y="817"/>
                  <a:pt x="3719" y="816"/>
                </a:cubicBezTo>
                <a:cubicBezTo>
                  <a:pt x="3719" y="816"/>
                  <a:pt x="3719" y="816"/>
                  <a:pt x="3719" y="874"/>
                </a:cubicBezTo>
                <a:cubicBezTo>
                  <a:pt x="3719" y="874"/>
                  <a:pt x="3719" y="874"/>
                  <a:pt x="3730" y="874"/>
                </a:cubicBezTo>
                <a:cubicBezTo>
                  <a:pt x="3730" y="874"/>
                  <a:pt x="3730" y="874"/>
                  <a:pt x="3730" y="801"/>
                </a:cubicBezTo>
                <a:close/>
                <a:moveTo>
                  <a:pt x="3853" y="801"/>
                </a:moveTo>
                <a:cubicBezTo>
                  <a:pt x="3853" y="801"/>
                  <a:pt x="3853" y="801"/>
                  <a:pt x="3853" y="801"/>
                </a:cubicBezTo>
                <a:cubicBezTo>
                  <a:pt x="3848" y="801"/>
                  <a:pt x="3848" y="801"/>
                  <a:pt x="3848" y="801"/>
                </a:cubicBezTo>
                <a:cubicBezTo>
                  <a:pt x="3846" y="802"/>
                  <a:pt x="3845" y="804"/>
                  <a:pt x="3842" y="805"/>
                </a:cubicBezTo>
                <a:cubicBezTo>
                  <a:pt x="3841" y="806"/>
                  <a:pt x="3839" y="807"/>
                  <a:pt x="3837" y="808"/>
                </a:cubicBezTo>
                <a:cubicBezTo>
                  <a:pt x="3836" y="809"/>
                  <a:pt x="3834" y="810"/>
                  <a:pt x="3832" y="810"/>
                </a:cubicBezTo>
                <a:cubicBezTo>
                  <a:pt x="3830" y="811"/>
                  <a:pt x="3829" y="812"/>
                  <a:pt x="3826" y="812"/>
                </a:cubicBezTo>
                <a:cubicBezTo>
                  <a:pt x="3826" y="812"/>
                  <a:pt x="3826" y="812"/>
                  <a:pt x="3826" y="822"/>
                </a:cubicBezTo>
                <a:cubicBezTo>
                  <a:pt x="3829" y="821"/>
                  <a:pt x="3832" y="821"/>
                  <a:pt x="3835" y="819"/>
                </a:cubicBezTo>
                <a:cubicBezTo>
                  <a:pt x="3837" y="818"/>
                  <a:pt x="3839" y="817"/>
                  <a:pt x="3842" y="816"/>
                </a:cubicBezTo>
                <a:cubicBezTo>
                  <a:pt x="3842" y="816"/>
                  <a:pt x="3842" y="816"/>
                  <a:pt x="3842" y="874"/>
                </a:cubicBezTo>
                <a:cubicBezTo>
                  <a:pt x="3842" y="874"/>
                  <a:pt x="3842" y="874"/>
                  <a:pt x="3853" y="874"/>
                </a:cubicBezTo>
                <a:cubicBezTo>
                  <a:pt x="3853" y="874"/>
                  <a:pt x="3853" y="874"/>
                  <a:pt x="3853" y="801"/>
                </a:cubicBezTo>
                <a:close/>
                <a:moveTo>
                  <a:pt x="3751" y="833"/>
                </a:moveTo>
                <a:cubicBezTo>
                  <a:pt x="3751" y="833"/>
                  <a:pt x="3751" y="833"/>
                  <a:pt x="3751" y="833"/>
                </a:cubicBezTo>
                <a:cubicBezTo>
                  <a:pt x="3751" y="842"/>
                  <a:pt x="3751" y="842"/>
                  <a:pt x="3751" y="842"/>
                </a:cubicBezTo>
                <a:cubicBezTo>
                  <a:pt x="3757" y="842"/>
                  <a:pt x="3758" y="845"/>
                  <a:pt x="3758" y="848"/>
                </a:cubicBezTo>
                <a:cubicBezTo>
                  <a:pt x="3758" y="850"/>
                  <a:pt x="3757" y="852"/>
                  <a:pt x="3757" y="855"/>
                </a:cubicBezTo>
                <a:cubicBezTo>
                  <a:pt x="3757" y="857"/>
                  <a:pt x="3757" y="859"/>
                  <a:pt x="3757" y="862"/>
                </a:cubicBezTo>
                <a:cubicBezTo>
                  <a:pt x="3757" y="871"/>
                  <a:pt x="3763" y="874"/>
                  <a:pt x="3771" y="874"/>
                </a:cubicBezTo>
                <a:cubicBezTo>
                  <a:pt x="3771" y="874"/>
                  <a:pt x="3771" y="874"/>
                  <a:pt x="3775" y="874"/>
                </a:cubicBezTo>
                <a:cubicBezTo>
                  <a:pt x="3775" y="874"/>
                  <a:pt x="3775" y="874"/>
                  <a:pt x="3775" y="865"/>
                </a:cubicBezTo>
                <a:cubicBezTo>
                  <a:pt x="3775" y="865"/>
                  <a:pt x="3775" y="865"/>
                  <a:pt x="3774" y="865"/>
                </a:cubicBezTo>
                <a:cubicBezTo>
                  <a:pt x="3770" y="865"/>
                  <a:pt x="3769" y="863"/>
                  <a:pt x="3769" y="859"/>
                </a:cubicBezTo>
                <a:cubicBezTo>
                  <a:pt x="3769" y="858"/>
                  <a:pt x="3769" y="856"/>
                  <a:pt x="3769" y="855"/>
                </a:cubicBezTo>
                <a:cubicBezTo>
                  <a:pt x="3769" y="853"/>
                  <a:pt x="3769" y="851"/>
                  <a:pt x="3769" y="849"/>
                </a:cubicBezTo>
                <a:cubicBezTo>
                  <a:pt x="3769" y="841"/>
                  <a:pt x="3766" y="839"/>
                  <a:pt x="3761" y="837"/>
                </a:cubicBezTo>
                <a:cubicBezTo>
                  <a:pt x="3761" y="837"/>
                  <a:pt x="3761" y="837"/>
                  <a:pt x="3761" y="837"/>
                </a:cubicBezTo>
                <a:cubicBezTo>
                  <a:pt x="3766" y="836"/>
                  <a:pt x="3769" y="834"/>
                  <a:pt x="3769" y="826"/>
                </a:cubicBezTo>
                <a:cubicBezTo>
                  <a:pt x="3769" y="824"/>
                  <a:pt x="3769" y="822"/>
                  <a:pt x="3769" y="820"/>
                </a:cubicBezTo>
                <a:cubicBezTo>
                  <a:pt x="3769" y="818"/>
                  <a:pt x="3769" y="816"/>
                  <a:pt x="3769" y="815"/>
                </a:cubicBezTo>
                <a:cubicBezTo>
                  <a:pt x="3769" y="812"/>
                  <a:pt x="3770" y="809"/>
                  <a:pt x="3774" y="809"/>
                </a:cubicBezTo>
                <a:cubicBezTo>
                  <a:pt x="3774" y="809"/>
                  <a:pt x="3774" y="809"/>
                  <a:pt x="3775" y="809"/>
                </a:cubicBezTo>
                <a:cubicBezTo>
                  <a:pt x="3775" y="809"/>
                  <a:pt x="3775" y="809"/>
                  <a:pt x="3775" y="800"/>
                </a:cubicBezTo>
                <a:cubicBezTo>
                  <a:pt x="3775" y="800"/>
                  <a:pt x="3775" y="800"/>
                  <a:pt x="3771" y="800"/>
                </a:cubicBezTo>
                <a:cubicBezTo>
                  <a:pt x="3762" y="800"/>
                  <a:pt x="3757" y="804"/>
                  <a:pt x="3757" y="813"/>
                </a:cubicBezTo>
                <a:cubicBezTo>
                  <a:pt x="3757" y="815"/>
                  <a:pt x="3757" y="818"/>
                  <a:pt x="3757" y="820"/>
                </a:cubicBezTo>
                <a:cubicBezTo>
                  <a:pt x="3757" y="822"/>
                  <a:pt x="3758" y="825"/>
                  <a:pt x="3758" y="827"/>
                </a:cubicBezTo>
                <a:cubicBezTo>
                  <a:pt x="3758" y="830"/>
                  <a:pt x="3757" y="833"/>
                  <a:pt x="3751" y="833"/>
                </a:cubicBezTo>
                <a:close/>
                <a:moveTo>
                  <a:pt x="3806" y="842"/>
                </a:moveTo>
                <a:cubicBezTo>
                  <a:pt x="3806" y="842"/>
                  <a:pt x="3806" y="842"/>
                  <a:pt x="3806" y="842"/>
                </a:cubicBezTo>
                <a:cubicBezTo>
                  <a:pt x="3806" y="833"/>
                  <a:pt x="3806" y="833"/>
                  <a:pt x="3806" y="833"/>
                </a:cubicBezTo>
                <a:cubicBezTo>
                  <a:pt x="3799" y="833"/>
                  <a:pt x="3799" y="830"/>
                  <a:pt x="3799" y="827"/>
                </a:cubicBezTo>
                <a:cubicBezTo>
                  <a:pt x="3799" y="825"/>
                  <a:pt x="3799" y="822"/>
                  <a:pt x="3799" y="820"/>
                </a:cubicBezTo>
                <a:cubicBezTo>
                  <a:pt x="3800" y="818"/>
                  <a:pt x="3800" y="815"/>
                  <a:pt x="3800" y="813"/>
                </a:cubicBezTo>
                <a:cubicBezTo>
                  <a:pt x="3800" y="804"/>
                  <a:pt x="3795" y="800"/>
                  <a:pt x="3785" y="800"/>
                </a:cubicBezTo>
                <a:cubicBezTo>
                  <a:pt x="3785" y="800"/>
                  <a:pt x="3785" y="800"/>
                  <a:pt x="3782" y="800"/>
                </a:cubicBezTo>
                <a:cubicBezTo>
                  <a:pt x="3782" y="800"/>
                  <a:pt x="3782" y="800"/>
                  <a:pt x="3782" y="809"/>
                </a:cubicBezTo>
                <a:cubicBezTo>
                  <a:pt x="3782" y="809"/>
                  <a:pt x="3782" y="809"/>
                  <a:pt x="3783" y="809"/>
                </a:cubicBezTo>
                <a:cubicBezTo>
                  <a:pt x="3787" y="809"/>
                  <a:pt x="3788" y="812"/>
                  <a:pt x="3788" y="815"/>
                </a:cubicBezTo>
                <a:cubicBezTo>
                  <a:pt x="3788" y="816"/>
                  <a:pt x="3788" y="818"/>
                  <a:pt x="3788" y="820"/>
                </a:cubicBezTo>
                <a:cubicBezTo>
                  <a:pt x="3788" y="822"/>
                  <a:pt x="3788" y="824"/>
                  <a:pt x="3788" y="826"/>
                </a:cubicBezTo>
                <a:cubicBezTo>
                  <a:pt x="3788" y="834"/>
                  <a:pt x="3790" y="836"/>
                  <a:pt x="3796" y="837"/>
                </a:cubicBezTo>
                <a:cubicBezTo>
                  <a:pt x="3796" y="837"/>
                  <a:pt x="3796" y="837"/>
                  <a:pt x="3796" y="837"/>
                </a:cubicBezTo>
                <a:cubicBezTo>
                  <a:pt x="3790" y="839"/>
                  <a:pt x="3788" y="841"/>
                  <a:pt x="3788" y="849"/>
                </a:cubicBezTo>
                <a:cubicBezTo>
                  <a:pt x="3788" y="851"/>
                  <a:pt x="3788" y="853"/>
                  <a:pt x="3788" y="855"/>
                </a:cubicBezTo>
                <a:cubicBezTo>
                  <a:pt x="3788" y="856"/>
                  <a:pt x="3788" y="858"/>
                  <a:pt x="3788" y="859"/>
                </a:cubicBezTo>
                <a:cubicBezTo>
                  <a:pt x="3788" y="863"/>
                  <a:pt x="3787" y="865"/>
                  <a:pt x="3783" y="865"/>
                </a:cubicBezTo>
                <a:cubicBezTo>
                  <a:pt x="3783" y="865"/>
                  <a:pt x="3783" y="865"/>
                  <a:pt x="3782" y="865"/>
                </a:cubicBezTo>
                <a:cubicBezTo>
                  <a:pt x="3782" y="865"/>
                  <a:pt x="3782" y="865"/>
                  <a:pt x="3782" y="874"/>
                </a:cubicBezTo>
                <a:cubicBezTo>
                  <a:pt x="3782" y="874"/>
                  <a:pt x="3782" y="874"/>
                  <a:pt x="3785" y="874"/>
                </a:cubicBezTo>
                <a:cubicBezTo>
                  <a:pt x="3794" y="874"/>
                  <a:pt x="3800" y="871"/>
                  <a:pt x="3800" y="862"/>
                </a:cubicBezTo>
                <a:cubicBezTo>
                  <a:pt x="3800" y="859"/>
                  <a:pt x="3800" y="857"/>
                  <a:pt x="3799" y="855"/>
                </a:cubicBezTo>
                <a:cubicBezTo>
                  <a:pt x="3799" y="852"/>
                  <a:pt x="3799" y="850"/>
                  <a:pt x="3799" y="848"/>
                </a:cubicBezTo>
                <a:cubicBezTo>
                  <a:pt x="3799" y="845"/>
                  <a:pt x="3799" y="842"/>
                  <a:pt x="3806" y="842"/>
                </a:cubicBezTo>
                <a:close/>
                <a:moveTo>
                  <a:pt x="2947" y="752"/>
                </a:moveTo>
                <a:cubicBezTo>
                  <a:pt x="2947" y="754"/>
                  <a:pt x="2948" y="755"/>
                  <a:pt x="2949" y="757"/>
                </a:cubicBezTo>
                <a:cubicBezTo>
                  <a:pt x="2949" y="758"/>
                  <a:pt x="2949" y="760"/>
                  <a:pt x="2950" y="762"/>
                </a:cubicBezTo>
                <a:cubicBezTo>
                  <a:pt x="2950" y="763"/>
                  <a:pt x="2950" y="765"/>
                  <a:pt x="2950" y="767"/>
                </a:cubicBezTo>
                <a:cubicBezTo>
                  <a:pt x="2951" y="770"/>
                  <a:pt x="2950" y="771"/>
                  <a:pt x="2947" y="771"/>
                </a:cubicBezTo>
                <a:cubicBezTo>
                  <a:pt x="2944" y="771"/>
                  <a:pt x="2941" y="771"/>
                  <a:pt x="2938" y="771"/>
                </a:cubicBezTo>
                <a:cubicBezTo>
                  <a:pt x="2938" y="771"/>
                  <a:pt x="2937" y="771"/>
                  <a:pt x="2937" y="771"/>
                </a:cubicBezTo>
                <a:cubicBezTo>
                  <a:pt x="2935" y="773"/>
                  <a:pt x="2934" y="774"/>
                  <a:pt x="2933" y="776"/>
                </a:cubicBezTo>
                <a:cubicBezTo>
                  <a:pt x="2931" y="778"/>
                  <a:pt x="2927" y="778"/>
                  <a:pt x="2925" y="776"/>
                </a:cubicBezTo>
                <a:cubicBezTo>
                  <a:pt x="2923" y="774"/>
                  <a:pt x="2922" y="772"/>
                  <a:pt x="2920" y="769"/>
                </a:cubicBezTo>
                <a:cubicBezTo>
                  <a:pt x="2920" y="767"/>
                  <a:pt x="2920" y="766"/>
                  <a:pt x="2922" y="764"/>
                </a:cubicBezTo>
                <a:cubicBezTo>
                  <a:pt x="2920" y="764"/>
                  <a:pt x="2918" y="764"/>
                  <a:pt x="2916" y="764"/>
                </a:cubicBezTo>
                <a:cubicBezTo>
                  <a:pt x="2916" y="766"/>
                  <a:pt x="2915" y="768"/>
                  <a:pt x="2914" y="770"/>
                </a:cubicBezTo>
                <a:cubicBezTo>
                  <a:pt x="2914" y="771"/>
                  <a:pt x="2913" y="772"/>
                  <a:pt x="2913" y="773"/>
                </a:cubicBezTo>
                <a:cubicBezTo>
                  <a:pt x="2913" y="776"/>
                  <a:pt x="2912" y="777"/>
                  <a:pt x="2909" y="776"/>
                </a:cubicBezTo>
                <a:cubicBezTo>
                  <a:pt x="2906" y="776"/>
                  <a:pt x="2903" y="775"/>
                  <a:pt x="2900" y="774"/>
                </a:cubicBezTo>
                <a:cubicBezTo>
                  <a:pt x="2898" y="774"/>
                  <a:pt x="2898" y="772"/>
                  <a:pt x="2898" y="770"/>
                </a:cubicBezTo>
                <a:cubicBezTo>
                  <a:pt x="2898" y="769"/>
                  <a:pt x="2898" y="769"/>
                  <a:pt x="2899" y="769"/>
                </a:cubicBezTo>
                <a:cubicBezTo>
                  <a:pt x="2896" y="767"/>
                  <a:pt x="2894" y="767"/>
                  <a:pt x="2892" y="765"/>
                </a:cubicBezTo>
                <a:cubicBezTo>
                  <a:pt x="2891" y="764"/>
                  <a:pt x="2890" y="762"/>
                  <a:pt x="2889" y="761"/>
                </a:cubicBezTo>
                <a:cubicBezTo>
                  <a:pt x="2888" y="759"/>
                  <a:pt x="2888" y="757"/>
                  <a:pt x="2890" y="755"/>
                </a:cubicBezTo>
                <a:cubicBezTo>
                  <a:pt x="2893" y="753"/>
                  <a:pt x="2894" y="750"/>
                  <a:pt x="2893" y="746"/>
                </a:cubicBezTo>
                <a:cubicBezTo>
                  <a:pt x="2893" y="744"/>
                  <a:pt x="2893" y="742"/>
                  <a:pt x="2893" y="740"/>
                </a:cubicBezTo>
                <a:cubicBezTo>
                  <a:pt x="2892" y="740"/>
                  <a:pt x="2890" y="739"/>
                  <a:pt x="2889" y="738"/>
                </a:cubicBezTo>
                <a:cubicBezTo>
                  <a:pt x="2888" y="736"/>
                  <a:pt x="2887" y="734"/>
                  <a:pt x="2887" y="733"/>
                </a:cubicBezTo>
                <a:cubicBezTo>
                  <a:pt x="2887" y="730"/>
                  <a:pt x="2891" y="727"/>
                  <a:pt x="2893" y="726"/>
                </a:cubicBezTo>
                <a:cubicBezTo>
                  <a:pt x="2894" y="727"/>
                  <a:pt x="2894" y="728"/>
                  <a:pt x="2894" y="729"/>
                </a:cubicBezTo>
                <a:cubicBezTo>
                  <a:pt x="2894" y="730"/>
                  <a:pt x="2894" y="731"/>
                  <a:pt x="2895" y="732"/>
                </a:cubicBezTo>
                <a:cubicBezTo>
                  <a:pt x="2894" y="731"/>
                  <a:pt x="2893" y="731"/>
                  <a:pt x="2893" y="731"/>
                </a:cubicBezTo>
                <a:cubicBezTo>
                  <a:pt x="2893" y="733"/>
                  <a:pt x="2892" y="734"/>
                  <a:pt x="2891" y="736"/>
                </a:cubicBezTo>
                <a:cubicBezTo>
                  <a:pt x="2893" y="735"/>
                  <a:pt x="2893" y="735"/>
                  <a:pt x="2894" y="735"/>
                </a:cubicBezTo>
                <a:cubicBezTo>
                  <a:pt x="2895" y="734"/>
                  <a:pt x="2896" y="733"/>
                  <a:pt x="2896" y="732"/>
                </a:cubicBezTo>
                <a:cubicBezTo>
                  <a:pt x="2901" y="725"/>
                  <a:pt x="2907" y="721"/>
                  <a:pt x="2915" y="719"/>
                </a:cubicBezTo>
                <a:cubicBezTo>
                  <a:pt x="2918" y="719"/>
                  <a:pt x="2921" y="718"/>
                  <a:pt x="2923" y="715"/>
                </a:cubicBezTo>
                <a:cubicBezTo>
                  <a:pt x="2923" y="715"/>
                  <a:pt x="2924" y="714"/>
                  <a:pt x="2924" y="714"/>
                </a:cubicBezTo>
                <a:cubicBezTo>
                  <a:pt x="2927" y="714"/>
                  <a:pt x="2929" y="712"/>
                  <a:pt x="2931" y="710"/>
                </a:cubicBezTo>
                <a:cubicBezTo>
                  <a:pt x="2938" y="702"/>
                  <a:pt x="2950" y="702"/>
                  <a:pt x="2958" y="708"/>
                </a:cubicBezTo>
                <a:cubicBezTo>
                  <a:pt x="2960" y="710"/>
                  <a:pt x="2963" y="712"/>
                  <a:pt x="2965" y="714"/>
                </a:cubicBezTo>
                <a:cubicBezTo>
                  <a:pt x="2967" y="715"/>
                  <a:pt x="2968" y="717"/>
                  <a:pt x="2969" y="719"/>
                </a:cubicBezTo>
                <a:cubicBezTo>
                  <a:pt x="2970" y="721"/>
                  <a:pt x="2971" y="721"/>
                  <a:pt x="2972" y="719"/>
                </a:cubicBezTo>
                <a:cubicBezTo>
                  <a:pt x="2973" y="719"/>
                  <a:pt x="2973" y="718"/>
                  <a:pt x="2974" y="717"/>
                </a:cubicBezTo>
                <a:cubicBezTo>
                  <a:pt x="2976" y="715"/>
                  <a:pt x="2979" y="715"/>
                  <a:pt x="2980" y="718"/>
                </a:cubicBezTo>
                <a:cubicBezTo>
                  <a:pt x="2982" y="721"/>
                  <a:pt x="2982" y="724"/>
                  <a:pt x="2983" y="727"/>
                </a:cubicBezTo>
                <a:cubicBezTo>
                  <a:pt x="2984" y="731"/>
                  <a:pt x="2983" y="736"/>
                  <a:pt x="2982" y="740"/>
                </a:cubicBezTo>
                <a:cubicBezTo>
                  <a:pt x="2979" y="746"/>
                  <a:pt x="2975" y="750"/>
                  <a:pt x="2968" y="750"/>
                </a:cubicBezTo>
                <a:cubicBezTo>
                  <a:pt x="2967" y="750"/>
                  <a:pt x="2967" y="750"/>
                  <a:pt x="2966" y="750"/>
                </a:cubicBezTo>
                <a:cubicBezTo>
                  <a:pt x="2964" y="750"/>
                  <a:pt x="2962" y="750"/>
                  <a:pt x="2962" y="752"/>
                </a:cubicBezTo>
                <a:cubicBezTo>
                  <a:pt x="2960" y="757"/>
                  <a:pt x="2955" y="758"/>
                  <a:pt x="2951" y="755"/>
                </a:cubicBezTo>
                <a:cubicBezTo>
                  <a:pt x="2950" y="754"/>
                  <a:pt x="2949" y="753"/>
                  <a:pt x="2948" y="752"/>
                </a:cubicBezTo>
                <a:cubicBezTo>
                  <a:pt x="2947" y="752"/>
                  <a:pt x="2947" y="752"/>
                  <a:pt x="2947" y="752"/>
                </a:cubicBezTo>
                <a:close/>
                <a:moveTo>
                  <a:pt x="2942" y="748"/>
                </a:moveTo>
                <a:cubicBezTo>
                  <a:pt x="2945" y="750"/>
                  <a:pt x="2949" y="751"/>
                  <a:pt x="2951" y="754"/>
                </a:cubicBezTo>
                <a:cubicBezTo>
                  <a:pt x="2953" y="755"/>
                  <a:pt x="2955" y="756"/>
                  <a:pt x="2957" y="755"/>
                </a:cubicBezTo>
                <a:cubicBezTo>
                  <a:pt x="2960" y="754"/>
                  <a:pt x="2961" y="752"/>
                  <a:pt x="2961" y="749"/>
                </a:cubicBezTo>
                <a:cubicBezTo>
                  <a:pt x="2961" y="750"/>
                  <a:pt x="2960" y="750"/>
                  <a:pt x="2960" y="750"/>
                </a:cubicBezTo>
                <a:cubicBezTo>
                  <a:pt x="2960" y="752"/>
                  <a:pt x="2958" y="752"/>
                  <a:pt x="2958" y="754"/>
                </a:cubicBezTo>
                <a:cubicBezTo>
                  <a:pt x="2956" y="755"/>
                  <a:pt x="2955" y="754"/>
                  <a:pt x="2955" y="754"/>
                </a:cubicBezTo>
                <a:cubicBezTo>
                  <a:pt x="2954" y="754"/>
                  <a:pt x="2953" y="753"/>
                  <a:pt x="2953" y="752"/>
                </a:cubicBezTo>
                <a:cubicBezTo>
                  <a:pt x="2953" y="750"/>
                  <a:pt x="2954" y="748"/>
                  <a:pt x="2954" y="746"/>
                </a:cubicBezTo>
                <a:cubicBezTo>
                  <a:pt x="2957" y="746"/>
                  <a:pt x="2960" y="748"/>
                  <a:pt x="2964" y="748"/>
                </a:cubicBezTo>
                <a:cubicBezTo>
                  <a:pt x="2971" y="749"/>
                  <a:pt x="2977" y="748"/>
                  <a:pt x="2980" y="739"/>
                </a:cubicBezTo>
                <a:cubicBezTo>
                  <a:pt x="2982" y="734"/>
                  <a:pt x="2982" y="729"/>
                  <a:pt x="2981" y="724"/>
                </a:cubicBezTo>
                <a:cubicBezTo>
                  <a:pt x="2980" y="722"/>
                  <a:pt x="2980" y="721"/>
                  <a:pt x="2979" y="719"/>
                </a:cubicBezTo>
                <a:cubicBezTo>
                  <a:pt x="2978" y="717"/>
                  <a:pt x="2977" y="717"/>
                  <a:pt x="2976" y="718"/>
                </a:cubicBezTo>
                <a:cubicBezTo>
                  <a:pt x="2974" y="720"/>
                  <a:pt x="2973" y="721"/>
                  <a:pt x="2971" y="722"/>
                </a:cubicBezTo>
                <a:cubicBezTo>
                  <a:pt x="2970" y="723"/>
                  <a:pt x="2969" y="723"/>
                  <a:pt x="2969" y="725"/>
                </a:cubicBezTo>
                <a:cubicBezTo>
                  <a:pt x="2970" y="728"/>
                  <a:pt x="2969" y="731"/>
                  <a:pt x="2968" y="734"/>
                </a:cubicBezTo>
                <a:cubicBezTo>
                  <a:pt x="2968" y="732"/>
                  <a:pt x="2969" y="730"/>
                  <a:pt x="2969" y="729"/>
                </a:cubicBezTo>
                <a:cubicBezTo>
                  <a:pt x="2969" y="728"/>
                  <a:pt x="2968" y="727"/>
                  <a:pt x="2968" y="727"/>
                </a:cubicBezTo>
                <a:cubicBezTo>
                  <a:pt x="2967" y="727"/>
                  <a:pt x="2967" y="727"/>
                  <a:pt x="2967" y="728"/>
                </a:cubicBezTo>
                <a:cubicBezTo>
                  <a:pt x="2966" y="729"/>
                  <a:pt x="2965" y="731"/>
                  <a:pt x="2964" y="732"/>
                </a:cubicBezTo>
                <a:cubicBezTo>
                  <a:pt x="2964" y="732"/>
                  <a:pt x="2964" y="732"/>
                  <a:pt x="2964" y="732"/>
                </a:cubicBezTo>
                <a:cubicBezTo>
                  <a:pt x="2964" y="730"/>
                  <a:pt x="2965" y="729"/>
                  <a:pt x="2965" y="726"/>
                </a:cubicBezTo>
                <a:cubicBezTo>
                  <a:pt x="2964" y="727"/>
                  <a:pt x="2964" y="727"/>
                  <a:pt x="2963" y="728"/>
                </a:cubicBezTo>
                <a:cubicBezTo>
                  <a:pt x="2962" y="729"/>
                  <a:pt x="2962" y="729"/>
                  <a:pt x="2962" y="730"/>
                </a:cubicBezTo>
                <a:cubicBezTo>
                  <a:pt x="2962" y="727"/>
                  <a:pt x="2962" y="727"/>
                  <a:pt x="2968" y="725"/>
                </a:cubicBezTo>
                <a:cubicBezTo>
                  <a:pt x="2968" y="725"/>
                  <a:pt x="2967" y="724"/>
                  <a:pt x="2967" y="724"/>
                </a:cubicBezTo>
                <a:cubicBezTo>
                  <a:pt x="2964" y="725"/>
                  <a:pt x="2964" y="723"/>
                  <a:pt x="2963" y="721"/>
                </a:cubicBezTo>
                <a:cubicBezTo>
                  <a:pt x="2965" y="721"/>
                  <a:pt x="2966" y="720"/>
                  <a:pt x="2968" y="720"/>
                </a:cubicBezTo>
                <a:cubicBezTo>
                  <a:pt x="2966" y="717"/>
                  <a:pt x="2965" y="715"/>
                  <a:pt x="2962" y="714"/>
                </a:cubicBezTo>
                <a:cubicBezTo>
                  <a:pt x="2961" y="714"/>
                  <a:pt x="2961" y="714"/>
                  <a:pt x="2961" y="714"/>
                </a:cubicBezTo>
                <a:cubicBezTo>
                  <a:pt x="2958" y="712"/>
                  <a:pt x="2956" y="709"/>
                  <a:pt x="2953" y="707"/>
                </a:cubicBezTo>
                <a:cubicBezTo>
                  <a:pt x="2951" y="706"/>
                  <a:pt x="2948" y="705"/>
                  <a:pt x="2946" y="705"/>
                </a:cubicBezTo>
                <a:cubicBezTo>
                  <a:pt x="2943" y="706"/>
                  <a:pt x="2940" y="707"/>
                  <a:pt x="2936" y="708"/>
                </a:cubicBezTo>
                <a:cubicBezTo>
                  <a:pt x="2934" y="709"/>
                  <a:pt x="2931" y="710"/>
                  <a:pt x="2929" y="714"/>
                </a:cubicBezTo>
                <a:cubicBezTo>
                  <a:pt x="2931" y="714"/>
                  <a:pt x="2932" y="714"/>
                  <a:pt x="2933" y="714"/>
                </a:cubicBezTo>
                <a:cubicBezTo>
                  <a:pt x="2933" y="714"/>
                  <a:pt x="2932" y="714"/>
                  <a:pt x="2931" y="714"/>
                </a:cubicBezTo>
                <a:cubicBezTo>
                  <a:pt x="2929" y="715"/>
                  <a:pt x="2926" y="714"/>
                  <a:pt x="2924" y="717"/>
                </a:cubicBezTo>
                <a:cubicBezTo>
                  <a:pt x="2921" y="721"/>
                  <a:pt x="2917" y="724"/>
                  <a:pt x="2913" y="729"/>
                </a:cubicBezTo>
                <a:cubicBezTo>
                  <a:pt x="2912" y="731"/>
                  <a:pt x="2911" y="733"/>
                  <a:pt x="2910" y="735"/>
                </a:cubicBezTo>
                <a:cubicBezTo>
                  <a:pt x="2910" y="736"/>
                  <a:pt x="2910" y="736"/>
                  <a:pt x="2910" y="737"/>
                </a:cubicBezTo>
                <a:cubicBezTo>
                  <a:pt x="2911" y="739"/>
                  <a:pt x="2913" y="741"/>
                  <a:pt x="2914" y="743"/>
                </a:cubicBezTo>
                <a:cubicBezTo>
                  <a:pt x="2915" y="741"/>
                  <a:pt x="2916" y="740"/>
                  <a:pt x="2918" y="738"/>
                </a:cubicBezTo>
                <a:cubicBezTo>
                  <a:pt x="2917" y="740"/>
                  <a:pt x="2917" y="741"/>
                  <a:pt x="2916" y="742"/>
                </a:cubicBezTo>
                <a:cubicBezTo>
                  <a:pt x="2915" y="744"/>
                  <a:pt x="2915" y="745"/>
                  <a:pt x="2914" y="746"/>
                </a:cubicBezTo>
                <a:cubicBezTo>
                  <a:pt x="2914" y="747"/>
                  <a:pt x="2914" y="748"/>
                  <a:pt x="2915" y="749"/>
                </a:cubicBezTo>
                <a:cubicBezTo>
                  <a:pt x="2917" y="753"/>
                  <a:pt x="2920" y="753"/>
                  <a:pt x="2924" y="751"/>
                </a:cubicBezTo>
                <a:cubicBezTo>
                  <a:pt x="2926" y="749"/>
                  <a:pt x="2929" y="748"/>
                  <a:pt x="2932" y="747"/>
                </a:cubicBezTo>
                <a:cubicBezTo>
                  <a:pt x="2933" y="747"/>
                  <a:pt x="2935" y="746"/>
                  <a:pt x="2935" y="744"/>
                </a:cubicBezTo>
                <a:cubicBezTo>
                  <a:pt x="2935" y="741"/>
                  <a:pt x="2935" y="738"/>
                  <a:pt x="2935" y="734"/>
                </a:cubicBezTo>
                <a:cubicBezTo>
                  <a:pt x="2935" y="731"/>
                  <a:pt x="2935" y="729"/>
                  <a:pt x="2935" y="725"/>
                </a:cubicBezTo>
                <a:cubicBezTo>
                  <a:pt x="2935" y="728"/>
                  <a:pt x="2936" y="731"/>
                  <a:pt x="2936" y="733"/>
                </a:cubicBezTo>
                <a:cubicBezTo>
                  <a:pt x="2937" y="738"/>
                  <a:pt x="2937" y="742"/>
                  <a:pt x="2936" y="747"/>
                </a:cubicBezTo>
                <a:cubicBezTo>
                  <a:pt x="2935" y="748"/>
                  <a:pt x="2935" y="748"/>
                  <a:pt x="2934" y="748"/>
                </a:cubicBezTo>
                <a:cubicBezTo>
                  <a:pt x="2931" y="749"/>
                  <a:pt x="2927" y="751"/>
                  <a:pt x="2924" y="752"/>
                </a:cubicBezTo>
                <a:cubicBezTo>
                  <a:pt x="2919" y="755"/>
                  <a:pt x="2916" y="754"/>
                  <a:pt x="2912" y="750"/>
                </a:cubicBezTo>
                <a:cubicBezTo>
                  <a:pt x="2912" y="749"/>
                  <a:pt x="2912" y="748"/>
                  <a:pt x="2912" y="748"/>
                </a:cubicBezTo>
                <a:cubicBezTo>
                  <a:pt x="2913" y="745"/>
                  <a:pt x="2912" y="743"/>
                  <a:pt x="2911" y="741"/>
                </a:cubicBezTo>
                <a:cubicBezTo>
                  <a:pt x="2909" y="739"/>
                  <a:pt x="2907" y="737"/>
                  <a:pt x="2909" y="734"/>
                </a:cubicBezTo>
                <a:cubicBezTo>
                  <a:pt x="2909" y="732"/>
                  <a:pt x="2910" y="731"/>
                  <a:pt x="2911" y="729"/>
                </a:cubicBezTo>
                <a:cubicBezTo>
                  <a:pt x="2913" y="726"/>
                  <a:pt x="2915" y="724"/>
                  <a:pt x="2917" y="721"/>
                </a:cubicBezTo>
                <a:cubicBezTo>
                  <a:pt x="2917" y="721"/>
                  <a:pt x="2916" y="721"/>
                  <a:pt x="2916" y="721"/>
                </a:cubicBezTo>
                <a:cubicBezTo>
                  <a:pt x="2911" y="722"/>
                  <a:pt x="2907" y="724"/>
                  <a:pt x="2903" y="727"/>
                </a:cubicBezTo>
                <a:cubicBezTo>
                  <a:pt x="2898" y="731"/>
                  <a:pt x="2895" y="736"/>
                  <a:pt x="2895" y="743"/>
                </a:cubicBezTo>
                <a:cubicBezTo>
                  <a:pt x="2895" y="750"/>
                  <a:pt x="2897" y="756"/>
                  <a:pt x="2900" y="762"/>
                </a:cubicBezTo>
                <a:cubicBezTo>
                  <a:pt x="2901" y="763"/>
                  <a:pt x="2902" y="764"/>
                  <a:pt x="2901" y="765"/>
                </a:cubicBezTo>
                <a:cubicBezTo>
                  <a:pt x="2901" y="767"/>
                  <a:pt x="2901" y="769"/>
                  <a:pt x="2900" y="770"/>
                </a:cubicBezTo>
                <a:cubicBezTo>
                  <a:pt x="2900" y="772"/>
                  <a:pt x="2900" y="773"/>
                  <a:pt x="2901" y="773"/>
                </a:cubicBezTo>
                <a:cubicBezTo>
                  <a:pt x="2904" y="774"/>
                  <a:pt x="2907" y="774"/>
                  <a:pt x="2910" y="774"/>
                </a:cubicBezTo>
                <a:cubicBezTo>
                  <a:pt x="2911" y="774"/>
                  <a:pt x="2911" y="774"/>
                  <a:pt x="2911" y="773"/>
                </a:cubicBezTo>
                <a:cubicBezTo>
                  <a:pt x="2912" y="772"/>
                  <a:pt x="2912" y="771"/>
                  <a:pt x="2913" y="770"/>
                </a:cubicBezTo>
                <a:cubicBezTo>
                  <a:pt x="2915" y="767"/>
                  <a:pt x="2915" y="765"/>
                  <a:pt x="2915" y="762"/>
                </a:cubicBezTo>
                <a:cubicBezTo>
                  <a:pt x="2915" y="761"/>
                  <a:pt x="2915" y="761"/>
                  <a:pt x="2915" y="761"/>
                </a:cubicBezTo>
                <a:cubicBezTo>
                  <a:pt x="2915" y="760"/>
                  <a:pt x="2915" y="760"/>
                  <a:pt x="2915" y="760"/>
                </a:cubicBezTo>
                <a:cubicBezTo>
                  <a:pt x="2915" y="763"/>
                  <a:pt x="2916" y="763"/>
                  <a:pt x="2918" y="763"/>
                </a:cubicBezTo>
                <a:cubicBezTo>
                  <a:pt x="2919" y="763"/>
                  <a:pt x="2920" y="763"/>
                  <a:pt x="2921" y="763"/>
                </a:cubicBezTo>
                <a:cubicBezTo>
                  <a:pt x="2924" y="763"/>
                  <a:pt x="2927" y="763"/>
                  <a:pt x="2927" y="759"/>
                </a:cubicBezTo>
                <a:cubicBezTo>
                  <a:pt x="2927" y="761"/>
                  <a:pt x="2927" y="763"/>
                  <a:pt x="2927" y="764"/>
                </a:cubicBezTo>
                <a:cubicBezTo>
                  <a:pt x="2926" y="765"/>
                  <a:pt x="2925" y="765"/>
                  <a:pt x="2924" y="766"/>
                </a:cubicBezTo>
                <a:cubicBezTo>
                  <a:pt x="2922" y="767"/>
                  <a:pt x="2922" y="768"/>
                  <a:pt x="2922" y="769"/>
                </a:cubicBezTo>
                <a:cubicBezTo>
                  <a:pt x="2924" y="771"/>
                  <a:pt x="2925" y="773"/>
                  <a:pt x="2926" y="775"/>
                </a:cubicBezTo>
                <a:cubicBezTo>
                  <a:pt x="2928" y="776"/>
                  <a:pt x="2930" y="776"/>
                  <a:pt x="2931" y="774"/>
                </a:cubicBezTo>
                <a:cubicBezTo>
                  <a:pt x="2932" y="774"/>
                  <a:pt x="2933" y="773"/>
                  <a:pt x="2933" y="773"/>
                </a:cubicBezTo>
                <a:cubicBezTo>
                  <a:pt x="2935" y="771"/>
                  <a:pt x="2936" y="770"/>
                  <a:pt x="2938" y="769"/>
                </a:cubicBezTo>
                <a:cubicBezTo>
                  <a:pt x="2942" y="764"/>
                  <a:pt x="2944" y="758"/>
                  <a:pt x="2946" y="752"/>
                </a:cubicBezTo>
                <a:cubicBezTo>
                  <a:pt x="2946" y="752"/>
                  <a:pt x="2945" y="751"/>
                  <a:pt x="2945" y="751"/>
                </a:cubicBezTo>
                <a:cubicBezTo>
                  <a:pt x="2944" y="750"/>
                  <a:pt x="2943" y="749"/>
                  <a:pt x="2942" y="748"/>
                </a:cubicBezTo>
                <a:close/>
                <a:moveTo>
                  <a:pt x="2895" y="754"/>
                </a:moveTo>
                <a:cubicBezTo>
                  <a:pt x="2894" y="755"/>
                  <a:pt x="2892" y="756"/>
                  <a:pt x="2891" y="757"/>
                </a:cubicBezTo>
                <a:cubicBezTo>
                  <a:pt x="2891" y="757"/>
                  <a:pt x="2890" y="758"/>
                  <a:pt x="2890" y="759"/>
                </a:cubicBezTo>
                <a:cubicBezTo>
                  <a:pt x="2890" y="762"/>
                  <a:pt x="2895" y="766"/>
                  <a:pt x="2898" y="766"/>
                </a:cubicBezTo>
                <a:cubicBezTo>
                  <a:pt x="2899" y="766"/>
                  <a:pt x="2900" y="765"/>
                  <a:pt x="2899" y="763"/>
                </a:cubicBezTo>
                <a:cubicBezTo>
                  <a:pt x="2898" y="760"/>
                  <a:pt x="2896" y="757"/>
                  <a:pt x="2895" y="754"/>
                </a:cubicBezTo>
                <a:close/>
                <a:moveTo>
                  <a:pt x="2947" y="756"/>
                </a:moveTo>
                <a:cubicBezTo>
                  <a:pt x="2945" y="761"/>
                  <a:pt x="2942" y="765"/>
                  <a:pt x="2940" y="770"/>
                </a:cubicBezTo>
                <a:cubicBezTo>
                  <a:pt x="2943" y="770"/>
                  <a:pt x="2945" y="770"/>
                  <a:pt x="2948" y="770"/>
                </a:cubicBezTo>
                <a:cubicBezTo>
                  <a:pt x="2948" y="770"/>
                  <a:pt x="2949" y="769"/>
                  <a:pt x="2949" y="768"/>
                </a:cubicBezTo>
                <a:cubicBezTo>
                  <a:pt x="2949" y="765"/>
                  <a:pt x="2949" y="763"/>
                  <a:pt x="2948" y="761"/>
                </a:cubicBezTo>
                <a:cubicBezTo>
                  <a:pt x="2948" y="759"/>
                  <a:pt x="2947" y="758"/>
                  <a:pt x="2947" y="756"/>
                </a:cubicBezTo>
                <a:close/>
                <a:moveTo>
                  <a:pt x="2895" y="736"/>
                </a:moveTo>
                <a:cubicBezTo>
                  <a:pt x="2894" y="736"/>
                  <a:pt x="2893" y="737"/>
                  <a:pt x="2893" y="737"/>
                </a:cubicBezTo>
                <a:cubicBezTo>
                  <a:pt x="2892" y="737"/>
                  <a:pt x="2891" y="737"/>
                  <a:pt x="2891" y="736"/>
                </a:cubicBezTo>
                <a:cubicBezTo>
                  <a:pt x="2891" y="736"/>
                  <a:pt x="2890" y="735"/>
                  <a:pt x="2890" y="734"/>
                </a:cubicBezTo>
                <a:cubicBezTo>
                  <a:pt x="2891" y="733"/>
                  <a:pt x="2891" y="731"/>
                  <a:pt x="2892" y="729"/>
                </a:cubicBezTo>
                <a:cubicBezTo>
                  <a:pt x="2892" y="729"/>
                  <a:pt x="2892" y="729"/>
                  <a:pt x="2891" y="729"/>
                </a:cubicBezTo>
                <a:cubicBezTo>
                  <a:pt x="2891" y="729"/>
                  <a:pt x="2889" y="730"/>
                  <a:pt x="2889" y="731"/>
                </a:cubicBezTo>
                <a:cubicBezTo>
                  <a:pt x="2888" y="733"/>
                  <a:pt x="2889" y="738"/>
                  <a:pt x="2891" y="738"/>
                </a:cubicBezTo>
                <a:cubicBezTo>
                  <a:pt x="2893" y="739"/>
                  <a:pt x="2895" y="738"/>
                  <a:pt x="2895" y="736"/>
                </a:cubicBezTo>
                <a:close/>
                <a:moveTo>
                  <a:pt x="2894" y="754"/>
                </a:moveTo>
                <a:cubicBezTo>
                  <a:pt x="2893" y="755"/>
                  <a:pt x="2892" y="756"/>
                  <a:pt x="2891" y="757"/>
                </a:cubicBezTo>
                <a:cubicBezTo>
                  <a:pt x="2890" y="757"/>
                  <a:pt x="2890" y="758"/>
                  <a:pt x="2890" y="759"/>
                </a:cubicBezTo>
                <a:cubicBezTo>
                  <a:pt x="2890" y="762"/>
                  <a:pt x="2894" y="766"/>
                  <a:pt x="2897" y="766"/>
                </a:cubicBezTo>
                <a:cubicBezTo>
                  <a:pt x="2899" y="766"/>
                  <a:pt x="2900" y="764"/>
                  <a:pt x="2899" y="763"/>
                </a:cubicBezTo>
                <a:cubicBezTo>
                  <a:pt x="2897" y="760"/>
                  <a:pt x="2896" y="757"/>
                  <a:pt x="2894" y="754"/>
                </a:cubicBezTo>
                <a:close/>
                <a:moveTo>
                  <a:pt x="2947" y="756"/>
                </a:moveTo>
                <a:cubicBezTo>
                  <a:pt x="2945" y="761"/>
                  <a:pt x="2942" y="766"/>
                  <a:pt x="2940" y="770"/>
                </a:cubicBezTo>
                <a:cubicBezTo>
                  <a:pt x="2943" y="770"/>
                  <a:pt x="2945" y="770"/>
                  <a:pt x="2948" y="770"/>
                </a:cubicBezTo>
                <a:cubicBezTo>
                  <a:pt x="2948" y="770"/>
                  <a:pt x="2948" y="769"/>
                  <a:pt x="2948" y="768"/>
                </a:cubicBezTo>
                <a:cubicBezTo>
                  <a:pt x="2948" y="766"/>
                  <a:pt x="2948" y="763"/>
                  <a:pt x="2948" y="761"/>
                </a:cubicBezTo>
                <a:cubicBezTo>
                  <a:pt x="2948" y="759"/>
                  <a:pt x="2947" y="758"/>
                  <a:pt x="2947" y="756"/>
                </a:cubicBezTo>
                <a:close/>
                <a:moveTo>
                  <a:pt x="2894" y="736"/>
                </a:moveTo>
                <a:cubicBezTo>
                  <a:pt x="2893" y="736"/>
                  <a:pt x="2893" y="737"/>
                  <a:pt x="2892" y="737"/>
                </a:cubicBezTo>
                <a:cubicBezTo>
                  <a:pt x="2891" y="737"/>
                  <a:pt x="2891" y="737"/>
                  <a:pt x="2891" y="736"/>
                </a:cubicBezTo>
                <a:cubicBezTo>
                  <a:pt x="2890" y="736"/>
                  <a:pt x="2890" y="735"/>
                  <a:pt x="2890" y="734"/>
                </a:cubicBezTo>
                <a:cubicBezTo>
                  <a:pt x="2891" y="732"/>
                  <a:pt x="2891" y="730"/>
                  <a:pt x="2892" y="729"/>
                </a:cubicBezTo>
                <a:cubicBezTo>
                  <a:pt x="2891" y="729"/>
                  <a:pt x="2891" y="729"/>
                  <a:pt x="2891" y="729"/>
                </a:cubicBezTo>
                <a:cubicBezTo>
                  <a:pt x="2890" y="729"/>
                  <a:pt x="2889" y="730"/>
                  <a:pt x="2888" y="731"/>
                </a:cubicBezTo>
                <a:cubicBezTo>
                  <a:pt x="2888" y="732"/>
                  <a:pt x="2889" y="738"/>
                  <a:pt x="2891" y="738"/>
                </a:cubicBezTo>
                <a:cubicBezTo>
                  <a:pt x="2892" y="739"/>
                  <a:pt x="2894" y="738"/>
                  <a:pt x="2894" y="736"/>
                </a:cubicBezTo>
                <a:close/>
                <a:moveTo>
                  <a:pt x="2947" y="728"/>
                </a:moveTo>
                <a:cubicBezTo>
                  <a:pt x="2950" y="724"/>
                  <a:pt x="2950" y="724"/>
                  <a:pt x="2953" y="723"/>
                </a:cubicBezTo>
                <a:cubicBezTo>
                  <a:pt x="2953" y="725"/>
                  <a:pt x="2955" y="726"/>
                  <a:pt x="2956" y="726"/>
                </a:cubicBezTo>
                <a:cubicBezTo>
                  <a:pt x="2954" y="727"/>
                  <a:pt x="2952" y="729"/>
                  <a:pt x="2950" y="730"/>
                </a:cubicBezTo>
                <a:cubicBezTo>
                  <a:pt x="2949" y="729"/>
                  <a:pt x="2949" y="728"/>
                  <a:pt x="2948" y="727"/>
                </a:cubicBezTo>
                <a:cubicBezTo>
                  <a:pt x="2948" y="727"/>
                  <a:pt x="2947" y="727"/>
                  <a:pt x="2947" y="728"/>
                </a:cubicBezTo>
                <a:close/>
                <a:moveTo>
                  <a:pt x="2952" y="727"/>
                </a:moveTo>
                <a:cubicBezTo>
                  <a:pt x="2952" y="727"/>
                  <a:pt x="2951" y="727"/>
                  <a:pt x="2950" y="727"/>
                </a:cubicBezTo>
                <a:cubicBezTo>
                  <a:pt x="2950" y="727"/>
                  <a:pt x="2949" y="727"/>
                  <a:pt x="2949" y="728"/>
                </a:cubicBezTo>
                <a:cubicBezTo>
                  <a:pt x="2949" y="728"/>
                  <a:pt x="2950" y="728"/>
                  <a:pt x="2950" y="729"/>
                </a:cubicBezTo>
                <a:cubicBezTo>
                  <a:pt x="2951" y="728"/>
                  <a:pt x="2951" y="728"/>
                  <a:pt x="2952" y="727"/>
                </a:cubicBezTo>
                <a:close/>
                <a:moveTo>
                  <a:pt x="2934" y="718"/>
                </a:moveTo>
                <a:cubicBezTo>
                  <a:pt x="2927" y="717"/>
                  <a:pt x="2924" y="719"/>
                  <a:pt x="2923" y="728"/>
                </a:cubicBezTo>
                <a:cubicBezTo>
                  <a:pt x="2924" y="726"/>
                  <a:pt x="2925" y="723"/>
                  <a:pt x="2927" y="721"/>
                </a:cubicBezTo>
                <a:cubicBezTo>
                  <a:pt x="2927" y="721"/>
                  <a:pt x="2927" y="721"/>
                  <a:pt x="2927" y="721"/>
                </a:cubicBezTo>
                <a:cubicBezTo>
                  <a:pt x="2927" y="722"/>
                  <a:pt x="2927" y="723"/>
                  <a:pt x="2927" y="723"/>
                </a:cubicBezTo>
                <a:cubicBezTo>
                  <a:pt x="2929" y="720"/>
                  <a:pt x="2930" y="718"/>
                  <a:pt x="2934" y="718"/>
                </a:cubicBezTo>
                <a:close/>
                <a:moveTo>
                  <a:pt x="2977" y="719"/>
                </a:moveTo>
                <a:cubicBezTo>
                  <a:pt x="2975" y="721"/>
                  <a:pt x="2973" y="722"/>
                  <a:pt x="2972" y="723"/>
                </a:cubicBezTo>
                <a:cubicBezTo>
                  <a:pt x="2974" y="724"/>
                  <a:pt x="2976" y="722"/>
                  <a:pt x="2977" y="719"/>
                </a:cubicBezTo>
                <a:close/>
                <a:moveTo>
                  <a:pt x="2944" y="721"/>
                </a:moveTo>
                <a:cubicBezTo>
                  <a:pt x="2945" y="720"/>
                  <a:pt x="2946" y="719"/>
                  <a:pt x="2948" y="717"/>
                </a:cubicBezTo>
                <a:cubicBezTo>
                  <a:pt x="2944" y="719"/>
                  <a:pt x="2943" y="719"/>
                  <a:pt x="2944" y="721"/>
                </a:cubicBezTo>
                <a:close/>
                <a:moveTo>
                  <a:pt x="2954" y="743"/>
                </a:moveTo>
                <a:cubicBezTo>
                  <a:pt x="2952" y="743"/>
                  <a:pt x="2951" y="744"/>
                  <a:pt x="2951" y="745"/>
                </a:cubicBezTo>
                <a:cubicBezTo>
                  <a:pt x="2952" y="744"/>
                  <a:pt x="2953" y="744"/>
                  <a:pt x="2954" y="743"/>
                </a:cubicBezTo>
                <a:close/>
                <a:moveTo>
                  <a:pt x="2952" y="727"/>
                </a:moveTo>
                <a:cubicBezTo>
                  <a:pt x="2952" y="727"/>
                  <a:pt x="2951" y="727"/>
                  <a:pt x="2951" y="727"/>
                </a:cubicBezTo>
                <a:cubicBezTo>
                  <a:pt x="2950" y="727"/>
                  <a:pt x="2949" y="727"/>
                  <a:pt x="2949" y="728"/>
                </a:cubicBezTo>
                <a:cubicBezTo>
                  <a:pt x="2949" y="728"/>
                  <a:pt x="2950" y="729"/>
                  <a:pt x="2950" y="729"/>
                </a:cubicBezTo>
                <a:cubicBezTo>
                  <a:pt x="2951" y="729"/>
                  <a:pt x="2951" y="728"/>
                  <a:pt x="2952" y="727"/>
                </a:cubicBezTo>
                <a:close/>
                <a:moveTo>
                  <a:pt x="3477" y="848"/>
                </a:moveTo>
                <a:cubicBezTo>
                  <a:pt x="3477" y="850"/>
                  <a:pt x="3478" y="851"/>
                  <a:pt x="3479" y="853"/>
                </a:cubicBezTo>
                <a:cubicBezTo>
                  <a:pt x="3479" y="854"/>
                  <a:pt x="3479" y="856"/>
                  <a:pt x="3480" y="858"/>
                </a:cubicBezTo>
                <a:cubicBezTo>
                  <a:pt x="3480" y="859"/>
                  <a:pt x="3480" y="861"/>
                  <a:pt x="3480" y="863"/>
                </a:cubicBezTo>
                <a:cubicBezTo>
                  <a:pt x="3481" y="866"/>
                  <a:pt x="3480" y="867"/>
                  <a:pt x="3477" y="867"/>
                </a:cubicBezTo>
                <a:cubicBezTo>
                  <a:pt x="3474" y="867"/>
                  <a:pt x="3471" y="867"/>
                  <a:pt x="3468" y="867"/>
                </a:cubicBezTo>
                <a:cubicBezTo>
                  <a:pt x="3468" y="867"/>
                  <a:pt x="3467" y="867"/>
                  <a:pt x="3467" y="867"/>
                </a:cubicBezTo>
                <a:cubicBezTo>
                  <a:pt x="3465" y="869"/>
                  <a:pt x="3464" y="870"/>
                  <a:pt x="3462" y="872"/>
                </a:cubicBezTo>
                <a:cubicBezTo>
                  <a:pt x="3461" y="874"/>
                  <a:pt x="3457" y="874"/>
                  <a:pt x="3455" y="872"/>
                </a:cubicBezTo>
                <a:cubicBezTo>
                  <a:pt x="3453" y="870"/>
                  <a:pt x="3452" y="868"/>
                  <a:pt x="3450" y="865"/>
                </a:cubicBezTo>
                <a:cubicBezTo>
                  <a:pt x="3450" y="863"/>
                  <a:pt x="3450" y="862"/>
                  <a:pt x="3452" y="860"/>
                </a:cubicBezTo>
                <a:cubicBezTo>
                  <a:pt x="3450" y="860"/>
                  <a:pt x="3448" y="860"/>
                  <a:pt x="3446" y="860"/>
                </a:cubicBezTo>
                <a:cubicBezTo>
                  <a:pt x="3446" y="862"/>
                  <a:pt x="3444" y="864"/>
                  <a:pt x="3444" y="866"/>
                </a:cubicBezTo>
                <a:cubicBezTo>
                  <a:pt x="3444" y="867"/>
                  <a:pt x="3443" y="868"/>
                  <a:pt x="3443" y="869"/>
                </a:cubicBezTo>
                <a:cubicBezTo>
                  <a:pt x="3443" y="872"/>
                  <a:pt x="3442" y="873"/>
                  <a:pt x="3439" y="872"/>
                </a:cubicBezTo>
                <a:cubicBezTo>
                  <a:pt x="3436" y="872"/>
                  <a:pt x="3433" y="871"/>
                  <a:pt x="3430" y="870"/>
                </a:cubicBezTo>
                <a:cubicBezTo>
                  <a:pt x="3428" y="870"/>
                  <a:pt x="3428" y="868"/>
                  <a:pt x="3428" y="866"/>
                </a:cubicBezTo>
                <a:cubicBezTo>
                  <a:pt x="3428" y="865"/>
                  <a:pt x="3428" y="865"/>
                  <a:pt x="3429" y="865"/>
                </a:cubicBezTo>
                <a:cubicBezTo>
                  <a:pt x="3426" y="863"/>
                  <a:pt x="3424" y="863"/>
                  <a:pt x="3422" y="861"/>
                </a:cubicBezTo>
                <a:cubicBezTo>
                  <a:pt x="3421" y="860"/>
                  <a:pt x="3420" y="858"/>
                  <a:pt x="3419" y="857"/>
                </a:cubicBezTo>
                <a:cubicBezTo>
                  <a:pt x="3418" y="855"/>
                  <a:pt x="3418" y="853"/>
                  <a:pt x="3420" y="851"/>
                </a:cubicBezTo>
                <a:cubicBezTo>
                  <a:pt x="3423" y="849"/>
                  <a:pt x="3424" y="846"/>
                  <a:pt x="3423" y="842"/>
                </a:cubicBezTo>
                <a:cubicBezTo>
                  <a:pt x="3423" y="840"/>
                  <a:pt x="3423" y="838"/>
                  <a:pt x="3423" y="836"/>
                </a:cubicBezTo>
                <a:cubicBezTo>
                  <a:pt x="3422" y="836"/>
                  <a:pt x="3420" y="835"/>
                  <a:pt x="3419" y="834"/>
                </a:cubicBezTo>
                <a:cubicBezTo>
                  <a:pt x="3418" y="832"/>
                  <a:pt x="3417" y="830"/>
                  <a:pt x="3417" y="829"/>
                </a:cubicBezTo>
                <a:cubicBezTo>
                  <a:pt x="3417" y="826"/>
                  <a:pt x="3421" y="823"/>
                  <a:pt x="3423" y="822"/>
                </a:cubicBezTo>
                <a:cubicBezTo>
                  <a:pt x="3424" y="823"/>
                  <a:pt x="3424" y="824"/>
                  <a:pt x="3424" y="825"/>
                </a:cubicBezTo>
                <a:cubicBezTo>
                  <a:pt x="3424" y="826"/>
                  <a:pt x="3424" y="827"/>
                  <a:pt x="3424" y="828"/>
                </a:cubicBezTo>
                <a:cubicBezTo>
                  <a:pt x="3424" y="827"/>
                  <a:pt x="3423" y="827"/>
                  <a:pt x="3423" y="827"/>
                </a:cubicBezTo>
                <a:cubicBezTo>
                  <a:pt x="3422" y="829"/>
                  <a:pt x="3422" y="830"/>
                  <a:pt x="3421" y="832"/>
                </a:cubicBezTo>
                <a:cubicBezTo>
                  <a:pt x="3422" y="831"/>
                  <a:pt x="3423" y="831"/>
                  <a:pt x="3424" y="831"/>
                </a:cubicBezTo>
                <a:cubicBezTo>
                  <a:pt x="3425" y="830"/>
                  <a:pt x="3426" y="829"/>
                  <a:pt x="3426" y="828"/>
                </a:cubicBezTo>
                <a:cubicBezTo>
                  <a:pt x="3431" y="821"/>
                  <a:pt x="3437" y="817"/>
                  <a:pt x="3444" y="815"/>
                </a:cubicBezTo>
                <a:cubicBezTo>
                  <a:pt x="3448" y="815"/>
                  <a:pt x="3451" y="814"/>
                  <a:pt x="3453" y="811"/>
                </a:cubicBezTo>
                <a:cubicBezTo>
                  <a:pt x="3453" y="811"/>
                  <a:pt x="3454" y="810"/>
                  <a:pt x="3454" y="810"/>
                </a:cubicBezTo>
                <a:cubicBezTo>
                  <a:pt x="3457" y="810"/>
                  <a:pt x="3459" y="808"/>
                  <a:pt x="3461" y="806"/>
                </a:cubicBezTo>
                <a:cubicBezTo>
                  <a:pt x="3468" y="798"/>
                  <a:pt x="3480" y="798"/>
                  <a:pt x="3488" y="804"/>
                </a:cubicBezTo>
                <a:cubicBezTo>
                  <a:pt x="3490" y="806"/>
                  <a:pt x="3493" y="808"/>
                  <a:pt x="3495" y="810"/>
                </a:cubicBezTo>
                <a:cubicBezTo>
                  <a:pt x="3497" y="811"/>
                  <a:pt x="3498" y="813"/>
                  <a:pt x="3499" y="815"/>
                </a:cubicBezTo>
                <a:cubicBezTo>
                  <a:pt x="3500" y="817"/>
                  <a:pt x="3501" y="817"/>
                  <a:pt x="3502" y="815"/>
                </a:cubicBezTo>
                <a:cubicBezTo>
                  <a:pt x="3502" y="815"/>
                  <a:pt x="3503" y="814"/>
                  <a:pt x="3504" y="813"/>
                </a:cubicBezTo>
                <a:cubicBezTo>
                  <a:pt x="3506" y="811"/>
                  <a:pt x="3509" y="811"/>
                  <a:pt x="3510" y="814"/>
                </a:cubicBezTo>
                <a:cubicBezTo>
                  <a:pt x="3511" y="817"/>
                  <a:pt x="3512" y="820"/>
                  <a:pt x="3513" y="823"/>
                </a:cubicBezTo>
                <a:cubicBezTo>
                  <a:pt x="3513" y="827"/>
                  <a:pt x="3513" y="832"/>
                  <a:pt x="3511" y="836"/>
                </a:cubicBezTo>
                <a:cubicBezTo>
                  <a:pt x="3509" y="842"/>
                  <a:pt x="3504" y="846"/>
                  <a:pt x="3498" y="846"/>
                </a:cubicBezTo>
                <a:cubicBezTo>
                  <a:pt x="3497" y="846"/>
                  <a:pt x="3497" y="846"/>
                  <a:pt x="3496" y="846"/>
                </a:cubicBezTo>
                <a:cubicBezTo>
                  <a:pt x="3493" y="846"/>
                  <a:pt x="3492" y="846"/>
                  <a:pt x="3491" y="848"/>
                </a:cubicBezTo>
                <a:cubicBezTo>
                  <a:pt x="3490" y="853"/>
                  <a:pt x="3484" y="854"/>
                  <a:pt x="3481" y="851"/>
                </a:cubicBezTo>
                <a:cubicBezTo>
                  <a:pt x="3480" y="850"/>
                  <a:pt x="3479" y="849"/>
                  <a:pt x="3478" y="848"/>
                </a:cubicBezTo>
                <a:cubicBezTo>
                  <a:pt x="3477" y="848"/>
                  <a:pt x="3477" y="848"/>
                  <a:pt x="3477" y="848"/>
                </a:cubicBezTo>
                <a:close/>
                <a:moveTo>
                  <a:pt x="3471" y="844"/>
                </a:moveTo>
                <a:cubicBezTo>
                  <a:pt x="3475" y="846"/>
                  <a:pt x="3479" y="847"/>
                  <a:pt x="3481" y="850"/>
                </a:cubicBezTo>
                <a:cubicBezTo>
                  <a:pt x="3483" y="851"/>
                  <a:pt x="3485" y="852"/>
                  <a:pt x="3487" y="851"/>
                </a:cubicBezTo>
                <a:cubicBezTo>
                  <a:pt x="3490" y="850"/>
                  <a:pt x="3491" y="848"/>
                  <a:pt x="3491" y="845"/>
                </a:cubicBezTo>
                <a:cubicBezTo>
                  <a:pt x="3491" y="846"/>
                  <a:pt x="3490" y="846"/>
                  <a:pt x="3490" y="846"/>
                </a:cubicBezTo>
                <a:cubicBezTo>
                  <a:pt x="3490" y="848"/>
                  <a:pt x="3488" y="848"/>
                  <a:pt x="3488" y="850"/>
                </a:cubicBezTo>
                <a:cubicBezTo>
                  <a:pt x="3486" y="851"/>
                  <a:pt x="3485" y="850"/>
                  <a:pt x="3484" y="850"/>
                </a:cubicBezTo>
                <a:cubicBezTo>
                  <a:pt x="3484" y="850"/>
                  <a:pt x="3483" y="849"/>
                  <a:pt x="3483" y="848"/>
                </a:cubicBezTo>
                <a:cubicBezTo>
                  <a:pt x="3483" y="846"/>
                  <a:pt x="3484" y="844"/>
                  <a:pt x="3484" y="842"/>
                </a:cubicBezTo>
                <a:cubicBezTo>
                  <a:pt x="3487" y="842"/>
                  <a:pt x="3490" y="844"/>
                  <a:pt x="3494" y="844"/>
                </a:cubicBezTo>
                <a:cubicBezTo>
                  <a:pt x="3501" y="845"/>
                  <a:pt x="3507" y="844"/>
                  <a:pt x="3510" y="835"/>
                </a:cubicBezTo>
                <a:cubicBezTo>
                  <a:pt x="3512" y="830"/>
                  <a:pt x="3511" y="825"/>
                  <a:pt x="3511" y="820"/>
                </a:cubicBezTo>
                <a:cubicBezTo>
                  <a:pt x="3510" y="818"/>
                  <a:pt x="3510" y="817"/>
                  <a:pt x="3509" y="815"/>
                </a:cubicBezTo>
                <a:cubicBezTo>
                  <a:pt x="3508" y="813"/>
                  <a:pt x="3507" y="813"/>
                  <a:pt x="3506" y="814"/>
                </a:cubicBezTo>
                <a:cubicBezTo>
                  <a:pt x="3504" y="816"/>
                  <a:pt x="3502" y="817"/>
                  <a:pt x="3501" y="818"/>
                </a:cubicBezTo>
                <a:cubicBezTo>
                  <a:pt x="3500" y="819"/>
                  <a:pt x="3499" y="819"/>
                  <a:pt x="3499" y="821"/>
                </a:cubicBezTo>
                <a:cubicBezTo>
                  <a:pt x="3500" y="824"/>
                  <a:pt x="3499" y="827"/>
                  <a:pt x="3498" y="830"/>
                </a:cubicBezTo>
                <a:cubicBezTo>
                  <a:pt x="3498" y="828"/>
                  <a:pt x="3499" y="826"/>
                  <a:pt x="3499" y="825"/>
                </a:cubicBezTo>
                <a:cubicBezTo>
                  <a:pt x="3499" y="824"/>
                  <a:pt x="3498" y="823"/>
                  <a:pt x="3498" y="823"/>
                </a:cubicBezTo>
                <a:cubicBezTo>
                  <a:pt x="3497" y="823"/>
                  <a:pt x="3497" y="823"/>
                  <a:pt x="3497" y="824"/>
                </a:cubicBezTo>
                <a:cubicBezTo>
                  <a:pt x="3496" y="825"/>
                  <a:pt x="3495" y="827"/>
                  <a:pt x="3494" y="828"/>
                </a:cubicBezTo>
                <a:cubicBezTo>
                  <a:pt x="3494" y="828"/>
                  <a:pt x="3494" y="828"/>
                  <a:pt x="3494" y="828"/>
                </a:cubicBezTo>
                <a:cubicBezTo>
                  <a:pt x="3494" y="826"/>
                  <a:pt x="3495" y="825"/>
                  <a:pt x="3495" y="822"/>
                </a:cubicBezTo>
                <a:cubicBezTo>
                  <a:pt x="3494" y="823"/>
                  <a:pt x="3493" y="823"/>
                  <a:pt x="3493" y="824"/>
                </a:cubicBezTo>
                <a:cubicBezTo>
                  <a:pt x="3492" y="825"/>
                  <a:pt x="3492" y="825"/>
                  <a:pt x="3491" y="826"/>
                </a:cubicBezTo>
                <a:cubicBezTo>
                  <a:pt x="3492" y="823"/>
                  <a:pt x="3492" y="823"/>
                  <a:pt x="3498" y="821"/>
                </a:cubicBezTo>
                <a:cubicBezTo>
                  <a:pt x="3498" y="821"/>
                  <a:pt x="3497" y="820"/>
                  <a:pt x="3497" y="820"/>
                </a:cubicBezTo>
                <a:cubicBezTo>
                  <a:pt x="3494" y="821"/>
                  <a:pt x="3493" y="819"/>
                  <a:pt x="3493" y="817"/>
                </a:cubicBezTo>
                <a:cubicBezTo>
                  <a:pt x="3495" y="817"/>
                  <a:pt x="3496" y="816"/>
                  <a:pt x="3498" y="816"/>
                </a:cubicBezTo>
                <a:cubicBezTo>
                  <a:pt x="3496" y="813"/>
                  <a:pt x="3495" y="811"/>
                  <a:pt x="3491" y="810"/>
                </a:cubicBezTo>
                <a:cubicBezTo>
                  <a:pt x="3491" y="810"/>
                  <a:pt x="3491" y="810"/>
                  <a:pt x="3491" y="810"/>
                </a:cubicBezTo>
                <a:cubicBezTo>
                  <a:pt x="3488" y="808"/>
                  <a:pt x="3486" y="805"/>
                  <a:pt x="3483" y="803"/>
                </a:cubicBezTo>
                <a:cubicBezTo>
                  <a:pt x="3481" y="802"/>
                  <a:pt x="3478" y="801"/>
                  <a:pt x="3476" y="801"/>
                </a:cubicBezTo>
                <a:cubicBezTo>
                  <a:pt x="3473" y="802"/>
                  <a:pt x="3470" y="803"/>
                  <a:pt x="3466" y="804"/>
                </a:cubicBezTo>
                <a:cubicBezTo>
                  <a:pt x="3464" y="805"/>
                  <a:pt x="3461" y="806"/>
                  <a:pt x="3459" y="810"/>
                </a:cubicBezTo>
                <a:cubicBezTo>
                  <a:pt x="3461" y="810"/>
                  <a:pt x="3462" y="810"/>
                  <a:pt x="3463" y="810"/>
                </a:cubicBezTo>
                <a:cubicBezTo>
                  <a:pt x="3463" y="810"/>
                  <a:pt x="3462" y="810"/>
                  <a:pt x="3461" y="810"/>
                </a:cubicBezTo>
                <a:cubicBezTo>
                  <a:pt x="3459" y="811"/>
                  <a:pt x="3456" y="810"/>
                  <a:pt x="3454" y="813"/>
                </a:cubicBezTo>
                <a:cubicBezTo>
                  <a:pt x="3451" y="817"/>
                  <a:pt x="3447" y="820"/>
                  <a:pt x="3443" y="825"/>
                </a:cubicBezTo>
                <a:cubicBezTo>
                  <a:pt x="3442" y="827"/>
                  <a:pt x="3441" y="829"/>
                  <a:pt x="3440" y="831"/>
                </a:cubicBezTo>
                <a:cubicBezTo>
                  <a:pt x="3440" y="832"/>
                  <a:pt x="3440" y="832"/>
                  <a:pt x="3440" y="833"/>
                </a:cubicBezTo>
                <a:cubicBezTo>
                  <a:pt x="3441" y="835"/>
                  <a:pt x="3442" y="837"/>
                  <a:pt x="3444" y="839"/>
                </a:cubicBezTo>
                <a:cubicBezTo>
                  <a:pt x="3445" y="837"/>
                  <a:pt x="3446" y="836"/>
                  <a:pt x="3448" y="834"/>
                </a:cubicBezTo>
                <a:cubicBezTo>
                  <a:pt x="3447" y="836"/>
                  <a:pt x="3447" y="837"/>
                  <a:pt x="3446" y="838"/>
                </a:cubicBezTo>
                <a:cubicBezTo>
                  <a:pt x="3445" y="840"/>
                  <a:pt x="3444" y="841"/>
                  <a:pt x="3444" y="842"/>
                </a:cubicBezTo>
                <a:cubicBezTo>
                  <a:pt x="3444" y="843"/>
                  <a:pt x="3444" y="844"/>
                  <a:pt x="3444" y="845"/>
                </a:cubicBezTo>
                <a:cubicBezTo>
                  <a:pt x="3447" y="849"/>
                  <a:pt x="3450" y="849"/>
                  <a:pt x="3454" y="847"/>
                </a:cubicBezTo>
                <a:cubicBezTo>
                  <a:pt x="3456" y="845"/>
                  <a:pt x="3459" y="844"/>
                  <a:pt x="3462" y="843"/>
                </a:cubicBezTo>
                <a:cubicBezTo>
                  <a:pt x="3463" y="843"/>
                  <a:pt x="3464" y="842"/>
                  <a:pt x="3464" y="840"/>
                </a:cubicBezTo>
                <a:cubicBezTo>
                  <a:pt x="3464" y="837"/>
                  <a:pt x="3464" y="834"/>
                  <a:pt x="3464" y="830"/>
                </a:cubicBezTo>
                <a:cubicBezTo>
                  <a:pt x="3464" y="827"/>
                  <a:pt x="3464" y="825"/>
                  <a:pt x="3464" y="821"/>
                </a:cubicBezTo>
                <a:cubicBezTo>
                  <a:pt x="3465" y="824"/>
                  <a:pt x="3466" y="827"/>
                  <a:pt x="3466" y="829"/>
                </a:cubicBezTo>
                <a:cubicBezTo>
                  <a:pt x="3467" y="834"/>
                  <a:pt x="3467" y="838"/>
                  <a:pt x="3466" y="843"/>
                </a:cubicBezTo>
                <a:cubicBezTo>
                  <a:pt x="3465" y="844"/>
                  <a:pt x="3464" y="844"/>
                  <a:pt x="3464" y="844"/>
                </a:cubicBezTo>
                <a:cubicBezTo>
                  <a:pt x="3461" y="845"/>
                  <a:pt x="3457" y="847"/>
                  <a:pt x="3454" y="848"/>
                </a:cubicBezTo>
                <a:cubicBezTo>
                  <a:pt x="3449" y="851"/>
                  <a:pt x="3446" y="850"/>
                  <a:pt x="3442" y="846"/>
                </a:cubicBezTo>
                <a:cubicBezTo>
                  <a:pt x="3442" y="845"/>
                  <a:pt x="3442" y="844"/>
                  <a:pt x="3442" y="844"/>
                </a:cubicBezTo>
                <a:cubicBezTo>
                  <a:pt x="3443" y="841"/>
                  <a:pt x="3442" y="839"/>
                  <a:pt x="3441" y="837"/>
                </a:cubicBezTo>
                <a:cubicBezTo>
                  <a:pt x="3439" y="835"/>
                  <a:pt x="3437" y="833"/>
                  <a:pt x="3439" y="830"/>
                </a:cubicBezTo>
                <a:cubicBezTo>
                  <a:pt x="3439" y="828"/>
                  <a:pt x="3440" y="827"/>
                  <a:pt x="3441" y="825"/>
                </a:cubicBezTo>
                <a:cubicBezTo>
                  <a:pt x="3443" y="822"/>
                  <a:pt x="3445" y="820"/>
                  <a:pt x="3447" y="817"/>
                </a:cubicBezTo>
                <a:cubicBezTo>
                  <a:pt x="3447" y="817"/>
                  <a:pt x="3446" y="817"/>
                  <a:pt x="3446" y="817"/>
                </a:cubicBezTo>
                <a:cubicBezTo>
                  <a:pt x="3441" y="818"/>
                  <a:pt x="3437" y="820"/>
                  <a:pt x="3433" y="823"/>
                </a:cubicBezTo>
                <a:cubicBezTo>
                  <a:pt x="3428" y="827"/>
                  <a:pt x="3425" y="832"/>
                  <a:pt x="3425" y="839"/>
                </a:cubicBezTo>
                <a:cubicBezTo>
                  <a:pt x="3424" y="846"/>
                  <a:pt x="3427" y="852"/>
                  <a:pt x="3430" y="858"/>
                </a:cubicBezTo>
                <a:cubicBezTo>
                  <a:pt x="3431" y="859"/>
                  <a:pt x="3431" y="860"/>
                  <a:pt x="3431" y="861"/>
                </a:cubicBezTo>
                <a:cubicBezTo>
                  <a:pt x="3431" y="863"/>
                  <a:pt x="3431" y="865"/>
                  <a:pt x="3430" y="866"/>
                </a:cubicBezTo>
                <a:cubicBezTo>
                  <a:pt x="3430" y="868"/>
                  <a:pt x="3430" y="869"/>
                  <a:pt x="3431" y="869"/>
                </a:cubicBezTo>
                <a:cubicBezTo>
                  <a:pt x="3434" y="870"/>
                  <a:pt x="3437" y="870"/>
                  <a:pt x="3440" y="870"/>
                </a:cubicBezTo>
                <a:cubicBezTo>
                  <a:pt x="3441" y="870"/>
                  <a:pt x="3441" y="870"/>
                  <a:pt x="3441" y="869"/>
                </a:cubicBezTo>
                <a:cubicBezTo>
                  <a:pt x="3442" y="868"/>
                  <a:pt x="3442" y="867"/>
                  <a:pt x="3442" y="866"/>
                </a:cubicBezTo>
                <a:cubicBezTo>
                  <a:pt x="3444" y="863"/>
                  <a:pt x="3444" y="861"/>
                  <a:pt x="3444" y="858"/>
                </a:cubicBezTo>
                <a:cubicBezTo>
                  <a:pt x="3444" y="857"/>
                  <a:pt x="3444" y="857"/>
                  <a:pt x="3444" y="857"/>
                </a:cubicBezTo>
                <a:cubicBezTo>
                  <a:pt x="3444" y="856"/>
                  <a:pt x="3444" y="856"/>
                  <a:pt x="3444" y="856"/>
                </a:cubicBezTo>
                <a:cubicBezTo>
                  <a:pt x="3445" y="859"/>
                  <a:pt x="3446" y="859"/>
                  <a:pt x="3448" y="859"/>
                </a:cubicBezTo>
                <a:cubicBezTo>
                  <a:pt x="3449" y="859"/>
                  <a:pt x="3450" y="859"/>
                  <a:pt x="3451" y="859"/>
                </a:cubicBezTo>
                <a:cubicBezTo>
                  <a:pt x="3453" y="859"/>
                  <a:pt x="3457" y="859"/>
                  <a:pt x="3457" y="855"/>
                </a:cubicBezTo>
                <a:cubicBezTo>
                  <a:pt x="3457" y="857"/>
                  <a:pt x="3457" y="859"/>
                  <a:pt x="3457" y="860"/>
                </a:cubicBezTo>
                <a:cubicBezTo>
                  <a:pt x="3456" y="861"/>
                  <a:pt x="3455" y="861"/>
                  <a:pt x="3453" y="862"/>
                </a:cubicBezTo>
                <a:cubicBezTo>
                  <a:pt x="3452" y="863"/>
                  <a:pt x="3451" y="864"/>
                  <a:pt x="3452" y="865"/>
                </a:cubicBezTo>
                <a:cubicBezTo>
                  <a:pt x="3453" y="867"/>
                  <a:pt x="3455" y="869"/>
                  <a:pt x="3456" y="871"/>
                </a:cubicBezTo>
                <a:cubicBezTo>
                  <a:pt x="3458" y="872"/>
                  <a:pt x="3460" y="872"/>
                  <a:pt x="3461" y="870"/>
                </a:cubicBezTo>
                <a:cubicBezTo>
                  <a:pt x="3462" y="870"/>
                  <a:pt x="3462" y="869"/>
                  <a:pt x="3463" y="869"/>
                </a:cubicBezTo>
                <a:cubicBezTo>
                  <a:pt x="3465" y="867"/>
                  <a:pt x="3466" y="866"/>
                  <a:pt x="3468" y="865"/>
                </a:cubicBezTo>
                <a:cubicBezTo>
                  <a:pt x="3472" y="860"/>
                  <a:pt x="3474" y="854"/>
                  <a:pt x="3476" y="848"/>
                </a:cubicBezTo>
                <a:cubicBezTo>
                  <a:pt x="3476" y="848"/>
                  <a:pt x="3475" y="847"/>
                  <a:pt x="3475" y="847"/>
                </a:cubicBezTo>
                <a:cubicBezTo>
                  <a:pt x="3474" y="846"/>
                  <a:pt x="3473" y="845"/>
                  <a:pt x="3471" y="844"/>
                </a:cubicBezTo>
                <a:close/>
                <a:moveTo>
                  <a:pt x="3424" y="850"/>
                </a:moveTo>
                <a:cubicBezTo>
                  <a:pt x="3424" y="851"/>
                  <a:pt x="3422" y="852"/>
                  <a:pt x="3421" y="853"/>
                </a:cubicBezTo>
                <a:cubicBezTo>
                  <a:pt x="3421" y="853"/>
                  <a:pt x="3420" y="854"/>
                  <a:pt x="3420" y="855"/>
                </a:cubicBezTo>
                <a:cubicBezTo>
                  <a:pt x="3420" y="858"/>
                  <a:pt x="3424" y="862"/>
                  <a:pt x="3428" y="862"/>
                </a:cubicBezTo>
                <a:cubicBezTo>
                  <a:pt x="3429" y="862"/>
                  <a:pt x="3430" y="861"/>
                  <a:pt x="3429" y="859"/>
                </a:cubicBezTo>
                <a:cubicBezTo>
                  <a:pt x="3428" y="856"/>
                  <a:pt x="3426" y="853"/>
                  <a:pt x="3424" y="850"/>
                </a:cubicBezTo>
                <a:close/>
                <a:moveTo>
                  <a:pt x="3477" y="852"/>
                </a:moveTo>
                <a:cubicBezTo>
                  <a:pt x="3475" y="857"/>
                  <a:pt x="3472" y="861"/>
                  <a:pt x="3470" y="866"/>
                </a:cubicBezTo>
                <a:cubicBezTo>
                  <a:pt x="3473" y="866"/>
                  <a:pt x="3475" y="866"/>
                  <a:pt x="3478" y="866"/>
                </a:cubicBezTo>
                <a:cubicBezTo>
                  <a:pt x="3478" y="866"/>
                  <a:pt x="3479" y="865"/>
                  <a:pt x="3479" y="864"/>
                </a:cubicBezTo>
                <a:cubicBezTo>
                  <a:pt x="3479" y="861"/>
                  <a:pt x="3479" y="859"/>
                  <a:pt x="3478" y="857"/>
                </a:cubicBezTo>
                <a:cubicBezTo>
                  <a:pt x="3478" y="855"/>
                  <a:pt x="3477" y="854"/>
                  <a:pt x="3477" y="852"/>
                </a:cubicBezTo>
                <a:close/>
                <a:moveTo>
                  <a:pt x="3424" y="832"/>
                </a:moveTo>
                <a:cubicBezTo>
                  <a:pt x="3424" y="832"/>
                  <a:pt x="3423" y="833"/>
                  <a:pt x="3422" y="833"/>
                </a:cubicBezTo>
                <a:cubicBezTo>
                  <a:pt x="3422" y="833"/>
                  <a:pt x="3421" y="833"/>
                  <a:pt x="3421" y="832"/>
                </a:cubicBezTo>
                <a:cubicBezTo>
                  <a:pt x="3421" y="832"/>
                  <a:pt x="3420" y="831"/>
                  <a:pt x="3420" y="830"/>
                </a:cubicBezTo>
                <a:cubicBezTo>
                  <a:pt x="3421" y="829"/>
                  <a:pt x="3421" y="827"/>
                  <a:pt x="3422" y="825"/>
                </a:cubicBezTo>
                <a:cubicBezTo>
                  <a:pt x="3422" y="825"/>
                  <a:pt x="3422" y="825"/>
                  <a:pt x="3421" y="825"/>
                </a:cubicBezTo>
                <a:cubicBezTo>
                  <a:pt x="3421" y="825"/>
                  <a:pt x="3419" y="826"/>
                  <a:pt x="3419" y="827"/>
                </a:cubicBezTo>
                <a:cubicBezTo>
                  <a:pt x="3418" y="829"/>
                  <a:pt x="3419" y="834"/>
                  <a:pt x="3421" y="834"/>
                </a:cubicBezTo>
                <a:cubicBezTo>
                  <a:pt x="3422" y="835"/>
                  <a:pt x="3424" y="834"/>
                  <a:pt x="3424" y="832"/>
                </a:cubicBezTo>
                <a:close/>
                <a:moveTo>
                  <a:pt x="3424" y="850"/>
                </a:moveTo>
                <a:cubicBezTo>
                  <a:pt x="3423" y="851"/>
                  <a:pt x="3422" y="852"/>
                  <a:pt x="3421" y="853"/>
                </a:cubicBezTo>
                <a:cubicBezTo>
                  <a:pt x="3420" y="853"/>
                  <a:pt x="3420" y="854"/>
                  <a:pt x="3420" y="855"/>
                </a:cubicBezTo>
                <a:cubicBezTo>
                  <a:pt x="3420" y="858"/>
                  <a:pt x="3424" y="862"/>
                  <a:pt x="3428" y="862"/>
                </a:cubicBezTo>
                <a:cubicBezTo>
                  <a:pt x="3429" y="862"/>
                  <a:pt x="3430" y="860"/>
                  <a:pt x="3429" y="859"/>
                </a:cubicBezTo>
                <a:cubicBezTo>
                  <a:pt x="3428" y="856"/>
                  <a:pt x="3426" y="853"/>
                  <a:pt x="3424" y="850"/>
                </a:cubicBezTo>
                <a:close/>
                <a:moveTo>
                  <a:pt x="3477" y="852"/>
                </a:moveTo>
                <a:cubicBezTo>
                  <a:pt x="3474" y="857"/>
                  <a:pt x="3472" y="862"/>
                  <a:pt x="3470" y="866"/>
                </a:cubicBezTo>
                <a:cubicBezTo>
                  <a:pt x="3473" y="866"/>
                  <a:pt x="3475" y="866"/>
                  <a:pt x="3478" y="866"/>
                </a:cubicBezTo>
                <a:cubicBezTo>
                  <a:pt x="3478" y="866"/>
                  <a:pt x="3478" y="865"/>
                  <a:pt x="3478" y="864"/>
                </a:cubicBezTo>
                <a:cubicBezTo>
                  <a:pt x="3478" y="862"/>
                  <a:pt x="3478" y="859"/>
                  <a:pt x="3478" y="857"/>
                </a:cubicBezTo>
                <a:cubicBezTo>
                  <a:pt x="3478" y="855"/>
                  <a:pt x="3477" y="854"/>
                  <a:pt x="3477" y="852"/>
                </a:cubicBezTo>
                <a:close/>
                <a:moveTo>
                  <a:pt x="3424" y="832"/>
                </a:moveTo>
                <a:cubicBezTo>
                  <a:pt x="3423" y="832"/>
                  <a:pt x="3423" y="833"/>
                  <a:pt x="3422" y="833"/>
                </a:cubicBezTo>
                <a:cubicBezTo>
                  <a:pt x="3421" y="833"/>
                  <a:pt x="3421" y="833"/>
                  <a:pt x="3421" y="832"/>
                </a:cubicBezTo>
                <a:cubicBezTo>
                  <a:pt x="3420" y="832"/>
                  <a:pt x="3420" y="831"/>
                  <a:pt x="3420" y="830"/>
                </a:cubicBezTo>
                <a:cubicBezTo>
                  <a:pt x="3421" y="828"/>
                  <a:pt x="3421" y="826"/>
                  <a:pt x="3422" y="825"/>
                </a:cubicBezTo>
                <a:cubicBezTo>
                  <a:pt x="3421" y="825"/>
                  <a:pt x="3421" y="825"/>
                  <a:pt x="3421" y="825"/>
                </a:cubicBezTo>
                <a:cubicBezTo>
                  <a:pt x="3420" y="825"/>
                  <a:pt x="3419" y="826"/>
                  <a:pt x="3418" y="827"/>
                </a:cubicBezTo>
                <a:cubicBezTo>
                  <a:pt x="3417" y="828"/>
                  <a:pt x="3419" y="834"/>
                  <a:pt x="3421" y="834"/>
                </a:cubicBezTo>
                <a:cubicBezTo>
                  <a:pt x="3422" y="835"/>
                  <a:pt x="3424" y="834"/>
                  <a:pt x="3424" y="832"/>
                </a:cubicBezTo>
                <a:close/>
                <a:moveTo>
                  <a:pt x="3476" y="824"/>
                </a:moveTo>
                <a:cubicBezTo>
                  <a:pt x="3480" y="820"/>
                  <a:pt x="3480" y="820"/>
                  <a:pt x="3483" y="819"/>
                </a:cubicBezTo>
                <a:cubicBezTo>
                  <a:pt x="3483" y="821"/>
                  <a:pt x="3485" y="822"/>
                  <a:pt x="3486" y="822"/>
                </a:cubicBezTo>
                <a:cubicBezTo>
                  <a:pt x="3484" y="823"/>
                  <a:pt x="3482" y="825"/>
                  <a:pt x="3480" y="826"/>
                </a:cubicBezTo>
                <a:cubicBezTo>
                  <a:pt x="3479" y="825"/>
                  <a:pt x="3479" y="824"/>
                  <a:pt x="3478" y="823"/>
                </a:cubicBezTo>
                <a:cubicBezTo>
                  <a:pt x="3478" y="823"/>
                  <a:pt x="3477" y="823"/>
                  <a:pt x="3476" y="824"/>
                </a:cubicBezTo>
                <a:close/>
                <a:moveTo>
                  <a:pt x="3482" y="823"/>
                </a:moveTo>
                <a:cubicBezTo>
                  <a:pt x="3481" y="823"/>
                  <a:pt x="3481" y="822"/>
                  <a:pt x="3480" y="822"/>
                </a:cubicBezTo>
                <a:cubicBezTo>
                  <a:pt x="3480" y="822"/>
                  <a:pt x="3479" y="823"/>
                  <a:pt x="3479" y="824"/>
                </a:cubicBezTo>
                <a:cubicBezTo>
                  <a:pt x="3479" y="824"/>
                  <a:pt x="3480" y="824"/>
                  <a:pt x="3480" y="825"/>
                </a:cubicBezTo>
                <a:cubicBezTo>
                  <a:pt x="3481" y="824"/>
                  <a:pt x="3481" y="824"/>
                  <a:pt x="3482" y="823"/>
                </a:cubicBezTo>
                <a:close/>
                <a:moveTo>
                  <a:pt x="3464" y="814"/>
                </a:moveTo>
                <a:cubicBezTo>
                  <a:pt x="3457" y="813"/>
                  <a:pt x="3454" y="815"/>
                  <a:pt x="3453" y="823"/>
                </a:cubicBezTo>
                <a:cubicBezTo>
                  <a:pt x="3454" y="821"/>
                  <a:pt x="3455" y="819"/>
                  <a:pt x="3456" y="816"/>
                </a:cubicBezTo>
                <a:cubicBezTo>
                  <a:pt x="3457" y="816"/>
                  <a:pt x="3457" y="816"/>
                  <a:pt x="3457" y="816"/>
                </a:cubicBezTo>
                <a:cubicBezTo>
                  <a:pt x="3457" y="818"/>
                  <a:pt x="3457" y="818"/>
                  <a:pt x="3457" y="819"/>
                </a:cubicBezTo>
                <a:cubicBezTo>
                  <a:pt x="3458" y="816"/>
                  <a:pt x="3460" y="814"/>
                  <a:pt x="3464" y="814"/>
                </a:cubicBezTo>
                <a:close/>
                <a:moveTo>
                  <a:pt x="3507" y="815"/>
                </a:moveTo>
                <a:cubicBezTo>
                  <a:pt x="3505" y="817"/>
                  <a:pt x="3503" y="818"/>
                  <a:pt x="3501" y="819"/>
                </a:cubicBezTo>
                <a:cubicBezTo>
                  <a:pt x="3504" y="820"/>
                  <a:pt x="3506" y="818"/>
                  <a:pt x="3507" y="815"/>
                </a:cubicBezTo>
                <a:close/>
                <a:moveTo>
                  <a:pt x="3474" y="817"/>
                </a:moveTo>
                <a:cubicBezTo>
                  <a:pt x="3475" y="816"/>
                  <a:pt x="3476" y="815"/>
                  <a:pt x="3477" y="813"/>
                </a:cubicBezTo>
                <a:cubicBezTo>
                  <a:pt x="3474" y="815"/>
                  <a:pt x="3473" y="815"/>
                  <a:pt x="3474" y="817"/>
                </a:cubicBezTo>
                <a:close/>
                <a:moveTo>
                  <a:pt x="3484" y="839"/>
                </a:moveTo>
                <a:cubicBezTo>
                  <a:pt x="3482" y="839"/>
                  <a:pt x="3481" y="840"/>
                  <a:pt x="3481" y="841"/>
                </a:cubicBezTo>
                <a:cubicBezTo>
                  <a:pt x="3482" y="840"/>
                  <a:pt x="3483" y="840"/>
                  <a:pt x="3484" y="839"/>
                </a:cubicBezTo>
                <a:close/>
                <a:moveTo>
                  <a:pt x="3482" y="823"/>
                </a:moveTo>
                <a:cubicBezTo>
                  <a:pt x="3482" y="823"/>
                  <a:pt x="3481" y="823"/>
                  <a:pt x="3480" y="823"/>
                </a:cubicBezTo>
                <a:cubicBezTo>
                  <a:pt x="3480" y="823"/>
                  <a:pt x="3479" y="823"/>
                  <a:pt x="3479" y="824"/>
                </a:cubicBezTo>
                <a:cubicBezTo>
                  <a:pt x="3479" y="824"/>
                  <a:pt x="3480" y="825"/>
                  <a:pt x="3480" y="825"/>
                </a:cubicBezTo>
                <a:cubicBezTo>
                  <a:pt x="3481" y="825"/>
                  <a:pt x="3481" y="824"/>
                  <a:pt x="3482" y="823"/>
                </a:cubicBezTo>
                <a:close/>
                <a:moveTo>
                  <a:pt x="3031" y="705"/>
                </a:moveTo>
                <a:cubicBezTo>
                  <a:pt x="3031" y="705"/>
                  <a:pt x="3031" y="705"/>
                  <a:pt x="3031" y="705"/>
                </a:cubicBezTo>
                <a:cubicBezTo>
                  <a:pt x="3025" y="705"/>
                  <a:pt x="3025" y="705"/>
                  <a:pt x="3025" y="705"/>
                </a:cubicBezTo>
                <a:cubicBezTo>
                  <a:pt x="3023" y="706"/>
                  <a:pt x="3022" y="708"/>
                  <a:pt x="3019" y="709"/>
                </a:cubicBezTo>
                <a:cubicBezTo>
                  <a:pt x="3018" y="710"/>
                  <a:pt x="3016" y="711"/>
                  <a:pt x="3014" y="712"/>
                </a:cubicBezTo>
                <a:cubicBezTo>
                  <a:pt x="3013" y="713"/>
                  <a:pt x="3011" y="714"/>
                  <a:pt x="3009" y="714"/>
                </a:cubicBezTo>
                <a:cubicBezTo>
                  <a:pt x="3007" y="715"/>
                  <a:pt x="3005" y="716"/>
                  <a:pt x="3003" y="716"/>
                </a:cubicBezTo>
                <a:cubicBezTo>
                  <a:pt x="3003" y="716"/>
                  <a:pt x="3003" y="716"/>
                  <a:pt x="3003" y="726"/>
                </a:cubicBezTo>
                <a:cubicBezTo>
                  <a:pt x="3006" y="725"/>
                  <a:pt x="3009" y="725"/>
                  <a:pt x="3011" y="723"/>
                </a:cubicBezTo>
                <a:cubicBezTo>
                  <a:pt x="3014" y="722"/>
                  <a:pt x="3017" y="721"/>
                  <a:pt x="3019" y="720"/>
                </a:cubicBezTo>
                <a:cubicBezTo>
                  <a:pt x="3019" y="720"/>
                  <a:pt x="3019" y="720"/>
                  <a:pt x="3019" y="778"/>
                </a:cubicBezTo>
                <a:cubicBezTo>
                  <a:pt x="3019" y="778"/>
                  <a:pt x="3019" y="778"/>
                  <a:pt x="3031" y="778"/>
                </a:cubicBezTo>
                <a:cubicBezTo>
                  <a:pt x="3031" y="778"/>
                  <a:pt x="3031" y="778"/>
                  <a:pt x="3031" y="705"/>
                </a:cubicBezTo>
                <a:close/>
                <a:moveTo>
                  <a:pt x="3077" y="705"/>
                </a:moveTo>
                <a:cubicBezTo>
                  <a:pt x="3077" y="705"/>
                  <a:pt x="3077" y="705"/>
                  <a:pt x="3077" y="705"/>
                </a:cubicBezTo>
                <a:cubicBezTo>
                  <a:pt x="3072" y="705"/>
                  <a:pt x="3072" y="705"/>
                  <a:pt x="3072" y="705"/>
                </a:cubicBezTo>
                <a:cubicBezTo>
                  <a:pt x="3071" y="706"/>
                  <a:pt x="3068" y="708"/>
                  <a:pt x="3067" y="709"/>
                </a:cubicBezTo>
                <a:cubicBezTo>
                  <a:pt x="3065" y="710"/>
                  <a:pt x="3063" y="711"/>
                  <a:pt x="3061" y="712"/>
                </a:cubicBezTo>
                <a:cubicBezTo>
                  <a:pt x="3060" y="713"/>
                  <a:pt x="3058" y="714"/>
                  <a:pt x="3056" y="714"/>
                </a:cubicBezTo>
                <a:cubicBezTo>
                  <a:pt x="3054" y="715"/>
                  <a:pt x="3052" y="716"/>
                  <a:pt x="3050" y="716"/>
                </a:cubicBezTo>
                <a:cubicBezTo>
                  <a:pt x="3050" y="716"/>
                  <a:pt x="3050" y="716"/>
                  <a:pt x="3050" y="726"/>
                </a:cubicBezTo>
                <a:cubicBezTo>
                  <a:pt x="3053" y="725"/>
                  <a:pt x="3056" y="725"/>
                  <a:pt x="3059" y="723"/>
                </a:cubicBezTo>
                <a:cubicBezTo>
                  <a:pt x="3061" y="722"/>
                  <a:pt x="3063" y="721"/>
                  <a:pt x="3066" y="720"/>
                </a:cubicBezTo>
                <a:cubicBezTo>
                  <a:pt x="3066" y="720"/>
                  <a:pt x="3066" y="720"/>
                  <a:pt x="3066" y="778"/>
                </a:cubicBezTo>
                <a:cubicBezTo>
                  <a:pt x="3066" y="778"/>
                  <a:pt x="3066" y="778"/>
                  <a:pt x="3077" y="778"/>
                </a:cubicBezTo>
                <a:cubicBezTo>
                  <a:pt x="3077" y="778"/>
                  <a:pt x="3077" y="778"/>
                  <a:pt x="3077" y="705"/>
                </a:cubicBezTo>
                <a:close/>
                <a:moveTo>
                  <a:pt x="3123" y="705"/>
                </a:moveTo>
                <a:cubicBezTo>
                  <a:pt x="3123" y="705"/>
                  <a:pt x="3123" y="705"/>
                  <a:pt x="3123" y="705"/>
                </a:cubicBezTo>
                <a:cubicBezTo>
                  <a:pt x="3119" y="705"/>
                  <a:pt x="3119" y="705"/>
                  <a:pt x="3119" y="705"/>
                </a:cubicBezTo>
                <a:cubicBezTo>
                  <a:pt x="3117" y="706"/>
                  <a:pt x="3115" y="708"/>
                  <a:pt x="3113" y="709"/>
                </a:cubicBezTo>
                <a:cubicBezTo>
                  <a:pt x="3112" y="710"/>
                  <a:pt x="3110" y="711"/>
                  <a:pt x="3108" y="712"/>
                </a:cubicBezTo>
                <a:cubicBezTo>
                  <a:pt x="3106" y="712"/>
                  <a:pt x="3104" y="713"/>
                  <a:pt x="3102" y="714"/>
                </a:cubicBezTo>
                <a:cubicBezTo>
                  <a:pt x="3101" y="714"/>
                  <a:pt x="3099" y="715"/>
                  <a:pt x="3097" y="716"/>
                </a:cubicBezTo>
                <a:cubicBezTo>
                  <a:pt x="3097" y="716"/>
                  <a:pt x="3097" y="716"/>
                  <a:pt x="3097" y="726"/>
                </a:cubicBezTo>
                <a:cubicBezTo>
                  <a:pt x="3100" y="725"/>
                  <a:pt x="3103" y="724"/>
                  <a:pt x="3105" y="723"/>
                </a:cubicBezTo>
                <a:cubicBezTo>
                  <a:pt x="3107" y="722"/>
                  <a:pt x="3110" y="721"/>
                  <a:pt x="3112" y="720"/>
                </a:cubicBezTo>
                <a:cubicBezTo>
                  <a:pt x="3112" y="720"/>
                  <a:pt x="3112" y="720"/>
                  <a:pt x="3112" y="778"/>
                </a:cubicBezTo>
                <a:cubicBezTo>
                  <a:pt x="3112" y="778"/>
                  <a:pt x="3112" y="778"/>
                  <a:pt x="3123" y="778"/>
                </a:cubicBezTo>
                <a:cubicBezTo>
                  <a:pt x="3123" y="778"/>
                  <a:pt x="3123" y="778"/>
                  <a:pt x="3123" y="705"/>
                </a:cubicBezTo>
                <a:close/>
                <a:moveTo>
                  <a:pt x="3260" y="737"/>
                </a:moveTo>
                <a:cubicBezTo>
                  <a:pt x="3260" y="737"/>
                  <a:pt x="3260" y="737"/>
                  <a:pt x="3260" y="737"/>
                </a:cubicBezTo>
                <a:cubicBezTo>
                  <a:pt x="3260" y="746"/>
                  <a:pt x="3260" y="746"/>
                  <a:pt x="3260" y="746"/>
                </a:cubicBezTo>
                <a:cubicBezTo>
                  <a:pt x="3266" y="746"/>
                  <a:pt x="3267" y="749"/>
                  <a:pt x="3267" y="752"/>
                </a:cubicBezTo>
                <a:cubicBezTo>
                  <a:pt x="3267" y="754"/>
                  <a:pt x="3266" y="756"/>
                  <a:pt x="3266" y="759"/>
                </a:cubicBezTo>
                <a:cubicBezTo>
                  <a:pt x="3266" y="761"/>
                  <a:pt x="3265" y="763"/>
                  <a:pt x="3265" y="766"/>
                </a:cubicBezTo>
                <a:cubicBezTo>
                  <a:pt x="3265" y="775"/>
                  <a:pt x="3271" y="778"/>
                  <a:pt x="3280" y="778"/>
                </a:cubicBezTo>
                <a:cubicBezTo>
                  <a:pt x="3280" y="778"/>
                  <a:pt x="3280" y="778"/>
                  <a:pt x="3284" y="778"/>
                </a:cubicBezTo>
                <a:cubicBezTo>
                  <a:pt x="3284" y="778"/>
                  <a:pt x="3284" y="778"/>
                  <a:pt x="3284" y="769"/>
                </a:cubicBezTo>
                <a:cubicBezTo>
                  <a:pt x="3284" y="769"/>
                  <a:pt x="3284" y="769"/>
                  <a:pt x="3282" y="769"/>
                </a:cubicBezTo>
                <a:cubicBezTo>
                  <a:pt x="3278" y="769"/>
                  <a:pt x="3277" y="767"/>
                  <a:pt x="3277" y="763"/>
                </a:cubicBezTo>
                <a:cubicBezTo>
                  <a:pt x="3277" y="762"/>
                  <a:pt x="3277" y="760"/>
                  <a:pt x="3278" y="759"/>
                </a:cubicBezTo>
                <a:cubicBezTo>
                  <a:pt x="3278" y="757"/>
                  <a:pt x="3278" y="755"/>
                  <a:pt x="3278" y="753"/>
                </a:cubicBezTo>
                <a:cubicBezTo>
                  <a:pt x="3278" y="745"/>
                  <a:pt x="3275" y="743"/>
                  <a:pt x="3270" y="741"/>
                </a:cubicBezTo>
                <a:cubicBezTo>
                  <a:pt x="3270" y="741"/>
                  <a:pt x="3270" y="741"/>
                  <a:pt x="3270" y="741"/>
                </a:cubicBezTo>
                <a:cubicBezTo>
                  <a:pt x="3275" y="740"/>
                  <a:pt x="3278" y="738"/>
                  <a:pt x="3278" y="730"/>
                </a:cubicBezTo>
                <a:cubicBezTo>
                  <a:pt x="3278" y="728"/>
                  <a:pt x="3278" y="726"/>
                  <a:pt x="3278" y="724"/>
                </a:cubicBezTo>
                <a:cubicBezTo>
                  <a:pt x="3277" y="722"/>
                  <a:pt x="3277" y="720"/>
                  <a:pt x="3277" y="719"/>
                </a:cubicBezTo>
                <a:cubicBezTo>
                  <a:pt x="3277" y="716"/>
                  <a:pt x="3278" y="713"/>
                  <a:pt x="3282" y="713"/>
                </a:cubicBezTo>
                <a:cubicBezTo>
                  <a:pt x="3282" y="713"/>
                  <a:pt x="3282" y="713"/>
                  <a:pt x="3284" y="713"/>
                </a:cubicBezTo>
                <a:cubicBezTo>
                  <a:pt x="3284" y="713"/>
                  <a:pt x="3284" y="713"/>
                  <a:pt x="3284" y="704"/>
                </a:cubicBezTo>
                <a:cubicBezTo>
                  <a:pt x="3284" y="704"/>
                  <a:pt x="3284" y="704"/>
                  <a:pt x="3280" y="704"/>
                </a:cubicBezTo>
                <a:cubicBezTo>
                  <a:pt x="3271" y="704"/>
                  <a:pt x="3265" y="708"/>
                  <a:pt x="3265" y="717"/>
                </a:cubicBezTo>
                <a:cubicBezTo>
                  <a:pt x="3265" y="719"/>
                  <a:pt x="3266" y="722"/>
                  <a:pt x="3266" y="724"/>
                </a:cubicBezTo>
                <a:cubicBezTo>
                  <a:pt x="3266" y="726"/>
                  <a:pt x="3267" y="729"/>
                  <a:pt x="3267" y="731"/>
                </a:cubicBezTo>
                <a:cubicBezTo>
                  <a:pt x="3267" y="734"/>
                  <a:pt x="3266" y="737"/>
                  <a:pt x="3260" y="737"/>
                </a:cubicBezTo>
                <a:close/>
                <a:moveTo>
                  <a:pt x="3315" y="746"/>
                </a:moveTo>
                <a:cubicBezTo>
                  <a:pt x="3315" y="746"/>
                  <a:pt x="3315" y="746"/>
                  <a:pt x="3315" y="746"/>
                </a:cubicBezTo>
                <a:cubicBezTo>
                  <a:pt x="3315" y="737"/>
                  <a:pt x="3315" y="737"/>
                  <a:pt x="3315" y="737"/>
                </a:cubicBezTo>
                <a:cubicBezTo>
                  <a:pt x="3308" y="737"/>
                  <a:pt x="3308" y="734"/>
                  <a:pt x="3308" y="731"/>
                </a:cubicBezTo>
                <a:cubicBezTo>
                  <a:pt x="3308" y="729"/>
                  <a:pt x="3308" y="726"/>
                  <a:pt x="3308" y="724"/>
                </a:cubicBezTo>
                <a:cubicBezTo>
                  <a:pt x="3309" y="722"/>
                  <a:pt x="3309" y="719"/>
                  <a:pt x="3309" y="717"/>
                </a:cubicBezTo>
                <a:cubicBezTo>
                  <a:pt x="3309" y="708"/>
                  <a:pt x="3303" y="704"/>
                  <a:pt x="3294" y="704"/>
                </a:cubicBezTo>
                <a:cubicBezTo>
                  <a:pt x="3294" y="704"/>
                  <a:pt x="3294" y="704"/>
                  <a:pt x="3290" y="704"/>
                </a:cubicBezTo>
                <a:cubicBezTo>
                  <a:pt x="3290" y="704"/>
                  <a:pt x="3290" y="704"/>
                  <a:pt x="3290" y="713"/>
                </a:cubicBezTo>
                <a:cubicBezTo>
                  <a:pt x="3290" y="713"/>
                  <a:pt x="3290" y="713"/>
                  <a:pt x="3292" y="713"/>
                </a:cubicBezTo>
                <a:cubicBezTo>
                  <a:pt x="3296" y="713"/>
                  <a:pt x="3297" y="716"/>
                  <a:pt x="3297" y="719"/>
                </a:cubicBezTo>
                <a:cubicBezTo>
                  <a:pt x="3297" y="720"/>
                  <a:pt x="3297" y="722"/>
                  <a:pt x="3297" y="724"/>
                </a:cubicBezTo>
                <a:cubicBezTo>
                  <a:pt x="3296" y="726"/>
                  <a:pt x="3296" y="728"/>
                  <a:pt x="3296" y="730"/>
                </a:cubicBezTo>
                <a:cubicBezTo>
                  <a:pt x="3296" y="738"/>
                  <a:pt x="3299" y="740"/>
                  <a:pt x="3305" y="741"/>
                </a:cubicBezTo>
                <a:cubicBezTo>
                  <a:pt x="3305" y="741"/>
                  <a:pt x="3305" y="741"/>
                  <a:pt x="3305" y="741"/>
                </a:cubicBezTo>
                <a:cubicBezTo>
                  <a:pt x="3299" y="743"/>
                  <a:pt x="3296" y="745"/>
                  <a:pt x="3296" y="753"/>
                </a:cubicBezTo>
                <a:cubicBezTo>
                  <a:pt x="3296" y="755"/>
                  <a:pt x="3296" y="757"/>
                  <a:pt x="3297" y="759"/>
                </a:cubicBezTo>
                <a:cubicBezTo>
                  <a:pt x="3297" y="760"/>
                  <a:pt x="3297" y="762"/>
                  <a:pt x="3297" y="763"/>
                </a:cubicBezTo>
                <a:cubicBezTo>
                  <a:pt x="3297" y="767"/>
                  <a:pt x="3296" y="769"/>
                  <a:pt x="3292" y="769"/>
                </a:cubicBezTo>
                <a:cubicBezTo>
                  <a:pt x="3292" y="769"/>
                  <a:pt x="3292" y="769"/>
                  <a:pt x="3290" y="769"/>
                </a:cubicBezTo>
                <a:cubicBezTo>
                  <a:pt x="3290" y="769"/>
                  <a:pt x="3290" y="769"/>
                  <a:pt x="3290" y="778"/>
                </a:cubicBezTo>
                <a:cubicBezTo>
                  <a:pt x="3290" y="778"/>
                  <a:pt x="3290" y="778"/>
                  <a:pt x="3294" y="778"/>
                </a:cubicBezTo>
                <a:cubicBezTo>
                  <a:pt x="3303" y="778"/>
                  <a:pt x="3309" y="775"/>
                  <a:pt x="3309" y="766"/>
                </a:cubicBezTo>
                <a:cubicBezTo>
                  <a:pt x="3309" y="763"/>
                  <a:pt x="3309" y="761"/>
                  <a:pt x="3308" y="759"/>
                </a:cubicBezTo>
                <a:cubicBezTo>
                  <a:pt x="3308" y="756"/>
                  <a:pt x="3308" y="754"/>
                  <a:pt x="3308" y="752"/>
                </a:cubicBezTo>
                <a:cubicBezTo>
                  <a:pt x="3308" y="749"/>
                  <a:pt x="3308" y="746"/>
                  <a:pt x="3315" y="746"/>
                </a:cubicBezTo>
                <a:close/>
                <a:moveTo>
                  <a:pt x="3361" y="705"/>
                </a:moveTo>
                <a:cubicBezTo>
                  <a:pt x="3361" y="705"/>
                  <a:pt x="3361" y="705"/>
                  <a:pt x="3361" y="705"/>
                </a:cubicBezTo>
                <a:cubicBezTo>
                  <a:pt x="3356" y="705"/>
                  <a:pt x="3356" y="705"/>
                  <a:pt x="3356" y="705"/>
                </a:cubicBezTo>
                <a:cubicBezTo>
                  <a:pt x="3354" y="706"/>
                  <a:pt x="3353" y="708"/>
                  <a:pt x="3350" y="709"/>
                </a:cubicBezTo>
                <a:cubicBezTo>
                  <a:pt x="3349" y="710"/>
                  <a:pt x="3347" y="711"/>
                  <a:pt x="3345" y="712"/>
                </a:cubicBezTo>
                <a:cubicBezTo>
                  <a:pt x="3343" y="712"/>
                  <a:pt x="3342" y="713"/>
                  <a:pt x="3340" y="714"/>
                </a:cubicBezTo>
                <a:cubicBezTo>
                  <a:pt x="3338" y="714"/>
                  <a:pt x="3337" y="715"/>
                  <a:pt x="3334" y="716"/>
                </a:cubicBezTo>
                <a:cubicBezTo>
                  <a:pt x="3334" y="716"/>
                  <a:pt x="3334" y="716"/>
                  <a:pt x="3334" y="726"/>
                </a:cubicBezTo>
                <a:cubicBezTo>
                  <a:pt x="3337" y="725"/>
                  <a:pt x="3340" y="724"/>
                  <a:pt x="3342" y="723"/>
                </a:cubicBezTo>
                <a:cubicBezTo>
                  <a:pt x="3345" y="722"/>
                  <a:pt x="3347" y="721"/>
                  <a:pt x="3350" y="720"/>
                </a:cubicBezTo>
                <a:cubicBezTo>
                  <a:pt x="3350" y="720"/>
                  <a:pt x="3350" y="720"/>
                  <a:pt x="3350" y="778"/>
                </a:cubicBezTo>
                <a:cubicBezTo>
                  <a:pt x="3350" y="778"/>
                  <a:pt x="3350" y="778"/>
                  <a:pt x="3361" y="778"/>
                </a:cubicBezTo>
                <a:cubicBezTo>
                  <a:pt x="3361" y="778"/>
                  <a:pt x="3361" y="778"/>
                  <a:pt x="3361" y="705"/>
                </a:cubicBezTo>
                <a:close/>
                <a:moveTo>
                  <a:pt x="3408" y="705"/>
                </a:moveTo>
                <a:cubicBezTo>
                  <a:pt x="3408" y="705"/>
                  <a:pt x="3408" y="705"/>
                  <a:pt x="3408" y="705"/>
                </a:cubicBezTo>
                <a:cubicBezTo>
                  <a:pt x="3403" y="705"/>
                  <a:pt x="3403" y="705"/>
                  <a:pt x="3403" y="705"/>
                </a:cubicBezTo>
                <a:cubicBezTo>
                  <a:pt x="3401" y="706"/>
                  <a:pt x="3399" y="708"/>
                  <a:pt x="3397" y="709"/>
                </a:cubicBezTo>
                <a:cubicBezTo>
                  <a:pt x="3396" y="710"/>
                  <a:pt x="3394" y="711"/>
                  <a:pt x="3392" y="712"/>
                </a:cubicBezTo>
                <a:cubicBezTo>
                  <a:pt x="3391" y="713"/>
                  <a:pt x="3389" y="714"/>
                  <a:pt x="3387" y="714"/>
                </a:cubicBezTo>
                <a:cubicBezTo>
                  <a:pt x="3385" y="715"/>
                  <a:pt x="3384" y="716"/>
                  <a:pt x="3381" y="716"/>
                </a:cubicBezTo>
                <a:cubicBezTo>
                  <a:pt x="3381" y="716"/>
                  <a:pt x="3381" y="716"/>
                  <a:pt x="3381" y="726"/>
                </a:cubicBezTo>
                <a:cubicBezTo>
                  <a:pt x="3384" y="725"/>
                  <a:pt x="3387" y="725"/>
                  <a:pt x="3389" y="723"/>
                </a:cubicBezTo>
                <a:cubicBezTo>
                  <a:pt x="3392" y="722"/>
                  <a:pt x="3394" y="721"/>
                  <a:pt x="3396" y="720"/>
                </a:cubicBezTo>
                <a:cubicBezTo>
                  <a:pt x="3396" y="720"/>
                  <a:pt x="3396" y="720"/>
                  <a:pt x="3396" y="778"/>
                </a:cubicBezTo>
                <a:cubicBezTo>
                  <a:pt x="3396" y="778"/>
                  <a:pt x="3396" y="778"/>
                  <a:pt x="3408" y="778"/>
                </a:cubicBezTo>
                <a:cubicBezTo>
                  <a:pt x="3408" y="778"/>
                  <a:pt x="3408" y="778"/>
                  <a:pt x="3408" y="705"/>
                </a:cubicBezTo>
                <a:close/>
                <a:moveTo>
                  <a:pt x="3454" y="705"/>
                </a:moveTo>
                <a:cubicBezTo>
                  <a:pt x="3454" y="705"/>
                  <a:pt x="3454" y="705"/>
                  <a:pt x="3454" y="705"/>
                </a:cubicBezTo>
                <a:cubicBezTo>
                  <a:pt x="3450" y="705"/>
                  <a:pt x="3450" y="705"/>
                  <a:pt x="3450" y="705"/>
                </a:cubicBezTo>
                <a:cubicBezTo>
                  <a:pt x="3447" y="706"/>
                  <a:pt x="3446" y="708"/>
                  <a:pt x="3444" y="709"/>
                </a:cubicBezTo>
                <a:cubicBezTo>
                  <a:pt x="3442" y="710"/>
                  <a:pt x="3440" y="711"/>
                  <a:pt x="3439" y="712"/>
                </a:cubicBezTo>
                <a:cubicBezTo>
                  <a:pt x="3436" y="713"/>
                  <a:pt x="3435" y="714"/>
                  <a:pt x="3433" y="714"/>
                </a:cubicBezTo>
                <a:cubicBezTo>
                  <a:pt x="3431" y="715"/>
                  <a:pt x="3429" y="716"/>
                  <a:pt x="3428" y="716"/>
                </a:cubicBezTo>
                <a:cubicBezTo>
                  <a:pt x="3428" y="716"/>
                  <a:pt x="3428" y="716"/>
                  <a:pt x="3428" y="726"/>
                </a:cubicBezTo>
                <a:cubicBezTo>
                  <a:pt x="3430" y="725"/>
                  <a:pt x="3433" y="725"/>
                  <a:pt x="3436" y="723"/>
                </a:cubicBezTo>
                <a:cubicBezTo>
                  <a:pt x="3438" y="722"/>
                  <a:pt x="3441" y="721"/>
                  <a:pt x="3442" y="720"/>
                </a:cubicBezTo>
                <a:cubicBezTo>
                  <a:pt x="3442" y="720"/>
                  <a:pt x="3442" y="720"/>
                  <a:pt x="3442" y="778"/>
                </a:cubicBezTo>
                <a:cubicBezTo>
                  <a:pt x="3442" y="778"/>
                  <a:pt x="3442" y="778"/>
                  <a:pt x="3454" y="778"/>
                </a:cubicBezTo>
                <a:cubicBezTo>
                  <a:pt x="3454" y="778"/>
                  <a:pt x="3454" y="778"/>
                  <a:pt x="3454" y="705"/>
                </a:cubicBezTo>
                <a:close/>
                <a:moveTo>
                  <a:pt x="3203" y="752"/>
                </a:moveTo>
                <a:cubicBezTo>
                  <a:pt x="3204" y="754"/>
                  <a:pt x="3204" y="755"/>
                  <a:pt x="3205" y="757"/>
                </a:cubicBezTo>
                <a:cubicBezTo>
                  <a:pt x="3205" y="758"/>
                  <a:pt x="3206" y="760"/>
                  <a:pt x="3206" y="762"/>
                </a:cubicBezTo>
                <a:cubicBezTo>
                  <a:pt x="3206" y="763"/>
                  <a:pt x="3206" y="765"/>
                  <a:pt x="3206" y="767"/>
                </a:cubicBezTo>
                <a:cubicBezTo>
                  <a:pt x="3207" y="770"/>
                  <a:pt x="3206" y="771"/>
                  <a:pt x="3203" y="771"/>
                </a:cubicBezTo>
                <a:cubicBezTo>
                  <a:pt x="3200" y="771"/>
                  <a:pt x="3197" y="771"/>
                  <a:pt x="3195" y="771"/>
                </a:cubicBezTo>
                <a:cubicBezTo>
                  <a:pt x="3194" y="771"/>
                  <a:pt x="3193" y="771"/>
                  <a:pt x="3193" y="771"/>
                </a:cubicBezTo>
                <a:cubicBezTo>
                  <a:pt x="3191" y="773"/>
                  <a:pt x="3190" y="774"/>
                  <a:pt x="3189" y="776"/>
                </a:cubicBezTo>
                <a:cubicBezTo>
                  <a:pt x="3187" y="778"/>
                  <a:pt x="3183" y="778"/>
                  <a:pt x="3181" y="776"/>
                </a:cubicBezTo>
                <a:cubicBezTo>
                  <a:pt x="3179" y="774"/>
                  <a:pt x="3178" y="772"/>
                  <a:pt x="3176" y="769"/>
                </a:cubicBezTo>
                <a:cubicBezTo>
                  <a:pt x="3176" y="767"/>
                  <a:pt x="3176" y="766"/>
                  <a:pt x="3178" y="764"/>
                </a:cubicBezTo>
                <a:cubicBezTo>
                  <a:pt x="3176" y="764"/>
                  <a:pt x="3174" y="764"/>
                  <a:pt x="3172" y="764"/>
                </a:cubicBezTo>
                <a:cubicBezTo>
                  <a:pt x="3172" y="766"/>
                  <a:pt x="3170" y="768"/>
                  <a:pt x="3170" y="770"/>
                </a:cubicBezTo>
                <a:cubicBezTo>
                  <a:pt x="3170" y="771"/>
                  <a:pt x="3169" y="772"/>
                  <a:pt x="3169" y="773"/>
                </a:cubicBezTo>
                <a:cubicBezTo>
                  <a:pt x="3169" y="776"/>
                  <a:pt x="3168" y="777"/>
                  <a:pt x="3165" y="776"/>
                </a:cubicBezTo>
                <a:cubicBezTo>
                  <a:pt x="3162" y="776"/>
                  <a:pt x="3159" y="775"/>
                  <a:pt x="3156" y="774"/>
                </a:cubicBezTo>
                <a:cubicBezTo>
                  <a:pt x="3154" y="774"/>
                  <a:pt x="3154" y="772"/>
                  <a:pt x="3154" y="770"/>
                </a:cubicBezTo>
                <a:cubicBezTo>
                  <a:pt x="3154" y="769"/>
                  <a:pt x="3154" y="769"/>
                  <a:pt x="3155" y="769"/>
                </a:cubicBezTo>
                <a:cubicBezTo>
                  <a:pt x="3152" y="767"/>
                  <a:pt x="3150" y="767"/>
                  <a:pt x="3148" y="765"/>
                </a:cubicBezTo>
                <a:cubicBezTo>
                  <a:pt x="3147" y="764"/>
                  <a:pt x="3146" y="762"/>
                  <a:pt x="3145" y="761"/>
                </a:cubicBezTo>
                <a:cubicBezTo>
                  <a:pt x="3144" y="759"/>
                  <a:pt x="3144" y="757"/>
                  <a:pt x="3146" y="755"/>
                </a:cubicBezTo>
                <a:cubicBezTo>
                  <a:pt x="3149" y="753"/>
                  <a:pt x="3150" y="750"/>
                  <a:pt x="3149" y="746"/>
                </a:cubicBezTo>
                <a:cubicBezTo>
                  <a:pt x="3149" y="744"/>
                  <a:pt x="3149" y="742"/>
                  <a:pt x="3149" y="740"/>
                </a:cubicBezTo>
                <a:cubicBezTo>
                  <a:pt x="3148" y="740"/>
                  <a:pt x="3146" y="739"/>
                  <a:pt x="3145" y="738"/>
                </a:cubicBezTo>
                <a:cubicBezTo>
                  <a:pt x="3144" y="736"/>
                  <a:pt x="3143" y="734"/>
                  <a:pt x="3143" y="733"/>
                </a:cubicBezTo>
                <a:cubicBezTo>
                  <a:pt x="3143" y="730"/>
                  <a:pt x="3146" y="727"/>
                  <a:pt x="3149" y="726"/>
                </a:cubicBezTo>
                <a:cubicBezTo>
                  <a:pt x="3150" y="727"/>
                  <a:pt x="3150" y="728"/>
                  <a:pt x="3150" y="729"/>
                </a:cubicBezTo>
                <a:cubicBezTo>
                  <a:pt x="3150" y="730"/>
                  <a:pt x="3150" y="731"/>
                  <a:pt x="3150" y="732"/>
                </a:cubicBezTo>
                <a:cubicBezTo>
                  <a:pt x="3150" y="731"/>
                  <a:pt x="3149" y="731"/>
                  <a:pt x="3149" y="731"/>
                </a:cubicBezTo>
                <a:cubicBezTo>
                  <a:pt x="3148" y="733"/>
                  <a:pt x="3148" y="734"/>
                  <a:pt x="3147" y="736"/>
                </a:cubicBezTo>
                <a:cubicBezTo>
                  <a:pt x="3148" y="735"/>
                  <a:pt x="3149" y="735"/>
                  <a:pt x="3150" y="735"/>
                </a:cubicBezTo>
                <a:cubicBezTo>
                  <a:pt x="3151" y="734"/>
                  <a:pt x="3152" y="733"/>
                  <a:pt x="3152" y="732"/>
                </a:cubicBezTo>
                <a:cubicBezTo>
                  <a:pt x="3157" y="725"/>
                  <a:pt x="3163" y="721"/>
                  <a:pt x="3170" y="719"/>
                </a:cubicBezTo>
                <a:cubicBezTo>
                  <a:pt x="3174" y="719"/>
                  <a:pt x="3177" y="718"/>
                  <a:pt x="3179" y="715"/>
                </a:cubicBezTo>
                <a:cubicBezTo>
                  <a:pt x="3179" y="715"/>
                  <a:pt x="3180" y="714"/>
                  <a:pt x="3180" y="714"/>
                </a:cubicBezTo>
                <a:cubicBezTo>
                  <a:pt x="3183" y="714"/>
                  <a:pt x="3185" y="712"/>
                  <a:pt x="3187" y="710"/>
                </a:cubicBezTo>
                <a:cubicBezTo>
                  <a:pt x="3194" y="702"/>
                  <a:pt x="3206" y="702"/>
                  <a:pt x="3214" y="708"/>
                </a:cubicBezTo>
                <a:cubicBezTo>
                  <a:pt x="3216" y="710"/>
                  <a:pt x="3219" y="712"/>
                  <a:pt x="3221" y="714"/>
                </a:cubicBezTo>
                <a:cubicBezTo>
                  <a:pt x="3223" y="715"/>
                  <a:pt x="3224" y="717"/>
                  <a:pt x="3225" y="719"/>
                </a:cubicBezTo>
                <a:cubicBezTo>
                  <a:pt x="3226" y="721"/>
                  <a:pt x="3227" y="721"/>
                  <a:pt x="3228" y="719"/>
                </a:cubicBezTo>
                <a:cubicBezTo>
                  <a:pt x="3229" y="719"/>
                  <a:pt x="3230" y="718"/>
                  <a:pt x="3230" y="717"/>
                </a:cubicBezTo>
                <a:cubicBezTo>
                  <a:pt x="3232" y="715"/>
                  <a:pt x="3236" y="715"/>
                  <a:pt x="3237" y="718"/>
                </a:cubicBezTo>
                <a:cubicBezTo>
                  <a:pt x="3238" y="721"/>
                  <a:pt x="3239" y="724"/>
                  <a:pt x="3239" y="727"/>
                </a:cubicBezTo>
                <a:cubicBezTo>
                  <a:pt x="3240" y="731"/>
                  <a:pt x="3239" y="736"/>
                  <a:pt x="3238" y="740"/>
                </a:cubicBezTo>
                <a:cubicBezTo>
                  <a:pt x="3236" y="746"/>
                  <a:pt x="3231" y="750"/>
                  <a:pt x="3224" y="750"/>
                </a:cubicBezTo>
                <a:cubicBezTo>
                  <a:pt x="3223" y="750"/>
                  <a:pt x="3223" y="750"/>
                  <a:pt x="3222" y="750"/>
                </a:cubicBezTo>
                <a:cubicBezTo>
                  <a:pt x="3220" y="750"/>
                  <a:pt x="3219" y="750"/>
                  <a:pt x="3218" y="752"/>
                </a:cubicBezTo>
                <a:cubicBezTo>
                  <a:pt x="3216" y="757"/>
                  <a:pt x="3211" y="758"/>
                  <a:pt x="3207" y="755"/>
                </a:cubicBezTo>
                <a:cubicBezTo>
                  <a:pt x="3206" y="754"/>
                  <a:pt x="3205" y="753"/>
                  <a:pt x="3204" y="752"/>
                </a:cubicBezTo>
                <a:cubicBezTo>
                  <a:pt x="3204" y="752"/>
                  <a:pt x="3204" y="752"/>
                  <a:pt x="3203" y="752"/>
                </a:cubicBezTo>
                <a:close/>
                <a:moveTo>
                  <a:pt x="3198" y="748"/>
                </a:moveTo>
                <a:cubicBezTo>
                  <a:pt x="3201" y="750"/>
                  <a:pt x="3205" y="751"/>
                  <a:pt x="3208" y="754"/>
                </a:cubicBezTo>
                <a:cubicBezTo>
                  <a:pt x="3209" y="755"/>
                  <a:pt x="3211" y="756"/>
                  <a:pt x="3213" y="755"/>
                </a:cubicBezTo>
                <a:cubicBezTo>
                  <a:pt x="3216" y="754"/>
                  <a:pt x="3217" y="752"/>
                  <a:pt x="3217" y="749"/>
                </a:cubicBezTo>
                <a:cubicBezTo>
                  <a:pt x="3217" y="750"/>
                  <a:pt x="3216" y="750"/>
                  <a:pt x="3216" y="750"/>
                </a:cubicBezTo>
                <a:cubicBezTo>
                  <a:pt x="3216" y="752"/>
                  <a:pt x="3215" y="752"/>
                  <a:pt x="3214" y="754"/>
                </a:cubicBezTo>
                <a:cubicBezTo>
                  <a:pt x="3213" y="755"/>
                  <a:pt x="3211" y="754"/>
                  <a:pt x="3211" y="754"/>
                </a:cubicBezTo>
                <a:cubicBezTo>
                  <a:pt x="3210" y="754"/>
                  <a:pt x="3210" y="753"/>
                  <a:pt x="3210" y="752"/>
                </a:cubicBezTo>
                <a:cubicBezTo>
                  <a:pt x="3210" y="750"/>
                  <a:pt x="3210" y="748"/>
                  <a:pt x="3210" y="746"/>
                </a:cubicBezTo>
                <a:cubicBezTo>
                  <a:pt x="3213" y="746"/>
                  <a:pt x="3217" y="748"/>
                  <a:pt x="3220" y="748"/>
                </a:cubicBezTo>
                <a:cubicBezTo>
                  <a:pt x="3228" y="749"/>
                  <a:pt x="3234" y="748"/>
                  <a:pt x="3237" y="739"/>
                </a:cubicBezTo>
                <a:cubicBezTo>
                  <a:pt x="3238" y="734"/>
                  <a:pt x="3238" y="729"/>
                  <a:pt x="3237" y="724"/>
                </a:cubicBezTo>
                <a:cubicBezTo>
                  <a:pt x="3237" y="722"/>
                  <a:pt x="3236" y="721"/>
                  <a:pt x="3235" y="719"/>
                </a:cubicBezTo>
                <a:cubicBezTo>
                  <a:pt x="3234" y="717"/>
                  <a:pt x="3233" y="717"/>
                  <a:pt x="3232" y="718"/>
                </a:cubicBezTo>
                <a:cubicBezTo>
                  <a:pt x="3230" y="720"/>
                  <a:pt x="3229" y="721"/>
                  <a:pt x="3227" y="722"/>
                </a:cubicBezTo>
                <a:cubicBezTo>
                  <a:pt x="3226" y="723"/>
                  <a:pt x="3225" y="723"/>
                  <a:pt x="3226" y="725"/>
                </a:cubicBezTo>
                <a:cubicBezTo>
                  <a:pt x="3226" y="728"/>
                  <a:pt x="3226" y="731"/>
                  <a:pt x="3224" y="734"/>
                </a:cubicBezTo>
                <a:cubicBezTo>
                  <a:pt x="3224" y="732"/>
                  <a:pt x="3225" y="730"/>
                  <a:pt x="3225" y="729"/>
                </a:cubicBezTo>
                <a:cubicBezTo>
                  <a:pt x="3225" y="728"/>
                  <a:pt x="3224" y="727"/>
                  <a:pt x="3224" y="727"/>
                </a:cubicBezTo>
                <a:cubicBezTo>
                  <a:pt x="3224" y="727"/>
                  <a:pt x="3223" y="727"/>
                  <a:pt x="3223" y="728"/>
                </a:cubicBezTo>
                <a:cubicBezTo>
                  <a:pt x="3222" y="729"/>
                  <a:pt x="3221" y="731"/>
                  <a:pt x="3221" y="732"/>
                </a:cubicBezTo>
                <a:cubicBezTo>
                  <a:pt x="3220" y="732"/>
                  <a:pt x="3220" y="732"/>
                  <a:pt x="3220" y="732"/>
                </a:cubicBezTo>
                <a:cubicBezTo>
                  <a:pt x="3221" y="730"/>
                  <a:pt x="3221" y="729"/>
                  <a:pt x="3221" y="726"/>
                </a:cubicBezTo>
                <a:cubicBezTo>
                  <a:pt x="3220" y="727"/>
                  <a:pt x="3220" y="727"/>
                  <a:pt x="3219" y="728"/>
                </a:cubicBezTo>
                <a:cubicBezTo>
                  <a:pt x="3219" y="729"/>
                  <a:pt x="3218" y="729"/>
                  <a:pt x="3218" y="730"/>
                </a:cubicBezTo>
                <a:cubicBezTo>
                  <a:pt x="3218" y="727"/>
                  <a:pt x="3219" y="727"/>
                  <a:pt x="3224" y="725"/>
                </a:cubicBezTo>
                <a:cubicBezTo>
                  <a:pt x="3224" y="725"/>
                  <a:pt x="3223" y="724"/>
                  <a:pt x="3223" y="724"/>
                </a:cubicBezTo>
                <a:cubicBezTo>
                  <a:pt x="3221" y="725"/>
                  <a:pt x="3220" y="723"/>
                  <a:pt x="3219" y="721"/>
                </a:cubicBezTo>
                <a:cubicBezTo>
                  <a:pt x="3221" y="721"/>
                  <a:pt x="3223" y="720"/>
                  <a:pt x="3224" y="720"/>
                </a:cubicBezTo>
                <a:cubicBezTo>
                  <a:pt x="3223" y="717"/>
                  <a:pt x="3221" y="715"/>
                  <a:pt x="3218" y="714"/>
                </a:cubicBezTo>
                <a:cubicBezTo>
                  <a:pt x="3217" y="714"/>
                  <a:pt x="3217" y="714"/>
                  <a:pt x="3217" y="714"/>
                </a:cubicBezTo>
                <a:cubicBezTo>
                  <a:pt x="3215" y="712"/>
                  <a:pt x="3212" y="709"/>
                  <a:pt x="3210" y="707"/>
                </a:cubicBezTo>
                <a:cubicBezTo>
                  <a:pt x="3207" y="706"/>
                  <a:pt x="3204" y="705"/>
                  <a:pt x="3202" y="705"/>
                </a:cubicBezTo>
                <a:cubicBezTo>
                  <a:pt x="3199" y="706"/>
                  <a:pt x="3196" y="707"/>
                  <a:pt x="3193" y="708"/>
                </a:cubicBezTo>
                <a:cubicBezTo>
                  <a:pt x="3190" y="709"/>
                  <a:pt x="3187" y="710"/>
                  <a:pt x="3185" y="714"/>
                </a:cubicBezTo>
                <a:cubicBezTo>
                  <a:pt x="3187" y="714"/>
                  <a:pt x="3188" y="714"/>
                  <a:pt x="3189" y="714"/>
                </a:cubicBezTo>
                <a:cubicBezTo>
                  <a:pt x="3189" y="714"/>
                  <a:pt x="3188" y="714"/>
                  <a:pt x="3187" y="714"/>
                </a:cubicBezTo>
                <a:cubicBezTo>
                  <a:pt x="3185" y="715"/>
                  <a:pt x="3182" y="714"/>
                  <a:pt x="3180" y="717"/>
                </a:cubicBezTo>
                <a:cubicBezTo>
                  <a:pt x="3177" y="721"/>
                  <a:pt x="3173" y="724"/>
                  <a:pt x="3169" y="729"/>
                </a:cubicBezTo>
                <a:cubicBezTo>
                  <a:pt x="3168" y="731"/>
                  <a:pt x="3167" y="733"/>
                  <a:pt x="3166" y="735"/>
                </a:cubicBezTo>
                <a:cubicBezTo>
                  <a:pt x="3166" y="736"/>
                  <a:pt x="3166" y="736"/>
                  <a:pt x="3166" y="737"/>
                </a:cubicBezTo>
                <a:cubicBezTo>
                  <a:pt x="3167" y="739"/>
                  <a:pt x="3169" y="741"/>
                  <a:pt x="3170" y="743"/>
                </a:cubicBezTo>
                <a:cubicBezTo>
                  <a:pt x="3171" y="741"/>
                  <a:pt x="3172" y="740"/>
                  <a:pt x="3174" y="738"/>
                </a:cubicBezTo>
                <a:cubicBezTo>
                  <a:pt x="3173" y="740"/>
                  <a:pt x="3173" y="741"/>
                  <a:pt x="3172" y="742"/>
                </a:cubicBezTo>
                <a:cubicBezTo>
                  <a:pt x="3171" y="744"/>
                  <a:pt x="3170" y="745"/>
                  <a:pt x="3170" y="746"/>
                </a:cubicBezTo>
                <a:cubicBezTo>
                  <a:pt x="3170" y="747"/>
                  <a:pt x="3170" y="748"/>
                  <a:pt x="3170" y="749"/>
                </a:cubicBezTo>
                <a:cubicBezTo>
                  <a:pt x="3173" y="753"/>
                  <a:pt x="3176" y="753"/>
                  <a:pt x="3180" y="751"/>
                </a:cubicBezTo>
                <a:cubicBezTo>
                  <a:pt x="3182" y="749"/>
                  <a:pt x="3185" y="748"/>
                  <a:pt x="3188" y="747"/>
                </a:cubicBezTo>
                <a:cubicBezTo>
                  <a:pt x="3189" y="747"/>
                  <a:pt x="3191" y="746"/>
                  <a:pt x="3191" y="744"/>
                </a:cubicBezTo>
                <a:cubicBezTo>
                  <a:pt x="3191" y="741"/>
                  <a:pt x="3191" y="738"/>
                  <a:pt x="3191" y="734"/>
                </a:cubicBezTo>
                <a:cubicBezTo>
                  <a:pt x="3191" y="731"/>
                  <a:pt x="3191" y="729"/>
                  <a:pt x="3191" y="725"/>
                </a:cubicBezTo>
                <a:cubicBezTo>
                  <a:pt x="3191" y="728"/>
                  <a:pt x="3192" y="731"/>
                  <a:pt x="3192" y="733"/>
                </a:cubicBezTo>
                <a:cubicBezTo>
                  <a:pt x="3193" y="738"/>
                  <a:pt x="3193" y="742"/>
                  <a:pt x="3192" y="747"/>
                </a:cubicBezTo>
                <a:cubicBezTo>
                  <a:pt x="3191" y="748"/>
                  <a:pt x="3191" y="748"/>
                  <a:pt x="3190" y="748"/>
                </a:cubicBezTo>
                <a:cubicBezTo>
                  <a:pt x="3187" y="749"/>
                  <a:pt x="3183" y="751"/>
                  <a:pt x="3180" y="752"/>
                </a:cubicBezTo>
                <a:cubicBezTo>
                  <a:pt x="3175" y="755"/>
                  <a:pt x="3172" y="754"/>
                  <a:pt x="3168" y="750"/>
                </a:cubicBezTo>
                <a:cubicBezTo>
                  <a:pt x="3168" y="749"/>
                  <a:pt x="3168" y="748"/>
                  <a:pt x="3168" y="748"/>
                </a:cubicBezTo>
                <a:cubicBezTo>
                  <a:pt x="3169" y="745"/>
                  <a:pt x="3168" y="743"/>
                  <a:pt x="3167" y="741"/>
                </a:cubicBezTo>
                <a:cubicBezTo>
                  <a:pt x="3165" y="739"/>
                  <a:pt x="3163" y="737"/>
                  <a:pt x="3165" y="734"/>
                </a:cubicBezTo>
                <a:cubicBezTo>
                  <a:pt x="3165" y="732"/>
                  <a:pt x="3166" y="731"/>
                  <a:pt x="3167" y="729"/>
                </a:cubicBezTo>
                <a:cubicBezTo>
                  <a:pt x="3169" y="726"/>
                  <a:pt x="3171" y="724"/>
                  <a:pt x="3173" y="721"/>
                </a:cubicBezTo>
                <a:cubicBezTo>
                  <a:pt x="3173" y="721"/>
                  <a:pt x="3172" y="721"/>
                  <a:pt x="3172" y="721"/>
                </a:cubicBezTo>
                <a:cubicBezTo>
                  <a:pt x="3167" y="722"/>
                  <a:pt x="3163" y="724"/>
                  <a:pt x="3159" y="727"/>
                </a:cubicBezTo>
                <a:cubicBezTo>
                  <a:pt x="3154" y="731"/>
                  <a:pt x="3151" y="736"/>
                  <a:pt x="3151" y="743"/>
                </a:cubicBezTo>
                <a:cubicBezTo>
                  <a:pt x="3150" y="750"/>
                  <a:pt x="3153" y="756"/>
                  <a:pt x="3156" y="762"/>
                </a:cubicBezTo>
                <a:cubicBezTo>
                  <a:pt x="3157" y="763"/>
                  <a:pt x="3157" y="764"/>
                  <a:pt x="3157" y="765"/>
                </a:cubicBezTo>
                <a:cubicBezTo>
                  <a:pt x="3157" y="767"/>
                  <a:pt x="3157" y="769"/>
                  <a:pt x="3156" y="770"/>
                </a:cubicBezTo>
                <a:cubicBezTo>
                  <a:pt x="3156" y="772"/>
                  <a:pt x="3156" y="773"/>
                  <a:pt x="3157" y="773"/>
                </a:cubicBezTo>
                <a:cubicBezTo>
                  <a:pt x="3160" y="774"/>
                  <a:pt x="3163" y="774"/>
                  <a:pt x="3166" y="774"/>
                </a:cubicBezTo>
                <a:cubicBezTo>
                  <a:pt x="3167" y="774"/>
                  <a:pt x="3167" y="774"/>
                  <a:pt x="3167" y="773"/>
                </a:cubicBezTo>
                <a:cubicBezTo>
                  <a:pt x="3168" y="772"/>
                  <a:pt x="3168" y="771"/>
                  <a:pt x="3169" y="770"/>
                </a:cubicBezTo>
                <a:cubicBezTo>
                  <a:pt x="3170" y="767"/>
                  <a:pt x="3170" y="765"/>
                  <a:pt x="3170" y="762"/>
                </a:cubicBezTo>
                <a:cubicBezTo>
                  <a:pt x="3170" y="761"/>
                  <a:pt x="3170" y="761"/>
                  <a:pt x="3170" y="761"/>
                </a:cubicBezTo>
                <a:cubicBezTo>
                  <a:pt x="3170" y="760"/>
                  <a:pt x="3170" y="760"/>
                  <a:pt x="3170" y="760"/>
                </a:cubicBezTo>
                <a:cubicBezTo>
                  <a:pt x="3171" y="763"/>
                  <a:pt x="3172" y="763"/>
                  <a:pt x="3174" y="763"/>
                </a:cubicBezTo>
                <a:cubicBezTo>
                  <a:pt x="3175" y="763"/>
                  <a:pt x="3176" y="763"/>
                  <a:pt x="3177" y="763"/>
                </a:cubicBezTo>
                <a:cubicBezTo>
                  <a:pt x="3180" y="763"/>
                  <a:pt x="3183" y="763"/>
                  <a:pt x="3183" y="759"/>
                </a:cubicBezTo>
                <a:cubicBezTo>
                  <a:pt x="3183" y="761"/>
                  <a:pt x="3183" y="763"/>
                  <a:pt x="3183" y="764"/>
                </a:cubicBezTo>
                <a:cubicBezTo>
                  <a:pt x="3182" y="765"/>
                  <a:pt x="3181" y="765"/>
                  <a:pt x="3180" y="766"/>
                </a:cubicBezTo>
                <a:cubicBezTo>
                  <a:pt x="3178" y="767"/>
                  <a:pt x="3178" y="768"/>
                  <a:pt x="3178" y="769"/>
                </a:cubicBezTo>
                <a:cubicBezTo>
                  <a:pt x="3180" y="771"/>
                  <a:pt x="3181" y="773"/>
                  <a:pt x="3182" y="775"/>
                </a:cubicBezTo>
                <a:cubicBezTo>
                  <a:pt x="3184" y="776"/>
                  <a:pt x="3186" y="776"/>
                  <a:pt x="3187" y="774"/>
                </a:cubicBezTo>
                <a:cubicBezTo>
                  <a:pt x="3188" y="774"/>
                  <a:pt x="3189" y="773"/>
                  <a:pt x="3189" y="773"/>
                </a:cubicBezTo>
                <a:cubicBezTo>
                  <a:pt x="3191" y="771"/>
                  <a:pt x="3193" y="770"/>
                  <a:pt x="3194" y="769"/>
                </a:cubicBezTo>
                <a:cubicBezTo>
                  <a:pt x="3198" y="764"/>
                  <a:pt x="3200" y="758"/>
                  <a:pt x="3202" y="752"/>
                </a:cubicBezTo>
                <a:cubicBezTo>
                  <a:pt x="3202" y="752"/>
                  <a:pt x="3201" y="751"/>
                  <a:pt x="3201" y="751"/>
                </a:cubicBezTo>
                <a:cubicBezTo>
                  <a:pt x="3200" y="750"/>
                  <a:pt x="3199" y="749"/>
                  <a:pt x="3198" y="748"/>
                </a:cubicBezTo>
                <a:close/>
                <a:moveTo>
                  <a:pt x="3150" y="754"/>
                </a:moveTo>
                <a:cubicBezTo>
                  <a:pt x="3150" y="755"/>
                  <a:pt x="3148" y="756"/>
                  <a:pt x="3147" y="757"/>
                </a:cubicBezTo>
                <a:cubicBezTo>
                  <a:pt x="3146" y="757"/>
                  <a:pt x="3146" y="758"/>
                  <a:pt x="3146" y="759"/>
                </a:cubicBezTo>
                <a:cubicBezTo>
                  <a:pt x="3146" y="762"/>
                  <a:pt x="3150" y="766"/>
                  <a:pt x="3154" y="766"/>
                </a:cubicBezTo>
                <a:cubicBezTo>
                  <a:pt x="3155" y="766"/>
                  <a:pt x="3156" y="765"/>
                  <a:pt x="3155" y="763"/>
                </a:cubicBezTo>
                <a:cubicBezTo>
                  <a:pt x="3154" y="760"/>
                  <a:pt x="3152" y="757"/>
                  <a:pt x="3150" y="754"/>
                </a:cubicBezTo>
                <a:close/>
                <a:moveTo>
                  <a:pt x="3203" y="756"/>
                </a:moveTo>
                <a:cubicBezTo>
                  <a:pt x="3201" y="761"/>
                  <a:pt x="3198" y="765"/>
                  <a:pt x="3196" y="770"/>
                </a:cubicBezTo>
                <a:cubicBezTo>
                  <a:pt x="3199" y="770"/>
                  <a:pt x="3201" y="770"/>
                  <a:pt x="3204" y="770"/>
                </a:cubicBezTo>
                <a:cubicBezTo>
                  <a:pt x="3204" y="770"/>
                  <a:pt x="3205" y="769"/>
                  <a:pt x="3205" y="768"/>
                </a:cubicBezTo>
                <a:cubicBezTo>
                  <a:pt x="3205" y="765"/>
                  <a:pt x="3205" y="763"/>
                  <a:pt x="3204" y="761"/>
                </a:cubicBezTo>
                <a:cubicBezTo>
                  <a:pt x="3204" y="759"/>
                  <a:pt x="3204" y="758"/>
                  <a:pt x="3203" y="756"/>
                </a:cubicBezTo>
                <a:close/>
                <a:moveTo>
                  <a:pt x="3150" y="736"/>
                </a:moveTo>
                <a:cubicBezTo>
                  <a:pt x="3150" y="736"/>
                  <a:pt x="3149" y="737"/>
                  <a:pt x="3148" y="737"/>
                </a:cubicBezTo>
                <a:cubicBezTo>
                  <a:pt x="3148" y="737"/>
                  <a:pt x="3147" y="737"/>
                  <a:pt x="3147" y="736"/>
                </a:cubicBezTo>
                <a:cubicBezTo>
                  <a:pt x="3146" y="736"/>
                  <a:pt x="3146" y="735"/>
                  <a:pt x="3146" y="734"/>
                </a:cubicBezTo>
                <a:cubicBezTo>
                  <a:pt x="3147" y="733"/>
                  <a:pt x="3147" y="731"/>
                  <a:pt x="3148" y="729"/>
                </a:cubicBezTo>
                <a:cubicBezTo>
                  <a:pt x="3148" y="729"/>
                  <a:pt x="3148" y="729"/>
                  <a:pt x="3147" y="729"/>
                </a:cubicBezTo>
                <a:cubicBezTo>
                  <a:pt x="3146" y="729"/>
                  <a:pt x="3145" y="730"/>
                  <a:pt x="3144" y="731"/>
                </a:cubicBezTo>
                <a:cubicBezTo>
                  <a:pt x="3144" y="733"/>
                  <a:pt x="3145" y="738"/>
                  <a:pt x="3147" y="738"/>
                </a:cubicBezTo>
                <a:cubicBezTo>
                  <a:pt x="3148" y="739"/>
                  <a:pt x="3150" y="738"/>
                  <a:pt x="3150" y="736"/>
                </a:cubicBezTo>
                <a:close/>
                <a:moveTo>
                  <a:pt x="3150" y="754"/>
                </a:moveTo>
                <a:cubicBezTo>
                  <a:pt x="3150" y="755"/>
                  <a:pt x="3148" y="756"/>
                  <a:pt x="3147" y="757"/>
                </a:cubicBezTo>
                <a:cubicBezTo>
                  <a:pt x="3147" y="757"/>
                  <a:pt x="3146" y="758"/>
                  <a:pt x="3146" y="759"/>
                </a:cubicBezTo>
                <a:cubicBezTo>
                  <a:pt x="3146" y="762"/>
                  <a:pt x="3150" y="766"/>
                  <a:pt x="3154" y="766"/>
                </a:cubicBezTo>
                <a:cubicBezTo>
                  <a:pt x="3155" y="766"/>
                  <a:pt x="3156" y="764"/>
                  <a:pt x="3155" y="763"/>
                </a:cubicBezTo>
                <a:cubicBezTo>
                  <a:pt x="3154" y="760"/>
                  <a:pt x="3152" y="757"/>
                  <a:pt x="3150" y="754"/>
                </a:cubicBezTo>
                <a:close/>
                <a:moveTo>
                  <a:pt x="3203" y="756"/>
                </a:moveTo>
                <a:cubicBezTo>
                  <a:pt x="3201" y="761"/>
                  <a:pt x="3199" y="766"/>
                  <a:pt x="3196" y="770"/>
                </a:cubicBezTo>
                <a:cubicBezTo>
                  <a:pt x="3199" y="770"/>
                  <a:pt x="3201" y="770"/>
                  <a:pt x="3204" y="770"/>
                </a:cubicBezTo>
                <a:cubicBezTo>
                  <a:pt x="3204" y="770"/>
                  <a:pt x="3205" y="769"/>
                  <a:pt x="3205" y="768"/>
                </a:cubicBezTo>
                <a:cubicBezTo>
                  <a:pt x="3205" y="766"/>
                  <a:pt x="3205" y="763"/>
                  <a:pt x="3204" y="761"/>
                </a:cubicBezTo>
                <a:cubicBezTo>
                  <a:pt x="3204" y="759"/>
                  <a:pt x="3204" y="758"/>
                  <a:pt x="3203" y="756"/>
                </a:cubicBezTo>
                <a:close/>
                <a:moveTo>
                  <a:pt x="3151" y="736"/>
                </a:moveTo>
                <a:cubicBezTo>
                  <a:pt x="3150" y="736"/>
                  <a:pt x="3149" y="737"/>
                  <a:pt x="3149" y="737"/>
                </a:cubicBezTo>
                <a:cubicBezTo>
                  <a:pt x="3148" y="737"/>
                  <a:pt x="3147" y="737"/>
                  <a:pt x="3147" y="736"/>
                </a:cubicBezTo>
                <a:cubicBezTo>
                  <a:pt x="3147" y="736"/>
                  <a:pt x="3146" y="735"/>
                  <a:pt x="3146" y="734"/>
                </a:cubicBezTo>
                <a:cubicBezTo>
                  <a:pt x="3147" y="732"/>
                  <a:pt x="3147" y="730"/>
                  <a:pt x="3148" y="729"/>
                </a:cubicBezTo>
                <a:cubicBezTo>
                  <a:pt x="3148" y="729"/>
                  <a:pt x="3148" y="729"/>
                  <a:pt x="3147" y="729"/>
                </a:cubicBezTo>
                <a:cubicBezTo>
                  <a:pt x="3147" y="729"/>
                  <a:pt x="3145" y="730"/>
                  <a:pt x="3145" y="731"/>
                </a:cubicBezTo>
                <a:cubicBezTo>
                  <a:pt x="3144" y="732"/>
                  <a:pt x="3145" y="738"/>
                  <a:pt x="3147" y="738"/>
                </a:cubicBezTo>
                <a:cubicBezTo>
                  <a:pt x="3149" y="739"/>
                  <a:pt x="3151" y="738"/>
                  <a:pt x="3151" y="736"/>
                </a:cubicBezTo>
                <a:close/>
                <a:moveTo>
                  <a:pt x="3203" y="728"/>
                </a:moveTo>
                <a:cubicBezTo>
                  <a:pt x="3206" y="724"/>
                  <a:pt x="3206" y="724"/>
                  <a:pt x="3210" y="723"/>
                </a:cubicBezTo>
                <a:cubicBezTo>
                  <a:pt x="3210" y="725"/>
                  <a:pt x="3211" y="726"/>
                  <a:pt x="3212" y="726"/>
                </a:cubicBezTo>
                <a:cubicBezTo>
                  <a:pt x="3210" y="727"/>
                  <a:pt x="3208" y="729"/>
                  <a:pt x="3206" y="730"/>
                </a:cubicBezTo>
                <a:cubicBezTo>
                  <a:pt x="3206" y="729"/>
                  <a:pt x="3205" y="728"/>
                  <a:pt x="3204" y="727"/>
                </a:cubicBezTo>
                <a:cubicBezTo>
                  <a:pt x="3204" y="727"/>
                  <a:pt x="3204" y="727"/>
                  <a:pt x="3203" y="728"/>
                </a:cubicBezTo>
                <a:close/>
                <a:moveTo>
                  <a:pt x="3209" y="727"/>
                </a:moveTo>
                <a:cubicBezTo>
                  <a:pt x="3208" y="727"/>
                  <a:pt x="3207" y="727"/>
                  <a:pt x="3207" y="727"/>
                </a:cubicBezTo>
                <a:cubicBezTo>
                  <a:pt x="3206" y="727"/>
                  <a:pt x="3206" y="727"/>
                  <a:pt x="3206" y="728"/>
                </a:cubicBezTo>
                <a:cubicBezTo>
                  <a:pt x="3206" y="728"/>
                  <a:pt x="3206" y="728"/>
                  <a:pt x="3206" y="729"/>
                </a:cubicBezTo>
                <a:cubicBezTo>
                  <a:pt x="3207" y="728"/>
                  <a:pt x="3208" y="728"/>
                  <a:pt x="3209" y="727"/>
                </a:cubicBezTo>
                <a:close/>
                <a:moveTo>
                  <a:pt x="3190" y="718"/>
                </a:moveTo>
                <a:cubicBezTo>
                  <a:pt x="3183" y="717"/>
                  <a:pt x="3181" y="719"/>
                  <a:pt x="3179" y="728"/>
                </a:cubicBezTo>
                <a:cubicBezTo>
                  <a:pt x="3181" y="726"/>
                  <a:pt x="3182" y="723"/>
                  <a:pt x="3183" y="721"/>
                </a:cubicBezTo>
                <a:cubicBezTo>
                  <a:pt x="3183" y="721"/>
                  <a:pt x="3183" y="721"/>
                  <a:pt x="3183" y="721"/>
                </a:cubicBezTo>
                <a:cubicBezTo>
                  <a:pt x="3183" y="722"/>
                  <a:pt x="3184" y="723"/>
                  <a:pt x="3184" y="723"/>
                </a:cubicBezTo>
                <a:cubicBezTo>
                  <a:pt x="3185" y="720"/>
                  <a:pt x="3186" y="718"/>
                  <a:pt x="3190" y="718"/>
                </a:cubicBezTo>
                <a:close/>
                <a:moveTo>
                  <a:pt x="3234" y="719"/>
                </a:moveTo>
                <a:cubicBezTo>
                  <a:pt x="3232" y="721"/>
                  <a:pt x="3229" y="722"/>
                  <a:pt x="3228" y="723"/>
                </a:cubicBezTo>
                <a:cubicBezTo>
                  <a:pt x="3230" y="724"/>
                  <a:pt x="3232" y="722"/>
                  <a:pt x="3234" y="719"/>
                </a:cubicBezTo>
                <a:close/>
                <a:moveTo>
                  <a:pt x="3200" y="721"/>
                </a:moveTo>
                <a:cubicBezTo>
                  <a:pt x="3201" y="720"/>
                  <a:pt x="3202" y="719"/>
                  <a:pt x="3203" y="717"/>
                </a:cubicBezTo>
                <a:cubicBezTo>
                  <a:pt x="3200" y="719"/>
                  <a:pt x="3200" y="719"/>
                  <a:pt x="3200" y="721"/>
                </a:cubicBezTo>
                <a:close/>
                <a:moveTo>
                  <a:pt x="3210" y="743"/>
                </a:moveTo>
                <a:cubicBezTo>
                  <a:pt x="3208" y="743"/>
                  <a:pt x="3207" y="744"/>
                  <a:pt x="3207" y="745"/>
                </a:cubicBezTo>
                <a:cubicBezTo>
                  <a:pt x="3208" y="744"/>
                  <a:pt x="3209" y="744"/>
                  <a:pt x="3210" y="743"/>
                </a:cubicBezTo>
                <a:close/>
                <a:moveTo>
                  <a:pt x="3209" y="727"/>
                </a:moveTo>
                <a:cubicBezTo>
                  <a:pt x="3208" y="727"/>
                  <a:pt x="3207" y="727"/>
                  <a:pt x="3207" y="727"/>
                </a:cubicBezTo>
                <a:cubicBezTo>
                  <a:pt x="3206" y="727"/>
                  <a:pt x="3206" y="727"/>
                  <a:pt x="3206" y="728"/>
                </a:cubicBezTo>
                <a:cubicBezTo>
                  <a:pt x="3206" y="728"/>
                  <a:pt x="3206" y="729"/>
                  <a:pt x="3206" y="729"/>
                </a:cubicBezTo>
                <a:cubicBezTo>
                  <a:pt x="3207" y="729"/>
                  <a:pt x="3208" y="728"/>
                  <a:pt x="3209" y="727"/>
                </a:cubicBezTo>
                <a:close/>
                <a:moveTo>
                  <a:pt x="3500" y="705"/>
                </a:moveTo>
                <a:cubicBezTo>
                  <a:pt x="3500" y="705"/>
                  <a:pt x="3500" y="705"/>
                  <a:pt x="3500" y="705"/>
                </a:cubicBezTo>
                <a:cubicBezTo>
                  <a:pt x="3495" y="705"/>
                  <a:pt x="3495" y="705"/>
                  <a:pt x="3495" y="705"/>
                </a:cubicBezTo>
                <a:cubicBezTo>
                  <a:pt x="3493" y="706"/>
                  <a:pt x="3492" y="708"/>
                  <a:pt x="3489" y="709"/>
                </a:cubicBezTo>
                <a:cubicBezTo>
                  <a:pt x="3488" y="710"/>
                  <a:pt x="3486" y="711"/>
                  <a:pt x="3484" y="712"/>
                </a:cubicBezTo>
                <a:cubicBezTo>
                  <a:pt x="3482" y="713"/>
                  <a:pt x="3481" y="714"/>
                  <a:pt x="3479" y="714"/>
                </a:cubicBezTo>
                <a:cubicBezTo>
                  <a:pt x="3477" y="715"/>
                  <a:pt x="3475" y="716"/>
                  <a:pt x="3474" y="716"/>
                </a:cubicBezTo>
                <a:cubicBezTo>
                  <a:pt x="3474" y="716"/>
                  <a:pt x="3474" y="716"/>
                  <a:pt x="3474" y="726"/>
                </a:cubicBezTo>
                <a:cubicBezTo>
                  <a:pt x="3476" y="725"/>
                  <a:pt x="3479" y="725"/>
                  <a:pt x="3482" y="723"/>
                </a:cubicBezTo>
                <a:cubicBezTo>
                  <a:pt x="3484" y="722"/>
                  <a:pt x="3487" y="721"/>
                  <a:pt x="3488" y="720"/>
                </a:cubicBezTo>
                <a:cubicBezTo>
                  <a:pt x="3488" y="720"/>
                  <a:pt x="3488" y="720"/>
                  <a:pt x="3488" y="778"/>
                </a:cubicBezTo>
                <a:cubicBezTo>
                  <a:pt x="3488" y="778"/>
                  <a:pt x="3488" y="778"/>
                  <a:pt x="3500" y="778"/>
                </a:cubicBezTo>
                <a:cubicBezTo>
                  <a:pt x="3500" y="778"/>
                  <a:pt x="3500" y="778"/>
                  <a:pt x="3500" y="705"/>
                </a:cubicBezTo>
                <a:close/>
                <a:moveTo>
                  <a:pt x="3621" y="705"/>
                </a:moveTo>
                <a:cubicBezTo>
                  <a:pt x="3621" y="705"/>
                  <a:pt x="3621" y="705"/>
                  <a:pt x="3621" y="705"/>
                </a:cubicBezTo>
                <a:cubicBezTo>
                  <a:pt x="3616" y="705"/>
                  <a:pt x="3616" y="705"/>
                  <a:pt x="3616" y="705"/>
                </a:cubicBezTo>
                <a:cubicBezTo>
                  <a:pt x="3614" y="706"/>
                  <a:pt x="3613" y="708"/>
                  <a:pt x="3611" y="709"/>
                </a:cubicBezTo>
                <a:cubicBezTo>
                  <a:pt x="3609" y="710"/>
                  <a:pt x="3608" y="711"/>
                  <a:pt x="3605" y="712"/>
                </a:cubicBezTo>
                <a:cubicBezTo>
                  <a:pt x="3604" y="713"/>
                  <a:pt x="3602" y="714"/>
                  <a:pt x="3600" y="714"/>
                </a:cubicBezTo>
                <a:cubicBezTo>
                  <a:pt x="3598" y="715"/>
                  <a:pt x="3597" y="716"/>
                  <a:pt x="3595" y="716"/>
                </a:cubicBezTo>
                <a:cubicBezTo>
                  <a:pt x="3595" y="716"/>
                  <a:pt x="3595" y="716"/>
                  <a:pt x="3595" y="726"/>
                </a:cubicBezTo>
                <a:cubicBezTo>
                  <a:pt x="3597" y="725"/>
                  <a:pt x="3600" y="725"/>
                  <a:pt x="3603" y="723"/>
                </a:cubicBezTo>
                <a:cubicBezTo>
                  <a:pt x="3605" y="722"/>
                  <a:pt x="3608" y="721"/>
                  <a:pt x="3610" y="720"/>
                </a:cubicBezTo>
                <a:cubicBezTo>
                  <a:pt x="3610" y="720"/>
                  <a:pt x="3610" y="720"/>
                  <a:pt x="3610" y="778"/>
                </a:cubicBezTo>
                <a:cubicBezTo>
                  <a:pt x="3610" y="778"/>
                  <a:pt x="3610" y="778"/>
                  <a:pt x="3621" y="778"/>
                </a:cubicBezTo>
                <a:cubicBezTo>
                  <a:pt x="3621" y="778"/>
                  <a:pt x="3621" y="778"/>
                  <a:pt x="3621" y="705"/>
                </a:cubicBezTo>
                <a:close/>
                <a:moveTo>
                  <a:pt x="3668" y="705"/>
                </a:moveTo>
                <a:cubicBezTo>
                  <a:pt x="3668" y="705"/>
                  <a:pt x="3668" y="705"/>
                  <a:pt x="3668" y="705"/>
                </a:cubicBezTo>
                <a:cubicBezTo>
                  <a:pt x="3663" y="705"/>
                  <a:pt x="3663" y="705"/>
                  <a:pt x="3663" y="705"/>
                </a:cubicBezTo>
                <a:cubicBezTo>
                  <a:pt x="3661" y="706"/>
                  <a:pt x="3660" y="708"/>
                  <a:pt x="3657" y="709"/>
                </a:cubicBezTo>
                <a:cubicBezTo>
                  <a:pt x="3656" y="710"/>
                  <a:pt x="3654" y="711"/>
                  <a:pt x="3652" y="712"/>
                </a:cubicBezTo>
                <a:cubicBezTo>
                  <a:pt x="3651" y="713"/>
                  <a:pt x="3649" y="714"/>
                  <a:pt x="3647" y="714"/>
                </a:cubicBezTo>
                <a:cubicBezTo>
                  <a:pt x="3645" y="715"/>
                  <a:pt x="3643" y="716"/>
                  <a:pt x="3641" y="716"/>
                </a:cubicBezTo>
                <a:cubicBezTo>
                  <a:pt x="3641" y="716"/>
                  <a:pt x="3641" y="716"/>
                  <a:pt x="3641" y="726"/>
                </a:cubicBezTo>
                <a:cubicBezTo>
                  <a:pt x="3644" y="725"/>
                  <a:pt x="3647" y="725"/>
                  <a:pt x="3649" y="723"/>
                </a:cubicBezTo>
                <a:cubicBezTo>
                  <a:pt x="3652" y="722"/>
                  <a:pt x="3654" y="721"/>
                  <a:pt x="3657" y="720"/>
                </a:cubicBezTo>
                <a:cubicBezTo>
                  <a:pt x="3657" y="720"/>
                  <a:pt x="3657" y="720"/>
                  <a:pt x="3657" y="778"/>
                </a:cubicBezTo>
                <a:cubicBezTo>
                  <a:pt x="3657" y="778"/>
                  <a:pt x="3657" y="778"/>
                  <a:pt x="3668" y="778"/>
                </a:cubicBezTo>
                <a:cubicBezTo>
                  <a:pt x="3668" y="778"/>
                  <a:pt x="3668" y="778"/>
                  <a:pt x="3668" y="705"/>
                </a:cubicBezTo>
                <a:close/>
                <a:moveTo>
                  <a:pt x="3714" y="705"/>
                </a:moveTo>
                <a:cubicBezTo>
                  <a:pt x="3714" y="705"/>
                  <a:pt x="3714" y="705"/>
                  <a:pt x="3714" y="705"/>
                </a:cubicBezTo>
                <a:cubicBezTo>
                  <a:pt x="3710" y="705"/>
                  <a:pt x="3710" y="705"/>
                  <a:pt x="3710" y="705"/>
                </a:cubicBezTo>
                <a:cubicBezTo>
                  <a:pt x="3708" y="706"/>
                  <a:pt x="3706" y="708"/>
                  <a:pt x="3704" y="709"/>
                </a:cubicBezTo>
                <a:cubicBezTo>
                  <a:pt x="3703" y="710"/>
                  <a:pt x="3700" y="711"/>
                  <a:pt x="3699" y="712"/>
                </a:cubicBezTo>
                <a:cubicBezTo>
                  <a:pt x="3697" y="712"/>
                  <a:pt x="3695" y="713"/>
                  <a:pt x="3693" y="714"/>
                </a:cubicBezTo>
                <a:cubicBezTo>
                  <a:pt x="3692" y="714"/>
                  <a:pt x="3690" y="715"/>
                  <a:pt x="3688" y="716"/>
                </a:cubicBezTo>
                <a:cubicBezTo>
                  <a:pt x="3688" y="716"/>
                  <a:pt x="3688" y="716"/>
                  <a:pt x="3688" y="726"/>
                </a:cubicBezTo>
                <a:cubicBezTo>
                  <a:pt x="3691" y="725"/>
                  <a:pt x="3694" y="724"/>
                  <a:pt x="3696" y="723"/>
                </a:cubicBezTo>
                <a:cubicBezTo>
                  <a:pt x="3698" y="722"/>
                  <a:pt x="3701" y="721"/>
                  <a:pt x="3703" y="720"/>
                </a:cubicBezTo>
                <a:cubicBezTo>
                  <a:pt x="3703" y="720"/>
                  <a:pt x="3703" y="720"/>
                  <a:pt x="3703" y="778"/>
                </a:cubicBezTo>
                <a:cubicBezTo>
                  <a:pt x="3703" y="778"/>
                  <a:pt x="3703" y="778"/>
                  <a:pt x="3714" y="778"/>
                </a:cubicBezTo>
                <a:cubicBezTo>
                  <a:pt x="3714" y="778"/>
                  <a:pt x="3714" y="778"/>
                  <a:pt x="3714" y="705"/>
                </a:cubicBezTo>
                <a:close/>
                <a:moveTo>
                  <a:pt x="3520" y="737"/>
                </a:moveTo>
                <a:cubicBezTo>
                  <a:pt x="3520" y="737"/>
                  <a:pt x="3520" y="737"/>
                  <a:pt x="3520" y="737"/>
                </a:cubicBezTo>
                <a:cubicBezTo>
                  <a:pt x="3520" y="746"/>
                  <a:pt x="3520" y="746"/>
                  <a:pt x="3520" y="746"/>
                </a:cubicBezTo>
                <a:cubicBezTo>
                  <a:pt x="3526" y="746"/>
                  <a:pt x="3527" y="749"/>
                  <a:pt x="3527" y="752"/>
                </a:cubicBezTo>
                <a:cubicBezTo>
                  <a:pt x="3527" y="754"/>
                  <a:pt x="3526" y="756"/>
                  <a:pt x="3526" y="759"/>
                </a:cubicBezTo>
                <a:cubicBezTo>
                  <a:pt x="3526" y="761"/>
                  <a:pt x="3526" y="763"/>
                  <a:pt x="3526" y="766"/>
                </a:cubicBezTo>
                <a:cubicBezTo>
                  <a:pt x="3526" y="775"/>
                  <a:pt x="3532" y="778"/>
                  <a:pt x="3540" y="778"/>
                </a:cubicBezTo>
                <a:cubicBezTo>
                  <a:pt x="3540" y="778"/>
                  <a:pt x="3540" y="778"/>
                  <a:pt x="3544" y="778"/>
                </a:cubicBezTo>
                <a:cubicBezTo>
                  <a:pt x="3544" y="778"/>
                  <a:pt x="3544" y="778"/>
                  <a:pt x="3544" y="769"/>
                </a:cubicBezTo>
                <a:cubicBezTo>
                  <a:pt x="3544" y="769"/>
                  <a:pt x="3544" y="769"/>
                  <a:pt x="3542" y="769"/>
                </a:cubicBezTo>
                <a:cubicBezTo>
                  <a:pt x="3539" y="769"/>
                  <a:pt x="3537" y="767"/>
                  <a:pt x="3537" y="763"/>
                </a:cubicBezTo>
                <a:cubicBezTo>
                  <a:pt x="3537" y="762"/>
                  <a:pt x="3537" y="760"/>
                  <a:pt x="3538" y="759"/>
                </a:cubicBezTo>
                <a:cubicBezTo>
                  <a:pt x="3538" y="757"/>
                  <a:pt x="3538" y="755"/>
                  <a:pt x="3538" y="753"/>
                </a:cubicBezTo>
                <a:cubicBezTo>
                  <a:pt x="3538" y="745"/>
                  <a:pt x="3535" y="743"/>
                  <a:pt x="3530" y="741"/>
                </a:cubicBezTo>
                <a:cubicBezTo>
                  <a:pt x="3530" y="741"/>
                  <a:pt x="3530" y="741"/>
                  <a:pt x="3530" y="741"/>
                </a:cubicBezTo>
                <a:cubicBezTo>
                  <a:pt x="3535" y="740"/>
                  <a:pt x="3538" y="738"/>
                  <a:pt x="3538" y="730"/>
                </a:cubicBezTo>
                <a:cubicBezTo>
                  <a:pt x="3538" y="728"/>
                  <a:pt x="3538" y="726"/>
                  <a:pt x="3538" y="724"/>
                </a:cubicBezTo>
                <a:cubicBezTo>
                  <a:pt x="3537" y="722"/>
                  <a:pt x="3537" y="720"/>
                  <a:pt x="3537" y="719"/>
                </a:cubicBezTo>
                <a:cubicBezTo>
                  <a:pt x="3537" y="716"/>
                  <a:pt x="3539" y="713"/>
                  <a:pt x="3542" y="713"/>
                </a:cubicBezTo>
                <a:cubicBezTo>
                  <a:pt x="3542" y="713"/>
                  <a:pt x="3542" y="713"/>
                  <a:pt x="3544" y="713"/>
                </a:cubicBezTo>
                <a:cubicBezTo>
                  <a:pt x="3544" y="713"/>
                  <a:pt x="3544" y="713"/>
                  <a:pt x="3544" y="704"/>
                </a:cubicBezTo>
                <a:cubicBezTo>
                  <a:pt x="3544" y="704"/>
                  <a:pt x="3544" y="704"/>
                  <a:pt x="3540" y="704"/>
                </a:cubicBezTo>
                <a:cubicBezTo>
                  <a:pt x="3531" y="704"/>
                  <a:pt x="3526" y="708"/>
                  <a:pt x="3526" y="717"/>
                </a:cubicBezTo>
                <a:cubicBezTo>
                  <a:pt x="3526" y="719"/>
                  <a:pt x="3526" y="722"/>
                  <a:pt x="3526" y="724"/>
                </a:cubicBezTo>
                <a:cubicBezTo>
                  <a:pt x="3526" y="726"/>
                  <a:pt x="3527" y="729"/>
                  <a:pt x="3527" y="731"/>
                </a:cubicBezTo>
                <a:cubicBezTo>
                  <a:pt x="3527" y="734"/>
                  <a:pt x="3526" y="737"/>
                  <a:pt x="3520" y="737"/>
                </a:cubicBezTo>
                <a:close/>
                <a:moveTo>
                  <a:pt x="3574" y="746"/>
                </a:moveTo>
                <a:cubicBezTo>
                  <a:pt x="3574" y="746"/>
                  <a:pt x="3574" y="746"/>
                  <a:pt x="3574" y="746"/>
                </a:cubicBezTo>
                <a:cubicBezTo>
                  <a:pt x="3574" y="737"/>
                  <a:pt x="3574" y="737"/>
                  <a:pt x="3574" y="737"/>
                </a:cubicBezTo>
                <a:cubicBezTo>
                  <a:pt x="3568" y="737"/>
                  <a:pt x="3568" y="734"/>
                  <a:pt x="3568" y="731"/>
                </a:cubicBezTo>
                <a:cubicBezTo>
                  <a:pt x="3568" y="729"/>
                  <a:pt x="3568" y="726"/>
                  <a:pt x="3568" y="724"/>
                </a:cubicBezTo>
                <a:cubicBezTo>
                  <a:pt x="3569" y="722"/>
                  <a:pt x="3569" y="719"/>
                  <a:pt x="3569" y="717"/>
                </a:cubicBezTo>
                <a:cubicBezTo>
                  <a:pt x="3569" y="708"/>
                  <a:pt x="3563" y="704"/>
                  <a:pt x="3554" y="704"/>
                </a:cubicBezTo>
                <a:cubicBezTo>
                  <a:pt x="3554" y="704"/>
                  <a:pt x="3554" y="704"/>
                  <a:pt x="3550" y="704"/>
                </a:cubicBezTo>
                <a:cubicBezTo>
                  <a:pt x="3550" y="704"/>
                  <a:pt x="3550" y="704"/>
                  <a:pt x="3550" y="713"/>
                </a:cubicBezTo>
                <a:cubicBezTo>
                  <a:pt x="3550" y="713"/>
                  <a:pt x="3550" y="713"/>
                  <a:pt x="3552" y="713"/>
                </a:cubicBezTo>
                <a:cubicBezTo>
                  <a:pt x="3556" y="713"/>
                  <a:pt x="3557" y="716"/>
                  <a:pt x="3557" y="719"/>
                </a:cubicBezTo>
                <a:cubicBezTo>
                  <a:pt x="3557" y="720"/>
                  <a:pt x="3557" y="722"/>
                  <a:pt x="3557" y="724"/>
                </a:cubicBezTo>
                <a:cubicBezTo>
                  <a:pt x="3556" y="726"/>
                  <a:pt x="3556" y="728"/>
                  <a:pt x="3556" y="730"/>
                </a:cubicBezTo>
                <a:cubicBezTo>
                  <a:pt x="3556" y="738"/>
                  <a:pt x="3559" y="740"/>
                  <a:pt x="3565" y="741"/>
                </a:cubicBezTo>
                <a:cubicBezTo>
                  <a:pt x="3565" y="741"/>
                  <a:pt x="3565" y="741"/>
                  <a:pt x="3565" y="741"/>
                </a:cubicBezTo>
                <a:cubicBezTo>
                  <a:pt x="3559" y="743"/>
                  <a:pt x="3556" y="745"/>
                  <a:pt x="3556" y="753"/>
                </a:cubicBezTo>
                <a:cubicBezTo>
                  <a:pt x="3556" y="755"/>
                  <a:pt x="3556" y="757"/>
                  <a:pt x="3557" y="759"/>
                </a:cubicBezTo>
                <a:cubicBezTo>
                  <a:pt x="3557" y="760"/>
                  <a:pt x="3557" y="762"/>
                  <a:pt x="3557" y="763"/>
                </a:cubicBezTo>
                <a:cubicBezTo>
                  <a:pt x="3557" y="767"/>
                  <a:pt x="3556" y="769"/>
                  <a:pt x="3552" y="769"/>
                </a:cubicBezTo>
                <a:cubicBezTo>
                  <a:pt x="3552" y="769"/>
                  <a:pt x="3552" y="769"/>
                  <a:pt x="3550" y="769"/>
                </a:cubicBezTo>
                <a:cubicBezTo>
                  <a:pt x="3550" y="769"/>
                  <a:pt x="3550" y="769"/>
                  <a:pt x="3550" y="778"/>
                </a:cubicBezTo>
                <a:cubicBezTo>
                  <a:pt x="3550" y="778"/>
                  <a:pt x="3550" y="778"/>
                  <a:pt x="3554" y="778"/>
                </a:cubicBezTo>
                <a:cubicBezTo>
                  <a:pt x="3563" y="778"/>
                  <a:pt x="3569" y="775"/>
                  <a:pt x="3569" y="766"/>
                </a:cubicBezTo>
                <a:cubicBezTo>
                  <a:pt x="3569" y="763"/>
                  <a:pt x="3569" y="761"/>
                  <a:pt x="3568" y="759"/>
                </a:cubicBezTo>
                <a:cubicBezTo>
                  <a:pt x="3568" y="756"/>
                  <a:pt x="3568" y="754"/>
                  <a:pt x="3568" y="752"/>
                </a:cubicBezTo>
                <a:cubicBezTo>
                  <a:pt x="3568" y="749"/>
                  <a:pt x="3568" y="746"/>
                  <a:pt x="3574" y="746"/>
                </a:cubicBezTo>
                <a:close/>
                <a:moveTo>
                  <a:pt x="3758" y="778"/>
                </a:moveTo>
                <a:cubicBezTo>
                  <a:pt x="3751" y="778"/>
                  <a:pt x="3744" y="776"/>
                  <a:pt x="3740" y="770"/>
                </a:cubicBezTo>
                <a:cubicBezTo>
                  <a:pt x="3736" y="763"/>
                  <a:pt x="3734" y="754"/>
                  <a:pt x="3734" y="742"/>
                </a:cubicBezTo>
                <a:cubicBezTo>
                  <a:pt x="3734" y="729"/>
                  <a:pt x="3736" y="719"/>
                  <a:pt x="3741" y="713"/>
                </a:cubicBezTo>
                <a:cubicBezTo>
                  <a:pt x="3745" y="706"/>
                  <a:pt x="3752" y="703"/>
                  <a:pt x="3761" y="703"/>
                </a:cubicBezTo>
                <a:cubicBezTo>
                  <a:pt x="3777" y="703"/>
                  <a:pt x="3785" y="715"/>
                  <a:pt x="3785" y="741"/>
                </a:cubicBezTo>
                <a:cubicBezTo>
                  <a:pt x="3785" y="753"/>
                  <a:pt x="3782" y="762"/>
                  <a:pt x="3777" y="769"/>
                </a:cubicBezTo>
                <a:cubicBezTo>
                  <a:pt x="3773" y="776"/>
                  <a:pt x="3766" y="778"/>
                  <a:pt x="3758" y="778"/>
                </a:cubicBezTo>
                <a:close/>
                <a:moveTo>
                  <a:pt x="3760" y="712"/>
                </a:moveTo>
                <a:cubicBezTo>
                  <a:pt x="3750" y="712"/>
                  <a:pt x="3746" y="722"/>
                  <a:pt x="3746" y="742"/>
                </a:cubicBezTo>
                <a:cubicBezTo>
                  <a:pt x="3746" y="760"/>
                  <a:pt x="3750" y="769"/>
                  <a:pt x="3759" y="769"/>
                </a:cubicBezTo>
                <a:cubicBezTo>
                  <a:pt x="3768" y="769"/>
                  <a:pt x="3772" y="760"/>
                  <a:pt x="3772" y="741"/>
                </a:cubicBezTo>
                <a:cubicBezTo>
                  <a:pt x="3772" y="722"/>
                  <a:pt x="3768" y="712"/>
                  <a:pt x="3760" y="712"/>
                </a:cubicBezTo>
                <a:close/>
                <a:moveTo>
                  <a:pt x="3828" y="778"/>
                </a:moveTo>
                <a:cubicBezTo>
                  <a:pt x="3821" y="778"/>
                  <a:pt x="3815" y="776"/>
                  <a:pt x="3811" y="770"/>
                </a:cubicBezTo>
                <a:cubicBezTo>
                  <a:pt x="3807" y="763"/>
                  <a:pt x="3804" y="754"/>
                  <a:pt x="3804" y="742"/>
                </a:cubicBezTo>
                <a:cubicBezTo>
                  <a:pt x="3804" y="729"/>
                  <a:pt x="3807" y="719"/>
                  <a:pt x="3811" y="713"/>
                </a:cubicBezTo>
                <a:cubicBezTo>
                  <a:pt x="3815" y="706"/>
                  <a:pt x="3822" y="703"/>
                  <a:pt x="3831" y="703"/>
                </a:cubicBezTo>
                <a:cubicBezTo>
                  <a:pt x="3847" y="703"/>
                  <a:pt x="3855" y="715"/>
                  <a:pt x="3855" y="741"/>
                </a:cubicBezTo>
                <a:cubicBezTo>
                  <a:pt x="3855" y="753"/>
                  <a:pt x="3853" y="762"/>
                  <a:pt x="3848" y="769"/>
                </a:cubicBezTo>
                <a:cubicBezTo>
                  <a:pt x="3843" y="776"/>
                  <a:pt x="3837" y="778"/>
                  <a:pt x="3828" y="778"/>
                </a:cubicBezTo>
                <a:close/>
                <a:moveTo>
                  <a:pt x="3830" y="712"/>
                </a:moveTo>
                <a:cubicBezTo>
                  <a:pt x="3821" y="712"/>
                  <a:pt x="3816" y="722"/>
                  <a:pt x="3816" y="742"/>
                </a:cubicBezTo>
                <a:cubicBezTo>
                  <a:pt x="3816" y="760"/>
                  <a:pt x="3820" y="769"/>
                  <a:pt x="3829" y="769"/>
                </a:cubicBezTo>
                <a:cubicBezTo>
                  <a:pt x="3838" y="769"/>
                  <a:pt x="3842" y="760"/>
                  <a:pt x="3842" y="741"/>
                </a:cubicBezTo>
                <a:cubicBezTo>
                  <a:pt x="3842" y="722"/>
                  <a:pt x="3838" y="712"/>
                  <a:pt x="3830" y="712"/>
                </a:cubicBezTo>
                <a:close/>
                <a:moveTo>
                  <a:pt x="1974" y="801"/>
                </a:moveTo>
                <a:cubicBezTo>
                  <a:pt x="1974" y="801"/>
                  <a:pt x="1974" y="801"/>
                  <a:pt x="1974" y="801"/>
                </a:cubicBezTo>
                <a:cubicBezTo>
                  <a:pt x="1969" y="801"/>
                  <a:pt x="1969" y="801"/>
                  <a:pt x="1969" y="801"/>
                </a:cubicBezTo>
                <a:cubicBezTo>
                  <a:pt x="1967" y="802"/>
                  <a:pt x="1965" y="804"/>
                  <a:pt x="1963" y="805"/>
                </a:cubicBezTo>
                <a:cubicBezTo>
                  <a:pt x="1962" y="806"/>
                  <a:pt x="1960" y="807"/>
                  <a:pt x="1958" y="808"/>
                </a:cubicBezTo>
                <a:cubicBezTo>
                  <a:pt x="1956" y="809"/>
                  <a:pt x="1954" y="810"/>
                  <a:pt x="1953" y="810"/>
                </a:cubicBezTo>
                <a:cubicBezTo>
                  <a:pt x="1950" y="811"/>
                  <a:pt x="1949" y="812"/>
                  <a:pt x="1947" y="812"/>
                </a:cubicBezTo>
                <a:cubicBezTo>
                  <a:pt x="1947" y="812"/>
                  <a:pt x="1947" y="812"/>
                  <a:pt x="1947" y="822"/>
                </a:cubicBezTo>
                <a:cubicBezTo>
                  <a:pt x="1950" y="821"/>
                  <a:pt x="1953" y="821"/>
                  <a:pt x="1956" y="819"/>
                </a:cubicBezTo>
                <a:cubicBezTo>
                  <a:pt x="1958" y="818"/>
                  <a:pt x="1960" y="817"/>
                  <a:pt x="1962" y="816"/>
                </a:cubicBezTo>
                <a:cubicBezTo>
                  <a:pt x="1962" y="816"/>
                  <a:pt x="1962" y="816"/>
                  <a:pt x="1962" y="874"/>
                </a:cubicBezTo>
                <a:cubicBezTo>
                  <a:pt x="1962" y="874"/>
                  <a:pt x="1962" y="874"/>
                  <a:pt x="1974" y="874"/>
                </a:cubicBezTo>
                <a:cubicBezTo>
                  <a:pt x="1974" y="874"/>
                  <a:pt x="1974" y="874"/>
                  <a:pt x="1974" y="801"/>
                </a:cubicBezTo>
                <a:close/>
                <a:moveTo>
                  <a:pt x="2022" y="801"/>
                </a:moveTo>
                <a:cubicBezTo>
                  <a:pt x="2022" y="801"/>
                  <a:pt x="2022" y="801"/>
                  <a:pt x="2022" y="801"/>
                </a:cubicBezTo>
                <a:cubicBezTo>
                  <a:pt x="2016" y="801"/>
                  <a:pt x="2016" y="801"/>
                  <a:pt x="2016" y="801"/>
                </a:cubicBezTo>
                <a:cubicBezTo>
                  <a:pt x="2014" y="802"/>
                  <a:pt x="2013" y="804"/>
                  <a:pt x="2011" y="805"/>
                </a:cubicBezTo>
                <a:cubicBezTo>
                  <a:pt x="2009" y="806"/>
                  <a:pt x="2007" y="807"/>
                  <a:pt x="2005" y="808"/>
                </a:cubicBezTo>
                <a:cubicBezTo>
                  <a:pt x="2004" y="809"/>
                  <a:pt x="2002" y="810"/>
                  <a:pt x="2000" y="810"/>
                </a:cubicBezTo>
                <a:cubicBezTo>
                  <a:pt x="1998" y="811"/>
                  <a:pt x="1996" y="812"/>
                  <a:pt x="1994" y="812"/>
                </a:cubicBezTo>
                <a:cubicBezTo>
                  <a:pt x="1994" y="812"/>
                  <a:pt x="1994" y="812"/>
                  <a:pt x="1994" y="822"/>
                </a:cubicBezTo>
                <a:cubicBezTo>
                  <a:pt x="1997" y="821"/>
                  <a:pt x="2000" y="821"/>
                  <a:pt x="2002" y="819"/>
                </a:cubicBezTo>
                <a:cubicBezTo>
                  <a:pt x="2005" y="818"/>
                  <a:pt x="2008" y="817"/>
                  <a:pt x="2010" y="816"/>
                </a:cubicBezTo>
                <a:cubicBezTo>
                  <a:pt x="2010" y="816"/>
                  <a:pt x="2010" y="816"/>
                  <a:pt x="2010" y="874"/>
                </a:cubicBezTo>
                <a:cubicBezTo>
                  <a:pt x="2010" y="874"/>
                  <a:pt x="2010" y="874"/>
                  <a:pt x="2022" y="874"/>
                </a:cubicBezTo>
                <a:cubicBezTo>
                  <a:pt x="2022" y="874"/>
                  <a:pt x="2022" y="874"/>
                  <a:pt x="2022" y="801"/>
                </a:cubicBezTo>
                <a:close/>
                <a:moveTo>
                  <a:pt x="2068" y="801"/>
                </a:moveTo>
                <a:cubicBezTo>
                  <a:pt x="2068" y="801"/>
                  <a:pt x="2068" y="801"/>
                  <a:pt x="2068" y="801"/>
                </a:cubicBezTo>
                <a:cubicBezTo>
                  <a:pt x="2064" y="801"/>
                  <a:pt x="2064" y="801"/>
                  <a:pt x="2064" y="801"/>
                </a:cubicBezTo>
                <a:cubicBezTo>
                  <a:pt x="2062" y="802"/>
                  <a:pt x="2060" y="804"/>
                  <a:pt x="2058" y="805"/>
                </a:cubicBezTo>
                <a:cubicBezTo>
                  <a:pt x="2057" y="806"/>
                  <a:pt x="2054" y="807"/>
                  <a:pt x="2053" y="808"/>
                </a:cubicBezTo>
                <a:cubicBezTo>
                  <a:pt x="2051" y="808"/>
                  <a:pt x="2049" y="809"/>
                  <a:pt x="2047" y="810"/>
                </a:cubicBezTo>
                <a:cubicBezTo>
                  <a:pt x="2046" y="810"/>
                  <a:pt x="2044" y="811"/>
                  <a:pt x="2042" y="812"/>
                </a:cubicBezTo>
                <a:cubicBezTo>
                  <a:pt x="2042" y="812"/>
                  <a:pt x="2042" y="812"/>
                  <a:pt x="2042" y="822"/>
                </a:cubicBezTo>
                <a:cubicBezTo>
                  <a:pt x="2045" y="821"/>
                  <a:pt x="2048" y="820"/>
                  <a:pt x="2050" y="819"/>
                </a:cubicBezTo>
                <a:cubicBezTo>
                  <a:pt x="2052" y="818"/>
                  <a:pt x="2055" y="817"/>
                  <a:pt x="2057" y="816"/>
                </a:cubicBezTo>
                <a:cubicBezTo>
                  <a:pt x="2057" y="816"/>
                  <a:pt x="2057" y="816"/>
                  <a:pt x="2057" y="874"/>
                </a:cubicBezTo>
                <a:cubicBezTo>
                  <a:pt x="2057" y="874"/>
                  <a:pt x="2057" y="874"/>
                  <a:pt x="2068" y="874"/>
                </a:cubicBezTo>
                <a:cubicBezTo>
                  <a:pt x="2068" y="874"/>
                  <a:pt x="2068" y="874"/>
                  <a:pt x="2068" y="801"/>
                </a:cubicBezTo>
                <a:close/>
                <a:moveTo>
                  <a:pt x="2113" y="874"/>
                </a:moveTo>
                <a:cubicBezTo>
                  <a:pt x="2106" y="874"/>
                  <a:pt x="2099" y="872"/>
                  <a:pt x="2095" y="866"/>
                </a:cubicBezTo>
                <a:cubicBezTo>
                  <a:pt x="2091" y="859"/>
                  <a:pt x="2089" y="850"/>
                  <a:pt x="2089" y="838"/>
                </a:cubicBezTo>
                <a:cubicBezTo>
                  <a:pt x="2089" y="825"/>
                  <a:pt x="2091" y="815"/>
                  <a:pt x="2095" y="808"/>
                </a:cubicBezTo>
                <a:cubicBezTo>
                  <a:pt x="2100" y="802"/>
                  <a:pt x="2106" y="798"/>
                  <a:pt x="2115" y="798"/>
                </a:cubicBezTo>
                <a:cubicBezTo>
                  <a:pt x="2131" y="798"/>
                  <a:pt x="2139" y="811"/>
                  <a:pt x="2139" y="836"/>
                </a:cubicBezTo>
                <a:cubicBezTo>
                  <a:pt x="2139" y="849"/>
                  <a:pt x="2137" y="858"/>
                  <a:pt x="2132" y="865"/>
                </a:cubicBezTo>
                <a:cubicBezTo>
                  <a:pt x="2128" y="872"/>
                  <a:pt x="2121" y="874"/>
                  <a:pt x="2113" y="874"/>
                </a:cubicBezTo>
                <a:close/>
                <a:moveTo>
                  <a:pt x="2114" y="808"/>
                </a:moveTo>
                <a:cubicBezTo>
                  <a:pt x="2105" y="808"/>
                  <a:pt x="2101" y="818"/>
                  <a:pt x="2101" y="838"/>
                </a:cubicBezTo>
                <a:cubicBezTo>
                  <a:pt x="2101" y="856"/>
                  <a:pt x="2105" y="865"/>
                  <a:pt x="2114" y="865"/>
                </a:cubicBezTo>
                <a:cubicBezTo>
                  <a:pt x="2122" y="865"/>
                  <a:pt x="2127" y="856"/>
                  <a:pt x="2127" y="837"/>
                </a:cubicBezTo>
                <a:cubicBezTo>
                  <a:pt x="2127" y="817"/>
                  <a:pt x="2122" y="808"/>
                  <a:pt x="2114" y="808"/>
                </a:cubicBezTo>
                <a:close/>
                <a:moveTo>
                  <a:pt x="2184" y="874"/>
                </a:moveTo>
                <a:cubicBezTo>
                  <a:pt x="2176" y="874"/>
                  <a:pt x="2170" y="872"/>
                  <a:pt x="2166" y="866"/>
                </a:cubicBezTo>
                <a:cubicBezTo>
                  <a:pt x="2162" y="859"/>
                  <a:pt x="2159" y="850"/>
                  <a:pt x="2159" y="838"/>
                </a:cubicBezTo>
                <a:cubicBezTo>
                  <a:pt x="2159" y="825"/>
                  <a:pt x="2162" y="815"/>
                  <a:pt x="2166" y="808"/>
                </a:cubicBezTo>
                <a:cubicBezTo>
                  <a:pt x="2170" y="802"/>
                  <a:pt x="2177" y="798"/>
                  <a:pt x="2186" y="798"/>
                </a:cubicBezTo>
                <a:cubicBezTo>
                  <a:pt x="2202" y="798"/>
                  <a:pt x="2210" y="811"/>
                  <a:pt x="2210" y="836"/>
                </a:cubicBezTo>
                <a:cubicBezTo>
                  <a:pt x="2210" y="849"/>
                  <a:pt x="2208" y="858"/>
                  <a:pt x="2204" y="865"/>
                </a:cubicBezTo>
                <a:cubicBezTo>
                  <a:pt x="2198" y="872"/>
                  <a:pt x="2193" y="874"/>
                  <a:pt x="2184" y="874"/>
                </a:cubicBezTo>
                <a:close/>
                <a:moveTo>
                  <a:pt x="2185" y="808"/>
                </a:moveTo>
                <a:cubicBezTo>
                  <a:pt x="2176" y="808"/>
                  <a:pt x="2171" y="818"/>
                  <a:pt x="2171" y="838"/>
                </a:cubicBezTo>
                <a:cubicBezTo>
                  <a:pt x="2171" y="856"/>
                  <a:pt x="2176" y="865"/>
                  <a:pt x="2184" y="865"/>
                </a:cubicBezTo>
                <a:cubicBezTo>
                  <a:pt x="2193" y="865"/>
                  <a:pt x="2198" y="856"/>
                  <a:pt x="2198" y="837"/>
                </a:cubicBezTo>
                <a:cubicBezTo>
                  <a:pt x="2198" y="817"/>
                  <a:pt x="2193" y="808"/>
                  <a:pt x="2185" y="808"/>
                </a:cubicBezTo>
                <a:close/>
                <a:moveTo>
                  <a:pt x="2397" y="874"/>
                </a:moveTo>
                <a:cubicBezTo>
                  <a:pt x="2389" y="874"/>
                  <a:pt x="2383" y="872"/>
                  <a:pt x="2379" y="865"/>
                </a:cubicBezTo>
                <a:cubicBezTo>
                  <a:pt x="2375" y="859"/>
                  <a:pt x="2372" y="849"/>
                  <a:pt x="2372" y="838"/>
                </a:cubicBezTo>
                <a:cubicBezTo>
                  <a:pt x="2372" y="825"/>
                  <a:pt x="2375" y="815"/>
                  <a:pt x="2379" y="808"/>
                </a:cubicBezTo>
                <a:cubicBezTo>
                  <a:pt x="2383" y="801"/>
                  <a:pt x="2390" y="798"/>
                  <a:pt x="2399" y="798"/>
                </a:cubicBezTo>
                <a:cubicBezTo>
                  <a:pt x="2415" y="798"/>
                  <a:pt x="2423" y="811"/>
                  <a:pt x="2423" y="836"/>
                </a:cubicBezTo>
                <a:cubicBezTo>
                  <a:pt x="2423" y="849"/>
                  <a:pt x="2421" y="858"/>
                  <a:pt x="2416" y="865"/>
                </a:cubicBezTo>
                <a:cubicBezTo>
                  <a:pt x="2411" y="872"/>
                  <a:pt x="2405" y="874"/>
                  <a:pt x="2397" y="874"/>
                </a:cubicBezTo>
                <a:close/>
                <a:moveTo>
                  <a:pt x="2398" y="808"/>
                </a:moveTo>
                <a:cubicBezTo>
                  <a:pt x="2389" y="808"/>
                  <a:pt x="2385" y="817"/>
                  <a:pt x="2385" y="837"/>
                </a:cubicBezTo>
                <a:cubicBezTo>
                  <a:pt x="2385" y="855"/>
                  <a:pt x="2389" y="865"/>
                  <a:pt x="2398" y="865"/>
                </a:cubicBezTo>
                <a:cubicBezTo>
                  <a:pt x="2406" y="865"/>
                  <a:pt x="2410" y="855"/>
                  <a:pt x="2410" y="837"/>
                </a:cubicBezTo>
                <a:cubicBezTo>
                  <a:pt x="2410" y="817"/>
                  <a:pt x="2407" y="808"/>
                  <a:pt x="2398" y="808"/>
                </a:cubicBezTo>
                <a:close/>
                <a:moveTo>
                  <a:pt x="2515" y="874"/>
                </a:moveTo>
                <a:cubicBezTo>
                  <a:pt x="2507" y="874"/>
                  <a:pt x="2502" y="872"/>
                  <a:pt x="2497" y="865"/>
                </a:cubicBezTo>
                <a:cubicBezTo>
                  <a:pt x="2493" y="859"/>
                  <a:pt x="2491" y="849"/>
                  <a:pt x="2491" y="838"/>
                </a:cubicBezTo>
                <a:cubicBezTo>
                  <a:pt x="2491" y="825"/>
                  <a:pt x="2493" y="815"/>
                  <a:pt x="2497" y="808"/>
                </a:cubicBezTo>
                <a:cubicBezTo>
                  <a:pt x="2502" y="801"/>
                  <a:pt x="2508" y="798"/>
                  <a:pt x="2517" y="798"/>
                </a:cubicBezTo>
                <a:cubicBezTo>
                  <a:pt x="2533" y="798"/>
                  <a:pt x="2541" y="811"/>
                  <a:pt x="2541" y="836"/>
                </a:cubicBezTo>
                <a:cubicBezTo>
                  <a:pt x="2541" y="849"/>
                  <a:pt x="2539" y="858"/>
                  <a:pt x="2534" y="865"/>
                </a:cubicBezTo>
                <a:cubicBezTo>
                  <a:pt x="2529" y="872"/>
                  <a:pt x="2523" y="874"/>
                  <a:pt x="2515" y="874"/>
                </a:cubicBezTo>
                <a:close/>
                <a:moveTo>
                  <a:pt x="2516" y="808"/>
                </a:moveTo>
                <a:cubicBezTo>
                  <a:pt x="2507" y="808"/>
                  <a:pt x="2503" y="817"/>
                  <a:pt x="2503" y="837"/>
                </a:cubicBezTo>
                <a:cubicBezTo>
                  <a:pt x="2503" y="855"/>
                  <a:pt x="2507" y="865"/>
                  <a:pt x="2516" y="865"/>
                </a:cubicBezTo>
                <a:cubicBezTo>
                  <a:pt x="2524" y="865"/>
                  <a:pt x="2529" y="855"/>
                  <a:pt x="2529" y="837"/>
                </a:cubicBezTo>
                <a:cubicBezTo>
                  <a:pt x="2529" y="817"/>
                  <a:pt x="2525" y="808"/>
                  <a:pt x="2516" y="808"/>
                </a:cubicBezTo>
                <a:close/>
                <a:moveTo>
                  <a:pt x="2470" y="801"/>
                </a:moveTo>
                <a:cubicBezTo>
                  <a:pt x="2470" y="801"/>
                  <a:pt x="2470" y="801"/>
                  <a:pt x="2470" y="801"/>
                </a:cubicBezTo>
                <a:cubicBezTo>
                  <a:pt x="2465" y="801"/>
                  <a:pt x="2465" y="801"/>
                  <a:pt x="2465" y="801"/>
                </a:cubicBezTo>
                <a:cubicBezTo>
                  <a:pt x="2463" y="802"/>
                  <a:pt x="2461" y="804"/>
                  <a:pt x="2459" y="805"/>
                </a:cubicBezTo>
                <a:cubicBezTo>
                  <a:pt x="2458" y="806"/>
                  <a:pt x="2456" y="807"/>
                  <a:pt x="2454" y="808"/>
                </a:cubicBezTo>
                <a:cubicBezTo>
                  <a:pt x="2453" y="808"/>
                  <a:pt x="2451" y="809"/>
                  <a:pt x="2449" y="810"/>
                </a:cubicBezTo>
                <a:cubicBezTo>
                  <a:pt x="2447" y="810"/>
                  <a:pt x="2446" y="811"/>
                  <a:pt x="2444" y="812"/>
                </a:cubicBezTo>
                <a:cubicBezTo>
                  <a:pt x="2444" y="812"/>
                  <a:pt x="2444" y="812"/>
                  <a:pt x="2444" y="822"/>
                </a:cubicBezTo>
                <a:cubicBezTo>
                  <a:pt x="2446" y="821"/>
                  <a:pt x="2449" y="820"/>
                  <a:pt x="2451" y="819"/>
                </a:cubicBezTo>
                <a:cubicBezTo>
                  <a:pt x="2454" y="818"/>
                  <a:pt x="2456" y="817"/>
                  <a:pt x="2459" y="816"/>
                </a:cubicBezTo>
                <a:cubicBezTo>
                  <a:pt x="2459" y="816"/>
                  <a:pt x="2459" y="816"/>
                  <a:pt x="2459" y="874"/>
                </a:cubicBezTo>
                <a:cubicBezTo>
                  <a:pt x="2459" y="874"/>
                  <a:pt x="2459" y="874"/>
                  <a:pt x="2470" y="874"/>
                </a:cubicBezTo>
                <a:cubicBezTo>
                  <a:pt x="2470" y="874"/>
                  <a:pt x="2470" y="874"/>
                  <a:pt x="2470" y="801"/>
                </a:cubicBezTo>
                <a:close/>
                <a:moveTo>
                  <a:pt x="2586" y="874"/>
                </a:moveTo>
                <a:cubicBezTo>
                  <a:pt x="2578" y="874"/>
                  <a:pt x="2572" y="872"/>
                  <a:pt x="2568" y="866"/>
                </a:cubicBezTo>
                <a:cubicBezTo>
                  <a:pt x="2564" y="859"/>
                  <a:pt x="2562" y="850"/>
                  <a:pt x="2562" y="838"/>
                </a:cubicBezTo>
                <a:cubicBezTo>
                  <a:pt x="2562" y="825"/>
                  <a:pt x="2564" y="815"/>
                  <a:pt x="2568" y="808"/>
                </a:cubicBezTo>
                <a:cubicBezTo>
                  <a:pt x="2573" y="802"/>
                  <a:pt x="2579" y="798"/>
                  <a:pt x="2588" y="798"/>
                </a:cubicBezTo>
                <a:cubicBezTo>
                  <a:pt x="2604" y="798"/>
                  <a:pt x="2612" y="811"/>
                  <a:pt x="2612" y="836"/>
                </a:cubicBezTo>
                <a:cubicBezTo>
                  <a:pt x="2612" y="849"/>
                  <a:pt x="2610" y="858"/>
                  <a:pt x="2605" y="865"/>
                </a:cubicBezTo>
                <a:cubicBezTo>
                  <a:pt x="2600" y="872"/>
                  <a:pt x="2594" y="874"/>
                  <a:pt x="2586" y="874"/>
                </a:cubicBezTo>
                <a:close/>
                <a:moveTo>
                  <a:pt x="2587" y="808"/>
                </a:moveTo>
                <a:cubicBezTo>
                  <a:pt x="2578" y="808"/>
                  <a:pt x="2573" y="818"/>
                  <a:pt x="2573" y="838"/>
                </a:cubicBezTo>
                <a:cubicBezTo>
                  <a:pt x="2573" y="856"/>
                  <a:pt x="2578" y="865"/>
                  <a:pt x="2586" y="865"/>
                </a:cubicBezTo>
                <a:cubicBezTo>
                  <a:pt x="2595" y="865"/>
                  <a:pt x="2600" y="856"/>
                  <a:pt x="2600" y="837"/>
                </a:cubicBezTo>
                <a:cubicBezTo>
                  <a:pt x="2600" y="817"/>
                  <a:pt x="2595" y="808"/>
                  <a:pt x="2587" y="808"/>
                </a:cubicBezTo>
                <a:close/>
                <a:moveTo>
                  <a:pt x="2633" y="833"/>
                </a:moveTo>
                <a:cubicBezTo>
                  <a:pt x="2633" y="833"/>
                  <a:pt x="2633" y="833"/>
                  <a:pt x="2633" y="833"/>
                </a:cubicBezTo>
                <a:cubicBezTo>
                  <a:pt x="2633" y="842"/>
                  <a:pt x="2633" y="842"/>
                  <a:pt x="2633" y="842"/>
                </a:cubicBezTo>
                <a:cubicBezTo>
                  <a:pt x="2639" y="842"/>
                  <a:pt x="2640" y="845"/>
                  <a:pt x="2640" y="848"/>
                </a:cubicBezTo>
                <a:cubicBezTo>
                  <a:pt x="2640" y="850"/>
                  <a:pt x="2639" y="852"/>
                  <a:pt x="2639" y="855"/>
                </a:cubicBezTo>
                <a:cubicBezTo>
                  <a:pt x="2639" y="857"/>
                  <a:pt x="2639" y="859"/>
                  <a:pt x="2639" y="862"/>
                </a:cubicBezTo>
                <a:cubicBezTo>
                  <a:pt x="2639" y="871"/>
                  <a:pt x="2644" y="874"/>
                  <a:pt x="2653" y="874"/>
                </a:cubicBezTo>
                <a:cubicBezTo>
                  <a:pt x="2653" y="874"/>
                  <a:pt x="2653" y="874"/>
                  <a:pt x="2657" y="874"/>
                </a:cubicBezTo>
                <a:cubicBezTo>
                  <a:pt x="2657" y="874"/>
                  <a:pt x="2657" y="874"/>
                  <a:pt x="2657" y="865"/>
                </a:cubicBezTo>
                <a:cubicBezTo>
                  <a:pt x="2657" y="865"/>
                  <a:pt x="2657" y="865"/>
                  <a:pt x="2655" y="865"/>
                </a:cubicBezTo>
                <a:cubicBezTo>
                  <a:pt x="2651" y="865"/>
                  <a:pt x="2650" y="863"/>
                  <a:pt x="2650" y="859"/>
                </a:cubicBezTo>
                <a:cubicBezTo>
                  <a:pt x="2650" y="858"/>
                  <a:pt x="2650" y="856"/>
                  <a:pt x="2651" y="855"/>
                </a:cubicBezTo>
                <a:cubicBezTo>
                  <a:pt x="2651" y="853"/>
                  <a:pt x="2651" y="851"/>
                  <a:pt x="2651" y="849"/>
                </a:cubicBezTo>
                <a:cubicBezTo>
                  <a:pt x="2651" y="841"/>
                  <a:pt x="2648" y="839"/>
                  <a:pt x="2643" y="837"/>
                </a:cubicBezTo>
                <a:cubicBezTo>
                  <a:pt x="2643" y="837"/>
                  <a:pt x="2643" y="837"/>
                  <a:pt x="2643" y="837"/>
                </a:cubicBezTo>
                <a:cubicBezTo>
                  <a:pt x="2648" y="836"/>
                  <a:pt x="2651" y="834"/>
                  <a:pt x="2651" y="826"/>
                </a:cubicBezTo>
                <a:cubicBezTo>
                  <a:pt x="2651" y="824"/>
                  <a:pt x="2651" y="822"/>
                  <a:pt x="2651" y="820"/>
                </a:cubicBezTo>
                <a:cubicBezTo>
                  <a:pt x="2650" y="818"/>
                  <a:pt x="2650" y="816"/>
                  <a:pt x="2650" y="815"/>
                </a:cubicBezTo>
                <a:cubicBezTo>
                  <a:pt x="2650" y="812"/>
                  <a:pt x="2651" y="809"/>
                  <a:pt x="2655" y="809"/>
                </a:cubicBezTo>
                <a:cubicBezTo>
                  <a:pt x="2655" y="809"/>
                  <a:pt x="2655" y="809"/>
                  <a:pt x="2657" y="809"/>
                </a:cubicBezTo>
                <a:cubicBezTo>
                  <a:pt x="2657" y="809"/>
                  <a:pt x="2657" y="809"/>
                  <a:pt x="2657" y="800"/>
                </a:cubicBezTo>
                <a:cubicBezTo>
                  <a:pt x="2657" y="800"/>
                  <a:pt x="2657" y="800"/>
                  <a:pt x="2653" y="800"/>
                </a:cubicBezTo>
                <a:cubicBezTo>
                  <a:pt x="2644" y="800"/>
                  <a:pt x="2639" y="804"/>
                  <a:pt x="2639" y="813"/>
                </a:cubicBezTo>
                <a:cubicBezTo>
                  <a:pt x="2639" y="815"/>
                  <a:pt x="2639" y="818"/>
                  <a:pt x="2639" y="820"/>
                </a:cubicBezTo>
                <a:cubicBezTo>
                  <a:pt x="2639" y="822"/>
                  <a:pt x="2640" y="825"/>
                  <a:pt x="2640" y="827"/>
                </a:cubicBezTo>
                <a:cubicBezTo>
                  <a:pt x="2640" y="830"/>
                  <a:pt x="2639" y="833"/>
                  <a:pt x="2633" y="833"/>
                </a:cubicBezTo>
                <a:close/>
                <a:moveTo>
                  <a:pt x="2687" y="842"/>
                </a:moveTo>
                <a:cubicBezTo>
                  <a:pt x="2687" y="842"/>
                  <a:pt x="2687" y="842"/>
                  <a:pt x="2687" y="842"/>
                </a:cubicBezTo>
                <a:cubicBezTo>
                  <a:pt x="2687" y="833"/>
                  <a:pt x="2687" y="833"/>
                  <a:pt x="2687" y="833"/>
                </a:cubicBezTo>
                <a:cubicBezTo>
                  <a:pt x="2681" y="833"/>
                  <a:pt x="2681" y="830"/>
                  <a:pt x="2681" y="827"/>
                </a:cubicBezTo>
                <a:cubicBezTo>
                  <a:pt x="2681" y="825"/>
                  <a:pt x="2681" y="822"/>
                  <a:pt x="2681" y="820"/>
                </a:cubicBezTo>
                <a:cubicBezTo>
                  <a:pt x="2681" y="818"/>
                  <a:pt x="2681" y="815"/>
                  <a:pt x="2681" y="813"/>
                </a:cubicBezTo>
                <a:cubicBezTo>
                  <a:pt x="2681" y="804"/>
                  <a:pt x="2676" y="800"/>
                  <a:pt x="2667" y="800"/>
                </a:cubicBezTo>
                <a:cubicBezTo>
                  <a:pt x="2667" y="800"/>
                  <a:pt x="2667" y="800"/>
                  <a:pt x="2663" y="800"/>
                </a:cubicBezTo>
                <a:cubicBezTo>
                  <a:pt x="2663" y="800"/>
                  <a:pt x="2663" y="800"/>
                  <a:pt x="2663" y="809"/>
                </a:cubicBezTo>
                <a:cubicBezTo>
                  <a:pt x="2663" y="809"/>
                  <a:pt x="2663" y="809"/>
                  <a:pt x="2665" y="809"/>
                </a:cubicBezTo>
                <a:cubicBezTo>
                  <a:pt x="2669" y="809"/>
                  <a:pt x="2670" y="812"/>
                  <a:pt x="2670" y="815"/>
                </a:cubicBezTo>
                <a:cubicBezTo>
                  <a:pt x="2670" y="816"/>
                  <a:pt x="2670" y="818"/>
                  <a:pt x="2670" y="820"/>
                </a:cubicBezTo>
                <a:cubicBezTo>
                  <a:pt x="2669" y="822"/>
                  <a:pt x="2669" y="824"/>
                  <a:pt x="2669" y="826"/>
                </a:cubicBezTo>
                <a:cubicBezTo>
                  <a:pt x="2669" y="834"/>
                  <a:pt x="2672" y="836"/>
                  <a:pt x="2678" y="837"/>
                </a:cubicBezTo>
                <a:cubicBezTo>
                  <a:pt x="2678" y="837"/>
                  <a:pt x="2678" y="837"/>
                  <a:pt x="2678" y="837"/>
                </a:cubicBezTo>
                <a:cubicBezTo>
                  <a:pt x="2672" y="839"/>
                  <a:pt x="2669" y="841"/>
                  <a:pt x="2669" y="849"/>
                </a:cubicBezTo>
                <a:cubicBezTo>
                  <a:pt x="2669" y="851"/>
                  <a:pt x="2669" y="853"/>
                  <a:pt x="2670" y="855"/>
                </a:cubicBezTo>
                <a:cubicBezTo>
                  <a:pt x="2670" y="856"/>
                  <a:pt x="2670" y="858"/>
                  <a:pt x="2670" y="859"/>
                </a:cubicBezTo>
                <a:cubicBezTo>
                  <a:pt x="2670" y="863"/>
                  <a:pt x="2669" y="865"/>
                  <a:pt x="2665" y="865"/>
                </a:cubicBezTo>
                <a:cubicBezTo>
                  <a:pt x="2665" y="865"/>
                  <a:pt x="2665" y="865"/>
                  <a:pt x="2663" y="865"/>
                </a:cubicBezTo>
                <a:cubicBezTo>
                  <a:pt x="2663" y="865"/>
                  <a:pt x="2663" y="865"/>
                  <a:pt x="2663" y="874"/>
                </a:cubicBezTo>
                <a:cubicBezTo>
                  <a:pt x="2663" y="874"/>
                  <a:pt x="2663" y="874"/>
                  <a:pt x="2667" y="874"/>
                </a:cubicBezTo>
                <a:cubicBezTo>
                  <a:pt x="2676" y="874"/>
                  <a:pt x="2681" y="871"/>
                  <a:pt x="2681" y="862"/>
                </a:cubicBezTo>
                <a:cubicBezTo>
                  <a:pt x="2681" y="859"/>
                  <a:pt x="2681" y="857"/>
                  <a:pt x="2681" y="855"/>
                </a:cubicBezTo>
                <a:cubicBezTo>
                  <a:pt x="2681" y="852"/>
                  <a:pt x="2681" y="850"/>
                  <a:pt x="2681" y="848"/>
                </a:cubicBezTo>
                <a:cubicBezTo>
                  <a:pt x="2681" y="845"/>
                  <a:pt x="2681" y="842"/>
                  <a:pt x="2687" y="842"/>
                </a:cubicBezTo>
                <a:close/>
                <a:moveTo>
                  <a:pt x="2808" y="874"/>
                </a:moveTo>
                <a:cubicBezTo>
                  <a:pt x="2801" y="874"/>
                  <a:pt x="2794" y="872"/>
                  <a:pt x="2790" y="866"/>
                </a:cubicBezTo>
                <a:cubicBezTo>
                  <a:pt x="2786" y="859"/>
                  <a:pt x="2784" y="850"/>
                  <a:pt x="2784" y="838"/>
                </a:cubicBezTo>
                <a:cubicBezTo>
                  <a:pt x="2784" y="825"/>
                  <a:pt x="2786" y="815"/>
                  <a:pt x="2790" y="808"/>
                </a:cubicBezTo>
                <a:cubicBezTo>
                  <a:pt x="2795" y="802"/>
                  <a:pt x="2801" y="798"/>
                  <a:pt x="2810" y="798"/>
                </a:cubicBezTo>
                <a:cubicBezTo>
                  <a:pt x="2826" y="798"/>
                  <a:pt x="2834" y="811"/>
                  <a:pt x="2834" y="836"/>
                </a:cubicBezTo>
                <a:cubicBezTo>
                  <a:pt x="2834" y="849"/>
                  <a:pt x="2832" y="858"/>
                  <a:pt x="2827" y="865"/>
                </a:cubicBezTo>
                <a:cubicBezTo>
                  <a:pt x="2823" y="872"/>
                  <a:pt x="2816" y="874"/>
                  <a:pt x="2808" y="874"/>
                </a:cubicBezTo>
                <a:close/>
                <a:moveTo>
                  <a:pt x="2809" y="808"/>
                </a:moveTo>
                <a:cubicBezTo>
                  <a:pt x="2800" y="808"/>
                  <a:pt x="2796" y="818"/>
                  <a:pt x="2796" y="838"/>
                </a:cubicBezTo>
                <a:cubicBezTo>
                  <a:pt x="2796" y="856"/>
                  <a:pt x="2800" y="865"/>
                  <a:pt x="2809" y="865"/>
                </a:cubicBezTo>
                <a:cubicBezTo>
                  <a:pt x="2817" y="865"/>
                  <a:pt x="2822" y="856"/>
                  <a:pt x="2822" y="837"/>
                </a:cubicBezTo>
                <a:cubicBezTo>
                  <a:pt x="2822" y="817"/>
                  <a:pt x="2817" y="808"/>
                  <a:pt x="2809" y="808"/>
                </a:cubicBezTo>
                <a:close/>
                <a:moveTo>
                  <a:pt x="2882" y="801"/>
                </a:moveTo>
                <a:cubicBezTo>
                  <a:pt x="2882" y="801"/>
                  <a:pt x="2882" y="801"/>
                  <a:pt x="2882" y="801"/>
                </a:cubicBezTo>
                <a:cubicBezTo>
                  <a:pt x="2877" y="801"/>
                  <a:pt x="2877" y="801"/>
                  <a:pt x="2877" y="801"/>
                </a:cubicBezTo>
                <a:cubicBezTo>
                  <a:pt x="2875" y="802"/>
                  <a:pt x="2873" y="804"/>
                  <a:pt x="2871" y="805"/>
                </a:cubicBezTo>
                <a:cubicBezTo>
                  <a:pt x="2869" y="806"/>
                  <a:pt x="2867" y="807"/>
                  <a:pt x="2866" y="808"/>
                </a:cubicBezTo>
                <a:cubicBezTo>
                  <a:pt x="2864" y="808"/>
                  <a:pt x="2862" y="809"/>
                  <a:pt x="2861" y="810"/>
                </a:cubicBezTo>
                <a:cubicBezTo>
                  <a:pt x="2859" y="810"/>
                  <a:pt x="2857" y="811"/>
                  <a:pt x="2855" y="812"/>
                </a:cubicBezTo>
                <a:cubicBezTo>
                  <a:pt x="2855" y="812"/>
                  <a:pt x="2855" y="812"/>
                  <a:pt x="2855" y="822"/>
                </a:cubicBezTo>
                <a:cubicBezTo>
                  <a:pt x="2858" y="821"/>
                  <a:pt x="2861" y="820"/>
                  <a:pt x="2863" y="819"/>
                </a:cubicBezTo>
                <a:cubicBezTo>
                  <a:pt x="2866" y="818"/>
                  <a:pt x="2868" y="817"/>
                  <a:pt x="2870" y="816"/>
                </a:cubicBezTo>
                <a:cubicBezTo>
                  <a:pt x="2870" y="816"/>
                  <a:pt x="2870" y="816"/>
                  <a:pt x="2870" y="874"/>
                </a:cubicBezTo>
                <a:cubicBezTo>
                  <a:pt x="2870" y="874"/>
                  <a:pt x="2870" y="874"/>
                  <a:pt x="2882" y="874"/>
                </a:cubicBezTo>
                <a:cubicBezTo>
                  <a:pt x="2882" y="874"/>
                  <a:pt x="2882" y="874"/>
                  <a:pt x="2882" y="801"/>
                </a:cubicBezTo>
                <a:close/>
                <a:moveTo>
                  <a:pt x="2714" y="874"/>
                </a:moveTo>
                <a:cubicBezTo>
                  <a:pt x="2717" y="855"/>
                  <a:pt x="2717" y="855"/>
                  <a:pt x="2717" y="855"/>
                </a:cubicBezTo>
                <a:cubicBezTo>
                  <a:pt x="2708" y="855"/>
                  <a:pt x="2708" y="855"/>
                  <a:pt x="2708" y="855"/>
                </a:cubicBezTo>
                <a:cubicBezTo>
                  <a:pt x="2708" y="843"/>
                  <a:pt x="2708" y="843"/>
                  <a:pt x="2708" y="843"/>
                </a:cubicBezTo>
                <a:cubicBezTo>
                  <a:pt x="2719" y="843"/>
                  <a:pt x="2719" y="843"/>
                  <a:pt x="2719" y="843"/>
                </a:cubicBezTo>
                <a:cubicBezTo>
                  <a:pt x="2720" y="832"/>
                  <a:pt x="2720" y="832"/>
                  <a:pt x="2720" y="832"/>
                </a:cubicBezTo>
                <a:cubicBezTo>
                  <a:pt x="2711" y="832"/>
                  <a:pt x="2711" y="832"/>
                  <a:pt x="2711" y="832"/>
                </a:cubicBezTo>
                <a:cubicBezTo>
                  <a:pt x="2711" y="820"/>
                  <a:pt x="2711" y="820"/>
                  <a:pt x="2711" y="820"/>
                </a:cubicBezTo>
                <a:cubicBezTo>
                  <a:pt x="2722" y="820"/>
                  <a:pt x="2722" y="820"/>
                  <a:pt x="2722" y="820"/>
                </a:cubicBezTo>
                <a:cubicBezTo>
                  <a:pt x="2725" y="802"/>
                  <a:pt x="2725" y="802"/>
                  <a:pt x="2725" y="802"/>
                </a:cubicBezTo>
                <a:cubicBezTo>
                  <a:pt x="2736" y="802"/>
                  <a:pt x="2736" y="802"/>
                  <a:pt x="2736" y="802"/>
                </a:cubicBezTo>
                <a:cubicBezTo>
                  <a:pt x="2733" y="820"/>
                  <a:pt x="2733" y="820"/>
                  <a:pt x="2733" y="820"/>
                </a:cubicBezTo>
                <a:cubicBezTo>
                  <a:pt x="2743" y="820"/>
                  <a:pt x="2743" y="820"/>
                  <a:pt x="2743" y="820"/>
                </a:cubicBezTo>
                <a:cubicBezTo>
                  <a:pt x="2746" y="802"/>
                  <a:pt x="2746" y="802"/>
                  <a:pt x="2746" y="802"/>
                </a:cubicBezTo>
                <a:cubicBezTo>
                  <a:pt x="2757" y="802"/>
                  <a:pt x="2757" y="802"/>
                  <a:pt x="2757" y="802"/>
                </a:cubicBezTo>
                <a:cubicBezTo>
                  <a:pt x="2754" y="820"/>
                  <a:pt x="2754" y="820"/>
                  <a:pt x="2754" y="820"/>
                </a:cubicBezTo>
                <a:cubicBezTo>
                  <a:pt x="2763" y="820"/>
                  <a:pt x="2763" y="820"/>
                  <a:pt x="2763" y="820"/>
                </a:cubicBezTo>
                <a:cubicBezTo>
                  <a:pt x="2763" y="832"/>
                  <a:pt x="2763" y="832"/>
                  <a:pt x="2763" y="832"/>
                </a:cubicBezTo>
                <a:cubicBezTo>
                  <a:pt x="2753" y="832"/>
                  <a:pt x="2753" y="832"/>
                  <a:pt x="2753" y="832"/>
                </a:cubicBezTo>
                <a:cubicBezTo>
                  <a:pt x="2751" y="843"/>
                  <a:pt x="2751" y="843"/>
                  <a:pt x="2751" y="843"/>
                </a:cubicBezTo>
                <a:cubicBezTo>
                  <a:pt x="2760" y="843"/>
                  <a:pt x="2760" y="843"/>
                  <a:pt x="2760" y="843"/>
                </a:cubicBezTo>
                <a:cubicBezTo>
                  <a:pt x="2760" y="855"/>
                  <a:pt x="2760" y="855"/>
                  <a:pt x="2760" y="855"/>
                </a:cubicBezTo>
                <a:cubicBezTo>
                  <a:pt x="2749" y="855"/>
                  <a:pt x="2749" y="855"/>
                  <a:pt x="2749" y="855"/>
                </a:cubicBezTo>
                <a:cubicBezTo>
                  <a:pt x="2746" y="874"/>
                  <a:pt x="2746" y="874"/>
                  <a:pt x="2746" y="874"/>
                </a:cubicBezTo>
                <a:cubicBezTo>
                  <a:pt x="2735" y="874"/>
                  <a:pt x="2735" y="874"/>
                  <a:pt x="2735" y="874"/>
                </a:cubicBezTo>
                <a:cubicBezTo>
                  <a:pt x="2738" y="855"/>
                  <a:pt x="2738" y="855"/>
                  <a:pt x="2738" y="855"/>
                </a:cubicBezTo>
                <a:cubicBezTo>
                  <a:pt x="2728" y="855"/>
                  <a:pt x="2728" y="855"/>
                  <a:pt x="2728" y="855"/>
                </a:cubicBezTo>
                <a:cubicBezTo>
                  <a:pt x="2725" y="874"/>
                  <a:pt x="2725" y="874"/>
                  <a:pt x="2725" y="874"/>
                </a:cubicBezTo>
                <a:cubicBezTo>
                  <a:pt x="2714" y="874"/>
                  <a:pt x="2714" y="874"/>
                  <a:pt x="2714" y="874"/>
                </a:cubicBezTo>
                <a:cubicBezTo>
                  <a:pt x="2714" y="874"/>
                  <a:pt x="2714" y="874"/>
                  <a:pt x="2714" y="874"/>
                </a:cubicBezTo>
                <a:close/>
                <a:moveTo>
                  <a:pt x="2740" y="843"/>
                </a:moveTo>
                <a:cubicBezTo>
                  <a:pt x="2741" y="832"/>
                  <a:pt x="2741" y="832"/>
                  <a:pt x="2741" y="832"/>
                </a:cubicBezTo>
                <a:cubicBezTo>
                  <a:pt x="2731" y="832"/>
                  <a:pt x="2731" y="832"/>
                  <a:pt x="2731" y="832"/>
                </a:cubicBezTo>
                <a:cubicBezTo>
                  <a:pt x="2730" y="843"/>
                  <a:pt x="2730" y="843"/>
                  <a:pt x="2730" y="843"/>
                </a:cubicBezTo>
                <a:cubicBezTo>
                  <a:pt x="2740" y="843"/>
                  <a:pt x="2740" y="843"/>
                  <a:pt x="2740" y="843"/>
                </a:cubicBezTo>
                <a:cubicBezTo>
                  <a:pt x="2740" y="843"/>
                  <a:pt x="2740" y="843"/>
                  <a:pt x="2740" y="843"/>
                </a:cubicBezTo>
                <a:close/>
                <a:moveTo>
                  <a:pt x="2258" y="801"/>
                </a:moveTo>
                <a:cubicBezTo>
                  <a:pt x="2258" y="801"/>
                  <a:pt x="2258" y="801"/>
                  <a:pt x="2258" y="801"/>
                </a:cubicBezTo>
                <a:cubicBezTo>
                  <a:pt x="2253" y="801"/>
                  <a:pt x="2253" y="801"/>
                  <a:pt x="2253" y="801"/>
                </a:cubicBezTo>
                <a:cubicBezTo>
                  <a:pt x="2250" y="802"/>
                  <a:pt x="2249" y="804"/>
                  <a:pt x="2247" y="805"/>
                </a:cubicBezTo>
                <a:cubicBezTo>
                  <a:pt x="2245" y="806"/>
                  <a:pt x="2244" y="807"/>
                  <a:pt x="2242" y="808"/>
                </a:cubicBezTo>
                <a:cubicBezTo>
                  <a:pt x="2240" y="809"/>
                  <a:pt x="2238" y="810"/>
                  <a:pt x="2236" y="810"/>
                </a:cubicBezTo>
                <a:cubicBezTo>
                  <a:pt x="2234" y="811"/>
                  <a:pt x="2233" y="812"/>
                  <a:pt x="2230" y="812"/>
                </a:cubicBezTo>
                <a:cubicBezTo>
                  <a:pt x="2230" y="812"/>
                  <a:pt x="2230" y="812"/>
                  <a:pt x="2230" y="822"/>
                </a:cubicBezTo>
                <a:cubicBezTo>
                  <a:pt x="2233" y="821"/>
                  <a:pt x="2236" y="821"/>
                  <a:pt x="2239" y="819"/>
                </a:cubicBezTo>
                <a:cubicBezTo>
                  <a:pt x="2242" y="818"/>
                  <a:pt x="2244" y="817"/>
                  <a:pt x="2246" y="816"/>
                </a:cubicBezTo>
                <a:cubicBezTo>
                  <a:pt x="2246" y="816"/>
                  <a:pt x="2246" y="816"/>
                  <a:pt x="2246" y="874"/>
                </a:cubicBezTo>
                <a:cubicBezTo>
                  <a:pt x="2246" y="874"/>
                  <a:pt x="2246" y="874"/>
                  <a:pt x="2258" y="874"/>
                </a:cubicBezTo>
                <a:cubicBezTo>
                  <a:pt x="2258" y="874"/>
                  <a:pt x="2258" y="874"/>
                  <a:pt x="2258" y="801"/>
                </a:cubicBezTo>
                <a:close/>
                <a:moveTo>
                  <a:pt x="2305" y="801"/>
                </a:moveTo>
                <a:cubicBezTo>
                  <a:pt x="2305" y="801"/>
                  <a:pt x="2305" y="801"/>
                  <a:pt x="2305" y="801"/>
                </a:cubicBezTo>
                <a:cubicBezTo>
                  <a:pt x="2300" y="801"/>
                  <a:pt x="2300" y="801"/>
                  <a:pt x="2300" y="801"/>
                </a:cubicBezTo>
                <a:cubicBezTo>
                  <a:pt x="2298" y="802"/>
                  <a:pt x="2297" y="804"/>
                  <a:pt x="2294" y="805"/>
                </a:cubicBezTo>
                <a:cubicBezTo>
                  <a:pt x="2293" y="806"/>
                  <a:pt x="2291" y="807"/>
                  <a:pt x="2289" y="808"/>
                </a:cubicBezTo>
                <a:cubicBezTo>
                  <a:pt x="2288" y="809"/>
                  <a:pt x="2286" y="810"/>
                  <a:pt x="2284" y="810"/>
                </a:cubicBezTo>
                <a:cubicBezTo>
                  <a:pt x="2282" y="811"/>
                  <a:pt x="2281" y="812"/>
                  <a:pt x="2278" y="812"/>
                </a:cubicBezTo>
                <a:cubicBezTo>
                  <a:pt x="2278" y="812"/>
                  <a:pt x="2278" y="812"/>
                  <a:pt x="2278" y="822"/>
                </a:cubicBezTo>
                <a:cubicBezTo>
                  <a:pt x="2281" y="821"/>
                  <a:pt x="2284" y="821"/>
                  <a:pt x="2286" y="819"/>
                </a:cubicBezTo>
                <a:cubicBezTo>
                  <a:pt x="2289" y="818"/>
                  <a:pt x="2291" y="817"/>
                  <a:pt x="2294" y="816"/>
                </a:cubicBezTo>
                <a:cubicBezTo>
                  <a:pt x="2294" y="816"/>
                  <a:pt x="2294" y="816"/>
                  <a:pt x="2294" y="874"/>
                </a:cubicBezTo>
                <a:cubicBezTo>
                  <a:pt x="2294" y="874"/>
                  <a:pt x="2294" y="874"/>
                  <a:pt x="2305" y="874"/>
                </a:cubicBezTo>
                <a:cubicBezTo>
                  <a:pt x="2305" y="874"/>
                  <a:pt x="2305" y="874"/>
                  <a:pt x="2305" y="801"/>
                </a:cubicBezTo>
                <a:close/>
                <a:moveTo>
                  <a:pt x="2352" y="801"/>
                </a:moveTo>
                <a:cubicBezTo>
                  <a:pt x="2352" y="801"/>
                  <a:pt x="2352" y="801"/>
                  <a:pt x="2352" y="801"/>
                </a:cubicBezTo>
                <a:cubicBezTo>
                  <a:pt x="2348" y="801"/>
                  <a:pt x="2348" y="801"/>
                  <a:pt x="2348" y="801"/>
                </a:cubicBezTo>
                <a:cubicBezTo>
                  <a:pt x="2345" y="802"/>
                  <a:pt x="2344" y="804"/>
                  <a:pt x="2342" y="805"/>
                </a:cubicBezTo>
                <a:cubicBezTo>
                  <a:pt x="2340" y="806"/>
                  <a:pt x="2338" y="807"/>
                  <a:pt x="2337" y="808"/>
                </a:cubicBezTo>
                <a:cubicBezTo>
                  <a:pt x="2335" y="808"/>
                  <a:pt x="2333" y="809"/>
                  <a:pt x="2331" y="810"/>
                </a:cubicBezTo>
                <a:cubicBezTo>
                  <a:pt x="2330" y="810"/>
                  <a:pt x="2327" y="811"/>
                  <a:pt x="2326" y="812"/>
                </a:cubicBezTo>
                <a:cubicBezTo>
                  <a:pt x="2326" y="812"/>
                  <a:pt x="2326" y="812"/>
                  <a:pt x="2326" y="822"/>
                </a:cubicBezTo>
                <a:cubicBezTo>
                  <a:pt x="2329" y="821"/>
                  <a:pt x="2332" y="820"/>
                  <a:pt x="2334" y="819"/>
                </a:cubicBezTo>
                <a:cubicBezTo>
                  <a:pt x="2336" y="818"/>
                  <a:pt x="2339" y="817"/>
                  <a:pt x="2340" y="816"/>
                </a:cubicBezTo>
                <a:cubicBezTo>
                  <a:pt x="2340" y="816"/>
                  <a:pt x="2340" y="816"/>
                  <a:pt x="2340" y="874"/>
                </a:cubicBezTo>
                <a:cubicBezTo>
                  <a:pt x="2340" y="874"/>
                  <a:pt x="2340" y="874"/>
                  <a:pt x="2352" y="874"/>
                </a:cubicBezTo>
                <a:cubicBezTo>
                  <a:pt x="2352" y="874"/>
                  <a:pt x="2352" y="874"/>
                  <a:pt x="2352" y="801"/>
                </a:cubicBezTo>
                <a:close/>
                <a:moveTo>
                  <a:pt x="2559" y="705"/>
                </a:moveTo>
                <a:cubicBezTo>
                  <a:pt x="2559" y="705"/>
                  <a:pt x="2559" y="705"/>
                  <a:pt x="2559" y="705"/>
                </a:cubicBezTo>
                <a:cubicBezTo>
                  <a:pt x="2554" y="705"/>
                  <a:pt x="2554" y="705"/>
                  <a:pt x="2554" y="705"/>
                </a:cubicBezTo>
                <a:cubicBezTo>
                  <a:pt x="2552" y="706"/>
                  <a:pt x="2550" y="708"/>
                  <a:pt x="2548" y="709"/>
                </a:cubicBezTo>
                <a:cubicBezTo>
                  <a:pt x="2547" y="710"/>
                  <a:pt x="2544" y="711"/>
                  <a:pt x="2543" y="712"/>
                </a:cubicBezTo>
                <a:cubicBezTo>
                  <a:pt x="2541" y="712"/>
                  <a:pt x="2539" y="713"/>
                  <a:pt x="2538" y="714"/>
                </a:cubicBezTo>
                <a:cubicBezTo>
                  <a:pt x="2536" y="714"/>
                  <a:pt x="2534" y="715"/>
                  <a:pt x="2532" y="716"/>
                </a:cubicBezTo>
                <a:cubicBezTo>
                  <a:pt x="2532" y="716"/>
                  <a:pt x="2532" y="716"/>
                  <a:pt x="2532" y="726"/>
                </a:cubicBezTo>
                <a:cubicBezTo>
                  <a:pt x="2535" y="725"/>
                  <a:pt x="2538" y="724"/>
                  <a:pt x="2540" y="723"/>
                </a:cubicBezTo>
                <a:cubicBezTo>
                  <a:pt x="2543" y="722"/>
                  <a:pt x="2545" y="721"/>
                  <a:pt x="2547" y="720"/>
                </a:cubicBezTo>
                <a:cubicBezTo>
                  <a:pt x="2547" y="720"/>
                  <a:pt x="2547" y="720"/>
                  <a:pt x="2547" y="778"/>
                </a:cubicBezTo>
                <a:cubicBezTo>
                  <a:pt x="2547" y="778"/>
                  <a:pt x="2547" y="778"/>
                  <a:pt x="2559" y="778"/>
                </a:cubicBezTo>
                <a:cubicBezTo>
                  <a:pt x="2559" y="778"/>
                  <a:pt x="2559" y="778"/>
                  <a:pt x="2559" y="705"/>
                </a:cubicBezTo>
                <a:close/>
                <a:moveTo>
                  <a:pt x="2605" y="705"/>
                </a:moveTo>
                <a:cubicBezTo>
                  <a:pt x="2605" y="705"/>
                  <a:pt x="2605" y="705"/>
                  <a:pt x="2605" y="705"/>
                </a:cubicBezTo>
                <a:cubicBezTo>
                  <a:pt x="2600" y="705"/>
                  <a:pt x="2600" y="705"/>
                  <a:pt x="2600" y="705"/>
                </a:cubicBezTo>
                <a:cubicBezTo>
                  <a:pt x="2598" y="706"/>
                  <a:pt x="2597" y="708"/>
                  <a:pt x="2595" y="709"/>
                </a:cubicBezTo>
                <a:cubicBezTo>
                  <a:pt x="2593" y="710"/>
                  <a:pt x="2591" y="711"/>
                  <a:pt x="2590" y="712"/>
                </a:cubicBezTo>
                <a:cubicBezTo>
                  <a:pt x="2588" y="713"/>
                  <a:pt x="2586" y="714"/>
                  <a:pt x="2585" y="714"/>
                </a:cubicBezTo>
                <a:cubicBezTo>
                  <a:pt x="2582" y="715"/>
                  <a:pt x="2581" y="716"/>
                  <a:pt x="2579" y="716"/>
                </a:cubicBezTo>
                <a:cubicBezTo>
                  <a:pt x="2579" y="716"/>
                  <a:pt x="2579" y="716"/>
                  <a:pt x="2579" y="726"/>
                </a:cubicBezTo>
                <a:cubicBezTo>
                  <a:pt x="2582" y="725"/>
                  <a:pt x="2585" y="725"/>
                  <a:pt x="2587" y="723"/>
                </a:cubicBezTo>
                <a:cubicBezTo>
                  <a:pt x="2590" y="722"/>
                  <a:pt x="2592" y="721"/>
                  <a:pt x="2594" y="720"/>
                </a:cubicBezTo>
                <a:cubicBezTo>
                  <a:pt x="2594" y="720"/>
                  <a:pt x="2594" y="720"/>
                  <a:pt x="2594" y="778"/>
                </a:cubicBezTo>
                <a:cubicBezTo>
                  <a:pt x="2594" y="778"/>
                  <a:pt x="2594" y="778"/>
                  <a:pt x="2605" y="778"/>
                </a:cubicBezTo>
                <a:cubicBezTo>
                  <a:pt x="2605" y="778"/>
                  <a:pt x="2605" y="778"/>
                  <a:pt x="2605" y="705"/>
                </a:cubicBezTo>
                <a:close/>
                <a:moveTo>
                  <a:pt x="2651" y="705"/>
                </a:moveTo>
                <a:cubicBezTo>
                  <a:pt x="2651" y="705"/>
                  <a:pt x="2651" y="705"/>
                  <a:pt x="2651" y="705"/>
                </a:cubicBezTo>
                <a:cubicBezTo>
                  <a:pt x="2647" y="705"/>
                  <a:pt x="2647" y="705"/>
                  <a:pt x="2647" y="705"/>
                </a:cubicBezTo>
                <a:cubicBezTo>
                  <a:pt x="2645" y="706"/>
                  <a:pt x="2643" y="708"/>
                  <a:pt x="2641" y="709"/>
                </a:cubicBezTo>
                <a:cubicBezTo>
                  <a:pt x="2640" y="710"/>
                  <a:pt x="2638" y="711"/>
                  <a:pt x="2636" y="712"/>
                </a:cubicBezTo>
                <a:cubicBezTo>
                  <a:pt x="2634" y="713"/>
                  <a:pt x="2633" y="714"/>
                  <a:pt x="2630" y="714"/>
                </a:cubicBezTo>
                <a:cubicBezTo>
                  <a:pt x="2629" y="715"/>
                  <a:pt x="2627" y="716"/>
                  <a:pt x="2625" y="716"/>
                </a:cubicBezTo>
                <a:cubicBezTo>
                  <a:pt x="2625" y="716"/>
                  <a:pt x="2625" y="716"/>
                  <a:pt x="2625" y="726"/>
                </a:cubicBezTo>
                <a:cubicBezTo>
                  <a:pt x="2628" y="725"/>
                  <a:pt x="2631" y="725"/>
                  <a:pt x="2633" y="723"/>
                </a:cubicBezTo>
                <a:cubicBezTo>
                  <a:pt x="2636" y="722"/>
                  <a:pt x="2638" y="721"/>
                  <a:pt x="2640" y="720"/>
                </a:cubicBezTo>
                <a:cubicBezTo>
                  <a:pt x="2640" y="720"/>
                  <a:pt x="2640" y="720"/>
                  <a:pt x="2640" y="778"/>
                </a:cubicBezTo>
                <a:cubicBezTo>
                  <a:pt x="2640" y="778"/>
                  <a:pt x="2640" y="778"/>
                  <a:pt x="2651" y="778"/>
                </a:cubicBezTo>
                <a:cubicBezTo>
                  <a:pt x="2651" y="778"/>
                  <a:pt x="2651" y="778"/>
                  <a:pt x="2651" y="705"/>
                </a:cubicBezTo>
                <a:close/>
                <a:moveTo>
                  <a:pt x="2698" y="705"/>
                </a:moveTo>
                <a:cubicBezTo>
                  <a:pt x="2698" y="705"/>
                  <a:pt x="2698" y="705"/>
                  <a:pt x="2698" y="705"/>
                </a:cubicBezTo>
                <a:cubicBezTo>
                  <a:pt x="2693" y="705"/>
                  <a:pt x="2693" y="705"/>
                  <a:pt x="2693" y="705"/>
                </a:cubicBezTo>
                <a:cubicBezTo>
                  <a:pt x="2691" y="706"/>
                  <a:pt x="2690" y="708"/>
                  <a:pt x="2687" y="709"/>
                </a:cubicBezTo>
                <a:cubicBezTo>
                  <a:pt x="2686" y="710"/>
                  <a:pt x="2684" y="711"/>
                  <a:pt x="2682" y="712"/>
                </a:cubicBezTo>
                <a:cubicBezTo>
                  <a:pt x="2681" y="713"/>
                  <a:pt x="2678" y="714"/>
                  <a:pt x="2677" y="714"/>
                </a:cubicBezTo>
                <a:cubicBezTo>
                  <a:pt x="2675" y="715"/>
                  <a:pt x="2673" y="716"/>
                  <a:pt x="2671" y="716"/>
                </a:cubicBezTo>
                <a:cubicBezTo>
                  <a:pt x="2671" y="716"/>
                  <a:pt x="2671" y="716"/>
                  <a:pt x="2671" y="726"/>
                </a:cubicBezTo>
                <a:cubicBezTo>
                  <a:pt x="2674" y="725"/>
                  <a:pt x="2677" y="725"/>
                  <a:pt x="2679" y="723"/>
                </a:cubicBezTo>
                <a:cubicBezTo>
                  <a:pt x="2682" y="722"/>
                  <a:pt x="2684" y="721"/>
                  <a:pt x="2687" y="720"/>
                </a:cubicBezTo>
                <a:cubicBezTo>
                  <a:pt x="2687" y="720"/>
                  <a:pt x="2687" y="720"/>
                  <a:pt x="2687" y="778"/>
                </a:cubicBezTo>
                <a:cubicBezTo>
                  <a:pt x="2687" y="778"/>
                  <a:pt x="2687" y="778"/>
                  <a:pt x="2698" y="778"/>
                </a:cubicBezTo>
                <a:cubicBezTo>
                  <a:pt x="2698" y="778"/>
                  <a:pt x="2698" y="778"/>
                  <a:pt x="2698" y="705"/>
                </a:cubicBezTo>
                <a:close/>
                <a:moveTo>
                  <a:pt x="2820" y="705"/>
                </a:moveTo>
                <a:cubicBezTo>
                  <a:pt x="2820" y="705"/>
                  <a:pt x="2820" y="705"/>
                  <a:pt x="2820" y="705"/>
                </a:cubicBezTo>
                <a:cubicBezTo>
                  <a:pt x="2815" y="705"/>
                  <a:pt x="2815" y="705"/>
                  <a:pt x="2815" y="705"/>
                </a:cubicBezTo>
                <a:cubicBezTo>
                  <a:pt x="2813" y="706"/>
                  <a:pt x="2811" y="708"/>
                  <a:pt x="2809" y="709"/>
                </a:cubicBezTo>
                <a:cubicBezTo>
                  <a:pt x="2808" y="710"/>
                  <a:pt x="2806" y="711"/>
                  <a:pt x="2804" y="712"/>
                </a:cubicBezTo>
                <a:cubicBezTo>
                  <a:pt x="2802" y="713"/>
                  <a:pt x="2800" y="714"/>
                  <a:pt x="2799" y="714"/>
                </a:cubicBezTo>
                <a:cubicBezTo>
                  <a:pt x="2797" y="715"/>
                  <a:pt x="2795" y="716"/>
                  <a:pt x="2793" y="716"/>
                </a:cubicBezTo>
                <a:cubicBezTo>
                  <a:pt x="2793" y="716"/>
                  <a:pt x="2793" y="716"/>
                  <a:pt x="2793" y="726"/>
                </a:cubicBezTo>
                <a:cubicBezTo>
                  <a:pt x="2796" y="725"/>
                  <a:pt x="2799" y="725"/>
                  <a:pt x="2802" y="723"/>
                </a:cubicBezTo>
                <a:cubicBezTo>
                  <a:pt x="2804" y="722"/>
                  <a:pt x="2806" y="721"/>
                  <a:pt x="2808" y="720"/>
                </a:cubicBezTo>
                <a:cubicBezTo>
                  <a:pt x="2808" y="720"/>
                  <a:pt x="2808" y="720"/>
                  <a:pt x="2808" y="778"/>
                </a:cubicBezTo>
                <a:cubicBezTo>
                  <a:pt x="2808" y="778"/>
                  <a:pt x="2808" y="778"/>
                  <a:pt x="2820" y="778"/>
                </a:cubicBezTo>
                <a:cubicBezTo>
                  <a:pt x="2820" y="778"/>
                  <a:pt x="2820" y="778"/>
                  <a:pt x="2820" y="705"/>
                </a:cubicBezTo>
                <a:close/>
                <a:moveTo>
                  <a:pt x="2867" y="705"/>
                </a:moveTo>
                <a:cubicBezTo>
                  <a:pt x="2867" y="705"/>
                  <a:pt x="2867" y="705"/>
                  <a:pt x="2867" y="705"/>
                </a:cubicBezTo>
                <a:cubicBezTo>
                  <a:pt x="2862" y="705"/>
                  <a:pt x="2862" y="705"/>
                  <a:pt x="2862" y="705"/>
                </a:cubicBezTo>
                <a:cubicBezTo>
                  <a:pt x="2860" y="706"/>
                  <a:pt x="2858" y="708"/>
                  <a:pt x="2856" y="709"/>
                </a:cubicBezTo>
                <a:cubicBezTo>
                  <a:pt x="2855" y="710"/>
                  <a:pt x="2852" y="711"/>
                  <a:pt x="2851" y="712"/>
                </a:cubicBezTo>
                <a:cubicBezTo>
                  <a:pt x="2849" y="713"/>
                  <a:pt x="2847" y="714"/>
                  <a:pt x="2846" y="714"/>
                </a:cubicBezTo>
                <a:cubicBezTo>
                  <a:pt x="2844" y="715"/>
                  <a:pt x="2842" y="716"/>
                  <a:pt x="2840" y="716"/>
                </a:cubicBezTo>
                <a:cubicBezTo>
                  <a:pt x="2840" y="716"/>
                  <a:pt x="2840" y="716"/>
                  <a:pt x="2840" y="726"/>
                </a:cubicBezTo>
                <a:cubicBezTo>
                  <a:pt x="2843" y="725"/>
                  <a:pt x="2846" y="725"/>
                  <a:pt x="2848" y="723"/>
                </a:cubicBezTo>
                <a:cubicBezTo>
                  <a:pt x="2851" y="722"/>
                  <a:pt x="2853" y="721"/>
                  <a:pt x="2855" y="720"/>
                </a:cubicBezTo>
                <a:cubicBezTo>
                  <a:pt x="2855" y="720"/>
                  <a:pt x="2855" y="720"/>
                  <a:pt x="2855" y="778"/>
                </a:cubicBezTo>
                <a:cubicBezTo>
                  <a:pt x="2855" y="778"/>
                  <a:pt x="2855" y="778"/>
                  <a:pt x="2867" y="778"/>
                </a:cubicBezTo>
                <a:cubicBezTo>
                  <a:pt x="2867" y="778"/>
                  <a:pt x="2867" y="778"/>
                  <a:pt x="2867" y="705"/>
                </a:cubicBezTo>
                <a:close/>
                <a:moveTo>
                  <a:pt x="2718" y="737"/>
                </a:moveTo>
                <a:cubicBezTo>
                  <a:pt x="2718" y="737"/>
                  <a:pt x="2718" y="737"/>
                  <a:pt x="2718" y="737"/>
                </a:cubicBezTo>
                <a:cubicBezTo>
                  <a:pt x="2718" y="746"/>
                  <a:pt x="2718" y="746"/>
                  <a:pt x="2718" y="746"/>
                </a:cubicBezTo>
                <a:cubicBezTo>
                  <a:pt x="2724" y="746"/>
                  <a:pt x="2725" y="749"/>
                  <a:pt x="2725" y="752"/>
                </a:cubicBezTo>
                <a:cubicBezTo>
                  <a:pt x="2725" y="754"/>
                  <a:pt x="2725" y="756"/>
                  <a:pt x="2725" y="759"/>
                </a:cubicBezTo>
                <a:cubicBezTo>
                  <a:pt x="2724" y="761"/>
                  <a:pt x="2724" y="763"/>
                  <a:pt x="2724" y="766"/>
                </a:cubicBezTo>
                <a:cubicBezTo>
                  <a:pt x="2724" y="775"/>
                  <a:pt x="2730" y="778"/>
                  <a:pt x="2738" y="778"/>
                </a:cubicBezTo>
                <a:cubicBezTo>
                  <a:pt x="2738" y="778"/>
                  <a:pt x="2738" y="778"/>
                  <a:pt x="2742" y="778"/>
                </a:cubicBezTo>
                <a:cubicBezTo>
                  <a:pt x="2742" y="778"/>
                  <a:pt x="2742" y="778"/>
                  <a:pt x="2742" y="769"/>
                </a:cubicBezTo>
                <a:cubicBezTo>
                  <a:pt x="2742" y="769"/>
                  <a:pt x="2742" y="769"/>
                  <a:pt x="2741" y="769"/>
                </a:cubicBezTo>
                <a:cubicBezTo>
                  <a:pt x="2737" y="769"/>
                  <a:pt x="2736" y="767"/>
                  <a:pt x="2736" y="763"/>
                </a:cubicBezTo>
                <a:cubicBezTo>
                  <a:pt x="2736" y="762"/>
                  <a:pt x="2736" y="760"/>
                  <a:pt x="2736" y="759"/>
                </a:cubicBezTo>
                <a:cubicBezTo>
                  <a:pt x="2736" y="757"/>
                  <a:pt x="2737" y="755"/>
                  <a:pt x="2737" y="753"/>
                </a:cubicBezTo>
                <a:cubicBezTo>
                  <a:pt x="2737" y="745"/>
                  <a:pt x="2734" y="743"/>
                  <a:pt x="2728" y="741"/>
                </a:cubicBezTo>
                <a:cubicBezTo>
                  <a:pt x="2728" y="741"/>
                  <a:pt x="2728" y="741"/>
                  <a:pt x="2728" y="741"/>
                </a:cubicBezTo>
                <a:cubicBezTo>
                  <a:pt x="2734" y="740"/>
                  <a:pt x="2737" y="738"/>
                  <a:pt x="2737" y="730"/>
                </a:cubicBezTo>
                <a:cubicBezTo>
                  <a:pt x="2737" y="728"/>
                  <a:pt x="2736" y="726"/>
                  <a:pt x="2736" y="724"/>
                </a:cubicBezTo>
                <a:cubicBezTo>
                  <a:pt x="2736" y="722"/>
                  <a:pt x="2736" y="720"/>
                  <a:pt x="2736" y="719"/>
                </a:cubicBezTo>
                <a:cubicBezTo>
                  <a:pt x="2736" y="716"/>
                  <a:pt x="2737" y="713"/>
                  <a:pt x="2741" y="713"/>
                </a:cubicBezTo>
                <a:cubicBezTo>
                  <a:pt x="2741" y="713"/>
                  <a:pt x="2741" y="713"/>
                  <a:pt x="2742" y="713"/>
                </a:cubicBezTo>
                <a:cubicBezTo>
                  <a:pt x="2742" y="713"/>
                  <a:pt x="2742" y="713"/>
                  <a:pt x="2742" y="704"/>
                </a:cubicBezTo>
                <a:cubicBezTo>
                  <a:pt x="2742" y="704"/>
                  <a:pt x="2742" y="704"/>
                  <a:pt x="2738" y="704"/>
                </a:cubicBezTo>
                <a:cubicBezTo>
                  <a:pt x="2730" y="704"/>
                  <a:pt x="2724" y="708"/>
                  <a:pt x="2724" y="717"/>
                </a:cubicBezTo>
                <a:cubicBezTo>
                  <a:pt x="2724" y="719"/>
                  <a:pt x="2724" y="722"/>
                  <a:pt x="2724" y="724"/>
                </a:cubicBezTo>
                <a:cubicBezTo>
                  <a:pt x="2725" y="726"/>
                  <a:pt x="2725" y="729"/>
                  <a:pt x="2725" y="731"/>
                </a:cubicBezTo>
                <a:cubicBezTo>
                  <a:pt x="2725" y="734"/>
                  <a:pt x="2724" y="737"/>
                  <a:pt x="2718" y="737"/>
                </a:cubicBezTo>
                <a:close/>
                <a:moveTo>
                  <a:pt x="2773" y="746"/>
                </a:moveTo>
                <a:cubicBezTo>
                  <a:pt x="2773" y="746"/>
                  <a:pt x="2773" y="746"/>
                  <a:pt x="2773" y="746"/>
                </a:cubicBezTo>
                <a:cubicBezTo>
                  <a:pt x="2773" y="737"/>
                  <a:pt x="2773" y="737"/>
                  <a:pt x="2773" y="737"/>
                </a:cubicBezTo>
                <a:cubicBezTo>
                  <a:pt x="2767" y="737"/>
                  <a:pt x="2767" y="734"/>
                  <a:pt x="2767" y="731"/>
                </a:cubicBezTo>
                <a:cubicBezTo>
                  <a:pt x="2767" y="729"/>
                  <a:pt x="2767" y="726"/>
                  <a:pt x="2767" y="724"/>
                </a:cubicBezTo>
                <a:cubicBezTo>
                  <a:pt x="2767" y="722"/>
                  <a:pt x="2767" y="719"/>
                  <a:pt x="2767" y="717"/>
                </a:cubicBezTo>
                <a:cubicBezTo>
                  <a:pt x="2767" y="708"/>
                  <a:pt x="2762" y="704"/>
                  <a:pt x="2753" y="704"/>
                </a:cubicBezTo>
                <a:cubicBezTo>
                  <a:pt x="2753" y="704"/>
                  <a:pt x="2753" y="704"/>
                  <a:pt x="2749" y="704"/>
                </a:cubicBezTo>
                <a:cubicBezTo>
                  <a:pt x="2749" y="704"/>
                  <a:pt x="2749" y="704"/>
                  <a:pt x="2749" y="713"/>
                </a:cubicBezTo>
                <a:cubicBezTo>
                  <a:pt x="2749" y="713"/>
                  <a:pt x="2749" y="713"/>
                  <a:pt x="2750" y="713"/>
                </a:cubicBezTo>
                <a:cubicBezTo>
                  <a:pt x="2754" y="713"/>
                  <a:pt x="2756" y="716"/>
                  <a:pt x="2756" y="719"/>
                </a:cubicBezTo>
                <a:cubicBezTo>
                  <a:pt x="2756" y="720"/>
                  <a:pt x="2755" y="722"/>
                  <a:pt x="2755" y="724"/>
                </a:cubicBezTo>
                <a:cubicBezTo>
                  <a:pt x="2755" y="726"/>
                  <a:pt x="2755" y="728"/>
                  <a:pt x="2755" y="730"/>
                </a:cubicBezTo>
                <a:cubicBezTo>
                  <a:pt x="2755" y="738"/>
                  <a:pt x="2757" y="740"/>
                  <a:pt x="2764" y="741"/>
                </a:cubicBezTo>
                <a:cubicBezTo>
                  <a:pt x="2764" y="741"/>
                  <a:pt x="2764" y="741"/>
                  <a:pt x="2764" y="741"/>
                </a:cubicBezTo>
                <a:cubicBezTo>
                  <a:pt x="2757" y="743"/>
                  <a:pt x="2755" y="745"/>
                  <a:pt x="2755" y="753"/>
                </a:cubicBezTo>
                <a:cubicBezTo>
                  <a:pt x="2755" y="755"/>
                  <a:pt x="2755" y="757"/>
                  <a:pt x="2755" y="759"/>
                </a:cubicBezTo>
                <a:cubicBezTo>
                  <a:pt x="2755" y="760"/>
                  <a:pt x="2756" y="762"/>
                  <a:pt x="2756" y="763"/>
                </a:cubicBezTo>
                <a:cubicBezTo>
                  <a:pt x="2756" y="767"/>
                  <a:pt x="2754" y="769"/>
                  <a:pt x="2750" y="769"/>
                </a:cubicBezTo>
                <a:cubicBezTo>
                  <a:pt x="2750" y="769"/>
                  <a:pt x="2750" y="769"/>
                  <a:pt x="2749" y="769"/>
                </a:cubicBezTo>
                <a:cubicBezTo>
                  <a:pt x="2749" y="769"/>
                  <a:pt x="2749" y="769"/>
                  <a:pt x="2749" y="778"/>
                </a:cubicBezTo>
                <a:cubicBezTo>
                  <a:pt x="2749" y="778"/>
                  <a:pt x="2749" y="778"/>
                  <a:pt x="2753" y="778"/>
                </a:cubicBezTo>
                <a:cubicBezTo>
                  <a:pt x="2762" y="778"/>
                  <a:pt x="2767" y="775"/>
                  <a:pt x="2767" y="766"/>
                </a:cubicBezTo>
                <a:cubicBezTo>
                  <a:pt x="2767" y="763"/>
                  <a:pt x="2767" y="761"/>
                  <a:pt x="2767" y="759"/>
                </a:cubicBezTo>
                <a:cubicBezTo>
                  <a:pt x="2767" y="756"/>
                  <a:pt x="2767" y="754"/>
                  <a:pt x="2767" y="752"/>
                </a:cubicBezTo>
                <a:cubicBezTo>
                  <a:pt x="2767" y="749"/>
                  <a:pt x="2767" y="746"/>
                  <a:pt x="2773" y="746"/>
                </a:cubicBezTo>
                <a:close/>
                <a:moveTo>
                  <a:pt x="2159" y="778"/>
                </a:moveTo>
                <a:cubicBezTo>
                  <a:pt x="2152" y="778"/>
                  <a:pt x="2145" y="776"/>
                  <a:pt x="2141" y="770"/>
                </a:cubicBezTo>
                <a:cubicBezTo>
                  <a:pt x="2137" y="763"/>
                  <a:pt x="2135" y="754"/>
                  <a:pt x="2135" y="742"/>
                </a:cubicBezTo>
                <a:cubicBezTo>
                  <a:pt x="2135" y="729"/>
                  <a:pt x="2137" y="719"/>
                  <a:pt x="2141" y="713"/>
                </a:cubicBezTo>
                <a:cubicBezTo>
                  <a:pt x="2146" y="706"/>
                  <a:pt x="2152" y="703"/>
                  <a:pt x="2161" y="703"/>
                </a:cubicBezTo>
                <a:cubicBezTo>
                  <a:pt x="2177" y="703"/>
                  <a:pt x="2185" y="715"/>
                  <a:pt x="2185" y="741"/>
                </a:cubicBezTo>
                <a:cubicBezTo>
                  <a:pt x="2185" y="753"/>
                  <a:pt x="2183" y="762"/>
                  <a:pt x="2178" y="769"/>
                </a:cubicBezTo>
                <a:cubicBezTo>
                  <a:pt x="2174" y="776"/>
                  <a:pt x="2167" y="778"/>
                  <a:pt x="2159" y="778"/>
                </a:cubicBezTo>
                <a:close/>
                <a:moveTo>
                  <a:pt x="2160" y="712"/>
                </a:moveTo>
                <a:cubicBezTo>
                  <a:pt x="2151" y="712"/>
                  <a:pt x="2147" y="722"/>
                  <a:pt x="2147" y="742"/>
                </a:cubicBezTo>
                <a:cubicBezTo>
                  <a:pt x="2147" y="760"/>
                  <a:pt x="2151" y="769"/>
                  <a:pt x="2160" y="769"/>
                </a:cubicBezTo>
                <a:cubicBezTo>
                  <a:pt x="2168" y="769"/>
                  <a:pt x="2173" y="760"/>
                  <a:pt x="2173" y="741"/>
                </a:cubicBezTo>
                <a:cubicBezTo>
                  <a:pt x="2173" y="722"/>
                  <a:pt x="2168" y="712"/>
                  <a:pt x="2160" y="712"/>
                </a:cubicBezTo>
                <a:close/>
                <a:moveTo>
                  <a:pt x="2230" y="778"/>
                </a:moveTo>
                <a:cubicBezTo>
                  <a:pt x="2222" y="778"/>
                  <a:pt x="2216" y="776"/>
                  <a:pt x="2212" y="770"/>
                </a:cubicBezTo>
                <a:cubicBezTo>
                  <a:pt x="2208" y="763"/>
                  <a:pt x="2205" y="754"/>
                  <a:pt x="2205" y="742"/>
                </a:cubicBezTo>
                <a:cubicBezTo>
                  <a:pt x="2205" y="729"/>
                  <a:pt x="2208" y="719"/>
                  <a:pt x="2212" y="713"/>
                </a:cubicBezTo>
                <a:cubicBezTo>
                  <a:pt x="2216" y="706"/>
                  <a:pt x="2223" y="703"/>
                  <a:pt x="2232" y="703"/>
                </a:cubicBezTo>
                <a:cubicBezTo>
                  <a:pt x="2248" y="703"/>
                  <a:pt x="2256" y="715"/>
                  <a:pt x="2256" y="741"/>
                </a:cubicBezTo>
                <a:cubicBezTo>
                  <a:pt x="2256" y="753"/>
                  <a:pt x="2254" y="762"/>
                  <a:pt x="2249" y="769"/>
                </a:cubicBezTo>
                <a:cubicBezTo>
                  <a:pt x="2244" y="776"/>
                  <a:pt x="2238" y="778"/>
                  <a:pt x="2230" y="778"/>
                </a:cubicBezTo>
                <a:close/>
                <a:moveTo>
                  <a:pt x="2231" y="712"/>
                </a:moveTo>
                <a:cubicBezTo>
                  <a:pt x="2222" y="712"/>
                  <a:pt x="2217" y="722"/>
                  <a:pt x="2217" y="742"/>
                </a:cubicBezTo>
                <a:cubicBezTo>
                  <a:pt x="2217" y="760"/>
                  <a:pt x="2222" y="769"/>
                  <a:pt x="2230" y="769"/>
                </a:cubicBezTo>
                <a:cubicBezTo>
                  <a:pt x="2239" y="769"/>
                  <a:pt x="2243" y="760"/>
                  <a:pt x="2243" y="741"/>
                </a:cubicBezTo>
                <a:cubicBezTo>
                  <a:pt x="2243" y="722"/>
                  <a:pt x="2239" y="712"/>
                  <a:pt x="2231" y="712"/>
                </a:cubicBezTo>
                <a:close/>
                <a:moveTo>
                  <a:pt x="2439" y="778"/>
                </a:moveTo>
                <a:cubicBezTo>
                  <a:pt x="2432" y="778"/>
                  <a:pt x="2426" y="776"/>
                  <a:pt x="2422" y="769"/>
                </a:cubicBezTo>
                <a:cubicBezTo>
                  <a:pt x="2417" y="763"/>
                  <a:pt x="2415" y="754"/>
                  <a:pt x="2415" y="742"/>
                </a:cubicBezTo>
                <a:cubicBezTo>
                  <a:pt x="2415" y="729"/>
                  <a:pt x="2417" y="719"/>
                  <a:pt x="2422" y="712"/>
                </a:cubicBezTo>
                <a:cubicBezTo>
                  <a:pt x="2426" y="706"/>
                  <a:pt x="2433" y="703"/>
                  <a:pt x="2442" y="703"/>
                </a:cubicBezTo>
                <a:cubicBezTo>
                  <a:pt x="2458" y="703"/>
                  <a:pt x="2466" y="715"/>
                  <a:pt x="2466" y="740"/>
                </a:cubicBezTo>
                <a:cubicBezTo>
                  <a:pt x="2466" y="753"/>
                  <a:pt x="2463" y="762"/>
                  <a:pt x="2459" y="769"/>
                </a:cubicBezTo>
                <a:cubicBezTo>
                  <a:pt x="2454" y="776"/>
                  <a:pt x="2448" y="778"/>
                  <a:pt x="2439" y="778"/>
                </a:cubicBezTo>
                <a:close/>
                <a:moveTo>
                  <a:pt x="2441" y="712"/>
                </a:moveTo>
                <a:cubicBezTo>
                  <a:pt x="2432" y="712"/>
                  <a:pt x="2428" y="722"/>
                  <a:pt x="2428" y="741"/>
                </a:cubicBezTo>
                <a:cubicBezTo>
                  <a:pt x="2428" y="759"/>
                  <a:pt x="2432" y="769"/>
                  <a:pt x="2441" y="769"/>
                </a:cubicBezTo>
                <a:cubicBezTo>
                  <a:pt x="2449" y="769"/>
                  <a:pt x="2453" y="759"/>
                  <a:pt x="2453" y="741"/>
                </a:cubicBezTo>
                <a:cubicBezTo>
                  <a:pt x="2453" y="722"/>
                  <a:pt x="2450" y="712"/>
                  <a:pt x="2441" y="712"/>
                </a:cubicBezTo>
                <a:close/>
                <a:moveTo>
                  <a:pt x="2512" y="705"/>
                </a:moveTo>
                <a:cubicBezTo>
                  <a:pt x="2512" y="705"/>
                  <a:pt x="2512" y="705"/>
                  <a:pt x="2512" y="705"/>
                </a:cubicBezTo>
                <a:cubicBezTo>
                  <a:pt x="2507" y="705"/>
                  <a:pt x="2507" y="705"/>
                  <a:pt x="2507" y="705"/>
                </a:cubicBezTo>
                <a:cubicBezTo>
                  <a:pt x="2505" y="706"/>
                  <a:pt x="2504" y="708"/>
                  <a:pt x="2501" y="709"/>
                </a:cubicBezTo>
                <a:cubicBezTo>
                  <a:pt x="2500" y="710"/>
                  <a:pt x="2498" y="711"/>
                  <a:pt x="2496" y="712"/>
                </a:cubicBezTo>
                <a:cubicBezTo>
                  <a:pt x="2495" y="712"/>
                  <a:pt x="2493" y="713"/>
                  <a:pt x="2491" y="714"/>
                </a:cubicBezTo>
                <a:cubicBezTo>
                  <a:pt x="2489" y="714"/>
                  <a:pt x="2488" y="715"/>
                  <a:pt x="2486" y="716"/>
                </a:cubicBezTo>
                <a:cubicBezTo>
                  <a:pt x="2486" y="716"/>
                  <a:pt x="2486" y="716"/>
                  <a:pt x="2486" y="726"/>
                </a:cubicBezTo>
                <a:cubicBezTo>
                  <a:pt x="2489" y="725"/>
                  <a:pt x="2491" y="724"/>
                  <a:pt x="2494" y="723"/>
                </a:cubicBezTo>
                <a:cubicBezTo>
                  <a:pt x="2496" y="722"/>
                  <a:pt x="2499" y="721"/>
                  <a:pt x="2501" y="720"/>
                </a:cubicBezTo>
                <a:cubicBezTo>
                  <a:pt x="2501" y="720"/>
                  <a:pt x="2501" y="720"/>
                  <a:pt x="2501" y="778"/>
                </a:cubicBezTo>
                <a:cubicBezTo>
                  <a:pt x="2501" y="778"/>
                  <a:pt x="2501" y="778"/>
                  <a:pt x="2512" y="778"/>
                </a:cubicBezTo>
                <a:cubicBezTo>
                  <a:pt x="2512" y="778"/>
                  <a:pt x="2512" y="778"/>
                  <a:pt x="2512" y="705"/>
                </a:cubicBezTo>
                <a:close/>
                <a:moveTo>
                  <a:pt x="2303" y="705"/>
                </a:moveTo>
                <a:cubicBezTo>
                  <a:pt x="2303" y="705"/>
                  <a:pt x="2303" y="705"/>
                  <a:pt x="2303" y="705"/>
                </a:cubicBezTo>
                <a:cubicBezTo>
                  <a:pt x="2298" y="705"/>
                  <a:pt x="2298" y="705"/>
                  <a:pt x="2298" y="705"/>
                </a:cubicBezTo>
                <a:cubicBezTo>
                  <a:pt x="2295" y="706"/>
                  <a:pt x="2294" y="708"/>
                  <a:pt x="2292" y="709"/>
                </a:cubicBezTo>
                <a:cubicBezTo>
                  <a:pt x="2290" y="710"/>
                  <a:pt x="2289" y="711"/>
                  <a:pt x="2287" y="712"/>
                </a:cubicBezTo>
                <a:cubicBezTo>
                  <a:pt x="2285" y="713"/>
                  <a:pt x="2283" y="714"/>
                  <a:pt x="2281" y="714"/>
                </a:cubicBezTo>
                <a:cubicBezTo>
                  <a:pt x="2279" y="715"/>
                  <a:pt x="2278" y="716"/>
                  <a:pt x="2276" y="716"/>
                </a:cubicBezTo>
                <a:cubicBezTo>
                  <a:pt x="2276" y="716"/>
                  <a:pt x="2276" y="716"/>
                  <a:pt x="2276" y="726"/>
                </a:cubicBezTo>
                <a:cubicBezTo>
                  <a:pt x="2278" y="725"/>
                  <a:pt x="2281" y="725"/>
                  <a:pt x="2284" y="723"/>
                </a:cubicBezTo>
                <a:cubicBezTo>
                  <a:pt x="2287" y="722"/>
                  <a:pt x="2289" y="721"/>
                  <a:pt x="2291" y="720"/>
                </a:cubicBezTo>
                <a:cubicBezTo>
                  <a:pt x="2291" y="720"/>
                  <a:pt x="2291" y="720"/>
                  <a:pt x="2291" y="778"/>
                </a:cubicBezTo>
                <a:cubicBezTo>
                  <a:pt x="2291" y="778"/>
                  <a:pt x="2291" y="778"/>
                  <a:pt x="2303" y="778"/>
                </a:cubicBezTo>
                <a:cubicBezTo>
                  <a:pt x="2303" y="778"/>
                  <a:pt x="2303" y="778"/>
                  <a:pt x="2303" y="705"/>
                </a:cubicBezTo>
                <a:close/>
                <a:moveTo>
                  <a:pt x="2349" y="705"/>
                </a:moveTo>
                <a:cubicBezTo>
                  <a:pt x="2349" y="705"/>
                  <a:pt x="2349" y="705"/>
                  <a:pt x="2349" y="705"/>
                </a:cubicBezTo>
                <a:cubicBezTo>
                  <a:pt x="2344" y="705"/>
                  <a:pt x="2344" y="705"/>
                  <a:pt x="2344" y="705"/>
                </a:cubicBezTo>
                <a:cubicBezTo>
                  <a:pt x="2342" y="706"/>
                  <a:pt x="2341" y="708"/>
                  <a:pt x="2339" y="709"/>
                </a:cubicBezTo>
                <a:cubicBezTo>
                  <a:pt x="2337" y="710"/>
                  <a:pt x="2335" y="711"/>
                  <a:pt x="2333" y="712"/>
                </a:cubicBezTo>
                <a:cubicBezTo>
                  <a:pt x="2332" y="713"/>
                  <a:pt x="2330" y="714"/>
                  <a:pt x="2328" y="714"/>
                </a:cubicBezTo>
                <a:cubicBezTo>
                  <a:pt x="2326" y="715"/>
                  <a:pt x="2325" y="716"/>
                  <a:pt x="2323" y="716"/>
                </a:cubicBezTo>
                <a:cubicBezTo>
                  <a:pt x="2323" y="716"/>
                  <a:pt x="2323" y="716"/>
                  <a:pt x="2323" y="726"/>
                </a:cubicBezTo>
                <a:cubicBezTo>
                  <a:pt x="2325" y="725"/>
                  <a:pt x="2328" y="725"/>
                  <a:pt x="2331" y="723"/>
                </a:cubicBezTo>
                <a:cubicBezTo>
                  <a:pt x="2333" y="722"/>
                  <a:pt x="2336" y="721"/>
                  <a:pt x="2338" y="720"/>
                </a:cubicBezTo>
                <a:cubicBezTo>
                  <a:pt x="2338" y="720"/>
                  <a:pt x="2338" y="720"/>
                  <a:pt x="2338" y="778"/>
                </a:cubicBezTo>
                <a:cubicBezTo>
                  <a:pt x="2338" y="778"/>
                  <a:pt x="2338" y="778"/>
                  <a:pt x="2349" y="778"/>
                </a:cubicBezTo>
                <a:cubicBezTo>
                  <a:pt x="2349" y="778"/>
                  <a:pt x="2349" y="778"/>
                  <a:pt x="2349" y="705"/>
                </a:cubicBezTo>
                <a:close/>
                <a:moveTo>
                  <a:pt x="2396" y="705"/>
                </a:moveTo>
                <a:cubicBezTo>
                  <a:pt x="2396" y="705"/>
                  <a:pt x="2396" y="705"/>
                  <a:pt x="2396" y="705"/>
                </a:cubicBezTo>
                <a:cubicBezTo>
                  <a:pt x="2391" y="705"/>
                  <a:pt x="2391" y="705"/>
                  <a:pt x="2391" y="705"/>
                </a:cubicBezTo>
                <a:cubicBezTo>
                  <a:pt x="2389" y="706"/>
                  <a:pt x="2388" y="708"/>
                  <a:pt x="2385" y="709"/>
                </a:cubicBezTo>
                <a:cubicBezTo>
                  <a:pt x="2384" y="710"/>
                  <a:pt x="2382" y="711"/>
                  <a:pt x="2380" y="712"/>
                </a:cubicBezTo>
                <a:cubicBezTo>
                  <a:pt x="2378" y="712"/>
                  <a:pt x="2377" y="713"/>
                  <a:pt x="2375" y="714"/>
                </a:cubicBezTo>
                <a:cubicBezTo>
                  <a:pt x="2373" y="714"/>
                  <a:pt x="2371" y="715"/>
                  <a:pt x="2370" y="716"/>
                </a:cubicBezTo>
                <a:cubicBezTo>
                  <a:pt x="2370" y="716"/>
                  <a:pt x="2370" y="716"/>
                  <a:pt x="2370" y="726"/>
                </a:cubicBezTo>
                <a:cubicBezTo>
                  <a:pt x="2372" y="725"/>
                  <a:pt x="2375" y="724"/>
                  <a:pt x="2378" y="723"/>
                </a:cubicBezTo>
                <a:cubicBezTo>
                  <a:pt x="2380" y="722"/>
                  <a:pt x="2383" y="721"/>
                  <a:pt x="2384" y="720"/>
                </a:cubicBezTo>
                <a:cubicBezTo>
                  <a:pt x="2384" y="720"/>
                  <a:pt x="2384" y="720"/>
                  <a:pt x="2384" y="778"/>
                </a:cubicBezTo>
                <a:cubicBezTo>
                  <a:pt x="2384" y="778"/>
                  <a:pt x="2384" y="778"/>
                  <a:pt x="2396" y="778"/>
                </a:cubicBezTo>
                <a:cubicBezTo>
                  <a:pt x="2396" y="778"/>
                  <a:pt x="2396" y="778"/>
                  <a:pt x="2396" y="705"/>
                </a:cubicBezTo>
                <a:close/>
                <a:moveTo>
                  <a:pt x="1961" y="778"/>
                </a:moveTo>
                <a:cubicBezTo>
                  <a:pt x="1954" y="778"/>
                  <a:pt x="1947" y="776"/>
                  <a:pt x="1944" y="770"/>
                </a:cubicBezTo>
                <a:cubicBezTo>
                  <a:pt x="1939" y="763"/>
                  <a:pt x="1937" y="754"/>
                  <a:pt x="1937" y="742"/>
                </a:cubicBezTo>
                <a:cubicBezTo>
                  <a:pt x="1937" y="729"/>
                  <a:pt x="1939" y="719"/>
                  <a:pt x="1944" y="713"/>
                </a:cubicBezTo>
                <a:cubicBezTo>
                  <a:pt x="1948" y="706"/>
                  <a:pt x="1955" y="703"/>
                  <a:pt x="1963" y="703"/>
                </a:cubicBezTo>
                <a:cubicBezTo>
                  <a:pt x="1979" y="703"/>
                  <a:pt x="1988" y="715"/>
                  <a:pt x="1988" y="741"/>
                </a:cubicBezTo>
                <a:cubicBezTo>
                  <a:pt x="1988" y="753"/>
                  <a:pt x="1985" y="762"/>
                  <a:pt x="1981" y="769"/>
                </a:cubicBezTo>
                <a:cubicBezTo>
                  <a:pt x="1976" y="776"/>
                  <a:pt x="1970" y="778"/>
                  <a:pt x="1961" y="778"/>
                </a:cubicBezTo>
                <a:close/>
                <a:moveTo>
                  <a:pt x="1963" y="712"/>
                </a:moveTo>
                <a:cubicBezTo>
                  <a:pt x="1954" y="712"/>
                  <a:pt x="1949" y="722"/>
                  <a:pt x="1949" y="742"/>
                </a:cubicBezTo>
                <a:cubicBezTo>
                  <a:pt x="1949" y="760"/>
                  <a:pt x="1953" y="769"/>
                  <a:pt x="1962" y="769"/>
                </a:cubicBezTo>
                <a:cubicBezTo>
                  <a:pt x="1971" y="769"/>
                  <a:pt x="1975" y="760"/>
                  <a:pt x="1975" y="741"/>
                </a:cubicBezTo>
                <a:cubicBezTo>
                  <a:pt x="1975" y="722"/>
                  <a:pt x="1971" y="712"/>
                  <a:pt x="1963" y="712"/>
                </a:cubicBezTo>
                <a:close/>
                <a:moveTo>
                  <a:pt x="2022" y="705"/>
                </a:moveTo>
                <a:cubicBezTo>
                  <a:pt x="2022" y="705"/>
                  <a:pt x="2022" y="705"/>
                  <a:pt x="2022" y="705"/>
                </a:cubicBezTo>
                <a:cubicBezTo>
                  <a:pt x="2017" y="705"/>
                  <a:pt x="2017" y="705"/>
                  <a:pt x="2017" y="705"/>
                </a:cubicBezTo>
                <a:cubicBezTo>
                  <a:pt x="2015" y="706"/>
                  <a:pt x="2013" y="708"/>
                  <a:pt x="2011" y="709"/>
                </a:cubicBezTo>
                <a:cubicBezTo>
                  <a:pt x="2010" y="710"/>
                  <a:pt x="2008" y="711"/>
                  <a:pt x="2006" y="712"/>
                </a:cubicBezTo>
                <a:cubicBezTo>
                  <a:pt x="2005" y="713"/>
                  <a:pt x="2002" y="714"/>
                  <a:pt x="2001" y="714"/>
                </a:cubicBezTo>
                <a:cubicBezTo>
                  <a:pt x="1999" y="715"/>
                  <a:pt x="1997" y="716"/>
                  <a:pt x="1995" y="716"/>
                </a:cubicBezTo>
                <a:cubicBezTo>
                  <a:pt x="1995" y="716"/>
                  <a:pt x="1995" y="716"/>
                  <a:pt x="1995" y="726"/>
                </a:cubicBezTo>
                <a:cubicBezTo>
                  <a:pt x="1998" y="725"/>
                  <a:pt x="2001" y="725"/>
                  <a:pt x="2004" y="723"/>
                </a:cubicBezTo>
                <a:cubicBezTo>
                  <a:pt x="2006" y="722"/>
                  <a:pt x="2008" y="721"/>
                  <a:pt x="2010" y="720"/>
                </a:cubicBezTo>
                <a:cubicBezTo>
                  <a:pt x="2010" y="720"/>
                  <a:pt x="2010" y="720"/>
                  <a:pt x="2010" y="778"/>
                </a:cubicBezTo>
                <a:cubicBezTo>
                  <a:pt x="2010" y="778"/>
                  <a:pt x="2010" y="778"/>
                  <a:pt x="2022" y="778"/>
                </a:cubicBezTo>
                <a:cubicBezTo>
                  <a:pt x="2022" y="778"/>
                  <a:pt x="2022" y="778"/>
                  <a:pt x="2022" y="705"/>
                </a:cubicBezTo>
                <a:close/>
                <a:moveTo>
                  <a:pt x="2069" y="705"/>
                </a:moveTo>
                <a:cubicBezTo>
                  <a:pt x="2069" y="705"/>
                  <a:pt x="2069" y="705"/>
                  <a:pt x="2069" y="705"/>
                </a:cubicBezTo>
                <a:cubicBezTo>
                  <a:pt x="2064" y="705"/>
                  <a:pt x="2064" y="705"/>
                  <a:pt x="2064" y="705"/>
                </a:cubicBezTo>
                <a:cubicBezTo>
                  <a:pt x="2062" y="706"/>
                  <a:pt x="2060" y="708"/>
                  <a:pt x="2058" y="709"/>
                </a:cubicBezTo>
                <a:cubicBezTo>
                  <a:pt x="2057" y="710"/>
                  <a:pt x="2055" y="711"/>
                  <a:pt x="2053" y="712"/>
                </a:cubicBezTo>
                <a:cubicBezTo>
                  <a:pt x="2052" y="713"/>
                  <a:pt x="2050" y="714"/>
                  <a:pt x="2048" y="714"/>
                </a:cubicBezTo>
                <a:cubicBezTo>
                  <a:pt x="2046" y="715"/>
                  <a:pt x="2044" y="716"/>
                  <a:pt x="2042" y="716"/>
                </a:cubicBezTo>
                <a:cubicBezTo>
                  <a:pt x="2042" y="716"/>
                  <a:pt x="2042" y="716"/>
                  <a:pt x="2042" y="726"/>
                </a:cubicBezTo>
                <a:cubicBezTo>
                  <a:pt x="2045" y="725"/>
                  <a:pt x="2048" y="725"/>
                  <a:pt x="2050" y="723"/>
                </a:cubicBezTo>
                <a:cubicBezTo>
                  <a:pt x="2053" y="722"/>
                  <a:pt x="2055" y="721"/>
                  <a:pt x="2058" y="720"/>
                </a:cubicBezTo>
                <a:cubicBezTo>
                  <a:pt x="2058" y="720"/>
                  <a:pt x="2058" y="720"/>
                  <a:pt x="2058" y="778"/>
                </a:cubicBezTo>
                <a:cubicBezTo>
                  <a:pt x="2058" y="778"/>
                  <a:pt x="2058" y="778"/>
                  <a:pt x="2069" y="778"/>
                </a:cubicBezTo>
                <a:cubicBezTo>
                  <a:pt x="2069" y="778"/>
                  <a:pt x="2069" y="778"/>
                  <a:pt x="2069" y="705"/>
                </a:cubicBezTo>
                <a:close/>
                <a:moveTo>
                  <a:pt x="2115" y="705"/>
                </a:moveTo>
                <a:cubicBezTo>
                  <a:pt x="2115" y="705"/>
                  <a:pt x="2115" y="705"/>
                  <a:pt x="2115" y="705"/>
                </a:cubicBezTo>
                <a:cubicBezTo>
                  <a:pt x="2111" y="705"/>
                  <a:pt x="2111" y="705"/>
                  <a:pt x="2111" y="705"/>
                </a:cubicBezTo>
                <a:cubicBezTo>
                  <a:pt x="2109" y="706"/>
                  <a:pt x="2107" y="708"/>
                  <a:pt x="2105" y="709"/>
                </a:cubicBezTo>
                <a:cubicBezTo>
                  <a:pt x="2103" y="710"/>
                  <a:pt x="2101" y="711"/>
                  <a:pt x="2100" y="712"/>
                </a:cubicBezTo>
                <a:cubicBezTo>
                  <a:pt x="2098" y="712"/>
                  <a:pt x="2096" y="713"/>
                  <a:pt x="2094" y="714"/>
                </a:cubicBezTo>
                <a:cubicBezTo>
                  <a:pt x="2092" y="714"/>
                  <a:pt x="2090" y="715"/>
                  <a:pt x="2089" y="716"/>
                </a:cubicBezTo>
                <a:cubicBezTo>
                  <a:pt x="2089" y="716"/>
                  <a:pt x="2089" y="716"/>
                  <a:pt x="2089" y="726"/>
                </a:cubicBezTo>
                <a:cubicBezTo>
                  <a:pt x="2092" y="725"/>
                  <a:pt x="2095" y="724"/>
                  <a:pt x="2097" y="723"/>
                </a:cubicBezTo>
                <a:cubicBezTo>
                  <a:pt x="2099" y="722"/>
                  <a:pt x="2102" y="721"/>
                  <a:pt x="2103" y="720"/>
                </a:cubicBezTo>
                <a:cubicBezTo>
                  <a:pt x="2103" y="720"/>
                  <a:pt x="2103" y="720"/>
                  <a:pt x="2103" y="778"/>
                </a:cubicBezTo>
                <a:cubicBezTo>
                  <a:pt x="2103" y="778"/>
                  <a:pt x="2103" y="778"/>
                  <a:pt x="2115" y="778"/>
                </a:cubicBezTo>
                <a:cubicBezTo>
                  <a:pt x="2115" y="778"/>
                  <a:pt x="2115" y="778"/>
                  <a:pt x="2115" y="705"/>
                </a:cubicBezTo>
                <a:close/>
                <a:moveTo>
                  <a:pt x="1961" y="1078"/>
                </a:moveTo>
                <a:cubicBezTo>
                  <a:pt x="1954" y="1078"/>
                  <a:pt x="1947" y="1075"/>
                  <a:pt x="1944" y="1069"/>
                </a:cubicBezTo>
                <a:cubicBezTo>
                  <a:pt x="1939" y="1063"/>
                  <a:pt x="1937" y="1054"/>
                  <a:pt x="1937" y="1042"/>
                </a:cubicBezTo>
                <a:cubicBezTo>
                  <a:pt x="1937" y="1028"/>
                  <a:pt x="1939" y="1019"/>
                  <a:pt x="1944" y="1012"/>
                </a:cubicBezTo>
                <a:cubicBezTo>
                  <a:pt x="1948" y="1006"/>
                  <a:pt x="1955" y="1002"/>
                  <a:pt x="1963" y="1002"/>
                </a:cubicBezTo>
                <a:cubicBezTo>
                  <a:pt x="1979" y="1002"/>
                  <a:pt x="1988" y="1015"/>
                  <a:pt x="1988" y="1040"/>
                </a:cubicBezTo>
                <a:cubicBezTo>
                  <a:pt x="1988" y="1052"/>
                  <a:pt x="1985" y="1062"/>
                  <a:pt x="1981" y="1068"/>
                </a:cubicBezTo>
                <a:cubicBezTo>
                  <a:pt x="1976" y="1075"/>
                  <a:pt x="1970" y="1078"/>
                  <a:pt x="1961" y="1078"/>
                </a:cubicBezTo>
                <a:close/>
                <a:moveTo>
                  <a:pt x="1963" y="1012"/>
                </a:moveTo>
                <a:cubicBezTo>
                  <a:pt x="1954" y="1012"/>
                  <a:pt x="1949" y="1022"/>
                  <a:pt x="1949" y="1042"/>
                </a:cubicBezTo>
                <a:cubicBezTo>
                  <a:pt x="1949" y="1060"/>
                  <a:pt x="1953" y="1068"/>
                  <a:pt x="1962" y="1068"/>
                </a:cubicBezTo>
                <a:cubicBezTo>
                  <a:pt x="1971" y="1068"/>
                  <a:pt x="1975" y="1060"/>
                  <a:pt x="1975" y="1041"/>
                </a:cubicBezTo>
                <a:cubicBezTo>
                  <a:pt x="1975" y="1021"/>
                  <a:pt x="1971" y="1012"/>
                  <a:pt x="1963" y="1012"/>
                </a:cubicBezTo>
                <a:close/>
                <a:moveTo>
                  <a:pt x="1963" y="983"/>
                </a:moveTo>
                <a:cubicBezTo>
                  <a:pt x="1956" y="983"/>
                  <a:pt x="1949" y="980"/>
                  <a:pt x="1946" y="974"/>
                </a:cubicBezTo>
                <a:cubicBezTo>
                  <a:pt x="1941" y="968"/>
                  <a:pt x="1939" y="959"/>
                  <a:pt x="1939" y="946"/>
                </a:cubicBezTo>
                <a:cubicBezTo>
                  <a:pt x="1939" y="933"/>
                  <a:pt x="1941" y="924"/>
                  <a:pt x="1946" y="917"/>
                </a:cubicBezTo>
                <a:cubicBezTo>
                  <a:pt x="1950" y="911"/>
                  <a:pt x="1957" y="907"/>
                  <a:pt x="1965" y="907"/>
                </a:cubicBezTo>
                <a:cubicBezTo>
                  <a:pt x="1981" y="907"/>
                  <a:pt x="1989" y="919"/>
                  <a:pt x="1989" y="945"/>
                </a:cubicBezTo>
                <a:cubicBezTo>
                  <a:pt x="1989" y="957"/>
                  <a:pt x="1987" y="967"/>
                  <a:pt x="1983" y="973"/>
                </a:cubicBezTo>
                <a:cubicBezTo>
                  <a:pt x="1978" y="980"/>
                  <a:pt x="1972" y="983"/>
                  <a:pt x="1963" y="983"/>
                </a:cubicBezTo>
                <a:close/>
                <a:moveTo>
                  <a:pt x="1965" y="917"/>
                </a:moveTo>
                <a:cubicBezTo>
                  <a:pt x="1956" y="917"/>
                  <a:pt x="1951" y="927"/>
                  <a:pt x="1951" y="946"/>
                </a:cubicBezTo>
                <a:cubicBezTo>
                  <a:pt x="1951" y="965"/>
                  <a:pt x="1955" y="973"/>
                  <a:pt x="1964" y="973"/>
                </a:cubicBezTo>
                <a:cubicBezTo>
                  <a:pt x="1973" y="973"/>
                  <a:pt x="1977" y="965"/>
                  <a:pt x="1977" y="946"/>
                </a:cubicBezTo>
                <a:cubicBezTo>
                  <a:pt x="1977" y="926"/>
                  <a:pt x="1973" y="917"/>
                  <a:pt x="1965" y="917"/>
                </a:cubicBezTo>
                <a:close/>
                <a:moveTo>
                  <a:pt x="2030" y="671"/>
                </a:moveTo>
                <a:cubicBezTo>
                  <a:pt x="2023" y="671"/>
                  <a:pt x="2016" y="668"/>
                  <a:pt x="2012" y="662"/>
                </a:cubicBezTo>
                <a:cubicBezTo>
                  <a:pt x="2008" y="656"/>
                  <a:pt x="2006" y="647"/>
                  <a:pt x="2006" y="634"/>
                </a:cubicBezTo>
                <a:cubicBezTo>
                  <a:pt x="2006" y="621"/>
                  <a:pt x="2008" y="612"/>
                  <a:pt x="2012" y="605"/>
                </a:cubicBezTo>
                <a:cubicBezTo>
                  <a:pt x="2017" y="599"/>
                  <a:pt x="2023" y="595"/>
                  <a:pt x="2032" y="595"/>
                </a:cubicBezTo>
                <a:cubicBezTo>
                  <a:pt x="2048" y="595"/>
                  <a:pt x="2056" y="607"/>
                  <a:pt x="2056" y="633"/>
                </a:cubicBezTo>
                <a:cubicBezTo>
                  <a:pt x="2056" y="645"/>
                  <a:pt x="2054" y="655"/>
                  <a:pt x="2049" y="661"/>
                </a:cubicBezTo>
                <a:cubicBezTo>
                  <a:pt x="2044" y="668"/>
                  <a:pt x="2038" y="671"/>
                  <a:pt x="2030" y="671"/>
                </a:cubicBezTo>
                <a:close/>
                <a:moveTo>
                  <a:pt x="2031" y="605"/>
                </a:moveTo>
                <a:cubicBezTo>
                  <a:pt x="2022" y="605"/>
                  <a:pt x="2017" y="615"/>
                  <a:pt x="2017" y="634"/>
                </a:cubicBezTo>
                <a:cubicBezTo>
                  <a:pt x="2017" y="653"/>
                  <a:pt x="2022" y="661"/>
                  <a:pt x="2031" y="661"/>
                </a:cubicBezTo>
                <a:cubicBezTo>
                  <a:pt x="2039" y="661"/>
                  <a:pt x="2044" y="653"/>
                  <a:pt x="2044" y="634"/>
                </a:cubicBezTo>
                <a:cubicBezTo>
                  <a:pt x="2044" y="614"/>
                  <a:pt x="2039" y="605"/>
                  <a:pt x="2031" y="605"/>
                </a:cubicBezTo>
                <a:close/>
                <a:moveTo>
                  <a:pt x="2104" y="597"/>
                </a:moveTo>
                <a:cubicBezTo>
                  <a:pt x="2104" y="597"/>
                  <a:pt x="2104" y="597"/>
                  <a:pt x="2104" y="597"/>
                </a:cubicBezTo>
                <a:cubicBezTo>
                  <a:pt x="2099" y="597"/>
                  <a:pt x="2099" y="597"/>
                  <a:pt x="2099" y="597"/>
                </a:cubicBezTo>
                <a:cubicBezTo>
                  <a:pt x="2096" y="599"/>
                  <a:pt x="2095" y="600"/>
                  <a:pt x="2093" y="601"/>
                </a:cubicBezTo>
                <a:cubicBezTo>
                  <a:pt x="2091" y="603"/>
                  <a:pt x="2089" y="603"/>
                  <a:pt x="2088" y="604"/>
                </a:cubicBezTo>
                <a:cubicBezTo>
                  <a:pt x="2086" y="605"/>
                  <a:pt x="2084" y="605"/>
                  <a:pt x="2083" y="606"/>
                </a:cubicBezTo>
                <a:cubicBezTo>
                  <a:pt x="2080" y="607"/>
                  <a:pt x="2079" y="608"/>
                  <a:pt x="2077" y="608"/>
                </a:cubicBezTo>
                <a:cubicBezTo>
                  <a:pt x="2077" y="608"/>
                  <a:pt x="2077" y="608"/>
                  <a:pt x="2077" y="619"/>
                </a:cubicBezTo>
                <a:cubicBezTo>
                  <a:pt x="2080" y="618"/>
                  <a:pt x="2083" y="616"/>
                  <a:pt x="2085" y="616"/>
                </a:cubicBezTo>
                <a:cubicBezTo>
                  <a:pt x="2088" y="615"/>
                  <a:pt x="2090" y="613"/>
                  <a:pt x="2092" y="612"/>
                </a:cubicBezTo>
                <a:cubicBezTo>
                  <a:pt x="2092" y="612"/>
                  <a:pt x="2092" y="612"/>
                  <a:pt x="2092" y="671"/>
                </a:cubicBezTo>
                <a:cubicBezTo>
                  <a:pt x="2092" y="671"/>
                  <a:pt x="2092" y="671"/>
                  <a:pt x="2104" y="671"/>
                </a:cubicBezTo>
                <a:cubicBezTo>
                  <a:pt x="2104" y="671"/>
                  <a:pt x="2104" y="671"/>
                  <a:pt x="2104" y="597"/>
                </a:cubicBezTo>
                <a:close/>
                <a:moveTo>
                  <a:pt x="2151" y="597"/>
                </a:moveTo>
                <a:cubicBezTo>
                  <a:pt x="2151" y="597"/>
                  <a:pt x="2151" y="597"/>
                  <a:pt x="2151" y="597"/>
                </a:cubicBezTo>
                <a:cubicBezTo>
                  <a:pt x="2146" y="597"/>
                  <a:pt x="2146" y="597"/>
                  <a:pt x="2146" y="597"/>
                </a:cubicBezTo>
                <a:cubicBezTo>
                  <a:pt x="2144" y="599"/>
                  <a:pt x="2142" y="600"/>
                  <a:pt x="2140" y="601"/>
                </a:cubicBezTo>
                <a:cubicBezTo>
                  <a:pt x="2139" y="603"/>
                  <a:pt x="2136" y="603"/>
                  <a:pt x="2135" y="604"/>
                </a:cubicBezTo>
                <a:cubicBezTo>
                  <a:pt x="2134" y="605"/>
                  <a:pt x="2131" y="606"/>
                  <a:pt x="2130" y="607"/>
                </a:cubicBezTo>
                <a:cubicBezTo>
                  <a:pt x="2128" y="608"/>
                  <a:pt x="2126" y="608"/>
                  <a:pt x="2124" y="608"/>
                </a:cubicBezTo>
                <a:cubicBezTo>
                  <a:pt x="2124" y="608"/>
                  <a:pt x="2124" y="608"/>
                  <a:pt x="2124" y="619"/>
                </a:cubicBezTo>
                <a:cubicBezTo>
                  <a:pt x="2127" y="618"/>
                  <a:pt x="2130" y="617"/>
                  <a:pt x="2132" y="616"/>
                </a:cubicBezTo>
                <a:cubicBezTo>
                  <a:pt x="2135" y="615"/>
                  <a:pt x="2137" y="613"/>
                  <a:pt x="2139" y="612"/>
                </a:cubicBezTo>
                <a:cubicBezTo>
                  <a:pt x="2139" y="612"/>
                  <a:pt x="2139" y="612"/>
                  <a:pt x="2139" y="671"/>
                </a:cubicBezTo>
                <a:cubicBezTo>
                  <a:pt x="2139" y="671"/>
                  <a:pt x="2139" y="671"/>
                  <a:pt x="2151" y="671"/>
                </a:cubicBezTo>
                <a:cubicBezTo>
                  <a:pt x="2151" y="671"/>
                  <a:pt x="2151" y="671"/>
                  <a:pt x="2151" y="597"/>
                </a:cubicBezTo>
                <a:close/>
                <a:moveTo>
                  <a:pt x="2197" y="597"/>
                </a:moveTo>
                <a:cubicBezTo>
                  <a:pt x="2197" y="597"/>
                  <a:pt x="2197" y="597"/>
                  <a:pt x="2197" y="597"/>
                </a:cubicBezTo>
                <a:cubicBezTo>
                  <a:pt x="2193" y="597"/>
                  <a:pt x="2193" y="597"/>
                  <a:pt x="2193" y="597"/>
                </a:cubicBezTo>
                <a:cubicBezTo>
                  <a:pt x="2191" y="599"/>
                  <a:pt x="2189" y="600"/>
                  <a:pt x="2187" y="601"/>
                </a:cubicBezTo>
                <a:cubicBezTo>
                  <a:pt x="2186" y="603"/>
                  <a:pt x="2184" y="603"/>
                  <a:pt x="2182" y="604"/>
                </a:cubicBezTo>
                <a:cubicBezTo>
                  <a:pt x="2180" y="605"/>
                  <a:pt x="2179" y="606"/>
                  <a:pt x="2176" y="607"/>
                </a:cubicBezTo>
                <a:cubicBezTo>
                  <a:pt x="2175" y="608"/>
                  <a:pt x="2173" y="608"/>
                  <a:pt x="2171" y="608"/>
                </a:cubicBezTo>
                <a:cubicBezTo>
                  <a:pt x="2171" y="608"/>
                  <a:pt x="2171" y="608"/>
                  <a:pt x="2171" y="619"/>
                </a:cubicBezTo>
                <a:cubicBezTo>
                  <a:pt x="2174" y="618"/>
                  <a:pt x="2177" y="617"/>
                  <a:pt x="2179" y="616"/>
                </a:cubicBezTo>
                <a:cubicBezTo>
                  <a:pt x="2181" y="615"/>
                  <a:pt x="2184" y="613"/>
                  <a:pt x="2186" y="612"/>
                </a:cubicBezTo>
                <a:cubicBezTo>
                  <a:pt x="2186" y="612"/>
                  <a:pt x="2186" y="612"/>
                  <a:pt x="2186" y="671"/>
                </a:cubicBezTo>
                <a:cubicBezTo>
                  <a:pt x="2186" y="671"/>
                  <a:pt x="2186" y="671"/>
                  <a:pt x="2197" y="671"/>
                </a:cubicBezTo>
                <a:cubicBezTo>
                  <a:pt x="2197" y="671"/>
                  <a:pt x="2197" y="671"/>
                  <a:pt x="2197" y="597"/>
                </a:cubicBezTo>
                <a:close/>
                <a:moveTo>
                  <a:pt x="2245" y="597"/>
                </a:moveTo>
                <a:cubicBezTo>
                  <a:pt x="2245" y="597"/>
                  <a:pt x="2245" y="597"/>
                  <a:pt x="2245" y="597"/>
                </a:cubicBezTo>
                <a:cubicBezTo>
                  <a:pt x="2240" y="597"/>
                  <a:pt x="2240" y="597"/>
                  <a:pt x="2240" y="597"/>
                </a:cubicBezTo>
                <a:cubicBezTo>
                  <a:pt x="2238" y="599"/>
                  <a:pt x="2236" y="600"/>
                  <a:pt x="2234" y="601"/>
                </a:cubicBezTo>
                <a:cubicBezTo>
                  <a:pt x="2232" y="603"/>
                  <a:pt x="2231" y="603"/>
                  <a:pt x="2229" y="604"/>
                </a:cubicBezTo>
                <a:cubicBezTo>
                  <a:pt x="2227" y="605"/>
                  <a:pt x="2225" y="606"/>
                  <a:pt x="2224" y="607"/>
                </a:cubicBezTo>
                <a:cubicBezTo>
                  <a:pt x="2222" y="608"/>
                  <a:pt x="2220" y="608"/>
                  <a:pt x="2218" y="608"/>
                </a:cubicBezTo>
                <a:cubicBezTo>
                  <a:pt x="2218" y="608"/>
                  <a:pt x="2218" y="608"/>
                  <a:pt x="2218" y="619"/>
                </a:cubicBezTo>
                <a:cubicBezTo>
                  <a:pt x="2221" y="618"/>
                  <a:pt x="2224" y="617"/>
                  <a:pt x="2226" y="616"/>
                </a:cubicBezTo>
                <a:cubicBezTo>
                  <a:pt x="2229" y="615"/>
                  <a:pt x="2231" y="613"/>
                  <a:pt x="2233" y="612"/>
                </a:cubicBezTo>
                <a:cubicBezTo>
                  <a:pt x="2233" y="612"/>
                  <a:pt x="2233" y="612"/>
                  <a:pt x="2233" y="671"/>
                </a:cubicBezTo>
                <a:cubicBezTo>
                  <a:pt x="2233" y="671"/>
                  <a:pt x="2233" y="671"/>
                  <a:pt x="2245" y="671"/>
                </a:cubicBezTo>
                <a:cubicBezTo>
                  <a:pt x="2245" y="671"/>
                  <a:pt x="2245" y="671"/>
                  <a:pt x="2245" y="597"/>
                </a:cubicBezTo>
                <a:close/>
                <a:moveTo>
                  <a:pt x="2368" y="597"/>
                </a:moveTo>
                <a:cubicBezTo>
                  <a:pt x="2368" y="597"/>
                  <a:pt x="2368" y="597"/>
                  <a:pt x="2368" y="597"/>
                </a:cubicBezTo>
                <a:cubicBezTo>
                  <a:pt x="2363" y="597"/>
                  <a:pt x="2363" y="597"/>
                  <a:pt x="2363" y="597"/>
                </a:cubicBezTo>
                <a:cubicBezTo>
                  <a:pt x="2360" y="599"/>
                  <a:pt x="2359" y="600"/>
                  <a:pt x="2357" y="601"/>
                </a:cubicBezTo>
                <a:cubicBezTo>
                  <a:pt x="2355" y="603"/>
                  <a:pt x="2354" y="603"/>
                  <a:pt x="2352" y="604"/>
                </a:cubicBezTo>
                <a:cubicBezTo>
                  <a:pt x="2350" y="605"/>
                  <a:pt x="2348" y="606"/>
                  <a:pt x="2347" y="607"/>
                </a:cubicBezTo>
                <a:cubicBezTo>
                  <a:pt x="2344" y="608"/>
                  <a:pt x="2343" y="608"/>
                  <a:pt x="2341" y="608"/>
                </a:cubicBezTo>
                <a:cubicBezTo>
                  <a:pt x="2341" y="608"/>
                  <a:pt x="2341" y="608"/>
                  <a:pt x="2341" y="619"/>
                </a:cubicBezTo>
                <a:cubicBezTo>
                  <a:pt x="2344" y="618"/>
                  <a:pt x="2347" y="617"/>
                  <a:pt x="2350" y="616"/>
                </a:cubicBezTo>
                <a:cubicBezTo>
                  <a:pt x="2352" y="615"/>
                  <a:pt x="2354" y="613"/>
                  <a:pt x="2356" y="612"/>
                </a:cubicBezTo>
                <a:cubicBezTo>
                  <a:pt x="2356" y="612"/>
                  <a:pt x="2356" y="612"/>
                  <a:pt x="2356" y="671"/>
                </a:cubicBezTo>
                <a:cubicBezTo>
                  <a:pt x="2356" y="671"/>
                  <a:pt x="2356" y="671"/>
                  <a:pt x="2368" y="671"/>
                </a:cubicBezTo>
                <a:cubicBezTo>
                  <a:pt x="2368" y="671"/>
                  <a:pt x="2368" y="671"/>
                  <a:pt x="2368" y="597"/>
                </a:cubicBezTo>
                <a:close/>
                <a:moveTo>
                  <a:pt x="2415" y="597"/>
                </a:moveTo>
                <a:cubicBezTo>
                  <a:pt x="2415" y="597"/>
                  <a:pt x="2415" y="597"/>
                  <a:pt x="2415" y="597"/>
                </a:cubicBezTo>
                <a:cubicBezTo>
                  <a:pt x="2410" y="597"/>
                  <a:pt x="2410" y="597"/>
                  <a:pt x="2410" y="597"/>
                </a:cubicBezTo>
                <a:cubicBezTo>
                  <a:pt x="2408" y="599"/>
                  <a:pt x="2406" y="600"/>
                  <a:pt x="2404" y="601"/>
                </a:cubicBezTo>
                <a:cubicBezTo>
                  <a:pt x="2403" y="603"/>
                  <a:pt x="2401" y="603"/>
                  <a:pt x="2399" y="604"/>
                </a:cubicBezTo>
                <a:cubicBezTo>
                  <a:pt x="2398" y="605"/>
                  <a:pt x="2396" y="606"/>
                  <a:pt x="2394" y="607"/>
                </a:cubicBezTo>
                <a:cubicBezTo>
                  <a:pt x="2392" y="608"/>
                  <a:pt x="2391" y="608"/>
                  <a:pt x="2388" y="608"/>
                </a:cubicBezTo>
                <a:cubicBezTo>
                  <a:pt x="2388" y="608"/>
                  <a:pt x="2388" y="608"/>
                  <a:pt x="2388" y="619"/>
                </a:cubicBezTo>
                <a:cubicBezTo>
                  <a:pt x="2391" y="618"/>
                  <a:pt x="2394" y="617"/>
                  <a:pt x="2396" y="616"/>
                </a:cubicBezTo>
                <a:cubicBezTo>
                  <a:pt x="2399" y="615"/>
                  <a:pt x="2401" y="613"/>
                  <a:pt x="2404" y="612"/>
                </a:cubicBezTo>
                <a:cubicBezTo>
                  <a:pt x="2404" y="612"/>
                  <a:pt x="2404" y="612"/>
                  <a:pt x="2404" y="671"/>
                </a:cubicBezTo>
                <a:cubicBezTo>
                  <a:pt x="2404" y="671"/>
                  <a:pt x="2404" y="671"/>
                  <a:pt x="2415" y="671"/>
                </a:cubicBezTo>
                <a:cubicBezTo>
                  <a:pt x="2415" y="671"/>
                  <a:pt x="2415" y="671"/>
                  <a:pt x="2415" y="597"/>
                </a:cubicBezTo>
                <a:close/>
                <a:moveTo>
                  <a:pt x="2463" y="597"/>
                </a:moveTo>
                <a:cubicBezTo>
                  <a:pt x="2463" y="597"/>
                  <a:pt x="2463" y="597"/>
                  <a:pt x="2463" y="597"/>
                </a:cubicBezTo>
                <a:cubicBezTo>
                  <a:pt x="2458" y="597"/>
                  <a:pt x="2458" y="597"/>
                  <a:pt x="2458" y="597"/>
                </a:cubicBezTo>
                <a:cubicBezTo>
                  <a:pt x="2456" y="599"/>
                  <a:pt x="2454" y="600"/>
                  <a:pt x="2453" y="601"/>
                </a:cubicBezTo>
                <a:cubicBezTo>
                  <a:pt x="2450" y="603"/>
                  <a:pt x="2449" y="603"/>
                  <a:pt x="2447" y="604"/>
                </a:cubicBezTo>
                <a:cubicBezTo>
                  <a:pt x="2445" y="605"/>
                  <a:pt x="2443" y="606"/>
                  <a:pt x="2442" y="607"/>
                </a:cubicBezTo>
                <a:cubicBezTo>
                  <a:pt x="2439" y="608"/>
                  <a:pt x="2438" y="608"/>
                  <a:pt x="2436" y="608"/>
                </a:cubicBezTo>
                <a:cubicBezTo>
                  <a:pt x="2436" y="608"/>
                  <a:pt x="2436" y="608"/>
                  <a:pt x="2436" y="619"/>
                </a:cubicBezTo>
                <a:cubicBezTo>
                  <a:pt x="2439" y="618"/>
                  <a:pt x="2442" y="617"/>
                  <a:pt x="2445" y="616"/>
                </a:cubicBezTo>
                <a:cubicBezTo>
                  <a:pt x="2447" y="615"/>
                  <a:pt x="2449" y="613"/>
                  <a:pt x="2451" y="612"/>
                </a:cubicBezTo>
                <a:cubicBezTo>
                  <a:pt x="2451" y="612"/>
                  <a:pt x="2451" y="612"/>
                  <a:pt x="2451" y="671"/>
                </a:cubicBezTo>
                <a:cubicBezTo>
                  <a:pt x="2451" y="671"/>
                  <a:pt x="2451" y="671"/>
                  <a:pt x="2463" y="671"/>
                </a:cubicBezTo>
                <a:cubicBezTo>
                  <a:pt x="2463" y="671"/>
                  <a:pt x="2463" y="671"/>
                  <a:pt x="2463" y="597"/>
                </a:cubicBezTo>
                <a:close/>
                <a:moveTo>
                  <a:pt x="2509" y="597"/>
                </a:moveTo>
                <a:cubicBezTo>
                  <a:pt x="2509" y="597"/>
                  <a:pt x="2509" y="597"/>
                  <a:pt x="2509" y="597"/>
                </a:cubicBezTo>
                <a:cubicBezTo>
                  <a:pt x="2505" y="597"/>
                  <a:pt x="2505" y="597"/>
                  <a:pt x="2505" y="597"/>
                </a:cubicBezTo>
                <a:cubicBezTo>
                  <a:pt x="2503" y="599"/>
                  <a:pt x="2501" y="600"/>
                  <a:pt x="2499" y="601"/>
                </a:cubicBezTo>
                <a:cubicBezTo>
                  <a:pt x="2498" y="603"/>
                  <a:pt x="2496" y="603"/>
                  <a:pt x="2494" y="604"/>
                </a:cubicBezTo>
                <a:cubicBezTo>
                  <a:pt x="2492" y="605"/>
                  <a:pt x="2491" y="605"/>
                  <a:pt x="2488" y="606"/>
                </a:cubicBezTo>
                <a:cubicBezTo>
                  <a:pt x="2487" y="607"/>
                  <a:pt x="2485" y="608"/>
                  <a:pt x="2483" y="608"/>
                </a:cubicBezTo>
                <a:cubicBezTo>
                  <a:pt x="2483" y="608"/>
                  <a:pt x="2483" y="608"/>
                  <a:pt x="2483" y="619"/>
                </a:cubicBezTo>
                <a:cubicBezTo>
                  <a:pt x="2486" y="618"/>
                  <a:pt x="2489" y="616"/>
                  <a:pt x="2491" y="616"/>
                </a:cubicBezTo>
                <a:cubicBezTo>
                  <a:pt x="2493" y="615"/>
                  <a:pt x="2496" y="613"/>
                  <a:pt x="2498" y="612"/>
                </a:cubicBezTo>
                <a:cubicBezTo>
                  <a:pt x="2498" y="612"/>
                  <a:pt x="2498" y="612"/>
                  <a:pt x="2498" y="671"/>
                </a:cubicBezTo>
                <a:cubicBezTo>
                  <a:pt x="2498" y="671"/>
                  <a:pt x="2498" y="671"/>
                  <a:pt x="2509" y="671"/>
                </a:cubicBezTo>
                <a:cubicBezTo>
                  <a:pt x="2509" y="671"/>
                  <a:pt x="2509" y="671"/>
                  <a:pt x="2509" y="597"/>
                </a:cubicBezTo>
                <a:close/>
                <a:moveTo>
                  <a:pt x="2266" y="630"/>
                </a:moveTo>
                <a:cubicBezTo>
                  <a:pt x="2266" y="630"/>
                  <a:pt x="2266" y="630"/>
                  <a:pt x="2266" y="630"/>
                </a:cubicBezTo>
                <a:cubicBezTo>
                  <a:pt x="2265" y="638"/>
                  <a:pt x="2265" y="638"/>
                  <a:pt x="2265" y="638"/>
                </a:cubicBezTo>
                <a:cubicBezTo>
                  <a:pt x="2272" y="638"/>
                  <a:pt x="2272" y="641"/>
                  <a:pt x="2272" y="644"/>
                </a:cubicBezTo>
                <a:cubicBezTo>
                  <a:pt x="2272" y="646"/>
                  <a:pt x="2272" y="648"/>
                  <a:pt x="2272" y="651"/>
                </a:cubicBezTo>
                <a:cubicBezTo>
                  <a:pt x="2272" y="654"/>
                  <a:pt x="2271" y="656"/>
                  <a:pt x="2271" y="658"/>
                </a:cubicBezTo>
                <a:cubicBezTo>
                  <a:pt x="2271" y="668"/>
                  <a:pt x="2277" y="671"/>
                  <a:pt x="2286" y="671"/>
                </a:cubicBezTo>
                <a:cubicBezTo>
                  <a:pt x="2286" y="671"/>
                  <a:pt x="2286" y="671"/>
                  <a:pt x="2289" y="671"/>
                </a:cubicBezTo>
                <a:cubicBezTo>
                  <a:pt x="2289" y="671"/>
                  <a:pt x="2289" y="671"/>
                  <a:pt x="2289" y="662"/>
                </a:cubicBezTo>
                <a:cubicBezTo>
                  <a:pt x="2289" y="662"/>
                  <a:pt x="2289" y="662"/>
                  <a:pt x="2288" y="662"/>
                </a:cubicBezTo>
                <a:cubicBezTo>
                  <a:pt x="2284" y="662"/>
                  <a:pt x="2283" y="659"/>
                  <a:pt x="2283" y="656"/>
                </a:cubicBezTo>
                <a:cubicBezTo>
                  <a:pt x="2283" y="654"/>
                  <a:pt x="2283" y="653"/>
                  <a:pt x="2284" y="651"/>
                </a:cubicBezTo>
                <a:cubicBezTo>
                  <a:pt x="2284" y="650"/>
                  <a:pt x="2284" y="647"/>
                  <a:pt x="2284" y="645"/>
                </a:cubicBezTo>
                <a:cubicBezTo>
                  <a:pt x="2284" y="638"/>
                  <a:pt x="2281" y="635"/>
                  <a:pt x="2275" y="634"/>
                </a:cubicBezTo>
                <a:cubicBezTo>
                  <a:pt x="2275" y="634"/>
                  <a:pt x="2275" y="634"/>
                  <a:pt x="2275" y="634"/>
                </a:cubicBezTo>
                <a:cubicBezTo>
                  <a:pt x="2281" y="632"/>
                  <a:pt x="2284" y="630"/>
                  <a:pt x="2284" y="623"/>
                </a:cubicBezTo>
                <a:cubicBezTo>
                  <a:pt x="2284" y="620"/>
                  <a:pt x="2284" y="618"/>
                  <a:pt x="2284" y="616"/>
                </a:cubicBezTo>
                <a:cubicBezTo>
                  <a:pt x="2283" y="615"/>
                  <a:pt x="2283" y="613"/>
                  <a:pt x="2283" y="612"/>
                </a:cubicBezTo>
                <a:cubicBezTo>
                  <a:pt x="2283" y="608"/>
                  <a:pt x="2284" y="606"/>
                  <a:pt x="2288" y="606"/>
                </a:cubicBezTo>
                <a:cubicBezTo>
                  <a:pt x="2288" y="606"/>
                  <a:pt x="2288" y="606"/>
                  <a:pt x="2289" y="606"/>
                </a:cubicBezTo>
                <a:cubicBezTo>
                  <a:pt x="2289" y="606"/>
                  <a:pt x="2289" y="606"/>
                  <a:pt x="2289" y="597"/>
                </a:cubicBezTo>
                <a:cubicBezTo>
                  <a:pt x="2289" y="597"/>
                  <a:pt x="2289" y="597"/>
                  <a:pt x="2286" y="597"/>
                </a:cubicBezTo>
                <a:cubicBezTo>
                  <a:pt x="2277" y="597"/>
                  <a:pt x="2271" y="601"/>
                  <a:pt x="2271" y="609"/>
                </a:cubicBezTo>
                <a:cubicBezTo>
                  <a:pt x="2271" y="611"/>
                  <a:pt x="2272" y="614"/>
                  <a:pt x="2272" y="617"/>
                </a:cubicBezTo>
                <a:cubicBezTo>
                  <a:pt x="2272" y="619"/>
                  <a:pt x="2272" y="622"/>
                  <a:pt x="2272" y="623"/>
                </a:cubicBezTo>
                <a:cubicBezTo>
                  <a:pt x="2272" y="626"/>
                  <a:pt x="2272" y="629"/>
                  <a:pt x="2266" y="630"/>
                </a:cubicBezTo>
                <a:close/>
                <a:moveTo>
                  <a:pt x="2320" y="638"/>
                </a:moveTo>
                <a:cubicBezTo>
                  <a:pt x="2320" y="638"/>
                  <a:pt x="2320" y="638"/>
                  <a:pt x="2320" y="638"/>
                </a:cubicBezTo>
                <a:cubicBezTo>
                  <a:pt x="2320" y="630"/>
                  <a:pt x="2320" y="630"/>
                  <a:pt x="2320" y="630"/>
                </a:cubicBezTo>
                <a:cubicBezTo>
                  <a:pt x="2314" y="629"/>
                  <a:pt x="2314" y="626"/>
                  <a:pt x="2314" y="623"/>
                </a:cubicBezTo>
                <a:cubicBezTo>
                  <a:pt x="2314" y="622"/>
                  <a:pt x="2314" y="619"/>
                  <a:pt x="2314" y="617"/>
                </a:cubicBezTo>
                <a:cubicBezTo>
                  <a:pt x="2314" y="614"/>
                  <a:pt x="2314" y="611"/>
                  <a:pt x="2314" y="609"/>
                </a:cubicBezTo>
                <a:cubicBezTo>
                  <a:pt x="2314" y="601"/>
                  <a:pt x="2309" y="597"/>
                  <a:pt x="2300" y="597"/>
                </a:cubicBezTo>
                <a:cubicBezTo>
                  <a:pt x="2300" y="597"/>
                  <a:pt x="2300" y="597"/>
                  <a:pt x="2296" y="597"/>
                </a:cubicBezTo>
                <a:cubicBezTo>
                  <a:pt x="2296" y="597"/>
                  <a:pt x="2296" y="597"/>
                  <a:pt x="2296" y="606"/>
                </a:cubicBezTo>
                <a:cubicBezTo>
                  <a:pt x="2296" y="606"/>
                  <a:pt x="2296" y="606"/>
                  <a:pt x="2298" y="606"/>
                </a:cubicBezTo>
                <a:cubicBezTo>
                  <a:pt x="2301" y="606"/>
                  <a:pt x="2303" y="608"/>
                  <a:pt x="2303" y="612"/>
                </a:cubicBezTo>
                <a:cubicBezTo>
                  <a:pt x="2303" y="613"/>
                  <a:pt x="2302" y="615"/>
                  <a:pt x="2302" y="616"/>
                </a:cubicBezTo>
                <a:cubicBezTo>
                  <a:pt x="2302" y="618"/>
                  <a:pt x="2302" y="620"/>
                  <a:pt x="2302" y="623"/>
                </a:cubicBezTo>
                <a:cubicBezTo>
                  <a:pt x="2302" y="630"/>
                  <a:pt x="2305" y="632"/>
                  <a:pt x="2311" y="634"/>
                </a:cubicBezTo>
                <a:cubicBezTo>
                  <a:pt x="2311" y="634"/>
                  <a:pt x="2311" y="634"/>
                  <a:pt x="2311" y="634"/>
                </a:cubicBezTo>
                <a:cubicBezTo>
                  <a:pt x="2305" y="635"/>
                  <a:pt x="2302" y="638"/>
                  <a:pt x="2302" y="645"/>
                </a:cubicBezTo>
                <a:cubicBezTo>
                  <a:pt x="2302" y="647"/>
                  <a:pt x="2302" y="650"/>
                  <a:pt x="2302" y="651"/>
                </a:cubicBezTo>
                <a:cubicBezTo>
                  <a:pt x="2302" y="653"/>
                  <a:pt x="2303" y="654"/>
                  <a:pt x="2303" y="656"/>
                </a:cubicBezTo>
                <a:cubicBezTo>
                  <a:pt x="2303" y="659"/>
                  <a:pt x="2302" y="662"/>
                  <a:pt x="2298" y="662"/>
                </a:cubicBezTo>
                <a:cubicBezTo>
                  <a:pt x="2298" y="662"/>
                  <a:pt x="2298" y="662"/>
                  <a:pt x="2296" y="662"/>
                </a:cubicBezTo>
                <a:cubicBezTo>
                  <a:pt x="2296" y="662"/>
                  <a:pt x="2296" y="662"/>
                  <a:pt x="2296" y="671"/>
                </a:cubicBezTo>
                <a:cubicBezTo>
                  <a:pt x="2296" y="671"/>
                  <a:pt x="2296" y="671"/>
                  <a:pt x="2300" y="671"/>
                </a:cubicBezTo>
                <a:cubicBezTo>
                  <a:pt x="2309" y="671"/>
                  <a:pt x="2314" y="668"/>
                  <a:pt x="2314" y="658"/>
                </a:cubicBezTo>
                <a:cubicBezTo>
                  <a:pt x="2314" y="656"/>
                  <a:pt x="2314" y="654"/>
                  <a:pt x="2314" y="651"/>
                </a:cubicBezTo>
                <a:cubicBezTo>
                  <a:pt x="2314" y="648"/>
                  <a:pt x="2314" y="646"/>
                  <a:pt x="2314" y="644"/>
                </a:cubicBezTo>
                <a:cubicBezTo>
                  <a:pt x="2314" y="641"/>
                  <a:pt x="2314" y="638"/>
                  <a:pt x="2320" y="638"/>
                </a:cubicBezTo>
                <a:close/>
                <a:moveTo>
                  <a:pt x="2647" y="630"/>
                </a:moveTo>
                <a:cubicBezTo>
                  <a:pt x="2647" y="630"/>
                  <a:pt x="2647" y="630"/>
                  <a:pt x="2647" y="630"/>
                </a:cubicBezTo>
                <a:cubicBezTo>
                  <a:pt x="2647" y="638"/>
                  <a:pt x="2647" y="638"/>
                  <a:pt x="2647" y="638"/>
                </a:cubicBezTo>
                <a:cubicBezTo>
                  <a:pt x="2653" y="638"/>
                  <a:pt x="2654" y="641"/>
                  <a:pt x="2654" y="644"/>
                </a:cubicBezTo>
                <a:cubicBezTo>
                  <a:pt x="2654" y="646"/>
                  <a:pt x="2654" y="648"/>
                  <a:pt x="2654" y="651"/>
                </a:cubicBezTo>
                <a:cubicBezTo>
                  <a:pt x="2653" y="654"/>
                  <a:pt x="2653" y="656"/>
                  <a:pt x="2653" y="658"/>
                </a:cubicBezTo>
                <a:cubicBezTo>
                  <a:pt x="2653" y="668"/>
                  <a:pt x="2659" y="671"/>
                  <a:pt x="2667" y="671"/>
                </a:cubicBezTo>
                <a:cubicBezTo>
                  <a:pt x="2667" y="671"/>
                  <a:pt x="2667" y="671"/>
                  <a:pt x="2671" y="671"/>
                </a:cubicBezTo>
                <a:cubicBezTo>
                  <a:pt x="2671" y="671"/>
                  <a:pt x="2671" y="671"/>
                  <a:pt x="2671" y="662"/>
                </a:cubicBezTo>
                <a:cubicBezTo>
                  <a:pt x="2671" y="662"/>
                  <a:pt x="2671" y="662"/>
                  <a:pt x="2670" y="662"/>
                </a:cubicBezTo>
                <a:cubicBezTo>
                  <a:pt x="2666" y="662"/>
                  <a:pt x="2665" y="659"/>
                  <a:pt x="2665" y="656"/>
                </a:cubicBezTo>
                <a:cubicBezTo>
                  <a:pt x="2665" y="654"/>
                  <a:pt x="2665" y="653"/>
                  <a:pt x="2665" y="651"/>
                </a:cubicBezTo>
                <a:cubicBezTo>
                  <a:pt x="2665" y="650"/>
                  <a:pt x="2666" y="647"/>
                  <a:pt x="2666" y="645"/>
                </a:cubicBezTo>
                <a:cubicBezTo>
                  <a:pt x="2666" y="638"/>
                  <a:pt x="2663" y="635"/>
                  <a:pt x="2657" y="634"/>
                </a:cubicBezTo>
                <a:cubicBezTo>
                  <a:pt x="2657" y="634"/>
                  <a:pt x="2657" y="634"/>
                  <a:pt x="2657" y="634"/>
                </a:cubicBezTo>
                <a:cubicBezTo>
                  <a:pt x="2663" y="632"/>
                  <a:pt x="2666" y="630"/>
                  <a:pt x="2666" y="623"/>
                </a:cubicBezTo>
                <a:cubicBezTo>
                  <a:pt x="2666" y="620"/>
                  <a:pt x="2665" y="618"/>
                  <a:pt x="2665" y="616"/>
                </a:cubicBezTo>
                <a:cubicBezTo>
                  <a:pt x="2665" y="615"/>
                  <a:pt x="2665" y="613"/>
                  <a:pt x="2665" y="612"/>
                </a:cubicBezTo>
                <a:cubicBezTo>
                  <a:pt x="2665" y="608"/>
                  <a:pt x="2666" y="606"/>
                  <a:pt x="2670" y="606"/>
                </a:cubicBezTo>
                <a:cubicBezTo>
                  <a:pt x="2670" y="606"/>
                  <a:pt x="2670" y="606"/>
                  <a:pt x="2671" y="606"/>
                </a:cubicBezTo>
                <a:cubicBezTo>
                  <a:pt x="2671" y="606"/>
                  <a:pt x="2671" y="606"/>
                  <a:pt x="2671" y="597"/>
                </a:cubicBezTo>
                <a:cubicBezTo>
                  <a:pt x="2671" y="597"/>
                  <a:pt x="2671" y="597"/>
                  <a:pt x="2667" y="597"/>
                </a:cubicBezTo>
                <a:cubicBezTo>
                  <a:pt x="2658" y="597"/>
                  <a:pt x="2653" y="601"/>
                  <a:pt x="2653" y="609"/>
                </a:cubicBezTo>
                <a:cubicBezTo>
                  <a:pt x="2653" y="611"/>
                  <a:pt x="2653" y="614"/>
                  <a:pt x="2653" y="617"/>
                </a:cubicBezTo>
                <a:cubicBezTo>
                  <a:pt x="2654" y="619"/>
                  <a:pt x="2654" y="622"/>
                  <a:pt x="2654" y="623"/>
                </a:cubicBezTo>
                <a:cubicBezTo>
                  <a:pt x="2654" y="626"/>
                  <a:pt x="2653" y="629"/>
                  <a:pt x="2647" y="630"/>
                </a:cubicBezTo>
                <a:close/>
                <a:moveTo>
                  <a:pt x="2702" y="638"/>
                </a:moveTo>
                <a:cubicBezTo>
                  <a:pt x="2702" y="638"/>
                  <a:pt x="2702" y="638"/>
                  <a:pt x="2702" y="638"/>
                </a:cubicBezTo>
                <a:cubicBezTo>
                  <a:pt x="2702" y="630"/>
                  <a:pt x="2702" y="630"/>
                  <a:pt x="2702" y="630"/>
                </a:cubicBezTo>
                <a:cubicBezTo>
                  <a:pt x="2696" y="629"/>
                  <a:pt x="2695" y="626"/>
                  <a:pt x="2695" y="623"/>
                </a:cubicBezTo>
                <a:cubicBezTo>
                  <a:pt x="2695" y="622"/>
                  <a:pt x="2695" y="619"/>
                  <a:pt x="2696" y="617"/>
                </a:cubicBezTo>
                <a:cubicBezTo>
                  <a:pt x="2696" y="614"/>
                  <a:pt x="2696" y="611"/>
                  <a:pt x="2696" y="609"/>
                </a:cubicBezTo>
                <a:cubicBezTo>
                  <a:pt x="2696" y="601"/>
                  <a:pt x="2691" y="597"/>
                  <a:pt x="2682" y="597"/>
                </a:cubicBezTo>
                <a:cubicBezTo>
                  <a:pt x="2682" y="597"/>
                  <a:pt x="2682" y="597"/>
                  <a:pt x="2678" y="597"/>
                </a:cubicBezTo>
                <a:cubicBezTo>
                  <a:pt x="2678" y="597"/>
                  <a:pt x="2678" y="597"/>
                  <a:pt x="2678" y="606"/>
                </a:cubicBezTo>
                <a:cubicBezTo>
                  <a:pt x="2678" y="606"/>
                  <a:pt x="2678" y="606"/>
                  <a:pt x="2679" y="606"/>
                </a:cubicBezTo>
                <a:cubicBezTo>
                  <a:pt x="2683" y="606"/>
                  <a:pt x="2685" y="608"/>
                  <a:pt x="2685" y="612"/>
                </a:cubicBezTo>
                <a:cubicBezTo>
                  <a:pt x="2685" y="613"/>
                  <a:pt x="2684" y="615"/>
                  <a:pt x="2684" y="616"/>
                </a:cubicBezTo>
                <a:cubicBezTo>
                  <a:pt x="2684" y="618"/>
                  <a:pt x="2684" y="620"/>
                  <a:pt x="2684" y="623"/>
                </a:cubicBezTo>
                <a:cubicBezTo>
                  <a:pt x="2684" y="630"/>
                  <a:pt x="2686" y="632"/>
                  <a:pt x="2692" y="634"/>
                </a:cubicBezTo>
                <a:cubicBezTo>
                  <a:pt x="2692" y="634"/>
                  <a:pt x="2692" y="634"/>
                  <a:pt x="2692" y="634"/>
                </a:cubicBezTo>
                <a:cubicBezTo>
                  <a:pt x="2686" y="635"/>
                  <a:pt x="2684" y="638"/>
                  <a:pt x="2684" y="645"/>
                </a:cubicBezTo>
                <a:cubicBezTo>
                  <a:pt x="2684" y="647"/>
                  <a:pt x="2684" y="650"/>
                  <a:pt x="2684" y="651"/>
                </a:cubicBezTo>
                <a:cubicBezTo>
                  <a:pt x="2684" y="653"/>
                  <a:pt x="2685" y="654"/>
                  <a:pt x="2685" y="656"/>
                </a:cubicBezTo>
                <a:cubicBezTo>
                  <a:pt x="2685" y="659"/>
                  <a:pt x="2683" y="662"/>
                  <a:pt x="2679" y="662"/>
                </a:cubicBezTo>
                <a:cubicBezTo>
                  <a:pt x="2679" y="662"/>
                  <a:pt x="2679" y="662"/>
                  <a:pt x="2678" y="662"/>
                </a:cubicBezTo>
                <a:cubicBezTo>
                  <a:pt x="2678" y="662"/>
                  <a:pt x="2678" y="662"/>
                  <a:pt x="2678" y="671"/>
                </a:cubicBezTo>
                <a:cubicBezTo>
                  <a:pt x="2678" y="671"/>
                  <a:pt x="2678" y="671"/>
                  <a:pt x="2682" y="671"/>
                </a:cubicBezTo>
                <a:cubicBezTo>
                  <a:pt x="2691" y="671"/>
                  <a:pt x="2696" y="668"/>
                  <a:pt x="2696" y="658"/>
                </a:cubicBezTo>
                <a:cubicBezTo>
                  <a:pt x="2696" y="656"/>
                  <a:pt x="2696" y="654"/>
                  <a:pt x="2696" y="651"/>
                </a:cubicBezTo>
                <a:cubicBezTo>
                  <a:pt x="2695" y="648"/>
                  <a:pt x="2695" y="646"/>
                  <a:pt x="2695" y="644"/>
                </a:cubicBezTo>
                <a:cubicBezTo>
                  <a:pt x="2695" y="641"/>
                  <a:pt x="2696" y="638"/>
                  <a:pt x="2702" y="638"/>
                </a:cubicBezTo>
                <a:close/>
                <a:moveTo>
                  <a:pt x="2750" y="597"/>
                </a:moveTo>
                <a:cubicBezTo>
                  <a:pt x="2750" y="597"/>
                  <a:pt x="2750" y="597"/>
                  <a:pt x="2750" y="597"/>
                </a:cubicBezTo>
                <a:cubicBezTo>
                  <a:pt x="2745" y="597"/>
                  <a:pt x="2745" y="597"/>
                  <a:pt x="2745" y="597"/>
                </a:cubicBezTo>
                <a:cubicBezTo>
                  <a:pt x="2742" y="599"/>
                  <a:pt x="2741" y="600"/>
                  <a:pt x="2739" y="601"/>
                </a:cubicBezTo>
                <a:cubicBezTo>
                  <a:pt x="2737" y="603"/>
                  <a:pt x="2735" y="603"/>
                  <a:pt x="2734" y="604"/>
                </a:cubicBezTo>
                <a:cubicBezTo>
                  <a:pt x="2731" y="605"/>
                  <a:pt x="2730" y="605"/>
                  <a:pt x="2728" y="606"/>
                </a:cubicBezTo>
                <a:cubicBezTo>
                  <a:pt x="2726" y="607"/>
                  <a:pt x="2725" y="608"/>
                  <a:pt x="2722" y="608"/>
                </a:cubicBezTo>
                <a:cubicBezTo>
                  <a:pt x="2722" y="608"/>
                  <a:pt x="2722" y="608"/>
                  <a:pt x="2722" y="619"/>
                </a:cubicBezTo>
                <a:cubicBezTo>
                  <a:pt x="2725" y="618"/>
                  <a:pt x="2728" y="616"/>
                  <a:pt x="2731" y="616"/>
                </a:cubicBezTo>
                <a:cubicBezTo>
                  <a:pt x="2734" y="615"/>
                  <a:pt x="2736" y="613"/>
                  <a:pt x="2738" y="612"/>
                </a:cubicBezTo>
                <a:cubicBezTo>
                  <a:pt x="2738" y="612"/>
                  <a:pt x="2738" y="612"/>
                  <a:pt x="2738" y="671"/>
                </a:cubicBezTo>
                <a:cubicBezTo>
                  <a:pt x="2738" y="671"/>
                  <a:pt x="2738" y="671"/>
                  <a:pt x="2750" y="671"/>
                </a:cubicBezTo>
                <a:cubicBezTo>
                  <a:pt x="2750" y="671"/>
                  <a:pt x="2750" y="671"/>
                  <a:pt x="2750" y="597"/>
                </a:cubicBezTo>
                <a:close/>
                <a:moveTo>
                  <a:pt x="2796" y="597"/>
                </a:moveTo>
                <a:cubicBezTo>
                  <a:pt x="2796" y="597"/>
                  <a:pt x="2796" y="597"/>
                  <a:pt x="2796" y="597"/>
                </a:cubicBezTo>
                <a:cubicBezTo>
                  <a:pt x="2791" y="597"/>
                  <a:pt x="2791" y="597"/>
                  <a:pt x="2791" y="597"/>
                </a:cubicBezTo>
                <a:cubicBezTo>
                  <a:pt x="2789" y="599"/>
                  <a:pt x="2788" y="600"/>
                  <a:pt x="2786" y="601"/>
                </a:cubicBezTo>
                <a:cubicBezTo>
                  <a:pt x="2784" y="603"/>
                  <a:pt x="2782" y="603"/>
                  <a:pt x="2781" y="604"/>
                </a:cubicBezTo>
                <a:cubicBezTo>
                  <a:pt x="2779" y="605"/>
                  <a:pt x="2777" y="606"/>
                  <a:pt x="2776" y="607"/>
                </a:cubicBezTo>
                <a:cubicBezTo>
                  <a:pt x="2774" y="608"/>
                  <a:pt x="2772" y="608"/>
                  <a:pt x="2770" y="608"/>
                </a:cubicBezTo>
                <a:cubicBezTo>
                  <a:pt x="2770" y="608"/>
                  <a:pt x="2770" y="608"/>
                  <a:pt x="2770" y="619"/>
                </a:cubicBezTo>
                <a:cubicBezTo>
                  <a:pt x="2773" y="618"/>
                  <a:pt x="2776" y="617"/>
                  <a:pt x="2778" y="616"/>
                </a:cubicBezTo>
                <a:cubicBezTo>
                  <a:pt x="2781" y="615"/>
                  <a:pt x="2783" y="613"/>
                  <a:pt x="2785" y="612"/>
                </a:cubicBezTo>
                <a:cubicBezTo>
                  <a:pt x="2785" y="612"/>
                  <a:pt x="2785" y="612"/>
                  <a:pt x="2785" y="671"/>
                </a:cubicBezTo>
                <a:cubicBezTo>
                  <a:pt x="2785" y="671"/>
                  <a:pt x="2785" y="671"/>
                  <a:pt x="2796" y="671"/>
                </a:cubicBezTo>
                <a:cubicBezTo>
                  <a:pt x="2796" y="671"/>
                  <a:pt x="2796" y="671"/>
                  <a:pt x="2796" y="597"/>
                </a:cubicBezTo>
                <a:close/>
                <a:moveTo>
                  <a:pt x="2843" y="597"/>
                </a:moveTo>
                <a:cubicBezTo>
                  <a:pt x="2843" y="597"/>
                  <a:pt x="2843" y="597"/>
                  <a:pt x="2843" y="597"/>
                </a:cubicBezTo>
                <a:cubicBezTo>
                  <a:pt x="2839" y="597"/>
                  <a:pt x="2839" y="597"/>
                  <a:pt x="2839" y="597"/>
                </a:cubicBezTo>
                <a:cubicBezTo>
                  <a:pt x="2836" y="599"/>
                  <a:pt x="2835" y="600"/>
                  <a:pt x="2833" y="601"/>
                </a:cubicBezTo>
                <a:cubicBezTo>
                  <a:pt x="2831" y="603"/>
                  <a:pt x="2829" y="603"/>
                  <a:pt x="2828" y="604"/>
                </a:cubicBezTo>
                <a:cubicBezTo>
                  <a:pt x="2826" y="605"/>
                  <a:pt x="2824" y="606"/>
                  <a:pt x="2822" y="607"/>
                </a:cubicBezTo>
                <a:cubicBezTo>
                  <a:pt x="2821" y="608"/>
                  <a:pt x="2818" y="608"/>
                  <a:pt x="2817" y="608"/>
                </a:cubicBezTo>
                <a:cubicBezTo>
                  <a:pt x="2817" y="608"/>
                  <a:pt x="2817" y="608"/>
                  <a:pt x="2817" y="619"/>
                </a:cubicBezTo>
                <a:cubicBezTo>
                  <a:pt x="2820" y="618"/>
                  <a:pt x="2823" y="617"/>
                  <a:pt x="2825" y="616"/>
                </a:cubicBezTo>
                <a:cubicBezTo>
                  <a:pt x="2827" y="615"/>
                  <a:pt x="2830" y="613"/>
                  <a:pt x="2831" y="612"/>
                </a:cubicBezTo>
                <a:cubicBezTo>
                  <a:pt x="2831" y="612"/>
                  <a:pt x="2831" y="612"/>
                  <a:pt x="2831" y="671"/>
                </a:cubicBezTo>
                <a:cubicBezTo>
                  <a:pt x="2831" y="671"/>
                  <a:pt x="2831" y="671"/>
                  <a:pt x="2843" y="671"/>
                </a:cubicBezTo>
                <a:cubicBezTo>
                  <a:pt x="2843" y="671"/>
                  <a:pt x="2843" y="671"/>
                  <a:pt x="2843" y="597"/>
                </a:cubicBezTo>
                <a:close/>
                <a:moveTo>
                  <a:pt x="2966" y="597"/>
                </a:moveTo>
                <a:cubicBezTo>
                  <a:pt x="2966" y="597"/>
                  <a:pt x="2966" y="597"/>
                  <a:pt x="2966" y="597"/>
                </a:cubicBezTo>
                <a:cubicBezTo>
                  <a:pt x="2961" y="597"/>
                  <a:pt x="2961" y="597"/>
                  <a:pt x="2961" y="597"/>
                </a:cubicBezTo>
                <a:cubicBezTo>
                  <a:pt x="2959" y="599"/>
                  <a:pt x="2957" y="600"/>
                  <a:pt x="2955" y="601"/>
                </a:cubicBezTo>
                <a:cubicBezTo>
                  <a:pt x="2954" y="603"/>
                  <a:pt x="2952" y="603"/>
                  <a:pt x="2950" y="604"/>
                </a:cubicBezTo>
                <a:cubicBezTo>
                  <a:pt x="2949" y="605"/>
                  <a:pt x="2946" y="606"/>
                  <a:pt x="2945" y="607"/>
                </a:cubicBezTo>
                <a:cubicBezTo>
                  <a:pt x="2943" y="608"/>
                  <a:pt x="2941" y="608"/>
                  <a:pt x="2939" y="608"/>
                </a:cubicBezTo>
                <a:cubicBezTo>
                  <a:pt x="2939" y="608"/>
                  <a:pt x="2939" y="608"/>
                  <a:pt x="2939" y="619"/>
                </a:cubicBezTo>
                <a:cubicBezTo>
                  <a:pt x="2942" y="618"/>
                  <a:pt x="2945" y="617"/>
                  <a:pt x="2948" y="616"/>
                </a:cubicBezTo>
                <a:cubicBezTo>
                  <a:pt x="2950" y="615"/>
                  <a:pt x="2952" y="613"/>
                  <a:pt x="2954" y="612"/>
                </a:cubicBezTo>
                <a:cubicBezTo>
                  <a:pt x="2954" y="612"/>
                  <a:pt x="2954" y="612"/>
                  <a:pt x="2954" y="671"/>
                </a:cubicBezTo>
                <a:cubicBezTo>
                  <a:pt x="2954" y="671"/>
                  <a:pt x="2954" y="671"/>
                  <a:pt x="2966" y="671"/>
                </a:cubicBezTo>
                <a:cubicBezTo>
                  <a:pt x="2966" y="671"/>
                  <a:pt x="2966" y="671"/>
                  <a:pt x="2966" y="597"/>
                </a:cubicBezTo>
                <a:close/>
                <a:moveTo>
                  <a:pt x="3014" y="597"/>
                </a:moveTo>
                <a:cubicBezTo>
                  <a:pt x="3014" y="597"/>
                  <a:pt x="3014" y="597"/>
                  <a:pt x="3014" y="597"/>
                </a:cubicBezTo>
                <a:cubicBezTo>
                  <a:pt x="3009" y="597"/>
                  <a:pt x="3009" y="597"/>
                  <a:pt x="3009" y="597"/>
                </a:cubicBezTo>
                <a:cubicBezTo>
                  <a:pt x="3006" y="599"/>
                  <a:pt x="3005" y="600"/>
                  <a:pt x="3003" y="601"/>
                </a:cubicBezTo>
                <a:cubicBezTo>
                  <a:pt x="3001" y="603"/>
                  <a:pt x="2999" y="603"/>
                  <a:pt x="2998" y="604"/>
                </a:cubicBezTo>
                <a:cubicBezTo>
                  <a:pt x="2996" y="605"/>
                  <a:pt x="2994" y="606"/>
                  <a:pt x="2992" y="607"/>
                </a:cubicBezTo>
                <a:cubicBezTo>
                  <a:pt x="2990" y="608"/>
                  <a:pt x="2989" y="608"/>
                  <a:pt x="2986" y="608"/>
                </a:cubicBezTo>
                <a:cubicBezTo>
                  <a:pt x="2986" y="608"/>
                  <a:pt x="2986" y="608"/>
                  <a:pt x="2986" y="619"/>
                </a:cubicBezTo>
                <a:cubicBezTo>
                  <a:pt x="2989" y="618"/>
                  <a:pt x="2992" y="617"/>
                  <a:pt x="2995" y="616"/>
                </a:cubicBezTo>
                <a:cubicBezTo>
                  <a:pt x="2998" y="615"/>
                  <a:pt x="3000" y="613"/>
                  <a:pt x="3002" y="612"/>
                </a:cubicBezTo>
                <a:cubicBezTo>
                  <a:pt x="3002" y="612"/>
                  <a:pt x="3002" y="612"/>
                  <a:pt x="3002" y="671"/>
                </a:cubicBezTo>
                <a:cubicBezTo>
                  <a:pt x="3002" y="671"/>
                  <a:pt x="3002" y="671"/>
                  <a:pt x="3014" y="671"/>
                </a:cubicBezTo>
                <a:cubicBezTo>
                  <a:pt x="3014" y="671"/>
                  <a:pt x="3014" y="671"/>
                  <a:pt x="3014" y="597"/>
                </a:cubicBezTo>
                <a:close/>
                <a:moveTo>
                  <a:pt x="3060" y="597"/>
                </a:moveTo>
                <a:cubicBezTo>
                  <a:pt x="3060" y="597"/>
                  <a:pt x="3060" y="597"/>
                  <a:pt x="3060" y="597"/>
                </a:cubicBezTo>
                <a:cubicBezTo>
                  <a:pt x="3056" y="597"/>
                  <a:pt x="3056" y="597"/>
                  <a:pt x="3056" y="597"/>
                </a:cubicBezTo>
                <a:cubicBezTo>
                  <a:pt x="3053" y="599"/>
                  <a:pt x="3052" y="600"/>
                  <a:pt x="3050" y="601"/>
                </a:cubicBezTo>
                <a:cubicBezTo>
                  <a:pt x="3048" y="603"/>
                  <a:pt x="3046" y="603"/>
                  <a:pt x="3045" y="604"/>
                </a:cubicBezTo>
                <a:cubicBezTo>
                  <a:pt x="3043" y="605"/>
                  <a:pt x="3041" y="605"/>
                  <a:pt x="3039" y="606"/>
                </a:cubicBezTo>
                <a:cubicBezTo>
                  <a:pt x="3038" y="607"/>
                  <a:pt x="3035" y="608"/>
                  <a:pt x="3034" y="608"/>
                </a:cubicBezTo>
                <a:cubicBezTo>
                  <a:pt x="3034" y="608"/>
                  <a:pt x="3034" y="608"/>
                  <a:pt x="3034" y="619"/>
                </a:cubicBezTo>
                <a:cubicBezTo>
                  <a:pt x="3037" y="618"/>
                  <a:pt x="3040" y="616"/>
                  <a:pt x="3042" y="616"/>
                </a:cubicBezTo>
                <a:cubicBezTo>
                  <a:pt x="3044" y="615"/>
                  <a:pt x="3047" y="613"/>
                  <a:pt x="3048" y="612"/>
                </a:cubicBezTo>
                <a:cubicBezTo>
                  <a:pt x="3048" y="612"/>
                  <a:pt x="3048" y="612"/>
                  <a:pt x="3048" y="671"/>
                </a:cubicBezTo>
                <a:cubicBezTo>
                  <a:pt x="3048" y="671"/>
                  <a:pt x="3048" y="671"/>
                  <a:pt x="3060" y="671"/>
                </a:cubicBezTo>
                <a:cubicBezTo>
                  <a:pt x="3060" y="671"/>
                  <a:pt x="3060" y="671"/>
                  <a:pt x="3060" y="597"/>
                </a:cubicBezTo>
                <a:close/>
                <a:moveTo>
                  <a:pt x="3105" y="671"/>
                </a:moveTo>
                <a:cubicBezTo>
                  <a:pt x="3097" y="671"/>
                  <a:pt x="3091" y="668"/>
                  <a:pt x="3086" y="662"/>
                </a:cubicBezTo>
                <a:cubicBezTo>
                  <a:pt x="3083" y="656"/>
                  <a:pt x="3080" y="647"/>
                  <a:pt x="3080" y="634"/>
                </a:cubicBezTo>
                <a:cubicBezTo>
                  <a:pt x="3080" y="621"/>
                  <a:pt x="3083" y="612"/>
                  <a:pt x="3087" y="605"/>
                </a:cubicBezTo>
                <a:cubicBezTo>
                  <a:pt x="3091" y="599"/>
                  <a:pt x="3098" y="595"/>
                  <a:pt x="3107" y="595"/>
                </a:cubicBezTo>
                <a:cubicBezTo>
                  <a:pt x="3123" y="595"/>
                  <a:pt x="3131" y="607"/>
                  <a:pt x="3131" y="633"/>
                </a:cubicBezTo>
                <a:cubicBezTo>
                  <a:pt x="3131" y="645"/>
                  <a:pt x="3129" y="655"/>
                  <a:pt x="3124" y="661"/>
                </a:cubicBezTo>
                <a:cubicBezTo>
                  <a:pt x="3119" y="668"/>
                  <a:pt x="3113" y="671"/>
                  <a:pt x="3105" y="671"/>
                </a:cubicBezTo>
                <a:close/>
                <a:moveTo>
                  <a:pt x="3106" y="605"/>
                </a:moveTo>
                <a:cubicBezTo>
                  <a:pt x="3097" y="605"/>
                  <a:pt x="3092" y="615"/>
                  <a:pt x="3092" y="634"/>
                </a:cubicBezTo>
                <a:cubicBezTo>
                  <a:pt x="3092" y="653"/>
                  <a:pt x="3097" y="661"/>
                  <a:pt x="3105" y="661"/>
                </a:cubicBezTo>
                <a:cubicBezTo>
                  <a:pt x="3114" y="661"/>
                  <a:pt x="3118" y="653"/>
                  <a:pt x="3118" y="634"/>
                </a:cubicBezTo>
                <a:cubicBezTo>
                  <a:pt x="3118" y="614"/>
                  <a:pt x="3114" y="605"/>
                  <a:pt x="3106" y="605"/>
                </a:cubicBezTo>
                <a:close/>
                <a:moveTo>
                  <a:pt x="3176" y="671"/>
                </a:moveTo>
                <a:cubicBezTo>
                  <a:pt x="3168" y="671"/>
                  <a:pt x="3162" y="668"/>
                  <a:pt x="3158" y="662"/>
                </a:cubicBezTo>
                <a:cubicBezTo>
                  <a:pt x="3154" y="656"/>
                  <a:pt x="3152" y="647"/>
                  <a:pt x="3152" y="634"/>
                </a:cubicBezTo>
                <a:cubicBezTo>
                  <a:pt x="3152" y="621"/>
                  <a:pt x="3154" y="612"/>
                  <a:pt x="3158" y="605"/>
                </a:cubicBezTo>
                <a:cubicBezTo>
                  <a:pt x="3162" y="599"/>
                  <a:pt x="3169" y="595"/>
                  <a:pt x="3178" y="595"/>
                </a:cubicBezTo>
                <a:cubicBezTo>
                  <a:pt x="3194" y="595"/>
                  <a:pt x="3202" y="607"/>
                  <a:pt x="3202" y="633"/>
                </a:cubicBezTo>
                <a:cubicBezTo>
                  <a:pt x="3202" y="645"/>
                  <a:pt x="3200" y="655"/>
                  <a:pt x="3195" y="661"/>
                </a:cubicBezTo>
                <a:cubicBezTo>
                  <a:pt x="3190" y="668"/>
                  <a:pt x="3184" y="671"/>
                  <a:pt x="3176" y="671"/>
                </a:cubicBezTo>
                <a:close/>
                <a:moveTo>
                  <a:pt x="3177" y="605"/>
                </a:moveTo>
                <a:cubicBezTo>
                  <a:pt x="3168" y="605"/>
                  <a:pt x="3163" y="615"/>
                  <a:pt x="3163" y="634"/>
                </a:cubicBezTo>
                <a:cubicBezTo>
                  <a:pt x="3163" y="653"/>
                  <a:pt x="3168" y="661"/>
                  <a:pt x="3176" y="661"/>
                </a:cubicBezTo>
                <a:cubicBezTo>
                  <a:pt x="3185" y="661"/>
                  <a:pt x="3190" y="653"/>
                  <a:pt x="3190" y="634"/>
                </a:cubicBezTo>
                <a:cubicBezTo>
                  <a:pt x="3190" y="614"/>
                  <a:pt x="3185" y="605"/>
                  <a:pt x="3177" y="605"/>
                </a:cubicBezTo>
                <a:close/>
                <a:moveTo>
                  <a:pt x="2864" y="630"/>
                </a:moveTo>
                <a:cubicBezTo>
                  <a:pt x="2864" y="630"/>
                  <a:pt x="2864" y="630"/>
                  <a:pt x="2864" y="630"/>
                </a:cubicBezTo>
                <a:cubicBezTo>
                  <a:pt x="2864" y="638"/>
                  <a:pt x="2864" y="638"/>
                  <a:pt x="2864" y="638"/>
                </a:cubicBezTo>
                <a:cubicBezTo>
                  <a:pt x="2870" y="638"/>
                  <a:pt x="2871" y="641"/>
                  <a:pt x="2871" y="644"/>
                </a:cubicBezTo>
                <a:cubicBezTo>
                  <a:pt x="2871" y="646"/>
                  <a:pt x="2870" y="648"/>
                  <a:pt x="2870" y="651"/>
                </a:cubicBezTo>
                <a:cubicBezTo>
                  <a:pt x="2870" y="654"/>
                  <a:pt x="2869" y="656"/>
                  <a:pt x="2869" y="658"/>
                </a:cubicBezTo>
                <a:cubicBezTo>
                  <a:pt x="2869" y="668"/>
                  <a:pt x="2875" y="671"/>
                  <a:pt x="2884" y="671"/>
                </a:cubicBezTo>
                <a:cubicBezTo>
                  <a:pt x="2884" y="671"/>
                  <a:pt x="2884" y="671"/>
                  <a:pt x="2888" y="671"/>
                </a:cubicBezTo>
                <a:cubicBezTo>
                  <a:pt x="2888" y="671"/>
                  <a:pt x="2888" y="671"/>
                  <a:pt x="2888" y="662"/>
                </a:cubicBezTo>
                <a:cubicBezTo>
                  <a:pt x="2888" y="662"/>
                  <a:pt x="2888" y="662"/>
                  <a:pt x="2886" y="662"/>
                </a:cubicBezTo>
                <a:cubicBezTo>
                  <a:pt x="2882" y="662"/>
                  <a:pt x="2881" y="659"/>
                  <a:pt x="2881" y="656"/>
                </a:cubicBezTo>
                <a:cubicBezTo>
                  <a:pt x="2881" y="654"/>
                  <a:pt x="2881" y="653"/>
                  <a:pt x="2882" y="651"/>
                </a:cubicBezTo>
                <a:cubicBezTo>
                  <a:pt x="2882" y="650"/>
                  <a:pt x="2882" y="647"/>
                  <a:pt x="2882" y="645"/>
                </a:cubicBezTo>
                <a:cubicBezTo>
                  <a:pt x="2882" y="638"/>
                  <a:pt x="2879" y="635"/>
                  <a:pt x="2874" y="634"/>
                </a:cubicBezTo>
                <a:cubicBezTo>
                  <a:pt x="2874" y="634"/>
                  <a:pt x="2874" y="634"/>
                  <a:pt x="2874" y="634"/>
                </a:cubicBezTo>
                <a:cubicBezTo>
                  <a:pt x="2879" y="632"/>
                  <a:pt x="2882" y="630"/>
                  <a:pt x="2882" y="623"/>
                </a:cubicBezTo>
                <a:cubicBezTo>
                  <a:pt x="2882" y="620"/>
                  <a:pt x="2882" y="618"/>
                  <a:pt x="2882" y="616"/>
                </a:cubicBezTo>
                <a:cubicBezTo>
                  <a:pt x="2881" y="615"/>
                  <a:pt x="2881" y="613"/>
                  <a:pt x="2881" y="612"/>
                </a:cubicBezTo>
                <a:cubicBezTo>
                  <a:pt x="2881" y="608"/>
                  <a:pt x="2882" y="606"/>
                  <a:pt x="2886" y="606"/>
                </a:cubicBezTo>
                <a:cubicBezTo>
                  <a:pt x="2886" y="606"/>
                  <a:pt x="2886" y="606"/>
                  <a:pt x="2888" y="606"/>
                </a:cubicBezTo>
                <a:cubicBezTo>
                  <a:pt x="2888" y="606"/>
                  <a:pt x="2888" y="606"/>
                  <a:pt x="2888" y="597"/>
                </a:cubicBezTo>
                <a:cubicBezTo>
                  <a:pt x="2888" y="597"/>
                  <a:pt x="2888" y="597"/>
                  <a:pt x="2884" y="597"/>
                </a:cubicBezTo>
                <a:cubicBezTo>
                  <a:pt x="2875" y="597"/>
                  <a:pt x="2869" y="601"/>
                  <a:pt x="2869" y="609"/>
                </a:cubicBezTo>
                <a:cubicBezTo>
                  <a:pt x="2869" y="611"/>
                  <a:pt x="2870" y="614"/>
                  <a:pt x="2870" y="617"/>
                </a:cubicBezTo>
                <a:cubicBezTo>
                  <a:pt x="2870" y="619"/>
                  <a:pt x="2871" y="622"/>
                  <a:pt x="2871" y="623"/>
                </a:cubicBezTo>
                <a:cubicBezTo>
                  <a:pt x="2871" y="626"/>
                  <a:pt x="2870" y="629"/>
                  <a:pt x="2864" y="630"/>
                </a:cubicBezTo>
                <a:close/>
                <a:moveTo>
                  <a:pt x="2919" y="638"/>
                </a:moveTo>
                <a:cubicBezTo>
                  <a:pt x="2919" y="638"/>
                  <a:pt x="2919" y="638"/>
                  <a:pt x="2919" y="638"/>
                </a:cubicBezTo>
                <a:cubicBezTo>
                  <a:pt x="2919" y="630"/>
                  <a:pt x="2919" y="630"/>
                  <a:pt x="2919" y="630"/>
                </a:cubicBezTo>
                <a:cubicBezTo>
                  <a:pt x="2912" y="629"/>
                  <a:pt x="2912" y="626"/>
                  <a:pt x="2912" y="623"/>
                </a:cubicBezTo>
                <a:cubicBezTo>
                  <a:pt x="2912" y="622"/>
                  <a:pt x="2912" y="619"/>
                  <a:pt x="2912" y="617"/>
                </a:cubicBezTo>
                <a:cubicBezTo>
                  <a:pt x="2913" y="614"/>
                  <a:pt x="2913" y="611"/>
                  <a:pt x="2913" y="609"/>
                </a:cubicBezTo>
                <a:cubicBezTo>
                  <a:pt x="2913" y="601"/>
                  <a:pt x="2907" y="597"/>
                  <a:pt x="2898" y="597"/>
                </a:cubicBezTo>
                <a:cubicBezTo>
                  <a:pt x="2898" y="597"/>
                  <a:pt x="2898" y="597"/>
                  <a:pt x="2894" y="597"/>
                </a:cubicBezTo>
                <a:cubicBezTo>
                  <a:pt x="2894" y="597"/>
                  <a:pt x="2894" y="597"/>
                  <a:pt x="2894" y="606"/>
                </a:cubicBezTo>
                <a:cubicBezTo>
                  <a:pt x="2894" y="606"/>
                  <a:pt x="2894" y="606"/>
                  <a:pt x="2896" y="606"/>
                </a:cubicBezTo>
                <a:cubicBezTo>
                  <a:pt x="2900" y="606"/>
                  <a:pt x="2901" y="608"/>
                  <a:pt x="2901" y="612"/>
                </a:cubicBezTo>
                <a:cubicBezTo>
                  <a:pt x="2901" y="613"/>
                  <a:pt x="2901" y="615"/>
                  <a:pt x="2901" y="616"/>
                </a:cubicBezTo>
                <a:cubicBezTo>
                  <a:pt x="2900" y="618"/>
                  <a:pt x="2900" y="620"/>
                  <a:pt x="2900" y="623"/>
                </a:cubicBezTo>
                <a:cubicBezTo>
                  <a:pt x="2900" y="630"/>
                  <a:pt x="2903" y="632"/>
                  <a:pt x="2909" y="634"/>
                </a:cubicBezTo>
                <a:cubicBezTo>
                  <a:pt x="2909" y="634"/>
                  <a:pt x="2909" y="634"/>
                  <a:pt x="2909" y="634"/>
                </a:cubicBezTo>
                <a:cubicBezTo>
                  <a:pt x="2903" y="635"/>
                  <a:pt x="2900" y="638"/>
                  <a:pt x="2900" y="645"/>
                </a:cubicBezTo>
                <a:cubicBezTo>
                  <a:pt x="2900" y="647"/>
                  <a:pt x="2900" y="650"/>
                  <a:pt x="2901" y="651"/>
                </a:cubicBezTo>
                <a:cubicBezTo>
                  <a:pt x="2901" y="653"/>
                  <a:pt x="2901" y="654"/>
                  <a:pt x="2901" y="656"/>
                </a:cubicBezTo>
                <a:cubicBezTo>
                  <a:pt x="2901" y="659"/>
                  <a:pt x="2900" y="662"/>
                  <a:pt x="2896" y="662"/>
                </a:cubicBezTo>
                <a:cubicBezTo>
                  <a:pt x="2896" y="662"/>
                  <a:pt x="2896" y="662"/>
                  <a:pt x="2894" y="662"/>
                </a:cubicBezTo>
                <a:cubicBezTo>
                  <a:pt x="2894" y="662"/>
                  <a:pt x="2894" y="662"/>
                  <a:pt x="2894" y="671"/>
                </a:cubicBezTo>
                <a:cubicBezTo>
                  <a:pt x="2894" y="671"/>
                  <a:pt x="2894" y="671"/>
                  <a:pt x="2898" y="671"/>
                </a:cubicBezTo>
                <a:cubicBezTo>
                  <a:pt x="2907" y="671"/>
                  <a:pt x="2913" y="668"/>
                  <a:pt x="2913" y="658"/>
                </a:cubicBezTo>
                <a:cubicBezTo>
                  <a:pt x="2913" y="656"/>
                  <a:pt x="2913" y="654"/>
                  <a:pt x="2912" y="651"/>
                </a:cubicBezTo>
                <a:cubicBezTo>
                  <a:pt x="2912" y="648"/>
                  <a:pt x="2912" y="646"/>
                  <a:pt x="2912" y="644"/>
                </a:cubicBezTo>
                <a:cubicBezTo>
                  <a:pt x="2912" y="641"/>
                  <a:pt x="2912" y="638"/>
                  <a:pt x="2919" y="638"/>
                </a:cubicBezTo>
                <a:close/>
                <a:moveTo>
                  <a:pt x="3388" y="671"/>
                </a:moveTo>
                <a:cubicBezTo>
                  <a:pt x="3381" y="671"/>
                  <a:pt x="3375" y="668"/>
                  <a:pt x="3370" y="661"/>
                </a:cubicBezTo>
                <a:cubicBezTo>
                  <a:pt x="3366" y="656"/>
                  <a:pt x="3364" y="646"/>
                  <a:pt x="3364" y="634"/>
                </a:cubicBezTo>
                <a:cubicBezTo>
                  <a:pt x="3364" y="621"/>
                  <a:pt x="3366" y="612"/>
                  <a:pt x="3370" y="605"/>
                </a:cubicBezTo>
                <a:cubicBezTo>
                  <a:pt x="3375" y="598"/>
                  <a:pt x="3381" y="595"/>
                  <a:pt x="3390" y="595"/>
                </a:cubicBezTo>
                <a:cubicBezTo>
                  <a:pt x="3406" y="595"/>
                  <a:pt x="3415" y="607"/>
                  <a:pt x="3415" y="632"/>
                </a:cubicBezTo>
                <a:cubicBezTo>
                  <a:pt x="3415" y="645"/>
                  <a:pt x="3412" y="655"/>
                  <a:pt x="3408" y="661"/>
                </a:cubicBezTo>
                <a:cubicBezTo>
                  <a:pt x="3403" y="668"/>
                  <a:pt x="3397" y="671"/>
                  <a:pt x="3388" y="671"/>
                </a:cubicBezTo>
                <a:close/>
                <a:moveTo>
                  <a:pt x="3390" y="605"/>
                </a:moveTo>
                <a:cubicBezTo>
                  <a:pt x="3381" y="605"/>
                  <a:pt x="3376" y="614"/>
                  <a:pt x="3376" y="634"/>
                </a:cubicBezTo>
                <a:cubicBezTo>
                  <a:pt x="3376" y="652"/>
                  <a:pt x="3381" y="661"/>
                  <a:pt x="3390" y="661"/>
                </a:cubicBezTo>
                <a:cubicBezTo>
                  <a:pt x="3398" y="661"/>
                  <a:pt x="3402" y="652"/>
                  <a:pt x="3402" y="634"/>
                </a:cubicBezTo>
                <a:cubicBezTo>
                  <a:pt x="3402" y="614"/>
                  <a:pt x="3398" y="605"/>
                  <a:pt x="3390" y="605"/>
                </a:cubicBezTo>
                <a:close/>
                <a:moveTo>
                  <a:pt x="3506" y="671"/>
                </a:moveTo>
                <a:cubicBezTo>
                  <a:pt x="3499" y="671"/>
                  <a:pt x="3493" y="668"/>
                  <a:pt x="3488" y="661"/>
                </a:cubicBezTo>
                <a:cubicBezTo>
                  <a:pt x="3484" y="656"/>
                  <a:pt x="3482" y="646"/>
                  <a:pt x="3482" y="634"/>
                </a:cubicBezTo>
                <a:cubicBezTo>
                  <a:pt x="3482" y="621"/>
                  <a:pt x="3484" y="612"/>
                  <a:pt x="3488" y="605"/>
                </a:cubicBezTo>
                <a:cubicBezTo>
                  <a:pt x="3493" y="598"/>
                  <a:pt x="3499" y="595"/>
                  <a:pt x="3508" y="595"/>
                </a:cubicBezTo>
                <a:cubicBezTo>
                  <a:pt x="3524" y="595"/>
                  <a:pt x="3532" y="607"/>
                  <a:pt x="3532" y="632"/>
                </a:cubicBezTo>
                <a:cubicBezTo>
                  <a:pt x="3532" y="645"/>
                  <a:pt x="3530" y="655"/>
                  <a:pt x="3526" y="661"/>
                </a:cubicBezTo>
                <a:cubicBezTo>
                  <a:pt x="3520" y="668"/>
                  <a:pt x="3515" y="671"/>
                  <a:pt x="3506" y="671"/>
                </a:cubicBezTo>
                <a:close/>
                <a:moveTo>
                  <a:pt x="3507" y="605"/>
                </a:moveTo>
                <a:cubicBezTo>
                  <a:pt x="3499" y="605"/>
                  <a:pt x="3494" y="614"/>
                  <a:pt x="3494" y="634"/>
                </a:cubicBezTo>
                <a:cubicBezTo>
                  <a:pt x="3494" y="652"/>
                  <a:pt x="3499" y="661"/>
                  <a:pt x="3507" y="661"/>
                </a:cubicBezTo>
                <a:cubicBezTo>
                  <a:pt x="3515" y="661"/>
                  <a:pt x="3520" y="652"/>
                  <a:pt x="3520" y="634"/>
                </a:cubicBezTo>
                <a:cubicBezTo>
                  <a:pt x="3520" y="614"/>
                  <a:pt x="3516" y="605"/>
                  <a:pt x="3507" y="605"/>
                </a:cubicBezTo>
                <a:close/>
                <a:moveTo>
                  <a:pt x="3462" y="597"/>
                </a:moveTo>
                <a:cubicBezTo>
                  <a:pt x="3462" y="597"/>
                  <a:pt x="3462" y="597"/>
                  <a:pt x="3462" y="597"/>
                </a:cubicBezTo>
                <a:cubicBezTo>
                  <a:pt x="3457" y="597"/>
                  <a:pt x="3457" y="597"/>
                  <a:pt x="3457" y="597"/>
                </a:cubicBezTo>
                <a:cubicBezTo>
                  <a:pt x="3454" y="599"/>
                  <a:pt x="3453" y="600"/>
                  <a:pt x="3451" y="601"/>
                </a:cubicBezTo>
                <a:cubicBezTo>
                  <a:pt x="3449" y="603"/>
                  <a:pt x="3447" y="603"/>
                  <a:pt x="3446" y="604"/>
                </a:cubicBezTo>
                <a:cubicBezTo>
                  <a:pt x="3444" y="605"/>
                  <a:pt x="3442" y="605"/>
                  <a:pt x="3441" y="606"/>
                </a:cubicBezTo>
                <a:cubicBezTo>
                  <a:pt x="3438" y="607"/>
                  <a:pt x="3437" y="608"/>
                  <a:pt x="3435" y="608"/>
                </a:cubicBezTo>
                <a:cubicBezTo>
                  <a:pt x="3435" y="608"/>
                  <a:pt x="3435" y="608"/>
                  <a:pt x="3435" y="619"/>
                </a:cubicBezTo>
                <a:cubicBezTo>
                  <a:pt x="3438" y="618"/>
                  <a:pt x="3441" y="616"/>
                  <a:pt x="3443" y="616"/>
                </a:cubicBezTo>
                <a:cubicBezTo>
                  <a:pt x="3446" y="615"/>
                  <a:pt x="3448" y="613"/>
                  <a:pt x="3450" y="612"/>
                </a:cubicBezTo>
                <a:cubicBezTo>
                  <a:pt x="3450" y="612"/>
                  <a:pt x="3450" y="612"/>
                  <a:pt x="3450" y="671"/>
                </a:cubicBezTo>
                <a:cubicBezTo>
                  <a:pt x="3450" y="671"/>
                  <a:pt x="3450" y="671"/>
                  <a:pt x="3462" y="671"/>
                </a:cubicBezTo>
                <a:cubicBezTo>
                  <a:pt x="3462" y="671"/>
                  <a:pt x="3462" y="671"/>
                  <a:pt x="3462" y="597"/>
                </a:cubicBezTo>
                <a:close/>
                <a:moveTo>
                  <a:pt x="3577" y="671"/>
                </a:moveTo>
                <a:cubicBezTo>
                  <a:pt x="3570" y="671"/>
                  <a:pt x="3563" y="668"/>
                  <a:pt x="3559" y="662"/>
                </a:cubicBezTo>
                <a:cubicBezTo>
                  <a:pt x="3555" y="656"/>
                  <a:pt x="3553" y="647"/>
                  <a:pt x="3553" y="634"/>
                </a:cubicBezTo>
                <a:cubicBezTo>
                  <a:pt x="3553" y="621"/>
                  <a:pt x="3555" y="612"/>
                  <a:pt x="3559" y="605"/>
                </a:cubicBezTo>
                <a:cubicBezTo>
                  <a:pt x="3564" y="599"/>
                  <a:pt x="3570" y="595"/>
                  <a:pt x="3579" y="595"/>
                </a:cubicBezTo>
                <a:cubicBezTo>
                  <a:pt x="3595" y="595"/>
                  <a:pt x="3603" y="607"/>
                  <a:pt x="3603" y="633"/>
                </a:cubicBezTo>
                <a:cubicBezTo>
                  <a:pt x="3603" y="645"/>
                  <a:pt x="3601" y="655"/>
                  <a:pt x="3597" y="661"/>
                </a:cubicBezTo>
                <a:cubicBezTo>
                  <a:pt x="3592" y="668"/>
                  <a:pt x="3586" y="671"/>
                  <a:pt x="3577" y="671"/>
                </a:cubicBezTo>
                <a:close/>
                <a:moveTo>
                  <a:pt x="3578" y="605"/>
                </a:moveTo>
                <a:cubicBezTo>
                  <a:pt x="3570" y="605"/>
                  <a:pt x="3565" y="615"/>
                  <a:pt x="3565" y="634"/>
                </a:cubicBezTo>
                <a:cubicBezTo>
                  <a:pt x="3565" y="653"/>
                  <a:pt x="3569" y="661"/>
                  <a:pt x="3578" y="661"/>
                </a:cubicBezTo>
                <a:cubicBezTo>
                  <a:pt x="3586" y="661"/>
                  <a:pt x="3591" y="653"/>
                  <a:pt x="3591" y="634"/>
                </a:cubicBezTo>
                <a:cubicBezTo>
                  <a:pt x="3591" y="614"/>
                  <a:pt x="3586" y="605"/>
                  <a:pt x="3578" y="605"/>
                </a:cubicBezTo>
                <a:close/>
                <a:moveTo>
                  <a:pt x="3624" y="630"/>
                </a:moveTo>
                <a:cubicBezTo>
                  <a:pt x="3624" y="630"/>
                  <a:pt x="3624" y="630"/>
                  <a:pt x="3624" y="630"/>
                </a:cubicBezTo>
                <a:cubicBezTo>
                  <a:pt x="3624" y="638"/>
                  <a:pt x="3624" y="638"/>
                  <a:pt x="3624" y="638"/>
                </a:cubicBezTo>
                <a:cubicBezTo>
                  <a:pt x="3630" y="638"/>
                  <a:pt x="3631" y="641"/>
                  <a:pt x="3631" y="644"/>
                </a:cubicBezTo>
                <a:cubicBezTo>
                  <a:pt x="3631" y="646"/>
                  <a:pt x="3630" y="648"/>
                  <a:pt x="3630" y="651"/>
                </a:cubicBezTo>
                <a:cubicBezTo>
                  <a:pt x="3630" y="654"/>
                  <a:pt x="3630" y="656"/>
                  <a:pt x="3630" y="658"/>
                </a:cubicBezTo>
                <a:cubicBezTo>
                  <a:pt x="3630" y="668"/>
                  <a:pt x="3636" y="671"/>
                  <a:pt x="3644" y="671"/>
                </a:cubicBezTo>
                <a:cubicBezTo>
                  <a:pt x="3644" y="671"/>
                  <a:pt x="3644" y="671"/>
                  <a:pt x="3648" y="671"/>
                </a:cubicBezTo>
                <a:cubicBezTo>
                  <a:pt x="3648" y="671"/>
                  <a:pt x="3648" y="671"/>
                  <a:pt x="3648" y="662"/>
                </a:cubicBezTo>
                <a:cubicBezTo>
                  <a:pt x="3648" y="662"/>
                  <a:pt x="3648" y="662"/>
                  <a:pt x="3646" y="662"/>
                </a:cubicBezTo>
                <a:cubicBezTo>
                  <a:pt x="3643" y="662"/>
                  <a:pt x="3642" y="659"/>
                  <a:pt x="3642" y="656"/>
                </a:cubicBezTo>
                <a:cubicBezTo>
                  <a:pt x="3642" y="654"/>
                  <a:pt x="3642" y="653"/>
                  <a:pt x="3642" y="651"/>
                </a:cubicBezTo>
                <a:cubicBezTo>
                  <a:pt x="3642" y="650"/>
                  <a:pt x="3642" y="647"/>
                  <a:pt x="3642" y="645"/>
                </a:cubicBezTo>
                <a:cubicBezTo>
                  <a:pt x="3642" y="638"/>
                  <a:pt x="3639" y="635"/>
                  <a:pt x="3634" y="634"/>
                </a:cubicBezTo>
                <a:cubicBezTo>
                  <a:pt x="3634" y="634"/>
                  <a:pt x="3634" y="634"/>
                  <a:pt x="3634" y="634"/>
                </a:cubicBezTo>
                <a:cubicBezTo>
                  <a:pt x="3639" y="632"/>
                  <a:pt x="3642" y="630"/>
                  <a:pt x="3642" y="623"/>
                </a:cubicBezTo>
                <a:cubicBezTo>
                  <a:pt x="3642" y="620"/>
                  <a:pt x="3642" y="618"/>
                  <a:pt x="3642" y="616"/>
                </a:cubicBezTo>
                <a:cubicBezTo>
                  <a:pt x="3642" y="615"/>
                  <a:pt x="3642" y="613"/>
                  <a:pt x="3642" y="612"/>
                </a:cubicBezTo>
                <a:cubicBezTo>
                  <a:pt x="3642" y="608"/>
                  <a:pt x="3643" y="606"/>
                  <a:pt x="3646" y="606"/>
                </a:cubicBezTo>
                <a:cubicBezTo>
                  <a:pt x="3646" y="606"/>
                  <a:pt x="3646" y="606"/>
                  <a:pt x="3648" y="606"/>
                </a:cubicBezTo>
                <a:cubicBezTo>
                  <a:pt x="3648" y="606"/>
                  <a:pt x="3648" y="606"/>
                  <a:pt x="3648" y="597"/>
                </a:cubicBezTo>
                <a:cubicBezTo>
                  <a:pt x="3648" y="597"/>
                  <a:pt x="3648" y="597"/>
                  <a:pt x="3644" y="597"/>
                </a:cubicBezTo>
                <a:cubicBezTo>
                  <a:pt x="3635" y="597"/>
                  <a:pt x="3630" y="601"/>
                  <a:pt x="3630" y="609"/>
                </a:cubicBezTo>
                <a:cubicBezTo>
                  <a:pt x="3630" y="611"/>
                  <a:pt x="3630" y="614"/>
                  <a:pt x="3630" y="617"/>
                </a:cubicBezTo>
                <a:cubicBezTo>
                  <a:pt x="3630" y="619"/>
                  <a:pt x="3631" y="622"/>
                  <a:pt x="3631" y="623"/>
                </a:cubicBezTo>
                <a:cubicBezTo>
                  <a:pt x="3631" y="626"/>
                  <a:pt x="3630" y="629"/>
                  <a:pt x="3624" y="630"/>
                </a:cubicBezTo>
                <a:close/>
                <a:moveTo>
                  <a:pt x="3679" y="638"/>
                </a:moveTo>
                <a:cubicBezTo>
                  <a:pt x="3679" y="638"/>
                  <a:pt x="3679" y="638"/>
                  <a:pt x="3679" y="638"/>
                </a:cubicBezTo>
                <a:cubicBezTo>
                  <a:pt x="3679" y="630"/>
                  <a:pt x="3679" y="630"/>
                  <a:pt x="3679" y="630"/>
                </a:cubicBezTo>
                <a:cubicBezTo>
                  <a:pt x="3673" y="629"/>
                  <a:pt x="3672" y="626"/>
                  <a:pt x="3672" y="623"/>
                </a:cubicBezTo>
                <a:cubicBezTo>
                  <a:pt x="3672" y="622"/>
                  <a:pt x="3672" y="619"/>
                  <a:pt x="3673" y="617"/>
                </a:cubicBezTo>
                <a:cubicBezTo>
                  <a:pt x="3673" y="614"/>
                  <a:pt x="3673" y="611"/>
                  <a:pt x="3673" y="609"/>
                </a:cubicBezTo>
                <a:cubicBezTo>
                  <a:pt x="3673" y="601"/>
                  <a:pt x="3668" y="597"/>
                  <a:pt x="3658" y="597"/>
                </a:cubicBezTo>
                <a:cubicBezTo>
                  <a:pt x="3658" y="597"/>
                  <a:pt x="3658" y="597"/>
                  <a:pt x="3655" y="597"/>
                </a:cubicBezTo>
                <a:cubicBezTo>
                  <a:pt x="3655" y="597"/>
                  <a:pt x="3655" y="597"/>
                  <a:pt x="3655" y="606"/>
                </a:cubicBezTo>
                <a:cubicBezTo>
                  <a:pt x="3655" y="606"/>
                  <a:pt x="3655" y="606"/>
                  <a:pt x="3656" y="606"/>
                </a:cubicBezTo>
                <a:cubicBezTo>
                  <a:pt x="3660" y="606"/>
                  <a:pt x="3661" y="608"/>
                  <a:pt x="3661" y="612"/>
                </a:cubicBezTo>
                <a:cubicBezTo>
                  <a:pt x="3661" y="613"/>
                  <a:pt x="3661" y="615"/>
                  <a:pt x="3661" y="616"/>
                </a:cubicBezTo>
                <a:cubicBezTo>
                  <a:pt x="3661" y="618"/>
                  <a:pt x="3661" y="620"/>
                  <a:pt x="3661" y="623"/>
                </a:cubicBezTo>
                <a:cubicBezTo>
                  <a:pt x="3661" y="630"/>
                  <a:pt x="3663" y="632"/>
                  <a:pt x="3669" y="634"/>
                </a:cubicBezTo>
                <a:cubicBezTo>
                  <a:pt x="3669" y="634"/>
                  <a:pt x="3669" y="634"/>
                  <a:pt x="3669" y="634"/>
                </a:cubicBezTo>
                <a:cubicBezTo>
                  <a:pt x="3663" y="635"/>
                  <a:pt x="3661" y="638"/>
                  <a:pt x="3661" y="645"/>
                </a:cubicBezTo>
                <a:cubicBezTo>
                  <a:pt x="3661" y="647"/>
                  <a:pt x="3661" y="650"/>
                  <a:pt x="3661" y="651"/>
                </a:cubicBezTo>
                <a:cubicBezTo>
                  <a:pt x="3661" y="653"/>
                  <a:pt x="3661" y="654"/>
                  <a:pt x="3661" y="656"/>
                </a:cubicBezTo>
                <a:cubicBezTo>
                  <a:pt x="3661" y="659"/>
                  <a:pt x="3660" y="662"/>
                  <a:pt x="3656" y="662"/>
                </a:cubicBezTo>
                <a:cubicBezTo>
                  <a:pt x="3656" y="662"/>
                  <a:pt x="3656" y="662"/>
                  <a:pt x="3655" y="662"/>
                </a:cubicBezTo>
                <a:cubicBezTo>
                  <a:pt x="3655" y="662"/>
                  <a:pt x="3655" y="662"/>
                  <a:pt x="3655" y="671"/>
                </a:cubicBezTo>
                <a:cubicBezTo>
                  <a:pt x="3655" y="671"/>
                  <a:pt x="3655" y="671"/>
                  <a:pt x="3658" y="671"/>
                </a:cubicBezTo>
                <a:cubicBezTo>
                  <a:pt x="3667" y="671"/>
                  <a:pt x="3673" y="668"/>
                  <a:pt x="3673" y="658"/>
                </a:cubicBezTo>
                <a:cubicBezTo>
                  <a:pt x="3673" y="656"/>
                  <a:pt x="3673" y="654"/>
                  <a:pt x="3673" y="651"/>
                </a:cubicBezTo>
                <a:cubicBezTo>
                  <a:pt x="3672" y="648"/>
                  <a:pt x="3672" y="646"/>
                  <a:pt x="3672" y="644"/>
                </a:cubicBezTo>
                <a:cubicBezTo>
                  <a:pt x="3672" y="641"/>
                  <a:pt x="3673" y="638"/>
                  <a:pt x="3679" y="638"/>
                </a:cubicBezTo>
                <a:close/>
                <a:moveTo>
                  <a:pt x="3799" y="671"/>
                </a:moveTo>
                <a:cubicBezTo>
                  <a:pt x="3792" y="671"/>
                  <a:pt x="3785" y="668"/>
                  <a:pt x="3781" y="662"/>
                </a:cubicBezTo>
                <a:cubicBezTo>
                  <a:pt x="3777" y="656"/>
                  <a:pt x="3775" y="647"/>
                  <a:pt x="3775" y="634"/>
                </a:cubicBezTo>
                <a:cubicBezTo>
                  <a:pt x="3775" y="621"/>
                  <a:pt x="3777" y="612"/>
                  <a:pt x="3782" y="605"/>
                </a:cubicBezTo>
                <a:cubicBezTo>
                  <a:pt x="3786" y="599"/>
                  <a:pt x="3793" y="595"/>
                  <a:pt x="3801" y="595"/>
                </a:cubicBezTo>
                <a:cubicBezTo>
                  <a:pt x="3817" y="595"/>
                  <a:pt x="3825" y="607"/>
                  <a:pt x="3825" y="633"/>
                </a:cubicBezTo>
                <a:cubicBezTo>
                  <a:pt x="3825" y="645"/>
                  <a:pt x="3823" y="655"/>
                  <a:pt x="3818" y="661"/>
                </a:cubicBezTo>
                <a:cubicBezTo>
                  <a:pt x="3814" y="668"/>
                  <a:pt x="3807" y="671"/>
                  <a:pt x="3799" y="671"/>
                </a:cubicBezTo>
                <a:close/>
                <a:moveTo>
                  <a:pt x="3801" y="605"/>
                </a:moveTo>
                <a:cubicBezTo>
                  <a:pt x="3791" y="605"/>
                  <a:pt x="3787" y="615"/>
                  <a:pt x="3787" y="634"/>
                </a:cubicBezTo>
                <a:cubicBezTo>
                  <a:pt x="3787" y="653"/>
                  <a:pt x="3791" y="661"/>
                  <a:pt x="3800" y="661"/>
                </a:cubicBezTo>
                <a:cubicBezTo>
                  <a:pt x="3809" y="661"/>
                  <a:pt x="3813" y="653"/>
                  <a:pt x="3813" y="634"/>
                </a:cubicBezTo>
                <a:cubicBezTo>
                  <a:pt x="3813" y="614"/>
                  <a:pt x="3809" y="605"/>
                  <a:pt x="3801" y="605"/>
                </a:cubicBezTo>
                <a:close/>
                <a:moveTo>
                  <a:pt x="3869" y="597"/>
                </a:moveTo>
                <a:cubicBezTo>
                  <a:pt x="3869" y="597"/>
                  <a:pt x="3869" y="597"/>
                  <a:pt x="3869" y="597"/>
                </a:cubicBezTo>
                <a:cubicBezTo>
                  <a:pt x="3864" y="597"/>
                  <a:pt x="3864" y="597"/>
                  <a:pt x="3864" y="597"/>
                </a:cubicBezTo>
                <a:cubicBezTo>
                  <a:pt x="3861" y="599"/>
                  <a:pt x="3860" y="600"/>
                  <a:pt x="3858" y="601"/>
                </a:cubicBezTo>
                <a:cubicBezTo>
                  <a:pt x="3856" y="603"/>
                  <a:pt x="3854" y="603"/>
                  <a:pt x="3853" y="604"/>
                </a:cubicBezTo>
                <a:cubicBezTo>
                  <a:pt x="3850" y="605"/>
                  <a:pt x="3849" y="605"/>
                  <a:pt x="3848" y="606"/>
                </a:cubicBezTo>
                <a:cubicBezTo>
                  <a:pt x="3845" y="607"/>
                  <a:pt x="3844" y="608"/>
                  <a:pt x="3842" y="608"/>
                </a:cubicBezTo>
                <a:cubicBezTo>
                  <a:pt x="3842" y="608"/>
                  <a:pt x="3842" y="608"/>
                  <a:pt x="3842" y="619"/>
                </a:cubicBezTo>
                <a:cubicBezTo>
                  <a:pt x="3845" y="618"/>
                  <a:pt x="3848" y="616"/>
                  <a:pt x="3850" y="616"/>
                </a:cubicBezTo>
                <a:cubicBezTo>
                  <a:pt x="3853" y="615"/>
                  <a:pt x="3855" y="613"/>
                  <a:pt x="3857" y="612"/>
                </a:cubicBezTo>
                <a:cubicBezTo>
                  <a:pt x="3857" y="612"/>
                  <a:pt x="3857" y="612"/>
                  <a:pt x="3857" y="671"/>
                </a:cubicBezTo>
                <a:cubicBezTo>
                  <a:pt x="3857" y="671"/>
                  <a:pt x="3857" y="671"/>
                  <a:pt x="3869" y="671"/>
                </a:cubicBezTo>
                <a:cubicBezTo>
                  <a:pt x="3869" y="671"/>
                  <a:pt x="3869" y="671"/>
                  <a:pt x="3869" y="597"/>
                </a:cubicBezTo>
                <a:close/>
                <a:moveTo>
                  <a:pt x="2065" y="540"/>
                </a:moveTo>
                <a:cubicBezTo>
                  <a:pt x="2066" y="541"/>
                  <a:pt x="2066" y="542"/>
                  <a:pt x="2067" y="544"/>
                </a:cubicBezTo>
                <a:cubicBezTo>
                  <a:pt x="2067" y="546"/>
                  <a:pt x="2068" y="548"/>
                  <a:pt x="2068" y="549"/>
                </a:cubicBezTo>
                <a:cubicBezTo>
                  <a:pt x="2068" y="551"/>
                  <a:pt x="2068" y="552"/>
                  <a:pt x="2068" y="554"/>
                </a:cubicBezTo>
                <a:cubicBezTo>
                  <a:pt x="2069" y="557"/>
                  <a:pt x="2068" y="559"/>
                  <a:pt x="2065" y="559"/>
                </a:cubicBezTo>
                <a:cubicBezTo>
                  <a:pt x="2062" y="559"/>
                  <a:pt x="2059" y="558"/>
                  <a:pt x="2057" y="558"/>
                </a:cubicBezTo>
                <a:cubicBezTo>
                  <a:pt x="2056" y="558"/>
                  <a:pt x="2055" y="558"/>
                  <a:pt x="2055" y="559"/>
                </a:cubicBezTo>
                <a:cubicBezTo>
                  <a:pt x="2054" y="560"/>
                  <a:pt x="2052" y="561"/>
                  <a:pt x="2051" y="563"/>
                </a:cubicBezTo>
                <a:cubicBezTo>
                  <a:pt x="2049" y="565"/>
                  <a:pt x="2046" y="566"/>
                  <a:pt x="2043" y="564"/>
                </a:cubicBezTo>
                <a:cubicBezTo>
                  <a:pt x="2041" y="561"/>
                  <a:pt x="2040" y="559"/>
                  <a:pt x="2039" y="556"/>
                </a:cubicBezTo>
                <a:cubicBezTo>
                  <a:pt x="2038" y="555"/>
                  <a:pt x="2038" y="553"/>
                  <a:pt x="2041" y="552"/>
                </a:cubicBezTo>
                <a:cubicBezTo>
                  <a:pt x="2038" y="552"/>
                  <a:pt x="2036" y="552"/>
                  <a:pt x="2035" y="552"/>
                </a:cubicBezTo>
                <a:cubicBezTo>
                  <a:pt x="2034" y="554"/>
                  <a:pt x="2033" y="556"/>
                  <a:pt x="2032" y="557"/>
                </a:cubicBezTo>
                <a:cubicBezTo>
                  <a:pt x="2032" y="558"/>
                  <a:pt x="2032" y="559"/>
                  <a:pt x="2032" y="560"/>
                </a:cubicBezTo>
                <a:cubicBezTo>
                  <a:pt x="2032" y="563"/>
                  <a:pt x="2030" y="564"/>
                  <a:pt x="2027" y="564"/>
                </a:cubicBezTo>
                <a:cubicBezTo>
                  <a:pt x="2024" y="563"/>
                  <a:pt x="2021" y="563"/>
                  <a:pt x="2018" y="561"/>
                </a:cubicBezTo>
                <a:cubicBezTo>
                  <a:pt x="2016" y="561"/>
                  <a:pt x="2016" y="559"/>
                  <a:pt x="2016" y="557"/>
                </a:cubicBezTo>
                <a:cubicBezTo>
                  <a:pt x="2017" y="557"/>
                  <a:pt x="2017" y="556"/>
                  <a:pt x="2017" y="556"/>
                </a:cubicBezTo>
                <a:cubicBezTo>
                  <a:pt x="2015" y="555"/>
                  <a:pt x="2012" y="554"/>
                  <a:pt x="2010" y="552"/>
                </a:cubicBezTo>
                <a:cubicBezTo>
                  <a:pt x="2009" y="552"/>
                  <a:pt x="2008" y="550"/>
                  <a:pt x="2007" y="548"/>
                </a:cubicBezTo>
                <a:cubicBezTo>
                  <a:pt x="2006" y="546"/>
                  <a:pt x="2006" y="544"/>
                  <a:pt x="2008" y="543"/>
                </a:cubicBezTo>
                <a:cubicBezTo>
                  <a:pt x="2012" y="540"/>
                  <a:pt x="2012" y="538"/>
                  <a:pt x="2012" y="534"/>
                </a:cubicBezTo>
                <a:cubicBezTo>
                  <a:pt x="2012" y="532"/>
                  <a:pt x="2012" y="529"/>
                  <a:pt x="2012" y="528"/>
                </a:cubicBezTo>
                <a:cubicBezTo>
                  <a:pt x="2010" y="527"/>
                  <a:pt x="2008" y="527"/>
                  <a:pt x="2008" y="525"/>
                </a:cubicBezTo>
                <a:cubicBezTo>
                  <a:pt x="2006" y="524"/>
                  <a:pt x="2006" y="522"/>
                  <a:pt x="2006" y="520"/>
                </a:cubicBezTo>
                <a:cubicBezTo>
                  <a:pt x="2005" y="517"/>
                  <a:pt x="2009" y="514"/>
                  <a:pt x="2012" y="514"/>
                </a:cubicBezTo>
                <a:cubicBezTo>
                  <a:pt x="2012" y="514"/>
                  <a:pt x="2012" y="515"/>
                  <a:pt x="2012" y="516"/>
                </a:cubicBezTo>
                <a:cubicBezTo>
                  <a:pt x="2012" y="517"/>
                  <a:pt x="2012" y="518"/>
                  <a:pt x="2013" y="519"/>
                </a:cubicBezTo>
                <a:cubicBezTo>
                  <a:pt x="2012" y="519"/>
                  <a:pt x="2012" y="519"/>
                  <a:pt x="2011" y="519"/>
                </a:cubicBezTo>
                <a:cubicBezTo>
                  <a:pt x="2011" y="520"/>
                  <a:pt x="2010" y="521"/>
                  <a:pt x="2010" y="523"/>
                </a:cubicBezTo>
                <a:cubicBezTo>
                  <a:pt x="2011" y="523"/>
                  <a:pt x="2012" y="523"/>
                  <a:pt x="2012" y="522"/>
                </a:cubicBezTo>
                <a:cubicBezTo>
                  <a:pt x="2013" y="521"/>
                  <a:pt x="2014" y="520"/>
                  <a:pt x="2015" y="519"/>
                </a:cubicBezTo>
                <a:cubicBezTo>
                  <a:pt x="2019" y="512"/>
                  <a:pt x="2025" y="508"/>
                  <a:pt x="2033" y="507"/>
                </a:cubicBezTo>
                <a:cubicBezTo>
                  <a:pt x="2036" y="506"/>
                  <a:pt x="2039" y="505"/>
                  <a:pt x="2041" y="502"/>
                </a:cubicBezTo>
                <a:cubicBezTo>
                  <a:pt x="2041" y="502"/>
                  <a:pt x="2042" y="502"/>
                  <a:pt x="2043" y="502"/>
                </a:cubicBezTo>
                <a:cubicBezTo>
                  <a:pt x="2045" y="501"/>
                  <a:pt x="2047" y="499"/>
                  <a:pt x="2049" y="497"/>
                </a:cubicBezTo>
                <a:cubicBezTo>
                  <a:pt x="2056" y="489"/>
                  <a:pt x="2068" y="489"/>
                  <a:pt x="2076" y="496"/>
                </a:cubicBezTo>
                <a:cubicBezTo>
                  <a:pt x="2078" y="498"/>
                  <a:pt x="2081" y="500"/>
                  <a:pt x="2083" y="502"/>
                </a:cubicBezTo>
                <a:cubicBezTo>
                  <a:pt x="2085" y="503"/>
                  <a:pt x="2086" y="504"/>
                  <a:pt x="2087" y="506"/>
                </a:cubicBezTo>
                <a:cubicBezTo>
                  <a:pt x="2088" y="508"/>
                  <a:pt x="2089" y="508"/>
                  <a:pt x="2090" y="507"/>
                </a:cubicBezTo>
                <a:cubicBezTo>
                  <a:pt x="2091" y="506"/>
                  <a:pt x="2092" y="506"/>
                  <a:pt x="2092" y="505"/>
                </a:cubicBezTo>
                <a:cubicBezTo>
                  <a:pt x="2094" y="502"/>
                  <a:pt x="2097" y="502"/>
                  <a:pt x="2099" y="505"/>
                </a:cubicBezTo>
                <a:cubicBezTo>
                  <a:pt x="2100" y="508"/>
                  <a:pt x="2101" y="511"/>
                  <a:pt x="2101" y="514"/>
                </a:cubicBezTo>
                <a:cubicBezTo>
                  <a:pt x="2102" y="519"/>
                  <a:pt x="2101" y="523"/>
                  <a:pt x="2100" y="527"/>
                </a:cubicBezTo>
                <a:cubicBezTo>
                  <a:pt x="2097" y="534"/>
                  <a:pt x="2093" y="537"/>
                  <a:pt x="2086" y="537"/>
                </a:cubicBezTo>
                <a:cubicBezTo>
                  <a:pt x="2085" y="537"/>
                  <a:pt x="2085" y="537"/>
                  <a:pt x="2084" y="537"/>
                </a:cubicBezTo>
                <a:cubicBezTo>
                  <a:pt x="2082" y="537"/>
                  <a:pt x="2081" y="537"/>
                  <a:pt x="2080" y="540"/>
                </a:cubicBezTo>
                <a:cubicBezTo>
                  <a:pt x="2078" y="544"/>
                  <a:pt x="2073" y="546"/>
                  <a:pt x="2069" y="542"/>
                </a:cubicBezTo>
                <a:cubicBezTo>
                  <a:pt x="2068" y="541"/>
                  <a:pt x="2067" y="540"/>
                  <a:pt x="2066" y="539"/>
                </a:cubicBezTo>
                <a:cubicBezTo>
                  <a:pt x="2066" y="540"/>
                  <a:pt x="2066" y="540"/>
                  <a:pt x="2065" y="540"/>
                </a:cubicBezTo>
                <a:close/>
                <a:moveTo>
                  <a:pt x="2060" y="535"/>
                </a:moveTo>
                <a:cubicBezTo>
                  <a:pt x="2063" y="537"/>
                  <a:pt x="2067" y="538"/>
                  <a:pt x="2070" y="541"/>
                </a:cubicBezTo>
                <a:cubicBezTo>
                  <a:pt x="2071" y="542"/>
                  <a:pt x="2073" y="543"/>
                  <a:pt x="2075" y="542"/>
                </a:cubicBezTo>
                <a:cubicBezTo>
                  <a:pt x="2078" y="542"/>
                  <a:pt x="2079" y="540"/>
                  <a:pt x="2079" y="537"/>
                </a:cubicBezTo>
                <a:cubicBezTo>
                  <a:pt x="2079" y="537"/>
                  <a:pt x="2078" y="537"/>
                  <a:pt x="2078" y="537"/>
                </a:cubicBezTo>
                <a:cubicBezTo>
                  <a:pt x="2078" y="539"/>
                  <a:pt x="2077" y="540"/>
                  <a:pt x="2076" y="541"/>
                </a:cubicBezTo>
                <a:cubicBezTo>
                  <a:pt x="2075" y="542"/>
                  <a:pt x="2074" y="542"/>
                  <a:pt x="2073" y="541"/>
                </a:cubicBezTo>
                <a:cubicBezTo>
                  <a:pt x="2072" y="541"/>
                  <a:pt x="2072" y="540"/>
                  <a:pt x="2072" y="539"/>
                </a:cubicBezTo>
                <a:cubicBezTo>
                  <a:pt x="2072" y="537"/>
                  <a:pt x="2072" y="535"/>
                  <a:pt x="2072" y="533"/>
                </a:cubicBezTo>
                <a:cubicBezTo>
                  <a:pt x="2075" y="534"/>
                  <a:pt x="2079" y="535"/>
                  <a:pt x="2082" y="535"/>
                </a:cubicBezTo>
                <a:cubicBezTo>
                  <a:pt x="2090" y="537"/>
                  <a:pt x="2095" y="535"/>
                  <a:pt x="2099" y="526"/>
                </a:cubicBezTo>
                <a:cubicBezTo>
                  <a:pt x="2100" y="521"/>
                  <a:pt x="2100" y="517"/>
                  <a:pt x="2099" y="512"/>
                </a:cubicBezTo>
                <a:cubicBezTo>
                  <a:pt x="2099" y="510"/>
                  <a:pt x="2098" y="508"/>
                  <a:pt x="2097" y="506"/>
                </a:cubicBezTo>
                <a:cubicBezTo>
                  <a:pt x="2096" y="504"/>
                  <a:pt x="2095" y="504"/>
                  <a:pt x="2094" y="506"/>
                </a:cubicBezTo>
                <a:cubicBezTo>
                  <a:pt x="2092" y="507"/>
                  <a:pt x="2091" y="509"/>
                  <a:pt x="2089" y="510"/>
                </a:cubicBezTo>
                <a:cubicBezTo>
                  <a:pt x="2088" y="510"/>
                  <a:pt x="2087" y="511"/>
                  <a:pt x="2088" y="512"/>
                </a:cubicBezTo>
                <a:cubicBezTo>
                  <a:pt x="2088" y="515"/>
                  <a:pt x="2088" y="518"/>
                  <a:pt x="2086" y="521"/>
                </a:cubicBezTo>
                <a:cubicBezTo>
                  <a:pt x="2086" y="519"/>
                  <a:pt x="2087" y="518"/>
                  <a:pt x="2087" y="516"/>
                </a:cubicBezTo>
                <a:cubicBezTo>
                  <a:pt x="2087" y="515"/>
                  <a:pt x="2086" y="515"/>
                  <a:pt x="2086" y="514"/>
                </a:cubicBezTo>
                <a:cubicBezTo>
                  <a:pt x="2086" y="515"/>
                  <a:pt x="2085" y="515"/>
                  <a:pt x="2085" y="515"/>
                </a:cubicBezTo>
                <a:cubicBezTo>
                  <a:pt x="2084" y="516"/>
                  <a:pt x="2083" y="518"/>
                  <a:pt x="2083" y="519"/>
                </a:cubicBezTo>
                <a:cubicBezTo>
                  <a:pt x="2082" y="519"/>
                  <a:pt x="2082" y="519"/>
                  <a:pt x="2082" y="519"/>
                </a:cubicBezTo>
                <a:cubicBezTo>
                  <a:pt x="2083" y="518"/>
                  <a:pt x="2083" y="516"/>
                  <a:pt x="2083" y="514"/>
                </a:cubicBezTo>
                <a:cubicBezTo>
                  <a:pt x="2082" y="514"/>
                  <a:pt x="2082" y="515"/>
                  <a:pt x="2081" y="516"/>
                </a:cubicBezTo>
                <a:cubicBezTo>
                  <a:pt x="2081" y="516"/>
                  <a:pt x="2080" y="517"/>
                  <a:pt x="2080" y="518"/>
                </a:cubicBezTo>
                <a:cubicBezTo>
                  <a:pt x="2080" y="514"/>
                  <a:pt x="2081" y="514"/>
                  <a:pt x="2086" y="513"/>
                </a:cubicBezTo>
                <a:cubicBezTo>
                  <a:pt x="2086" y="512"/>
                  <a:pt x="2085" y="512"/>
                  <a:pt x="2085" y="512"/>
                </a:cubicBezTo>
                <a:cubicBezTo>
                  <a:pt x="2083" y="512"/>
                  <a:pt x="2082" y="511"/>
                  <a:pt x="2081" y="508"/>
                </a:cubicBezTo>
                <a:cubicBezTo>
                  <a:pt x="2083" y="508"/>
                  <a:pt x="2085" y="508"/>
                  <a:pt x="2086" y="507"/>
                </a:cubicBezTo>
                <a:cubicBezTo>
                  <a:pt x="2085" y="505"/>
                  <a:pt x="2083" y="502"/>
                  <a:pt x="2080" y="502"/>
                </a:cubicBezTo>
                <a:cubicBezTo>
                  <a:pt x="2079" y="502"/>
                  <a:pt x="2079" y="501"/>
                  <a:pt x="2079" y="501"/>
                </a:cubicBezTo>
                <a:cubicBezTo>
                  <a:pt x="2077" y="499"/>
                  <a:pt x="2074" y="497"/>
                  <a:pt x="2072" y="495"/>
                </a:cubicBezTo>
                <a:cubicBezTo>
                  <a:pt x="2069" y="493"/>
                  <a:pt x="2066" y="493"/>
                  <a:pt x="2064" y="493"/>
                </a:cubicBezTo>
                <a:cubicBezTo>
                  <a:pt x="2061" y="493"/>
                  <a:pt x="2058" y="494"/>
                  <a:pt x="2055" y="495"/>
                </a:cubicBezTo>
                <a:cubicBezTo>
                  <a:pt x="2052" y="496"/>
                  <a:pt x="2049" y="498"/>
                  <a:pt x="2048" y="501"/>
                </a:cubicBezTo>
                <a:cubicBezTo>
                  <a:pt x="2049" y="501"/>
                  <a:pt x="2050" y="501"/>
                  <a:pt x="2052" y="501"/>
                </a:cubicBezTo>
                <a:cubicBezTo>
                  <a:pt x="2051" y="501"/>
                  <a:pt x="2050" y="502"/>
                  <a:pt x="2050" y="502"/>
                </a:cubicBezTo>
                <a:cubicBezTo>
                  <a:pt x="2047" y="502"/>
                  <a:pt x="2045" y="502"/>
                  <a:pt x="2043" y="504"/>
                </a:cubicBezTo>
                <a:cubicBezTo>
                  <a:pt x="2039" y="508"/>
                  <a:pt x="2035" y="512"/>
                  <a:pt x="2032" y="516"/>
                </a:cubicBezTo>
                <a:cubicBezTo>
                  <a:pt x="2030" y="518"/>
                  <a:pt x="2029" y="520"/>
                  <a:pt x="2028" y="523"/>
                </a:cubicBezTo>
                <a:cubicBezTo>
                  <a:pt x="2028" y="523"/>
                  <a:pt x="2028" y="524"/>
                  <a:pt x="2028" y="524"/>
                </a:cubicBezTo>
                <a:cubicBezTo>
                  <a:pt x="2030" y="526"/>
                  <a:pt x="2031" y="528"/>
                  <a:pt x="2032" y="530"/>
                </a:cubicBezTo>
                <a:cubicBezTo>
                  <a:pt x="2034" y="529"/>
                  <a:pt x="2035" y="527"/>
                  <a:pt x="2036" y="526"/>
                </a:cubicBezTo>
                <a:cubicBezTo>
                  <a:pt x="2035" y="527"/>
                  <a:pt x="2035" y="528"/>
                  <a:pt x="2034" y="530"/>
                </a:cubicBezTo>
                <a:cubicBezTo>
                  <a:pt x="2034" y="531"/>
                  <a:pt x="2033" y="532"/>
                  <a:pt x="2032" y="534"/>
                </a:cubicBezTo>
                <a:cubicBezTo>
                  <a:pt x="2032" y="535"/>
                  <a:pt x="2032" y="536"/>
                  <a:pt x="2033" y="537"/>
                </a:cubicBezTo>
                <a:cubicBezTo>
                  <a:pt x="2035" y="540"/>
                  <a:pt x="2038" y="540"/>
                  <a:pt x="2042" y="538"/>
                </a:cubicBezTo>
                <a:cubicBezTo>
                  <a:pt x="2045" y="537"/>
                  <a:pt x="2047" y="535"/>
                  <a:pt x="2050" y="535"/>
                </a:cubicBezTo>
                <a:cubicBezTo>
                  <a:pt x="2052" y="534"/>
                  <a:pt x="2053" y="533"/>
                  <a:pt x="2053" y="532"/>
                </a:cubicBezTo>
                <a:cubicBezTo>
                  <a:pt x="2053" y="529"/>
                  <a:pt x="2053" y="525"/>
                  <a:pt x="2053" y="522"/>
                </a:cubicBezTo>
                <a:cubicBezTo>
                  <a:pt x="2053" y="519"/>
                  <a:pt x="2053" y="516"/>
                  <a:pt x="2053" y="513"/>
                </a:cubicBezTo>
                <a:cubicBezTo>
                  <a:pt x="2054" y="516"/>
                  <a:pt x="2054" y="518"/>
                  <a:pt x="2054" y="521"/>
                </a:cubicBezTo>
                <a:cubicBezTo>
                  <a:pt x="2055" y="525"/>
                  <a:pt x="2055" y="530"/>
                  <a:pt x="2054" y="534"/>
                </a:cubicBezTo>
                <a:cubicBezTo>
                  <a:pt x="2054" y="535"/>
                  <a:pt x="2053" y="536"/>
                  <a:pt x="2052" y="536"/>
                </a:cubicBezTo>
                <a:cubicBezTo>
                  <a:pt x="2049" y="536"/>
                  <a:pt x="2046" y="538"/>
                  <a:pt x="2043" y="540"/>
                </a:cubicBezTo>
                <a:cubicBezTo>
                  <a:pt x="2037" y="543"/>
                  <a:pt x="2034" y="541"/>
                  <a:pt x="2030" y="537"/>
                </a:cubicBezTo>
                <a:cubicBezTo>
                  <a:pt x="2030" y="537"/>
                  <a:pt x="2030" y="535"/>
                  <a:pt x="2030" y="535"/>
                </a:cubicBezTo>
                <a:cubicBezTo>
                  <a:pt x="2032" y="533"/>
                  <a:pt x="2030" y="531"/>
                  <a:pt x="2029" y="529"/>
                </a:cubicBezTo>
                <a:cubicBezTo>
                  <a:pt x="2027" y="527"/>
                  <a:pt x="2026" y="524"/>
                  <a:pt x="2027" y="521"/>
                </a:cubicBezTo>
                <a:cubicBezTo>
                  <a:pt x="2027" y="519"/>
                  <a:pt x="2028" y="518"/>
                  <a:pt x="2030" y="516"/>
                </a:cubicBezTo>
                <a:cubicBezTo>
                  <a:pt x="2031" y="514"/>
                  <a:pt x="2034" y="511"/>
                  <a:pt x="2035" y="508"/>
                </a:cubicBezTo>
                <a:cubicBezTo>
                  <a:pt x="2035" y="508"/>
                  <a:pt x="2034" y="508"/>
                  <a:pt x="2034" y="508"/>
                </a:cubicBezTo>
                <a:cubicBezTo>
                  <a:pt x="2029" y="510"/>
                  <a:pt x="2025" y="511"/>
                  <a:pt x="2021" y="514"/>
                </a:cubicBezTo>
                <a:cubicBezTo>
                  <a:pt x="2016" y="519"/>
                  <a:pt x="2014" y="524"/>
                  <a:pt x="2013" y="531"/>
                </a:cubicBezTo>
                <a:cubicBezTo>
                  <a:pt x="2013" y="537"/>
                  <a:pt x="2015" y="543"/>
                  <a:pt x="2019" y="549"/>
                </a:cubicBezTo>
                <a:cubicBezTo>
                  <a:pt x="2019" y="550"/>
                  <a:pt x="2020" y="552"/>
                  <a:pt x="2019" y="553"/>
                </a:cubicBezTo>
                <a:cubicBezTo>
                  <a:pt x="2019" y="554"/>
                  <a:pt x="2019" y="556"/>
                  <a:pt x="2018" y="557"/>
                </a:cubicBezTo>
                <a:cubicBezTo>
                  <a:pt x="2018" y="559"/>
                  <a:pt x="2018" y="560"/>
                  <a:pt x="2019" y="560"/>
                </a:cubicBezTo>
                <a:cubicBezTo>
                  <a:pt x="2023" y="561"/>
                  <a:pt x="2025" y="561"/>
                  <a:pt x="2028" y="562"/>
                </a:cubicBezTo>
                <a:cubicBezTo>
                  <a:pt x="2029" y="562"/>
                  <a:pt x="2030" y="561"/>
                  <a:pt x="2030" y="561"/>
                </a:cubicBezTo>
                <a:cubicBezTo>
                  <a:pt x="2030" y="559"/>
                  <a:pt x="2030" y="558"/>
                  <a:pt x="2031" y="557"/>
                </a:cubicBezTo>
                <a:cubicBezTo>
                  <a:pt x="2033" y="555"/>
                  <a:pt x="2033" y="552"/>
                  <a:pt x="2033" y="549"/>
                </a:cubicBezTo>
                <a:cubicBezTo>
                  <a:pt x="2033" y="549"/>
                  <a:pt x="2033" y="548"/>
                  <a:pt x="2033" y="548"/>
                </a:cubicBezTo>
                <a:cubicBezTo>
                  <a:pt x="2033" y="548"/>
                  <a:pt x="2033" y="548"/>
                  <a:pt x="2033" y="547"/>
                </a:cubicBezTo>
                <a:cubicBezTo>
                  <a:pt x="2033" y="550"/>
                  <a:pt x="2035" y="550"/>
                  <a:pt x="2037" y="550"/>
                </a:cubicBezTo>
                <a:cubicBezTo>
                  <a:pt x="2037" y="550"/>
                  <a:pt x="2039" y="550"/>
                  <a:pt x="2039" y="550"/>
                </a:cubicBezTo>
                <a:cubicBezTo>
                  <a:pt x="2042" y="550"/>
                  <a:pt x="2045" y="551"/>
                  <a:pt x="2046" y="546"/>
                </a:cubicBezTo>
                <a:cubicBezTo>
                  <a:pt x="2046" y="549"/>
                  <a:pt x="2046" y="550"/>
                  <a:pt x="2046" y="551"/>
                </a:cubicBezTo>
                <a:cubicBezTo>
                  <a:pt x="2044" y="552"/>
                  <a:pt x="2043" y="553"/>
                  <a:pt x="2042" y="553"/>
                </a:cubicBezTo>
                <a:cubicBezTo>
                  <a:pt x="2040" y="554"/>
                  <a:pt x="2040" y="556"/>
                  <a:pt x="2041" y="556"/>
                </a:cubicBezTo>
                <a:cubicBezTo>
                  <a:pt x="2042" y="559"/>
                  <a:pt x="2043" y="561"/>
                  <a:pt x="2045" y="563"/>
                </a:cubicBezTo>
                <a:cubicBezTo>
                  <a:pt x="2046" y="564"/>
                  <a:pt x="2048" y="563"/>
                  <a:pt x="2050" y="562"/>
                </a:cubicBezTo>
                <a:cubicBezTo>
                  <a:pt x="2050" y="561"/>
                  <a:pt x="2051" y="560"/>
                  <a:pt x="2052" y="560"/>
                </a:cubicBezTo>
                <a:cubicBezTo>
                  <a:pt x="2053" y="558"/>
                  <a:pt x="2055" y="557"/>
                  <a:pt x="2056" y="556"/>
                </a:cubicBezTo>
                <a:cubicBezTo>
                  <a:pt x="2061" y="552"/>
                  <a:pt x="2063" y="546"/>
                  <a:pt x="2064" y="540"/>
                </a:cubicBezTo>
                <a:cubicBezTo>
                  <a:pt x="2064" y="539"/>
                  <a:pt x="2063" y="538"/>
                  <a:pt x="2063" y="538"/>
                </a:cubicBezTo>
                <a:cubicBezTo>
                  <a:pt x="2062" y="537"/>
                  <a:pt x="2061" y="536"/>
                  <a:pt x="2060" y="535"/>
                </a:cubicBezTo>
                <a:close/>
                <a:moveTo>
                  <a:pt x="2013" y="542"/>
                </a:moveTo>
                <a:cubicBezTo>
                  <a:pt x="2012" y="542"/>
                  <a:pt x="2010" y="543"/>
                  <a:pt x="2009" y="544"/>
                </a:cubicBezTo>
                <a:cubicBezTo>
                  <a:pt x="2009" y="545"/>
                  <a:pt x="2008" y="546"/>
                  <a:pt x="2008" y="546"/>
                </a:cubicBezTo>
                <a:cubicBezTo>
                  <a:pt x="2008" y="549"/>
                  <a:pt x="2013" y="554"/>
                  <a:pt x="2016" y="553"/>
                </a:cubicBezTo>
                <a:cubicBezTo>
                  <a:pt x="2017" y="553"/>
                  <a:pt x="2018" y="552"/>
                  <a:pt x="2017" y="550"/>
                </a:cubicBezTo>
                <a:cubicBezTo>
                  <a:pt x="2016" y="547"/>
                  <a:pt x="2014" y="544"/>
                  <a:pt x="2013" y="542"/>
                </a:cubicBezTo>
                <a:close/>
                <a:moveTo>
                  <a:pt x="2065" y="544"/>
                </a:moveTo>
                <a:cubicBezTo>
                  <a:pt x="2063" y="548"/>
                  <a:pt x="2061" y="553"/>
                  <a:pt x="2058" y="557"/>
                </a:cubicBezTo>
                <a:cubicBezTo>
                  <a:pt x="2061" y="557"/>
                  <a:pt x="2063" y="557"/>
                  <a:pt x="2066" y="557"/>
                </a:cubicBezTo>
                <a:cubicBezTo>
                  <a:pt x="2066" y="557"/>
                  <a:pt x="2067" y="556"/>
                  <a:pt x="2067" y="556"/>
                </a:cubicBezTo>
                <a:cubicBezTo>
                  <a:pt x="2067" y="553"/>
                  <a:pt x="2067" y="550"/>
                  <a:pt x="2066" y="548"/>
                </a:cubicBezTo>
                <a:cubicBezTo>
                  <a:pt x="2066" y="546"/>
                  <a:pt x="2066" y="545"/>
                  <a:pt x="2065" y="544"/>
                </a:cubicBezTo>
                <a:close/>
                <a:moveTo>
                  <a:pt x="2013" y="523"/>
                </a:moveTo>
                <a:cubicBezTo>
                  <a:pt x="2012" y="524"/>
                  <a:pt x="2011" y="524"/>
                  <a:pt x="2011" y="524"/>
                </a:cubicBezTo>
                <a:cubicBezTo>
                  <a:pt x="2010" y="524"/>
                  <a:pt x="2009" y="524"/>
                  <a:pt x="2009" y="524"/>
                </a:cubicBezTo>
                <a:cubicBezTo>
                  <a:pt x="2009" y="523"/>
                  <a:pt x="2008" y="523"/>
                  <a:pt x="2008" y="522"/>
                </a:cubicBezTo>
                <a:cubicBezTo>
                  <a:pt x="2009" y="520"/>
                  <a:pt x="2010" y="518"/>
                  <a:pt x="2010" y="516"/>
                </a:cubicBezTo>
                <a:cubicBezTo>
                  <a:pt x="2010" y="516"/>
                  <a:pt x="2010" y="516"/>
                  <a:pt x="2010" y="516"/>
                </a:cubicBezTo>
                <a:cubicBezTo>
                  <a:pt x="2009" y="517"/>
                  <a:pt x="2008" y="518"/>
                  <a:pt x="2007" y="519"/>
                </a:cubicBezTo>
                <a:cubicBezTo>
                  <a:pt x="2006" y="520"/>
                  <a:pt x="2008" y="525"/>
                  <a:pt x="2009" y="526"/>
                </a:cubicBezTo>
                <a:cubicBezTo>
                  <a:pt x="2011" y="527"/>
                  <a:pt x="2013" y="525"/>
                  <a:pt x="2013" y="523"/>
                </a:cubicBezTo>
                <a:close/>
                <a:moveTo>
                  <a:pt x="2013" y="542"/>
                </a:moveTo>
                <a:cubicBezTo>
                  <a:pt x="2012" y="543"/>
                  <a:pt x="2010" y="543"/>
                  <a:pt x="2009" y="544"/>
                </a:cubicBezTo>
                <a:cubicBezTo>
                  <a:pt x="2009" y="545"/>
                  <a:pt x="2008" y="546"/>
                  <a:pt x="2008" y="546"/>
                </a:cubicBezTo>
                <a:cubicBezTo>
                  <a:pt x="2008" y="549"/>
                  <a:pt x="2013" y="553"/>
                  <a:pt x="2016" y="553"/>
                </a:cubicBezTo>
                <a:cubicBezTo>
                  <a:pt x="2017" y="553"/>
                  <a:pt x="2018" y="552"/>
                  <a:pt x="2017" y="550"/>
                </a:cubicBezTo>
                <a:cubicBezTo>
                  <a:pt x="2016" y="547"/>
                  <a:pt x="2014" y="544"/>
                  <a:pt x="2013" y="542"/>
                </a:cubicBezTo>
                <a:close/>
                <a:moveTo>
                  <a:pt x="2065" y="544"/>
                </a:moveTo>
                <a:cubicBezTo>
                  <a:pt x="2063" y="548"/>
                  <a:pt x="2060" y="553"/>
                  <a:pt x="2058" y="557"/>
                </a:cubicBezTo>
                <a:cubicBezTo>
                  <a:pt x="2061" y="557"/>
                  <a:pt x="2063" y="558"/>
                  <a:pt x="2066" y="557"/>
                </a:cubicBezTo>
                <a:cubicBezTo>
                  <a:pt x="2066" y="557"/>
                  <a:pt x="2067" y="556"/>
                  <a:pt x="2067" y="556"/>
                </a:cubicBezTo>
                <a:cubicBezTo>
                  <a:pt x="2067" y="553"/>
                  <a:pt x="2067" y="550"/>
                  <a:pt x="2066" y="548"/>
                </a:cubicBezTo>
                <a:cubicBezTo>
                  <a:pt x="2066" y="547"/>
                  <a:pt x="2066" y="545"/>
                  <a:pt x="2065" y="544"/>
                </a:cubicBezTo>
                <a:close/>
                <a:moveTo>
                  <a:pt x="2012" y="523"/>
                </a:moveTo>
                <a:cubicBezTo>
                  <a:pt x="2012" y="524"/>
                  <a:pt x="2011" y="524"/>
                  <a:pt x="2011" y="524"/>
                </a:cubicBezTo>
                <a:cubicBezTo>
                  <a:pt x="2010" y="524"/>
                  <a:pt x="2009" y="524"/>
                  <a:pt x="2009" y="524"/>
                </a:cubicBezTo>
                <a:cubicBezTo>
                  <a:pt x="2009" y="523"/>
                  <a:pt x="2008" y="523"/>
                  <a:pt x="2008" y="522"/>
                </a:cubicBezTo>
                <a:cubicBezTo>
                  <a:pt x="2009" y="520"/>
                  <a:pt x="2009" y="518"/>
                  <a:pt x="2010" y="516"/>
                </a:cubicBezTo>
                <a:cubicBezTo>
                  <a:pt x="2010" y="516"/>
                  <a:pt x="2010" y="516"/>
                  <a:pt x="2009" y="516"/>
                </a:cubicBezTo>
                <a:cubicBezTo>
                  <a:pt x="2009" y="517"/>
                  <a:pt x="2007" y="517"/>
                  <a:pt x="2007" y="519"/>
                </a:cubicBezTo>
                <a:cubicBezTo>
                  <a:pt x="2006" y="520"/>
                  <a:pt x="2007" y="525"/>
                  <a:pt x="2009" y="526"/>
                </a:cubicBezTo>
                <a:cubicBezTo>
                  <a:pt x="2011" y="526"/>
                  <a:pt x="2012" y="525"/>
                  <a:pt x="2012" y="523"/>
                </a:cubicBezTo>
                <a:close/>
                <a:moveTo>
                  <a:pt x="2065" y="515"/>
                </a:moveTo>
                <a:cubicBezTo>
                  <a:pt x="2068" y="512"/>
                  <a:pt x="2068" y="512"/>
                  <a:pt x="2072" y="511"/>
                </a:cubicBezTo>
                <a:cubicBezTo>
                  <a:pt x="2072" y="512"/>
                  <a:pt x="2073" y="514"/>
                  <a:pt x="2074" y="514"/>
                </a:cubicBezTo>
                <a:cubicBezTo>
                  <a:pt x="2072" y="515"/>
                  <a:pt x="2070" y="516"/>
                  <a:pt x="2068" y="517"/>
                </a:cubicBezTo>
                <a:cubicBezTo>
                  <a:pt x="2068" y="517"/>
                  <a:pt x="2067" y="516"/>
                  <a:pt x="2066" y="515"/>
                </a:cubicBezTo>
                <a:cubicBezTo>
                  <a:pt x="2066" y="515"/>
                  <a:pt x="2066" y="515"/>
                  <a:pt x="2065" y="515"/>
                </a:cubicBezTo>
                <a:close/>
                <a:moveTo>
                  <a:pt x="2071" y="515"/>
                </a:moveTo>
                <a:cubicBezTo>
                  <a:pt x="2070" y="514"/>
                  <a:pt x="2069" y="514"/>
                  <a:pt x="2069" y="514"/>
                </a:cubicBezTo>
                <a:cubicBezTo>
                  <a:pt x="2068" y="514"/>
                  <a:pt x="2068" y="515"/>
                  <a:pt x="2068" y="515"/>
                </a:cubicBezTo>
                <a:cubicBezTo>
                  <a:pt x="2068" y="515"/>
                  <a:pt x="2068" y="516"/>
                  <a:pt x="2068" y="516"/>
                </a:cubicBezTo>
                <a:cubicBezTo>
                  <a:pt x="2069" y="516"/>
                  <a:pt x="2069" y="515"/>
                  <a:pt x="2071" y="515"/>
                </a:cubicBezTo>
                <a:close/>
                <a:moveTo>
                  <a:pt x="2052" y="505"/>
                </a:moveTo>
                <a:cubicBezTo>
                  <a:pt x="2045" y="504"/>
                  <a:pt x="2042" y="507"/>
                  <a:pt x="2041" y="515"/>
                </a:cubicBezTo>
                <a:cubicBezTo>
                  <a:pt x="2042" y="513"/>
                  <a:pt x="2044" y="510"/>
                  <a:pt x="2045" y="508"/>
                </a:cubicBezTo>
                <a:cubicBezTo>
                  <a:pt x="2045" y="508"/>
                  <a:pt x="2045" y="508"/>
                  <a:pt x="2045" y="508"/>
                </a:cubicBezTo>
                <a:cubicBezTo>
                  <a:pt x="2045" y="509"/>
                  <a:pt x="2046" y="510"/>
                  <a:pt x="2046" y="511"/>
                </a:cubicBezTo>
                <a:cubicBezTo>
                  <a:pt x="2047" y="508"/>
                  <a:pt x="2048" y="506"/>
                  <a:pt x="2052" y="505"/>
                </a:cubicBezTo>
                <a:close/>
                <a:moveTo>
                  <a:pt x="2096" y="507"/>
                </a:moveTo>
                <a:cubicBezTo>
                  <a:pt x="2094" y="508"/>
                  <a:pt x="2092" y="510"/>
                  <a:pt x="2090" y="511"/>
                </a:cubicBezTo>
                <a:cubicBezTo>
                  <a:pt x="2092" y="511"/>
                  <a:pt x="2094" y="510"/>
                  <a:pt x="2096" y="507"/>
                </a:cubicBezTo>
                <a:close/>
                <a:moveTo>
                  <a:pt x="2062" y="509"/>
                </a:moveTo>
                <a:cubicBezTo>
                  <a:pt x="2063" y="508"/>
                  <a:pt x="2064" y="506"/>
                  <a:pt x="2066" y="505"/>
                </a:cubicBezTo>
                <a:cubicBezTo>
                  <a:pt x="2062" y="506"/>
                  <a:pt x="2061" y="507"/>
                  <a:pt x="2062" y="509"/>
                </a:cubicBezTo>
                <a:close/>
                <a:moveTo>
                  <a:pt x="2072" y="530"/>
                </a:moveTo>
                <a:cubicBezTo>
                  <a:pt x="2070" y="531"/>
                  <a:pt x="2070" y="531"/>
                  <a:pt x="2070" y="532"/>
                </a:cubicBezTo>
                <a:cubicBezTo>
                  <a:pt x="2070" y="532"/>
                  <a:pt x="2071" y="531"/>
                  <a:pt x="2072" y="530"/>
                </a:cubicBezTo>
                <a:close/>
                <a:moveTo>
                  <a:pt x="2071" y="515"/>
                </a:moveTo>
                <a:cubicBezTo>
                  <a:pt x="2070" y="514"/>
                  <a:pt x="2069" y="514"/>
                  <a:pt x="2069" y="514"/>
                </a:cubicBezTo>
                <a:cubicBezTo>
                  <a:pt x="2068" y="514"/>
                  <a:pt x="2068" y="515"/>
                  <a:pt x="2068" y="515"/>
                </a:cubicBezTo>
                <a:cubicBezTo>
                  <a:pt x="2068" y="516"/>
                  <a:pt x="2068" y="516"/>
                  <a:pt x="2068" y="516"/>
                </a:cubicBezTo>
                <a:cubicBezTo>
                  <a:pt x="2069" y="516"/>
                  <a:pt x="2069" y="516"/>
                  <a:pt x="2071" y="515"/>
                </a:cubicBezTo>
                <a:close/>
                <a:moveTo>
                  <a:pt x="3705" y="671"/>
                </a:moveTo>
                <a:cubicBezTo>
                  <a:pt x="3708" y="652"/>
                  <a:pt x="3708" y="652"/>
                  <a:pt x="3708" y="652"/>
                </a:cubicBezTo>
                <a:cubicBezTo>
                  <a:pt x="3699" y="652"/>
                  <a:pt x="3699" y="652"/>
                  <a:pt x="3699" y="652"/>
                </a:cubicBezTo>
                <a:cubicBezTo>
                  <a:pt x="3699" y="640"/>
                  <a:pt x="3699" y="640"/>
                  <a:pt x="3699" y="640"/>
                </a:cubicBezTo>
                <a:cubicBezTo>
                  <a:pt x="3710" y="640"/>
                  <a:pt x="3710" y="640"/>
                  <a:pt x="3710" y="640"/>
                </a:cubicBezTo>
                <a:cubicBezTo>
                  <a:pt x="3712" y="629"/>
                  <a:pt x="3712" y="629"/>
                  <a:pt x="3712" y="629"/>
                </a:cubicBezTo>
                <a:cubicBezTo>
                  <a:pt x="3702" y="629"/>
                  <a:pt x="3702" y="629"/>
                  <a:pt x="3702" y="629"/>
                </a:cubicBezTo>
                <a:cubicBezTo>
                  <a:pt x="3702" y="617"/>
                  <a:pt x="3702" y="617"/>
                  <a:pt x="3702" y="617"/>
                </a:cubicBezTo>
                <a:cubicBezTo>
                  <a:pt x="3713" y="617"/>
                  <a:pt x="3713" y="617"/>
                  <a:pt x="3713" y="617"/>
                </a:cubicBezTo>
                <a:cubicBezTo>
                  <a:pt x="3716" y="598"/>
                  <a:pt x="3716" y="598"/>
                  <a:pt x="3716" y="598"/>
                </a:cubicBezTo>
                <a:cubicBezTo>
                  <a:pt x="3728" y="598"/>
                  <a:pt x="3728" y="598"/>
                  <a:pt x="3728" y="598"/>
                </a:cubicBezTo>
                <a:cubicBezTo>
                  <a:pt x="3725" y="617"/>
                  <a:pt x="3725" y="617"/>
                  <a:pt x="3725" y="617"/>
                </a:cubicBezTo>
                <a:cubicBezTo>
                  <a:pt x="3734" y="617"/>
                  <a:pt x="3734" y="617"/>
                  <a:pt x="3734" y="617"/>
                </a:cubicBezTo>
                <a:cubicBezTo>
                  <a:pt x="3737" y="598"/>
                  <a:pt x="3737" y="598"/>
                  <a:pt x="3737" y="598"/>
                </a:cubicBezTo>
                <a:cubicBezTo>
                  <a:pt x="3749" y="598"/>
                  <a:pt x="3749" y="598"/>
                  <a:pt x="3749" y="598"/>
                </a:cubicBezTo>
                <a:cubicBezTo>
                  <a:pt x="3745" y="617"/>
                  <a:pt x="3745" y="617"/>
                  <a:pt x="3745" y="617"/>
                </a:cubicBezTo>
                <a:cubicBezTo>
                  <a:pt x="3754" y="617"/>
                  <a:pt x="3754" y="617"/>
                  <a:pt x="3754" y="617"/>
                </a:cubicBezTo>
                <a:cubicBezTo>
                  <a:pt x="3754" y="629"/>
                  <a:pt x="3754" y="629"/>
                  <a:pt x="3754" y="629"/>
                </a:cubicBezTo>
                <a:cubicBezTo>
                  <a:pt x="3744" y="629"/>
                  <a:pt x="3744" y="629"/>
                  <a:pt x="3744" y="629"/>
                </a:cubicBezTo>
                <a:cubicBezTo>
                  <a:pt x="3742" y="640"/>
                  <a:pt x="3742" y="640"/>
                  <a:pt x="3742" y="640"/>
                </a:cubicBezTo>
                <a:cubicBezTo>
                  <a:pt x="3751" y="640"/>
                  <a:pt x="3751" y="640"/>
                  <a:pt x="3751" y="640"/>
                </a:cubicBezTo>
                <a:cubicBezTo>
                  <a:pt x="3751" y="652"/>
                  <a:pt x="3751" y="652"/>
                  <a:pt x="3751" y="652"/>
                </a:cubicBezTo>
                <a:cubicBezTo>
                  <a:pt x="3740" y="652"/>
                  <a:pt x="3740" y="652"/>
                  <a:pt x="3740" y="652"/>
                </a:cubicBezTo>
                <a:cubicBezTo>
                  <a:pt x="3738" y="671"/>
                  <a:pt x="3738" y="671"/>
                  <a:pt x="3738" y="671"/>
                </a:cubicBezTo>
                <a:cubicBezTo>
                  <a:pt x="3726" y="671"/>
                  <a:pt x="3726" y="671"/>
                  <a:pt x="3726" y="671"/>
                </a:cubicBezTo>
                <a:cubicBezTo>
                  <a:pt x="3729" y="652"/>
                  <a:pt x="3729" y="652"/>
                  <a:pt x="3729" y="652"/>
                </a:cubicBezTo>
                <a:cubicBezTo>
                  <a:pt x="3719" y="652"/>
                  <a:pt x="3719" y="652"/>
                  <a:pt x="3719" y="652"/>
                </a:cubicBezTo>
                <a:cubicBezTo>
                  <a:pt x="3716" y="671"/>
                  <a:pt x="3716" y="671"/>
                  <a:pt x="3716" y="671"/>
                </a:cubicBezTo>
                <a:cubicBezTo>
                  <a:pt x="3705" y="671"/>
                  <a:pt x="3705" y="671"/>
                  <a:pt x="3705" y="671"/>
                </a:cubicBezTo>
                <a:cubicBezTo>
                  <a:pt x="3705" y="671"/>
                  <a:pt x="3705" y="671"/>
                  <a:pt x="3705" y="671"/>
                </a:cubicBezTo>
                <a:close/>
                <a:moveTo>
                  <a:pt x="3731" y="640"/>
                </a:moveTo>
                <a:cubicBezTo>
                  <a:pt x="3732" y="629"/>
                  <a:pt x="3732" y="629"/>
                  <a:pt x="3732" y="629"/>
                </a:cubicBezTo>
                <a:cubicBezTo>
                  <a:pt x="3723" y="629"/>
                  <a:pt x="3723" y="629"/>
                  <a:pt x="3723" y="629"/>
                </a:cubicBezTo>
                <a:cubicBezTo>
                  <a:pt x="3721" y="640"/>
                  <a:pt x="3721" y="640"/>
                  <a:pt x="3721" y="640"/>
                </a:cubicBezTo>
                <a:cubicBezTo>
                  <a:pt x="3731" y="640"/>
                  <a:pt x="3731" y="640"/>
                  <a:pt x="3731" y="640"/>
                </a:cubicBezTo>
                <a:cubicBezTo>
                  <a:pt x="3731" y="640"/>
                  <a:pt x="3731" y="640"/>
                  <a:pt x="3731" y="640"/>
                </a:cubicBezTo>
                <a:close/>
                <a:moveTo>
                  <a:pt x="2590" y="645"/>
                </a:moveTo>
                <a:cubicBezTo>
                  <a:pt x="2590" y="646"/>
                  <a:pt x="2591" y="648"/>
                  <a:pt x="2592" y="649"/>
                </a:cubicBezTo>
                <a:cubicBezTo>
                  <a:pt x="2592" y="651"/>
                  <a:pt x="2592" y="653"/>
                  <a:pt x="2593" y="654"/>
                </a:cubicBezTo>
                <a:cubicBezTo>
                  <a:pt x="2593" y="656"/>
                  <a:pt x="2593" y="657"/>
                  <a:pt x="2593" y="659"/>
                </a:cubicBezTo>
                <a:cubicBezTo>
                  <a:pt x="2594" y="662"/>
                  <a:pt x="2593" y="664"/>
                  <a:pt x="2590" y="664"/>
                </a:cubicBezTo>
                <a:cubicBezTo>
                  <a:pt x="2587" y="664"/>
                  <a:pt x="2584" y="663"/>
                  <a:pt x="2581" y="663"/>
                </a:cubicBezTo>
                <a:cubicBezTo>
                  <a:pt x="2581" y="663"/>
                  <a:pt x="2580" y="663"/>
                  <a:pt x="2580" y="664"/>
                </a:cubicBezTo>
                <a:cubicBezTo>
                  <a:pt x="2578" y="665"/>
                  <a:pt x="2577" y="667"/>
                  <a:pt x="2575" y="668"/>
                </a:cubicBezTo>
                <a:cubicBezTo>
                  <a:pt x="2573" y="671"/>
                  <a:pt x="2570" y="671"/>
                  <a:pt x="2568" y="669"/>
                </a:cubicBezTo>
                <a:cubicBezTo>
                  <a:pt x="2566" y="667"/>
                  <a:pt x="2565" y="664"/>
                  <a:pt x="2563" y="661"/>
                </a:cubicBezTo>
                <a:cubicBezTo>
                  <a:pt x="2562" y="660"/>
                  <a:pt x="2563" y="658"/>
                  <a:pt x="2565" y="657"/>
                </a:cubicBezTo>
                <a:cubicBezTo>
                  <a:pt x="2562" y="657"/>
                  <a:pt x="2561" y="657"/>
                  <a:pt x="2559" y="657"/>
                </a:cubicBezTo>
                <a:cubicBezTo>
                  <a:pt x="2559" y="659"/>
                  <a:pt x="2557" y="661"/>
                  <a:pt x="2557" y="663"/>
                </a:cubicBezTo>
                <a:cubicBezTo>
                  <a:pt x="2557" y="663"/>
                  <a:pt x="2556" y="664"/>
                  <a:pt x="2556" y="665"/>
                </a:cubicBezTo>
                <a:cubicBezTo>
                  <a:pt x="2556" y="668"/>
                  <a:pt x="2555" y="669"/>
                  <a:pt x="2552" y="669"/>
                </a:cubicBezTo>
                <a:cubicBezTo>
                  <a:pt x="2549" y="669"/>
                  <a:pt x="2546" y="668"/>
                  <a:pt x="2543" y="667"/>
                </a:cubicBezTo>
                <a:cubicBezTo>
                  <a:pt x="2541" y="666"/>
                  <a:pt x="2541" y="665"/>
                  <a:pt x="2541" y="663"/>
                </a:cubicBezTo>
                <a:cubicBezTo>
                  <a:pt x="2541" y="662"/>
                  <a:pt x="2541" y="661"/>
                  <a:pt x="2542" y="661"/>
                </a:cubicBezTo>
                <a:cubicBezTo>
                  <a:pt x="2539" y="660"/>
                  <a:pt x="2537" y="659"/>
                  <a:pt x="2535" y="657"/>
                </a:cubicBezTo>
                <a:cubicBezTo>
                  <a:pt x="2534" y="657"/>
                  <a:pt x="2533" y="655"/>
                  <a:pt x="2532" y="653"/>
                </a:cubicBezTo>
                <a:cubicBezTo>
                  <a:pt x="2531" y="651"/>
                  <a:pt x="2531" y="650"/>
                  <a:pt x="2533" y="648"/>
                </a:cubicBezTo>
                <a:cubicBezTo>
                  <a:pt x="2536" y="646"/>
                  <a:pt x="2537" y="643"/>
                  <a:pt x="2536" y="639"/>
                </a:cubicBezTo>
                <a:cubicBezTo>
                  <a:pt x="2536" y="637"/>
                  <a:pt x="2536" y="635"/>
                  <a:pt x="2536" y="633"/>
                </a:cubicBezTo>
                <a:cubicBezTo>
                  <a:pt x="2535" y="632"/>
                  <a:pt x="2533" y="632"/>
                  <a:pt x="2532" y="631"/>
                </a:cubicBezTo>
                <a:cubicBezTo>
                  <a:pt x="2531" y="629"/>
                  <a:pt x="2530" y="627"/>
                  <a:pt x="2530" y="625"/>
                </a:cubicBezTo>
                <a:cubicBezTo>
                  <a:pt x="2530" y="622"/>
                  <a:pt x="2533" y="619"/>
                  <a:pt x="2536" y="619"/>
                </a:cubicBezTo>
                <a:cubicBezTo>
                  <a:pt x="2537" y="619"/>
                  <a:pt x="2537" y="620"/>
                  <a:pt x="2537" y="621"/>
                </a:cubicBezTo>
                <a:cubicBezTo>
                  <a:pt x="2537" y="622"/>
                  <a:pt x="2537" y="623"/>
                  <a:pt x="2537" y="624"/>
                </a:cubicBezTo>
                <a:cubicBezTo>
                  <a:pt x="2537" y="624"/>
                  <a:pt x="2536" y="624"/>
                  <a:pt x="2536" y="624"/>
                </a:cubicBezTo>
                <a:cubicBezTo>
                  <a:pt x="2535" y="625"/>
                  <a:pt x="2535" y="626"/>
                  <a:pt x="2534" y="628"/>
                </a:cubicBezTo>
                <a:cubicBezTo>
                  <a:pt x="2535" y="628"/>
                  <a:pt x="2536" y="628"/>
                  <a:pt x="2537" y="627"/>
                </a:cubicBezTo>
                <a:cubicBezTo>
                  <a:pt x="2538" y="626"/>
                  <a:pt x="2539" y="625"/>
                  <a:pt x="2539" y="624"/>
                </a:cubicBezTo>
                <a:cubicBezTo>
                  <a:pt x="2544" y="617"/>
                  <a:pt x="2550" y="614"/>
                  <a:pt x="2557" y="612"/>
                </a:cubicBezTo>
                <a:cubicBezTo>
                  <a:pt x="2561" y="612"/>
                  <a:pt x="2564" y="610"/>
                  <a:pt x="2566" y="608"/>
                </a:cubicBezTo>
                <a:cubicBezTo>
                  <a:pt x="2566" y="607"/>
                  <a:pt x="2567" y="607"/>
                  <a:pt x="2567" y="607"/>
                </a:cubicBezTo>
                <a:cubicBezTo>
                  <a:pt x="2570" y="606"/>
                  <a:pt x="2572" y="604"/>
                  <a:pt x="2573" y="602"/>
                </a:cubicBezTo>
                <a:cubicBezTo>
                  <a:pt x="2581" y="595"/>
                  <a:pt x="2593" y="594"/>
                  <a:pt x="2601" y="601"/>
                </a:cubicBezTo>
                <a:cubicBezTo>
                  <a:pt x="2603" y="603"/>
                  <a:pt x="2606" y="605"/>
                  <a:pt x="2608" y="607"/>
                </a:cubicBezTo>
                <a:cubicBezTo>
                  <a:pt x="2610" y="608"/>
                  <a:pt x="2611" y="610"/>
                  <a:pt x="2612" y="612"/>
                </a:cubicBezTo>
                <a:cubicBezTo>
                  <a:pt x="2613" y="613"/>
                  <a:pt x="2613" y="613"/>
                  <a:pt x="2615" y="612"/>
                </a:cubicBezTo>
                <a:cubicBezTo>
                  <a:pt x="2615" y="612"/>
                  <a:pt x="2616" y="611"/>
                  <a:pt x="2617" y="610"/>
                </a:cubicBezTo>
                <a:cubicBezTo>
                  <a:pt x="2619" y="607"/>
                  <a:pt x="2622" y="607"/>
                  <a:pt x="2623" y="610"/>
                </a:cubicBezTo>
                <a:cubicBezTo>
                  <a:pt x="2624" y="614"/>
                  <a:pt x="2625" y="616"/>
                  <a:pt x="2626" y="619"/>
                </a:cubicBezTo>
                <a:cubicBezTo>
                  <a:pt x="2626" y="624"/>
                  <a:pt x="2626" y="628"/>
                  <a:pt x="2624" y="633"/>
                </a:cubicBezTo>
                <a:cubicBezTo>
                  <a:pt x="2622" y="639"/>
                  <a:pt x="2617" y="642"/>
                  <a:pt x="2611" y="642"/>
                </a:cubicBezTo>
                <a:cubicBezTo>
                  <a:pt x="2610" y="642"/>
                  <a:pt x="2610" y="642"/>
                  <a:pt x="2609" y="642"/>
                </a:cubicBezTo>
                <a:cubicBezTo>
                  <a:pt x="2606" y="642"/>
                  <a:pt x="2605" y="642"/>
                  <a:pt x="2604" y="645"/>
                </a:cubicBezTo>
                <a:cubicBezTo>
                  <a:pt x="2603" y="649"/>
                  <a:pt x="2597" y="651"/>
                  <a:pt x="2594" y="648"/>
                </a:cubicBezTo>
                <a:cubicBezTo>
                  <a:pt x="2593" y="646"/>
                  <a:pt x="2592" y="646"/>
                  <a:pt x="2591" y="644"/>
                </a:cubicBezTo>
                <a:cubicBezTo>
                  <a:pt x="2590" y="645"/>
                  <a:pt x="2590" y="645"/>
                  <a:pt x="2590" y="645"/>
                </a:cubicBezTo>
                <a:close/>
                <a:moveTo>
                  <a:pt x="2584" y="640"/>
                </a:moveTo>
                <a:cubicBezTo>
                  <a:pt x="2588" y="642"/>
                  <a:pt x="2592" y="643"/>
                  <a:pt x="2594" y="646"/>
                </a:cubicBezTo>
                <a:cubicBezTo>
                  <a:pt x="2596" y="648"/>
                  <a:pt x="2598" y="648"/>
                  <a:pt x="2600" y="648"/>
                </a:cubicBezTo>
                <a:cubicBezTo>
                  <a:pt x="2602" y="647"/>
                  <a:pt x="2604" y="645"/>
                  <a:pt x="2604" y="642"/>
                </a:cubicBezTo>
                <a:cubicBezTo>
                  <a:pt x="2604" y="642"/>
                  <a:pt x="2603" y="642"/>
                  <a:pt x="2603" y="642"/>
                </a:cubicBezTo>
                <a:cubicBezTo>
                  <a:pt x="2602" y="644"/>
                  <a:pt x="2601" y="645"/>
                  <a:pt x="2601" y="646"/>
                </a:cubicBezTo>
                <a:cubicBezTo>
                  <a:pt x="2599" y="647"/>
                  <a:pt x="2598" y="647"/>
                  <a:pt x="2597" y="646"/>
                </a:cubicBezTo>
                <a:cubicBezTo>
                  <a:pt x="2597" y="646"/>
                  <a:pt x="2596" y="645"/>
                  <a:pt x="2596" y="644"/>
                </a:cubicBezTo>
                <a:cubicBezTo>
                  <a:pt x="2596" y="642"/>
                  <a:pt x="2597" y="640"/>
                  <a:pt x="2597" y="638"/>
                </a:cubicBezTo>
                <a:cubicBezTo>
                  <a:pt x="2600" y="639"/>
                  <a:pt x="2603" y="640"/>
                  <a:pt x="2607" y="640"/>
                </a:cubicBezTo>
                <a:cubicBezTo>
                  <a:pt x="2614" y="642"/>
                  <a:pt x="2620" y="640"/>
                  <a:pt x="2623" y="631"/>
                </a:cubicBezTo>
                <a:cubicBezTo>
                  <a:pt x="2625" y="627"/>
                  <a:pt x="2624" y="622"/>
                  <a:pt x="2624" y="617"/>
                </a:cubicBezTo>
                <a:cubicBezTo>
                  <a:pt x="2623" y="615"/>
                  <a:pt x="2622" y="613"/>
                  <a:pt x="2622" y="611"/>
                </a:cubicBezTo>
                <a:cubicBezTo>
                  <a:pt x="2621" y="610"/>
                  <a:pt x="2620" y="609"/>
                  <a:pt x="2619" y="611"/>
                </a:cubicBezTo>
                <a:cubicBezTo>
                  <a:pt x="2617" y="612"/>
                  <a:pt x="2615" y="614"/>
                  <a:pt x="2613" y="615"/>
                </a:cubicBezTo>
                <a:cubicBezTo>
                  <a:pt x="2613" y="615"/>
                  <a:pt x="2612" y="616"/>
                  <a:pt x="2612" y="617"/>
                </a:cubicBezTo>
                <a:cubicBezTo>
                  <a:pt x="2613" y="620"/>
                  <a:pt x="2612" y="623"/>
                  <a:pt x="2611" y="627"/>
                </a:cubicBezTo>
                <a:cubicBezTo>
                  <a:pt x="2611" y="625"/>
                  <a:pt x="2612" y="623"/>
                  <a:pt x="2612" y="621"/>
                </a:cubicBezTo>
                <a:cubicBezTo>
                  <a:pt x="2612" y="620"/>
                  <a:pt x="2611" y="620"/>
                  <a:pt x="2611" y="619"/>
                </a:cubicBezTo>
                <a:cubicBezTo>
                  <a:pt x="2610" y="620"/>
                  <a:pt x="2610" y="620"/>
                  <a:pt x="2610" y="620"/>
                </a:cubicBezTo>
                <a:cubicBezTo>
                  <a:pt x="2609" y="621"/>
                  <a:pt x="2608" y="623"/>
                  <a:pt x="2607" y="624"/>
                </a:cubicBezTo>
                <a:cubicBezTo>
                  <a:pt x="2607" y="624"/>
                  <a:pt x="2607" y="624"/>
                  <a:pt x="2607" y="624"/>
                </a:cubicBezTo>
                <a:cubicBezTo>
                  <a:pt x="2607" y="623"/>
                  <a:pt x="2608" y="621"/>
                  <a:pt x="2608" y="619"/>
                </a:cubicBezTo>
                <a:cubicBezTo>
                  <a:pt x="2607" y="619"/>
                  <a:pt x="2606" y="620"/>
                  <a:pt x="2606" y="621"/>
                </a:cubicBezTo>
                <a:cubicBezTo>
                  <a:pt x="2605" y="621"/>
                  <a:pt x="2605" y="622"/>
                  <a:pt x="2604" y="623"/>
                </a:cubicBezTo>
                <a:cubicBezTo>
                  <a:pt x="2605" y="619"/>
                  <a:pt x="2605" y="619"/>
                  <a:pt x="2611" y="618"/>
                </a:cubicBezTo>
                <a:cubicBezTo>
                  <a:pt x="2611" y="617"/>
                  <a:pt x="2610" y="617"/>
                  <a:pt x="2610" y="617"/>
                </a:cubicBezTo>
                <a:cubicBezTo>
                  <a:pt x="2607" y="617"/>
                  <a:pt x="2606" y="616"/>
                  <a:pt x="2606" y="614"/>
                </a:cubicBezTo>
                <a:cubicBezTo>
                  <a:pt x="2608" y="613"/>
                  <a:pt x="2609" y="613"/>
                  <a:pt x="2611" y="612"/>
                </a:cubicBezTo>
                <a:cubicBezTo>
                  <a:pt x="2609" y="610"/>
                  <a:pt x="2608" y="607"/>
                  <a:pt x="2604" y="607"/>
                </a:cubicBezTo>
                <a:cubicBezTo>
                  <a:pt x="2604" y="607"/>
                  <a:pt x="2604" y="606"/>
                  <a:pt x="2604" y="606"/>
                </a:cubicBezTo>
                <a:cubicBezTo>
                  <a:pt x="2601" y="604"/>
                  <a:pt x="2599" y="602"/>
                  <a:pt x="2596" y="600"/>
                </a:cubicBezTo>
                <a:cubicBezTo>
                  <a:pt x="2594" y="598"/>
                  <a:pt x="2591" y="598"/>
                  <a:pt x="2589" y="598"/>
                </a:cubicBezTo>
                <a:cubicBezTo>
                  <a:pt x="2586" y="598"/>
                  <a:pt x="2582" y="599"/>
                  <a:pt x="2579" y="600"/>
                </a:cubicBezTo>
                <a:cubicBezTo>
                  <a:pt x="2577" y="601"/>
                  <a:pt x="2574" y="603"/>
                  <a:pt x="2572" y="606"/>
                </a:cubicBezTo>
                <a:cubicBezTo>
                  <a:pt x="2574" y="606"/>
                  <a:pt x="2575" y="606"/>
                  <a:pt x="2576" y="606"/>
                </a:cubicBezTo>
                <a:cubicBezTo>
                  <a:pt x="2576" y="606"/>
                  <a:pt x="2575" y="607"/>
                  <a:pt x="2574" y="607"/>
                </a:cubicBezTo>
                <a:cubicBezTo>
                  <a:pt x="2572" y="608"/>
                  <a:pt x="2569" y="607"/>
                  <a:pt x="2567" y="609"/>
                </a:cubicBezTo>
                <a:cubicBezTo>
                  <a:pt x="2564" y="613"/>
                  <a:pt x="2560" y="617"/>
                  <a:pt x="2556" y="621"/>
                </a:cubicBezTo>
                <a:cubicBezTo>
                  <a:pt x="2555" y="623"/>
                  <a:pt x="2554" y="625"/>
                  <a:pt x="2553" y="628"/>
                </a:cubicBezTo>
                <a:cubicBezTo>
                  <a:pt x="2553" y="628"/>
                  <a:pt x="2553" y="629"/>
                  <a:pt x="2553" y="629"/>
                </a:cubicBezTo>
                <a:cubicBezTo>
                  <a:pt x="2554" y="631"/>
                  <a:pt x="2555" y="633"/>
                  <a:pt x="2557" y="635"/>
                </a:cubicBezTo>
                <a:cubicBezTo>
                  <a:pt x="2558" y="634"/>
                  <a:pt x="2559" y="632"/>
                  <a:pt x="2561" y="631"/>
                </a:cubicBezTo>
                <a:cubicBezTo>
                  <a:pt x="2560" y="632"/>
                  <a:pt x="2560" y="633"/>
                  <a:pt x="2559" y="635"/>
                </a:cubicBezTo>
                <a:cubicBezTo>
                  <a:pt x="2558" y="636"/>
                  <a:pt x="2557" y="637"/>
                  <a:pt x="2557" y="639"/>
                </a:cubicBezTo>
                <a:cubicBezTo>
                  <a:pt x="2557" y="640"/>
                  <a:pt x="2557" y="641"/>
                  <a:pt x="2557" y="642"/>
                </a:cubicBezTo>
                <a:cubicBezTo>
                  <a:pt x="2560" y="645"/>
                  <a:pt x="2563" y="645"/>
                  <a:pt x="2567" y="643"/>
                </a:cubicBezTo>
                <a:cubicBezTo>
                  <a:pt x="2569" y="642"/>
                  <a:pt x="2572" y="640"/>
                  <a:pt x="2575" y="640"/>
                </a:cubicBezTo>
                <a:cubicBezTo>
                  <a:pt x="2576" y="639"/>
                  <a:pt x="2577" y="638"/>
                  <a:pt x="2577" y="637"/>
                </a:cubicBezTo>
                <a:cubicBezTo>
                  <a:pt x="2577" y="634"/>
                  <a:pt x="2577" y="630"/>
                  <a:pt x="2577" y="627"/>
                </a:cubicBezTo>
                <a:cubicBezTo>
                  <a:pt x="2577" y="624"/>
                  <a:pt x="2577" y="621"/>
                  <a:pt x="2577" y="618"/>
                </a:cubicBezTo>
                <a:cubicBezTo>
                  <a:pt x="2578" y="621"/>
                  <a:pt x="2579" y="623"/>
                  <a:pt x="2579" y="626"/>
                </a:cubicBezTo>
                <a:cubicBezTo>
                  <a:pt x="2580" y="631"/>
                  <a:pt x="2580" y="635"/>
                  <a:pt x="2579" y="639"/>
                </a:cubicBezTo>
                <a:cubicBezTo>
                  <a:pt x="2578" y="640"/>
                  <a:pt x="2577" y="641"/>
                  <a:pt x="2577" y="641"/>
                </a:cubicBezTo>
                <a:cubicBezTo>
                  <a:pt x="2573" y="641"/>
                  <a:pt x="2570" y="643"/>
                  <a:pt x="2567" y="645"/>
                </a:cubicBezTo>
                <a:cubicBezTo>
                  <a:pt x="2562" y="648"/>
                  <a:pt x="2559" y="646"/>
                  <a:pt x="2555" y="642"/>
                </a:cubicBezTo>
                <a:cubicBezTo>
                  <a:pt x="2555" y="642"/>
                  <a:pt x="2555" y="640"/>
                  <a:pt x="2555" y="640"/>
                </a:cubicBezTo>
                <a:cubicBezTo>
                  <a:pt x="2556" y="638"/>
                  <a:pt x="2555" y="636"/>
                  <a:pt x="2553" y="634"/>
                </a:cubicBezTo>
                <a:cubicBezTo>
                  <a:pt x="2552" y="632"/>
                  <a:pt x="2550" y="629"/>
                  <a:pt x="2552" y="627"/>
                </a:cubicBezTo>
                <a:cubicBezTo>
                  <a:pt x="2552" y="625"/>
                  <a:pt x="2553" y="623"/>
                  <a:pt x="2554" y="621"/>
                </a:cubicBezTo>
                <a:cubicBezTo>
                  <a:pt x="2556" y="619"/>
                  <a:pt x="2558" y="616"/>
                  <a:pt x="2560" y="614"/>
                </a:cubicBezTo>
                <a:cubicBezTo>
                  <a:pt x="2560" y="614"/>
                  <a:pt x="2559" y="614"/>
                  <a:pt x="2559" y="614"/>
                </a:cubicBezTo>
                <a:cubicBezTo>
                  <a:pt x="2554" y="615"/>
                  <a:pt x="2550" y="616"/>
                  <a:pt x="2546" y="619"/>
                </a:cubicBezTo>
                <a:cubicBezTo>
                  <a:pt x="2541" y="624"/>
                  <a:pt x="2538" y="629"/>
                  <a:pt x="2538" y="636"/>
                </a:cubicBezTo>
                <a:cubicBezTo>
                  <a:pt x="2537" y="642"/>
                  <a:pt x="2540" y="648"/>
                  <a:pt x="2543" y="654"/>
                </a:cubicBezTo>
                <a:cubicBezTo>
                  <a:pt x="2544" y="655"/>
                  <a:pt x="2544" y="657"/>
                  <a:pt x="2544" y="658"/>
                </a:cubicBezTo>
                <a:cubicBezTo>
                  <a:pt x="2544" y="659"/>
                  <a:pt x="2544" y="661"/>
                  <a:pt x="2543" y="662"/>
                </a:cubicBezTo>
                <a:cubicBezTo>
                  <a:pt x="2542" y="664"/>
                  <a:pt x="2543" y="665"/>
                  <a:pt x="2544" y="665"/>
                </a:cubicBezTo>
                <a:cubicBezTo>
                  <a:pt x="2547" y="666"/>
                  <a:pt x="2550" y="667"/>
                  <a:pt x="2553" y="667"/>
                </a:cubicBezTo>
                <a:cubicBezTo>
                  <a:pt x="2553" y="667"/>
                  <a:pt x="2554" y="666"/>
                  <a:pt x="2554" y="666"/>
                </a:cubicBezTo>
                <a:cubicBezTo>
                  <a:pt x="2555" y="665"/>
                  <a:pt x="2555" y="663"/>
                  <a:pt x="2555" y="662"/>
                </a:cubicBezTo>
                <a:cubicBezTo>
                  <a:pt x="2557" y="660"/>
                  <a:pt x="2557" y="657"/>
                  <a:pt x="2557" y="654"/>
                </a:cubicBezTo>
                <a:cubicBezTo>
                  <a:pt x="2557" y="654"/>
                  <a:pt x="2557" y="654"/>
                  <a:pt x="2557" y="653"/>
                </a:cubicBezTo>
                <a:cubicBezTo>
                  <a:pt x="2557" y="653"/>
                  <a:pt x="2557" y="653"/>
                  <a:pt x="2557" y="652"/>
                </a:cubicBezTo>
                <a:cubicBezTo>
                  <a:pt x="2558" y="655"/>
                  <a:pt x="2559" y="655"/>
                  <a:pt x="2561" y="655"/>
                </a:cubicBezTo>
                <a:cubicBezTo>
                  <a:pt x="2562" y="655"/>
                  <a:pt x="2563" y="655"/>
                  <a:pt x="2564" y="655"/>
                </a:cubicBezTo>
                <a:cubicBezTo>
                  <a:pt x="2566" y="655"/>
                  <a:pt x="2570" y="656"/>
                  <a:pt x="2570" y="652"/>
                </a:cubicBezTo>
                <a:cubicBezTo>
                  <a:pt x="2570" y="654"/>
                  <a:pt x="2570" y="655"/>
                  <a:pt x="2570" y="656"/>
                </a:cubicBezTo>
                <a:cubicBezTo>
                  <a:pt x="2569" y="657"/>
                  <a:pt x="2568" y="658"/>
                  <a:pt x="2566" y="658"/>
                </a:cubicBezTo>
                <a:cubicBezTo>
                  <a:pt x="2565" y="659"/>
                  <a:pt x="2564" y="661"/>
                  <a:pt x="2565" y="661"/>
                </a:cubicBezTo>
                <a:cubicBezTo>
                  <a:pt x="2566" y="664"/>
                  <a:pt x="2568" y="666"/>
                  <a:pt x="2569" y="668"/>
                </a:cubicBezTo>
                <a:cubicBezTo>
                  <a:pt x="2571" y="669"/>
                  <a:pt x="2573" y="669"/>
                  <a:pt x="2574" y="667"/>
                </a:cubicBezTo>
                <a:cubicBezTo>
                  <a:pt x="2575" y="666"/>
                  <a:pt x="2575" y="665"/>
                  <a:pt x="2576" y="665"/>
                </a:cubicBezTo>
                <a:cubicBezTo>
                  <a:pt x="2578" y="663"/>
                  <a:pt x="2579" y="662"/>
                  <a:pt x="2581" y="661"/>
                </a:cubicBezTo>
                <a:cubicBezTo>
                  <a:pt x="2585" y="657"/>
                  <a:pt x="2587" y="651"/>
                  <a:pt x="2589" y="645"/>
                </a:cubicBezTo>
                <a:cubicBezTo>
                  <a:pt x="2589" y="644"/>
                  <a:pt x="2588" y="644"/>
                  <a:pt x="2588" y="643"/>
                </a:cubicBezTo>
                <a:cubicBezTo>
                  <a:pt x="2587" y="642"/>
                  <a:pt x="2586" y="641"/>
                  <a:pt x="2584" y="640"/>
                </a:cubicBezTo>
                <a:close/>
                <a:moveTo>
                  <a:pt x="2537" y="647"/>
                </a:moveTo>
                <a:cubicBezTo>
                  <a:pt x="2537" y="648"/>
                  <a:pt x="2535" y="648"/>
                  <a:pt x="2534" y="650"/>
                </a:cubicBezTo>
                <a:cubicBezTo>
                  <a:pt x="2533" y="650"/>
                  <a:pt x="2533" y="651"/>
                  <a:pt x="2533" y="652"/>
                </a:cubicBezTo>
                <a:cubicBezTo>
                  <a:pt x="2533" y="654"/>
                  <a:pt x="2537" y="659"/>
                  <a:pt x="2541" y="658"/>
                </a:cubicBezTo>
                <a:cubicBezTo>
                  <a:pt x="2542" y="658"/>
                  <a:pt x="2543" y="657"/>
                  <a:pt x="2542" y="655"/>
                </a:cubicBezTo>
                <a:cubicBezTo>
                  <a:pt x="2541" y="652"/>
                  <a:pt x="2539" y="650"/>
                  <a:pt x="2537" y="647"/>
                </a:cubicBezTo>
                <a:close/>
                <a:moveTo>
                  <a:pt x="2590" y="649"/>
                </a:moveTo>
                <a:cubicBezTo>
                  <a:pt x="2588" y="654"/>
                  <a:pt x="2585" y="658"/>
                  <a:pt x="2583" y="662"/>
                </a:cubicBezTo>
                <a:cubicBezTo>
                  <a:pt x="2586" y="662"/>
                  <a:pt x="2588" y="663"/>
                  <a:pt x="2591" y="662"/>
                </a:cubicBezTo>
                <a:cubicBezTo>
                  <a:pt x="2591" y="662"/>
                  <a:pt x="2592" y="661"/>
                  <a:pt x="2592" y="661"/>
                </a:cubicBezTo>
                <a:cubicBezTo>
                  <a:pt x="2592" y="658"/>
                  <a:pt x="2592" y="655"/>
                  <a:pt x="2591" y="653"/>
                </a:cubicBezTo>
                <a:cubicBezTo>
                  <a:pt x="2591" y="652"/>
                  <a:pt x="2590" y="650"/>
                  <a:pt x="2590" y="649"/>
                </a:cubicBezTo>
                <a:close/>
                <a:moveTo>
                  <a:pt x="2537" y="629"/>
                </a:moveTo>
                <a:cubicBezTo>
                  <a:pt x="2537" y="629"/>
                  <a:pt x="2536" y="629"/>
                  <a:pt x="2535" y="629"/>
                </a:cubicBezTo>
                <a:cubicBezTo>
                  <a:pt x="2535" y="629"/>
                  <a:pt x="2534" y="629"/>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37" y="647"/>
                </a:moveTo>
                <a:cubicBezTo>
                  <a:pt x="2536" y="648"/>
                  <a:pt x="2535" y="649"/>
                  <a:pt x="2534" y="650"/>
                </a:cubicBezTo>
                <a:cubicBezTo>
                  <a:pt x="2533" y="650"/>
                  <a:pt x="2533" y="651"/>
                  <a:pt x="2533" y="652"/>
                </a:cubicBezTo>
                <a:cubicBezTo>
                  <a:pt x="2533" y="655"/>
                  <a:pt x="2537" y="659"/>
                  <a:pt x="2540" y="659"/>
                </a:cubicBezTo>
                <a:cubicBezTo>
                  <a:pt x="2542" y="659"/>
                  <a:pt x="2543" y="657"/>
                  <a:pt x="2542" y="656"/>
                </a:cubicBezTo>
                <a:cubicBezTo>
                  <a:pt x="2540" y="653"/>
                  <a:pt x="2539" y="650"/>
                  <a:pt x="2537" y="647"/>
                </a:cubicBezTo>
                <a:close/>
                <a:moveTo>
                  <a:pt x="2590" y="649"/>
                </a:moveTo>
                <a:cubicBezTo>
                  <a:pt x="2587" y="654"/>
                  <a:pt x="2585" y="658"/>
                  <a:pt x="2583" y="662"/>
                </a:cubicBezTo>
                <a:cubicBezTo>
                  <a:pt x="2585" y="662"/>
                  <a:pt x="2588" y="663"/>
                  <a:pt x="2591" y="662"/>
                </a:cubicBezTo>
                <a:cubicBezTo>
                  <a:pt x="2591" y="662"/>
                  <a:pt x="2591" y="661"/>
                  <a:pt x="2591" y="661"/>
                </a:cubicBezTo>
                <a:cubicBezTo>
                  <a:pt x="2591" y="658"/>
                  <a:pt x="2591" y="656"/>
                  <a:pt x="2591" y="653"/>
                </a:cubicBezTo>
                <a:cubicBezTo>
                  <a:pt x="2591" y="652"/>
                  <a:pt x="2590" y="650"/>
                  <a:pt x="2590" y="649"/>
                </a:cubicBezTo>
                <a:close/>
                <a:moveTo>
                  <a:pt x="2537" y="629"/>
                </a:moveTo>
                <a:cubicBezTo>
                  <a:pt x="2536" y="629"/>
                  <a:pt x="2536" y="630"/>
                  <a:pt x="2535" y="630"/>
                </a:cubicBezTo>
                <a:cubicBezTo>
                  <a:pt x="2535" y="630"/>
                  <a:pt x="2534" y="630"/>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89" y="621"/>
                </a:moveTo>
                <a:cubicBezTo>
                  <a:pt x="2593" y="617"/>
                  <a:pt x="2593" y="617"/>
                  <a:pt x="2597" y="616"/>
                </a:cubicBezTo>
                <a:cubicBezTo>
                  <a:pt x="2597" y="618"/>
                  <a:pt x="2598" y="619"/>
                  <a:pt x="2600" y="619"/>
                </a:cubicBezTo>
                <a:cubicBezTo>
                  <a:pt x="2597" y="620"/>
                  <a:pt x="2595" y="622"/>
                  <a:pt x="2593" y="623"/>
                </a:cubicBezTo>
                <a:cubicBezTo>
                  <a:pt x="2592" y="622"/>
                  <a:pt x="2592" y="621"/>
                  <a:pt x="2591" y="620"/>
                </a:cubicBezTo>
                <a:cubicBezTo>
                  <a:pt x="2591" y="620"/>
                  <a:pt x="2590" y="620"/>
                  <a:pt x="2589" y="621"/>
                </a:cubicBezTo>
                <a:close/>
                <a:moveTo>
                  <a:pt x="2596" y="620"/>
                </a:moveTo>
                <a:cubicBezTo>
                  <a:pt x="2595" y="620"/>
                  <a:pt x="2594" y="619"/>
                  <a:pt x="2593" y="619"/>
                </a:cubicBezTo>
                <a:cubicBezTo>
                  <a:pt x="2593" y="619"/>
                  <a:pt x="2592" y="620"/>
                  <a:pt x="2592" y="621"/>
                </a:cubicBezTo>
                <a:cubicBezTo>
                  <a:pt x="2592" y="621"/>
                  <a:pt x="2593" y="621"/>
                  <a:pt x="2593" y="622"/>
                </a:cubicBezTo>
                <a:cubicBezTo>
                  <a:pt x="2594" y="621"/>
                  <a:pt x="2594" y="621"/>
                  <a:pt x="2596" y="620"/>
                </a:cubicBezTo>
                <a:close/>
                <a:moveTo>
                  <a:pt x="2576" y="610"/>
                </a:moveTo>
                <a:cubicBezTo>
                  <a:pt x="2570" y="609"/>
                  <a:pt x="2567" y="612"/>
                  <a:pt x="2566" y="620"/>
                </a:cubicBezTo>
                <a:cubicBezTo>
                  <a:pt x="2567" y="618"/>
                  <a:pt x="2568" y="616"/>
                  <a:pt x="2569" y="613"/>
                </a:cubicBezTo>
                <a:cubicBezTo>
                  <a:pt x="2570" y="613"/>
                  <a:pt x="2570" y="613"/>
                  <a:pt x="2570" y="613"/>
                </a:cubicBezTo>
                <a:cubicBezTo>
                  <a:pt x="2570" y="614"/>
                  <a:pt x="2570" y="615"/>
                  <a:pt x="2570" y="616"/>
                </a:cubicBezTo>
                <a:cubicBezTo>
                  <a:pt x="2571" y="613"/>
                  <a:pt x="2573" y="611"/>
                  <a:pt x="2576" y="610"/>
                </a:cubicBezTo>
                <a:close/>
                <a:moveTo>
                  <a:pt x="2620" y="612"/>
                </a:moveTo>
                <a:cubicBezTo>
                  <a:pt x="2618" y="613"/>
                  <a:pt x="2616" y="615"/>
                  <a:pt x="2615" y="616"/>
                </a:cubicBezTo>
                <a:cubicBezTo>
                  <a:pt x="2617" y="617"/>
                  <a:pt x="2619" y="615"/>
                  <a:pt x="2620" y="612"/>
                </a:cubicBezTo>
                <a:close/>
                <a:moveTo>
                  <a:pt x="2587" y="614"/>
                </a:moveTo>
                <a:cubicBezTo>
                  <a:pt x="2588" y="613"/>
                  <a:pt x="2589" y="611"/>
                  <a:pt x="2590" y="610"/>
                </a:cubicBezTo>
                <a:cubicBezTo>
                  <a:pt x="2587" y="611"/>
                  <a:pt x="2587" y="612"/>
                  <a:pt x="2587" y="614"/>
                </a:cubicBezTo>
                <a:close/>
                <a:moveTo>
                  <a:pt x="2597" y="635"/>
                </a:moveTo>
                <a:cubicBezTo>
                  <a:pt x="2595" y="636"/>
                  <a:pt x="2594" y="637"/>
                  <a:pt x="2594" y="637"/>
                </a:cubicBezTo>
                <a:cubicBezTo>
                  <a:pt x="2595" y="637"/>
                  <a:pt x="2596" y="636"/>
                  <a:pt x="2597" y="635"/>
                </a:cubicBezTo>
                <a:close/>
                <a:moveTo>
                  <a:pt x="2596" y="620"/>
                </a:moveTo>
                <a:cubicBezTo>
                  <a:pt x="2595" y="619"/>
                  <a:pt x="2594" y="619"/>
                  <a:pt x="2594" y="619"/>
                </a:cubicBezTo>
                <a:cubicBezTo>
                  <a:pt x="2593" y="619"/>
                  <a:pt x="2592" y="620"/>
                  <a:pt x="2592" y="620"/>
                </a:cubicBezTo>
                <a:cubicBezTo>
                  <a:pt x="2592" y="621"/>
                  <a:pt x="2593" y="621"/>
                  <a:pt x="2593" y="621"/>
                </a:cubicBezTo>
                <a:cubicBezTo>
                  <a:pt x="2594" y="621"/>
                  <a:pt x="2594" y="621"/>
                  <a:pt x="2596" y="620"/>
                </a:cubicBezTo>
                <a:close/>
                <a:moveTo>
                  <a:pt x="3249" y="597"/>
                </a:moveTo>
                <a:cubicBezTo>
                  <a:pt x="3249" y="597"/>
                  <a:pt x="3249" y="597"/>
                  <a:pt x="3249" y="597"/>
                </a:cubicBezTo>
                <a:cubicBezTo>
                  <a:pt x="3244" y="597"/>
                  <a:pt x="3244" y="597"/>
                  <a:pt x="3244" y="597"/>
                </a:cubicBezTo>
                <a:cubicBezTo>
                  <a:pt x="3242" y="599"/>
                  <a:pt x="3241" y="600"/>
                  <a:pt x="3239" y="601"/>
                </a:cubicBezTo>
                <a:cubicBezTo>
                  <a:pt x="3237" y="603"/>
                  <a:pt x="3236" y="603"/>
                  <a:pt x="3233" y="604"/>
                </a:cubicBezTo>
                <a:cubicBezTo>
                  <a:pt x="3232" y="605"/>
                  <a:pt x="3230" y="606"/>
                  <a:pt x="3228" y="607"/>
                </a:cubicBezTo>
                <a:cubicBezTo>
                  <a:pt x="3226" y="608"/>
                  <a:pt x="3225" y="608"/>
                  <a:pt x="3223" y="608"/>
                </a:cubicBezTo>
                <a:cubicBezTo>
                  <a:pt x="3223" y="608"/>
                  <a:pt x="3223" y="608"/>
                  <a:pt x="3223" y="619"/>
                </a:cubicBezTo>
                <a:cubicBezTo>
                  <a:pt x="3225" y="618"/>
                  <a:pt x="3228" y="617"/>
                  <a:pt x="3231" y="616"/>
                </a:cubicBezTo>
                <a:cubicBezTo>
                  <a:pt x="3233" y="615"/>
                  <a:pt x="3236" y="613"/>
                  <a:pt x="3238" y="612"/>
                </a:cubicBezTo>
                <a:cubicBezTo>
                  <a:pt x="3238" y="612"/>
                  <a:pt x="3238" y="612"/>
                  <a:pt x="3238" y="671"/>
                </a:cubicBezTo>
                <a:cubicBezTo>
                  <a:pt x="3238" y="671"/>
                  <a:pt x="3238" y="671"/>
                  <a:pt x="3249" y="671"/>
                </a:cubicBezTo>
                <a:cubicBezTo>
                  <a:pt x="3249" y="671"/>
                  <a:pt x="3249" y="671"/>
                  <a:pt x="3249" y="597"/>
                </a:cubicBezTo>
                <a:close/>
                <a:moveTo>
                  <a:pt x="3297" y="597"/>
                </a:moveTo>
                <a:cubicBezTo>
                  <a:pt x="3297" y="597"/>
                  <a:pt x="3297" y="597"/>
                  <a:pt x="3297" y="597"/>
                </a:cubicBezTo>
                <a:cubicBezTo>
                  <a:pt x="3292" y="597"/>
                  <a:pt x="3292" y="597"/>
                  <a:pt x="3292" y="597"/>
                </a:cubicBezTo>
                <a:cubicBezTo>
                  <a:pt x="3290" y="599"/>
                  <a:pt x="3288" y="600"/>
                  <a:pt x="3286" y="601"/>
                </a:cubicBezTo>
                <a:cubicBezTo>
                  <a:pt x="3285" y="603"/>
                  <a:pt x="3282" y="603"/>
                  <a:pt x="3281" y="604"/>
                </a:cubicBezTo>
                <a:cubicBezTo>
                  <a:pt x="3280" y="605"/>
                  <a:pt x="3277" y="606"/>
                  <a:pt x="3276" y="607"/>
                </a:cubicBezTo>
                <a:cubicBezTo>
                  <a:pt x="3274" y="608"/>
                  <a:pt x="3272" y="608"/>
                  <a:pt x="3270" y="608"/>
                </a:cubicBezTo>
                <a:cubicBezTo>
                  <a:pt x="3270" y="608"/>
                  <a:pt x="3270" y="608"/>
                  <a:pt x="3270" y="619"/>
                </a:cubicBezTo>
                <a:cubicBezTo>
                  <a:pt x="3273" y="618"/>
                  <a:pt x="3276" y="617"/>
                  <a:pt x="3278" y="616"/>
                </a:cubicBezTo>
                <a:cubicBezTo>
                  <a:pt x="3281" y="615"/>
                  <a:pt x="3283" y="613"/>
                  <a:pt x="3285" y="612"/>
                </a:cubicBezTo>
                <a:cubicBezTo>
                  <a:pt x="3285" y="612"/>
                  <a:pt x="3285" y="612"/>
                  <a:pt x="3285" y="671"/>
                </a:cubicBezTo>
                <a:cubicBezTo>
                  <a:pt x="3285" y="671"/>
                  <a:pt x="3285" y="671"/>
                  <a:pt x="3297" y="671"/>
                </a:cubicBezTo>
                <a:cubicBezTo>
                  <a:pt x="3297" y="671"/>
                  <a:pt x="3297" y="671"/>
                  <a:pt x="3297" y="597"/>
                </a:cubicBezTo>
                <a:close/>
                <a:moveTo>
                  <a:pt x="3344" y="597"/>
                </a:moveTo>
                <a:cubicBezTo>
                  <a:pt x="3344" y="597"/>
                  <a:pt x="3344" y="597"/>
                  <a:pt x="3344" y="597"/>
                </a:cubicBezTo>
                <a:cubicBezTo>
                  <a:pt x="3339" y="597"/>
                  <a:pt x="3339" y="597"/>
                  <a:pt x="3339" y="597"/>
                </a:cubicBezTo>
                <a:cubicBezTo>
                  <a:pt x="3337" y="599"/>
                  <a:pt x="3336" y="600"/>
                  <a:pt x="3333" y="601"/>
                </a:cubicBezTo>
                <a:cubicBezTo>
                  <a:pt x="3332" y="603"/>
                  <a:pt x="3330" y="603"/>
                  <a:pt x="3328" y="604"/>
                </a:cubicBezTo>
                <a:cubicBezTo>
                  <a:pt x="3326" y="605"/>
                  <a:pt x="3325" y="605"/>
                  <a:pt x="3323" y="606"/>
                </a:cubicBezTo>
                <a:cubicBezTo>
                  <a:pt x="3321" y="607"/>
                  <a:pt x="3319" y="608"/>
                  <a:pt x="3318" y="608"/>
                </a:cubicBezTo>
                <a:cubicBezTo>
                  <a:pt x="3318" y="608"/>
                  <a:pt x="3318" y="608"/>
                  <a:pt x="3318" y="619"/>
                </a:cubicBezTo>
                <a:cubicBezTo>
                  <a:pt x="3320" y="618"/>
                  <a:pt x="3323" y="616"/>
                  <a:pt x="3326" y="616"/>
                </a:cubicBezTo>
                <a:cubicBezTo>
                  <a:pt x="3328" y="615"/>
                  <a:pt x="3331" y="613"/>
                  <a:pt x="3332" y="612"/>
                </a:cubicBezTo>
                <a:cubicBezTo>
                  <a:pt x="3332" y="612"/>
                  <a:pt x="3332" y="612"/>
                  <a:pt x="3332" y="671"/>
                </a:cubicBezTo>
                <a:cubicBezTo>
                  <a:pt x="3332" y="671"/>
                  <a:pt x="3332" y="671"/>
                  <a:pt x="3344" y="671"/>
                </a:cubicBezTo>
                <a:cubicBezTo>
                  <a:pt x="3344" y="671"/>
                  <a:pt x="3344" y="671"/>
                  <a:pt x="3344" y="597"/>
                </a:cubicBezTo>
                <a:close/>
                <a:moveTo>
                  <a:pt x="3554" y="492"/>
                </a:moveTo>
                <a:cubicBezTo>
                  <a:pt x="3554" y="492"/>
                  <a:pt x="3554" y="492"/>
                  <a:pt x="3554" y="492"/>
                </a:cubicBezTo>
                <a:cubicBezTo>
                  <a:pt x="3549" y="492"/>
                  <a:pt x="3549" y="492"/>
                  <a:pt x="3549" y="492"/>
                </a:cubicBezTo>
                <a:cubicBezTo>
                  <a:pt x="3547" y="494"/>
                  <a:pt x="3546" y="495"/>
                  <a:pt x="3543" y="496"/>
                </a:cubicBezTo>
                <a:cubicBezTo>
                  <a:pt x="3542" y="497"/>
                  <a:pt x="3540" y="498"/>
                  <a:pt x="3538" y="499"/>
                </a:cubicBezTo>
                <a:cubicBezTo>
                  <a:pt x="3536" y="500"/>
                  <a:pt x="3535" y="500"/>
                  <a:pt x="3533" y="501"/>
                </a:cubicBezTo>
                <a:cubicBezTo>
                  <a:pt x="3531" y="502"/>
                  <a:pt x="3530" y="503"/>
                  <a:pt x="3527" y="503"/>
                </a:cubicBezTo>
                <a:cubicBezTo>
                  <a:pt x="3527" y="503"/>
                  <a:pt x="3527" y="503"/>
                  <a:pt x="3527" y="513"/>
                </a:cubicBezTo>
                <a:cubicBezTo>
                  <a:pt x="3530" y="513"/>
                  <a:pt x="3533" y="511"/>
                  <a:pt x="3535" y="511"/>
                </a:cubicBezTo>
                <a:cubicBezTo>
                  <a:pt x="3538" y="510"/>
                  <a:pt x="3540" y="508"/>
                  <a:pt x="3543" y="507"/>
                </a:cubicBezTo>
                <a:cubicBezTo>
                  <a:pt x="3543" y="507"/>
                  <a:pt x="3543" y="507"/>
                  <a:pt x="3543" y="566"/>
                </a:cubicBezTo>
                <a:cubicBezTo>
                  <a:pt x="3543" y="566"/>
                  <a:pt x="3543" y="566"/>
                  <a:pt x="3554" y="566"/>
                </a:cubicBezTo>
                <a:cubicBezTo>
                  <a:pt x="3554" y="566"/>
                  <a:pt x="3554" y="566"/>
                  <a:pt x="3554" y="492"/>
                </a:cubicBezTo>
                <a:close/>
                <a:moveTo>
                  <a:pt x="3601" y="492"/>
                </a:moveTo>
                <a:cubicBezTo>
                  <a:pt x="3601" y="492"/>
                  <a:pt x="3601" y="492"/>
                  <a:pt x="3601" y="492"/>
                </a:cubicBezTo>
                <a:cubicBezTo>
                  <a:pt x="3596" y="492"/>
                  <a:pt x="3596" y="492"/>
                  <a:pt x="3596" y="492"/>
                </a:cubicBezTo>
                <a:cubicBezTo>
                  <a:pt x="3594" y="494"/>
                  <a:pt x="3592" y="495"/>
                  <a:pt x="3590" y="496"/>
                </a:cubicBezTo>
                <a:cubicBezTo>
                  <a:pt x="3588" y="497"/>
                  <a:pt x="3586" y="498"/>
                  <a:pt x="3585" y="499"/>
                </a:cubicBezTo>
                <a:cubicBezTo>
                  <a:pt x="3583" y="500"/>
                  <a:pt x="3581" y="501"/>
                  <a:pt x="3580" y="502"/>
                </a:cubicBezTo>
                <a:cubicBezTo>
                  <a:pt x="3578" y="503"/>
                  <a:pt x="3576" y="503"/>
                  <a:pt x="3574" y="503"/>
                </a:cubicBezTo>
                <a:cubicBezTo>
                  <a:pt x="3574" y="503"/>
                  <a:pt x="3574" y="503"/>
                  <a:pt x="3574" y="513"/>
                </a:cubicBezTo>
                <a:cubicBezTo>
                  <a:pt x="3577" y="513"/>
                  <a:pt x="3580" y="512"/>
                  <a:pt x="3582" y="511"/>
                </a:cubicBezTo>
                <a:cubicBezTo>
                  <a:pt x="3585" y="510"/>
                  <a:pt x="3587" y="508"/>
                  <a:pt x="3589" y="507"/>
                </a:cubicBezTo>
                <a:cubicBezTo>
                  <a:pt x="3589" y="507"/>
                  <a:pt x="3589" y="507"/>
                  <a:pt x="3589" y="566"/>
                </a:cubicBezTo>
                <a:cubicBezTo>
                  <a:pt x="3589" y="566"/>
                  <a:pt x="3589" y="566"/>
                  <a:pt x="3601" y="566"/>
                </a:cubicBezTo>
                <a:cubicBezTo>
                  <a:pt x="3601" y="566"/>
                  <a:pt x="3601" y="566"/>
                  <a:pt x="3601" y="492"/>
                </a:cubicBezTo>
                <a:close/>
                <a:moveTo>
                  <a:pt x="3646" y="492"/>
                </a:moveTo>
                <a:cubicBezTo>
                  <a:pt x="3646" y="492"/>
                  <a:pt x="3646" y="492"/>
                  <a:pt x="3646" y="492"/>
                </a:cubicBezTo>
                <a:cubicBezTo>
                  <a:pt x="3642" y="492"/>
                  <a:pt x="3642" y="492"/>
                  <a:pt x="3642" y="492"/>
                </a:cubicBezTo>
                <a:cubicBezTo>
                  <a:pt x="3640" y="494"/>
                  <a:pt x="3638" y="495"/>
                  <a:pt x="3636" y="496"/>
                </a:cubicBezTo>
                <a:cubicBezTo>
                  <a:pt x="3635" y="497"/>
                  <a:pt x="3633" y="498"/>
                  <a:pt x="3631" y="499"/>
                </a:cubicBezTo>
                <a:cubicBezTo>
                  <a:pt x="3629" y="500"/>
                  <a:pt x="3628" y="501"/>
                  <a:pt x="3626" y="502"/>
                </a:cubicBezTo>
                <a:cubicBezTo>
                  <a:pt x="3624" y="503"/>
                  <a:pt x="3622" y="503"/>
                  <a:pt x="3620" y="503"/>
                </a:cubicBezTo>
                <a:cubicBezTo>
                  <a:pt x="3620" y="503"/>
                  <a:pt x="3620" y="503"/>
                  <a:pt x="3620" y="513"/>
                </a:cubicBezTo>
                <a:cubicBezTo>
                  <a:pt x="3623" y="513"/>
                  <a:pt x="3626" y="512"/>
                  <a:pt x="3628" y="511"/>
                </a:cubicBezTo>
                <a:cubicBezTo>
                  <a:pt x="3631" y="510"/>
                  <a:pt x="3633" y="508"/>
                  <a:pt x="3635" y="507"/>
                </a:cubicBezTo>
                <a:cubicBezTo>
                  <a:pt x="3635" y="507"/>
                  <a:pt x="3635" y="507"/>
                  <a:pt x="3635" y="566"/>
                </a:cubicBezTo>
                <a:cubicBezTo>
                  <a:pt x="3635" y="566"/>
                  <a:pt x="3635" y="566"/>
                  <a:pt x="3646" y="566"/>
                </a:cubicBezTo>
                <a:cubicBezTo>
                  <a:pt x="3646" y="566"/>
                  <a:pt x="3646" y="566"/>
                  <a:pt x="3646" y="492"/>
                </a:cubicBezTo>
                <a:close/>
                <a:moveTo>
                  <a:pt x="3693" y="492"/>
                </a:moveTo>
                <a:cubicBezTo>
                  <a:pt x="3693" y="492"/>
                  <a:pt x="3693" y="492"/>
                  <a:pt x="3693" y="492"/>
                </a:cubicBezTo>
                <a:cubicBezTo>
                  <a:pt x="3688" y="492"/>
                  <a:pt x="3688" y="492"/>
                  <a:pt x="3688" y="492"/>
                </a:cubicBezTo>
                <a:cubicBezTo>
                  <a:pt x="3686" y="494"/>
                  <a:pt x="3685" y="495"/>
                  <a:pt x="3682" y="496"/>
                </a:cubicBezTo>
                <a:cubicBezTo>
                  <a:pt x="3681" y="497"/>
                  <a:pt x="3679" y="498"/>
                  <a:pt x="3677" y="499"/>
                </a:cubicBezTo>
                <a:cubicBezTo>
                  <a:pt x="3676" y="500"/>
                  <a:pt x="3673" y="501"/>
                  <a:pt x="3672" y="502"/>
                </a:cubicBezTo>
                <a:cubicBezTo>
                  <a:pt x="3670" y="503"/>
                  <a:pt x="3668" y="503"/>
                  <a:pt x="3666" y="503"/>
                </a:cubicBezTo>
                <a:cubicBezTo>
                  <a:pt x="3666" y="503"/>
                  <a:pt x="3666" y="503"/>
                  <a:pt x="3666" y="513"/>
                </a:cubicBezTo>
                <a:cubicBezTo>
                  <a:pt x="3669" y="513"/>
                  <a:pt x="3672" y="512"/>
                  <a:pt x="3674" y="511"/>
                </a:cubicBezTo>
                <a:cubicBezTo>
                  <a:pt x="3677" y="510"/>
                  <a:pt x="3679" y="508"/>
                  <a:pt x="3682" y="507"/>
                </a:cubicBezTo>
                <a:cubicBezTo>
                  <a:pt x="3682" y="507"/>
                  <a:pt x="3682" y="507"/>
                  <a:pt x="3682" y="566"/>
                </a:cubicBezTo>
                <a:cubicBezTo>
                  <a:pt x="3682" y="566"/>
                  <a:pt x="3682" y="566"/>
                  <a:pt x="3693" y="566"/>
                </a:cubicBezTo>
                <a:cubicBezTo>
                  <a:pt x="3693" y="566"/>
                  <a:pt x="3693" y="566"/>
                  <a:pt x="3693" y="492"/>
                </a:cubicBezTo>
                <a:close/>
                <a:moveTo>
                  <a:pt x="3815" y="492"/>
                </a:moveTo>
                <a:cubicBezTo>
                  <a:pt x="3815" y="492"/>
                  <a:pt x="3815" y="492"/>
                  <a:pt x="3815" y="492"/>
                </a:cubicBezTo>
                <a:cubicBezTo>
                  <a:pt x="3810" y="492"/>
                  <a:pt x="3810" y="492"/>
                  <a:pt x="3810" y="492"/>
                </a:cubicBezTo>
                <a:cubicBezTo>
                  <a:pt x="3808" y="494"/>
                  <a:pt x="3806" y="495"/>
                  <a:pt x="3804" y="496"/>
                </a:cubicBezTo>
                <a:cubicBezTo>
                  <a:pt x="3803" y="497"/>
                  <a:pt x="3801" y="498"/>
                  <a:pt x="3799" y="499"/>
                </a:cubicBezTo>
                <a:cubicBezTo>
                  <a:pt x="3797" y="500"/>
                  <a:pt x="3795" y="501"/>
                  <a:pt x="3794" y="502"/>
                </a:cubicBezTo>
                <a:cubicBezTo>
                  <a:pt x="3792" y="503"/>
                  <a:pt x="3790" y="503"/>
                  <a:pt x="3788" y="503"/>
                </a:cubicBezTo>
                <a:cubicBezTo>
                  <a:pt x="3788" y="503"/>
                  <a:pt x="3788" y="503"/>
                  <a:pt x="3788" y="513"/>
                </a:cubicBezTo>
                <a:cubicBezTo>
                  <a:pt x="3791" y="513"/>
                  <a:pt x="3794" y="512"/>
                  <a:pt x="3797" y="511"/>
                </a:cubicBezTo>
                <a:cubicBezTo>
                  <a:pt x="3799" y="510"/>
                  <a:pt x="3801" y="508"/>
                  <a:pt x="3803" y="507"/>
                </a:cubicBezTo>
                <a:cubicBezTo>
                  <a:pt x="3803" y="507"/>
                  <a:pt x="3803" y="507"/>
                  <a:pt x="3803" y="566"/>
                </a:cubicBezTo>
                <a:cubicBezTo>
                  <a:pt x="3803" y="566"/>
                  <a:pt x="3803" y="566"/>
                  <a:pt x="3815" y="566"/>
                </a:cubicBezTo>
                <a:cubicBezTo>
                  <a:pt x="3815" y="566"/>
                  <a:pt x="3815" y="566"/>
                  <a:pt x="3815" y="492"/>
                </a:cubicBezTo>
                <a:close/>
                <a:moveTo>
                  <a:pt x="3861" y="492"/>
                </a:moveTo>
                <a:cubicBezTo>
                  <a:pt x="3861" y="492"/>
                  <a:pt x="3861" y="492"/>
                  <a:pt x="3861" y="492"/>
                </a:cubicBezTo>
                <a:cubicBezTo>
                  <a:pt x="3856" y="492"/>
                  <a:pt x="3856" y="492"/>
                  <a:pt x="3856" y="492"/>
                </a:cubicBezTo>
                <a:cubicBezTo>
                  <a:pt x="3854" y="494"/>
                  <a:pt x="3853" y="495"/>
                  <a:pt x="3851" y="496"/>
                </a:cubicBezTo>
                <a:cubicBezTo>
                  <a:pt x="3849" y="497"/>
                  <a:pt x="3847" y="498"/>
                  <a:pt x="3845" y="499"/>
                </a:cubicBezTo>
                <a:cubicBezTo>
                  <a:pt x="3844" y="500"/>
                  <a:pt x="3842" y="501"/>
                  <a:pt x="3840" y="502"/>
                </a:cubicBezTo>
                <a:cubicBezTo>
                  <a:pt x="3838" y="503"/>
                  <a:pt x="3837" y="503"/>
                  <a:pt x="3835" y="503"/>
                </a:cubicBezTo>
                <a:cubicBezTo>
                  <a:pt x="3835" y="503"/>
                  <a:pt x="3835" y="503"/>
                  <a:pt x="3835" y="513"/>
                </a:cubicBezTo>
                <a:cubicBezTo>
                  <a:pt x="3837" y="513"/>
                  <a:pt x="3840" y="512"/>
                  <a:pt x="3843" y="511"/>
                </a:cubicBezTo>
                <a:cubicBezTo>
                  <a:pt x="3845" y="510"/>
                  <a:pt x="3848" y="508"/>
                  <a:pt x="3850" y="507"/>
                </a:cubicBezTo>
                <a:cubicBezTo>
                  <a:pt x="3850" y="507"/>
                  <a:pt x="3850" y="507"/>
                  <a:pt x="3850" y="566"/>
                </a:cubicBezTo>
                <a:cubicBezTo>
                  <a:pt x="3850" y="566"/>
                  <a:pt x="3850" y="566"/>
                  <a:pt x="3861" y="566"/>
                </a:cubicBezTo>
                <a:cubicBezTo>
                  <a:pt x="3861" y="566"/>
                  <a:pt x="3861" y="566"/>
                  <a:pt x="3861" y="492"/>
                </a:cubicBezTo>
                <a:close/>
                <a:moveTo>
                  <a:pt x="3714" y="525"/>
                </a:moveTo>
                <a:cubicBezTo>
                  <a:pt x="3714" y="525"/>
                  <a:pt x="3714" y="525"/>
                  <a:pt x="3714" y="525"/>
                </a:cubicBezTo>
                <a:cubicBezTo>
                  <a:pt x="3713" y="533"/>
                  <a:pt x="3713" y="533"/>
                  <a:pt x="3713" y="533"/>
                </a:cubicBezTo>
                <a:cubicBezTo>
                  <a:pt x="3719" y="533"/>
                  <a:pt x="3720" y="536"/>
                  <a:pt x="3720" y="539"/>
                </a:cubicBezTo>
                <a:cubicBezTo>
                  <a:pt x="3720" y="541"/>
                  <a:pt x="3720" y="543"/>
                  <a:pt x="3720" y="546"/>
                </a:cubicBezTo>
                <a:cubicBezTo>
                  <a:pt x="3719" y="549"/>
                  <a:pt x="3719" y="551"/>
                  <a:pt x="3719" y="553"/>
                </a:cubicBezTo>
                <a:cubicBezTo>
                  <a:pt x="3719" y="562"/>
                  <a:pt x="3725" y="566"/>
                  <a:pt x="3733" y="566"/>
                </a:cubicBezTo>
                <a:cubicBezTo>
                  <a:pt x="3733" y="566"/>
                  <a:pt x="3733" y="566"/>
                  <a:pt x="3737" y="566"/>
                </a:cubicBezTo>
                <a:cubicBezTo>
                  <a:pt x="3737" y="566"/>
                  <a:pt x="3737" y="566"/>
                  <a:pt x="3737" y="557"/>
                </a:cubicBezTo>
                <a:cubicBezTo>
                  <a:pt x="3737" y="557"/>
                  <a:pt x="3737" y="557"/>
                  <a:pt x="3736" y="557"/>
                </a:cubicBezTo>
                <a:cubicBezTo>
                  <a:pt x="3732" y="557"/>
                  <a:pt x="3731" y="554"/>
                  <a:pt x="3731" y="551"/>
                </a:cubicBezTo>
                <a:cubicBezTo>
                  <a:pt x="3731" y="549"/>
                  <a:pt x="3731" y="548"/>
                  <a:pt x="3731" y="546"/>
                </a:cubicBezTo>
                <a:cubicBezTo>
                  <a:pt x="3731" y="544"/>
                  <a:pt x="3732" y="542"/>
                  <a:pt x="3732" y="540"/>
                </a:cubicBezTo>
                <a:cubicBezTo>
                  <a:pt x="3732" y="533"/>
                  <a:pt x="3729" y="530"/>
                  <a:pt x="3723" y="529"/>
                </a:cubicBezTo>
                <a:cubicBezTo>
                  <a:pt x="3723" y="529"/>
                  <a:pt x="3723" y="529"/>
                  <a:pt x="3723" y="528"/>
                </a:cubicBezTo>
                <a:cubicBezTo>
                  <a:pt x="3729" y="527"/>
                  <a:pt x="3732" y="525"/>
                  <a:pt x="3732" y="518"/>
                </a:cubicBezTo>
                <a:cubicBezTo>
                  <a:pt x="3732" y="515"/>
                  <a:pt x="3731" y="513"/>
                  <a:pt x="3731" y="511"/>
                </a:cubicBezTo>
                <a:cubicBezTo>
                  <a:pt x="3731" y="510"/>
                  <a:pt x="3731" y="508"/>
                  <a:pt x="3731" y="507"/>
                </a:cubicBezTo>
                <a:cubicBezTo>
                  <a:pt x="3731" y="503"/>
                  <a:pt x="3732" y="501"/>
                  <a:pt x="3736" y="501"/>
                </a:cubicBezTo>
                <a:cubicBezTo>
                  <a:pt x="3736" y="501"/>
                  <a:pt x="3736" y="501"/>
                  <a:pt x="3737" y="501"/>
                </a:cubicBezTo>
                <a:cubicBezTo>
                  <a:pt x="3737" y="501"/>
                  <a:pt x="3737" y="501"/>
                  <a:pt x="3737" y="491"/>
                </a:cubicBezTo>
                <a:cubicBezTo>
                  <a:pt x="3737" y="491"/>
                  <a:pt x="3737" y="491"/>
                  <a:pt x="3733" y="491"/>
                </a:cubicBezTo>
                <a:cubicBezTo>
                  <a:pt x="3725" y="491"/>
                  <a:pt x="3719" y="496"/>
                  <a:pt x="3719" y="504"/>
                </a:cubicBezTo>
                <a:cubicBezTo>
                  <a:pt x="3719" y="506"/>
                  <a:pt x="3719" y="509"/>
                  <a:pt x="3719" y="512"/>
                </a:cubicBezTo>
                <a:cubicBezTo>
                  <a:pt x="3720" y="514"/>
                  <a:pt x="3720" y="516"/>
                  <a:pt x="3720" y="518"/>
                </a:cubicBezTo>
                <a:cubicBezTo>
                  <a:pt x="3720" y="521"/>
                  <a:pt x="3719" y="524"/>
                  <a:pt x="3714" y="525"/>
                </a:cubicBezTo>
                <a:close/>
                <a:moveTo>
                  <a:pt x="3768" y="533"/>
                </a:moveTo>
                <a:cubicBezTo>
                  <a:pt x="3768" y="533"/>
                  <a:pt x="3768" y="533"/>
                  <a:pt x="3768" y="533"/>
                </a:cubicBezTo>
                <a:cubicBezTo>
                  <a:pt x="3768" y="525"/>
                  <a:pt x="3768" y="525"/>
                  <a:pt x="3768" y="525"/>
                </a:cubicBezTo>
                <a:cubicBezTo>
                  <a:pt x="3762" y="524"/>
                  <a:pt x="3761" y="521"/>
                  <a:pt x="3761" y="518"/>
                </a:cubicBezTo>
                <a:cubicBezTo>
                  <a:pt x="3761" y="516"/>
                  <a:pt x="3761" y="514"/>
                  <a:pt x="3762" y="512"/>
                </a:cubicBezTo>
                <a:cubicBezTo>
                  <a:pt x="3762" y="509"/>
                  <a:pt x="3762" y="506"/>
                  <a:pt x="3762" y="504"/>
                </a:cubicBezTo>
                <a:cubicBezTo>
                  <a:pt x="3762" y="496"/>
                  <a:pt x="3757" y="491"/>
                  <a:pt x="3748" y="491"/>
                </a:cubicBezTo>
                <a:cubicBezTo>
                  <a:pt x="3748" y="491"/>
                  <a:pt x="3748" y="491"/>
                  <a:pt x="3744" y="491"/>
                </a:cubicBezTo>
                <a:cubicBezTo>
                  <a:pt x="3744" y="491"/>
                  <a:pt x="3744" y="491"/>
                  <a:pt x="3744" y="501"/>
                </a:cubicBezTo>
                <a:cubicBezTo>
                  <a:pt x="3744" y="501"/>
                  <a:pt x="3744" y="501"/>
                  <a:pt x="3745" y="501"/>
                </a:cubicBezTo>
                <a:cubicBezTo>
                  <a:pt x="3749" y="501"/>
                  <a:pt x="3750" y="503"/>
                  <a:pt x="3750" y="507"/>
                </a:cubicBezTo>
                <a:cubicBezTo>
                  <a:pt x="3750" y="508"/>
                  <a:pt x="3750" y="510"/>
                  <a:pt x="3750" y="511"/>
                </a:cubicBezTo>
                <a:cubicBezTo>
                  <a:pt x="3750" y="513"/>
                  <a:pt x="3750" y="515"/>
                  <a:pt x="3750" y="518"/>
                </a:cubicBezTo>
                <a:cubicBezTo>
                  <a:pt x="3750" y="525"/>
                  <a:pt x="3752" y="527"/>
                  <a:pt x="3758" y="528"/>
                </a:cubicBezTo>
                <a:cubicBezTo>
                  <a:pt x="3758" y="528"/>
                  <a:pt x="3758" y="528"/>
                  <a:pt x="3758" y="529"/>
                </a:cubicBezTo>
                <a:cubicBezTo>
                  <a:pt x="3752" y="530"/>
                  <a:pt x="3750" y="533"/>
                  <a:pt x="3750" y="540"/>
                </a:cubicBezTo>
                <a:cubicBezTo>
                  <a:pt x="3750" y="542"/>
                  <a:pt x="3750" y="544"/>
                  <a:pt x="3750" y="546"/>
                </a:cubicBezTo>
                <a:cubicBezTo>
                  <a:pt x="3750" y="548"/>
                  <a:pt x="3750" y="549"/>
                  <a:pt x="3750" y="551"/>
                </a:cubicBezTo>
                <a:cubicBezTo>
                  <a:pt x="3750" y="554"/>
                  <a:pt x="3749" y="557"/>
                  <a:pt x="3745" y="557"/>
                </a:cubicBezTo>
                <a:cubicBezTo>
                  <a:pt x="3745" y="557"/>
                  <a:pt x="3745" y="557"/>
                  <a:pt x="3744" y="557"/>
                </a:cubicBezTo>
                <a:cubicBezTo>
                  <a:pt x="3744" y="557"/>
                  <a:pt x="3744" y="557"/>
                  <a:pt x="3744" y="566"/>
                </a:cubicBezTo>
                <a:cubicBezTo>
                  <a:pt x="3744" y="566"/>
                  <a:pt x="3744" y="566"/>
                  <a:pt x="3748" y="566"/>
                </a:cubicBezTo>
                <a:cubicBezTo>
                  <a:pt x="3756" y="566"/>
                  <a:pt x="3762" y="562"/>
                  <a:pt x="3762" y="553"/>
                </a:cubicBezTo>
                <a:cubicBezTo>
                  <a:pt x="3762" y="551"/>
                  <a:pt x="3762" y="549"/>
                  <a:pt x="3762" y="546"/>
                </a:cubicBezTo>
                <a:cubicBezTo>
                  <a:pt x="3761" y="543"/>
                  <a:pt x="3761" y="541"/>
                  <a:pt x="3761" y="539"/>
                </a:cubicBezTo>
                <a:cubicBezTo>
                  <a:pt x="3761" y="536"/>
                  <a:pt x="3762" y="533"/>
                  <a:pt x="3768" y="533"/>
                </a:cubicBezTo>
                <a:close/>
                <a:moveTo>
                  <a:pt x="3155" y="566"/>
                </a:moveTo>
                <a:cubicBezTo>
                  <a:pt x="3148" y="566"/>
                  <a:pt x="3141" y="563"/>
                  <a:pt x="3137" y="557"/>
                </a:cubicBezTo>
                <a:cubicBezTo>
                  <a:pt x="3133" y="550"/>
                  <a:pt x="3131" y="542"/>
                  <a:pt x="3131" y="529"/>
                </a:cubicBezTo>
                <a:cubicBezTo>
                  <a:pt x="3131" y="516"/>
                  <a:pt x="3133" y="507"/>
                  <a:pt x="3137" y="500"/>
                </a:cubicBezTo>
                <a:cubicBezTo>
                  <a:pt x="3142" y="494"/>
                  <a:pt x="3148" y="490"/>
                  <a:pt x="3157" y="490"/>
                </a:cubicBezTo>
                <a:cubicBezTo>
                  <a:pt x="3173" y="490"/>
                  <a:pt x="3181" y="502"/>
                  <a:pt x="3181" y="528"/>
                </a:cubicBezTo>
                <a:cubicBezTo>
                  <a:pt x="3181" y="540"/>
                  <a:pt x="3179" y="550"/>
                  <a:pt x="3174" y="556"/>
                </a:cubicBezTo>
                <a:cubicBezTo>
                  <a:pt x="3170" y="563"/>
                  <a:pt x="3163" y="566"/>
                  <a:pt x="3155" y="566"/>
                </a:cubicBezTo>
                <a:close/>
                <a:moveTo>
                  <a:pt x="3156" y="499"/>
                </a:moveTo>
                <a:cubicBezTo>
                  <a:pt x="3147" y="499"/>
                  <a:pt x="3143" y="510"/>
                  <a:pt x="3143" y="529"/>
                </a:cubicBezTo>
                <a:cubicBezTo>
                  <a:pt x="3143" y="548"/>
                  <a:pt x="3147" y="556"/>
                  <a:pt x="3156" y="556"/>
                </a:cubicBezTo>
                <a:cubicBezTo>
                  <a:pt x="3164" y="556"/>
                  <a:pt x="3169" y="548"/>
                  <a:pt x="3169" y="529"/>
                </a:cubicBezTo>
                <a:cubicBezTo>
                  <a:pt x="3169" y="509"/>
                  <a:pt x="3164" y="499"/>
                  <a:pt x="3156" y="499"/>
                </a:cubicBezTo>
                <a:close/>
                <a:moveTo>
                  <a:pt x="3225" y="566"/>
                </a:moveTo>
                <a:cubicBezTo>
                  <a:pt x="3218" y="566"/>
                  <a:pt x="3211" y="563"/>
                  <a:pt x="3208" y="557"/>
                </a:cubicBezTo>
                <a:cubicBezTo>
                  <a:pt x="3203" y="550"/>
                  <a:pt x="3201" y="542"/>
                  <a:pt x="3201" y="529"/>
                </a:cubicBezTo>
                <a:cubicBezTo>
                  <a:pt x="3201" y="516"/>
                  <a:pt x="3203" y="507"/>
                  <a:pt x="3208" y="500"/>
                </a:cubicBezTo>
                <a:cubicBezTo>
                  <a:pt x="3212" y="494"/>
                  <a:pt x="3219" y="490"/>
                  <a:pt x="3228" y="490"/>
                </a:cubicBezTo>
                <a:cubicBezTo>
                  <a:pt x="3244" y="490"/>
                  <a:pt x="3252" y="502"/>
                  <a:pt x="3252" y="528"/>
                </a:cubicBezTo>
                <a:cubicBezTo>
                  <a:pt x="3252" y="540"/>
                  <a:pt x="3250" y="550"/>
                  <a:pt x="3245" y="556"/>
                </a:cubicBezTo>
                <a:cubicBezTo>
                  <a:pt x="3240" y="563"/>
                  <a:pt x="3234" y="566"/>
                  <a:pt x="3225" y="566"/>
                </a:cubicBezTo>
                <a:close/>
                <a:moveTo>
                  <a:pt x="3227" y="499"/>
                </a:moveTo>
                <a:cubicBezTo>
                  <a:pt x="3218" y="499"/>
                  <a:pt x="3213" y="510"/>
                  <a:pt x="3213" y="529"/>
                </a:cubicBezTo>
                <a:cubicBezTo>
                  <a:pt x="3213" y="548"/>
                  <a:pt x="3217" y="556"/>
                  <a:pt x="3226" y="556"/>
                </a:cubicBezTo>
                <a:cubicBezTo>
                  <a:pt x="3235" y="556"/>
                  <a:pt x="3239" y="548"/>
                  <a:pt x="3239" y="529"/>
                </a:cubicBezTo>
                <a:cubicBezTo>
                  <a:pt x="3239" y="509"/>
                  <a:pt x="3235" y="499"/>
                  <a:pt x="3227" y="499"/>
                </a:cubicBezTo>
                <a:close/>
                <a:moveTo>
                  <a:pt x="3435" y="576"/>
                </a:moveTo>
                <a:cubicBezTo>
                  <a:pt x="3428" y="576"/>
                  <a:pt x="3422" y="573"/>
                  <a:pt x="3417" y="566"/>
                </a:cubicBezTo>
                <a:cubicBezTo>
                  <a:pt x="3413" y="561"/>
                  <a:pt x="3411" y="551"/>
                  <a:pt x="3411" y="539"/>
                </a:cubicBezTo>
                <a:cubicBezTo>
                  <a:pt x="3411" y="526"/>
                  <a:pt x="3413" y="517"/>
                  <a:pt x="3417" y="510"/>
                </a:cubicBezTo>
                <a:cubicBezTo>
                  <a:pt x="3422" y="503"/>
                  <a:pt x="3428" y="500"/>
                  <a:pt x="3437" y="500"/>
                </a:cubicBezTo>
                <a:cubicBezTo>
                  <a:pt x="3453" y="500"/>
                  <a:pt x="3461" y="512"/>
                  <a:pt x="3461" y="537"/>
                </a:cubicBezTo>
                <a:cubicBezTo>
                  <a:pt x="3461" y="550"/>
                  <a:pt x="3459" y="560"/>
                  <a:pt x="3455" y="566"/>
                </a:cubicBezTo>
                <a:cubicBezTo>
                  <a:pt x="3449" y="573"/>
                  <a:pt x="3444" y="576"/>
                  <a:pt x="3435" y="576"/>
                </a:cubicBezTo>
                <a:close/>
                <a:moveTo>
                  <a:pt x="3436" y="510"/>
                </a:moveTo>
                <a:cubicBezTo>
                  <a:pt x="3428" y="510"/>
                  <a:pt x="3423" y="519"/>
                  <a:pt x="3423" y="539"/>
                </a:cubicBezTo>
                <a:cubicBezTo>
                  <a:pt x="3423" y="557"/>
                  <a:pt x="3428" y="566"/>
                  <a:pt x="3436" y="566"/>
                </a:cubicBezTo>
                <a:cubicBezTo>
                  <a:pt x="3444" y="566"/>
                  <a:pt x="3449" y="557"/>
                  <a:pt x="3449" y="539"/>
                </a:cubicBezTo>
                <a:cubicBezTo>
                  <a:pt x="3449" y="519"/>
                  <a:pt x="3445" y="510"/>
                  <a:pt x="3436" y="510"/>
                </a:cubicBezTo>
                <a:close/>
                <a:moveTo>
                  <a:pt x="3508" y="492"/>
                </a:moveTo>
                <a:cubicBezTo>
                  <a:pt x="3508" y="492"/>
                  <a:pt x="3508" y="492"/>
                  <a:pt x="3508" y="492"/>
                </a:cubicBezTo>
                <a:cubicBezTo>
                  <a:pt x="3503" y="492"/>
                  <a:pt x="3503" y="492"/>
                  <a:pt x="3503" y="492"/>
                </a:cubicBezTo>
                <a:cubicBezTo>
                  <a:pt x="3500" y="494"/>
                  <a:pt x="3499" y="495"/>
                  <a:pt x="3497" y="496"/>
                </a:cubicBezTo>
                <a:cubicBezTo>
                  <a:pt x="3495" y="497"/>
                  <a:pt x="3493" y="498"/>
                  <a:pt x="3492" y="499"/>
                </a:cubicBezTo>
                <a:cubicBezTo>
                  <a:pt x="3490" y="500"/>
                  <a:pt x="3488" y="500"/>
                  <a:pt x="3487" y="501"/>
                </a:cubicBezTo>
                <a:cubicBezTo>
                  <a:pt x="3484" y="502"/>
                  <a:pt x="3483" y="503"/>
                  <a:pt x="3481" y="503"/>
                </a:cubicBezTo>
                <a:cubicBezTo>
                  <a:pt x="3481" y="503"/>
                  <a:pt x="3481" y="503"/>
                  <a:pt x="3481" y="513"/>
                </a:cubicBezTo>
                <a:cubicBezTo>
                  <a:pt x="3484" y="513"/>
                  <a:pt x="3487" y="511"/>
                  <a:pt x="3489" y="511"/>
                </a:cubicBezTo>
                <a:cubicBezTo>
                  <a:pt x="3492" y="510"/>
                  <a:pt x="3494" y="508"/>
                  <a:pt x="3496" y="507"/>
                </a:cubicBezTo>
                <a:cubicBezTo>
                  <a:pt x="3496" y="507"/>
                  <a:pt x="3496" y="507"/>
                  <a:pt x="3496" y="566"/>
                </a:cubicBezTo>
                <a:cubicBezTo>
                  <a:pt x="3496" y="566"/>
                  <a:pt x="3496" y="566"/>
                  <a:pt x="3508" y="566"/>
                </a:cubicBezTo>
                <a:cubicBezTo>
                  <a:pt x="3508" y="566"/>
                  <a:pt x="3508" y="566"/>
                  <a:pt x="3508" y="492"/>
                </a:cubicBezTo>
                <a:close/>
                <a:moveTo>
                  <a:pt x="3298" y="492"/>
                </a:moveTo>
                <a:cubicBezTo>
                  <a:pt x="3298" y="492"/>
                  <a:pt x="3298" y="492"/>
                  <a:pt x="3298" y="492"/>
                </a:cubicBezTo>
                <a:cubicBezTo>
                  <a:pt x="3293" y="492"/>
                  <a:pt x="3293" y="492"/>
                  <a:pt x="3293" y="492"/>
                </a:cubicBezTo>
                <a:cubicBezTo>
                  <a:pt x="3291" y="494"/>
                  <a:pt x="3290" y="495"/>
                  <a:pt x="3288" y="496"/>
                </a:cubicBezTo>
                <a:cubicBezTo>
                  <a:pt x="3286" y="497"/>
                  <a:pt x="3285" y="498"/>
                  <a:pt x="3282" y="499"/>
                </a:cubicBezTo>
                <a:cubicBezTo>
                  <a:pt x="3281" y="500"/>
                  <a:pt x="3279" y="501"/>
                  <a:pt x="3277" y="502"/>
                </a:cubicBezTo>
                <a:cubicBezTo>
                  <a:pt x="3275" y="503"/>
                  <a:pt x="3274" y="503"/>
                  <a:pt x="3272" y="503"/>
                </a:cubicBezTo>
                <a:cubicBezTo>
                  <a:pt x="3272" y="503"/>
                  <a:pt x="3272" y="503"/>
                  <a:pt x="3272" y="513"/>
                </a:cubicBezTo>
                <a:cubicBezTo>
                  <a:pt x="3274" y="513"/>
                  <a:pt x="3277" y="512"/>
                  <a:pt x="3280" y="511"/>
                </a:cubicBezTo>
                <a:cubicBezTo>
                  <a:pt x="3282" y="510"/>
                  <a:pt x="3285" y="508"/>
                  <a:pt x="3287" y="507"/>
                </a:cubicBezTo>
                <a:cubicBezTo>
                  <a:pt x="3287" y="507"/>
                  <a:pt x="3287" y="507"/>
                  <a:pt x="3287" y="566"/>
                </a:cubicBezTo>
                <a:cubicBezTo>
                  <a:pt x="3287" y="566"/>
                  <a:pt x="3287" y="566"/>
                  <a:pt x="3298" y="566"/>
                </a:cubicBezTo>
                <a:cubicBezTo>
                  <a:pt x="3298" y="566"/>
                  <a:pt x="3298" y="566"/>
                  <a:pt x="3298" y="492"/>
                </a:cubicBezTo>
                <a:close/>
                <a:moveTo>
                  <a:pt x="3345" y="492"/>
                </a:moveTo>
                <a:cubicBezTo>
                  <a:pt x="3345" y="492"/>
                  <a:pt x="3345" y="492"/>
                  <a:pt x="3345" y="492"/>
                </a:cubicBezTo>
                <a:cubicBezTo>
                  <a:pt x="3340" y="492"/>
                  <a:pt x="3340" y="492"/>
                  <a:pt x="3340" y="492"/>
                </a:cubicBezTo>
                <a:cubicBezTo>
                  <a:pt x="3338" y="494"/>
                  <a:pt x="3337" y="495"/>
                  <a:pt x="3334" y="496"/>
                </a:cubicBezTo>
                <a:cubicBezTo>
                  <a:pt x="3333" y="497"/>
                  <a:pt x="3331" y="498"/>
                  <a:pt x="3329" y="499"/>
                </a:cubicBezTo>
                <a:cubicBezTo>
                  <a:pt x="3328" y="500"/>
                  <a:pt x="3325" y="501"/>
                  <a:pt x="3324" y="502"/>
                </a:cubicBezTo>
                <a:cubicBezTo>
                  <a:pt x="3322" y="503"/>
                  <a:pt x="3320" y="503"/>
                  <a:pt x="3318" y="503"/>
                </a:cubicBezTo>
                <a:cubicBezTo>
                  <a:pt x="3318" y="503"/>
                  <a:pt x="3318" y="503"/>
                  <a:pt x="3318" y="513"/>
                </a:cubicBezTo>
                <a:cubicBezTo>
                  <a:pt x="3321" y="513"/>
                  <a:pt x="3324" y="512"/>
                  <a:pt x="3326" y="511"/>
                </a:cubicBezTo>
                <a:cubicBezTo>
                  <a:pt x="3329" y="510"/>
                  <a:pt x="3331" y="508"/>
                  <a:pt x="3334" y="507"/>
                </a:cubicBezTo>
                <a:cubicBezTo>
                  <a:pt x="3334" y="507"/>
                  <a:pt x="3334" y="507"/>
                  <a:pt x="3334" y="566"/>
                </a:cubicBezTo>
                <a:cubicBezTo>
                  <a:pt x="3334" y="566"/>
                  <a:pt x="3334" y="566"/>
                  <a:pt x="3345" y="566"/>
                </a:cubicBezTo>
                <a:cubicBezTo>
                  <a:pt x="3345" y="566"/>
                  <a:pt x="3345" y="566"/>
                  <a:pt x="3345" y="492"/>
                </a:cubicBezTo>
                <a:close/>
                <a:moveTo>
                  <a:pt x="3391" y="492"/>
                </a:moveTo>
                <a:cubicBezTo>
                  <a:pt x="3391" y="492"/>
                  <a:pt x="3391" y="492"/>
                  <a:pt x="3391" y="492"/>
                </a:cubicBezTo>
                <a:cubicBezTo>
                  <a:pt x="3387" y="492"/>
                  <a:pt x="3387" y="492"/>
                  <a:pt x="3387" y="492"/>
                </a:cubicBezTo>
                <a:cubicBezTo>
                  <a:pt x="3385" y="494"/>
                  <a:pt x="3383" y="495"/>
                  <a:pt x="3381" y="496"/>
                </a:cubicBezTo>
                <a:cubicBezTo>
                  <a:pt x="3380" y="497"/>
                  <a:pt x="3377" y="498"/>
                  <a:pt x="3376" y="499"/>
                </a:cubicBezTo>
                <a:cubicBezTo>
                  <a:pt x="3374" y="500"/>
                  <a:pt x="3372" y="500"/>
                  <a:pt x="3370" y="501"/>
                </a:cubicBezTo>
                <a:cubicBezTo>
                  <a:pt x="3369" y="502"/>
                  <a:pt x="3367" y="503"/>
                  <a:pt x="3365" y="503"/>
                </a:cubicBezTo>
                <a:cubicBezTo>
                  <a:pt x="3365" y="503"/>
                  <a:pt x="3365" y="503"/>
                  <a:pt x="3365" y="513"/>
                </a:cubicBezTo>
                <a:cubicBezTo>
                  <a:pt x="3368" y="513"/>
                  <a:pt x="3371" y="511"/>
                  <a:pt x="3373" y="511"/>
                </a:cubicBezTo>
                <a:cubicBezTo>
                  <a:pt x="3375" y="510"/>
                  <a:pt x="3378" y="508"/>
                  <a:pt x="3380" y="507"/>
                </a:cubicBezTo>
                <a:cubicBezTo>
                  <a:pt x="3380" y="507"/>
                  <a:pt x="3380" y="507"/>
                  <a:pt x="3380" y="566"/>
                </a:cubicBezTo>
                <a:cubicBezTo>
                  <a:pt x="3380" y="566"/>
                  <a:pt x="3380" y="566"/>
                  <a:pt x="3391" y="566"/>
                </a:cubicBezTo>
                <a:cubicBezTo>
                  <a:pt x="3391" y="566"/>
                  <a:pt x="3391" y="566"/>
                  <a:pt x="3391" y="492"/>
                </a:cubicBezTo>
                <a:close/>
                <a:moveTo>
                  <a:pt x="2149" y="492"/>
                </a:moveTo>
                <a:cubicBezTo>
                  <a:pt x="2149" y="492"/>
                  <a:pt x="2149" y="492"/>
                  <a:pt x="2149" y="492"/>
                </a:cubicBezTo>
                <a:cubicBezTo>
                  <a:pt x="2144" y="492"/>
                  <a:pt x="2144" y="492"/>
                  <a:pt x="2144" y="492"/>
                </a:cubicBezTo>
                <a:cubicBezTo>
                  <a:pt x="2141" y="494"/>
                  <a:pt x="2140" y="495"/>
                  <a:pt x="2138" y="496"/>
                </a:cubicBezTo>
                <a:cubicBezTo>
                  <a:pt x="2136" y="497"/>
                  <a:pt x="2134" y="498"/>
                  <a:pt x="2133" y="499"/>
                </a:cubicBezTo>
                <a:cubicBezTo>
                  <a:pt x="2131" y="500"/>
                  <a:pt x="2129" y="501"/>
                  <a:pt x="2127" y="502"/>
                </a:cubicBezTo>
                <a:cubicBezTo>
                  <a:pt x="2125" y="503"/>
                  <a:pt x="2124" y="503"/>
                  <a:pt x="2121" y="503"/>
                </a:cubicBezTo>
                <a:cubicBezTo>
                  <a:pt x="2121" y="503"/>
                  <a:pt x="2121" y="503"/>
                  <a:pt x="2121" y="513"/>
                </a:cubicBezTo>
                <a:cubicBezTo>
                  <a:pt x="2124" y="513"/>
                  <a:pt x="2127" y="512"/>
                  <a:pt x="2130" y="511"/>
                </a:cubicBezTo>
                <a:cubicBezTo>
                  <a:pt x="2133" y="510"/>
                  <a:pt x="2135" y="508"/>
                  <a:pt x="2137" y="507"/>
                </a:cubicBezTo>
                <a:cubicBezTo>
                  <a:pt x="2137" y="507"/>
                  <a:pt x="2137" y="507"/>
                  <a:pt x="2137" y="566"/>
                </a:cubicBezTo>
                <a:cubicBezTo>
                  <a:pt x="2137" y="566"/>
                  <a:pt x="2137" y="566"/>
                  <a:pt x="2149" y="566"/>
                </a:cubicBezTo>
                <a:cubicBezTo>
                  <a:pt x="2149" y="566"/>
                  <a:pt x="2149" y="566"/>
                  <a:pt x="2149" y="492"/>
                </a:cubicBezTo>
                <a:close/>
                <a:moveTo>
                  <a:pt x="2195" y="492"/>
                </a:moveTo>
                <a:cubicBezTo>
                  <a:pt x="2195" y="492"/>
                  <a:pt x="2195" y="492"/>
                  <a:pt x="2195" y="492"/>
                </a:cubicBezTo>
                <a:cubicBezTo>
                  <a:pt x="2190" y="492"/>
                  <a:pt x="2190" y="492"/>
                  <a:pt x="2190" y="492"/>
                </a:cubicBezTo>
                <a:cubicBezTo>
                  <a:pt x="2189" y="494"/>
                  <a:pt x="2187" y="495"/>
                  <a:pt x="2185" y="496"/>
                </a:cubicBezTo>
                <a:cubicBezTo>
                  <a:pt x="2183" y="497"/>
                  <a:pt x="2182" y="498"/>
                  <a:pt x="2179" y="499"/>
                </a:cubicBezTo>
                <a:cubicBezTo>
                  <a:pt x="2178" y="500"/>
                  <a:pt x="2176" y="501"/>
                  <a:pt x="2174" y="502"/>
                </a:cubicBezTo>
                <a:cubicBezTo>
                  <a:pt x="2172" y="503"/>
                  <a:pt x="2171" y="503"/>
                  <a:pt x="2168" y="503"/>
                </a:cubicBezTo>
                <a:cubicBezTo>
                  <a:pt x="2168" y="503"/>
                  <a:pt x="2168" y="503"/>
                  <a:pt x="2168" y="513"/>
                </a:cubicBezTo>
                <a:cubicBezTo>
                  <a:pt x="2171" y="513"/>
                  <a:pt x="2174" y="512"/>
                  <a:pt x="2177" y="511"/>
                </a:cubicBezTo>
                <a:cubicBezTo>
                  <a:pt x="2179" y="510"/>
                  <a:pt x="2182" y="508"/>
                  <a:pt x="2184" y="507"/>
                </a:cubicBezTo>
                <a:cubicBezTo>
                  <a:pt x="2184" y="507"/>
                  <a:pt x="2184" y="507"/>
                  <a:pt x="2184" y="566"/>
                </a:cubicBezTo>
                <a:cubicBezTo>
                  <a:pt x="2184" y="566"/>
                  <a:pt x="2184" y="566"/>
                  <a:pt x="2195" y="566"/>
                </a:cubicBezTo>
                <a:cubicBezTo>
                  <a:pt x="2195" y="566"/>
                  <a:pt x="2195" y="566"/>
                  <a:pt x="2195" y="492"/>
                </a:cubicBezTo>
                <a:close/>
                <a:moveTo>
                  <a:pt x="2241" y="492"/>
                </a:moveTo>
                <a:cubicBezTo>
                  <a:pt x="2241" y="492"/>
                  <a:pt x="2241" y="492"/>
                  <a:pt x="2241" y="492"/>
                </a:cubicBezTo>
                <a:cubicBezTo>
                  <a:pt x="2237" y="492"/>
                  <a:pt x="2237" y="492"/>
                  <a:pt x="2237" y="492"/>
                </a:cubicBezTo>
                <a:cubicBezTo>
                  <a:pt x="2235" y="494"/>
                  <a:pt x="2233" y="495"/>
                  <a:pt x="2231" y="496"/>
                </a:cubicBezTo>
                <a:cubicBezTo>
                  <a:pt x="2230" y="497"/>
                  <a:pt x="2228" y="498"/>
                  <a:pt x="2226" y="499"/>
                </a:cubicBezTo>
                <a:cubicBezTo>
                  <a:pt x="2224" y="500"/>
                  <a:pt x="2222" y="500"/>
                  <a:pt x="2220" y="501"/>
                </a:cubicBezTo>
                <a:cubicBezTo>
                  <a:pt x="2219" y="502"/>
                  <a:pt x="2217" y="503"/>
                  <a:pt x="2215" y="503"/>
                </a:cubicBezTo>
                <a:cubicBezTo>
                  <a:pt x="2215" y="503"/>
                  <a:pt x="2215" y="503"/>
                  <a:pt x="2215" y="513"/>
                </a:cubicBezTo>
                <a:cubicBezTo>
                  <a:pt x="2218" y="513"/>
                  <a:pt x="2221" y="511"/>
                  <a:pt x="2223" y="511"/>
                </a:cubicBezTo>
                <a:cubicBezTo>
                  <a:pt x="2225" y="510"/>
                  <a:pt x="2228" y="508"/>
                  <a:pt x="2230" y="507"/>
                </a:cubicBezTo>
                <a:cubicBezTo>
                  <a:pt x="2230" y="507"/>
                  <a:pt x="2230" y="507"/>
                  <a:pt x="2230" y="566"/>
                </a:cubicBezTo>
                <a:cubicBezTo>
                  <a:pt x="2230" y="566"/>
                  <a:pt x="2230" y="566"/>
                  <a:pt x="2241" y="566"/>
                </a:cubicBezTo>
                <a:cubicBezTo>
                  <a:pt x="2241" y="566"/>
                  <a:pt x="2241" y="566"/>
                  <a:pt x="2241" y="492"/>
                </a:cubicBezTo>
                <a:close/>
                <a:moveTo>
                  <a:pt x="2378" y="525"/>
                </a:moveTo>
                <a:cubicBezTo>
                  <a:pt x="2378" y="525"/>
                  <a:pt x="2378" y="525"/>
                  <a:pt x="2378" y="525"/>
                </a:cubicBezTo>
                <a:cubicBezTo>
                  <a:pt x="2377" y="533"/>
                  <a:pt x="2377" y="533"/>
                  <a:pt x="2377" y="533"/>
                </a:cubicBezTo>
                <a:cubicBezTo>
                  <a:pt x="2384" y="533"/>
                  <a:pt x="2384" y="536"/>
                  <a:pt x="2384" y="539"/>
                </a:cubicBezTo>
                <a:cubicBezTo>
                  <a:pt x="2384" y="541"/>
                  <a:pt x="2384" y="543"/>
                  <a:pt x="2384" y="546"/>
                </a:cubicBezTo>
                <a:cubicBezTo>
                  <a:pt x="2384" y="549"/>
                  <a:pt x="2383" y="551"/>
                  <a:pt x="2383" y="553"/>
                </a:cubicBezTo>
                <a:cubicBezTo>
                  <a:pt x="2383" y="562"/>
                  <a:pt x="2389" y="566"/>
                  <a:pt x="2398" y="566"/>
                </a:cubicBezTo>
                <a:cubicBezTo>
                  <a:pt x="2398" y="566"/>
                  <a:pt x="2398" y="566"/>
                  <a:pt x="2401" y="566"/>
                </a:cubicBezTo>
                <a:cubicBezTo>
                  <a:pt x="2401" y="566"/>
                  <a:pt x="2401" y="566"/>
                  <a:pt x="2401" y="557"/>
                </a:cubicBezTo>
                <a:cubicBezTo>
                  <a:pt x="2401" y="557"/>
                  <a:pt x="2401" y="557"/>
                  <a:pt x="2400" y="557"/>
                </a:cubicBezTo>
                <a:cubicBezTo>
                  <a:pt x="2396" y="557"/>
                  <a:pt x="2395" y="554"/>
                  <a:pt x="2395" y="551"/>
                </a:cubicBezTo>
                <a:cubicBezTo>
                  <a:pt x="2395" y="549"/>
                  <a:pt x="2395" y="548"/>
                  <a:pt x="2395" y="546"/>
                </a:cubicBezTo>
                <a:cubicBezTo>
                  <a:pt x="2395" y="544"/>
                  <a:pt x="2396" y="542"/>
                  <a:pt x="2396" y="540"/>
                </a:cubicBezTo>
                <a:cubicBezTo>
                  <a:pt x="2396" y="533"/>
                  <a:pt x="2393" y="530"/>
                  <a:pt x="2387" y="529"/>
                </a:cubicBezTo>
                <a:cubicBezTo>
                  <a:pt x="2387" y="529"/>
                  <a:pt x="2387" y="529"/>
                  <a:pt x="2387" y="528"/>
                </a:cubicBezTo>
                <a:cubicBezTo>
                  <a:pt x="2393" y="527"/>
                  <a:pt x="2396" y="525"/>
                  <a:pt x="2396" y="518"/>
                </a:cubicBezTo>
                <a:cubicBezTo>
                  <a:pt x="2396" y="515"/>
                  <a:pt x="2395" y="513"/>
                  <a:pt x="2395" y="511"/>
                </a:cubicBezTo>
                <a:cubicBezTo>
                  <a:pt x="2395" y="510"/>
                  <a:pt x="2395" y="508"/>
                  <a:pt x="2395" y="507"/>
                </a:cubicBezTo>
                <a:cubicBezTo>
                  <a:pt x="2395" y="503"/>
                  <a:pt x="2396" y="501"/>
                  <a:pt x="2400" y="501"/>
                </a:cubicBezTo>
                <a:cubicBezTo>
                  <a:pt x="2400" y="501"/>
                  <a:pt x="2400" y="501"/>
                  <a:pt x="2401" y="501"/>
                </a:cubicBezTo>
                <a:cubicBezTo>
                  <a:pt x="2401" y="501"/>
                  <a:pt x="2401" y="501"/>
                  <a:pt x="2401" y="491"/>
                </a:cubicBezTo>
                <a:cubicBezTo>
                  <a:pt x="2401" y="491"/>
                  <a:pt x="2401" y="491"/>
                  <a:pt x="2398" y="491"/>
                </a:cubicBezTo>
                <a:cubicBezTo>
                  <a:pt x="2389" y="491"/>
                  <a:pt x="2383" y="496"/>
                  <a:pt x="2383" y="504"/>
                </a:cubicBezTo>
                <a:cubicBezTo>
                  <a:pt x="2383" y="506"/>
                  <a:pt x="2384" y="509"/>
                  <a:pt x="2384" y="512"/>
                </a:cubicBezTo>
                <a:cubicBezTo>
                  <a:pt x="2384" y="514"/>
                  <a:pt x="2384" y="516"/>
                  <a:pt x="2384" y="518"/>
                </a:cubicBezTo>
                <a:cubicBezTo>
                  <a:pt x="2384" y="521"/>
                  <a:pt x="2384" y="524"/>
                  <a:pt x="2378" y="525"/>
                </a:cubicBezTo>
                <a:close/>
                <a:moveTo>
                  <a:pt x="2432" y="533"/>
                </a:moveTo>
                <a:cubicBezTo>
                  <a:pt x="2432" y="533"/>
                  <a:pt x="2432" y="533"/>
                  <a:pt x="2432" y="533"/>
                </a:cubicBezTo>
                <a:cubicBezTo>
                  <a:pt x="2432" y="525"/>
                  <a:pt x="2432" y="525"/>
                  <a:pt x="2432" y="525"/>
                </a:cubicBezTo>
                <a:cubicBezTo>
                  <a:pt x="2426" y="524"/>
                  <a:pt x="2426" y="521"/>
                  <a:pt x="2426" y="518"/>
                </a:cubicBezTo>
                <a:cubicBezTo>
                  <a:pt x="2426" y="516"/>
                  <a:pt x="2426" y="514"/>
                  <a:pt x="2426" y="512"/>
                </a:cubicBezTo>
                <a:cubicBezTo>
                  <a:pt x="2427" y="509"/>
                  <a:pt x="2427" y="506"/>
                  <a:pt x="2427" y="504"/>
                </a:cubicBezTo>
                <a:cubicBezTo>
                  <a:pt x="2427" y="496"/>
                  <a:pt x="2421" y="491"/>
                  <a:pt x="2412" y="491"/>
                </a:cubicBezTo>
                <a:cubicBezTo>
                  <a:pt x="2412" y="491"/>
                  <a:pt x="2412" y="491"/>
                  <a:pt x="2408" y="491"/>
                </a:cubicBezTo>
                <a:cubicBezTo>
                  <a:pt x="2408" y="491"/>
                  <a:pt x="2408" y="491"/>
                  <a:pt x="2408" y="501"/>
                </a:cubicBezTo>
                <a:cubicBezTo>
                  <a:pt x="2408" y="501"/>
                  <a:pt x="2408" y="501"/>
                  <a:pt x="2410" y="501"/>
                </a:cubicBezTo>
                <a:cubicBezTo>
                  <a:pt x="2414" y="501"/>
                  <a:pt x="2415" y="503"/>
                  <a:pt x="2415" y="507"/>
                </a:cubicBezTo>
                <a:cubicBezTo>
                  <a:pt x="2415" y="508"/>
                  <a:pt x="2415" y="510"/>
                  <a:pt x="2415" y="511"/>
                </a:cubicBezTo>
                <a:cubicBezTo>
                  <a:pt x="2414" y="513"/>
                  <a:pt x="2414" y="515"/>
                  <a:pt x="2414" y="518"/>
                </a:cubicBezTo>
                <a:cubicBezTo>
                  <a:pt x="2414" y="525"/>
                  <a:pt x="2417" y="527"/>
                  <a:pt x="2423" y="528"/>
                </a:cubicBezTo>
                <a:cubicBezTo>
                  <a:pt x="2423" y="528"/>
                  <a:pt x="2423" y="528"/>
                  <a:pt x="2423" y="529"/>
                </a:cubicBezTo>
                <a:cubicBezTo>
                  <a:pt x="2417" y="530"/>
                  <a:pt x="2414" y="533"/>
                  <a:pt x="2414" y="540"/>
                </a:cubicBezTo>
                <a:cubicBezTo>
                  <a:pt x="2414" y="542"/>
                  <a:pt x="2414" y="544"/>
                  <a:pt x="2415" y="546"/>
                </a:cubicBezTo>
                <a:cubicBezTo>
                  <a:pt x="2415" y="548"/>
                  <a:pt x="2415" y="549"/>
                  <a:pt x="2415" y="551"/>
                </a:cubicBezTo>
                <a:cubicBezTo>
                  <a:pt x="2415" y="554"/>
                  <a:pt x="2414" y="557"/>
                  <a:pt x="2410" y="557"/>
                </a:cubicBezTo>
                <a:cubicBezTo>
                  <a:pt x="2410" y="557"/>
                  <a:pt x="2410" y="557"/>
                  <a:pt x="2408" y="557"/>
                </a:cubicBezTo>
                <a:cubicBezTo>
                  <a:pt x="2408" y="557"/>
                  <a:pt x="2408" y="557"/>
                  <a:pt x="2408" y="566"/>
                </a:cubicBezTo>
                <a:cubicBezTo>
                  <a:pt x="2408" y="566"/>
                  <a:pt x="2408" y="566"/>
                  <a:pt x="2412" y="566"/>
                </a:cubicBezTo>
                <a:cubicBezTo>
                  <a:pt x="2421" y="566"/>
                  <a:pt x="2427" y="562"/>
                  <a:pt x="2427" y="553"/>
                </a:cubicBezTo>
                <a:cubicBezTo>
                  <a:pt x="2427" y="551"/>
                  <a:pt x="2427" y="549"/>
                  <a:pt x="2426" y="546"/>
                </a:cubicBezTo>
                <a:cubicBezTo>
                  <a:pt x="2426" y="543"/>
                  <a:pt x="2426" y="541"/>
                  <a:pt x="2426" y="539"/>
                </a:cubicBezTo>
                <a:cubicBezTo>
                  <a:pt x="2426" y="536"/>
                  <a:pt x="2426" y="533"/>
                  <a:pt x="2432" y="533"/>
                </a:cubicBezTo>
                <a:close/>
                <a:moveTo>
                  <a:pt x="2479" y="492"/>
                </a:moveTo>
                <a:cubicBezTo>
                  <a:pt x="2479" y="492"/>
                  <a:pt x="2479" y="492"/>
                  <a:pt x="2479" y="492"/>
                </a:cubicBezTo>
                <a:cubicBezTo>
                  <a:pt x="2474" y="492"/>
                  <a:pt x="2474" y="492"/>
                  <a:pt x="2474" y="492"/>
                </a:cubicBezTo>
                <a:cubicBezTo>
                  <a:pt x="2472" y="494"/>
                  <a:pt x="2470" y="495"/>
                  <a:pt x="2468" y="496"/>
                </a:cubicBezTo>
                <a:cubicBezTo>
                  <a:pt x="2467" y="497"/>
                  <a:pt x="2465" y="498"/>
                  <a:pt x="2463" y="499"/>
                </a:cubicBezTo>
                <a:cubicBezTo>
                  <a:pt x="2461" y="500"/>
                  <a:pt x="2459" y="500"/>
                  <a:pt x="2458" y="501"/>
                </a:cubicBezTo>
                <a:cubicBezTo>
                  <a:pt x="2456" y="502"/>
                  <a:pt x="2454" y="503"/>
                  <a:pt x="2452" y="503"/>
                </a:cubicBezTo>
                <a:cubicBezTo>
                  <a:pt x="2452" y="503"/>
                  <a:pt x="2452" y="503"/>
                  <a:pt x="2452" y="513"/>
                </a:cubicBezTo>
                <a:cubicBezTo>
                  <a:pt x="2455" y="513"/>
                  <a:pt x="2458" y="511"/>
                  <a:pt x="2460" y="511"/>
                </a:cubicBezTo>
                <a:cubicBezTo>
                  <a:pt x="2463" y="510"/>
                  <a:pt x="2465" y="508"/>
                  <a:pt x="2467" y="507"/>
                </a:cubicBezTo>
                <a:cubicBezTo>
                  <a:pt x="2467" y="507"/>
                  <a:pt x="2467" y="507"/>
                  <a:pt x="2467" y="566"/>
                </a:cubicBezTo>
                <a:cubicBezTo>
                  <a:pt x="2467" y="566"/>
                  <a:pt x="2467" y="566"/>
                  <a:pt x="2479" y="566"/>
                </a:cubicBezTo>
                <a:cubicBezTo>
                  <a:pt x="2479" y="566"/>
                  <a:pt x="2479" y="566"/>
                  <a:pt x="2479" y="492"/>
                </a:cubicBezTo>
                <a:close/>
                <a:moveTo>
                  <a:pt x="2526" y="492"/>
                </a:moveTo>
                <a:cubicBezTo>
                  <a:pt x="2526" y="492"/>
                  <a:pt x="2526" y="492"/>
                  <a:pt x="2526" y="492"/>
                </a:cubicBezTo>
                <a:cubicBezTo>
                  <a:pt x="2521" y="492"/>
                  <a:pt x="2521" y="492"/>
                  <a:pt x="2521" y="492"/>
                </a:cubicBezTo>
                <a:cubicBezTo>
                  <a:pt x="2518" y="494"/>
                  <a:pt x="2517" y="495"/>
                  <a:pt x="2515" y="496"/>
                </a:cubicBezTo>
                <a:cubicBezTo>
                  <a:pt x="2513" y="497"/>
                  <a:pt x="2511" y="498"/>
                  <a:pt x="2510" y="499"/>
                </a:cubicBezTo>
                <a:cubicBezTo>
                  <a:pt x="2508" y="500"/>
                  <a:pt x="2506" y="501"/>
                  <a:pt x="2505" y="502"/>
                </a:cubicBezTo>
                <a:cubicBezTo>
                  <a:pt x="2502" y="503"/>
                  <a:pt x="2501" y="503"/>
                  <a:pt x="2499" y="503"/>
                </a:cubicBezTo>
                <a:cubicBezTo>
                  <a:pt x="2499" y="503"/>
                  <a:pt x="2499" y="503"/>
                  <a:pt x="2499" y="513"/>
                </a:cubicBezTo>
                <a:cubicBezTo>
                  <a:pt x="2502" y="513"/>
                  <a:pt x="2505" y="512"/>
                  <a:pt x="2507" y="511"/>
                </a:cubicBezTo>
                <a:cubicBezTo>
                  <a:pt x="2510" y="510"/>
                  <a:pt x="2512" y="508"/>
                  <a:pt x="2514" y="507"/>
                </a:cubicBezTo>
                <a:cubicBezTo>
                  <a:pt x="2514" y="507"/>
                  <a:pt x="2514" y="507"/>
                  <a:pt x="2514" y="566"/>
                </a:cubicBezTo>
                <a:cubicBezTo>
                  <a:pt x="2514" y="566"/>
                  <a:pt x="2514" y="566"/>
                  <a:pt x="2526" y="566"/>
                </a:cubicBezTo>
                <a:cubicBezTo>
                  <a:pt x="2526" y="566"/>
                  <a:pt x="2526" y="566"/>
                  <a:pt x="2526" y="492"/>
                </a:cubicBezTo>
                <a:close/>
                <a:moveTo>
                  <a:pt x="2571" y="492"/>
                </a:moveTo>
                <a:cubicBezTo>
                  <a:pt x="2571" y="492"/>
                  <a:pt x="2571" y="492"/>
                  <a:pt x="2571" y="492"/>
                </a:cubicBezTo>
                <a:cubicBezTo>
                  <a:pt x="2567" y="492"/>
                  <a:pt x="2567" y="492"/>
                  <a:pt x="2567" y="492"/>
                </a:cubicBezTo>
                <a:cubicBezTo>
                  <a:pt x="2565" y="494"/>
                  <a:pt x="2563" y="495"/>
                  <a:pt x="2561" y="496"/>
                </a:cubicBezTo>
                <a:cubicBezTo>
                  <a:pt x="2560" y="497"/>
                  <a:pt x="2558" y="498"/>
                  <a:pt x="2556" y="499"/>
                </a:cubicBezTo>
                <a:cubicBezTo>
                  <a:pt x="2554" y="500"/>
                  <a:pt x="2552" y="501"/>
                  <a:pt x="2550" y="502"/>
                </a:cubicBezTo>
                <a:cubicBezTo>
                  <a:pt x="2549" y="503"/>
                  <a:pt x="2547" y="503"/>
                  <a:pt x="2545" y="503"/>
                </a:cubicBezTo>
                <a:cubicBezTo>
                  <a:pt x="2545" y="503"/>
                  <a:pt x="2545" y="503"/>
                  <a:pt x="2545" y="513"/>
                </a:cubicBezTo>
                <a:cubicBezTo>
                  <a:pt x="2548" y="513"/>
                  <a:pt x="2551" y="512"/>
                  <a:pt x="2553" y="511"/>
                </a:cubicBezTo>
                <a:cubicBezTo>
                  <a:pt x="2555" y="510"/>
                  <a:pt x="2558" y="508"/>
                  <a:pt x="2560" y="507"/>
                </a:cubicBezTo>
                <a:cubicBezTo>
                  <a:pt x="2560" y="507"/>
                  <a:pt x="2560" y="507"/>
                  <a:pt x="2560" y="566"/>
                </a:cubicBezTo>
                <a:cubicBezTo>
                  <a:pt x="2560" y="566"/>
                  <a:pt x="2560" y="566"/>
                  <a:pt x="2571" y="566"/>
                </a:cubicBezTo>
                <a:cubicBezTo>
                  <a:pt x="2571" y="566"/>
                  <a:pt x="2571" y="566"/>
                  <a:pt x="2571" y="492"/>
                </a:cubicBezTo>
                <a:close/>
                <a:moveTo>
                  <a:pt x="2321" y="540"/>
                </a:moveTo>
                <a:cubicBezTo>
                  <a:pt x="2322" y="541"/>
                  <a:pt x="2322" y="542"/>
                  <a:pt x="2323" y="544"/>
                </a:cubicBezTo>
                <a:cubicBezTo>
                  <a:pt x="2323" y="546"/>
                  <a:pt x="2323" y="548"/>
                  <a:pt x="2324" y="549"/>
                </a:cubicBezTo>
                <a:cubicBezTo>
                  <a:pt x="2324" y="551"/>
                  <a:pt x="2324" y="552"/>
                  <a:pt x="2324" y="554"/>
                </a:cubicBezTo>
                <a:cubicBezTo>
                  <a:pt x="2325" y="557"/>
                  <a:pt x="2324" y="559"/>
                  <a:pt x="2321" y="559"/>
                </a:cubicBezTo>
                <a:cubicBezTo>
                  <a:pt x="2318" y="559"/>
                  <a:pt x="2315" y="558"/>
                  <a:pt x="2313" y="558"/>
                </a:cubicBezTo>
                <a:cubicBezTo>
                  <a:pt x="2312" y="558"/>
                  <a:pt x="2311" y="558"/>
                  <a:pt x="2311" y="559"/>
                </a:cubicBezTo>
                <a:cubicBezTo>
                  <a:pt x="2309" y="560"/>
                  <a:pt x="2308" y="561"/>
                  <a:pt x="2307" y="563"/>
                </a:cubicBezTo>
                <a:cubicBezTo>
                  <a:pt x="2305" y="565"/>
                  <a:pt x="2302" y="566"/>
                  <a:pt x="2299" y="564"/>
                </a:cubicBezTo>
                <a:cubicBezTo>
                  <a:pt x="2297" y="561"/>
                  <a:pt x="2296" y="559"/>
                  <a:pt x="2294" y="556"/>
                </a:cubicBezTo>
                <a:cubicBezTo>
                  <a:pt x="2294" y="555"/>
                  <a:pt x="2294" y="553"/>
                  <a:pt x="2296" y="552"/>
                </a:cubicBezTo>
                <a:cubicBezTo>
                  <a:pt x="2294" y="552"/>
                  <a:pt x="2292" y="552"/>
                  <a:pt x="2291" y="552"/>
                </a:cubicBezTo>
                <a:cubicBezTo>
                  <a:pt x="2290" y="554"/>
                  <a:pt x="2289" y="556"/>
                  <a:pt x="2288" y="557"/>
                </a:cubicBezTo>
                <a:cubicBezTo>
                  <a:pt x="2288" y="558"/>
                  <a:pt x="2287" y="559"/>
                  <a:pt x="2287" y="560"/>
                </a:cubicBezTo>
                <a:cubicBezTo>
                  <a:pt x="2287" y="563"/>
                  <a:pt x="2286" y="564"/>
                  <a:pt x="2283" y="564"/>
                </a:cubicBezTo>
                <a:cubicBezTo>
                  <a:pt x="2280" y="563"/>
                  <a:pt x="2277" y="563"/>
                  <a:pt x="2274" y="561"/>
                </a:cubicBezTo>
                <a:cubicBezTo>
                  <a:pt x="2272" y="561"/>
                  <a:pt x="2272" y="559"/>
                  <a:pt x="2272" y="557"/>
                </a:cubicBezTo>
                <a:cubicBezTo>
                  <a:pt x="2273" y="557"/>
                  <a:pt x="2273" y="556"/>
                  <a:pt x="2273" y="556"/>
                </a:cubicBezTo>
                <a:cubicBezTo>
                  <a:pt x="2271" y="555"/>
                  <a:pt x="2268" y="554"/>
                  <a:pt x="2266" y="552"/>
                </a:cubicBezTo>
                <a:cubicBezTo>
                  <a:pt x="2265" y="552"/>
                  <a:pt x="2264" y="550"/>
                  <a:pt x="2263" y="548"/>
                </a:cubicBezTo>
                <a:cubicBezTo>
                  <a:pt x="2262" y="546"/>
                  <a:pt x="2262" y="544"/>
                  <a:pt x="2264" y="543"/>
                </a:cubicBezTo>
                <a:cubicBezTo>
                  <a:pt x="2267" y="540"/>
                  <a:pt x="2268" y="538"/>
                  <a:pt x="2267" y="534"/>
                </a:cubicBezTo>
                <a:cubicBezTo>
                  <a:pt x="2267" y="532"/>
                  <a:pt x="2267" y="529"/>
                  <a:pt x="2267" y="528"/>
                </a:cubicBezTo>
                <a:cubicBezTo>
                  <a:pt x="2266" y="527"/>
                  <a:pt x="2264" y="527"/>
                  <a:pt x="2263" y="525"/>
                </a:cubicBezTo>
                <a:cubicBezTo>
                  <a:pt x="2262" y="524"/>
                  <a:pt x="2262" y="522"/>
                  <a:pt x="2262" y="520"/>
                </a:cubicBezTo>
                <a:cubicBezTo>
                  <a:pt x="2261" y="517"/>
                  <a:pt x="2265" y="514"/>
                  <a:pt x="2267" y="514"/>
                </a:cubicBezTo>
                <a:cubicBezTo>
                  <a:pt x="2268" y="514"/>
                  <a:pt x="2268" y="515"/>
                  <a:pt x="2268" y="516"/>
                </a:cubicBezTo>
                <a:cubicBezTo>
                  <a:pt x="2268" y="517"/>
                  <a:pt x="2268" y="518"/>
                  <a:pt x="2269" y="519"/>
                </a:cubicBezTo>
                <a:cubicBezTo>
                  <a:pt x="2268" y="519"/>
                  <a:pt x="2267" y="519"/>
                  <a:pt x="2267" y="519"/>
                </a:cubicBezTo>
                <a:cubicBezTo>
                  <a:pt x="2267" y="520"/>
                  <a:pt x="2266" y="521"/>
                  <a:pt x="2265" y="523"/>
                </a:cubicBezTo>
                <a:cubicBezTo>
                  <a:pt x="2267" y="523"/>
                  <a:pt x="2267" y="523"/>
                  <a:pt x="2268" y="522"/>
                </a:cubicBezTo>
                <a:cubicBezTo>
                  <a:pt x="2269" y="521"/>
                  <a:pt x="2270" y="520"/>
                  <a:pt x="2271" y="519"/>
                </a:cubicBezTo>
                <a:cubicBezTo>
                  <a:pt x="2275" y="512"/>
                  <a:pt x="2281" y="508"/>
                  <a:pt x="2289" y="507"/>
                </a:cubicBezTo>
                <a:cubicBezTo>
                  <a:pt x="2292" y="506"/>
                  <a:pt x="2295" y="505"/>
                  <a:pt x="2297" y="502"/>
                </a:cubicBezTo>
                <a:cubicBezTo>
                  <a:pt x="2297" y="502"/>
                  <a:pt x="2298" y="502"/>
                  <a:pt x="2298" y="502"/>
                </a:cubicBezTo>
                <a:cubicBezTo>
                  <a:pt x="2301" y="501"/>
                  <a:pt x="2303" y="499"/>
                  <a:pt x="2305" y="497"/>
                </a:cubicBezTo>
                <a:cubicBezTo>
                  <a:pt x="2312" y="489"/>
                  <a:pt x="2324" y="489"/>
                  <a:pt x="2332" y="496"/>
                </a:cubicBezTo>
                <a:cubicBezTo>
                  <a:pt x="2334" y="498"/>
                  <a:pt x="2337" y="500"/>
                  <a:pt x="2339" y="502"/>
                </a:cubicBezTo>
                <a:cubicBezTo>
                  <a:pt x="2341" y="503"/>
                  <a:pt x="2342" y="504"/>
                  <a:pt x="2343" y="506"/>
                </a:cubicBezTo>
                <a:cubicBezTo>
                  <a:pt x="2344" y="508"/>
                  <a:pt x="2345" y="508"/>
                  <a:pt x="2346" y="507"/>
                </a:cubicBezTo>
                <a:cubicBezTo>
                  <a:pt x="2347" y="506"/>
                  <a:pt x="2347" y="506"/>
                  <a:pt x="2348" y="505"/>
                </a:cubicBezTo>
                <a:cubicBezTo>
                  <a:pt x="2350" y="502"/>
                  <a:pt x="2353" y="502"/>
                  <a:pt x="2354" y="505"/>
                </a:cubicBezTo>
                <a:cubicBezTo>
                  <a:pt x="2356" y="508"/>
                  <a:pt x="2356" y="511"/>
                  <a:pt x="2357" y="514"/>
                </a:cubicBezTo>
                <a:cubicBezTo>
                  <a:pt x="2358" y="519"/>
                  <a:pt x="2357" y="523"/>
                  <a:pt x="2356" y="527"/>
                </a:cubicBezTo>
                <a:cubicBezTo>
                  <a:pt x="2353" y="534"/>
                  <a:pt x="2349" y="537"/>
                  <a:pt x="2342" y="537"/>
                </a:cubicBezTo>
                <a:cubicBezTo>
                  <a:pt x="2341" y="537"/>
                  <a:pt x="2341" y="537"/>
                  <a:pt x="2340" y="537"/>
                </a:cubicBezTo>
                <a:cubicBezTo>
                  <a:pt x="2338" y="537"/>
                  <a:pt x="2336" y="537"/>
                  <a:pt x="2336" y="540"/>
                </a:cubicBezTo>
                <a:cubicBezTo>
                  <a:pt x="2334" y="544"/>
                  <a:pt x="2329" y="546"/>
                  <a:pt x="2325" y="542"/>
                </a:cubicBezTo>
                <a:cubicBezTo>
                  <a:pt x="2324" y="541"/>
                  <a:pt x="2323" y="540"/>
                  <a:pt x="2322" y="539"/>
                </a:cubicBezTo>
                <a:cubicBezTo>
                  <a:pt x="2322" y="540"/>
                  <a:pt x="2322" y="540"/>
                  <a:pt x="2321" y="540"/>
                </a:cubicBezTo>
                <a:close/>
                <a:moveTo>
                  <a:pt x="2316" y="535"/>
                </a:moveTo>
                <a:cubicBezTo>
                  <a:pt x="2319" y="537"/>
                  <a:pt x="2323" y="538"/>
                  <a:pt x="2325" y="541"/>
                </a:cubicBezTo>
                <a:cubicBezTo>
                  <a:pt x="2327" y="542"/>
                  <a:pt x="2329" y="543"/>
                  <a:pt x="2331" y="542"/>
                </a:cubicBezTo>
                <a:cubicBezTo>
                  <a:pt x="2334" y="542"/>
                  <a:pt x="2335" y="540"/>
                  <a:pt x="2335" y="537"/>
                </a:cubicBezTo>
                <a:cubicBezTo>
                  <a:pt x="2335" y="537"/>
                  <a:pt x="2334" y="537"/>
                  <a:pt x="2334" y="537"/>
                </a:cubicBezTo>
                <a:cubicBezTo>
                  <a:pt x="2334" y="539"/>
                  <a:pt x="2333" y="540"/>
                  <a:pt x="2332" y="541"/>
                </a:cubicBezTo>
                <a:cubicBezTo>
                  <a:pt x="2331" y="542"/>
                  <a:pt x="2329" y="542"/>
                  <a:pt x="2329" y="541"/>
                </a:cubicBezTo>
                <a:cubicBezTo>
                  <a:pt x="2328" y="541"/>
                  <a:pt x="2327" y="540"/>
                  <a:pt x="2327" y="539"/>
                </a:cubicBezTo>
                <a:cubicBezTo>
                  <a:pt x="2327" y="537"/>
                  <a:pt x="2328" y="535"/>
                  <a:pt x="2328" y="533"/>
                </a:cubicBezTo>
                <a:cubicBezTo>
                  <a:pt x="2331" y="534"/>
                  <a:pt x="2334" y="535"/>
                  <a:pt x="2338" y="535"/>
                </a:cubicBezTo>
                <a:cubicBezTo>
                  <a:pt x="2345" y="537"/>
                  <a:pt x="2351" y="535"/>
                  <a:pt x="2354" y="526"/>
                </a:cubicBezTo>
                <a:cubicBezTo>
                  <a:pt x="2356" y="521"/>
                  <a:pt x="2356" y="517"/>
                  <a:pt x="2355" y="512"/>
                </a:cubicBezTo>
                <a:cubicBezTo>
                  <a:pt x="2354" y="510"/>
                  <a:pt x="2354" y="508"/>
                  <a:pt x="2353" y="506"/>
                </a:cubicBezTo>
                <a:cubicBezTo>
                  <a:pt x="2352" y="504"/>
                  <a:pt x="2351" y="504"/>
                  <a:pt x="2350" y="506"/>
                </a:cubicBezTo>
                <a:cubicBezTo>
                  <a:pt x="2348" y="507"/>
                  <a:pt x="2347" y="509"/>
                  <a:pt x="2345" y="510"/>
                </a:cubicBezTo>
                <a:cubicBezTo>
                  <a:pt x="2344" y="510"/>
                  <a:pt x="2343" y="511"/>
                  <a:pt x="2343" y="512"/>
                </a:cubicBezTo>
                <a:cubicBezTo>
                  <a:pt x="2344" y="515"/>
                  <a:pt x="2343" y="518"/>
                  <a:pt x="2342" y="521"/>
                </a:cubicBezTo>
                <a:cubicBezTo>
                  <a:pt x="2342" y="519"/>
                  <a:pt x="2343" y="518"/>
                  <a:pt x="2343" y="516"/>
                </a:cubicBezTo>
                <a:cubicBezTo>
                  <a:pt x="2343" y="515"/>
                  <a:pt x="2342" y="515"/>
                  <a:pt x="2342" y="514"/>
                </a:cubicBezTo>
                <a:cubicBezTo>
                  <a:pt x="2342" y="515"/>
                  <a:pt x="2341" y="515"/>
                  <a:pt x="2341" y="515"/>
                </a:cubicBezTo>
                <a:cubicBezTo>
                  <a:pt x="2340" y="516"/>
                  <a:pt x="2339" y="518"/>
                  <a:pt x="2338" y="519"/>
                </a:cubicBezTo>
                <a:cubicBezTo>
                  <a:pt x="2338" y="519"/>
                  <a:pt x="2338" y="519"/>
                  <a:pt x="2338" y="519"/>
                </a:cubicBezTo>
                <a:cubicBezTo>
                  <a:pt x="2338" y="518"/>
                  <a:pt x="2339" y="516"/>
                  <a:pt x="2339" y="514"/>
                </a:cubicBezTo>
                <a:cubicBezTo>
                  <a:pt x="2338" y="514"/>
                  <a:pt x="2338" y="515"/>
                  <a:pt x="2337" y="516"/>
                </a:cubicBezTo>
                <a:cubicBezTo>
                  <a:pt x="2336" y="516"/>
                  <a:pt x="2336" y="517"/>
                  <a:pt x="2336" y="518"/>
                </a:cubicBezTo>
                <a:cubicBezTo>
                  <a:pt x="2336" y="514"/>
                  <a:pt x="2336" y="514"/>
                  <a:pt x="2342" y="513"/>
                </a:cubicBezTo>
                <a:cubicBezTo>
                  <a:pt x="2342" y="512"/>
                  <a:pt x="2341" y="512"/>
                  <a:pt x="2341" y="512"/>
                </a:cubicBezTo>
                <a:cubicBezTo>
                  <a:pt x="2338" y="512"/>
                  <a:pt x="2338" y="511"/>
                  <a:pt x="2337" y="508"/>
                </a:cubicBezTo>
                <a:cubicBezTo>
                  <a:pt x="2339" y="508"/>
                  <a:pt x="2340" y="508"/>
                  <a:pt x="2342" y="507"/>
                </a:cubicBezTo>
                <a:cubicBezTo>
                  <a:pt x="2340" y="505"/>
                  <a:pt x="2339" y="502"/>
                  <a:pt x="2336" y="502"/>
                </a:cubicBezTo>
                <a:cubicBezTo>
                  <a:pt x="2335" y="502"/>
                  <a:pt x="2335" y="501"/>
                  <a:pt x="2335" y="501"/>
                </a:cubicBezTo>
                <a:cubicBezTo>
                  <a:pt x="2333" y="499"/>
                  <a:pt x="2330" y="497"/>
                  <a:pt x="2327" y="495"/>
                </a:cubicBezTo>
                <a:cubicBezTo>
                  <a:pt x="2325" y="493"/>
                  <a:pt x="2322" y="493"/>
                  <a:pt x="2320" y="493"/>
                </a:cubicBezTo>
                <a:cubicBezTo>
                  <a:pt x="2317" y="493"/>
                  <a:pt x="2314" y="494"/>
                  <a:pt x="2311" y="495"/>
                </a:cubicBezTo>
                <a:cubicBezTo>
                  <a:pt x="2308" y="496"/>
                  <a:pt x="2305" y="498"/>
                  <a:pt x="2303" y="501"/>
                </a:cubicBezTo>
                <a:cubicBezTo>
                  <a:pt x="2305" y="501"/>
                  <a:pt x="2306" y="501"/>
                  <a:pt x="2307" y="501"/>
                </a:cubicBezTo>
                <a:cubicBezTo>
                  <a:pt x="2307" y="501"/>
                  <a:pt x="2306" y="502"/>
                  <a:pt x="2305" y="502"/>
                </a:cubicBezTo>
                <a:cubicBezTo>
                  <a:pt x="2303" y="502"/>
                  <a:pt x="2300" y="502"/>
                  <a:pt x="2298" y="504"/>
                </a:cubicBezTo>
                <a:cubicBezTo>
                  <a:pt x="2295" y="508"/>
                  <a:pt x="2291" y="512"/>
                  <a:pt x="2287" y="516"/>
                </a:cubicBezTo>
                <a:cubicBezTo>
                  <a:pt x="2286" y="518"/>
                  <a:pt x="2285" y="520"/>
                  <a:pt x="2284" y="523"/>
                </a:cubicBezTo>
                <a:cubicBezTo>
                  <a:pt x="2284" y="523"/>
                  <a:pt x="2284" y="524"/>
                  <a:pt x="2284" y="524"/>
                </a:cubicBezTo>
                <a:cubicBezTo>
                  <a:pt x="2285" y="526"/>
                  <a:pt x="2287" y="528"/>
                  <a:pt x="2288" y="530"/>
                </a:cubicBezTo>
                <a:cubicBezTo>
                  <a:pt x="2289" y="529"/>
                  <a:pt x="2291" y="527"/>
                  <a:pt x="2292" y="526"/>
                </a:cubicBezTo>
                <a:cubicBezTo>
                  <a:pt x="2291" y="527"/>
                  <a:pt x="2291" y="528"/>
                  <a:pt x="2290" y="530"/>
                </a:cubicBezTo>
                <a:cubicBezTo>
                  <a:pt x="2289" y="531"/>
                  <a:pt x="2289" y="532"/>
                  <a:pt x="2288" y="534"/>
                </a:cubicBezTo>
                <a:cubicBezTo>
                  <a:pt x="2288" y="535"/>
                  <a:pt x="2288" y="536"/>
                  <a:pt x="2289" y="537"/>
                </a:cubicBezTo>
                <a:cubicBezTo>
                  <a:pt x="2291" y="540"/>
                  <a:pt x="2294" y="540"/>
                  <a:pt x="2298" y="538"/>
                </a:cubicBezTo>
                <a:cubicBezTo>
                  <a:pt x="2300" y="537"/>
                  <a:pt x="2303" y="535"/>
                  <a:pt x="2306" y="535"/>
                </a:cubicBezTo>
                <a:cubicBezTo>
                  <a:pt x="2307" y="534"/>
                  <a:pt x="2309" y="533"/>
                  <a:pt x="2309" y="532"/>
                </a:cubicBezTo>
                <a:cubicBezTo>
                  <a:pt x="2309" y="529"/>
                  <a:pt x="2309" y="525"/>
                  <a:pt x="2309" y="522"/>
                </a:cubicBezTo>
                <a:cubicBezTo>
                  <a:pt x="2309" y="519"/>
                  <a:pt x="2309" y="516"/>
                  <a:pt x="2309" y="513"/>
                </a:cubicBezTo>
                <a:cubicBezTo>
                  <a:pt x="2309" y="516"/>
                  <a:pt x="2310" y="518"/>
                  <a:pt x="2310" y="521"/>
                </a:cubicBezTo>
                <a:cubicBezTo>
                  <a:pt x="2311" y="525"/>
                  <a:pt x="2311" y="530"/>
                  <a:pt x="2310" y="534"/>
                </a:cubicBezTo>
                <a:cubicBezTo>
                  <a:pt x="2309" y="535"/>
                  <a:pt x="2309" y="536"/>
                  <a:pt x="2308" y="536"/>
                </a:cubicBezTo>
                <a:cubicBezTo>
                  <a:pt x="2305" y="536"/>
                  <a:pt x="2302" y="538"/>
                  <a:pt x="2298" y="540"/>
                </a:cubicBezTo>
                <a:cubicBezTo>
                  <a:pt x="2293" y="543"/>
                  <a:pt x="2290" y="541"/>
                  <a:pt x="2286" y="537"/>
                </a:cubicBezTo>
                <a:cubicBezTo>
                  <a:pt x="2286" y="537"/>
                  <a:pt x="2286" y="535"/>
                  <a:pt x="2286" y="535"/>
                </a:cubicBezTo>
                <a:cubicBezTo>
                  <a:pt x="2287" y="533"/>
                  <a:pt x="2286" y="531"/>
                  <a:pt x="2285" y="529"/>
                </a:cubicBezTo>
                <a:cubicBezTo>
                  <a:pt x="2283" y="527"/>
                  <a:pt x="2282" y="524"/>
                  <a:pt x="2283" y="521"/>
                </a:cubicBezTo>
                <a:cubicBezTo>
                  <a:pt x="2283" y="519"/>
                  <a:pt x="2284" y="518"/>
                  <a:pt x="2285" y="516"/>
                </a:cubicBezTo>
                <a:cubicBezTo>
                  <a:pt x="2287" y="514"/>
                  <a:pt x="2289" y="511"/>
                  <a:pt x="2291" y="508"/>
                </a:cubicBezTo>
                <a:cubicBezTo>
                  <a:pt x="2291" y="508"/>
                  <a:pt x="2290" y="508"/>
                  <a:pt x="2290" y="508"/>
                </a:cubicBezTo>
                <a:cubicBezTo>
                  <a:pt x="2285" y="510"/>
                  <a:pt x="2281" y="511"/>
                  <a:pt x="2277" y="514"/>
                </a:cubicBezTo>
                <a:cubicBezTo>
                  <a:pt x="2272" y="519"/>
                  <a:pt x="2269" y="524"/>
                  <a:pt x="2269" y="531"/>
                </a:cubicBezTo>
                <a:cubicBezTo>
                  <a:pt x="2269" y="537"/>
                  <a:pt x="2271" y="543"/>
                  <a:pt x="2274" y="549"/>
                </a:cubicBezTo>
                <a:cubicBezTo>
                  <a:pt x="2275" y="550"/>
                  <a:pt x="2276" y="552"/>
                  <a:pt x="2275" y="553"/>
                </a:cubicBezTo>
                <a:cubicBezTo>
                  <a:pt x="2275" y="554"/>
                  <a:pt x="2275" y="556"/>
                  <a:pt x="2274" y="557"/>
                </a:cubicBezTo>
                <a:cubicBezTo>
                  <a:pt x="2274" y="559"/>
                  <a:pt x="2274" y="560"/>
                  <a:pt x="2275" y="560"/>
                </a:cubicBezTo>
                <a:cubicBezTo>
                  <a:pt x="2278" y="561"/>
                  <a:pt x="2281" y="561"/>
                  <a:pt x="2284" y="562"/>
                </a:cubicBezTo>
                <a:cubicBezTo>
                  <a:pt x="2285" y="562"/>
                  <a:pt x="2285" y="561"/>
                  <a:pt x="2285" y="561"/>
                </a:cubicBezTo>
                <a:cubicBezTo>
                  <a:pt x="2286" y="559"/>
                  <a:pt x="2286" y="558"/>
                  <a:pt x="2287" y="557"/>
                </a:cubicBezTo>
                <a:cubicBezTo>
                  <a:pt x="2289" y="555"/>
                  <a:pt x="2289" y="552"/>
                  <a:pt x="2289" y="549"/>
                </a:cubicBezTo>
                <a:cubicBezTo>
                  <a:pt x="2289" y="549"/>
                  <a:pt x="2289" y="548"/>
                  <a:pt x="2289" y="548"/>
                </a:cubicBezTo>
                <a:cubicBezTo>
                  <a:pt x="2289" y="548"/>
                  <a:pt x="2289" y="548"/>
                  <a:pt x="2289" y="547"/>
                </a:cubicBezTo>
                <a:cubicBezTo>
                  <a:pt x="2289" y="550"/>
                  <a:pt x="2291" y="550"/>
                  <a:pt x="2293" y="550"/>
                </a:cubicBezTo>
                <a:cubicBezTo>
                  <a:pt x="2293" y="550"/>
                  <a:pt x="2294" y="550"/>
                  <a:pt x="2295" y="550"/>
                </a:cubicBezTo>
                <a:cubicBezTo>
                  <a:pt x="2298" y="550"/>
                  <a:pt x="2301" y="551"/>
                  <a:pt x="2302" y="546"/>
                </a:cubicBezTo>
                <a:cubicBezTo>
                  <a:pt x="2302" y="549"/>
                  <a:pt x="2302" y="550"/>
                  <a:pt x="2302" y="551"/>
                </a:cubicBezTo>
                <a:cubicBezTo>
                  <a:pt x="2300" y="552"/>
                  <a:pt x="2299" y="553"/>
                  <a:pt x="2298" y="553"/>
                </a:cubicBezTo>
                <a:cubicBezTo>
                  <a:pt x="2296" y="554"/>
                  <a:pt x="2296" y="556"/>
                  <a:pt x="2296" y="556"/>
                </a:cubicBezTo>
                <a:cubicBezTo>
                  <a:pt x="2298" y="559"/>
                  <a:pt x="2299" y="561"/>
                  <a:pt x="2300" y="563"/>
                </a:cubicBezTo>
                <a:cubicBezTo>
                  <a:pt x="2302" y="564"/>
                  <a:pt x="2304" y="563"/>
                  <a:pt x="2305" y="562"/>
                </a:cubicBezTo>
                <a:cubicBezTo>
                  <a:pt x="2306" y="561"/>
                  <a:pt x="2307" y="560"/>
                  <a:pt x="2307" y="560"/>
                </a:cubicBezTo>
                <a:cubicBezTo>
                  <a:pt x="2309" y="558"/>
                  <a:pt x="2311" y="557"/>
                  <a:pt x="2312" y="556"/>
                </a:cubicBezTo>
                <a:cubicBezTo>
                  <a:pt x="2316" y="552"/>
                  <a:pt x="2318" y="546"/>
                  <a:pt x="2320" y="540"/>
                </a:cubicBezTo>
                <a:cubicBezTo>
                  <a:pt x="2320" y="539"/>
                  <a:pt x="2319" y="538"/>
                  <a:pt x="2319" y="538"/>
                </a:cubicBezTo>
                <a:cubicBezTo>
                  <a:pt x="2318" y="537"/>
                  <a:pt x="2317" y="536"/>
                  <a:pt x="2316" y="535"/>
                </a:cubicBezTo>
                <a:close/>
                <a:moveTo>
                  <a:pt x="2269" y="542"/>
                </a:moveTo>
                <a:cubicBezTo>
                  <a:pt x="2268" y="542"/>
                  <a:pt x="2266" y="543"/>
                  <a:pt x="2265" y="544"/>
                </a:cubicBezTo>
                <a:cubicBezTo>
                  <a:pt x="2265" y="545"/>
                  <a:pt x="2264" y="546"/>
                  <a:pt x="2264" y="546"/>
                </a:cubicBezTo>
                <a:cubicBezTo>
                  <a:pt x="2264" y="549"/>
                  <a:pt x="2269" y="554"/>
                  <a:pt x="2272" y="553"/>
                </a:cubicBezTo>
                <a:cubicBezTo>
                  <a:pt x="2273" y="553"/>
                  <a:pt x="2274" y="552"/>
                  <a:pt x="2273" y="550"/>
                </a:cubicBezTo>
                <a:cubicBezTo>
                  <a:pt x="2272" y="547"/>
                  <a:pt x="2270" y="544"/>
                  <a:pt x="2269" y="542"/>
                </a:cubicBezTo>
                <a:close/>
                <a:moveTo>
                  <a:pt x="2321" y="544"/>
                </a:moveTo>
                <a:cubicBezTo>
                  <a:pt x="2319" y="548"/>
                  <a:pt x="2316" y="553"/>
                  <a:pt x="2314" y="557"/>
                </a:cubicBezTo>
                <a:cubicBezTo>
                  <a:pt x="2317" y="557"/>
                  <a:pt x="2319" y="557"/>
                  <a:pt x="2322" y="557"/>
                </a:cubicBezTo>
                <a:cubicBezTo>
                  <a:pt x="2322" y="557"/>
                  <a:pt x="2323" y="556"/>
                  <a:pt x="2323" y="556"/>
                </a:cubicBezTo>
                <a:cubicBezTo>
                  <a:pt x="2323" y="553"/>
                  <a:pt x="2323" y="550"/>
                  <a:pt x="2322" y="548"/>
                </a:cubicBezTo>
                <a:cubicBezTo>
                  <a:pt x="2322" y="546"/>
                  <a:pt x="2322" y="545"/>
                  <a:pt x="2321" y="544"/>
                </a:cubicBezTo>
                <a:close/>
                <a:moveTo>
                  <a:pt x="2269" y="523"/>
                </a:moveTo>
                <a:cubicBezTo>
                  <a:pt x="2268" y="524"/>
                  <a:pt x="2267" y="524"/>
                  <a:pt x="2267" y="524"/>
                </a:cubicBezTo>
                <a:cubicBezTo>
                  <a:pt x="2266" y="524"/>
                  <a:pt x="2265" y="524"/>
                  <a:pt x="2265" y="524"/>
                </a:cubicBezTo>
                <a:cubicBezTo>
                  <a:pt x="2265" y="523"/>
                  <a:pt x="2264" y="523"/>
                  <a:pt x="2264" y="522"/>
                </a:cubicBezTo>
                <a:cubicBezTo>
                  <a:pt x="2265" y="520"/>
                  <a:pt x="2265" y="518"/>
                  <a:pt x="2266" y="516"/>
                </a:cubicBezTo>
                <a:cubicBezTo>
                  <a:pt x="2266" y="516"/>
                  <a:pt x="2266" y="516"/>
                  <a:pt x="2265" y="516"/>
                </a:cubicBezTo>
                <a:cubicBezTo>
                  <a:pt x="2265" y="517"/>
                  <a:pt x="2263" y="518"/>
                  <a:pt x="2263" y="519"/>
                </a:cubicBezTo>
                <a:cubicBezTo>
                  <a:pt x="2262" y="520"/>
                  <a:pt x="2263" y="525"/>
                  <a:pt x="2265" y="526"/>
                </a:cubicBezTo>
                <a:cubicBezTo>
                  <a:pt x="2267" y="527"/>
                  <a:pt x="2269" y="525"/>
                  <a:pt x="2269" y="523"/>
                </a:cubicBezTo>
                <a:close/>
                <a:moveTo>
                  <a:pt x="2268" y="542"/>
                </a:moveTo>
                <a:cubicBezTo>
                  <a:pt x="2268" y="543"/>
                  <a:pt x="2266" y="543"/>
                  <a:pt x="2265" y="544"/>
                </a:cubicBezTo>
                <a:cubicBezTo>
                  <a:pt x="2264" y="545"/>
                  <a:pt x="2264" y="546"/>
                  <a:pt x="2264" y="546"/>
                </a:cubicBezTo>
                <a:cubicBezTo>
                  <a:pt x="2264" y="549"/>
                  <a:pt x="2268" y="553"/>
                  <a:pt x="2272" y="553"/>
                </a:cubicBezTo>
                <a:cubicBezTo>
                  <a:pt x="2273" y="553"/>
                  <a:pt x="2274" y="552"/>
                  <a:pt x="2273" y="550"/>
                </a:cubicBezTo>
                <a:cubicBezTo>
                  <a:pt x="2272" y="547"/>
                  <a:pt x="2270" y="544"/>
                  <a:pt x="2268" y="542"/>
                </a:cubicBezTo>
                <a:close/>
                <a:moveTo>
                  <a:pt x="2321" y="544"/>
                </a:moveTo>
                <a:cubicBezTo>
                  <a:pt x="2319" y="548"/>
                  <a:pt x="2316" y="553"/>
                  <a:pt x="2314" y="557"/>
                </a:cubicBezTo>
                <a:cubicBezTo>
                  <a:pt x="2317" y="557"/>
                  <a:pt x="2319" y="558"/>
                  <a:pt x="2322" y="557"/>
                </a:cubicBezTo>
                <a:cubicBezTo>
                  <a:pt x="2322" y="557"/>
                  <a:pt x="2323" y="556"/>
                  <a:pt x="2323" y="556"/>
                </a:cubicBezTo>
                <a:cubicBezTo>
                  <a:pt x="2323" y="553"/>
                  <a:pt x="2323" y="550"/>
                  <a:pt x="2322" y="548"/>
                </a:cubicBezTo>
                <a:cubicBezTo>
                  <a:pt x="2322" y="547"/>
                  <a:pt x="2321" y="545"/>
                  <a:pt x="2321" y="544"/>
                </a:cubicBezTo>
                <a:close/>
                <a:moveTo>
                  <a:pt x="2268" y="523"/>
                </a:moveTo>
                <a:cubicBezTo>
                  <a:pt x="2268" y="524"/>
                  <a:pt x="2267" y="524"/>
                  <a:pt x="2266" y="524"/>
                </a:cubicBezTo>
                <a:cubicBezTo>
                  <a:pt x="2266" y="524"/>
                  <a:pt x="2265" y="524"/>
                  <a:pt x="2265" y="524"/>
                </a:cubicBezTo>
                <a:cubicBezTo>
                  <a:pt x="2264" y="523"/>
                  <a:pt x="2264" y="523"/>
                  <a:pt x="2264" y="522"/>
                </a:cubicBezTo>
                <a:cubicBezTo>
                  <a:pt x="2265" y="520"/>
                  <a:pt x="2265" y="518"/>
                  <a:pt x="2266" y="516"/>
                </a:cubicBezTo>
                <a:cubicBezTo>
                  <a:pt x="2266" y="516"/>
                  <a:pt x="2266" y="516"/>
                  <a:pt x="2265" y="516"/>
                </a:cubicBezTo>
                <a:cubicBezTo>
                  <a:pt x="2264" y="517"/>
                  <a:pt x="2263" y="517"/>
                  <a:pt x="2262" y="519"/>
                </a:cubicBezTo>
                <a:cubicBezTo>
                  <a:pt x="2262" y="520"/>
                  <a:pt x="2263" y="525"/>
                  <a:pt x="2265" y="526"/>
                </a:cubicBezTo>
                <a:cubicBezTo>
                  <a:pt x="2266" y="526"/>
                  <a:pt x="2268" y="525"/>
                  <a:pt x="2268" y="523"/>
                </a:cubicBezTo>
                <a:close/>
                <a:moveTo>
                  <a:pt x="2321" y="515"/>
                </a:moveTo>
                <a:cubicBezTo>
                  <a:pt x="2324" y="512"/>
                  <a:pt x="2324" y="512"/>
                  <a:pt x="2328" y="511"/>
                </a:cubicBezTo>
                <a:cubicBezTo>
                  <a:pt x="2328" y="512"/>
                  <a:pt x="2329" y="514"/>
                  <a:pt x="2330" y="514"/>
                </a:cubicBezTo>
                <a:cubicBezTo>
                  <a:pt x="2328" y="515"/>
                  <a:pt x="2326" y="516"/>
                  <a:pt x="2324" y="517"/>
                </a:cubicBezTo>
                <a:cubicBezTo>
                  <a:pt x="2323" y="517"/>
                  <a:pt x="2323" y="516"/>
                  <a:pt x="2322" y="515"/>
                </a:cubicBezTo>
                <a:cubicBezTo>
                  <a:pt x="2322" y="515"/>
                  <a:pt x="2321" y="515"/>
                  <a:pt x="2321" y="515"/>
                </a:cubicBezTo>
                <a:close/>
                <a:moveTo>
                  <a:pt x="2326" y="515"/>
                </a:moveTo>
                <a:cubicBezTo>
                  <a:pt x="2326" y="514"/>
                  <a:pt x="2325" y="514"/>
                  <a:pt x="2324" y="514"/>
                </a:cubicBezTo>
                <a:cubicBezTo>
                  <a:pt x="2324" y="514"/>
                  <a:pt x="2323" y="515"/>
                  <a:pt x="2323" y="515"/>
                </a:cubicBezTo>
                <a:cubicBezTo>
                  <a:pt x="2323" y="515"/>
                  <a:pt x="2324" y="516"/>
                  <a:pt x="2324" y="516"/>
                </a:cubicBezTo>
                <a:cubicBezTo>
                  <a:pt x="2325" y="516"/>
                  <a:pt x="2325" y="515"/>
                  <a:pt x="2326" y="515"/>
                </a:cubicBezTo>
                <a:close/>
                <a:moveTo>
                  <a:pt x="2308" y="505"/>
                </a:moveTo>
                <a:cubicBezTo>
                  <a:pt x="2301" y="504"/>
                  <a:pt x="2298" y="507"/>
                  <a:pt x="2297" y="515"/>
                </a:cubicBezTo>
                <a:cubicBezTo>
                  <a:pt x="2298" y="513"/>
                  <a:pt x="2299" y="510"/>
                  <a:pt x="2301" y="508"/>
                </a:cubicBezTo>
                <a:cubicBezTo>
                  <a:pt x="2301" y="508"/>
                  <a:pt x="2301" y="508"/>
                  <a:pt x="2301" y="508"/>
                </a:cubicBezTo>
                <a:cubicBezTo>
                  <a:pt x="2301" y="509"/>
                  <a:pt x="2301" y="510"/>
                  <a:pt x="2301" y="511"/>
                </a:cubicBezTo>
                <a:cubicBezTo>
                  <a:pt x="2303" y="508"/>
                  <a:pt x="2304" y="506"/>
                  <a:pt x="2308" y="505"/>
                </a:cubicBezTo>
                <a:close/>
                <a:moveTo>
                  <a:pt x="2351" y="507"/>
                </a:moveTo>
                <a:cubicBezTo>
                  <a:pt x="2349" y="508"/>
                  <a:pt x="2347" y="510"/>
                  <a:pt x="2346" y="511"/>
                </a:cubicBezTo>
                <a:cubicBezTo>
                  <a:pt x="2348" y="511"/>
                  <a:pt x="2350" y="510"/>
                  <a:pt x="2351" y="507"/>
                </a:cubicBezTo>
                <a:close/>
                <a:moveTo>
                  <a:pt x="2318" y="509"/>
                </a:moveTo>
                <a:cubicBezTo>
                  <a:pt x="2319" y="508"/>
                  <a:pt x="2320" y="506"/>
                  <a:pt x="2322" y="505"/>
                </a:cubicBezTo>
                <a:cubicBezTo>
                  <a:pt x="2318" y="506"/>
                  <a:pt x="2317" y="507"/>
                  <a:pt x="2318" y="509"/>
                </a:cubicBezTo>
                <a:close/>
                <a:moveTo>
                  <a:pt x="2328" y="530"/>
                </a:moveTo>
                <a:cubicBezTo>
                  <a:pt x="2326" y="531"/>
                  <a:pt x="2325" y="531"/>
                  <a:pt x="2325" y="532"/>
                </a:cubicBezTo>
                <a:cubicBezTo>
                  <a:pt x="2326" y="532"/>
                  <a:pt x="2327" y="531"/>
                  <a:pt x="2328" y="530"/>
                </a:cubicBezTo>
                <a:close/>
                <a:moveTo>
                  <a:pt x="2326" y="515"/>
                </a:moveTo>
                <a:cubicBezTo>
                  <a:pt x="2326" y="514"/>
                  <a:pt x="2325" y="514"/>
                  <a:pt x="2325" y="514"/>
                </a:cubicBezTo>
                <a:cubicBezTo>
                  <a:pt x="2324" y="514"/>
                  <a:pt x="2324" y="515"/>
                  <a:pt x="2324" y="515"/>
                </a:cubicBezTo>
                <a:cubicBezTo>
                  <a:pt x="2324" y="516"/>
                  <a:pt x="2324" y="516"/>
                  <a:pt x="2324" y="516"/>
                </a:cubicBezTo>
                <a:cubicBezTo>
                  <a:pt x="2325" y="516"/>
                  <a:pt x="2325" y="516"/>
                  <a:pt x="2326" y="515"/>
                </a:cubicBezTo>
                <a:close/>
                <a:moveTo>
                  <a:pt x="2617" y="492"/>
                </a:moveTo>
                <a:cubicBezTo>
                  <a:pt x="2617" y="492"/>
                  <a:pt x="2617" y="492"/>
                  <a:pt x="2617" y="492"/>
                </a:cubicBezTo>
                <a:cubicBezTo>
                  <a:pt x="2613" y="492"/>
                  <a:pt x="2613" y="492"/>
                  <a:pt x="2613" y="492"/>
                </a:cubicBezTo>
                <a:cubicBezTo>
                  <a:pt x="2611" y="494"/>
                  <a:pt x="2609" y="495"/>
                  <a:pt x="2607" y="496"/>
                </a:cubicBezTo>
                <a:cubicBezTo>
                  <a:pt x="2606" y="497"/>
                  <a:pt x="2603" y="498"/>
                  <a:pt x="2602" y="499"/>
                </a:cubicBezTo>
                <a:cubicBezTo>
                  <a:pt x="2600" y="500"/>
                  <a:pt x="2598" y="501"/>
                  <a:pt x="2596" y="502"/>
                </a:cubicBezTo>
                <a:cubicBezTo>
                  <a:pt x="2595" y="503"/>
                  <a:pt x="2592" y="503"/>
                  <a:pt x="2591" y="503"/>
                </a:cubicBezTo>
                <a:cubicBezTo>
                  <a:pt x="2591" y="503"/>
                  <a:pt x="2591" y="503"/>
                  <a:pt x="2591" y="513"/>
                </a:cubicBezTo>
                <a:cubicBezTo>
                  <a:pt x="2594" y="513"/>
                  <a:pt x="2597" y="512"/>
                  <a:pt x="2599" y="511"/>
                </a:cubicBezTo>
                <a:cubicBezTo>
                  <a:pt x="2601" y="510"/>
                  <a:pt x="2604" y="508"/>
                  <a:pt x="2606" y="507"/>
                </a:cubicBezTo>
                <a:cubicBezTo>
                  <a:pt x="2606" y="507"/>
                  <a:pt x="2606" y="507"/>
                  <a:pt x="2606" y="566"/>
                </a:cubicBezTo>
                <a:cubicBezTo>
                  <a:pt x="2606" y="566"/>
                  <a:pt x="2606" y="566"/>
                  <a:pt x="2617" y="566"/>
                </a:cubicBezTo>
                <a:cubicBezTo>
                  <a:pt x="2617" y="566"/>
                  <a:pt x="2617" y="566"/>
                  <a:pt x="2617" y="492"/>
                </a:cubicBezTo>
                <a:close/>
                <a:moveTo>
                  <a:pt x="2739" y="492"/>
                </a:moveTo>
                <a:cubicBezTo>
                  <a:pt x="2739" y="492"/>
                  <a:pt x="2739" y="492"/>
                  <a:pt x="2739" y="492"/>
                </a:cubicBezTo>
                <a:cubicBezTo>
                  <a:pt x="2734" y="492"/>
                  <a:pt x="2734" y="492"/>
                  <a:pt x="2734" y="492"/>
                </a:cubicBezTo>
                <a:cubicBezTo>
                  <a:pt x="2731" y="494"/>
                  <a:pt x="2730" y="495"/>
                  <a:pt x="2728" y="496"/>
                </a:cubicBezTo>
                <a:cubicBezTo>
                  <a:pt x="2726" y="497"/>
                  <a:pt x="2725" y="498"/>
                  <a:pt x="2722" y="499"/>
                </a:cubicBezTo>
                <a:cubicBezTo>
                  <a:pt x="2721" y="500"/>
                  <a:pt x="2719" y="501"/>
                  <a:pt x="2717" y="502"/>
                </a:cubicBezTo>
                <a:cubicBezTo>
                  <a:pt x="2715" y="503"/>
                  <a:pt x="2714" y="503"/>
                  <a:pt x="2711" y="503"/>
                </a:cubicBezTo>
                <a:cubicBezTo>
                  <a:pt x="2711" y="503"/>
                  <a:pt x="2711" y="503"/>
                  <a:pt x="2711" y="513"/>
                </a:cubicBezTo>
                <a:cubicBezTo>
                  <a:pt x="2714" y="513"/>
                  <a:pt x="2717" y="512"/>
                  <a:pt x="2720" y="511"/>
                </a:cubicBezTo>
                <a:cubicBezTo>
                  <a:pt x="2722" y="510"/>
                  <a:pt x="2725" y="508"/>
                  <a:pt x="2727" y="507"/>
                </a:cubicBezTo>
                <a:cubicBezTo>
                  <a:pt x="2727" y="507"/>
                  <a:pt x="2727" y="507"/>
                  <a:pt x="2727" y="566"/>
                </a:cubicBezTo>
                <a:cubicBezTo>
                  <a:pt x="2727" y="566"/>
                  <a:pt x="2727" y="566"/>
                  <a:pt x="2739" y="566"/>
                </a:cubicBezTo>
                <a:cubicBezTo>
                  <a:pt x="2739" y="566"/>
                  <a:pt x="2739" y="566"/>
                  <a:pt x="2739" y="492"/>
                </a:cubicBezTo>
                <a:close/>
                <a:moveTo>
                  <a:pt x="2785" y="492"/>
                </a:moveTo>
                <a:cubicBezTo>
                  <a:pt x="2785" y="492"/>
                  <a:pt x="2785" y="492"/>
                  <a:pt x="2785" y="492"/>
                </a:cubicBezTo>
                <a:cubicBezTo>
                  <a:pt x="2780" y="492"/>
                  <a:pt x="2780" y="492"/>
                  <a:pt x="2780" y="492"/>
                </a:cubicBezTo>
                <a:cubicBezTo>
                  <a:pt x="2778" y="494"/>
                  <a:pt x="2777" y="495"/>
                  <a:pt x="2774" y="496"/>
                </a:cubicBezTo>
                <a:cubicBezTo>
                  <a:pt x="2773" y="497"/>
                  <a:pt x="2771" y="498"/>
                  <a:pt x="2769" y="499"/>
                </a:cubicBezTo>
                <a:cubicBezTo>
                  <a:pt x="2768" y="500"/>
                  <a:pt x="2766" y="501"/>
                  <a:pt x="2764" y="502"/>
                </a:cubicBezTo>
                <a:cubicBezTo>
                  <a:pt x="2762" y="503"/>
                  <a:pt x="2761" y="503"/>
                  <a:pt x="2758" y="503"/>
                </a:cubicBezTo>
                <a:cubicBezTo>
                  <a:pt x="2758" y="503"/>
                  <a:pt x="2758" y="503"/>
                  <a:pt x="2758" y="513"/>
                </a:cubicBezTo>
                <a:cubicBezTo>
                  <a:pt x="2761" y="513"/>
                  <a:pt x="2764" y="512"/>
                  <a:pt x="2766" y="511"/>
                </a:cubicBezTo>
                <a:cubicBezTo>
                  <a:pt x="2769" y="510"/>
                  <a:pt x="2771" y="508"/>
                  <a:pt x="2774" y="507"/>
                </a:cubicBezTo>
                <a:cubicBezTo>
                  <a:pt x="2774" y="507"/>
                  <a:pt x="2774" y="507"/>
                  <a:pt x="2774" y="566"/>
                </a:cubicBezTo>
                <a:cubicBezTo>
                  <a:pt x="2774" y="566"/>
                  <a:pt x="2774" y="566"/>
                  <a:pt x="2785" y="566"/>
                </a:cubicBezTo>
                <a:cubicBezTo>
                  <a:pt x="2785" y="566"/>
                  <a:pt x="2785" y="566"/>
                  <a:pt x="2785" y="492"/>
                </a:cubicBezTo>
                <a:close/>
                <a:moveTo>
                  <a:pt x="2831" y="492"/>
                </a:moveTo>
                <a:cubicBezTo>
                  <a:pt x="2831" y="492"/>
                  <a:pt x="2831" y="492"/>
                  <a:pt x="2831" y="492"/>
                </a:cubicBezTo>
                <a:cubicBezTo>
                  <a:pt x="2827" y="492"/>
                  <a:pt x="2827" y="492"/>
                  <a:pt x="2827" y="492"/>
                </a:cubicBezTo>
                <a:cubicBezTo>
                  <a:pt x="2825" y="494"/>
                  <a:pt x="2823" y="495"/>
                  <a:pt x="2821" y="496"/>
                </a:cubicBezTo>
                <a:cubicBezTo>
                  <a:pt x="2820" y="497"/>
                  <a:pt x="2817" y="498"/>
                  <a:pt x="2816" y="499"/>
                </a:cubicBezTo>
                <a:cubicBezTo>
                  <a:pt x="2814" y="500"/>
                  <a:pt x="2812" y="500"/>
                  <a:pt x="2810" y="501"/>
                </a:cubicBezTo>
                <a:cubicBezTo>
                  <a:pt x="2809" y="502"/>
                  <a:pt x="2806" y="503"/>
                  <a:pt x="2805" y="503"/>
                </a:cubicBezTo>
                <a:cubicBezTo>
                  <a:pt x="2805" y="503"/>
                  <a:pt x="2805" y="503"/>
                  <a:pt x="2805" y="513"/>
                </a:cubicBezTo>
                <a:cubicBezTo>
                  <a:pt x="2808" y="513"/>
                  <a:pt x="2811" y="511"/>
                  <a:pt x="2813" y="511"/>
                </a:cubicBezTo>
                <a:cubicBezTo>
                  <a:pt x="2815" y="510"/>
                  <a:pt x="2818" y="508"/>
                  <a:pt x="2820" y="507"/>
                </a:cubicBezTo>
                <a:cubicBezTo>
                  <a:pt x="2820" y="507"/>
                  <a:pt x="2820" y="507"/>
                  <a:pt x="2820" y="566"/>
                </a:cubicBezTo>
                <a:cubicBezTo>
                  <a:pt x="2820" y="566"/>
                  <a:pt x="2820" y="566"/>
                  <a:pt x="2831" y="566"/>
                </a:cubicBezTo>
                <a:cubicBezTo>
                  <a:pt x="2831" y="566"/>
                  <a:pt x="2831" y="566"/>
                  <a:pt x="2831" y="492"/>
                </a:cubicBezTo>
                <a:close/>
                <a:moveTo>
                  <a:pt x="2637" y="525"/>
                </a:moveTo>
                <a:cubicBezTo>
                  <a:pt x="2637" y="525"/>
                  <a:pt x="2637" y="525"/>
                  <a:pt x="2637" y="525"/>
                </a:cubicBezTo>
                <a:cubicBezTo>
                  <a:pt x="2637" y="533"/>
                  <a:pt x="2637" y="533"/>
                  <a:pt x="2637" y="533"/>
                </a:cubicBezTo>
                <a:cubicBezTo>
                  <a:pt x="2643" y="533"/>
                  <a:pt x="2644" y="536"/>
                  <a:pt x="2644" y="539"/>
                </a:cubicBezTo>
                <a:cubicBezTo>
                  <a:pt x="2644" y="541"/>
                  <a:pt x="2644" y="543"/>
                  <a:pt x="2644" y="546"/>
                </a:cubicBezTo>
                <a:cubicBezTo>
                  <a:pt x="2643" y="549"/>
                  <a:pt x="2643" y="551"/>
                  <a:pt x="2643" y="553"/>
                </a:cubicBezTo>
                <a:cubicBezTo>
                  <a:pt x="2643" y="562"/>
                  <a:pt x="2649" y="566"/>
                  <a:pt x="2657" y="566"/>
                </a:cubicBezTo>
                <a:cubicBezTo>
                  <a:pt x="2657" y="566"/>
                  <a:pt x="2657" y="566"/>
                  <a:pt x="2661" y="566"/>
                </a:cubicBezTo>
                <a:cubicBezTo>
                  <a:pt x="2661" y="566"/>
                  <a:pt x="2661" y="566"/>
                  <a:pt x="2661" y="557"/>
                </a:cubicBezTo>
                <a:cubicBezTo>
                  <a:pt x="2661" y="557"/>
                  <a:pt x="2661" y="557"/>
                  <a:pt x="2659" y="557"/>
                </a:cubicBezTo>
                <a:cubicBezTo>
                  <a:pt x="2656" y="557"/>
                  <a:pt x="2655" y="554"/>
                  <a:pt x="2655" y="551"/>
                </a:cubicBezTo>
                <a:cubicBezTo>
                  <a:pt x="2655" y="549"/>
                  <a:pt x="2655" y="548"/>
                  <a:pt x="2655" y="546"/>
                </a:cubicBezTo>
                <a:cubicBezTo>
                  <a:pt x="2655" y="544"/>
                  <a:pt x="2655" y="542"/>
                  <a:pt x="2655" y="540"/>
                </a:cubicBezTo>
                <a:cubicBezTo>
                  <a:pt x="2655" y="533"/>
                  <a:pt x="2652" y="530"/>
                  <a:pt x="2647" y="529"/>
                </a:cubicBezTo>
                <a:cubicBezTo>
                  <a:pt x="2647" y="529"/>
                  <a:pt x="2647" y="529"/>
                  <a:pt x="2647" y="528"/>
                </a:cubicBezTo>
                <a:cubicBezTo>
                  <a:pt x="2652" y="527"/>
                  <a:pt x="2655" y="525"/>
                  <a:pt x="2655" y="518"/>
                </a:cubicBezTo>
                <a:cubicBezTo>
                  <a:pt x="2655" y="515"/>
                  <a:pt x="2655" y="513"/>
                  <a:pt x="2655" y="511"/>
                </a:cubicBezTo>
                <a:cubicBezTo>
                  <a:pt x="2655" y="510"/>
                  <a:pt x="2655" y="508"/>
                  <a:pt x="2655" y="507"/>
                </a:cubicBezTo>
                <a:cubicBezTo>
                  <a:pt x="2655" y="503"/>
                  <a:pt x="2656" y="501"/>
                  <a:pt x="2659" y="501"/>
                </a:cubicBezTo>
                <a:cubicBezTo>
                  <a:pt x="2659" y="501"/>
                  <a:pt x="2659" y="501"/>
                  <a:pt x="2661" y="501"/>
                </a:cubicBezTo>
                <a:cubicBezTo>
                  <a:pt x="2661" y="501"/>
                  <a:pt x="2661" y="501"/>
                  <a:pt x="2661" y="491"/>
                </a:cubicBezTo>
                <a:cubicBezTo>
                  <a:pt x="2661" y="491"/>
                  <a:pt x="2661" y="491"/>
                  <a:pt x="2657" y="491"/>
                </a:cubicBezTo>
                <a:cubicBezTo>
                  <a:pt x="2648" y="491"/>
                  <a:pt x="2643" y="496"/>
                  <a:pt x="2643" y="504"/>
                </a:cubicBezTo>
                <a:cubicBezTo>
                  <a:pt x="2643" y="506"/>
                  <a:pt x="2643" y="509"/>
                  <a:pt x="2643" y="512"/>
                </a:cubicBezTo>
                <a:cubicBezTo>
                  <a:pt x="2644" y="514"/>
                  <a:pt x="2644" y="516"/>
                  <a:pt x="2644" y="518"/>
                </a:cubicBezTo>
                <a:cubicBezTo>
                  <a:pt x="2644" y="521"/>
                  <a:pt x="2643" y="524"/>
                  <a:pt x="2637" y="525"/>
                </a:cubicBezTo>
                <a:close/>
                <a:moveTo>
                  <a:pt x="2692" y="533"/>
                </a:moveTo>
                <a:cubicBezTo>
                  <a:pt x="2692" y="533"/>
                  <a:pt x="2692" y="533"/>
                  <a:pt x="2692" y="533"/>
                </a:cubicBezTo>
                <a:cubicBezTo>
                  <a:pt x="2692" y="525"/>
                  <a:pt x="2692" y="525"/>
                  <a:pt x="2692" y="525"/>
                </a:cubicBezTo>
                <a:cubicBezTo>
                  <a:pt x="2685" y="524"/>
                  <a:pt x="2685" y="521"/>
                  <a:pt x="2685" y="518"/>
                </a:cubicBezTo>
                <a:cubicBezTo>
                  <a:pt x="2685" y="516"/>
                  <a:pt x="2685" y="514"/>
                  <a:pt x="2685" y="512"/>
                </a:cubicBezTo>
                <a:cubicBezTo>
                  <a:pt x="2686" y="509"/>
                  <a:pt x="2686" y="506"/>
                  <a:pt x="2686" y="504"/>
                </a:cubicBezTo>
                <a:cubicBezTo>
                  <a:pt x="2686" y="496"/>
                  <a:pt x="2681" y="491"/>
                  <a:pt x="2671" y="491"/>
                </a:cubicBezTo>
                <a:cubicBezTo>
                  <a:pt x="2671" y="491"/>
                  <a:pt x="2671" y="491"/>
                  <a:pt x="2668" y="491"/>
                </a:cubicBezTo>
                <a:cubicBezTo>
                  <a:pt x="2668" y="491"/>
                  <a:pt x="2668" y="491"/>
                  <a:pt x="2668" y="501"/>
                </a:cubicBezTo>
                <a:cubicBezTo>
                  <a:pt x="2668" y="501"/>
                  <a:pt x="2668" y="501"/>
                  <a:pt x="2669" y="501"/>
                </a:cubicBezTo>
                <a:cubicBezTo>
                  <a:pt x="2673" y="501"/>
                  <a:pt x="2674" y="503"/>
                  <a:pt x="2674" y="507"/>
                </a:cubicBezTo>
                <a:cubicBezTo>
                  <a:pt x="2674" y="508"/>
                  <a:pt x="2674" y="510"/>
                  <a:pt x="2674" y="511"/>
                </a:cubicBezTo>
                <a:cubicBezTo>
                  <a:pt x="2674" y="513"/>
                  <a:pt x="2674" y="515"/>
                  <a:pt x="2674" y="518"/>
                </a:cubicBezTo>
                <a:cubicBezTo>
                  <a:pt x="2674" y="525"/>
                  <a:pt x="2676" y="527"/>
                  <a:pt x="2682" y="528"/>
                </a:cubicBezTo>
                <a:cubicBezTo>
                  <a:pt x="2682" y="528"/>
                  <a:pt x="2682" y="528"/>
                  <a:pt x="2682" y="529"/>
                </a:cubicBezTo>
                <a:cubicBezTo>
                  <a:pt x="2676" y="530"/>
                  <a:pt x="2674" y="533"/>
                  <a:pt x="2674" y="540"/>
                </a:cubicBezTo>
                <a:cubicBezTo>
                  <a:pt x="2674" y="542"/>
                  <a:pt x="2674" y="544"/>
                  <a:pt x="2674" y="546"/>
                </a:cubicBezTo>
                <a:cubicBezTo>
                  <a:pt x="2674" y="548"/>
                  <a:pt x="2674" y="549"/>
                  <a:pt x="2674" y="551"/>
                </a:cubicBezTo>
                <a:cubicBezTo>
                  <a:pt x="2674" y="554"/>
                  <a:pt x="2673" y="557"/>
                  <a:pt x="2669" y="557"/>
                </a:cubicBezTo>
                <a:cubicBezTo>
                  <a:pt x="2669" y="557"/>
                  <a:pt x="2669" y="557"/>
                  <a:pt x="2668" y="557"/>
                </a:cubicBezTo>
                <a:cubicBezTo>
                  <a:pt x="2668" y="557"/>
                  <a:pt x="2668" y="557"/>
                  <a:pt x="2668" y="566"/>
                </a:cubicBezTo>
                <a:cubicBezTo>
                  <a:pt x="2668" y="566"/>
                  <a:pt x="2668" y="566"/>
                  <a:pt x="2671" y="566"/>
                </a:cubicBezTo>
                <a:cubicBezTo>
                  <a:pt x="2680" y="566"/>
                  <a:pt x="2686" y="562"/>
                  <a:pt x="2686" y="553"/>
                </a:cubicBezTo>
                <a:cubicBezTo>
                  <a:pt x="2686" y="551"/>
                  <a:pt x="2686" y="549"/>
                  <a:pt x="2685" y="546"/>
                </a:cubicBezTo>
                <a:cubicBezTo>
                  <a:pt x="2685" y="543"/>
                  <a:pt x="2685" y="541"/>
                  <a:pt x="2685" y="539"/>
                </a:cubicBezTo>
                <a:cubicBezTo>
                  <a:pt x="2685" y="536"/>
                  <a:pt x="2685" y="533"/>
                  <a:pt x="2692" y="533"/>
                </a:cubicBezTo>
                <a:close/>
                <a:moveTo>
                  <a:pt x="2875" y="566"/>
                </a:moveTo>
                <a:cubicBezTo>
                  <a:pt x="2868" y="566"/>
                  <a:pt x="2861" y="563"/>
                  <a:pt x="2857" y="557"/>
                </a:cubicBezTo>
                <a:cubicBezTo>
                  <a:pt x="2853" y="550"/>
                  <a:pt x="2851" y="542"/>
                  <a:pt x="2851" y="529"/>
                </a:cubicBezTo>
                <a:cubicBezTo>
                  <a:pt x="2851" y="516"/>
                  <a:pt x="2853" y="507"/>
                  <a:pt x="2858" y="500"/>
                </a:cubicBezTo>
                <a:cubicBezTo>
                  <a:pt x="2862" y="494"/>
                  <a:pt x="2869" y="490"/>
                  <a:pt x="2877" y="490"/>
                </a:cubicBezTo>
                <a:cubicBezTo>
                  <a:pt x="2893" y="490"/>
                  <a:pt x="2901" y="502"/>
                  <a:pt x="2901" y="528"/>
                </a:cubicBezTo>
                <a:cubicBezTo>
                  <a:pt x="2901" y="540"/>
                  <a:pt x="2899" y="550"/>
                  <a:pt x="2894" y="556"/>
                </a:cubicBezTo>
                <a:cubicBezTo>
                  <a:pt x="2890" y="563"/>
                  <a:pt x="2883" y="566"/>
                  <a:pt x="2875" y="566"/>
                </a:cubicBezTo>
                <a:close/>
                <a:moveTo>
                  <a:pt x="2877" y="499"/>
                </a:moveTo>
                <a:cubicBezTo>
                  <a:pt x="2867" y="499"/>
                  <a:pt x="2863" y="510"/>
                  <a:pt x="2863" y="529"/>
                </a:cubicBezTo>
                <a:cubicBezTo>
                  <a:pt x="2863" y="548"/>
                  <a:pt x="2867" y="556"/>
                  <a:pt x="2876" y="556"/>
                </a:cubicBezTo>
                <a:cubicBezTo>
                  <a:pt x="2885" y="556"/>
                  <a:pt x="2889" y="548"/>
                  <a:pt x="2889" y="529"/>
                </a:cubicBezTo>
                <a:cubicBezTo>
                  <a:pt x="2889" y="509"/>
                  <a:pt x="2885" y="499"/>
                  <a:pt x="2877" y="499"/>
                </a:cubicBezTo>
                <a:close/>
                <a:moveTo>
                  <a:pt x="2945" y="566"/>
                </a:moveTo>
                <a:cubicBezTo>
                  <a:pt x="2938" y="566"/>
                  <a:pt x="2931" y="563"/>
                  <a:pt x="2928" y="557"/>
                </a:cubicBezTo>
                <a:cubicBezTo>
                  <a:pt x="2923" y="550"/>
                  <a:pt x="2921" y="542"/>
                  <a:pt x="2921" y="529"/>
                </a:cubicBezTo>
                <a:cubicBezTo>
                  <a:pt x="2921" y="516"/>
                  <a:pt x="2923" y="507"/>
                  <a:pt x="2928" y="500"/>
                </a:cubicBezTo>
                <a:cubicBezTo>
                  <a:pt x="2932" y="494"/>
                  <a:pt x="2939" y="490"/>
                  <a:pt x="2947" y="490"/>
                </a:cubicBezTo>
                <a:cubicBezTo>
                  <a:pt x="2963" y="490"/>
                  <a:pt x="2972" y="502"/>
                  <a:pt x="2972" y="528"/>
                </a:cubicBezTo>
                <a:cubicBezTo>
                  <a:pt x="2972" y="540"/>
                  <a:pt x="2969" y="550"/>
                  <a:pt x="2965" y="556"/>
                </a:cubicBezTo>
                <a:cubicBezTo>
                  <a:pt x="2960" y="563"/>
                  <a:pt x="2954" y="566"/>
                  <a:pt x="2945" y="566"/>
                </a:cubicBezTo>
                <a:close/>
                <a:moveTo>
                  <a:pt x="2947" y="499"/>
                </a:moveTo>
                <a:cubicBezTo>
                  <a:pt x="2938" y="499"/>
                  <a:pt x="2933" y="510"/>
                  <a:pt x="2933" y="529"/>
                </a:cubicBezTo>
                <a:cubicBezTo>
                  <a:pt x="2933" y="548"/>
                  <a:pt x="2937" y="556"/>
                  <a:pt x="2946" y="556"/>
                </a:cubicBezTo>
                <a:cubicBezTo>
                  <a:pt x="2955" y="556"/>
                  <a:pt x="2959" y="548"/>
                  <a:pt x="2959" y="529"/>
                </a:cubicBezTo>
                <a:cubicBezTo>
                  <a:pt x="2959" y="509"/>
                  <a:pt x="2955" y="499"/>
                  <a:pt x="2947" y="499"/>
                </a:cubicBezTo>
                <a:close/>
                <a:moveTo>
                  <a:pt x="3019" y="492"/>
                </a:moveTo>
                <a:cubicBezTo>
                  <a:pt x="3019" y="492"/>
                  <a:pt x="3019" y="492"/>
                  <a:pt x="3019" y="492"/>
                </a:cubicBezTo>
                <a:cubicBezTo>
                  <a:pt x="3013" y="492"/>
                  <a:pt x="3013" y="492"/>
                  <a:pt x="3013" y="492"/>
                </a:cubicBezTo>
                <a:cubicBezTo>
                  <a:pt x="3011" y="494"/>
                  <a:pt x="3010" y="495"/>
                  <a:pt x="3008" y="496"/>
                </a:cubicBezTo>
                <a:cubicBezTo>
                  <a:pt x="3006" y="497"/>
                  <a:pt x="3005" y="498"/>
                  <a:pt x="3003" y="499"/>
                </a:cubicBezTo>
                <a:cubicBezTo>
                  <a:pt x="3001" y="500"/>
                  <a:pt x="2999" y="501"/>
                  <a:pt x="2998" y="502"/>
                </a:cubicBezTo>
                <a:cubicBezTo>
                  <a:pt x="2995" y="503"/>
                  <a:pt x="2994" y="503"/>
                  <a:pt x="2992" y="503"/>
                </a:cubicBezTo>
                <a:cubicBezTo>
                  <a:pt x="2992" y="503"/>
                  <a:pt x="2992" y="503"/>
                  <a:pt x="2992" y="513"/>
                </a:cubicBezTo>
                <a:cubicBezTo>
                  <a:pt x="2995" y="513"/>
                  <a:pt x="2998" y="512"/>
                  <a:pt x="3000" y="511"/>
                </a:cubicBezTo>
                <a:cubicBezTo>
                  <a:pt x="3003" y="510"/>
                  <a:pt x="3005" y="508"/>
                  <a:pt x="3007" y="507"/>
                </a:cubicBezTo>
                <a:cubicBezTo>
                  <a:pt x="3007" y="507"/>
                  <a:pt x="3007" y="507"/>
                  <a:pt x="3007" y="566"/>
                </a:cubicBezTo>
                <a:cubicBezTo>
                  <a:pt x="3007" y="566"/>
                  <a:pt x="3007" y="566"/>
                  <a:pt x="3019" y="566"/>
                </a:cubicBezTo>
                <a:cubicBezTo>
                  <a:pt x="3019" y="566"/>
                  <a:pt x="3019" y="566"/>
                  <a:pt x="3019" y="492"/>
                </a:cubicBezTo>
                <a:close/>
                <a:moveTo>
                  <a:pt x="3065" y="492"/>
                </a:moveTo>
                <a:cubicBezTo>
                  <a:pt x="3065" y="492"/>
                  <a:pt x="3065" y="492"/>
                  <a:pt x="3065" y="492"/>
                </a:cubicBezTo>
                <a:cubicBezTo>
                  <a:pt x="3060" y="492"/>
                  <a:pt x="3060" y="492"/>
                  <a:pt x="3060" y="492"/>
                </a:cubicBezTo>
                <a:cubicBezTo>
                  <a:pt x="3058" y="494"/>
                  <a:pt x="3056" y="495"/>
                  <a:pt x="3054" y="496"/>
                </a:cubicBezTo>
                <a:cubicBezTo>
                  <a:pt x="3053" y="497"/>
                  <a:pt x="3051" y="498"/>
                  <a:pt x="3049" y="499"/>
                </a:cubicBezTo>
                <a:cubicBezTo>
                  <a:pt x="3048" y="500"/>
                  <a:pt x="3046" y="501"/>
                  <a:pt x="3044" y="502"/>
                </a:cubicBezTo>
                <a:cubicBezTo>
                  <a:pt x="3042" y="503"/>
                  <a:pt x="3040" y="503"/>
                  <a:pt x="3038" y="503"/>
                </a:cubicBezTo>
                <a:cubicBezTo>
                  <a:pt x="3038" y="503"/>
                  <a:pt x="3038" y="503"/>
                  <a:pt x="3038" y="513"/>
                </a:cubicBezTo>
                <a:cubicBezTo>
                  <a:pt x="3041" y="513"/>
                  <a:pt x="3044" y="512"/>
                  <a:pt x="3046" y="511"/>
                </a:cubicBezTo>
                <a:cubicBezTo>
                  <a:pt x="3049" y="510"/>
                  <a:pt x="3051" y="508"/>
                  <a:pt x="3054" y="507"/>
                </a:cubicBezTo>
                <a:cubicBezTo>
                  <a:pt x="3054" y="507"/>
                  <a:pt x="3054" y="507"/>
                  <a:pt x="3054" y="566"/>
                </a:cubicBezTo>
                <a:cubicBezTo>
                  <a:pt x="3054" y="566"/>
                  <a:pt x="3054" y="566"/>
                  <a:pt x="3065" y="566"/>
                </a:cubicBezTo>
                <a:cubicBezTo>
                  <a:pt x="3065" y="566"/>
                  <a:pt x="3065" y="566"/>
                  <a:pt x="3065" y="492"/>
                </a:cubicBezTo>
                <a:close/>
                <a:moveTo>
                  <a:pt x="3111" y="492"/>
                </a:moveTo>
                <a:cubicBezTo>
                  <a:pt x="3111" y="492"/>
                  <a:pt x="3111" y="492"/>
                  <a:pt x="3111" y="492"/>
                </a:cubicBezTo>
                <a:cubicBezTo>
                  <a:pt x="3107" y="492"/>
                  <a:pt x="3107" y="492"/>
                  <a:pt x="3107" y="492"/>
                </a:cubicBezTo>
                <a:cubicBezTo>
                  <a:pt x="3105" y="494"/>
                  <a:pt x="3103" y="495"/>
                  <a:pt x="3101" y="496"/>
                </a:cubicBezTo>
                <a:cubicBezTo>
                  <a:pt x="3100" y="497"/>
                  <a:pt x="3098" y="498"/>
                  <a:pt x="3096" y="499"/>
                </a:cubicBezTo>
                <a:cubicBezTo>
                  <a:pt x="3094" y="500"/>
                  <a:pt x="3092" y="500"/>
                  <a:pt x="3090" y="501"/>
                </a:cubicBezTo>
                <a:cubicBezTo>
                  <a:pt x="3089" y="502"/>
                  <a:pt x="3087" y="503"/>
                  <a:pt x="3085" y="503"/>
                </a:cubicBezTo>
                <a:cubicBezTo>
                  <a:pt x="3085" y="503"/>
                  <a:pt x="3085" y="503"/>
                  <a:pt x="3085" y="513"/>
                </a:cubicBezTo>
                <a:cubicBezTo>
                  <a:pt x="3088" y="513"/>
                  <a:pt x="3091" y="511"/>
                  <a:pt x="3093" y="511"/>
                </a:cubicBezTo>
                <a:cubicBezTo>
                  <a:pt x="3095" y="510"/>
                  <a:pt x="3098" y="508"/>
                  <a:pt x="3100" y="507"/>
                </a:cubicBezTo>
                <a:cubicBezTo>
                  <a:pt x="3100" y="507"/>
                  <a:pt x="3100" y="507"/>
                  <a:pt x="3100" y="566"/>
                </a:cubicBezTo>
                <a:cubicBezTo>
                  <a:pt x="3100" y="566"/>
                  <a:pt x="3100" y="566"/>
                  <a:pt x="3111" y="566"/>
                </a:cubicBezTo>
                <a:cubicBezTo>
                  <a:pt x="3111" y="566"/>
                  <a:pt x="3111" y="566"/>
                  <a:pt x="3111" y="492"/>
                </a:cubicBezTo>
                <a:close/>
                <a:moveTo>
                  <a:pt x="2920" y="467"/>
                </a:moveTo>
                <a:cubicBezTo>
                  <a:pt x="2913" y="467"/>
                  <a:pt x="2906" y="464"/>
                  <a:pt x="2902" y="459"/>
                </a:cubicBezTo>
                <a:cubicBezTo>
                  <a:pt x="2898" y="452"/>
                  <a:pt x="2896" y="443"/>
                  <a:pt x="2896" y="431"/>
                </a:cubicBezTo>
                <a:cubicBezTo>
                  <a:pt x="2896" y="417"/>
                  <a:pt x="2898" y="408"/>
                  <a:pt x="2903" y="401"/>
                </a:cubicBezTo>
                <a:cubicBezTo>
                  <a:pt x="2907" y="395"/>
                  <a:pt x="2914" y="391"/>
                  <a:pt x="2922" y="391"/>
                </a:cubicBezTo>
                <a:cubicBezTo>
                  <a:pt x="2939" y="391"/>
                  <a:pt x="2947" y="404"/>
                  <a:pt x="2947" y="429"/>
                </a:cubicBezTo>
                <a:cubicBezTo>
                  <a:pt x="2947" y="442"/>
                  <a:pt x="2944" y="451"/>
                  <a:pt x="2939" y="458"/>
                </a:cubicBezTo>
                <a:cubicBezTo>
                  <a:pt x="2935" y="464"/>
                  <a:pt x="2928" y="467"/>
                  <a:pt x="2920" y="467"/>
                </a:cubicBezTo>
                <a:close/>
                <a:moveTo>
                  <a:pt x="2922" y="401"/>
                </a:moveTo>
                <a:cubicBezTo>
                  <a:pt x="2912" y="401"/>
                  <a:pt x="2908" y="411"/>
                  <a:pt x="2908" y="431"/>
                </a:cubicBezTo>
                <a:cubicBezTo>
                  <a:pt x="2908" y="449"/>
                  <a:pt x="2912" y="458"/>
                  <a:pt x="2921" y="458"/>
                </a:cubicBezTo>
                <a:cubicBezTo>
                  <a:pt x="2930" y="458"/>
                  <a:pt x="2934" y="449"/>
                  <a:pt x="2934" y="430"/>
                </a:cubicBezTo>
                <a:cubicBezTo>
                  <a:pt x="2934" y="410"/>
                  <a:pt x="2930" y="401"/>
                  <a:pt x="2922" y="401"/>
                </a:cubicBezTo>
                <a:close/>
                <a:moveTo>
                  <a:pt x="2994" y="394"/>
                </a:moveTo>
                <a:cubicBezTo>
                  <a:pt x="2994" y="394"/>
                  <a:pt x="2994" y="394"/>
                  <a:pt x="2994" y="394"/>
                </a:cubicBezTo>
                <a:cubicBezTo>
                  <a:pt x="2989" y="394"/>
                  <a:pt x="2989" y="394"/>
                  <a:pt x="2989" y="394"/>
                </a:cubicBezTo>
                <a:cubicBezTo>
                  <a:pt x="2987" y="395"/>
                  <a:pt x="2985" y="397"/>
                  <a:pt x="2983" y="398"/>
                </a:cubicBezTo>
                <a:cubicBezTo>
                  <a:pt x="2982" y="399"/>
                  <a:pt x="2980" y="400"/>
                  <a:pt x="2978" y="401"/>
                </a:cubicBezTo>
                <a:cubicBezTo>
                  <a:pt x="2976" y="401"/>
                  <a:pt x="2974" y="402"/>
                  <a:pt x="2973" y="403"/>
                </a:cubicBezTo>
                <a:cubicBezTo>
                  <a:pt x="2971" y="403"/>
                  <a:pt x="2969" y="404"/>
                  <a:pt x="2967" y="405"/>
                </a:cubicBezTo>
                <a:cubicBezTo>
                  <a:pt x="2967" y="405"/>
                  <a:pt x="2967" y="405"/>
                  <a:pt x="2967" y="415"/>
                </a:cubicBezTo>
                <a:cubicBezTo>
                  <a:pt x="2970" y="414"/>
                  <a:pt x="2973" y="413"/>
                  <a:pt x="2975" y="412"/>
                </a:cubicBezTo>
                <a:cubicBezTo>
                  <a:pt x="2978" y="411"/>
                  <a:pt x="2980" y="410"/>
                  <a:pt x="2982" y="409"/>
                </a:cubicBezTo>
                <a:cubicBezTo>
                  <a:pt x="2982" y="409"/>
                  <a:pt x="2982" y="409"/>
                  <a:pt x="2982" y="467"/>
                </a:cubicBezTo>
                <a:cubicBezTo>
                  <a:pt x="2982" y="467"/>
                  <a:pt x="2982" y="467"/>
                  <a:pt x="2994" y="467"/>
                </a:cubicBezTo>
                <a:cubicBezTo>
                  <a:pt x="2994" y="467"/>
                  <a:pt x="2994" y="467"/>
                  <a:pt x="2994" y="394"/>
                </a:cubicBezTo>
                <a:close/>
                <a:moveTo>
                  <a:pt x="3041" y="394"/>
                </a:moveTo>
                <a:cubicBezTo>
                  <a:pt x="3041" y="394"/>
                  <a:pt x="3041" y="394"/>
                  <a:pt x="3041" y="394"/>
                </a:cubicBezTo>
                <a:cubicBezTo>
                  <a:pt x="3036" y="394"/>
                  <a:pt x="3036" y="394"/>
                  <a:pt x="3036" y="394"/>
                </a:cubicBezTo>
                <a:cubicBezTo>
                  <a:pt x="3034" y="395"/>
                  <a:pt x="3033" y="397"/>
                  <a:pt x="3030" y="398"/>
                </a:cubicBezTo>
                <a:cubicBezTo>
                  <a:pt x="3029" y="399"/>
                  <a:pt x="3027" y="400"/>
                  <a:pt x="3025" y="401"/>
                </a:cubicBezTo>
                <a:cubicBezTo>
                  <a:pt x="3024" y="402"/>
                  <a:pt x="3022" y="403"/>
                  <a:pt x="3020" y="403"/>
                </a:cubicBezTo>
                <a:cubicBezTo>
                  <a:pt x="3018" y="404"/>
                  <a:pt x="3017" y="405"/>
                  <a:pt x="3015" y="405"/>
                </a:cubicBezTo>
                <a:cubicBezTo>
                  <a:pt x="3015" y="405"/>
                  <a:pt x="3015" y="405"/>
                  <a:pt x="3015" y="415"/>
                </a:cubicBezTo>
                <a:cubicBezTo>
                  <a:pt x="3018" y="414"/>
                  <a:pt x="3020" y="414"/>
                  <a:pt x="3023" y="412"/>
                </a:cubicBezTo>
                <a:cubicBezTo>
                  <a:pt x="3025" y="411"/>
                  <a:pt x="3028" y="410"/>
                  <a:pt x="3030" y="409"/>
                </a:cubicBezTo>
                <a:cubicBezTo>
                  <a:pt x="3030" y="409"/>
                  <a:pt x="3030" y="409"/>
                  <a:pt x="3030" y="467"/>
                </a:cubicBezTo>
                <a:cubicBezTo>
                  <a:pt x="3030" y="467"/>
                  <a:pt x="3030" y="467"/>
                  <a:pt x="3041" y="467"/>
                </a:cubicBezTo>
                <a:cubicBezTo>
                  <a:pt x="3041" y="467"/>
                  <a:pt x="3041" y="467"/>
                  <a:pt x="3041" y="394"/>
                </a:cubicBezTo>
                <a:close/>
                <a:moveTo>
                  <a:pt x="3088" y="394"/>
                </a:moveTo>
                <a:cubicBezTo>
                  <a:pt x="3088" y="394"/>
                  <a:pt x="3088" y="394"/>
                  <a:pt x="3088" y="394"/>
                </a:cubicBezTo>
                <a:cubicBezTo>
                  <a:pt x="3083" y="394"/>
                  <a:pt x="3083" y="394"/>
                  <a:pt x="3083" y="394"/>
                </a:cubicBezTo>
                <a:cubicBezTo>
                  <a:pt x="3081" y="395"/>
                  <a:pt x="3080" y="397"/>
                  <a:pt x="3078" y="398"/>
                </a:cubicBezTo>
                <a:cubicBezTo>
                  <a:pt x="3076" y="399"/>
                  <a:pt x="3074" y="400"/>
                  <a:pt x="3073" y="401"/>
                </a:cubicBezTo>
                <a:cubicBezTo>
                  <a:pt x="3070" y="402"/>
                  <a:pt x="3069" y="403"/>
                  <a:pt x="3067" y="403"/>
                </a:cubicBezTo>
                <a:cubicBezTo>
                  <a:pt x="3065" y="404"/>
                  <a:pt x="3063" y="405"/>
                  <a:pt x="3062" y="405"/>
                </a:cubicBezTo>
                <a:cubicBezTo>
                  <a:pt x="3062" y="405"/>
                  <a:pt x="3062" y="405"/>
                  <a:pt x="3062" y="415"/>
                </a:cubicBezTo>
                <a:cubicBezTo>
                  <a:pt x="3065" y="414"/>
                  <a:pt x="3068" y="414"/>
                  <a:pt x="3070" y="412"/>
                </a:cubicBezTo>
                <a:cubicBezTo>
                  <a:pt x="3072" y="411"/>
                  <a:pt x="3075" y="410"/>
                  <a:pt x="3076" y="409"/>
                </a:cubicBezTo>
                <a:cubicBezTo>
                  <a:pt x="3076" y="409"/>
                  <a:pt x="3076" y="409"/>
                  <a:pt x="3076" y="467"/>
                </a:cubicBezTo>
                <a:cubicBezTo>
                  <a:pt x="3076" y="467"/>
                  <a:pt x="3076" y="467"/>
                  <a:pt x="3088" y="467"/>
                </a:cubicBezTo>
                <a:cubicBezTo>
                  <a:pt x="3088" y="467"/>
                  <a:pt x="3088" y="467"/>
                  <a:pt x="3088" y="394"/>
                </a:cubicBezTo>
                <a:close/>
                <a:moveTo>
                  <a:pt x="3135" y="394"/>
                </a:moveTo>
                <a:cubicBezTo>
                  <a:pt x="3135" y="394"/>
                  <a:pt x="3135" y="394"/>
                  <a:pt x="3135" y="394"/>
                </a:cubicBezTo>
                <a:cubicBezTo>
                  <a:pt x="3130" y="394"/>
                  <a:pt x="3130" y="394"/>
                  <a:pt x="3130" y="394"/>
                </a:cubicBezTo>
                <a:cubicBezTo>
                  <a:pt x="3128" y="395"/>
                  <a:pt x="3126" y="397"/>
                  <a:pt x="3124" y="398"/>
                </a:cubicBezTo>
                <a:cubicBezTo>
                  <a:pt x="3123" y="399"/>
                  <a:pt x="3121" y="400"/>
                  <a:pt x="3119" y="401"/>
                </a:cubicBezTo>
                <a:cubicBezTo>
                  <a:pt x="3118" y="402"/>
                  <a:pt x="3116" y="403"/>
                  <a:pt x="3114" y="403"/>
                </a:cubicBezTo>
                <a:cubicBezTo>
                  <a:pt x="3112" y="404"/>
                  <a:pt x="3111" y="405"/>
                  <a:pt x="3108" y="405"/>
                </a:cubicBezTo>
                <a:cubicBezTo>
                  <a:pt x="3108" y="405"/>
                  <a:pt x="3108" y="405"/>
                  <a:pt x="3108" y="415"/>
                </a:cubicBezTo>
                <a:cubicBezTo>
                  <a:pt x="3111" y="414"/>
                  <a:pt x="3114" y="414"/>
                  <a:pt x="3116" y="412"/>
                </a:cubicBezTo>
                <a:cubicBezTo>
                  <a:pt x="3119" y="411"/>
                  <a:pt x="3121" y="410"/>
                  <a:pt x="3124" y="409"/>
                </a:cubicBezTo>
                <a:cubicBezTo>
                  <a:pt x="3124" y="409"/>
                  <a:pt x="3124" y="409"/>
                  <a:pt x="3124" y="467"/>
                </a:cubicBezTo>
                <a:cubicBezTo>
                  <a:pt x="3124" y="467"/>
                  <a:pt x="3124" y="467"/>
                  <a:pt x="3135" y="467"/>
                </a:cubicBezTo>
                <a:cubicBezTo>
                  <a:pt x="3135" y="467"/>
                  <a:pt x="3135" y="467"/>
                  <a:pt x="3135" y="394"/>
                </a:cubicBezTo>
                <a:close/>
                <a:moveTo>
                  <a:pt x="3259" y="394"/>
                </a:moveTo>
                <a:cubicBezTo>
                  <a:pt x="3259" y="394"/>
                  <a:pt x="3259" y="394"/>
                  <a:pt x="3259" y="394"/>
                </a:cubicBezTo>
                <a:cubicBezTo>
                  <a:pt x="3253" y="394"/>
                  <a:pt x="3253" y="394"/>
                  <a:pt x="3253" y="394"/>
                </a:cubicBezTo>
                <a:cubicBezTo>
                  <a:pt x="3251" y="395"/>
                  <a:pt x="3250" y="397"/>
                  <a:pt x="3247" y="398"/>
                </a:cubicBezTo>
                <a:cubicBezTo>
                  <a:pt x="3246" y="399"/>
                  <a:pt x="3245" y="400"/>
                  <a:pt x="3242" y="401"/>
                </a:cubicBezTo>
                <a:cubicBezTo>
                  <a:pt x="3241" y="402"/>
                  <a:pt x="3239" y="403"/>
                  <a:pt x="3237" y="403"/>
                </a:cubicBezTo>
                <a:cubicBezTo>
                  <a:pt x="3235" y="404"/>
                  <a:pt x="3233" y="405"/>
                  <a:pt x="3231" y="405"/>
                </a:cubicBezTo>
                <a:cubicBezTo>
                  <a:pt x="3231" y="405"/>
                  <a:pt x="3231" y="405"/>
                  <a:pt x="3231" y="415"/>
                </a:cubicBezTo>
                <a:cubicBezTo>
                  <a:pt x="3234" y="414"/>
                  <a:pt x="3237" y="414"/>
                  <a:pt x="3240" y="412"/>
                </a:cubicBezTo>
                <a:cubicBezTo>
                  <a:pt x="3242" y="411"/>
                  <a:pt x="3245" y="410"/>
                  <a:pt x="3247" y="409"/>
                </a:cubicBezTo>
                <a:cubicBezTo>
                  <a:pt x="3247" y="409"/>
                  <a:pt x="3247" y="409"/>
                  <a:pt x="3247" y="467"/>
                </a:cubicBezTo>
                <a:cubicBezTo>
                  <a:pt x="3247" y="467"/>
                  <a:pt x="3247" y="467"/>
                  <a:pt x="3259" y="467"/>
                </a:cubicBezTo>
                <a:cubicBezTo>
                  <a:pt x="3259" y="467"/>
                  <a:pt x="3259" y="467"/>
                  <a:pt x="3259" y="394"/>
                </a:cubicBezTo>
                <a:close/>
                <a:moveTo>
                  <a:pt x="3306" y="394"/>
                </a:moveTo>
                <a:cubicBezTo>
                  <a:pt x="3306" y="394"/>
                  <a:pt x="3306" y="394"/>
                  <a:pt x="3306" y="394"/>
                </a:cubicBezTo>
                <a:cubicBezTo>
                  <a:pt x="3301" y="394"/>
                  <a:pt x="3301" y="394"/>
                  <a:pt x="3301" y="394"/>
                </a:cubicBezTo>
                <a:cubicBezTo>
                  <a:pt x="3299" y="395"/>
                  <a:pt x="3297" y="397"/>
                  <a:pt x="3295" y="398"/>
                </a:cubicBezTo>
                <a:cubicBezTo>
                  <a:pt x="3294" y="399"/>
                  <a:pt x="3292" y="400"/>
                  <a:pt x="3290" y="401"/>
                </a:cubicBezTo>
                <a:cubicBezTo>
                  <a:pt x="3289" y="402"/>
                  <a:pt x="3286" y="403"/>
                  <a:pt x="3285" y="403"/>
                </a:cubicBezTo>
                <a:cubicBezTo>
                  <a:pt x="3283" y="404"/>
                  <a:pt x="3281" y="405"/>
                  <a:pt x="3279" y="405"/>
                </a:cubicBezTo>
                <a:cubicBezTo>
                  <a:pt x="3279" y="405"/>
                  <a:pt x="3279" y="405"/>
                  <a:pt x="3279" y="415"/>
                </a:cubicBezTo>
                <a:cubicBezTo>
                  <a:pt x="3282" y="414"/>
                  <a:pt x="3285" y="414"/>
                  <a:pt x="3287" y="412"/>
                </a:cubicBezTo>
                <a:cubicBezTo>
                  <a:pt x="3290" y="411"/>
                  <a:pt x="3292" y="410"/>
                  <a:pt x="3294" y="409"/>
                </a:cubicBezTo>
                <a:cubicBezTo>
                  <a:pt x="3294" y="409"/>
                  <a:pt x="3294" y="409"/>
                  <a:pt x="3294" y="467"/>
                </a:cubicBezTo>
                <a:cubicBezTo>
                  <a:pt x="3294" y="467"/>
                  <a:pt x="3294" y="467"/>
                  <a:pt x="3306" y="467"/>
                </a:cubicBezTo>
                <a:cubicBezTo>
                  <a:pt x="3306" y="467"/>
                  <a:pt x="3306" y="467"/>
                  <a:pt x="3306" y="394"/>
                </a:cubicBezTo>
                <a:close/>
                <a:moveTo>
                  <a:pt x="3354" y="394"/>
                </a:moveTo>
                <a:cubicBezTo>
                  <a:pt x="3354" y="394"/>
                  <a:pt x="3354" y="394"/>
                  <a:pt x="3354" y="394"/>
                </a:cubicBezTo>
                <a:cubicBezTo>
                  <a:pt x="3349" y="394"/>
                  <a:pt x="3349" y="394"/>
                  <a:pt x="3349" y="394"/>
                </a:cubicBezTo>
                <a:cubicBezTo>
                  <a:pt x="3347" y="395"/>
                  <a:pt x="3345" y="397"/>
                  <a:pt x="3343" y="398"/>
                </a:cubicBezTo>
                <a:cubicBezTo>
                  <a:pt x="3341" y="399"/>
                  <a:pt x="3340" y="400"/>
                  <a:pt x="3338" y="401"/>
                </a:cubicBezTo>
                <a:cubicBezTo>
                  <a:pt x="3336" y="402"/>
                  <a:pt x="3334" y="403"/>
                  <a:pt x="3333" y="403"/>
                </a:cubicBezTo>
                <a:cubicBezTo>
                  <a:pt x="3330" y="404"/>
                  <a:pt x="3329" y="405"/>
                  <a:pt x="3327" y="405"/>
                </a:cubicBezTo>
                <a:cubicBezTo>
                  <a:pt x="3327" y="405"/>
                  <a:pt x="3327" y="405"/>
                  <a:pt x="3327" y="415"/>
                </a:cubicBezTo>
                <a:cubicBezTo>
                  <a:pt x="3330" y="414"/>
                  <a:pt x="3333" y="414"/>
                  <a:pt x="3335" y="412"/>
                </a:cubicBezTo>
                <a:cubicBezTo>
                  <a:pt x="3338" y="411"/>
                  <a:pt x="3340" y="410"/>
                  <a:pt x="3342" y="409"/>
                </a:cubicBezTo>
                <a:cubicBezTo>
                  <a:pt x="3342" y="409"/>
                  <a:pt x="3342" y="409"/>
                  <a:pt x="3342" y="467"/>
                </a:cubicBezTo>
                <a:cubicBezTo>
                  <a:pt x="3342" y="467"/>
                  <a:pt x="3342" y="467"/>
                  <a:pt x="3354" y="467"/>
                </a:cubicBezTo>
                <a:cubicBezTo>
                  <a:pt x="3354" y="467"/>
                  <a:pt x="3354" y="467"/>
                  <a:pt x="3354" y="394"/>
                </a:cubicBezTo>
                <a:close/>
                <a:moveTo>
                  <a:pt x="3400" y="394"/>
                </a:moveTo>
                <a:cubicBezTo>
                  <a:pt x="3400" y="394"/>
                  <a:pt x="3400" y="394"/>
                  <a:pt x="3400" y="394"/>
                </a:cubicBezTo>
                <a:cubicBezTo>
                  <a:pt x="3396" y="394"/>
                  <a:pt x="3396" y="394"/>
                  <a:pt x="3396" y="394"/>
                </a:cubicBezTo>
                <a:cubicBezTo>
                  <a:pt x="3394" y="395"/>
                  <a:pt x="3392" y="397"/>
                  <a:pt x="3390" y="398"/>
                </a:cubicBezTo>
                <a:cubicBezTo>
                  <a:pt x="3389" y="399"/>
                  <a:pt x="3386" y="400"/>
                  <a:pt x="3385" y="401"/>
                </a:cubicBezTo>
                <a:cubicBezTo>
                  <a:pt x="3383" y="401"/>
                  <a:pt x="3381" y="402"/>
                  <a:pt x="3379" y="403"/>
                </a:cubicBezTo>
                <a:cubicBezTo>
                  <a:pt x="3378" y="403"/>
                  <a:pt x="3376" y="404"/>
                  <a:pt x="3374" y="405"/>
                </a:cubicBezTo>
                <a:cubicBezTo>
                  <a:pt x="3374" y="405"/>
                  <a:pt x="3374" y="405"/>
                  <a:pt x="3374" y="415"/>
                </a:cubicBezTo>
                <a:cubicBezTo>
                  <a:pt x="3377" y="414"/>
                  <a:pt x="3380" y="413"/>
                  <a:pt x="3382" y="412"/>
                </a:cubicBezTo>
                <a:cubicBezTo>
                  <a:pt x="3384" y="411"/>
                  <a:pt x="3387" y="410"/>
                  <a:pt x="3389" y="409"/>
                </a:cubicBezTo>
                <a:cubicBezTo>
                  <a:pt x="3389" y="409"/>
                  <a:pt x="3389" y="409"/>
                  <a:pt x="3389" y="467"/>
                </a:cubicBezTo>
                <a:cubicBezTo>
                  <a:pt x="3389" y="467"/>
                  <a:pt x="3389" y="467"/>
                  <a:pt x="3400" y="467"/>
                </a:cubicBezTo>
                <a:cubicBezTo>
                  <a:pt x="3400" y="467"/>
                  <a:pt x="3400" y="467"/>
                  <a:pt x="3400" y="394"/>
                </a:cubicBezTo>
                <a:close/>
                <a:moveTo>
                  <a:pt x="3156" y="426"/>
                </a:moveTo>
                <a:cubicBezTo>
                  <a:pt x="3156" y="426"/>
                  <a:pt x="3156" y="426"/>
                  <a:pt x="3156" y="426"/>
                </a:cubicBezTo>
                <a:cubicBezTo>
                  <a:pt x="3156" y="435"/>
                  <a:pt x="3156" y="435"/>
                  <a:pt x="3156" y="435"/>
                </a:cubicBezTo>
                <a:cubicBezTo>
                  <a:pt x="3162" y="435"/>
                  <a:pt x="3163" y="438"/>
                  <a:pt x="3163" y="440"/>
                </a:cubicBezTo>
                <a:cubicBezTo>
                  <a:pt x="3163" y="443"/>
                  <a:pt x="3162" y="445"/>
                  <a:pt x="3162" y="448"/>
                </a:cubicBezTo>
                <a:cubicBezTo>
                  <a:pt x="3162" y="450"/>
                  <a:pt x="3162" y="452"/>
                  <a:pt x="3162" y="455"/>
                </a:cubicBezTo>
                <a:cubicBezTo>
                  <a:pt x="3162" y="464"/>
                  <a:pt x="3168" y="467"/>
                  <a:pt x="3176" y="467"/>
                </a:cubicBezTo>
                <a:cubicBezTo>
                  <a:pt x="3176" y="467"/>
                  <a:pt x="3176" y="467"/>
                  <a:pt x="3180" y="467"/>
                </a:cubicBezTo>
                <a:cubicBezTo>
                  <a:pt x="3180" y="467"/>
                  <a:pt x="3180" y="467"/>
                  <a:pt x="3180" y="458"/>
                </a:cubicBezTo>
                <a:cubicBezTo>
                  <a:pt x="3180" y="458"/>
                  <a:pt x="3180" y="458"/>
                  <a:pt x="3178" y="458"/>
                </a:cubicBezTo>
                <a:cubicBezTo>
                  <a:pt x="3175" y="458"/>
                  <a:pt x="3174" y="456"/>
                  <a:pt x="3174" y="452"/>
                </a:cubicBezTo>
                <a:cubicBezTo>
                  <a:pt x="3174" y="451"/>
                  <a:pt x="3174" y="449"/>
                  <a:pt x="3174" y="448"/>
                </a:cubicBezTo>
                <a:cubicBezTo>
                  <a:pt x="3174" y="446"/>
                  <a:pt x="3174" y="444"/>
                  <a:pt x="3174" y="442"/>
                </a:cubicBezTo>
                <a:cubicBezTo>
                  <a:pt x="3174" y="434"/>
                  <a:pt x="3171" y="432"/>
                  <a:pt x="3166" y="430"/>
                </a:cubicBezTo>
                <a:cubicBezTo>
                  <a:pt x="3166" y="430"/>
                  <a:pt x="3166" y="430"/>
                  <a:pt x="3166" y="430"/>
                </a:cubicBezTo>
                <a:cubicBezTo>
                  <a:pt x="3171" y="429"/>
                  <a:pt x="3174" y="427"/>
                  <a:pt x="3174" y="419"/>
                </a:cubicBezTo>
                <a:cubicBezTo>
                  <a:pt x="3174" y="417"/>
                  <a:pt x="3174" y="415"/>
                  <a:pt x="3174" y="413"/>
                </a:cubicBezTo>
                <a:cubicBezTo>
                  <a:pt x="3174" y="411"/>
                  <a:pt x="3174" y="409"/>
                  <a:pt x="3174" y="408"/>
                </a:cubicBezTo>
                <a:cubicBezTo>
                  <a:pt x="3174" y="405"/>
                  <a:pt x="3175" y="402"/>
                  <a:pt x="3178" y="402"/>
                </a:cubicBezTo>
                <a:cubicBezTo>
                  <a:pt x="3178" y="402"/>
                  <a:pt x="3178" y="402"/>
                  <a:pt x="3180" y="402"/>
                </a:cubicBezTo>
                <a:cubicBezTo>
                  <a:pt x="3180" y="402"/>
                  <a:pt x="3180" y="402"/>
                  <a:pt x="3180" y="393"/>
                </a:cubicBezTo>
                <a:cubicBezTo>
                  <a:pt x="3180" y="393"/>
                  <a:pt x="3180" y="393"/>
                  <a:pt x="3176" y="393"/>
                </a:cubicBezTo>
                <a:cubicBezTo>
                  <a:pt x="3167" y="393"/>
                  <a:pt x="3162" y="397"/>
                  <a:pt x="3162" y="406"/>
                </a:cubicBezTo>
                <a:cubicBezTo>
                  <a:pt x="3162" y="408"/>
                  <a:pt x="3162" y="411"/>
                  <a:pt x="3162" y="413"/>
                </a:cubicBezTo>
                <a:cubicBezTo>
                  <a:pt x="3162" y="415"/>
                  <a:pt x="3163" y="418"/>
                  <a:pt x="3163" y="420"/>
                </a:cubicBezTo>
                <a:cubicBezTo>
                  <a:pt x="3163" y="423"/>
                  <a:pt x="3162" y="426"/>
                  <a:pt x="3156" y="426"/>
                </a:cubicBezTo>
                <a:close/>
                <a:moveTo>
                  <a:pt x="3211" y="435"/>
                </a:moveTo>
                <a:cubicBezTo>
                  <a:pt x="3211" y="435"/>
                  <a:pt x="3211" y="435"/>
                  <a:pt x="3211" y="435"/>
                </a:cubicBezTo>
                <a:cubicBezTo>
                  <a:pt x="3211" y="426"/>
                  <a:pt x="3211" y="426"/>
                  <a:pt x="3211" y="426"/>
                </a:cubicBezTo>
                <a:cubicBezTo>
                  <a:pt x="3205" y="426"/>
                  <a:pt x="3204" y="423"/>
                  <a:pt x="3204" y="420"/>
                </a:cubicBezTo>
                <a:cubicBezTo>
                  <a:pt x="3204" y="418"/>
                  <a:pt x="3204" y="415"/>
                  <a:pt x="3205" y="413"/>
                </a:cubicBezTo>
                <a:cubicBezTo>
                  <a:pt x="3205" y="411"/>
                  <a:pt x="3205" y="408"/>
                  <a:pt x="3205" y="406"/>
                </a:cubicBezTo>
                <a:cubicBezTo>
                  <a:pt x="3205" y="397"/>
                  <a:pt x="3200" y="393"/>
                  <a:pt x="3190" y="393"/>
                </a:cubicBezTo>
                <a:cubicBezTo>
                  <a:pt x="3190" y="393"/>
                  <a:pt x="3190" y="393"/>
                  <a:pt x="3187" y="393"/>
                </a:cubicBezTo>
                <a:cubicBezTo>
                  <a:pt x="3187" y="393"/>
                  <a:pt x="3187" y="393"/>
                  <a:pt x="3187" y="402"/>
                </a:cubicBezTo>
                <a:cubicBezTo>
                  <a:pt x="3187" y="402"/>
                  <a:pt x="3187" y="402"/>
                  <a:pt x="3188" y="402"/>
                </a:cubicBezTo>
                <a:cubicBezTo>
                  <a:pt x="3192" y="402"/>
                  <a:pt x="3193" y="405"/>
                  <a:pt x="3193" y="408"/>
                </a:cubicBezTo>
                <a:cubicBezTo>
                  <a:pt x="3193" y="409"/>
                  <a:pt x="3193" y="411"/>
                  <a:pt x="3193" y="413"/>
                </a:cubicBezTo>
                <a:cubicBezTo>
                  <a:pt x="3193" y="415"/>
                  <a:pt x="3193" y="417"/>
                  <a:pt x="3193" y="419"/>
                </a:cubicBezTo>
                <a:cubicBezTo>
                  <a:pt x="3193" y="427"/>
                  <a:pt x="3195" y="429"/>
                  <a:pt x="3201" y="430"/>
                </a:cubicBezTo>
                <a:cubicBezTo>
                  <a:pt x="3201" y="430"/>
                  <a:pt x="3201" y="430"/>
                  <a:pt x="3201" y="430"/>
                </a:cubicBezTo>
                <a:cubicBezTo>
                  <a:pt x="3195" y="432"/>
                  <a:pt x="3193" y="434"/>
                  <a:pt x="3193" y="442"/>
                </a:cubicBezTo>
                <a:cubicBezTo>
                  <a:pt x="3193" y="444"/>
                  <a:pt x="3193" y="446"/>
                  <a:pt x="3193" y="448"/>
                </a:cubicBezTo>
                <a:cubicBezTo>
                  <a:pt x="3193" y="449"/>
                  <a:pt x="3193" y="451"/>
                  <a:pt x="3193" y="452"/>
                </a:cubicBezTo>
                <a:cubicBezTo>
                  <a:pt x="3193" y="456"/>
                  <a:pt x="3192" y="458"/>
                  <a:pt x="3188" y="458"/>
                </a:cubicBezTo>
                <a:cubicBezTo>
                  <a:pt x="3188" y="458"/>
                  <a:pt x="3188" y="458"/>
                  <a:pt x="3187" y="458"/>
                </a:cubicBezTo>
                <a:cubicBezTo>
                  <a:pt x="3187" y="458"/>
                  <a:pt x="3187" y="458"/>
                  <a:pt x="3187" y="467"/>
                </a:cubicBezTo>
                <a:cubicBezTo>
                  <a:pt x="3187" y="467"/>
                  <a:pt x="3187" y="467"/>
                  <a:pt x="3190" y="467"/>
                </a:cubicBezTo>
                <a:cubicBezTo>
                  <a:pt x="3199" y="467"/>
                  <a:pt x="3205" y="464"/>
                  <a:pt x="3205" y="455"/>
                </a:cubicBezTo>
                <a:cubicBezTo>
                  <a:pt x="3205" y="452"/>
                  <a:pt x="3205" y="450"/>
                  <a:pt x="3205" y="448"/>
                </a:cubicBezTo>
                <a:cubicBezTo>
                  <a:pt x="3204" y="445"/>
                  <a:pt x="3204" y="443"/>
                  <a:pt x="3204" y="440"/>
                </a:cubicBezTo>
                <a:cubicBezTo>
                  <a:pt x="3204" y="438"/>
                  <a:pt x="3205" y="435"/>
                  <a:pt x="3211" y="435"/>
                </a:cubicBezTo>
                <a:close/>
                <a:moveTo>
                  <a:pt x="3538" y="426"/>
                </a:moveTo>
                <a:cubicBezTo>
                  <a:pt x="3538" y="426"/>
                  <a:pt x="3538" y="426"/>
                  <a:pt x="3538" y="426"/>
                </a:cubicBezTo>
                <a:cubicBezTo>
                  <a:pt x="3538" y="435"/>
                  <a:pt x="3538" y="435"/>
                  <a:pt x="3538" y="435"/>
                </a:cubicBezTo>
                <a:cubicBezTo>
                  <a:pt x="3544" y="435"/>
                  <a:pt x="3545" y="438"/>
                  <a:pt x="3545" y="440"/>
                </a:cubicBezTo>
                <a:cubicBezTo>
                  <a:pt x="3545" y="443"/>
                  <a:pt x="3545" y="445"/>
                  <a:pt x="3545" y="448"/>
                </a:cubicBezTo>
                <a:cubicBezTo>
                  <a:pt x="3544" y="450"/>
                  <a:pt x="3544" y="452"/>
                  <a:pt x="3544" y="455"/>
                </a:cubicBezTo>
                <a:cubicBezTo>
                  <a:pt x="3544" y="464"/>
                  <a:pt x="3550" y="467"/>
                  <a:pt x="3558" y="467"/>
                </a:cubicBezTo>
                <a:cubicBezTo>
                  <a:pt x="3558" y="467"/>
                  <a:pt x="3558" y="467"/>
                  <a:pt x="3562" y="467"/>
                </a:cubicBezTo>
                <a:cubicBezTo>
                  <a:pt x="3562" y="467"/>
                  <a:pt x="3562" y="467"/>
                  <a:pt x="3562" y="458"/>
                </a:cubicBezTo>
                <a:cubicBezTo>
                  <a:pt x="3562" y="458"/>
                  <a:pt x="3562" y="458"/>
                  <a:pt x="3560" y="458"/>
                </a:cubicBezTo>
                <a:cubicBezTo>
                  <a:pt x="3557" y="458"/>
                  <a:pt x="3556" y="456"/>
                  <a:pt x="3556" y="452"/>
                </a:cubicBezTo>
                <a:cubicBezTo>
                  <a:pt x="3556" y="451"/>
                  <a:pt x="3556" y="449"/>
                  <a:pt x="3556" y="448"/>
                </a:cubicBezTo>
                <a:cubicBezTo>
                  <a:pt x="3556" y="446"/>
                  <a:pt x="3556" y="444"/>
                  <a:pt x="3556" y="442"/>
                </a:cubicBezTo>
                <a:cubicBezTo>
                  <a:pt x="3556" y="434"/>
                  <a:pt x="3553" y="432"/>
                  <a:pt x="3548" y="430"/>
                </a:cubicBezTo>
                <a:cubicBezTo>
                  <a:pt x="3548" y="430"/>
                  <a:pt x="3548" y="430"/>
                  <a:pt x="3548" y="430"/>
                </a:cubicBezTo>
                <a:cubicBezTo>
                  <a:pt x="3553" y="429"/>
                  <a:pt x="3556" y="427"/>
                  <a:pt x="3556" y="419"/>
                </a:cubicBezTo>
                <a:cubicBezTo>
                  <a:pt x="3556" y="417"/>
                  <a:pt x="3556" y="415"/>
                  <a:pt x="3556" y="413"/>
                </a:cubicBezTo>
                <a:cubicBezTo>
                  <a:pt x="3556" y="411"/>
                  <a:pt x="3556" y="409"/>
                  <a:pt x="3556" y="408"/>
                </a:cubicBezTo>
                <a:cubicBezTo>
                  <a:pt x="3556" y="405"/>
                  <a:pt x="3557" y="402"/>
                  <a:pt x="3560" y="402"/>
                </a:cubicBezTo>
                <a:cubicBezTo>
                  <a:pt x="3560" y="402"/>
                  <a:pt x="3560" y="402"/>
                  <a:pt x="3562" y="402"/>
                </a:cubicBezTo>
                <a:cubicBezTo>
                  <a:pt x="3562" y="402"/>
                  <a:pt x="3562" y="402"/>
                  <a:pt x="3562" y="393"/>
                </a:cubicBezTo>
                <a:cubicBezTo>
                  <a:pt x="3562" y="393"/>
                  <a:pt x="3562" y="393"/>
                  <a:pt x="3558" y="393"/>
                </a:cubicBezTo>
                <a:cubicBezTo>
                  <a:pt x="3549" y="393"/>
                  <a:pt x="3544" y="397"/>
                  <a:pt x="3544" y="406"/>
                </a:cubicBezTo>
                <a:cubicBezTo>
                  <a:pt x="3544" y="408"/>
                  <a:pt x="3544" y="411"/>
                  <a:pt x="3544" y="413"/>
                </a:cubicBezTo>
                <a:cubicBezTo>
                  <a:pt x="3545" y="415"/>
                  <a:pt x="3545" y="418"/>
                  <a:pt x="3545" y="420"/>
                </a:cubicBezTo>
                <a:cubicBezTo>
                  <a:pt x="3545" y="423"/>
                  <a:pt x="3544" y="426"/>
                  <a:pt x="3538" y="426"/>
                </a:cubicBezTo>
                <a:close/>
                <a:moveTo>
                  <a:pt x="3593" y="435"/>
                </a:moveTo>
                <a:cubicBezTo>
                  <a:pt x="3593" y="435"/>
                  <a:pt x="3593" y="435"/>
                  <a:pt x="3593" y="435"/>
                </a:cubicBezTo>
                <a:cubicBezTo>
                  <a:pt x="3593" y="426"/>
                  <a:pt x="3593" y="426"/>
                  <a:pt x="3593" y="426"/>
                </a:cubicBezTo>
                <a:cubicBezTo>
                  <a:pt x="3587" y="426"/>
                  <a:pt x="3586" y="423"/>
                  <a:pt x="3586" y="420"/>
                </a:cubicBezTo>
                <a:cubicBezTo>
                  <a:pt x="3586" y="418"/>
                  <a:pt x="3586" y="415"/>
                  <a:pt x="3587" y="413"/>
                </a:cubicBezTo>
                <a:cubicBezTo>
                  <a:pt x="3587" y="411"/>
                  <a:pt x="3587" y="408"/>
                  <a:pt x="3587" y="406"/>
                </a:cubicBezTo>
                <a:cubicBezTo>
                  <a:pt x="3587" y="397"/>
                  <a:pt x="3582" y="393"/>
                  <a:pt x="3572" y="393"/>
                </a:cubicBezTo>
                <a:cubicBezTo>
                  <a:pt x="3572" y="393"/>
                  <a:pt x="3572" y="393"/>
                  <a:pt x="3569" y="393"/>
                </a:cubicBezTo>
                <a:cubicBezTo>
                  <a:pt x="3569" y="393"/>
                  <a:pt x="3569" y="393"/>
                  <a:pt x="3569" y="402"/>
                </a:cubicBezTo>
                <a:cubicBezTo>
                  <a:pt x="3569" y="402"/>
                  <a:pt x="3569" y="402"/>
                  <a:pt x="3570" y="402"/>
                </a:cubicBezTo>
                <a:cubicBezTo>
                  <a:pt x="3574" y="402"/>
                  <a:pt x="3575" y="405"/>
                  <a:pt x="3575" y="408"/>
                </a:cubicBezTo>
                <a:cubicBezTo>
                  <a:pt x="3575" y="409"/>
                  <a:pt x="3575" y="411"/>
                  <a:pt x="3575" y="413"/>
                </a:cubicBezTo>
                <a:cubicBezTo>
                  <a:pt x="3575" y="415"/>
                  <a:pt x="3575" y="417"/>
                  <a:pt x="3575" y="419"/>
                </a:cubicBezTo>
                <a:cubicBezTo>
                  <a:pt x="3575" y="427"/>
                  <a:pt x="3577" y="429"/>
                  <a:pt x="3583" y="430"/>
                </a:cubicBezTo>
                <a:cubicBezTo>
                  <a:pt x="3583" y="430"/>
                  <a:pt x="3583" y="430"/>
                  <a:pt x="3583" y="430"/>
                </a:cubicBezTo>
                <a:cubicBezTo>
                  <a:pt x="3577" y="432"/>
                  <a:pt x="3575" y="434"/>
                  <a:pt x="3575" y="442"/>
                </a:cubicBezTo>
                <a:cubicBezTo>
                  <a:pt x="3575" y="444"/>
                  <a:pt x="3575" y="446"/>
                  <a:pt x="3575" y="448"/>
                </a:cubicBezTo>
                <a:cubicBezTo>
                  <a:pt x="3575" y="449"/>
                  <a:pt x="3575" y="451"/>
                  <a:pt x="3575" y="452"/>
                </a:cubicBezTo>
                <a:cubicBezTo>
                  <a:pt x="3575" y="456"/>
                  <a:pt x="3574" y="458"/>
                  <a:pt x="3570" y="458"/>
                </a:cubicBezTo>
                <a:cubicBezTo>
                  <a:pt x="3570" y="458"/>
                  <a:pt x="3570" y="458"/>
                  <a:pt x="3569" y="458"/>
                </a:cubicBezTo>
                <a:cubicBezTo>
                  <a:pt x="3569" y="458"/>
                  <a:pt x="3569" y="458"/>
                  <a:pt x="3569" y="467"/>
                </a:cubicBezTo>
                <a:cubicBezTo>
                  <a:pt x="3569" y="467"/>
                  <a:pt x="3569" y="467"/>
                  <a:pt x="3572" y="467"/>
                </a:cubicBezTo>
                <a:cubicBezTo>
                  <a:pt x="3581" y="467"/>
                  <a:pt x="3587" y="464"/>
                  <a:pt x="3587" y="455"/>
                </a:cubicBezTo>
                <a:cubicBezTo>
                  <a:pt x="3587" y="452"/>
                  <a:pt x="3587" y="450"/>
                  <a:pt x="3587" y="448"/>
                </a:cubicBezTo>
                <a:cubicBezTo>
                  <a:pt x="3586" y="445"/>
                  <a:pt x="3586" y="443"/>
                  <a:pt x="3586" y="440"/>
                </a:cubicBezTo>
                <a:cubicBezTo>
                  <a:pt x="3586" y="438"/>
                  <a:pt x="3587" y="435"/>
                  <a:pt x="3593" y="435"/>
                </a:cubicBezTo>
                <a:close/>
                <a:moveTo>
                  <a:pt x="3641" y="394"/>
                </a:moveTo>
                <a:cubicBezTo>
                  <a:pt x="3641" y="394"/>
                  <a:pt x="3641" y="394"/>
                  <a:pt x="3641" y="394"/>
                </a:cubicBezTo>
                <a:cubicBezTo>
                  <a:pt x="3636" y="394"/>
                  <a:pt x="3636" y="394"/>
                  <a:pt x="3636" y="394"/>
                </a:cubicBezTo>
                <a:cubicBezTo>
                  <a:pt x="3633" y="395"/>
                  <a:pt x="3632" y="397"/>
                  <a:pt x="3630" y="398"/>
                </a:cubicBezTo>
                <a:cubicBezTo>
                  <a:pt x="3628" y="399"/>
                  <a:pt x="3626" y="400"/>
                  <a:pt x="3625" y="401"/>
                </a:cubicBezTo>
                <a:cubicBezTo>
                  <a:pt x="3622" y="401"/>
                  <a:pt x="3621" y="402"/>
                  <a:pt x="3620" y="403"/>
                </a:cubicBezTo>
                <a:cubicBezTo>
                  <a:pt x="3617" y="403"/>
                  <a:pt x="3616" y="404"/>
                  <a:pt x="3614" y="405"/>
                </a:cubicBezTo>
                <a:cubicBezTo>
                  <a:pt x="3614" y="405"/>
                  <a:pt x="3614" y="405"/>
                  <a:pt x="3614" y="415"/>
                </a:cubicBezTo>
                <a:cubicBezTo>
                  <a:pt x="3617" y="414"/>
                  <a:pt x="3620" y="413"/>
                  <a:pt x="3622" y="412"/>
                </a:cubicBezTo>
                <a:cubicBezTo>
                  <a:pt x="3625" y="411"/>
                  <a:pt x="3627" y="410"/>
                  <a:pt x="3629" y="409"/>
                </a:cubicBezTo>
                <a:cubicBezTo>
                  <a:pt x="3629" y="409"/>
                  <a:pt x="3629" y="409"/>
                  <a:pt x="3629" y="467"/>
                </a:cubicBezTo>
                <a:cubicBezTo>
                  <a:pt x="3629" y="467"/>
                  <a:pt x="3629" y="467"/>
                  <a:pt x="3641" y="467"/>
                </a:cubicBezTo>
                <a:cubicBezTo>
                  <a:pt x="3641" y="467"/>
                  <a:pt x="3641" y="467"/>
                  <a:pt x="3641" y="394"/>
                </a:cubicBezTo>
                <a:close/>
                <a:moveTo>
                  <a:pt x="3688" y="394"/>
                </a:moveTo>
                <a:cubicBezTo>
                  <a:pt x="3688" y="394"/>
                  <a:pt x="3688" y="394"/>
                  <a:pt x="3688" y="394"/>
                </a:cubicBezTo>
                <a:cubicBezTo>
                  <a:pt x="3683" y="394"/>
                  <a:pt x="3683" y="394"/>
                  <a:pt x="3683" y="394"/>
                </a:cubicBezTo>
                <a:cubicBezTo>
                  <a:pt x="3681" y="395"/>
                  <a:pt x="3679" y="397"/>
                  <a:pt x="3677" y="398"/>
                </a:cubicBezTo>
                <a:cubicBezTo>
                  <a:pt x="3676" y="399"/>
                  <a:pt x="3673" y="400"/>
                  <a:pt x="3672" y="401"/>
                </a:cubicBezTo>
                <a:cubicBezTo>
                  <a:pt x="3671" y="402"/>
                  <a:pt x="3668" y="403"/>
                  <a:pt x="3667" y="403"/>
                </a:cubicBezTo>
                <a:cubicBezTo>
                  <a:pt x="3665" y="404"/>
                  <a:pt x="3663" y="405"/>
                  <a:pt x="3661" y="405"/>
                </a:cubicBezTo>
                <a:cubicBezTo>
                  <a:pt x="3661" y="405"/>
                  <a:pt x="3661" y="405"/>
                  <a:pt x="3661" y="415"/>
                </a:cubicBezTo>
                <a:cubicBezTo>
                  <a:pt x="3664" y="414"/>
                  <a:pt x="3667" y="414"/>
                  <a:pt x="3669" y="412"/>
                </a:cubicBezTo>
                <a:cubicBezTo>
                  <a:pt x="3672" y="411"/>
                  <a:pt x="3674" y="410"/>
                  <a:pt x="3676" y="409"/>
                </a:cubicBezTo>
                <a:cubicBezTo>
                  <a:pt x="3676" y="409"/>
                  <a:pt x="3676" y="409"/>
                  <a:pt x="3676" y="467"/>
                </a:cubicBezTo>
                <a:cubicBezTo>
                  <a:pt x="3676" y="467"/>
                  <a:pt x="3676" y="467"/>
                  <a:pt x="3688" y="467"/>
                </a:cubicBezTo>
                <a:cubicBezTo>
                  <a:pt x="3688" y="467"/>
                  <a:pt x="3688" y="467"/>
                  <a:pt x="3688" y="394"/>
                </a:cubicBezTo>
                <a:close/>
                <a:moveTo>
                  <a:pt x="3734" y="394"/>
                </a:moveTo>
                <a:cubicBezTo>
                  <a:pt x="3734" y="394"/>
                  <a:pt x="3734" y="394"/>
                  <a:pt x="3734" y="394"/>
                </a:cubicBezTo>
                <a:cubicBezTo>
                  <a:pt x="3730" y="394"/>
                  <a:pt x="3730" y="394"/>
                  <a:pt x="3730" y="394"/>
                </a:cubicBezTo>
                <a:cubicBezTo>
                  <a:pt x="3728" y="395"/>
                  <a:pt x="3726" y="397"/>
                  <a:pt x="3724" y="398"/>
                </a:cubicBezTo>
                <a:cubicBezTo>
                  <a:pt x="3723" y="399"/>
                  <a:pt x="3721" y="400"/>
                  <a:pt x="3719" y="401"/>
                </a:cubicBezTo>
                <a:cubicBezTo>
                  <a:pt x="3717" y="402"/>
                  <a:pt x="3716" y="403"/>
                  <a:pt x="3713" y="403"/>
                </a:cubicBezTo>
                <a:cubicBezTo>
                  <a:pt x="3712" y="404"/>
                  <a:pt x="3710" y="405"/>
                  <a:pt x="3708" y="405"/>
                </a:cubicBezTo>
                <a:cubicBezTo>
                  <a:pt x="3708" y="405"/>
                  <a:pt x="3708" y="405"/>
                  <a:pt x="3708" y="415"/>
                </a:cubicBezTo>
                <a:cubicBezTo>
                  <a:pt x="3711" y="414"/>
                  <a:pt x="3714" y="414"/>
                  <a:pt x="3716" y="412"/>
                </a:cubicBezTo>
                <a:cubicBezTo>
                  <a:pt x="3718" y="411"/>
                  <a:pt x="3721" y="410"/>
                  <a:pt x="3723" y="409"/>
                </a:cubicBezTo>
                <a:cubicBezTo>
                  <a:pt x="3723" y="409"/>
                  <a:pt x="3723" y="409"/>
                  <a:pt x="3723" y="467"/>
                </a:cubicBezTo>
                <a:cubicBezTo>
                  <a:pt x="3723" y="467"/>
                  <a:pt x="3723" y="467"/>
                  <a:pt x="3734" y="467"/>
                </a:cubicBezTo>
                <a:cubicBezTo>
                  <a:pt x="3734" y="467"/>
                  <a:pt x="3734" y="467"/>
                  <a:pt x="3734" y="394"/>
                </a:cubicBezTo>
                <a:close/>
                <a:moveTo>
                  <a:pt x="3858" y="394"/>
                </a:moveTo>
                <a:cubicBezTo>
                  <a:pt x="3858" y="394"/>
                  <a:pt x="3858" y="394"/>
                  <a:pt x="3858" y="394"/>
                </a:cubicBezTo>
                <a:cubicBezTo>
                  <a:pt x="3852" y="394"/>
                  <a:pt x="3852" y="394"/>
                  <a:pt x="3852" y="394"/>
                </a:cubicBezTo>
                <a:cubicBezTo>
                  <a:pt x="3850" y="395"/>
                  <a:pt x="3849" y="397"/>
                  <a:pt x="3847" y="398"/>
                </a:cubicBezTo>
                <a:cubicBezTo>
                  <a:pt x="3845" y="399"/>
                  <a:pt x="3844" y="400"/>
                  <a:pt x="3841" y="401"/>
                </a:cubicBezTo>
                <a:cubicBezTo>
                  <a:pt x="3840" y="402"/>
                  <a:pt x="3838" y="403"/>
                  <a:pt x="3836" y="403"/>
                </a:cubicBezTo>
                <a:cubicBezTo>
                  <a:pt x="3834" y="404"/>
                  <a:pt x="3832" y="405"/>
                  <a:pt x="3830" y="405"/>
                </a:cubicBezTo>
                <a:cubicBezTo>
                  <a:pt x="3830" y="405"/>
                  <a:pt x="3830" y="405"/>
                  <a:pt x="3830" y="415"/>
                </a:cubicBezTo>
                <a:cubicBezTo>
                  <a:pt x="3833" y="414"/>
                  <a:pt x="3836" y="414"/>
                  <a:pt x="3839" y="412"/>
                </a:cubicBezTo>
                <a:cubicBezTo>
                  <a:pt x="3841" y="411"/>
                  <a:pt x="3844" y="410"/>
                  <a:pt x="3846" y="409"/>
                </a:cubicBezTo>
                <a:cubicBezTo>
                  <a:pt x="3846" y="409"/>
                  <a:pt x="3846" y="409"/>
                  <a:pt x="3846" y="467"/>
                </a:cubicBezTo>
                <a:cubicBezTo>
                  <a:pt x="3846" y="467"/>
                  <a:pt x="3846" y="467"/>
                  <a:pt x="3858" y="467"/>
                </a:cubicBezTo>
                <a:cubicBezTo>
                  <a:pt x="3858" y="467"/>
                  <a:pt x="3858" y="467"/>
                  <a:pt x="3858" y="394"/>
                </a:cubicBezTo>
                <a:close/>
                <a:moveTo>
                  <a:pt x="3755" y="426"/>
                </a:moveTo>
                <a:cubicBezTo>
                  <a:pt x="3755" y="426"/>
                  <a:pt x="3755" y="426"/>
                  <a:pt x="3755" y="426"/>
                </a:cubicBezTo>
                <a:cubicBezTo>
                  <a:pt x="3755" y="435"/>
                  <a:pt x="3755" y="435"/>
                  <a:pt x="3755" y="435"/>
                </a:cubicBezTo>
                <a:cubicBezTo>
                  <a:pt x="3761" y="435"/>
                  <a:pt x="3762" y="438"/>
                  <a:pt x="3762" y="440"/>
                </a:cubicBezTo>
                <a:cubicBezTo>
                  <a:pt x="3762" y="443"/>
                  <a:pt x="3762" y="445"/>
                  <a:pt x="3762" y="448"/>
                </a:cubicBezTo>
                <a:cubicBezTo>
                  <a:pt x="3761" y="450"/>
                  <a:pt x="3761" y="452"/>
                  <a:pt x="3761" y="455"/>
                </a:cubicBezTo>
                <a:cubicBezTo>
                  <a:pt x="3761" y="464"/>
                  <a:pt x="3767" y="467"/>
                  <a:pt x="3775" y="467"/>
                </a:cubicBezTo>
                <a:cubicBezTo>
                  <a:pt x="3775" y="467"/>
                  <a:pt x="3775" y="467"/>
                  <a:pt x="3779" y="467"/>
                </a:cubicBezTo>
                <a:cubicBezTo>
                  <a:pt x="3779" y="467"/>
                  <a:pt x="3779" y="467"/>
                  <a:pt x="3779" y="458"/>
                </a:cubicBezTo>
                <a:cubicBezTo>
                  <a:pt x="3779" y="458"/>
                  <a:pt x="3779" y="458"/>
                  <a:pt x="3777" y="458"/>
                </a:cubicBezTo>
                <a:cubicBezTo>
                  <a:pt x="3774" y="458"/>
                  <a:pt x="3773" y="456"/>
                  <a:pt x="3773" y="452"/>
                </a:cubicBezTo>
                <a:cubicBezTo>
                  <a:pt x="3773" y="451"/>
                  <a:pt x="3773" y="449"/>
                  <a:pt x="3773" y="448"/>
                </a:cubicBezTo>
                <a:cubicBezTo>
                  <a:pt x="3773" y="446"/>
                  <a:pt x="3773" y="444"/>
                  <a:pt x="3773" y="442"/>
                </a:cubicBezTo>
                <a:cubicBezTo>
                  <a:pt x="3773" y="434"/>
                  <a:pt x="3770" y="432"/>
                  <a:pt x="3765" y="430"/>
                </a:cubicBezTo>
                <a:cubicBezTo>
                  <a:pt x="3765" y="430"/>
                  <a:pt x="3765" y="430"/>
                  <a:pt x="3765" y="430"/>
                </a:cubicBezTo>
                <a:cubicBezTo>
                  <a:pt x="3770" y="429"/>
                  <a:pt x="3773" y="427"/>
                  <a:pt x="3773" y="419"/>
                </a:cubicBezTo>
                <a:cubicBezTo>
                  <a:pt x="3773" y="417"/>
                  <a:pt x="3773" y="415"/>
                  <a:pt x="3773" y="413"/>
                </a:cubicBezTo>
                <a:cubicBezTo>
                  <a:pt x="3773" y="411"/>
                  <a:pt x="3773" y="409"/>
                  <a:pt x="3773" y="408"/>
                </a:cubicBezTo>
                <a:cubicBezTo>
                  <a:pt x="3773" y="405"/>
                  <a:pt x="3774" y="402"/>
                  <a:pt x="3777" y="402"/>
                </a:cubicBezTo>
                <a:cubicBezTo>
                  <a:pt x="3777" y="402"/>
                  <a:pt x="3777" y="402"/>
                  <a:pt x="3779" y="402"/>
                </a:cubicBezTo>
                <a:cubicBezTo>
                  <a:pt x="3779" y="402"/>
                  <a:pt x="3779" y="402"/>
                  <a:pt x="3779" y="393"/>
                </a:cubicBezTo>
                <a:cubicBezTo>
                  <a:pt x="3779" y="393"/>
                  <a:pt x="3779" y="393"/>
                  <a:pt x="3775" y="393"/>
                </a:cubicBezTo>
                <a:cubicBezTo>
                  <a:pt x="3766" y="393"/>
                  <a:pt x="3761" y="397"/>
                  <a:pt x="3761" y="406"/>
                </a:cubicBezTo>
                <a:cubicBezTo>
                  <a:pt x="3761" y="408"/>
                  <a:pt x="3761" y="411"/>
                  <a:pt x="3761" y="413"/>
                </a:cubicBezTo>
                <a:cubicBezTo>
                  <a:pt x="3762" y="415"/>
                  <a:pt x="3762" y="418"/>
                  <a:pt x="3762" y="420"/>
                </a:cubicBezTo>
                <a:cubicBezTo>
                  <a:pt x="3762" y="423"/>
                  <a:pt x="3761" y="426"/>
                  <a:pt x="3755" y="426"/>
                </a:cubicBezTo>
                <a:close/>
                <a:moveTo>
                  <a:pt x="3810" y="435"/>
                </a:moveTo>
                <a:cubicBezTo>
                  <a:pt x="3810" y="435"/>
                  <a:pt x="3810" y="435"/>
                  <a:pt x="3810" y="435"/>
                </a:cubicBezTo>
                <a:cubicBezTo>
                  <a:pt x="3810" y="426"/>
                  <a:pt x="3810" y="426"/>
                  <a:pt x="3810" y="426"/>
                </a:cubicBezTo>
                <a:cubicBezTo>
                  <a:pt x="3803" y="426"/>
                  <a:pt x="3803" y="423"/>
                  <a:pt x="3803" y="420"/>
                </a:cubicBezTo>
                <a:cubicBezTo>
                  <a:pt x="3803" y="418"/>
                  <a:pt x="3803" y="415"/>
                  <a:pt x="3803" y="413"/>
                </a:cubicBezTo>
                <a:cubicBezTo>
                  <a:pt x="3804" y="411"/>
                  <a:pt x="3804" y="408"/>
                  <a:pt x="3804" y="406"/>
                </a:cubicBezTo>
                <a:cubicBezTo>
                  <a:pt x="3804" y="397"/>
                  <a:pt x="3799" y="393"/>
                  <a:pt x="3789" y="393"/>
                </a:cubicBezTo>
                <a:cubicBezTo>
                  <a:pt x="3789" y="393"/>
                  <a:pt x="3789" y="393"/>
                  <a:pt x="3786" y="393"/>
                </a:cubicBezTo>
                <a:cubicBezTo>
                  <a:pt x="3786" y="393"/>
                  <a:pt x="3786" y="393"/>
                  <a:pt x="3786" y="402"/>
                </a:cubicBezTo>
                <a:cubicBezTo>
                  <a:pt x="3786" y="402"/>
                  <a:pt x="3786" y="402"/>
                  <a:pt x="3787" y="402"/>
                </a:cubicBezTo>
                <a:cubicBezTo>
                  <a:pt x="3791" y="402"/>
                  <a:pt x="3792" y="405"/>
                  <a:pt x="3792" y="408"/>
                </a:cubicBezTo>
                <a:cubicBezTo>
                  <a:pt x="3792" y="409"/>
                  <a:pt x="3792" y="411"/>
                  <a:pt x="3792" y="413"/>
                </a:cubicBezTo>
                <a:cubicBezTo>
                  <a:pt x="3792" y="415"/>
                  <a:pt x="3792" y="417"/>
                  <a:pt x="3792" y="419"/>
                </a:cubicBezTo>
                <a:cubicBezTo>
                  <a:pt x="3792" y="427"/>
                  <a:pt x="3794" y="429"/>
                  <a:pt x="3800" y="430"/>
                </a:cubicBezTo>
                <a:cubicBezTo>
                  <a:pt x="3800" y="430"/>
                  <a:pt x="3800" y="430"/>
                  <a:pt x="3800" y="430"/>
                </a:cubicBezTo>
                <a:cubicBezTo>
                  <a:pt x="3794" y="432"/>
                  <a:pt x="3792" y="434"/>
                  <a:pt x="3792" y="442"/>
                </a:cubicBezTo>
                <a:cubicBezTo>
                  <a:pt x="3792" y="444"/>
                  <a:pt x="3792" y="446"/>
                  <a:pt x="3792" y="448"/>
                </a:cubicBezTo>
                <a:cubicBezTo>
                  <a:pt x="3792" y="449"/>
                  <a:pt x="3792" y="451"/>
                  <a:pt x="3792" y="452"/>
                </a:cubicBezTo>
                <a:cubicBezTo>
                  <a:pt x="3792" y="456"/>
                  <a:pt x="3791" y="458"/>
                  <a:pt x="3787" y="458"/>
                </a:cubicBezTo>
                <a:cubicBezTo>
                  <a:pt x="3787" y="458"/>
                  <a:pt x="3787" y="458"/>
                  <a:pt x="3786" y="458"/>
                </a:cubicBezTo>
                <a:cubicBezTo>
                  <a:pt x="3786" y="458"/>
                  <a:pt x="3786" y="458"/>
                  <a:pt x="3786" y="467"/>
                </a:cubicBezTo>
                <a:cubicBezTo>
                  <a:pt x="3786" y="467"/>
                  <a:pt x="3786" y="467"/>
                  <a:pt x="3789" y="467"/>
                </a:cubicBezTo>
                <a:cubicBezTo>
                  <a:pt x="3798" y="467"/>
                  <a:pt x="3804" y="464"/>
                  <a:pt x="3804" y="455"/>
                </a:cubicBezTo>
                <a:cubicBezTo>
                  <a:pt x="3804" y="452"/>
                  <a:pt x="3804" y="450"/>
                  <a:pt x="3803" y="448"/>
                </a:cubicBezTo>
                <a:cubicBezTo>
                  <a:pt x="3803" y="445"/>
                  <a:pt x="3803" y="443"/>
                  <a:pt x="3803" y="440"/>
                </a:cubicBezTo>
                <a:cubicBezTo>
                  <a:pt x="3803" y="438"/>
                  <a:pt x="3803" y="435"/>
                  <a:pt x="3810" y="435"/>
                </a:cubicBezTo>
                <a:close/>
                <a:moveTo>
                  <a:pt x="2951" y="345"/>
                </a:moveTo>
                <a:cubicBezTo>
                  <a:pt x="2951" y="347"/>
                  <a:pt x="2952" y="348"/>
                  <a:pt x="2952" y="350"/>
                </a:cubicBezTo>
                <a:cubicBezTo>
                  <a:pt x="2953" y="351"/>
                  <a:pt x="2953" y="353"/>
                  <a:pt x="2954" y="355"/>
                </a:cubicBezTo>
                <a:cubicBezTo>
                  <a:pt x="2954" y="356"/>
                  <a:pt x="2954" y="358"/>
                  <a:pt x="2954" y="360"/>
                </a:cubicBezTo>
                <a:cubicBezTo>
                  <a:pt x="2955" y="363"/>
                  <a:pt x="2954" y="364"/>
                  <a:pt x="2951" y="364"/>
                </a:cubicBezTo>
                <a:cubicBezTo>
                  <a:pt x="2948" y="364"/>
                  <a:pt x="2945" y="364"/>
                  <a:pt x="2942" y="364"/>
                </a:cubicBezTo>
                <a:cubicBezTo>
                  <a:pt x="2942" y="364"/>
                  <a:pt x="2941" y="364"/>
                  <a:pt x="2941" y="364"/>
                </a:cubicBezTo>
                <a:cubicBezTo>
                  <a:pt x="2939" y="366"/>
                  <a:pt x="2938" y="367"/>
                  <a:pt x="2936" y="369"/>
                </a:cubicBezTo>
                <a:cubicBezTo>
                  <a:pt x="2934" y="371"/>
                  <a:pt x="2931" y="371"/>
                  <a:pt x="2929" y="369"/>
                </a:cubicBezTo>
                <a:cubicBezTo>
                  <a:pt x="2927" y="367"/>
                  <a:pt x="2926" y="365"/>
                  <a:pt x="2924" y="362"/>
                </a:cubicBezTo>
                <a:cubicBezTo>
                  <a:pt x="2923" y="360"/>
                  <a:pt x="2924" y="359"/>
                  <a:pt x="2926" y="357"/>
                </a:cubicBezTo>
                <a:cubicBezTo>
                  <a:pt x="2923" y="357"/>
                  <a:pt x="2922" y="357"/>
                  <a:pt x="2920" y="357"/>
                </a:cubicBezTo>
                <a:cubicBezTo>
                  <a:pt x="2920" y="359"/>
                  <a:pt x="2918" y="361"/>
                  <a:pt x="2918" y="363"/>
                </a:cubicBezTo>
                <a:cubicBezTo>
                  <a:pt x="2918" y="364"/>
                  <a:pt x="2917" y="365"/>
                  <a:pt x="2917" y="365"/>
                </a:cubicBezTo>
                <a:cubicBezTo>
                  <a:pt x="2917" y="369"/>
                  <a:pt x="2916" y="370"/>
                  <a:pt x="2913" y="369"/>
                </a:cubicBezTo>
                <a:cubicBezTo>
                  <a:pt x="2910" y="369"/>
                  <a:pt x="2907" y="368"/>
                  <a:pt x="2904" y="367"/>
                </a:cubicBezTo>
                <a:cubicBezTo>
                  <a:pt x="2902" y="367"/>
                  <a:pt x="2901" y="365"/>
                  <a:pt x="2902" y="363"/>
                </a:cubicBezTo>
                <a:cubicBezTo>
                  <a:pt x="2902" y="362"/>
                  <a:pt x="2902" y="362"/>
                  <a:pt x="2903" y="362"/>
                </a:cubicBezTo>
                <a:cubicBezTo>
                  <a:pt x="2900" y="360"/>
                  <a:pt x="2898" y="360"/>
                  <a:pt x="2896" y="358"/>
                </a:cubicBezTo>
                <a:cubicBezTo>
                  <a:pt x="2895" y="357"/>
                  <a:pt x="2894" y="355"/>
                  <a:pt x="2893" y="354"/>
                </a:cubicBezTo>
                <a:cubicBezTo>
                  <a:pt x="2892" y="352"/>
                  <a:pt x="2892" y="350"/>
                  <a:pt x="2894" y="348"/>
                </a:cubicBezTo>
                <a:cubicBezTo>
                  <a:pt x="2897" y="346"/>
                  <a:pt x="2898" y="343"/>
                  <a:pt x="2897" y="339"/>
                </a:cubicBezTo>
                <a:cubicBezTo>
                  <a:pt x="2897" y="337"/>
                  <a:pt x="2897" y="335"/>
                  <a:pt x="2897" y="333"/>
                </a:cubicBezTo>
                <a:cubicBezTo>
                  <a:pt x="2896" y="333"/>
                  <a:pt x="2894" y="332"/>
                  <a:pt x="2893" y="331"/>
                </a:cubicBezTo>
                <a:cubicBezTo>
                  <a:pt x="2892" y="329"/>
                  <a:pt x="2891" y="327"/>
                  <a:pt x="2891" y="325"/>
                </a:cubicBezTo>
                <a:cubicBezTo>
                  <a:pt x="2891" y="323"/>
                  <a:pt x="2894" y="320"/>
                  <a:pt x="2897" y="319"/>
                </a:cubicBezTo>
                <a:cubicBezTo>
                  <a:pt x="2898" y="320"/>
                  <a:pt x="2898" y="321"/>
                  <a:pt x="2898" y="322"/>
                </a:cubicBezTo>
                <a:cubicBezTo>
                  <a:pt x="2898" y="323"/>
                  <a:pt x="2898" y="323"/>
                  <a:pt x="2898" y="325"/>
                </a:cubicBezTo>
                <a:cubicBezTo>
                  <a:pt x="2898" y="324"/>
                  <a:pt x="2897" y="324"/>
                  <a:pt x="2897" y="324"/>
                </a:cubicBezTo>
                <a:cubicBezTo>
                  <a:pt x="2896" y="325"/>
                  <a:pt x="2896" y="327"/>
                  <a:pt x="2895" y="329"/>
                </a:cubicBezTo>
                <a:cubicBezTo>
                  <a:pt x="2896" y="328"/>
                  <a:pt x="2897" y="328"/>
                  <a:pt x="2898" y="328"/>
                </a:cubicBezTo>
                <a:cubicBezTo>
                  <a:pt x="2899" y="327"/>
                  <a:pt x="2900" y="326"/>
                  <a:pt x="2900" y="325"/>
                </a:cubicBezTo>
                <a:cubicBezTo>
                  <a:pt x="2905" y="318"/>
                  <a:pt x="2911" y="314"/>
                  <a:pt x="2918" y="312"/>
                </a:cubicBezTo>
                <a:cubicBezTo>
                  <a:pt x="2921" y="312"/>
                  <a:pt x="2925" y="311"/>
                  <a:pt x="2927" y="308"/>
                </a:cubicBezTo>
                <a:cubicBezTo>
                  <a:pt x="2927" y="308"/>
                  <a:pt x="2928" y="307"/>
                  <a:pt x="2928" y="307"/>
                </a:cubicBezTo>
                <a:cubicBezTo>
                  <a:pt x="2931" y="307"/>
                  <a:pt x="2932" y="304"/>
                  <a:pt x="2934" y="303"/>
                </a:cubicBezTo>
                <a:cubicBezTo>
                  <a:pt x="2942" y="295"/>
                  <a:pt x="2954" y="295"/>
                  <a:pt x="2961" y="301"/>
                </a:cubicBezTo>
                <a:cubicBezTo>
                  <a:pt x="2964" y="303"/>
                  <a:pt x="2967" y="305"/>
                  <a:pt x="2969" y="307"/>
                </a:cubicBezTo>
                <a:cubicBezTo>
                  <a:pt x="2971" y="308"/>
                  <a:pt x="2972" y="310"/>
                  <a:pt x="2973" y="312"/>
                </a:cubicBezTo>
                <a:cubicBezTo>
                  <a:pt x="2974" y="314"/>
                  <a:pt x="2974" y="314"/>
                  <a:pt x="2976" y="312"/>
                </a:cubicBezTo>
                <a:cubicBezTo>
                  <a:pt x="2976" y="312"/>
                  <a:pt x="2977" y="311"/>
                  <a:pt x="2978" y="310"/>
                </a:cubicBezTo>
                <a:cubicBezTo>
                  <a:pt x="2980" y="308"/>
                  <a:pt x="2983" y="308"/>
                  <a:pt x="2984" y="311"/>
                </a:cubicBezTo>
                <a:cubicBezTo>
                  <a:pt x="2985" y="314"/>
                  <a:pt x="2986" y="317"/>
                  <a:pt x="2987" y="320"/>
                </a:cubicBezTo>
                <a:cubicBezTo>
                  <a:pt x="2987" y="324"/>
                  <a:pt x="2987" y="329"/>
                  <a:pt x="2985" y="333"/>
                </a:cubicBezTo>
                <a:cubicBezTo>
                  <a:pt x="2983" y="339"/>
                  <a:pt x="2978" y="343"/>
                  <a:pt x="2972" y="343"/>
                </a:cubicBezTo>
                <a:cubicBezTo>
                  <a:pt x="2971" y="343"/>
                  <a:pt x="2971" y="343"/>
                  <a:pt x="2970" y="343"/>
                </a:cubicBezTo>
                <a:cubicBezTo>
                  <a:pt x="2967" y="343"/>
                  <a:pt x="2966" y="343"/>
                  <a:pt x="2965" y="345"/>
                </a:cubicBezTo>
                <a:cubicBezTo>
                  <a:pt x="2964" y="350"/>
                  <a:pt x="2958" y="351"/>
                  <a:pt x="2955" y="348"/>
                </a:cubicBezTo>
                <a:cubicBezTo>
                  <a:pt x="2954" y="347"/>
                  <a:pt x="2953" y="346"/>
                  <a:pt x="2952" y="345"/>
                </a:cubicBezTo>
                <a:cubicBezTo>
                  <a:pt x="2951" y="345"/>
                  <a:pt x="2951" y="345"/>
                  <a:pt x="2951" y="345"/>
                </a:cubicBezTo>
                <a:close/>
                <a:moveTo>
                  <a:pt x="2945" y="341"/>
                </a:moveTo>
                <a:cubicBezTo>
                  <a:pt x="2949" y="343"/>
                  <a:pt x="2952" y="344"/>
                  <a:pt x="2955" y="346"/>
                </a:cubicBezTo>
                <a:cubicBezTo>
                  <a:pt x="2957" y="348"/>
                  <a:pt x="2959" y="349"/>
                  <a:pt x="2961" y="348"/>
                </a:cubicBezTo>
                <a:cubicBezTo>
                  <a:pt x="2963" y="347"/>
                  <a:pt x="2965" y="345"/>
                  <a:pt x="2965" y="342"/>
                </a:cubicBezTo>
                <a:cubicBezTo>
                  <a:pt x="2965" y="343"/>
                  <a:pt x="2964" y="343"/>
                  <a:pt x="2964" y="343"/>
                </a:cubicBezTo>
                <a:cubicBezTo>
                  <a:pt x="2963" y="344"/>
                  <a:pt x="2962" y="345"/>
                  <a:pt x="2961" y="346"/>
                </a:cubicBezTo>
                <a:cubicBezTo>
                  <a:pt x="2960" y="348"/>
                  <a:pt x="2959" y="347"/>
                  <a:pt x="2958" y="347"/>
                </a:cubicBezTo>
                <a:cubicBezTo>
                  <a:pt x="2958" y="347"/>
                  <a:pt x="2957" y="346"/>
                  <a:pt x="2957" y="345"/>
                </a:cubicBezTo>
                <a:cubicBezTo>
                  <a:pt x="2957" y="343"/>
                  <a:pt x="2958" y="341"/>
                  <a:pt x="2958" y="339"/>
                </a:cubicBezTo>
                <a:cubicBezTo>
                  <a:pt x="2961" y="339"/>
                  <a:pt x="2964" y="341"/>
                  <a:pt x="2968" y="341"/>
                </a:cubicBezTo>
                <a:cubicBezTo>
                  <a:pt x="2975" y="342"/>
                  <a:pt x="2981" y="341"/>
                  <a:pt x="2984" y="332"/>
                </a:cubicBezTo>
                <a:cubicBezTo>
                  <a:pt x="2986" y="327"/>
                  <a:pt x="2985" y="322"/>
                  <a:pt x="2985" y="317"/>
                </a:cubicBezTo>
                <a:cubicBezTo>
                  <a:pt x="2984" y="315"/>
                  <a:pt x="2983" y="314"/>
                  <a:pt x="2983" y="312"/>
                </a:cubicBezTo>
                <a:cubicBezTo>
                  <a:pt x="2982" y="310"/>
                  <a:pt x="2981" y="310"/>
                  <a:pt x="2980" y="311"/>
                </a:cubicBezTo>
                <a:cubicBezTo>
                  <a:pt x="2978" y="313"/>
                  <a:pt x="2976" y="314"/>
                  <a:pt x="2974" y="315"/>
                </a:cubicBezTo>
                <a:cubicBezTo>
                  <a:pt x="2974" y="316"/>
                  <a:pt x="2973" y="316"/>
                  <a:pt x="2973" y="318"/>
                </a:cubicBezTo>
                <a:cubicBezTo>
                  <a:pt x="2974" y="321"/>
                  <a:pt x="2973" y="324"/>
                  <a:pt x="2972" y="327"/>
                </a:cubicBezTo>
                <a:cubicBezTo>
                  <a:pt x="2972" y="325"/>
                  <a:pt x="2972" y="323"/>
                  <a:pt x="2972" y="322"/>
                </a:cubicBezTo>
                <a:cubicBezTo>
                  <a:pt x="2972" y="321"/>
                  <a:pt x="2972" y="320"/>
                  <a:pt x="2972" y="320"/>
                </a:cubicBezTo>
                <a:cubicBezTo>
                  <a:pt x="2971" y="320"/>
                  <a:pt x="2971" y="320"/>
                  <a:pt x="2971" y="321"/>
                </a:cubicBezTo>
                <a:cubicBezTo>
                  <a:pt x="2970" y="322"/>
                  <a:pt x="2969" y="323"/>
                  <a:pt x="2968" y="325"/>
                </a:cubicBezTo>
                <a:cubicBezTo>
                  <a:pt x="2968" y="325"/>
                  <a:pt x="2968" y="325"/>
                  <a:pt x="2968" y="325"/>
                </a:cubicBezTo>
                <a:cubicBezTo>
                  <a:pt x="2968" y="323"/>
                  <a:pt x="2969" y="322"/>
                  <a:pt x="2969" y="319"/>
                </a:cubicBezTo>
                <a:cubicBezTo>
                  <a:pt x="2968" y="320"/>
                  <a:pt x="2967" y="320"/>
                  <a:pt x="2967" y="321"/>
                </a:cubicBezTo>
                <a:cubicBezTo>
                  <a:pt x="2966" y="322"/>
                  <a:pt x="2966" y="322"/>
                  <a:pt x="2965" y="323"/>
                </a:cubicBezTo>
                <a:cubicBezTo>
                  <a:pt x="2966" y="320"/>
                  <a:pt x="2966" y="320"/>
                  <a:pt x="2972" y="318"/>
                </a:cubicBezTo>
                <a:cubicBezTo>
                  <a:pt x="2972" y="318"/>
                  <a:pt x="2971" y="317"/>
                  <a:pt x="2971" y="317"/>
                </a:cubicBezTo>
                <a:cubicBezTo>
                  <a:pt x="2968" y="318"/>
                  <a:pt x="2967" y="316"/>
                  <a:pt x="2967" y="314"/>
                </a:cubicBezTo>
                <a:cubicBezTo>
                  <a:pt x="2969" y="314"/>
                  <a:pt x="2970" y="313"/>
                  <a:pt x="2972" y="313"/>
                </a:cubicBezTo>
                <a:cubicBezTo>
                  <a:pt x="2970" y="310"/>
                  <a:pt x="2969" y="308"/>
                  <a:pt x="2965" y="307"/>
                </a:cubicBezTo>
                <a:cubicBezTo>
                  <a:pt x="2965" y="307"/>
                  <a:pt x="2965" y="307"/>
                  <a:pt x="2965" y="306"/>
                </a:cubicBezTo>
                <a:cubicBezTo>
                  <a:pt x="2962" y="304"/>
                  <a:pt x="2960" y="302"/>
                  <a:pt x="2957" y="300"/>
                </a:cubicBezTo>
                <a:cubicBezTo>
                  <a:pt x="2955" y="299"/>
                  <a:pt x="2952" y="298"/>
                  <a:pt x="2950" y="298"/>
                </a:cubicBezTo>
                <a:cubicBezTo>
                  <a:pt x="2947" y="299"/>
                  <a:pt x="2943" y="300"/>
                  <a:pt x="2940" y="301"/>
                </a:cubicBezTo>
                <a:cubicBezTo>
                  <a:pt x="2938" y="302"/>
                  <a:pt x="2935" y="303"/>
                  <a:pt x="2933" y="306"/>
                </a:cubicBezTo>
                <a:cubicBezTo>
                  <a:pt x="2935" y="306"/>
                  <a:pt x="2936" y="306"/>
                  <a:pt x="2937" y="306"/>
                </a:cubicBezTo>
                <a:cubicBezTo>
                  <a:pt x="2937" y="307"/>
                  <a:pt x="2936" y="307"/>
                  <a:pt x="2935" y="307"/>
                </a:cubicBezTo>
                <a:cubicBezTo>
                  <a:pt x="2933" y="308"/>
                  <a:pt x="2930" y="307"/>
                  <a:pt x="2928" y="310"/>
                </a:cubicBezTo>
                <a:cubicBezTo>
                  <a:pt x="2925" y="314"/>
                  <a:pt x="2921" y="317"/>
                  <a:pt x="2917" y="322"/>
                </a:cubicBezTo>
                <a:cubicBezTo>
                  <a:pt x="2916" y="323"/>
                  <a:pt x="2915" y="326"/>
                  <a:pt x="2914" y="328"/>
                </a:cubicBezTo>
                <a:cubicBezTo>
                  <a:pt x="2914" y="329"/>
                  <a:pt x="2914" y="329"/>
                  <a:pt x="2914" y="330"/>
                </a:cubicBezTo>
                <a:cubicBezTo>
                  <a:pt x="2915" y="332"/>
                  <a:pt x="2916" y="334"/>
                  <a:pt x="2918" y="336"/>
                </a:cubicBezTo>
                <a:cubicBezTo>
                  <a:pt x="2919" y="334"/>
                  <a:pt x="2920" y="333"/>
                  <a:pt x="2921" y="331"/>
                </a:cubicBezTo>
                <a:cubicBezTo>
                  <a:pt x="2921" y="333"/>
                  <a:pt x="2921" y="334"/>
                  <a:pt x="2920" y="335"/>
                </a:cubicBezTo>
                <a:cubicBezTo>
                  <a:pt x="2919" y="337"/>
                  <a:pt x="2918" y="338"/>
                  <a:pt x="2918" y="339"/>
                </a:cubicBezTo>
                <a:cubicBezTo>
                  <a:pt x="2918" y="340"/>
                  <a:pt x="2918" y="341"/>
                  <a:pt x="2918" y="342"/>
                </a:cubicBezTo>
                <a:cubicBezTo>
                  <a:pt x="2921" y="346"/>
                  <a:pt x="2924" y="346"/>
                  <a:pt x="2928" y="344"/>
                </a:cubicBezTo>
                <a:cubicBezTo>
                  <a:pt x="2930" y="342"/>
                  <a:pt x="2933" y="341"/>
                  <a:pt x="2936" y="340"/>
                </a:cubicBezTo>
                <a:cubicBezTo>
                  <a:pt x="2937" y="340"/>
                  <a:pt x="2938" y="339"/>
                  <a:pt x="2938" y="337"/>
                </a:cubicBezTo>
                <a:cubicBezTo>
                  <a:pt x="2938" y="334"/>
                  <a:pt x="2938" y="331"/>
                  <a:pt x="2938" y="327"/>
                </a:cubicBezTo>
                <a:cubicBezTo>
                  <a:pt x="2938" y="324"/>
                  <a:pt x="2938" y="322"/>
                  <a:pt x="2938" y="318"/>
                </a:cubicBezTo>
                <a:cubicBezTo>
                  <a:pt x="2939" y="321"/>
                  <a:pt x="2940" y="324"/>
                  <a:pt x="2940" y="326"/>
                </a:cubicBezTo>
                <a:cubicBezTo>
                  <a:pt x="2941" y="331"/>
                  <a:pt x="2941" y="335"/>
                  <a:pt x="2940" y="340"/>
                </a:cubicBezTo>
                <a:cubicBezTo>
                  <a:pt x="2939" y="341"/>
                  <a:pt x="2938" y="341"/>
                  <a:pt x="2938" y="341"/>
                </a:cubicBezTo>
                <a:cubicBezTo>
                  <a:pt x="2934" y="342"/>
                  <a:pt x="2931" y="344"/>
                  <a:pt x="2928" y="345"/>
                </a:cubicBezTo>
                <a:cubicBezTo>
                  <a:pt x="2923" y="348"/>
                  <a:pt x="2920" y="346"/>
                  <a:pt x="2916" y="343"/>
                </a:cubicBezTo>
                <a:cubicBezTo>
                  <a:pt x="2916" y="342"/>
                  <a:pt x="2916" y="341"/>
                  <a:pt x="2916" y="341"/>
                </a:cubicBezTo>
                <a:cubicBezTo>
                  <a:pt x="2917" y="338"/>
                  <a:pt x="2916" y="336"/>
                  <a:pt x="2914" y="334"/>
                </a:cubicBezTo>
                <a:cubicBezTo>
                  <a:pt x="2913" y="332"/>
                  <a:pt x="2911" y="330"/>
                  <a:pt x="2912" y="327"/>
                </a:cubicBezTo>
                <a:cubicBezTo>
                  <a:pt x="2913" y="325"/>
                  <a:pt x="2914" y="323"/>
                  <a:pt x="2915" y="322"/>
                </a:cubicBezTo>
                <a:cubicBezTo>
                  <a:pt x="2917" y="319"/>
                  <a:pt x="2919" y="317"/>
                  <a:pt x="2921" y="314"/>
                </a:cubicBezTo>
                <a:cubicBezTo>
                  <a:pt x="2921" y="314"/>
                  <a:pt x="2920" y="314"/>
                  <a:pt x="2920" y="314"/>
                </a:cubicBezTo>
                <a:cubicBezTo>
                  <a:pt x="2915" y="315"/>
                  <a:pt x="2911" y="317"/>
                  <a:pt x="2907" y="320"/>
                </a:cubicBezTo>
                <a:cubicBezTo>
                  <a:pt x="2902" y="324"/>
                  <a:pt x="2899" y="329"/>
                  <a:pt x="2899" y="336"/>
                </a:cubicBezTo>
                <a:cubicBezTo>
                  <a:pt x="2898" y="343"/>
                  <a:pt x="2901" y="349"/>
                  <a:pt x="2904" y="355"/>
                </a:cubicBezTo>
                <a:cubicBezTo>
                  <a:pt x="2905" y="356"/>
                  <a:pt x="2905" y="357"/>
                  <a:pt x="2905" y="358"/>
                </a:cubicBezTo>
                <a:cubicBezTo>
                  <a:pt x="2905" y="360"/>
                  <a:pt x="2905" y="362"/>
                  <a:pt x="2904" y="363"/>
                </a:cubicBezTo>
                <a:cubicBezTo>
                  <a:pt x="2903" y="365"/>
                  <a:pt x="2904" y="365"/>
                  <a:pt x="2905" y="366"/>
                </a:cubicBezTo>
                <a:cubicBezTo>
                  <a:pt x="2908" y="367"/>
                  <a:pt x="2911" y="367"/>
                  <a:pt x="2914" y="367"/>
                </a:cubicBezTo>
                <a:cubicBezTo>
                  <a:pt x="2914" y="367"/>
                  <a:pt x="2915" y="367"/>
                  <a:pt x="2915" y="366"/>
                </a:cubicBezTo>
                <a:cubicBezTo>
                  <a:pt x="2916" y="365"/>
                  <a:pt x="2916" y="363"/>
                  <a:pt x="2916" y="363"/>
                </a:cubicBezTo>
                <a:cubicBezTo>
                  <a:pt x="2918" y="360"/>
                  <a:pt x="2918" y="358"/>
                  <a:pt x="2918" y="355"/>
                </a:cubicBezTo>
                <a:cubicBezTo>
                  <a:pt x="2918" y="354"/>
                  <a:pt x="2918" y="354"/>
                  <a:pt x="2918" y="354"/>
                </a:cubicBezTo>
                <a:cubicBezTo>
                  <a:pt x="2918" y="353"/>
                  <a:pt x="2918" y="353"/>
                  <a:pt x="2918" y="353"/>
                </a:cubicBezTo>
                <a:cubicBezTo>
                  <a:pt x="2919" y="356"/>
                  <a:pt x="2920" y="356"/>
                  <a:pt x="2922" y="356"/>
                </a:cubicBezTo>
                <a:cubicBezTo>
                  <a:pt x="2923" y="356"/>
                  <a:pt x="2924" y="356"/>
                  <a:pt x="2925" y="356"/>
                </a:cubicBezTo>
                <a:cubicBezTo>
                  <a:pt x="2927" y="356"/>
                  <a:pt x="2931" y="356"/>
                  <a:pt x="2931" y="352"/>
                </a:cubicBezTo>
                <a:cubicBezTo>
                  <a:pt x="2931" y="354"/>
                  <a:pt x="2931" y="356"/>
                  <a:pt x="2931" y="357"/>
                </a:cubicBezTo>
                <a:cubicBezTo>
                  <a:pt x="2930" y="358"/>
                  <a:pt x="2929" y="358"/>
                  <a:pt x="2927" y="359"/>
                </a:cubicBezTo>
                <a:cubicBezTo>
                  <a:pt x="2926" y="360"/>
                  <a:pt x="2925" y="361"/>
                  <a:pt x="2926" y="362"/>
                </a:cubicBezTo>
                <a:cubicBezTo>
                  <a:pt x="2927" y="364"/>
                  <a:pt x="2929" y="366"/>
                  <a:pt x="2930" y="368"/>
                </a:cubicBezTo>
                <a:cubicBezTo>
                  <a:pt x="2932" y="369"/>
                  <a:pt x="2934" y="369"/>
                  <a:pt x="2935" y="367"/>
                </a:cubicBezTo>
                <a:cubicBezTo>
                  <a:pt x="2936" y="367"/>
                  <a:pt x="2936" y="366"/>
                  <a:pt x="2937" y="365"/>
                </a:cubicBezTo>
                <a:cubicBezTo>
                  <a:pt x="2939" y="364"/>
                  <a:pt x="2940" y="363"/>
                  <a:pt x="2942" y="362"/>
                </a:cubicBezTo>
                <a:cubicBezTo>
                  <a:pt x="2946" y="357"/>
                  <a:pt x="2948" y="351"/>
                  <a:pt x="2950" y="345"/>
                </a:cubicBezTo>
                <a:cubicBezTo>
                  <a:pt x="2950" y="345"/>
                  <a:pt x="2949" y="344"/>
                  <a:pt x="2949" y="344"/>
                </a:cubicBezTo>
                <a:cubicBezTo>
                  <a:pt x="2948" y="343"/>
                  <a:pt x="2947" y="342"/>
                  <a:pt x="2945" y="341"/>
                </a:cubicBezTo>
                <a:close/>
                <a:moveTo>
                  <a:pt x="2898" y="347"/>
                </a:moveTo>
                <a:cubicBezTo>
                  <a:pt x="2898" y="348"/>
                  <a:pt x="2896" y="349"/>
                  <a:pt x="2895" y="350"/>
                </a:cubicBezTo>
                <a:cubicBezTo>
                  <a:pt x="2894" y="350"/>
                  <a:pt x="2894" y="351"/>
                  <a:pt x="2894" y="352"/>
                </a:cubicBezTo>
                <a:cubicBezTo>
                  <a:pt x="2894" y="355"/>
                  <a:pt x="2898" y="359"/>
                  <a:pt x="2901" y="359"/>
                </a:cubicBezTo>
                <a:cubicBezTo>
                  <a:pt x="2903" y="359"/>
                  <a:pt x="2904" y="358"/>
                  <a:pt x="2903" y="356"/>
                </a:cubicBezTo>
                <a:cubicBezTo>
                  <a:pt x="2901" y="353"/>
                  <a:pt x="2900" y="350"/>
                  <a:pt x="2898" y="347"/>
                </a:cubicBezTo>
                <a:close/>
                <a:moveTo>
                  <a:pt x="2951" y="349"/>
                </a:moveTo>
                <a:cubicBezTo>
                  <a:pt x="2949" y="354"/>
                  <a:pt x="2946" y="358"/>
                  <a:pt x="2944" y="363"/>
                </a:cubicBezTo>
                <a:cubicBezTo>
                  <a:pt x="2947" y="363"/>
                  <a:pt x="2949" y="363"/>
                  <a:pt x="2952" y="363"/>
                </a:cubicBezTo>
                <a:cubicBezTo>
                  <a:pt x="2952" y="363"/>
                  <a:pt x="2952" y="362"/>
                  <a:pt x="2952" y="361"/>
                </a:cubicBezTo>
                <a:cubicBezTo>
                  <a:pt x="2952" y="358"/>
                  <a:pt x="2952" y="356"/>
                  <a:pt x="2952" y="354"/>
                </a:cubicBezTo>
                <a:cubicBezTo>
                  <a:pt x="2952" y="352"/>
                  <a:pt x="2951" y="351"/>
                  <a:pt x="2951" y="349"/>
                </a:cubicBezTo>
                <a:close/>
                <a:moveTo>
                  <a:pt x="2898" y="329"/>
                </a:moveTo>
                <a:cubicBezTo>
                  <a:pt x="2898" y="329"/>
                  <a:pt x="2897" y="330"/>
                  <a:pt x="2896" y="330"/>
                </a:cubicBezTo>
                <a:cubicBezTo>
                  <a:pt x="2896" y="330"/>
                  <a:pt x="2895" y="330"/>
                  <a:pt x="2895" y="329"/>
                </a:cubicBezTo>
                <a:cubicBezTo>
                  <a:pt x="2894" y="329"/>
                  <a:pt x="2894" y="328"/>
                  <a:pt x="2894" y="327"/>
                </a:cubicBezTo>
                <a:cubicBezTo>
                  <a:pt x="2895" y="325"/>
                  <a:pt x="2895" y="323"/>
                  <a:pt x="2896" y="322"/>
                </a:cubicBezTo>
                <a:cubicBezTo>
                  <a:pt x="2896" y="322"/>
                  <a:pt x="2896" y="322"/>
                  <a:pt x="2895" y="322"/>
                </a:cubicBezTo>
                <a:cubicBezTo>
                  <a:pt x="2894" y="322"/>
                  <a:pt x="2893" y="323"/>
                  <a:pt x="2892" y="324"/>
                </a:cubicBezTo>
                <a:cubicBezTo>
                  <a:pt x="2892" y="325"/>
                  <a:pt x="2893" y="331"/>
                  <a:pt x="2895" y="331"/>
                </a:cubicBezTo>
                <a:cubicBezTo>
                  <a:pt x="2896" y="332"/>
                  <a:pt x="2898" y="331"/>
                  <a:pt x="2898" y="329"/>
                </a:cubicBezTo>
                <a:close/>
                <a:moveTo>
                  <a:pt x="2898" y="347"/>
                </a:moveTo>
                <a:cubicBezTo>
                  <a:pt x="2897" y="348"/>
                  <a:pt x="2896" y="349"/>
                  <a:pt x="2895" y="350"/>
                </a:cubicBezTo>
                <a:cubicBezTo>
                  <a:pt x="2894" y="350"/>
                  <a:pt x="2894" y="351"/>
                  <a:pt x="2894" y="352"/>
                </a:cubicBezTo>
                <a:cubicBezTo>
                  <a:pt x="2894" y="355"/>
                  <a:pt x="2898" y="359"/>
                  <a:pt x="2901" y="359"/>
                </a:cubicBezTo>
                <a:cubicBezTo>
                  <a:pt x="2903" y="359"/>
                  <a:pt x="2904" y="357"/>
                  <a:pt x="2903" y="356"/>
                </a:cubicBezTo>
                <a:cubicBezTo>
                  <a:pt x="2901" y="353"/>
                  <a:pt x="2900" y="350"/>
                  <a:pt x="2898" y="347"/>
                </a:cubicBezTo>
                <a:close/>
                <a:moveTo>
                  <a:pt x="2951" y="349"/>
                </a:moveTo>
                <a:cubicBezTo>
                  <a:pt x="2948" y="354"/>
                  <a:pt x="2946" y="358"/>
                  <a:pt x="2944" y="362"/>
                </a:cubicBezTo>
                <a:cubicBezTo>
                  <a:pt x="2946" y="362"/>
                  <a:pt x="2949" y="363"/>
                  <a:pt x="2952" y="362"/>
                </a:cubicBezTo>
                <a:cubicBezTo>
                  <a:pt x="2952" y="362"/>
                  <a:pt x="2952" y="361"/>
                  <a:pt x="2952" y="361"/>
                </a:cubicBezTo>
                <a:cubicBezTo>
                  <a:pt x="2952" y="358"/>
                  <a:pt x="2952" y="356"/>
                  <a:pt x="2952" y="353"/>
                </a:cubicBezTo>
                <a:cubicBezTo>
                  <a:pt x="2952" y="352"/>
                  <a:pt x="2951" y="350"/>
                  <a:pt x="2951" y="349"/>
                </a:cubicBezTo>
                <a:close/>
                <a:moveTo>
                  <a:pt x="2898" y="329"/>
                </a:moveTo>
                <a:cubicBezTo>
                  <a:pt x="2897" y="329"/>
                  <a:pt x="2897" y="330"/>
                  <a:pt x="2896" y="330"/>
                </a:cubicBezTo>
                <a:cubicBezTo>
                  <a:pt x="2896" y="330"/>
                  <a:pt x="2895" y="330"/>
                  <a:pt x="2895" y="329"/>
                </a:cubicBezTo>
                <a:cubicBezTo>
                  <a:pt x="2894" y="329"/>
                  <a:pt x="2894" y="328"/>
                  <a:pt x="2894" y="327"/>
                </a:cubicBezTo>
                <a:cubicBezTo>
                  <a:pt x="2895" y="325"/>
                  <a:pt x="2895" y="323"/>
                  <a:pt x="2896" y="321"/>
                </a:cubicBezTo>
                <a:cubicBezTo>
                  <a:pt x="2896" y="321"/>
                  <a:pt x="2896" y="321"/>
                  <a:pt x="2895" y="321"/>
                </a:cubicBezTo>
                <a:cubicBezTo>
                  <a:pt x="2894" y="322"/>
                  <a:pt x="2893" y="323"/>
                  <a:pt x="2893" y="324"/>
                </a:cubicBezTo>
                <a:cubicBezTo>
                  <a:pt x="2892" y="325"/>
                  <a:pt x="2893" y="330"/>
                  <a:pt x="2895" y="331"/>
                </a:cubicBezTo>
                <a:cubicBezTo>
                  <a:pt x="2896" y="332"/>
                  <a:pt x="2898" y="331"/>
                  <a:pt x="2898" y="329"/>
                </a:cubicBezTo>
                <a:close/>
                <a:moveTo>
                  <a:pt x="2950" y="321"/>
                </a:moveTo>
                <a:cubicBezTo>
                  <a:pt x="2954" y="317"/>
                  <a:pt x="2954" y="317"/>
                  <a:pt x="2958" y="316"/>
                </a:cubicBezTo>
                <a:cubicBezTo>
                  <a:pt x="2958" y="318"/>
                  <a:pt x="2959" y="319"/>
                  <a:pt x="2960" y="319"/>
                </a:cubicBezTo>
                <a:cubicBezTo>
                  <a:pt x="2958" y="320"/>
                  <a:pt x="2956" y="322"/>
                  <a:pt x="2954" y="323"/>
                </a:cubicBezTo>
                <a:cubicBezTo>
                  <a:pt x="2953" y="322"/>
                  <a:pt x="2953" y="321"/>
                  <a:pt x="2952" y="320"/>
                </a:cubicBezTo>
                <a:cubicBezTo>
                  <a:pt x="2952" y="320"/>
                  <a:pt x="2951" y="320"/>
                  <a:pt x="2950" y="321"/>
                </a:cubicBezTo>
                <a:close/>
                <a:moveTo>
                  <a:pt x="2956" y="320"/>
                </a:moveTo>
                <a:cubicBezTo>
                  <a:pt x="2956" y="320"/>
                  <a:pt x="2955" y="319"/>
                  <a:pt x="2954" y="319"/>
                </a:cubicBezTo>
                <a:cubicBezTo>
                  <a:pt x="2954" y="319"/>
                  <a:pt x="2953" y="320"/>
                  <a:pt x="2953" y="321"/>
                </a:cubicBezTo>
                <a:cubicBezTo>
                  <a:pt x="2953" y="321"/>
                  <a:pt x="2954" y="321"/>
                  <a:pt x="2954" y="322"/>
                </a:cubicBezTo>
                <a:cubicBezTo>
                  <a:pt x="2955" y="321"/>
                  <a:pt x="2955" y="321"/>
                  <a:pt x="2956" y="320"/>
                </a:cubicBezTo>
                <a:close/>
                <a:moveTo>
                  <a:pt x="2937" y="311"/>
                </a:moveTo>
                <a:cubicBezTo>
                  <a:pt x="2931" y="310"/>
                  <a:pt x="2928" y="312"/>
                  <a:pt x="2927" y="320"/>
                </a:cubicBezTo>
                <a:cubicBezTo>
                  <a:pt x="2928" y="318"/>
                  <a:pt x="2929" y="316"/>
                  <a:pt x="2930" y="313"/>
                </a:cubicBezTo>
                <a:cubicBezTo>
                  <a:pt x="2931" y="313"/>
                  <a:pt x="2931" y="313"/>
                  <a:pt x="2931" y="313"/>
                </a:cubicBezTo>
                <a:cubicBezTo>
                  <a:pt x="2931" y="315"/>
                  <a:pt x="2931" y="315"/>
                  <a:pt x="2931" y="316"/>
                </a:cubicBezTo>
                <a:cubicBezTo>
                  <a:pt x="2932" y="313"/>
                  <a:pt x="2934" y="311"/>
                  <a:pt x="2937" y="311"/>
                </a:cubicBezTo>
                <a:close/>
                <a:moveTo>
                  <a:pt x="2981" y="312"/>
                </a:moveTo>
                <a:cubicBezTo>
                  <a:pt x="2979" y="314"/>
                  <a:pt x="2977" y="315"/>
                  <a:pt x="2976" y="316"/>
                </a:cubicBezTo>
                <a:cubicBezTo>
                  <a:pt x="2978" y="317"/>
                  <a:pt x="2980" y="315"/>
                  <a:pt x="2981" y="312"/>
                </a:cubicBezTo>
                <a:close/>
                <a:moveTo>
                  <a:pt x="2948" y="314"/>
                </a:moveTo>
                <a:cubicBezTo>
                  <a:pt x="2949" y="313"/>
                  <a:pt x="2950" y="312"/>
                  <a:pt x="2951" y="310"/>
                </a:cubicBezTo>
                <a:cubicBezTo>
                  <a:pt x="2948" y="312"/>
                  <a:pt x="2948" y="312"/>
                  <a:pt x="2948" y="314"/>
                </a:cubicBezTo>
                <a:close/>
                <a:moveTo>
                  <a:pt x="2958" y="335"/>
                </a:moveTo>
                <a:cubicBezTo>
                  <a:pt x="2956" y="336"/>
                  <a:pt x="2955" y="337"/>
                  <a:pt x="2955" y="338"/>
                </a:cubicBezTo>
                <a:cubicBezTo>
                  <a:pt x="2956" y="337"/>
                  <a:pt x="2957" y="336"/>
                  <a:pt x="2958" y="335"/>
                </a:cubicBezTo>
                <a:close/>
                <a:moveTo>
                  <a:pt x="2957" y="320"/>
                </a:moveTo>
                <a:cubicBezTo>
                  <a:pt x="2956" y="320"/>
                  <a:pt x="2955" y="320"/>
                  <a:pt x="2955" y="320"/>
                </a:cubicBezTo>
                <a:cubicBezTo>
                  <a:pt x="2954" y="320"/>
                  <a:pt x="2953" y="320"/>
                  <a:pt x="2953" y="321"/>
                </a:cubicBezTo>
                <a:cubicBezTo>
                  <a:pt x="2953" y="321"/>
                  <a:pt x="2954" y="322"/>
                  <a:pt x="2954" y="322"/>
                </a:cubicBezTo>
                <a:cubicBezTo>
                  <a:pt x="2955" y="322"/>
                  <a:pt x="2955" y="321"/>
                  <a:pt x="2957" y="320"/>
                </a:cubicBezTo>
                <a:close/>
                <a:moveTo>
                  <a:pt x="3481" y="441"/>
                </a:moveTo>
                <a:cubicBezTo>
                  <a:pt x="3481" y="443"/>
                  <a:pt x="3482" y="444"/>
                  <a:pt x="3482" y="446"/>
                </a:cubicBezTo>
                <a:cubicBezTo>
                  <a:pt x="3483" y="447"/>
                  <a:pt x="3483" y="449"/>
                  <a:pt x="3484" y="451"/>
                </a:cubicBezTo>
                <a:cubicBezTo>
                  <a:pt x="3484" y="452"/>
                  <a:pt x="3484" y="454"/>
                  <a:pt x="3484" y="456"/>
                </a:cubicBezTo>
                <a:cubicBezTo>
                  <a:pt x="3485" y="459"/>
                  <a:pt x="3484" y="460"/>
                  <a:pt x="3480" y="460"/>
                </a:cubicBezTo>
                <a:cubicBezTo>
                  <a:pt x="3478" y="460"/>
                  <a:pt x="3475" y="460"/>
                  <a:pt x="3472" y="460"/>
                </a:cubicBezTo>
                <a:cubicBezTo>
                  <a:pt x="3472" y="460"/>
                  <a:pt x="3471" y="460"/>
                  <a:pt x="3471" y="460"/>
                </a:cubicBezTo>
                <a:cubicBezTo>
                  <a:pt x="3469" y="462"/>
                  <a:pt x="3467" y="463"/>
                  <a:pt x="3466" y="465"/>
                </a:cubicBezTo>
                <a:cubicBezTo>
                  <a:pt x="3464" y="467"/>
                  <a:pt x="3461" y="467"/>
                  <a:pt x="3459" y="465"/>
                </a:cubicBezTo>
                <a:cubicBezTo>
                  <a:pt x="3457" y="463"/>
                  <a:pt x="3456" y="461"/>
                  <a:pt x="3454" y="458"/>
                </a:cubicBezTo>
                <a:cubicBezTo>
                  <a:pt x="3453" y="456"/>
                  <a:pt x="3454" y="455"/>
                  <a:pt x="3456" y="453"/>
                </a:cubicBezTo>
                <a:cubicBezTo>
                  <a:pt x="3453" y="453"/>
                  <a:pt x="3452" y="453"/>
                  <a:pt x="3450" y="453"/>
                </a:cubicBezTo>
                <a:cubicBezTo>
                  <a:pt x="3449" y="455"/>
                  <a:pt x="3448" y="457"/>
                  <a:pt x="3447" y="459"/>
                </a:cubicBezTo>
                <a:cubicBezTo>
                  <a:pt x="3447" y="460"/>
                  <a:pt x="3447" y="461"/>
                  <a:pt x="3447" y="461"/>
                </a:cubicBezTo>
                <a:cubicBezTo>
                  <a:pt x="3447" y="465"/>
                  <a:pt x="3446" y="466"/>
                  <a:pt x="3443" y="465"/>
                </a:cubicBezTo>
                <a:cubicBezTo>
                  <a:pt x="3440" y="465"/>
                  <a:pt x="3437" y="464"/>
                  <a:pt x="3434" y="463"/>
                </a:cubicBezTo>
                <a:cubicBezTo>
                  <a:pt x="3432" y="463"/>
                  <a:pt x="3431" y="461"/>
                  <a:pt x="3432" y="459"/>
                </a:cubicBezTo>
                <a:cubicBezTo>
                  <a:pt x="3432" y="458"/>
                  <a:pt x="3432" y="458"/>
                  <a:pt x="3433" y="458"/>
                </a:cubicBezTo>
                <a:cubicBezTo>
                  <a:pt x="3430" y="456"/>
                  <a:pt x="3428" y="456"/>
                  <a:pt x="3426" y="454"/>
                </a:cubicBezTo>
                <a:cubicBezTo>
                  <a:pt x="3425" y="453"/>
                  <a:pt x="3424" y="451"/>
                  <a:pt x="3423" y="450"/>
                </a:cubicBezTo>
                <a:cubicBezTo>
                  <a:pt x="3422" y="448"/>
                  <a:pt x="3422" y="446"/>
                  <a:pt x="3424" y="444"/>
                </a:cubicBezTo>
                <a:cubicBezTo>
                  <a:pt x="3427" y="442"/>
                  <a:pt x="3428" y="439"/>
                  <a:pt x="3427" y="435"/>
                </a:cubicBezTo>
                <a:cubicBezTo>
                  <a:pt x="3427" y="433"/>
                  <a:pt x="3427" y="431"/>
                  <a:pt x="3427" y="429"/>
                </a:cubicBezTo>
                <a:cubicBezTo>
                  <a:pt x="3426" y="429"/>
                  <a:pt x="3424" y="428"/>
                  <a:pt x="3423" y="427"/>
                </a:cubicBezTo>
                <a:cubicBezTo>
                  <a:pt x="3422" y="425"/>
                  <a:pt x="3421" y="423"/>
                  <a:pt x="3421" y="421"/>
                </a:cubicBezTo>
                <a:cubicBezTo>
                  <a:pt x="3421" y="419"/>
                  <a:pt x="3424" y="416"/>
                  <a:pt x="3427" y="415"/>
                </a:cubicBezTo>
                <a:cubicBezTo>
                  <a:pt x="3427" y="416"/>
                  <a:pt x="3427" y="417"/>
                  <a:pt x="3428" y="418"/>
                </a:cubicBezTo>
                <a:cubicBezTo>
                  <a:pt x="3428" y="419"/>
                  <a:pt x="3428" y="419"/>
                  <a:pt x="3428" y="421"/>
                </a:cubicBezTo>
                <a:cubicBezTo>
                  <a:pt x="3427" y="420"/>
                  <a:pt x="3427" y="420"/>
                  <a:pt x="3427" y="420"/>
                </a:cubicBezTo>
                <a:cubicBezTo>
                  <a:pt x="3426" y="421"/>
                  <a:pt x="3426" y="423"/>
                  <a:pt x="3425" y="425"/>
                </a:cubicBezTo>
                <a:cubicBezTo>
                  <a:pt x="3426" y="424"/>
                  <a:pt x="3427" y="424"/>
                  <a:pt x="3427" y="424"/>
                </a:cubicBezTo>
                <a:cubicBezTo>
                  <a:pt x="3429" y="423"/>
                  <a:pt x="3429" y="422"/>
                  <a:pt x="3430" y="421"/>
                </a:cubicBezTo>
                <a:cubicBezTo>
                  <a:pt x="3435" y="414"/>
                  <a:pt x="3440" y="410"/>
                  <a:pt x="3448" y="408"/>
                </a:cubicBezTo>
                <a:cubicBezTo>
                  <a:pt x="3451" y="408"/>
                  <a:pt x="3455" y="407"/>
                  <a:pt x="3457" y="404"/>
                </a:cubicBezTo>
                <a:cubicBezTo>
                  <a:pt x="3457" y="404"/>
                  <a:pt x="3458" y="403"/>
                  <a:pt x="3458" y="403"/>
                </a:cubicBezTo>
                <a:cubicBezTo>
                  <a:pt x="3461" y="403"/>
                  <a:pt x="3462" y="400"/>
                  <a:pt x="3464" y="399"/>
                </a:cubicBezTo>
                <a:cubicBezTo>
                  <a:pt x="3472" y="391"/>
                  <a:pt x="3484" y="391"/>
                  <a:pt x="3491" y="397"/>
                </a:cubicBezTo>
                <a:cubicBezTo>
                  <a:pt x="3494" y="399"/>
                  <a:pt x="3497" y="401"/>
                  <a:pt x="3499" y="403"/>
                </a:cubicBezTo>
                <a:cubicBezTo>
                  <a:pt x="3500" y="404"/>
                  <a:pt x="3502" y="406"/>
                  <a:pt x="3503" y="408"/>
                </a:cubicBezTo>
                <a:cubicBezTo>
                  <a:pt x="3504" y="410"/>
                  <a:pt x="3504" y="410"/>
                  <a:pt x="3506" y="408"/>
                </a:cubicBezTo>
                <a:cubicBezTo>
                  <a:pt x="3506" y="408"/>
                  <a:pt x="3507" y="407"/>
                  <a:pt x="3508" y="406"/>
                </a:cubicBezTo>
                <a:cubicBezTo>
                  <a:pt x="3510" y="404"/>
                  <a:pt x="3513" y="404"/>
                  <a:pt x="3514" y="407"/>
                </a:cubicBezTo>
                <a:cubicBezTo>
                  <a:pt x="3515" y="410"/>
                  <a:pt x="3516" y="413"/>
                  <a:pt x="3517" y="416"/>
                </a:cubicBezTo>
                <a:cubicBezTo>
                  <a:pt x="3517" y="420"/>
                  <a:pt x="3517" y="425"/>
                  <a:pt x="3515" y="429"/>
                </a:cubicBezTo>
                <a:cubicBezTo>
                  <a:pt x="3513" y="435"/>
                  <a:pt x="3508" y="439"/>
                  <a:pt x="3502" y="439"/>
                </a:cubicBezTo>
                <a:cubicBezTo>
                  <a:pt x="3501" y="439"/>
                  <a:pt x="3500" y="439"/>
                  <a:pt x="3500" y="439"/>
                </a:cubicBezTo>
                <a:cubicBezTo>
                  <a:pt x="3497" y="439"/>
                  <a:pt x="3496" y="439"/>
                  <a:pt x="3495" y="441"/>
                </a:cubicBezTo>
                <a:cubicBezTo>
                  <a:pt x="3494" y="446"/>
                  <a:pt x="3488" y="447"/>
                  <a:pt x="3485" y="444"/>
                </a:cubicBezTo>
                <a:cubicBezTo>
                  <a:pt x="3484" y="443"/>
                  <a:pt x="3483" y="442"/>
                  <a:pt x="3482" y="441"/>
                </a:cubicBezTo>
                <a:cubicBezTo>
                  <a:pt x="3481" y="441"/>
                  <a:pt x="3481" y="441"/>
                  <a:pt x="3481" y="441"/>
                </a:cubicBezTo>
                <a:close/>
                <a:moveTo>
                  <a:pt x="3475" y="437"/>
                </a:moveTo>
                <a:cubicBezTo>
                  <a:pt x="3479" y="439"/>
                  <a:pt x="3482" y="440"/>
                  <a:pt x="3485" y="442"/>
                </a:cubicBezTo>
                <a:cubicBezTo>
                  <a:pt x="3487" y="444"/>
                  <a:pt x="3489" y="445"/>
                  <a:pt x="3491" y="444"/>
                </a:cubicBezTo>
                <a:cubicBezTo>
                  <a:pt x="3493" y="443"/>
                  <a:pt x="3495" y="441"/>
                  <a:pt x="3495" y="438"/>
                </a:cubicBezTo>
                <a:cubicBezTo>
                  <a:pt x="3495" y="439"/>
                  <a:pt x="3494" y="439"/>
                  <a:pt x="3494" y="439"/>
                </a:cubicBezTo>
                <a:cubicBezTo>
                  <a:pt x="3493" y="440"/>
                  <a:pt x="3492" y="441"/>
                  <a:pt x="3491" y="442"/>
                </a:cubicBezTo>
                <a:cubicBezTo>
                  <a:pt x="3490" y="444"/>
                  <a:pt x="3489" y="443"/>
                  <a:pt x="3488" y="443"/>
                </a:cubicBezTo>
                <a:cubicBezTo>
                  <a:pt x="3487" y="443"/>
                  <a:pt x="3487" y="442"/>
                  <a:pt x="3487" y="441"/>
                </a:cubicBezTo>
                <a:cubicBezTo>
                  <a:pt x="3487" y="439"/>
                  <a:pt x="3487" y="437"/>
                  <a:pt x="3488" y="435"/>
                </a:cubicBezTo>
                <a:cubicBezTo>
                  <a:pt x="3491" y="435"/>
                  <a:pt x="3494" y="437"/>
                  <a:pt x="3498" y="437"/>
                </a:cubicBezTo>
                <a:cubicBezTo>
                  <a:pt x="3505" y="438"/>
                  <a:pt x="3511" y="437"/>
                  <a:pt x="3514" y="428"/>
                </a:cubicBezTo>
                <a:cubicBezTo>
                  <a:pt x="3516" y="423"/>
                  <a:pt x="3515" y="418"/>
                  <a:pt x="3515" y="413"/>
                </a:cubicBezTo>
                <a:cubicBezTo>
                  <a:pt x="3514" y="411"/>
                  <a:pt x="3513" y="410"/>
                  <a:pt x="3513" y="408"/>
                </a:cubicBezTo>
                <a:cubicBezTo>
                  <a:pt x="3512" y="406"/>
                  <a:pt x="3511" y="406"/>
                  <a:pt x="3509" y="407"/>
                </a:cubicBezTo>
                <a:cubicBezTo>
                  <a:pt x="3508" y="409"/>
                  <a:pt x="3506" y="410"/>
                  <a:pt x="3504" y="411"/>
                </a:cubicBezTo>
                <a:cubicBezTo>
                  <a:pt x="3504" y="412"/>
                  <a:pt x="3503" y="412"/>
                  <a:pt x="3503" y="414"/>
                </a:cubicBezTo>
                <a:cubicBezTo>
                  <a:pt x="3504" y="417"/>
                  <a:pt x="3503" y="420"/>
                  <a:pt x="3502" y="423"/>
                </a:cubicBezTo>
                <a:cubicBezTo>
                  <a:pt x="3502" y="421"/>
                  <a:pt x="3502" y="419"/>
                  <a:pt x="3502" y="418"/>
                </a:cubicBezTo>
                <a:cubicBezTo>
                  <a:pt x="3502" y="417"/>
                  <a:pt x="3502" y="416"/>
                  <a:pt x="3502" y="416"/>
                </a:cubicBezTo>
                <a:cubicBezTo>
                  <a:pt x="3501" y="416"/>
                  <a:pt x="3500" y="416"/>
                  <a:pt x="3500" y="417"/>
                </a:cubicBezTo>
                <a:cubicBezTo>
                  <a:pt x="3500" y="418"/>
                  <a:pt x="3499" y="419"/>
                  <a:pt x="3498" y="421"/>
                </a:cubicBezTo>
                <a:cubicBezTo>
                  <a:pt x="3498" y="421"/>
                  <a:pt x="3498" y="421"/>
                  <a:pt x="3498" y="421"/>
                </a:cubicBezTo>
                <a:cubicBezTo>
                  <a:pt x="3498" y="419"/>
                  <a:pt x="3498" y="418"/>
                  <a:pt x="3499" y="415"/>
                </a:cubicBezTo>
                <a:cubicBezTo>
                  <a:pt x="3498" y="416"/>
                  <a:pt x="3497" y="416"/>
                  <a:pt x="3497" y="417"/>
                </a:cubicBezTo>
                <a:cubicBezTo>
                  <a:pt x="3496" y="418"/>
                  <a:pt x="3496" y="418"/>
                  <a:pt x="3495" y="419"/>
                </a:cubicBezTo>
                <a:cubicBezTo>
                  <a:pt x="3496" y="416"/>
                  <a:pt x="3496" y="416"/>
                  <a:pt x="3502" y="414"/>
                </a:cubicBezTo>
                <a:cubicBezTo>
                  <a:pt x="3502" y="414"/>
                  <a:pt x="3501" y="413"/>
                  <a:pt x="3501" y="413"/>
                </a:cubicBezTo>
                <a:cubicBezTo>
                  <a:pt x="3498" y="414"/>
                  <a:pt x="3497" y="412"/>
                  <a:pt x="3497" y="410"/>
                </a:cubicBezTo>
                <a:cubicBezTo>
                  <a:pt x="3498" y="410"/>
                  <a:pt x="3500" y="409"/>
                  <a:pt x="3502" y="409"/>
                </a:cubicBezTo>
                <a:cubicBezTo>
                  <a:pt x="3500" y="406"/>
                  <a:pt x="3498" y="404"/>
                  <a:pt x="3495" y="403"/>
                </a:cubicBezTo>
                <a:cubicBezTo>
                  <a:pt x="3495" y="403"/>
                  <a:pt x="3495" y="403"/>
                  <a:pt x="3495" y="402"/>
                </a:cubicBezTo>
                <a:cubicBezTo>
                  <a:pt x="3492" y="400"/>
                  <a:pt x="3490" y="398"/>
                  <a:pt x="3487" y="396"/>
                </a:cubicBezTo>
                <a:cubicBezTo>
                  <a:pt x="3485" y="395"/>
                  <a:pt x="3482" y="394"/>
                  <a:pt x="3480" y="394"/>
                </a:cubicBezTo>
                <a:cubicBezTo>
                  <a:pt x="3477" y="395"/>
                  <a:pt x="3473" y="396"/>
                  <a:pt x="3470" y="397"/>
                </a:cubicBezTo>
                <a:cubicBezTo>
                  <a:pt x="3467" y="398"/>
                  <a:pt x="3465" y="399"/>
                  <a:pt x="3463" y="402"/>
                </a:cubicBezTo>
                <a:cubicBezTo>
                  <a:pt x="3465" y="402"/>
                  <a:pt x="3466" y="402"/>
                  <a:pt x="3467" y="402"/>
                </a:cubicBezTo>
                <a:cubicBezTo>
                  <a:pt x="3467" y="403"/>
                  <a:pt x="3466" y="403"/>
                  <a:pt x="3465" y="403"/>
                </a:cubicBezTo>
                <a:cubicBezTo>
                  <a:pt x="3463" y="404"/>
                  <a:pt x="3460" y="403"/>
                  <a:pt x="3458" y="406"/>
                </a:cubicBezTo>
                <a:cubicBezTo>
                  <a:pt x="3455" y="410"/>
                  <a:pt x="3451" y="413"/>
                  <a:pt x="3447" y="418"/>
                </a:cubicBezTo>
                <a:cubicBezTo>
                  <a:pt x="3446" y="419"/>
                  <a:pt x="3445" y="422"/>
                  <a:pt x="3444" y="424"/>
                </a:cubicBezTo>
                <a:cubicBezTo>
                  <a:pt x="3444" y="425"/>
                  <a:pt x="3444" y="425"/>
                  <a:pt x="3444" y="426"/>
                </a:cubicBezTo>
                <a:cubicBezTo>
                  <a:pt x="3445" y="428"/>
                  <a:pt x="3446" y="430"/>
                  <a:pt x="3448" y="432"/>
                </a:cubicBezTo>
                <a:cubicBezTo>
                  <a:pt x="3449" y="430"/>
                  <a:pt x="3450" y="429"/>
                  <a:pt x="3451" y="427"/>
                </a:cubicBezTo>
                <a:cubicBezTo>
                  <a:pt x="3451" y="429"/>
                  <a:pt x="3451" y="430"/>
                  <a:pt x="3450" y="431"/>
                </a:cubicBezTo>
                <a:cubicBezTo>
                  <a:pt x="3449" y="433"/>
                  <a:pt x="3448" y="434"/>
                  <a:pt x="3448" y="435"/>
                </a:cubicBezTo>
                <a:cubicBezTo>
                  <a:pt x="3447" y="436"/>
                  <a:pt x="3448" y="437"/>
                  <a:pt x="3448" y="438"/>
                </a:cubicBezTo>
                <a:cubicBezTo>
                  <a:pt x="3451" y="442"/>
                  <a:pt x="3454" y="442"/>
                  <a:pt x="3458" y="440"/>
                </a:cubicBezTo>
                <a:cubicBezTo>
                  <a:pt x="3460" y="438"/>
                  <a:pt x="3463" y="437"/>
                  <a:pt x="3466" y="436"/>
                </a:cubicBezTo>
                <a:cubicBezTo>
                  <a:pt x="3467" y="436"/>
                  <a:pt x="3468" y="435"/>
                  <a:pt x="3468" y="433"/>
                </a:cubicBezTo>
                <a:cubicBezTo>
                  <a:pt x="3468" y="430"/>
                  <a:pt x="3468" y="427"/>
                  <a:pt x="3468" y="423"/>
                </a:cubicBezTo>
                <a:cubicBezTo>
                  <a:pt x="3468" y="420"/>
                  <a:pt x="3468" y="418"/>
                  <a:pt x="3468" y="414"/>
                </a:cubicBezTo>
                <a:cubicBezTo>
                  <a:pt x="3469" y="417"/>
                  <a:pt x="3469" y="420"/>
                  <a:pt x="3470" y="422"/>
                </a:cubicBezTo>
                <a:cubicBezTo>
                  <a:pt x="3471" y="427"/>
                  <a:pt x="3471" y="431"/>
                  <a:pt x="3469" y="436"/>
                </a:cubicBezTo>
                <a:cubicBezTo>
                  <a:pt x="3469" y="437"/>
                  <a:pt x="3468" y="437"/>
                  <a:pt x="3468" y="437"/>
                </a:cubicBezTo>
                <a:cubicBezTo>
                  <a:pt x="3464" y="438"/>
                  <a:pt x="3461" y="440"/>
                  <a:pt x="3458" y="441"/>
                </a:cubicBezTo>
                <a:cubicBezTo>
                  <a:pt x="3453" y="444"/>
                  <a:pt x="3449" y="442"/>
                  <a:pt x="3446" y="439"/>
                </a:cubicBezTo>
                <a:cubicBezTo>
                  <a:pt x="3446" y="438"/>
                  <a:pt x="3446" y="437"/>
                  <a:pt x="3446" y="437"/>
                </a:cubicBezTo>
                <a:cubicBezTo>
                  <a:pt x="3447" y="434"/>
                  <a:pt x="3446" y="432"/>
                  <a:pt x="3444" y="430"/>
                </a:cubicBezTo>
                <a:cubicBezTo>
                  <a:pt x="3443" y="428"/>
                  <a:pt x="3441" y="426"/>
                  <a:pt x="3442" y="423"/>
                </a:cubicBezTo>
                <a:cubicBezTo>
                  <a:pt x="3443" y="421"/>
                  <a:pt x="3444" y="419"/>
                  <a:pt x="3445" y="418"/>
                </a:cubicBezTo>
                <a:cubicBezTo>
                  <a:pt x="3447" y="415"/>
                  <a:pt x="3449" y="413"/>
                  <a:pt x="3451" y="410"/>
                </a:cubicBezTo>
                <a:cubicBezTo>
                  <a:pt x="3451" y="410"/>
                  <a:pt x="3450" y="410"/>
                  <a:pt x="3450" y="410"/>
                </a:cubicBezTo>
                <a:cubicBezTo>
                  <a:pt x="3445" y="411"/>
                  <a:pt x="3440" y="413"/>
                  <a:pt x="3437" y="416"/>
                </a:cubicBezTo>
                <a:cubicBezTo>
                  <a:pt x="3432" y="420"/>
                  <a:pt x="3429" y="425"/>
                  <a:pt x="3429" y="432"/>
                </a:cubicBezTo>
                <a:cubicBezTo>
                  <a:pt x="3428" y="439"/>
                  <a:pt x="3431" y="445"/>
                  <a:pt x="3434" y="451"/>
                </a:cubicBezTo>
                <a:cubicBezTo>
                  <a:pt x="3435" y="452"/>
                  <a:pt x="3435" y="453"/>
                  <a:pt x="3435" y="454"/>
                </a:cubicBezTo>
                <a:cubicBezTo>
                  <a:pt x="3435" y="456"/>
                  <a:pt x="3435" y="458"/>
                  <a:pt x="3434" y="459"/>
                </a:cubicBezTo>
                <a:cubicBezTo>
                  <a:pt x="3433" y="461"/>
                  <a:pt x="3434" y="461"/>
                  <a:pt x="3435" y="462"/>
                </a:cubicBezTo>
                <a:cubicBezTo>
                  <a:pt x="3438" y="463"/>
                  <a:pt x="3441" y="463"/>
                  <a:pt x="3444" y="463"/>
                </a:cubicBezTo>
                <a:cubicBezTo>
                  <a:pt x="3444" y="463"/>
                  <a:pt x="3445" y="463"/>
                  <a:pt x="3445" y="462"/>
                </a:cubicBezTo>
                <a:cubicBezTo>
                  <a:pt x="3446" y="461"/>
                  <a:pt x="3446" y="459"/>
                  <a:pt x="3446" y="459"/>
                </a:cubicBezTo>
                <a:cubicBezTo>
                  <a:pt x="3448" y="456"/>
                  <a:pt x="3448" y="454"/>
                  <a:pt x="3448" y="451"/>
                </a:cubicBezTo>
                <a:cubicBezTo>
                  <a:pt x="3448" y="450"/>
                  <a:pt x="3448" y="450"/>
                  <a:pt x="3448" y="450"/>
                </a:cubicBezTo>
                <a:cubicBezTo>
                  <a:pt x="3448" y="449"/>
                  <a:pt x="3448" y="449"/>
                  <a:pt x="3448" y="449"/>
                </a:cubicBezTo>
                <a:cubicBezTo>
                  <a:pt x="3449" y="452"/>
                  <a:pt x="3450" y="452"/>
                  <a:pt x="3452" y="452"/>
                </a:cubicBezTo>
                <a:cubicBezTo>
                  <a:pt x="3453" y="452"/>
                  <a:pt x="3454" y="452"/>
                  <a:pt x="3455" y="452"/>
                </a:cubicBezTo>
                <a:cubicBezTo>
                  <a:pt x="3457" y="452"/>
                  <a:pt x="3460" y="452"/>
                  <a:pt x="3461" y="448"/>
                </a:cubicBezTo>
                <a:cubicBezTo>
                  <a:pt x="3461" y="450"/>
                  <a:pt x="3461" y="452"/>
                  <a:pt x="3461" y="453"/>
                </a:cubicBezTo>
                <a:cubicBezTo>
                  <a:pt x="3460" y="454"/>
                  <a:pt x="3458" y="454"/>
                  <a:pt x="3457" y="455"/>
                </a:cubicBezTo>
                <a:cubicBezTo>
                  <a:pt x="3456" y="456"/>
                  <a:pt x="3455" y="457"/>
                  <a:pt x="3456" y="458"/>
                </a:cubicBezTo>
                <a:cubicBezTo>
                  <a:pt x="3457" y="460"/>
                  <a:pt x="3458" y="462"/>
                  <a:pt x="3460" y="464"/>
                </a:cubicBezTo>
                <a:cubicBezTo>
                  <a:pt x="3462" y="465"/>
                  <a:pt x="3464" y="465"/>
                  <a:pt x="3465" y="463"/>
                </a:cubicBezTo>
                <a:cubicBezTo>
                  <a:pt x="3466" y="463"/>
                  <a:pt x="3466" y="462"/>
                  <a:pt x="3467" y="461"/>
                </a:cubicBezTo>
                <a:cubicBezTo>
                  <a:pt x="3469" y="460"/>
                  <a:pt x="3470" y="459"/>
                  <a:pt x="3472" y="458"/>
                </a:cubicBezTo>
                <a:cubicBezTo>
                  <a:pt x="3476" y="453"/>
                  <a:pt x="3478" y="447"/>
                  <a:pt x="3480" y="441"/>
                </a:cubicBezTo>
                <a:cubicBezTo>
                  <a:pt x="3480" y="441"/>
                  <a:pt x="3479" y="440"/>
                  <a:pt x="3478" y="440"/>
                </a:cubicBezTo>
                <a:cubicBezTo>
                  <a:pt x="3478" y="439"/>
                  <a:pt x="3477" y="438"/>
                  <a:pt x="3475" y="437"/>
                </a:cubicBezTo>
                <a:close/>
                <a:moveTo>
                  <a:pt x="3428" y="443"/>
                </a:moveTo>
                <a:cubicBezTo>
                  <a:pt x="3427" y="444"/>
                  <a:pt x="3426" y="445"/>
                  <a:pt x="3425" y="446"/>
                </a:cubicBezTo>
                <a:cubicBezTo>
                  <a:pt x="3424" y="446"/>
                  <a:pt x="3424" y="447"/>
                  <a:pt x="3424" y="448"/>
                </a:cubicBezTo>
                <a:cubicBezTo>
                  <a:pt x="3424" y="451"/>
                  <a:pt x="3428" y="455"/>
                  <a:pt x="3431" y="455"/>
                </a:cubicBezTo>
                <a:cubicBezTo>
                  <a:pt x="3433" y="455"/>
                  <a:pt x="3434" y="454"/>
                  <a:pt x="3433" y="452"/>
                </a:cubicBezTo>
                <a:cubicBezTo>
                  <a:pt x="3431" y="449"/>
                  <a:pt x="3430" y="446"/>
                  <a:pt x="3428" y="443"/>
                </a:cubicBezTo>
                <a:close/>
                <a:moveTo>
                  <a:pt x="3481" y="445"/>
                </a:moveTo>
                <a:cubicBezTo>
                  <a:pt x="3478" y="450"/>
                  <a:pt x="3476" y="454"/>
                  <a:pt x="3474" y="459"/>
                </a:cubicBezTo>
                <a:cubicBezTo>
                  <a:pt x="3477" y="459"/>
                  <a:pt x="3479" y="459"/>
                  <a:pt x="3482" y="459"/>
                </a:cubicBezTo>
                <a:cubicBezTo>
                  <a:pt x="3482" y="459"/>
                  <a:pt x="3482" y="458"/>
                  <a:pt x="3482" y="457"/>
                </a:cubicBezTo>
                <a:cubicBezTo>
                  <a:pt x="3482" y="454"/>
                  <a:pt x="3482" y="452"/>
                  <a:pt x="3482" y="450"/>
                </a:cubicBezTo>
                <a:cubicBezTo>
                  <a:pt x="3482" y="448"/>
                  <a:pt x="3481" y="447"/>
                  <a:pt x="3481" y="445"/>
                </a:cubicBezTo>
                <a:close/>
                <a:moveTo>
                  <a:pt x="3428" y="425"/>
                </a:moveTo>
                <a:cubicBezTo>
                  <a:pt x="3427" y="425"/>
                  <a:pt x="3427" y="426"/>
                  <a:pt x="3426" y="426"/>
                </a:cubicBezTo>
                <a:cubicBezTo>
                  <a:pt x="3426" y="426"/>
                  <a:pt x="3425" y="426"/>
                  <a:pt x="3425" y="425"/>
                </a:cubicBezTo>
                <a:cubicBezTo>
                  <a:pt x="3424" y="425"/>
                  <a:pt x="3424" y="424"/>
                  <a:pt x="3424" y="423"/>
                </a:cubicBezTo>
                <a:cubicBezTo>
                  <a:pt x="3425" y="421"/>
                  <a:pt x="3425" y="419"/>
                  <a:pt x="3426" y="418"/>
                </a:cubicBezTo>
                <a:cubicBezTo>
                  <a:pt x="3426" y="418"/>
                  <a:pt x="3426" y="418"/>
                  <a:pt x="3425" y="418"/>
                </a:cubicBezTo>
                <a:cubicBezTo>
                  <a:pt x="3424" y="418"/>
                  <a:pt x="3423" y="419"/>
                  <a:pt x="3422" y="420"/>
                </a:cubicBezTo>
                <a:cubicBezTo>
                  <a:pt x="3422" y="421"/>
                  <a:pt x="3423" y="427"/>
                  <a:pt x="3425" y="427"/>
                </a:cubicBezTo>
                <a:cubicBezTo>
                  <a:pt x="3426" y="428"/>
                  <a:pt x="3428" y="427"/>
                  <a:pt x="3428" y="425"/>
                </a:cubicBezTo>
                <a:close/>
                <a:moveTo>
                  <a:pt x="3428" y="443"/>
                </a:moveTo>
                <a:cubicBezTo>
                  <a:pt x="3427" y="444"/>
                  <a:pt x="3426" y="445"/>
                  <a:pt x="3424" y="446"/>
                </a:cubicBezTo>
                <a:cubicBezTo>
                  <a:pt x="3424" y="446"/>
                  <a:pt x="3424" y="447"/>
                  <a:pt x="3424" y="448"/>
                </a:cubicBezTo>
                <a:cubicBezTo>
                  <a:pt x="3424" y="451"/>
                  <a:pt x="3428" y="455"/>
                  <a:pt x="3431" y="455"/>
                </a:cubicBezTo>
                <a:cubicBezTo>
                  <a:pt x="3433" y="455"/>
                  <a:pt x="3434" y="453"/>
                  <a:pt x="3433" y="452"/>
                </a:cubicBezTo>
                <a:cubicBezTo>
                  <a:pt x="3431" y="449"/>
                  <a:pt x="3430" y="446"/>
                  <a:pt x="3428" y="443"/>
                </a:cubicBezTo>
                <a:close/>
                <a:moveTo>
                  <a:pt x="3481" y="445"/>
                </a:moveTo>
                <a:cubicBezTo>
                  <a:pt x="3478" y="450"/>
                  <a:pt x="3476" y="454"/>
                  <a:pt x="3474" y="458"/>
                </a:cubicBezTo>
                <a:cubicBezTo>
                  <a:pt x="3476" y="458"/>
                  <a:pt x="3479" y="459"/>
                  <a:pt x="3481" y="458"/>
                </a:cubicBezTo>
                <a:cubicBezTo>
                  <a:pt x="3482" y="458"/>
                  <a:pt x="3482" y="457"/>
                  <a:pt x="3482" y="457"/>
                </a:cubicBezTo>
                <a:cubicBezTo>
                  <a:pt x="3482" y="454"/>
                  <a:pt x="3482" y="452"/>
                  <a:pt x="3482" y="449"/>
                </a:cubicBezTo>
                <a:cubicBezTo>
                  <a:pt x="3481" y="448"/>
                  <a:pt x="3481" y="446"/>
                  <a:pt x="3481" y="445"/>
                </a:cubicBezTo>
                <a:close/>
                <a:moveTo>
                  <a:pt x="3428" y="425"/>
                </a:moveTo>
                <a:cubicBezTo>
                  <a:pt x="3427" y="425"/>
                  <a:pt x="3427" y="426"/>
                  <a:pt x="3426" y="426"/>
                </a:cubicBezTo>
                <a:cubicBezTo>
                  <a:pt x="3425" y="426"/>
                  <a:pt x="3425" y="426"/>
                  <a:pt x="3425" y="425"/>
                </a:cubicBezTo>
                <a:cubicBezTo>
                  <a:pt x="3424" y="425"/>
                  <a:pt x="3424" y="424"/>
                  <a:pt x="3424" y="423"/>
                </a:cubicBezTo>
                <a:cubicBezTo>
                  <a:pt x="3425" y="421"/>
                  <a:pt x="3425" y="419"/>
                  <a:pt x="3426" y="417"/>
                </a:cubicBezTo>
                <a:cubicBezTo>
                  <a:pt x="3425" y="417"/>
                  <a:pt x="3425" y="417"/>
                  <a:pt x="3425" y="417"/>
                </a:cubicBezTo>
                <a:cubicBezTo>
                  <a:pt x="3424" y="418"/>
                  <a:pt x="3423" y="419"/>
                  <a:pt x="3423" y="420"/>
                </a:cubicBezTo>
                <a:cubicBezTo>
                  <a:pt x="3422" y="421"/>
                  <a:pt x="3423" y="426"/>
                  <a:pt x="3425" y="427"/>
                </a:cubicBezTo>
                <a:cubicBezTo>
                  <a:pt x="3426" y="428"/>
                  <a:pt x="3428" y="427"/>
                  <a:pt x="3428" y="425"/>
                </a:cubicBezTo>
                <a:close/>
                <a:moveTo>
                  <a:pt x="3480" y="417"/>
                </a:moveTo>
                <a:cubicBezTo>
                  <a:pt x="3484" y="413"/>
                  <a:pt x="3484" y="413"/>
                  <a:pt x="3488" y="412"/>
                </a:cubicBezTo>
                <a:cubicBezTo>
                  <a:pt x="3488" y="414"/>
                  <a:pt x="3489" y="415"/>
                  <a:pt x="3490" y="415"/>
                </a:cubicBezTo>
                <a:cubicBezTo>
                  <a:pt x="3488" y="416"/>
                  <a:pt x="3486" y="418"/>
                  <a:pt x="3484" y="419"/>
                </a:cubicBezTo>
                <a:cubicBezTo>
                  <a:pt x="3483" y="418"/>
                  <a:pt x="3483" y="417"/>
                  <a:pt x="3482" y="416"/>
                </a:cubicBezTo>
                <a:cubicBezTo>
                  <a:pt x="3482" y="416"/>
                  <a:pt x="3481" y="416"/>
                  <a:pt x="3480" y="417"/>
                </a:cubicBezTo>
                <a:close/>
                <a:moveTo>
                  <a:pt x="3486" y="416"/>
                </a:moveTo>
                <a:cubicBezTo>
                  <a:pt x="3486" y="416"/>
                  <a:pt x="3485" y="415"/>
                  <a:pt x="3484" y="415"/>
                </a:cubicBezTo>
                <a:cubicBezTo>
                  <a:pt x="3484" y="415"/>
                  <a:pt x="3483" y="416"/>
                  <a:pt x="3483" y="417"/>
                </a:cubicBezTo>
                <a:cubicBezTo>
                  <a:pt x="3483" y="417"/>
                  <a:pt x="3484" y="417"/>
                  <a:pt x="3484" y="418"/>
                </a:cubicBezTo>
                <a:cubicBezTo>
                  <a:pt x="3485" y="417"/>
                  <a:pt x="3485" y="417"/>
                  <a:pt x="3486" y="416"/>
                </a:cubicBezTo>
                <a:close/>
                <a:moveTo>
                  <a:pt x="3467" y="407"/>
                </a:moveTo>
                <a:cubicBezTo>
                  <a:pt x="3461" y="406"/>
                  <a:pt x="3458" y="408"/>
                  <a:pt x="3457" y="416"/>
                </a:cubicBezTo>
                <a:cubicBezTo>
                  <a:pt x="3458" y="414"/>
                  <a:pt x="3459" y="412"/>
                  <a:pt x="3460" y="409"/>
                </a:cubicBezTo>
                <a:cubicBezTo>
                  <a:pt x="3461" y="409"/>
                  <a:pt x="3461" y="409"/>
                  <a:pt x="3461" y="409"/>
                </a:cubicBezTo>
                <a:cubicBezTo>
                  <a:pt x="3461" y="411"/>
                  <a:pt x="3461" y="411"/>
                  <a:pt x="3461" y="412"/>
                </a:cubicBezTo>
                <a:cubicBezTo>
                  <a:pt x="3462" y="409"/>
                  <a:pt x="3464" y="407"/>
                  <a:pt x="3467" y="407"/>
                </a:cubicBezTo>
                <a:close/>
                <a:moveTo>
                  <a:pt x="3511" y="408"/>
                </a:moveTo>
                <a:cubicBezTo>
                  <a:pt x="3509" y="410"/>
                  <a:pt x="3507" y="411"/>
                  <a:pt x="3506" y="412"/>
                </a:cubicBezTo>
                <a:cubicBezTo>
                  <a:pt x="3508" y="413"/>
                  <a:pt x="3510" y="411"/>
                  <a:pt x="3511" y="408"/>
                </a:cubicBezTo>
                <a:close/>
                <a:moveTo>
                  <a:pt x="3478" y="410"/>
                </a:moveTo>
                <a:cubicBezTo>
                  <a:pt x="3479" y="409"/>
                  <a:pt x="3480" y="408"/>
                  <a:pt x="3481" y="406"/>
                </a:cubicBezTo>
                <a:cubicBezTo>
                  <a:pt x="3478" y="408"/>
                  <a:pt x="3477" y="408"/>
                  <a:pt x="3478" y="410"/>
                </a:cubicBezTo>
                <a:close/>
                <a:moveTo>
                  <a:pt x="3488" y="431"/>
                </a:moveTo>
                <a:cubicBezTo>
                  <a:pt x="3486" y="432"/>
                  <a:pt x="3485" y="433"/>
                  <a:pt x="3485" y="433"/>
                </a:cubicBezTo>
                <a:cubicBezTo>
                  <a:pt x="3486" y="433"/>
                  <a:pt x="3487" y="432"/>
                  <a:pt x="3488" y="431"/>
                </a:cubicBezTo>
                <a:close/>
                <a:moveTo>
                  <a:pt x="3487" y="416"/>
                </a:moveTo>
                <a:cubicBezTo>
                  <a:pt x="3486" y="416"/>
                  <a:pt x="3485" y="415"/>
                  <a:pt x="3484" y="415"/>
                </a:cubicBezTo>
                <a:cubicBezTo>
                  <a:pt x="3484" y="415"/>
                  <a:pt x="3483" y="416"/>
                  <a:pt x="3483" y="417"/>
                </a:cubicBezTo>
                <a:cubicBezTo>
                  <a:pt x="3483" y="417"/>
                  <a:pt x="3484" y="417"/>
                  <a:pt x="3484" y="418"/>
                </a:cubicBezTo>
                <a:cubicBezTo>
                  <a:pt x="3485" y="417"/>
                  <a:pt x="3485" y="417"/>
                  <a:pt x="3487" y="416"/>
                </a:cubicBezTo>
                <a:close/>
                <a:moveTo>
                  <a:pt x="3034" y="298"/>
                </a:moveTo>
                <a:cubicBezTo>
                  <a:pt x="3034" y="298"/>
                  <a:pt x="3034" y="298"/>
                  <a:pt x="3034" y="298"/>
                </a:cubicBezTo>
                <a:cubicBezTo>
                  <a:pt x="3029" y="298"/>
                  <a:pt x="3029" y="298"/>
                  <a:pt x="3029" y="298"/>
                </a:cubicBezTo>
                <a:cubicBezTo>
                  <a:pt x="3027" y="299"/>
                  <a:pt x="3026" y="301"/>
                  <a:pt x="3024" y="302"/>
                </a:cubicBezTo>
                <a:cubicBezTo>
                  <a:pt x="3022" y="303"/>
                  <a:pt x="3020" y="304"/>
                  <a:pt x="3018" y="305"/>
                </a:cubicBezTo>
                <a:cubicBezTo>
                  <a:pt x="3017" y="306"/>
                  <a:pt x="3015" y="307"/>
                  <a:pt x="3013" y="307"/>
                </a:cubicBezTo>
                <a:cubicBezTo>
                  <a:pt x="3011" y="308"/>
                  <a:pt x="3010" y="309"/>
                  <a:pt x="3008" y="309"/>
                </a:cubicBezTo>
                <a:cubicBezTo>
                  <a:pt x="3008" y="309"/>
                  <a:pt x="3008" y="309"/>
                  <a:pt x="3008" y="319"/>
                </a:cubicBezTo>
                <a:cubicBezTo>
                  <a:pt x="3010" y="318"/>
                  <a:pt x="3013" y="318"/>
                  <a:pt x="3016" y="316"/>
                </a:cubicBezTo>
                <a:cubicBezTo>
                  <a:pt x="3018" y="315"/>
                  <a:pt x="3021" y="314"/>
                  <a:pt x="3023" y="313"/>
                </a:cubicBezTo>
                <a:cubicBezTo>
                  <a:pt x="3023" y="313"/>
                  <a:pt x="3023" y="313"/>
                  <a:pt x="3023" y="371"/>
                </a:cubicBezTo>
                <a:cubicBezTo>
                  <a:pt x="3023" y="371"/>
                  <a:pt x="3023" y="371"/>
                  <a:pt x="3034" y="371"/>
                </a:cubicBezTo>
                <a:cubicBezTo>
                  <a:pt x="3034" y="371"/>
                  <a:pt x="3034" y="371"/>
                  <a:pt x="3034" y="298"/>
                </a:cubicBezTo>
                <a:close/>
                <a:moveTo>
                  <a:pt x="3081" y="298"/>
                </a:moveTo>
                <a:cubicBezTo>
                  <a:pt x="3081" y="298"/>
                  <a:pt x="3081" y="298"/>
                  <a:pt x="3081" y="298"/>
                </a:cubicBezTo>
                <a:cubicBezTo>
                  <a:pt x="3076" y="298"/>
                  <a:pt x="3076" y="298"/>
                  <a:pt x="3076" y="298"/>
                </a:cubicBezTo>
                <a:cubicBezTo>
                  <a:pt x="3075" y="299"/>
                  <a:pt x="3073" y="301"/>
                  <a:pt x="3071" y="302"/>
                </a:cubicBezTo>
                <a:cubicBezTo>
                  <a:pt x="3069" y="303"/>
                  <a:pt x="3067" y="304"/>
                  <a:pt x="3065" y="305"/>
                </a:cubicBezTo>
                <a:cubicBezTo>
                  <a:pt x="3064" y="306"/>
                  <a:pt x="3061" y="307"/>
                  <a:pt x="3060" y="307"/>
                </a:cubicBezTo>
                <a:cubicBezTo>
                  <a:pt x="3058" y="308"/>
                  <a:pt x="3056" y="309"/>
                  <a:pt x="3054" y="309"/>
                </a:cubicBezTo>
                <a:cubicBezTo>
                  <a:pt x="3054" y="309"/>
                  <a:pt x="3054" y="309"/>
                  <a:pt x="3054" y="319"/>
                </a:cubicBezTo>
                <a:cubicBezTo>
                  <a:pt x="3057" y="318"/>
                  <a:pt x="3060" y="318"/>
                  <a:pt x="3063" y="316"/>
                </a:cubicBezTo>
                <a:cubicBezTo>
                  <a:pt x="3065" y="315"/>
                  <a:pt x="3067" y="314"/>
                  <a:pt x="3070" y="313"/>
                </a:cubicBezTo>
                <a:cubicBezTo>
                  <a:pt x="3070" y="313"/>
                  <a:pt x="3070" y="313"/>
                  <a:pt x="3070" y="371"/>
                </a:cubicBezTo>
                <a:cubicBezTo>
                  <a:pt x="3070" y="371"/>
                  <a:pt x="3070" y="371"/>
                  <a:pt x="3081" y="371"/>
                </a:cubicBezTo>
                <a:cubicBezTo>
                  <a:pt x="3081" y="371"/>
                  <a:pt x="3081" y="371"/>
                  <a:pt x="3081" y="298"/>
                </a:cubicBezTo>
                <a:close/>
                <a:moveTo>
                  <a:pt x="3127" y="298"/>
                </a:moveTo>
                <a:cubicBezTo>
                  <a:pt x="3127" y="298"/>
                  <a:pt x="3127" y="298"/>
                  <a:pt x="3127" y="298"/>
                </a:cubicBezTo>
                <a:cubicBezTo>
                  <a:pt x="3123" y="298"/>
                  <a:pt x="3123" y="298"/>
                  <a:pt x="3123" y="298"/>
                </a:cubicBezTo>
                <a:cubicBezTo>
                  <a:pt x="3121" y="299"/>
                  <a:pt x="3119" y="301"/>
                  <a:pt x="3117" y="302"/>
                </a:cubicBezTo>
                <a:cubicBezTo>
                  <a:pt x="3116" y="303"/>
                  <a:pt x="3113" y="304"/>
                  <a:pt x="3112" y="305"/>
                </a:cubicBezTo>
                <a:cubicBezTo>
                  <a:pt x="3110" y="305"/>
                  <a:pt x="3108" y="306"/>
                  <a:pt x="3106" y="307"/>
                </a:cubicBezTo>
                <a:cubicBezTo>
                  <a:pt x="3105" y="307"/>
                  <a:pt x="3103" y="308"/>
                  <a:pt x="3101" y="309"/>
                </a:cubicBezTo>
                <a:cubicBezTo>
                  <a:pt x="3101" y="309"/>
                  <a:pt x="3101" y="309"/>
                  <a:pt x="3101" y="319"/>
                </a:cubicBezTo>
                <a:cubicBezTo>
                  <a:pt x="3104" y="318"/>
                  <a:pt x="3107" y="317"/>
                  <a:pt x="3109" y="316"/>
                </a:cubicBezTo>
                <a:cubicBezTo>
                  <a:pt x="3111" y="315"/>
                  <a:pt x="3114" y="314"/>
                  <a:pt x="3116" y="313"/>
                </a:cubicBezTo>
                <a:cubicBezTo>
                  <a:pt x="3116" y="313"/>
                  <a:pt x="3116" y="313"/>
                  <a:pt x="3116" y="371"/>
                </a:cubicBezTo>
                <a:cubicBezTo>
                  <a:pt x="3116" y="371"/>
                  <a:pt x="3116" y="371"/>
                  <a:pt x="3127" y="371"/>
                </a:cubicBezTo>
                <a:cubicBezTo>
                  <a:pt x="3127" y="371"/>
                  <a:pt x="3127" y="371"/>
                  <a:pt x="3127" y="298"/>
                </a:cubicBezTo>
                <a:close/>
                <a:moveTo>
                  <a:pt x="3264" y="330"/>
                </a:moveTo>
                <a:cubicBezTo>
                  <a:pt x="3264" y="330"/>
                  <a:pt x="3264" y="330"/>
                  <a:pt x="3264" y="330"/>
                </a:cubicBezTo>
                <a:cubicBezTo>
                  <a:pt x="3263" y="339"/>
                  <a:pt x="3263" y="339"/>
                  <a:pt x="3263" y="339"/>
                </a:cubicBezTo>
                <a:cubicBezTo>
                  <a:pt x="3270" y="339"/>
                  <a:pt x="3271" y="342"/>
                  <a:pt x="3271" y="344"/>
                </a:cubicBezTo>
                <a:cubicBezTo>
                  <a:pt x="3271" y="347"/>
                  <a:pt x="3270" y="349"/>
                  <a:pt x="3270" y="352"/>
                </a:cubicBezTo>
                <a:cubicBezTo>
                  <a:pt x="3270" y="354"/>
                  <a:pt x="3269" y="356"/>
                  <a:pt x="3269" y="359"/>
                </a:cubicBezTo>
                <a:cubicBezTo>
                  <a:pt x="3269" y="368"/>
                  <a:pt x="3275" y="371"/>
                  <a:pt x="3284" y="371"/>
                </a:cubicBezTo>
                <a:cubicBezTo>
                  <a:pt x="3284" y="371"/>
                  <a:pt x="3284" y="371"/>
                  <a:pt x="3288" y="371"/>
                </a:cubicBezTo>
                <a:cubicBezTo>
                  <a:pt x="3288" y="371"/>
                  <a:pt x="3288" y="371"/>
                  <a:pt x="3288" y="362"/>
                </a:cubicBezTo>
                <a:cubicBezTo>
                  <a:pt x="3288" y="362"/>
                  <a:pt x="3288" y="362"/>
                  <a:pt x="3286" y="362"/>
                </a:cubicBezTo>
                <a:cubicBezTo>
                  <a:pt x="3283" y="362"/>
                  <a:pt x="3281" y="360"/>
                  <a:pt x="3281" y="356"/>
                </a:cubicBezTo>
                <a:cubicBezTo>
                  <a:pt x="3281" y="355"/>
                  <a:pt x="3281" y="353"/>
                  <a:pt x="3282" y="352"/>
                </a:cubicBezTo>
                <a:cubicBezTo>
                  <a:pt x="3282" y="350"/>
                  <a:pt x="3282" y="348"/>
                  <a:pt x="3282" y="346"/>
                </a:cubicBezTo>
                <a:cubicBezTo>
                  <a:pt x="3282" y="338"/>
                  <a:pt x="3279" y="336"/>
                  <a:pt x="3274" y="334"/>
                </a:cubicBezTo>
                <a:cubicBezTo>
                  <a:pt x="3274" y="334"/>
                  <a:pt x="3274" y="334"/>
                  <a:pt x="3274" y="334"/>
                </a:cubicBezTo>
                <a:cubicBezTo>
                  <a:pt x="3279" y="333"/>
                  <a:pt x="3282" y="331"/>
                  <a:pt x="3282" y="323"/>
                </a:cubicBezTo>
                <a:cubicBezTo>
                  <a:pt x="3282" y="321"/>
                  <a:pt x="3282" y="319"/>
                  <a:pt x="3282" y="317"/>
                </a:cubicBezTo>
                <a:cubicBezTo>
                  <a:pt x="3281" y="315"/>
                  <a:pt x="3281" y="313"/>
                  <a:pt x="3281" y="312"/>
                </a:cubicBezTo>
                <a:cubicBezTo>
                  <a:pt x="3281" y="309"/>
                  <a:pt x="3283" y="306"/>
                  <a:pt x="3286" y="306"/>
                </a:cubicBezTo>
                <a:cubicBezTo>
                  <a:pt x="3286" y="306"/>
                  <a:pt x="3286" y="306"/>
                  <a:pt x="3288" y="306"/>
                </a:cubicBezTo>
                <a:cubicBezTo>
                  <a:pt x="3288" y="306"/>
                  <a:pt x="3288" y="306"/>
                  <a:pt x="3288" y="297"/>
                </a:cubicBezTo>
                <a:cubicBezTo>
                  <a:pt x="3288" y="297"/>
                  <a:pt x="3288" y="297"/>
                  <a:pt x="3284" y="297"/>
                </a:cubicBezTo>
                <a:cubicBezTo>
                  <a:pt x="3275" y="297"/>
                  <a:pt x="3269" y="301"/>
                  <a:pt x="3269" y="310"/>
                </a:cubicBezTo>
                <a:cubicBezTo>
                  <a:pt x="3269" y="312"/>
                  <a:pt x="3270" y="315"/>
                  <a:pt x="3270" y="317"/>
                </a:cubicBezTo>
                <a:cubicBezTo>
                  <a:pt x="3270" y="319"/>
                  <a:pt x="3271" y="322"/>
                  <a:pt x="3271" y="324"/>
                </a:cubicBezTo>
                <a:cubicBezTo>
                  <a:pt x="3271" y="327"/>
                  <a:pt x="3270" y="330"/>
                  <a:pt x="3264" y="330"/>
                </a:cubicBezTo>
                <a:close/>
                <a:moveTo>
                  <a:pt x="3319" y="339"/>
                </a:moveTo>
                <a:cubicBezTo>
                  <a:pt x="3319" y="339"/>
                  <a:pt x="3319" y="339"/>
                  <a:pt x="3319" y="339"/>
                </a:cubicBezTo>
                <a:cubicBezTo>
                  <a:pt x="3319" y="330"/>
                  <a:pt x="3319" y="330"/>
                  <a:pt x="3319" y="330"/>
                </a:cubicBezTo>
                <a:cubicBezTo>
                  <a:pt x="3312" y="330"/>
                  <a:pt x="3312" y="327"/>
                  <a:pt x="3312" y="324"/>
                </a:cubicBezTo>
                <a:cubicBezTo>
                  <a:pt x="3312" y="322"/>
                  <a:pt x="3312" y="319"/>
                  <a:pt x="3312" y="317"/>
                </a:cubicBezTo>
                <a:cubicBezTo>
                  <a:pt x="3313" y="315"/>
                  <a:pt x="3313" y="312"/>
                  <a:pt x="3313" y="310"/>
                </a:cubicBezTo>
                <a:cubicBezTo>
                  <a:pt x="3313" y="301"/>
                  <a:pt x="3307" y="297"/>
                  <a:pt x="3298" y="297"/>
                </a:cubicBezTo>
                <a:cubicBezTo>
                  <a:pt x="3298" y="297"/>
                  <a:pt x="3298" y="297"/>
                  <a:pt x="3295" y="297"/>
                </a:cubicBezTo>
                <a:cubicBezTo>
                  <a:pt x="3295" y="297"/>
                  <a:pt x="3295" y="297"/>
                  <a:pt x="3295" y="306"/>
                </a:cubicBezTo>
                <a:cubicBezTo>
                  <a:pt x="3295" y="306"/>
                  <a:pt x="3295" y="306"/>
                  <a:pt x="3296" y="306"/>
                </a:cubicBezTo>
                <a:cubicBezTo>
                  <a:pt x="3300" y="306"/>
                  <a:pt x="3301" y="309"/>
                  <a:pt x="3301" y="312"/>
                </a:cubicBezTo>
                <a:cubicBezTo>
                  <a:pt x="3301" y="313"/>
                  <a:pt x="3301" y="315"/>
                  <a:pt x="3301" y="317"/>
                </a:cubicBezTo>
                <a:cubicBezTo>
                  <a:pt x="3300" y="319"/>
                  <a:pt x="3300" y="321"/>
                  <a:pt x="3300" y="323"/>
                </a:cubicBezTo>
                <a:cubicBezTo>
                  <a:pt x="3300" y="331"/>
                  <a:pt x="3303" y="333"/>
                  <a:pt x="3309" y="334"/>
                </a:cubicBezTo>
                <a:cubicBezTo>
                  <a:pt x="3309" y="334"/>
                  <a:pt x="3309" y="334"/>
                  <a:pt x="3309" y="334"/>
                </a:cubicBezTo>
                <a:cubicBezTo>
                  <a:pt x="3303" y="336"/>
                  <a:pt x="3300" y="338"/>
                  <a:pt x="3300" y="346"/>
                </a:cubicBezTo>
                <a:cubicBezTo>
                  <a:pt x="3300" y="348"/>
                  <a:pt x="3300" y="350"/>
                  <a:pt x="3301" y="352"/>
                </a:cubicBezTo>
                <a:cubicBezTo>
                  <a:pt x="3301" y="353"/>
                  <a:pt x="3301" y="355"/>
                  <a:pt x="3301" y="356"/>
                </a:cubicBezTo>
                <a:cubicBezTo>
                  <a:pt x="3301" y="360"/>
                  <a:pt x="3300" y="362"/>
                  <a:pt x="3296" y="362"/>
                </a:cubicBezTo>
                <a:cubicBezTo>
                  <a:pt x="3296" y="362"/>
                  <a:pt x="3296" y="362"/>
                  <a:pt x="3295" y="362"/>
                </a:cubicBezTo>
                <a:cubicBezTo>
                  <a:pt x="3295" y="362"/>
                  <a:pt x="3295" y="362"/>
                  <a:pt x="3295" y="371"/>
                </a:cubicBezTo>
                <a:cubicBezTo>
                  <a:pt x="3295" y="371"/>
                  <a:pt x="3295" y="371"/>
                  <a:pt x="3298" y="371"/>
                </a:cubicBezTo>
                <a:cubicBezTo>
                  <a:pt x="3307" y="371"/>
                  <a:pt x="3313" y="368"/>
                  <a:pt x="3313" y="359"/>
                </a:cubicBezTo>
                <a:cubicBezTo>
                  <a:pt x="3313" y="356"/>
                  <a:pt x="3313" y="354"/>
                  <a:pt x="3312" y="352"/>
                </a:cubicBezTo>
                <a:cubicBezTo>
                  <a:pt x="3312" y="349"/>
                  <a:pt x="3312" y="347"/>
                  <a:pt x="3312" y="344"/>
                </a:cubicBezTo>
                <a:cubicBezTo>
                  <a:pt x="3312" y="342"/>
                  <a:pt x="3312" y="339"/>
                  <a:pt x="3319" y="339"/>
                </a:cubicBezTo>
                <a:close/>
                <a:moveTo>
                  <a:pt x="3366" y="298"/>
                </a:moveTo>
                <a:cubicBezTo>
                  <a:pt x="3366" y="298"/>
                  <a:pt x="3366" y="298"/>
                  <a:pt x="3366" y="298"/>
                </a:cubicBezTo>
                <a:cubicBezTo>
                  <a:pt x="3360" y="298"/>
                  <a:pt x="3360" y="298"/>
                  <a:pt x="3360" y="298"/>
                </a:cubicBezTo>
                <a:cubicBezTo>
                  <a:pt x="3358" y="299"/>
                  <a:pt x="3357" y="301"/>
                  <a:pt x="3355" y="302"/>
                </a:cubicBezTo>
                <a:cubicBezTo>
                  <a:pt x="3353" y="303"/>
                  <a:pt x="3351" y="304"/>
                  <a:pt x="3349" y="305"/>
                </a:cubicBezTo>
                <a:cubicBezTo>
                  <a:pt x="3347" y="305"/>
                  <a:pt x="3346" y="306"/>
                  <a:pt x="3344" y="307"/>
                </a:cubicBezTo>
                <a:cubicBezTo>
                  <a:pt x="3342" y="307"/>
                  <a:pt x="3340" y="308"/>
                  <a:pt x="3338" y="309"/>
                </a:cubicBezTo>
                <a:cubicBezTo>
                  <a:pt x="3338" y="309"/>
                  <a:pt x="3338" y="309"/>
                  <a:pt x="3338" y="319"/>
                </a:cubicBezTo>
                <a:cubicBezTo>
                  <a:pt x="3341" y="318"/>
                  <a:pt x="3344" y="317"/>
                  <a:pt x="3346" y="316"/>
                </a:cubicBezTo>
                <a:cubicBezTo>
                  <a:pt x="3349" y="315"/>
                  <a:pt x="3352" y="314"/>
                  <a:pt x="3354" y="313"/>
                </a:cubicBezTo>
                <a:cubicBezTo>
                  <a:pt x="3354" y="313"/>
                  <a:pt x="3354" y="313"/>
                  <a:pt x="3354" y="371"/>
                </a:cubicBezTo>
                <a:cubicBezTo>
                  <a:pt x="3354" y="371"/>
                  <a:pt x="3354" y="371"/>
                  <a:pt x="3366" y="371"/>
                </a:cubicBezTo>
                <a:cubicBezTo>
                  <a:pt x="3366" y="371"/>
                  <a:pt x="3366" y="371"/>
                  <a:pt x="3366" y="298"/>
                </a:cubicBezTo>
                <a:close/>
                <a:moveTo>
                  <a:pt x="3412" y="298"/>
                </a:moveTo>
                <a:cubicBezTo>
                  <a:pt x="3412" y="298"/>
                  <a:pt x="3412" y="298"/>
                  <a:pt x="3412" y="298"/>
                </a:cubicBezTo>
                <a:cubicBezTo>
                  <a:pt x="3407" y="298"/>
                  <a:pt x="3407" y="298"/>
                  <a:pt x="3407" y="298"/>
                </a:cubicBezTo>
                <a:cubicBezTo>
                  <a:pt x="3405" y="299"/>
                  <a:pt x="3403" y="301"/>
                  <a:pt x="3401" y="302"/>
                </a:cubicBezTo>
                <a:cubicBezTo>
                  <a:pt x="3400" y="303"/>
                  <a:pt x="3397" y="304"/>
                  <a:pt x="3396" y="305"/>
                </a:cubicBezTo>
                <a:cubicBezTo>
                  <a:pt x="3395" y="306"/>
                  <a:pt x="3392" y="307"/>
                  <a:pt x="3391" y="307"/>
                </a:cubicBezTo>
                <a:cubicBezTo>
                  <a:pt x="3389" y="308"/>
                  <a:pt x="3387" y="309"/>
                  <a:pt x="3385" y="309"/>
                </a:cubicBezTo>
                <a:cubicBezTo>
                  <a:pt x="3385" y="309"/>
                  <a:pt x="3385" y="309"/>
                  <a:pt x="3385" y="319"/>
                </a:cubicBezTo>
                <a:cubicBezTo>
                  <a:pt x="3388" y="318"/>
                  <a:pt x="3391" y="318"/>
                  <a:pt x="3393" y="316"/>
                </a:cubicBezTo>
                <a:cubicBezTo>
                  <a:pt x="3396" y="315"/>
                  <a:pt x="3398" y="314"/>
                  <a:pt x="3400" y="313"/>
                </a:cubicBezTo>
                <a:cubicBezTo>
                  <a:pt x="3400" y="313"/>
                  <a:pt x="3400" y="313"/>
                  <a:pt x="3400" y="371"/>
                </a:cubicBezTo>
                <a:cubicBezTo>
                  <a:pt x="3400" y="371"/>
                  <a:pt x="3400" y="371"/>
                  <a:pt x="3412" y="371"/>
                </a:cubicBezTo>
                <a:cubicBezTo>
                  <a:pt x="3412" y="371"/>
                  <a:pt x="3412" y="371"/>
                  <a:pt x="3412" y="298"/>
                </a:cubicBezTo>
                <a:close/>
                <a:moveTo>
                  <a:pt x="3458" y="298"/>
                </a:moveTo>
                <a:cubicBezTo>
                  <a:pt x="3458" y="298"/>
                  <a:pt x="3458" y="298"/>
                  <a:pt x="3458" y="298"/>
                </a:cubicBezTo>
                <a:cubicBezTo>
                  <a:pt x="3453" y="298"/>
                  <a:pt x="3453" y="298"/>
                  <a:pt x="3453" y="298"/>
                </a:cubicBezTo>
                <a:cubicBezTo>
                  <a:pt x="3451" y="299"/>
                  <a:pt x="3450" y="301"/>
                  <a:pt x="3448" y="302"/>
                </a:cubicBezTo>
                <a:cubicBezTo>
                  <a:pt x="3446" y="303"/>
                  <a:pt x="3444" y="304"/>
                  <a:pt x="3443" y="305"/>
                </a:cubicBezTo>
                <a:cubicBezTo>
                  <a:pt x="3440" y="306"/>
                  <a:pt x="3439" y="307"/>
                  <a:pt x="3437" y="307"/>
                </a:cubicBezTo>
                <a:cubicBezTo>
                  <a:pt x="3435" y="308"/>
                  <a:pt x="3433" y="309"/>
                  <a:pt x="3432" y="309"/>
                </a:cubicBezTo>
                <a:cubicBezTo>
                  <a:pt x="3432" y="309"/>
                  <a:pt x="3432" y="309"/>
                  <a:pt x="3432" y="319"/>
                </a:cubicBezTo>
                <a:cubicBezTo>
                  <a:pt x="3435" y="318"/>
                  <a:pt x="3438" y="318"/>
                  <a:pt x="3440" y="316"/>
                </a:cubicBezTo>
                <a:cubicBezTo>
                  <a:pt x="3442" y="315"/>
                  <a:pt x="3445" y="314"/>
                  <a:pt x="3446" y="313"/>
                </a:cubicBezTo>
                <a:cubicBezTo>
                  <a:pt x="3446" y="313"/>
                  <a:pt x="3446" y="313"/>
                  <a:pt x="3446" y="371"/>
                </a:cubicBezTo>
                <a:cubicBezTo>
                  <a:pt x="3446" y="371"/>
                  <a:pt x="3446" y="371"/>
                  <a:pt x="3458" y="371"/>
                </a:cubicBezTo>
                <a:cubicBezTo>
                  <a:pt x="3458" y="371"/>
                  <a:pt x="3458" y="371"/>
                  <a:pt x="3458" y="298"/>
                </a:cubicBezTo>
                <a:close/>
                <a:moveTo>
                  <a:pt x="3207" y="345"/>
                </a:moveTo>
                <a:cubicBezTo>
                  <a:pt x="3208" y="347"/>
                  <a:pt x="3208" y="348"/>
                  <a:pt x="3209" y="350"/>
                </a:cubicBezTo>
                <a:cubicBezTo>
                  <a:pt x="3209" y="351"/>
                  <a:pt x="3210" y="353"/>
                  <a:pt x="3210" y="355"/>
                </a:cubicBezTo>
                <a:cubicBezTo>
                  <a:pt x="3210" y="356"/>
                  <a:pt x="3210" y="358"/>
                  <a:pt x="3210" y="360"/>
                </a:cubicBezTo>
                <a:cubicBezTo>
                  <a:pt x="3211" y="363"/>
                  <a:pt x="3210" y="364"/>
                  <a:pt x="3207" y="364"/>
                </a:cubicBezTo>
                <a:cubicBezTo>
                  <a:pt x="3204" y="364"/>
                  <a:pt x="3201" y="364"/>
                  <a:pt x="3199" y="364"/>
                </a:cubicBezTo>
                <a:cubicBezTo>
                  <a:pt x="3198" y="364"/>
                  <a:pt x="3197" y="364"/>
                  <a:pt x="3197" y="364"/>
                </a:cubicBezTo>
                <a:cubicBezTo>
                  <a:pt x="3195" y="366"/>
                  <a:pt x="3194" y="367"/>
                  <a:pt x="3193" y="369"/>
                </a:cubicBezTo>
                <a:cubicBezTo>
                  <a:pt x="3191" y="371"/>
                  <a:pt x="3188" y="371"/>
                  <a:pt x="3185" y="369"/>
                </a:cubicBezTo>
                <a:cubicBezTo>
                  <a:pt x="3183" y="367"/>
                  <a:pt x="3182" y="365"/>
                  <a:pt x="3181" y="362"/>
                </a:cubicBezTo>
                <a:cubicBezTo>
                  <a:pt x="3180" y="360"/>
                  <a:pt x="3180" y="359"/>
                  <a:pt x="3183" y="357"/>
                </a:cubicBezTo>
                <a:cubicBezTo>
                  <a:pt x="3180" y="357"/>
                  <a:pt x="3178" y="357"/>
                  <a:pt x="3177" y="357"/>
                </a:cubicBezTo>
                <a:cubicBezTo>
                  <a:pt x="3176" y="359"/>
                  <a:pt x="3175" y="361"/>
                  <a:pt x="3174" y="363"/>
                </a:cubicBezTo>
                <a:cubicBezTo>
                  <a:pt x="3174" y="364"/>
                  <a:pt x="3173" y="365"/>
                  <a:pt x="3173" y="365"/>
                </a:cubicBezTo>
                <a:cubicBezTo>
                  <a:pt x="3173" y="369"/>
                  <a:pt x="3172" y="370"/>
                  <a:pt x="3169" y="369"/>
                </a:cubicBezTo>
                <a:cubicBezTo>
                  <a:pt x="3166" y="369"/>
                  <a:pt x="3163" y="368"/>
                  <a:pt x="3160" y="367"/>
                </a:cubicBezTo>
                <a:cubicBezTo>
                  <a:pt x="3158" y="367"/>
                  <a:pt x="3158" y="365"/>
                  <a:pt x="3158" y="363"/>
                </a:cubicBezTo>
                <a:cubicBezTo>
                  <a:pt x="3159" y="362"/>
                  <a:pt x="3159" y="362"/>
                  <a:pt x="3159" y="362"/>
                </a:cubicBezTo>
                <a:cubicBezTo>
                  <a:pt x="3157" y="360"/>
                  <a:pt x="3154" y="360"/>
                  <a:pt x="3152" y="358"/>
                </a:cubicBezTo>
                <a:cubicBezTo>
                  <a:pt x="3151" y="357"/>
                  <a:pt x="3150" y="355"/>
                  <a:pt x="3149" y="354"/>
                </a:cubicBezTo>
                <a:cubicBezTo>
                  <a:pt x="3148" y="352"/>
                  <a:pt x="3148" y="350"/>
                  <a:pt x="3150" y="348"/>
                </a:cubicBezTo>
                <a:cubicBezTo>
                  <a:pt x="3153" y="346"/>
                  <a:pt x="3154" y="343"/>
                  <a:pt x="3153" y="339"/>
                </a:cubicBezTo>
                <a:cubicBezTo>
                  <a:pt x="3153" y="337"/>
                  <a:pt x="3153" y="335"/>
                  <a:pt x="3153" y="333"/>
                </a:cubicBezTo>
                <a:cubicBezTo>
                  <a:pt x="3152" y="333"/>
                  <a:pt x="3150" y="332"/>
                  <a:pt x="3150" y="331"/>
                </a:cubicBezTo>
                <a:cubicBezTo>
                  <a:pt x="3148" y="329"/>
                  <a:pt x="3148" y="327"/>
                  <a:pt x="3148" y="325"/>
                </a:cubicBezTo>
                <a:cubicBezTo>
                  <a:pt x="3147" y="323"/>
                  <a:pt x="3151" y="320"/>
                  <a:pt x="3153" y="319"/>
                </a:cubicBezTo>
                <a:cubicBezTo>
                  <a:pt x="3154" y="320"/>
                  <a:pt x="3154" y="321"/>
                  <a:pt x="3154" y="322"/>
                </a:cubicBezTo>
                <a:cubicBezTo>
                  <a:pt x="3154" y="323"/>
                  <a:pt x="3154" y="323"/>
                  <a:pt x="3155" y="325"/>
                </a:cubicBezTo>
                <a:cubicBezTo>
                  <a:pt x="3154" y="324"/>
                  <a:pt x="3153" y="324"/>
                  <a:pt x="3153" y="324"/>
                </a:cubicBezTo>
                <a:cubicBezTo>
                  <a:pt x="3153" y="325"/>
                  <a:pt x="3152" y="327"/>
                  <a:pt x="3152" y="329"/>
                </a:cubicBezTo>
                <a:cubicBezTo>
                  <a:pt x="3153" y="328"/>
                  <a:pt x="3153" y="328"/>
                  <a:pt x="3154" y="328"/>
                </a:cubicBezTo>
                <a:cubicBezTo>
                  <a:pt x="3155" y="327"/>
                  <a:pt x="3156" y="326"/>
                  <a:pt x="3157" y="325"/>
                </a:cubicBezTo>
                <a:cubicBezTo>
                  <a:pt x="3161" y="318"/>
                  <a:pt x="3167" y="314"/>
                  <a:pt x="3175" y="312"/>
                </a:cubicBezTo>
                <a:cubicBezTo>
                  <a:pt x="3178" y="312"/>
                  <a:pt x="3181" y="311"/>
                  <a:pt x="3183" y="308"/>
                </a:cubicBezTo>
                <a:cubicBezTo>
                  <a:pt x="3183" y="308"/>
                  <a:pt x="3184" y="307"/>
                  <a:pt x="3184" y="307"/>
                </a:cubicBezTo>
                <a:cubicBezTo>
                  <a:pt x="3187" y="307"/>
                  <a:pt x="3189" y="304"/>
                  <a:pt x="3191" y="303"/>
                </a:cubicBezTo>
                <a:cubicBezTo>
                  <a:pt x="3198" y="295"/>
                  <a:pt x="3210" y="295"/>
                  <a:pt x="3218" y="301"/>
                </a:cubicBezTo>
                <a:cubicBezTo>
                  <a:pt x="3220" y="303"/>
                  <a:pt x="3223" y="305"/>
                  <a:pt x="3225" y="307"/>
                </a:cubicBezTo>
                <a:cubicBezTo>
                  <a:pt x="3227" y="308"/>
                  <a:pt x="3228" y="310"/>
                  <a:pt x="3229" y="312"/>
                </a:cubicBezTo>
                <a:cubicBezTo>
                  <a:pt x="3230" y="314"/>
                  <a:pt x="3231" y="314"/>
                  <a:pt x="3232" y="312"/>
                </a:cubicBezTo>
                <a:cubicBezTo>
                  <a:pt x="3233" y="312"/>
                  <a:pt x="3233" y="311"/>
                  <a:pt x="3234" y="310"/>
                </a:cubicBezTo>
                <a:cubicBezTo>
                  <a:pt x="3236" y="308"/>
                  <a:pt x="3239" y="308"/>
                  <a:pt x="3241" y="311"/>
                </a:cubicBezTo>
                <a:cubicBezTo>
                  <a:pt x="3242" y="314"/>
                  <a:pt x="3243" y="317"/>
                  <a:pt x="3243" y="320"/>
                </a:cubicBezTo>
                <a:cubicBezTo>
                  <a:pt x="3244" y="324"/>
                  <a:pt x="3243" y="329"/>
                  <a:pt x="3242" y="333"/>
                </a:cubicBezTo>
                <a:cubicBezTo>
                  <a:pt x="3239" y="339"/>
                  <a:pt x="3235" y="343"/>
                  <a:pt x="3228" y="343"/>
                </a:cubicBezTo>
                <a:cubicBezTo>
                  <a:pt x="3227" y="343"/>
                  <a:pt x="3227" y="343"/>
                  <a:pt x="3226" y="343"/>
                </a:cubicBezTo>
                <a:cubicBezTo>
                  <a:pt x="3224" y="343"/>
                  <a:pt x="3223" y="343"/>
                  <a:pt x="3222" y="345"/>
                </a:cubicBezTo>
                <a:cubicBezTo>
                  <a:pt x="3220" y="350"/>
                  <a:pt x="3215" y="351"/>
                  <a:pt x="3211" y="348"/>
                </a:cubicBezTo>
                <a:cubicBezTo>
                  <a:pt x="3210" y="347"/>
                  <a:pt x="3209" y="346"/>
                  <a:pt x="3208" y="345"/>
                </a:cubicBezTo>
                <a:cubicBezTo>
                  <a:pt x="3208" y="345"/>
                  <a:pt x="3208" y="345"/>
                  <a:pt x="3207" y="345"/>
                </a:cubicBezTo>
                <a:close/>
                <a:moveTo>
                  <a:pt x="3202" y="341"/>
                </a:moveTo>
                <a:cubicBezTo>
                  <a:pt x="3205" y="343"/>
                  <a:pt x="3209" y="344"/>
                  <a:pt x="3212" y="346"/>
                </a:cubicBezTo>
                <a:cubicBezTo>
                  <a:pt x="3213" y="348"/>
                  <a:pt x="3215" y="349"/>
                  <a:pt x="3217" y="348"/>
                </a:cubicBezTo>
                <a:cubicBezTo>
                  <a:pt x="3220" y="347"/>
                  <a:pt x="3221" y="345"/>
                  <a:pt x="3221" y="342"/>
                </a:cubicBezTo>
                <a:cubicBezTo>
                  <a:pt x="3221" y="343"/>
                  <a:pt x="3220" y="343"/>
                  <a:pt x="3220" y="343"/>
                </a:cubicBezTo>
                <a:cubicBezTo>
                  <a:pt x="3220" y="344"/>
                  <a:pt x="3219" y="345"/>
                  <a:pt x="3218" y="346"/>
                </a:cubicBezTo>
                <a:cubicBezTo>
                  <a:pt x="3217" y="348"/>
                  <a:pt x="3215" y="347"/>
                  <a:pt x="3215" y="347"/>
                </a:cubicBezTo>
                <a:cubicBezTo>
                  <a:pt x="3214" y="347"/>
                  <a:pt x="3213" y="346"/>
                  <a:pt x="3213" y="345"/>
                </a:cubicBezTo>
                <a:cubicBezTo>
                  <a:pt x="3213" y="343"/>
                  <a:pt x="3214" y="341"/>
                  <a:pt x="3214" y="339"/>
                </a:cubicBezTo>
                <a:cubicBezTo>
                  <a:pt x="3217" y="339"/>
                  <a:pt x="3221" y="341"/>
                  <a:pt x="3224" y="341"/>
                </a:cubicBezTo>
                <a:cubicBezTo>
                  <a:pt x="3232" y="342"/>
                  <a:pt x="3237" y="341"/>
                  <a:pt x="3241" y="332"/>
                </a:cubicBezTo>
                <a:cubicBezTo>
                  <a:pt x="3242" y="327"/>
                  <a:pt x="3242" y="322"/>
                  <a:pt x="3241" y="317"/>
                </a:cubicBezTo>
                <a:cubicBezTo>
                  <a:pt x="3241" y="315"/>
                  <a:pt x="3240" y="314"/>
                  <a:pt x="3239" y="312"/>
                </a:cubicBezTo>
                <a:cubicBezTo>
                  <a:pt x="3238" y="310"/>
                  <a:pt x="3237" y="310"/>
                  <a:pt x="3236" y="311"/>
                </a:cubicBezTo>
                <a:cubicBezTo>
                  <a:pt x="3234" y="313"/>
                  <a:pt x="3233" y="314"/>
                  <a:pt x="3231" y="315"/>
                </a:cubicBezTo>
                <a:cubicBezTo>
                  <a:pt x="3230" y="316"/>
                  <a:pt x="3229" y="316"/>
                  <a:pt x="3230" y="318"/>
                </a:cubicBezTo>
                <a:cubicBezTo>
                  <a:pt x="3230" y="321"/>
                  <a:pt x="3230" y="324"/>
                  <a:pt x="3228" y="327"/>
                </a:cubicBezTo>
                <a:cubicBezTo>
                  <a:pt x="3228" y="325"/>
                  <a:pt x="3229" y="323"/>
                  <a:pt x="3229" y="322"/>
                </a:cubicBezTo>
                <a:cubicBezTo>
                  <a:pt x="3229" y="321"/>
                  <a:pt x="3228" y="320"/>
                  <a:pt x="3228" y="320"/>
                </a:cubicBezTo>
                <a:cubicBezTo>
                  <a:pt x="3228" y="320"/>
                  <a:pt x="3227" y="320"/>
                  <a:pt x="3227" y="321"/>
                </a:cubicBezTo>
                <a:cubicBezTo>
                  <a:pt x="3226" y="322"/>
                  <a:pt x="3225" y="323"/>
                  <a:pt x="3224" y="325"/>
                </a:cubicBezTo>
                <a:cubicBezTo>
                  <a:pt x="3224" y="325"/>
                  <a:pt x="3224" y="325"/>
                  <a:pt x="3224" y="325"/>
                </a:cubicBezTo>
                <a:cubicBezTo>
                  <a:pt x="3224" y="323"/>
                  <a:pt x="3225" y="322"/>
                  <a:pt x="3225" y="319"/>
                </a:cubicBezTo>
                <a:cubicBezTo>
                  <a:pt x="3224" y="320"/>
                  <a:pt x="3224" y="320"/>
                  <a:pt x="3223" y="321"/>
                </a:cubicBezTo>
                <a:cubicBezTo>
                  <a:pt x="3223" y="322"/>
                  <a:pt x="3222" y="322"/>
                  <a:pt x="3222" y="323"/>
                </a:cubicBezTo>
                <a:cubicBezTo>
                  <a:pt x="3222" y="320"/>
                  <a:pt x="3223" y="320"/>
                  <a:pt x="3228" y="318"/>
                </a:cubicBezTo>
                <a:cubicBezTo>
                  <a:pt x="3228" y="318"/>
                  <a:pt x="3227" y="317"/>
                  <a:pt x="3227" y="317"/>
                </a:cubicBezTo>
                <a:cubicBezTo>
                  <a:pt x="3224" y="318"/>
                  <a:pt x="3224" y="316"/>
                  <a:pt x="3223" y="314"/>
                </a:cubicBezTo>
                <a:cubicBezTo>
                  <a:pt x="3225" y="314"/>
                  <a:pt x="3226" y="313"/>
                  <a:pt x="3228" y="313"/>
                </a:cubicBezTo>
                <a:cubicBezTo>
                  <a:pt x="3226" y="310"/>
                  <a:pt x="3225" y="308"/>
                  <a:pt x="3222" y="307"/>
                </a:cubicBezTo>
                <a:cubicBezTo>
                  <a:pt x="3221" y="307"/>
                  <a:pt x="3221" y="307"/>
                  <a:pt x="3221" y="306"/>
                </a:cubicBezTo>
                <a:cubicBezTo>
                  <a:pt x="3219" y="304"/>
                  <a:pt x="3216" y="302"/>
                  <a:pt x="3213" y="300"/>
                </a:cubicBezTo>
                <a:cubicBezTo>
                  <a:pt x="3211" y="299"/>
                  <a:pt x="3208" y="298"/>
                  <a:pt x="3206" y="298"/>
                </a:cubicBezTo>
                <a:cubicBezTo>
                  <a:pt x="3203" y="299"/>
                  <a:pt x="3200" y="300"/>
                  <a:pt x="3197" y="301"/>
                </a:cubicBezTo>
                <a:cubicBezTo>
                  <a:pt x="3194" y="302"/>
                  <a:pt x="3191" y="303"/>
                  <a:pt x="3190" y="306"/>
                </a:cubicBezTo>
                <a:cubicBezTo>
                  <a:pt x="3191" y="306"/>
                  <a:pt x="3192" y="306"/>
                  <a:pt x="3193" y="306"/>
                </a:cubicBezTo>
                <a:cubicBezTo>
                  <a:pt x="3193" y="307"/>
                  <a:pt x="3192" y="307"/>
                  <a:pt x="3192" y="307"/>
                </a:cubicBezTo>
                <a:cubicBezTo>
                  <a:pt x="3189" y="308"/>
                  <a:pt x="3186" y="307"/>
                  <a:pt x="3184" y="310"/>
                </a:cubicBezTo>
                <a:cubicBezTo>
                  <a:pt x="3181" y="314"/>
                  <a:pt x="3177" y="317"/>
                  <a:pt x="3173" y="322"/>
                </a:cubicBezTo>
                <a:cubicBezTo>
                  <a:pt x="3172" y="323"/>
                  <a:pt x="3171" y="326"/>
                  <a:pt x="3170" y="328"/>
                </a:cubicBezTo>
                <a:cubicBezTo>
                  <a:pt x="3170" y="329"/>
                  <a:pt x="3170" y="329"/>
                  <a:pt x="3170" y="330"/>
                </a:cubicBezTo>
                <a:cubicBezTo>
                  <a:pt x="3172" y="332"/>
                  <a:pt x="3173" y="334"/>
                  <a:pt x="3174" y="336"/>
                </a:cubicBezTo>
                <a:cubicBezTo>
                  <a:pt x="3175" y="334"/>
                  <a:pt x="3177" y="333"/>
                  <a:pt x="3178" y="331"/>
                </a:cubicBezTo>
                <a:cubicBezTo>
                  <a:pt x="3177" y="333"/>
                  <a:pt x="3177" y="334"/>
                  <a:pt x="3176" y="335"/>
                </a:cubicBezTo>
                <a:cubicBezTo>
                  <a:pt x="3175" y="337"/>
                  <a:pt x="3175" y="338"/>
                  <a:pt x="3174" y="339"/>
                </a:cubicBezTo>
                <a:cubicBezTo>
                  <a:pt x="3174" y="340"/>
                  <a:pt x="3174" y="341"/>
                  <a:pt x="3175" y="342"/>
                </a:cubicBezTo>
                <a:cubicBezTo>
                  <a:pt x="3177" y="346"/>
                  <a:pt x="3180" y="346"/>
                  <a:pt x="3184" y="344"/>
                </a:cubicBezTo>
                <a:cubicBezTo>
                  <a:pt x="3186" y="342"/>
                  <a:pt x="3189" y="341"/>
                  <a:pt x="3192" y="340"/>
                </a:cubicBezTo>
                <a:cubicBezTo>
                  <a:pt x="3193" y="340"/>
                  <a:pt x="3195" y="339"/>
                  <a:pt x="3195" y="337"/>
                </a:cubicBezTo>
                <a:cubicBezTo>
                  <a:pt x="3195" y="334"/>
                  <a:pt x="3195" y="331"/>
                  <a:pt x="3195" y="327"/>
                </a:cubicBezTo>
                <a:cubicBezTo>
                  <a:pt x="3195" y="324"/>
                  <a:pt x="3195" y="322"/>
                  <a:pt x="3195" y="318"/>
                </a:cubicBezTo>
                <a:cubicBezTo>
                  <a:pt x="3195" y="321"/>
                  <a:pt x="3196" y="324"/>
                  <a:pt x="3196" y="326"/>
                </a:cubicBezTo>
                <a:cubicBezTo>
                  <a:pt x="3197" y="331"/>
                  <a:pt x="3197" y="335"/>
                  <a:pt x="3196" y="340"/>
                </a:cubicBezTo>
                <a:cubicBezTo>
                  <a:pt x="3195" y="341"/>
                  <a:pt x="3195" y="341"/>
                  <a:pt x="3194" y="341"/>
                </a:cubicBezTo>
                <a:cubicBezTo>
                  <a:pt x="3191" y="342"/>
                  <a:pt x="3188" y="344"/>
                  <a:pt x="3184" y="345"/>
                </a:cubicBezTo>
                <a:cubicBezTo>
                  <a:pt x="3179" y="348"/>
                  <a:pt x="3176" y="346"/>
                  <a:pt x="3172" y="343"/>
                </a:cubicBezTo>
                <a:cubicBezTo>
                  <a:pt x="3172" y="342"/>
                  <a:pt x="3172" y="341"/>
                  <a:pt x="3172" y="341"/>
                </a:cubicBezTo>
                <a:cubicBezTo>
                  <a:pt x="3173" y="338"/>
                  <a:pt x="3172" y="336"/>
                  <a:pt x="3171" y="334"/>
                </a:cubicBezTo>
                <a:cubicBezTo>
                  <a:pt x="3169" y="332"/>
                  <a:pt x="3168" y="330"/>
                  <a:pt x="3169" y="327"/>
                </a:cubicBezTo>
                <a:cubicBezTo>
                  <a:pt x="3169" y="325"/>
                  <a:pt x="3170" y="323"/>
                  <a:pt x="3172" y="322"/>
                </a:cubicBezTo>
                <a:cubicBezTo>
                  <a:pt x="3173" y="319"/>
                  <a:pt x="3175" y="317"/>
                  <a:pt x="3177" y="314"/>
                </a:cubicBezTo>
                <a:cubicBezTo>
                  <a:pt x="3177" y="314"/>
                  <a:pt x="3176" y="314"/>
                  <a:pt x="3176" y="314"/>
                </a:cubicBezTo>
                <a:cubicBezTo>
                  <a:pt x="3171" y="315"/>
                  <a:pt x="3167" y="317"/>
                  <a:pt x="3163" y="320"/>
                </a:cubicBezTo>
                <a:cubicBezTo>
                  <a:pt x="3158" y="324"/>
                  <a:pt x="3155" y="329"/>
                  <a:pt x="3155" y="336"/>
                </a:cubicBezTo>
                <a:cubicBezTo>
                  <a:pt x="3155" y="343"/>
                  <a:pt x="3157" y="349"/>
                  <a:pt x="3161" y="355"/>
                </a:cubicBezTo>
                <a:cubicBezTo>
                  <a:pt x="3161" y="356"/>
                  <a:pt x="3162" y="357"/>
                  <a:pt x="3161" y="358"/>
                </a:cubicBezTo>
                <a:cubicBezTo>
                  <a:pt x="3161" y="360"/>
                  <a:pt x="3161" y="362"/>
                  <a:pt x="3160" y="363"/>
                </a:cubicBezTo>
                <a:cubicBezTo>
                  <a:pt x="3160" y="365"/>
                  <a:pt x="3160" y="365"/>
                  <a:pt x="3161" y="366"/>
                </a:cubicBezTo>
                <a:cubicBezTo>
                  <a:pt x="3164" y="367"/>
                  <a:pt x="3167" y="367"/>
                  <a:pt x="3170" y="367"/>
                </a:cubicBezTo>
                <a:cubicBezTo>
                  <a:pt x="3171" y="367"/>
                  <a:pt x="3172" y="367"/>
                  <a:pt x="3172" y="366"/>
                </a:cubicBezTo>
                <a:cubicBezTo>
                  <a:pt x="3172" y="365"/>
                  <a:pt x="3172" y="363"/>
                  <a:pt x="3173" y="363"/>
                </a:cubicBezTo>
                <a:cubicBezTo>
                  <a:pt x="3175" y="360"/>
                  <a:pt x="3175" y="358"/>
                  <a:pt x="3175" y="355"/>
                </a:cubicBezTo>
                <a:cubicBezTo>
                  <a:pt x="3175" y="354"/>
                  <a:pt x="3175" y="354"/>
                  <a:pt x="3175" y="354"/>
                </a:cubicBezTo>
                <a:cubicBezTo>
                  <a:pt x="3175" y="353"/>
                  <a:pt x="3175" y="353"/>
                  <a:pt x="3175" y="353"/>
                </a:cubicBezTo>
                <a:cubicBezTo>
                  <a:pt x="3175" y="356"/>
                  <a:pt x="3177" y="356"/>
                  <a:pt x="3179" y="356"/>
                </a:cubicBezTo>
                <a:cubicBezTo>
                  <a:pt x="3179" y="356"/>
                  <a:pt x="3181" y="356"/>
                  <a:pt x="3181" y="356"/>
                </a:cubicBezTo>
                <a:cubicBezTo>
                  <a:pt x="3184" y="356"/>
                  <a:pt x="3187" y="356"/>
                  <a:pt x="3188" y="352"/>
                </a:cubicBezTo>
                <a:cubicBezTo>
                  <a:pt x="3188" y="354"/>
                  <a:pt x="3188" y="356"/>
                  <a:pt x="3188" y="357"/>
                </a:cubicBezTo>
                <a:cubicBezTo>
                  <a:pt x="3186" y="358"/>
                  <a:pt x="3185" y="358"/>
                  <a:pt x="3184" y="359"/>
                </a:cubicBezTo>
                <a:cubicBezTo>
                  <a:pt x="3182" y="360"/>
                  <a:pt x="3182" y="361"/>
                  <a:pt x="3183" y="362"/>
                </a:cubicBezTo>
                <a:cubicBezTo>
                  <a:pt x="3184" y="364"/>
                  <a:pt x="3185" y="366"/>
                  <a:pt x="3186" y="368"/>
                </a:cubicBezTo>
                <a:cubicBezTo>
                  <a:pt x="3188" y="369"/>
                  <a:pt x="3190" y="369"/>
                  <a:pt x="3192" y="367"/>
                </a:cubicBezTo>
                <a:cubicBezTo>
                  <a:pt x="3192" y="367"/>
                  <a:pt x="3193" y="366"/>
                  <a:pt x="3193" y="365"/>
                </a:cubicBezTo>
                <a:cubicBezTo>
                  <a:pt x="3195" y="364"/>
                  <a:pt x="3197" y="363"/>
                  <a:pt x="3198" y="362"/>
                </a:cubicBezTo>
                <a:cubicBezTo>
                  <a:pt x="3203" y="357"/>
                  <a:pt x="3204" y="351"/>
                  <a:pt x="3206" y="345"/>
                </a:cubicBezTo>
                <a:cubicBezTo>
                  <a:pt x="3206" y="345"/>
                  <a:pt x="3205" y="344"/>
                  <a:pt x="3205" y="344"/>
                </a:cubicBezTo>
                <a:cubicBezTo>
                  <a:pt x="3204" y="343"/>
                  <a:pt x="3203" y="342"/>
                  <a:pt x="3202" y="341"/>
                </a:cubicBezTo>
                <a:close/>
                <a:moveTo>
                  <a:pt x="3155" y="347"/>
                </a:moveTo>
                <a:cubicBezTo>
                  <a:pt x="3154" y="348"/>
                  <a:pt x="3152" y="349"/>
                  <a:pt x="3151" y="350"/>
                </a:cubicBezTo>
                <a:cubicBezTo>
                  <a:pt x="3151" y="350"/>
                  <a:pt x="3150" y="351"/>
                  <a:pt x="3150" y="352"/>
                </a:cubicBezTo>
                <a:cubicBezTo>
                  <a:pt x="3150" y="355"/>
                  <a:pt x="3155" y="359"/>
                  <a:pt x="3158" y="359"/>
                </a:cubicBezTo>
                <a:cubicBezTo>
                  <a:pt x="3159" y="359"/>
                  <a:pt x="3160" y="358"/>
                  <a:pt x="3159" y="356"/>
                </a:cubicBezTo>
                <a:cubicBezTo>
                  <a:pt x="3158" y="353"/>
                  <a:pt x="3156" y="350"/>
                  <a:pt x="3155" y="347"/>
                </a:cubicBezTo>
                <a:close/>
                <a:moveTo>
                  <a:pt x="3207" y="349"/>
                </a:moveTo>
                <a:cubicBezTo>
                  <a:pt x="3205" y="354"/>
                  <a:pt x="3203" y="358"/>
                  <a:pt x="3200" y="363"/>
                </a:cubicBezTo>
                <a:cubicBezTo>
                  <a:pt x="3203" y="363"/>
                  <a:pt x="3205" y="363"/>
                  <a:pt x="3208" y="363"/>
                </a:cubicBezTo>
                <a:cubicBezTo>
                  <a:pt x="3208" y="363"/>
                  <a:pt x="3209" y="362"/>
                  <a:pt x="3209" y="361"/>
                </a:cubicBezTo>
                <a:cubicBezTo>
                  <a:pt x="3209" y="358"/>
                  <a:pt x="3209" y="356"/>
                  <a:pt x="3208" y="354"/>
                </a:cubicBezTo>
                <a:cubicBezTo>
                  <a:pt x="3208" y="352"/>
                  <a:pt x="3208" y="351"/>
                  <a:pt x="3207" y="349"/>
                </a:cubicBezTo>
                <a:close/>
                <a:moveTo>
                  <a:pt x="3155" y="329"/>
                </a:moveTo>
                <a:cubicBezTo>
                  <a:pt x="3154" y="329"/>
                  <a:pt x="3153" y="330"/>
                  <a:pt x="3153" y="330"/>
                </a:cubicBezTo>
                <a:cubicBezTo>
                  <a:pt x="3152" y="330"/>
                  <a:pt x="3151" y="330"/>
                  <a:pt x="3151" y="329"/>
                </a:cubicBezTo>
                <a:cubicBezTo>
                  <a:pt x="3151" y="329"/>
                  <a:pt x="3150" y="328"/>
                  <a:pt x="3150" y="327"/>
                </a:cubicBezTo>
                <a:cubicBezTo>
                  <a:pt x="3151" y="325"/>
                  <a:pt x="3152" y="323"/>
                  <a:pt x="3152" y="322"/>
                </a:cubicBezTo>
                <a:cubicBezTo>
                  <a:pt x="3152" y="322"/>
                  <a:pt x="3152" y="322"/>
                  <a:pt x="3152" y="322"/>
                </a:cubicBezTo>
                <a:cubicBezTo>
                  <a:pt x="3151" y="322"/>
                  <a:pt x="3150" y="323"/>
                  <a:pt x="3149" y="324"/>
                </a:cubicBezTo>
                <a:cubicBezTo>
                  <a:pt x="3148" y="325"/>
                  <a:pt x="3150" y="331"/>
                  <a:pt x="3151" y="331"/>
                </a:cubicBezTo>
                <a:cubicBezTo>
                  <a:pt x="3153" y="332"/>
                  <a:pt x="3155" y="331"/>
                  <a:pt x="3155" y="329"/>
                </a:cubicBezTo>
                <a:close/>
                <a:moveTo>
                  <a:pt x="3155" y="347"/>
                </a:moveTo>
                <a:cubicBezTo>
                  <a:pt x="3154" y="348"/>
                  <a:pt x="3152" y="349"/>
                  <a:pt x="3151" y="350"/>
                </a:cubicBezTo>
                <a:cubicBezTo>
                  <a:pt x="3150" y="350"/>
                  <a:pt x="3150" y="351"/>
                  <a:pt x="3150" y="352"/>
                </a:cubicBezTo>
                <a:cubicBezTo>
                  <a:pt x="3150" y="355"/>
                  <a:pt x="3155" y="359"/>
                  <a:pt x="3158" y="359"/>
                </a:cubicBezTo>
                <a:cubicBezTo>
                  <a:pt x="3159" y="359"/>
                  <a:pt x="3160" y="357"/>
                  <a:pt x="3159" y="356"/>
                </a:cubicBezTo>
                <a:cubicBezTo>
                  <a:pt x="3158" y="353"/>
                  <a:pt x="3156" y="350"/>
                  <a:pt x="3155" y="347"/>
                </a:cubicBezTo>
                <a:close/>
                <a:moveTo>
                  <a:pt x="3207" y="349"/>
                </a:moveTo>
                <a:cubicBezTo>
                  <a:pt x="3205" y="354"/>
                  <a:pt x="3202" y="358"/>
                  <a:pt x="3200" y="362"/>
                </a:cubicBezTo>
                <a:cubicBezTo>
                  <a:pt x="3203" y="362"/>
                  <a:pt x="3205" y="363"/>
                  <a:pt x="3208" y="362"/>
                </a:cubicBezTo>
                <a:cubicBezTo>
                  <a:pt x="3208" y="362"/>
                  <a:pt x="3209" y="361"/>
                  <a:pt x="3209" y="361"/>
                </a:cubicBezTo>
                <a:cubicBezTo>
                  <a:pt x="3209" y="358"/>
                  <a:pt x="3209" y="356"/>
                  <a:pt x="3208" y="353"/>
                </a:cubicBezTo>
                <a:cubicBezTo>
                  <a:pt x="3208" y="352"/>
                  <a:pt x="3207" y="350"/>
                  <a:pt x="3207" y="349"/>
                </a:cubicBezTo>
                <a:close/>
                <a:moveTo>
                  <a:pt x="3154" y="329"/>
                </a:moveTo>
                <a:cubicBezTo>
                  <a:pt x="3154" y="329"/>
                  <a:pt x="3153" y="330"/>
                  <a:pt x="3152" y="330"/>
                </a:cubicBezTo>
                <a:cubicBezTo>
                  <a:pt x="3152" y="330"/>
                  <a:pt x="3151" y="330"/>
                  <a:pt x="3151" y="329"/>
                </a:cubicBezTo>
                <a:cubicBezTo>
                  <a:pt x="3150" y="329"/>
                  <a:pt x="3150" y="328"/>
                  <a:pt x="3150" y="327"/>
                </a:cubicBezTo>
                <a:cubicBezTo>
                  <a:pt x="3151" y="325"/>
                  <a:pt x="3151" y="323"/>
                  <a:pt x="3152" y="321"/>
                </a:cubicBezTo>
                <a:cubicBezTo>
                  <a:pt x="3152" y="321"/>
                  <a:pt x="3152" y="321"/>
                  <a:pt x="3151" y="321"/>
                </a:cubicBezTo>
                <a:cubicBezTo>
                  <a:pt x="3150" y="322"/>
                  <a:pt x="3149" y="323"/>
                  <a:pt x="3148" y="324"/>
                </a:cubicBezTo>
                <a:cubicBezTo>
                  <a:pt x="3148" y="325"/>
                  <a:pt x="3149" y="330"/>
                  <a:pt x="3151" y="331"/>
                </a:cubicBezTo>
                <a:cubicBezTo>
                  <a:pt x="3152" y="332"/>
                  <a:pt x="3154" y="331"/>
                  <a:pt x="3154" y="329"/>
                </a:cubicBezTo>
                <a:close/>
                <a:moveTo>
                  <a:pt x="3207" y="321"/>
                </a:moveTo>
                <a:cubicBezTo>
                  <a:pt x="3210" y="317"/>
                  <a:pt x="3210" y="317"/>
                  <a:pt x="3214" y="316"/>
                </a:cubicBezTo>
                <a:cubicBezTo>
                  <a:pt x="3214" y="318"/>
                  <a:pt x="3215" y="319"/>
                  <a:pt x="3216" y="319"/>
                </a:cubicBezTo>
                <a:cubicBezTo>
                  <a:pt x="3214" y="320"/>
                  <a:pt x="3212" y="322"/>
                  <a:pt x="3210" y="323"/>
                </a:cubicBezTo>
                <a:cubicBezTo>
                  <a:pt x="3209" y="322"/>
                  <a:pt x="3209" y="321"/>
                  <a:pt x="3208" y="320"/>
                </a:cubicBezTo>
                <a:cubicBezTo>
                  <a:pt x="3208" y="320"/>
                  <a:pt x="3208" y="320"/>
                  <a:pt x="3207" y="321"/>
                </a:cubicBezTo>
                <a:close/>
                <a:moveTo>
                  <a:pt x="3212" y="320"/>
                </a:moveTo>
                <a:cubicBezTo>
                  <a:pt x="3212" y="320"/>
                  <a:pt x="3211" y="319"/>
                  <a:pt x="3211" y="319"/>
                </a:cubicBezTo>
                <a:cubicBezTo>
                  <a:pt x="3210" y="319"/>
                  <a:pt x="3209" y="320"/>
                  <a:pt x="3209" y="321"/>
                </a:cubicBezTo>
                <a:cubicBezTo>
                  <a:pt x="3209" y="321"/>
                  <a:pt x="3210" y="321"/>
                  <a:pt x="3210" y="322"/>
                </a:cubicBezTo>
                <a:cubicBezTo>
                  <a:pt x="3211" y="321"/>
                  <a:pt x="3211" y="321"/>
                  <a:pt x="3212" y="320"/>
                </a:cubicBezTo>
                <a:close/>
                <a:moveTo>
                  <a:pt x="3194" y="311"/>
                </a:moveTo>
                <a:cubicBezTo>
                  <a:pt x="3187" y="310"/>
                  <a:pt x="3184" y="312"/>
                  <a:pt x="3183" y="320"/>
                </a:cubicBezTo>
                <a:cubicBezTo>
                  <a:pt x="3184" y="318"/>
                  <a:pt x="3186" y="316"/>
                  <a:pt x="3187" y="313"/>
                </a:cubicBezTo>
                <a:cubicBezTo>
                  <a:pt x="3187" y="313"/>
                  <a:pt x="3187" y="313"/>
                  <a:pt x="3187" y="313"/>
                </a:cubicBezTo>
                <a:cubicBezTo>
                  <a:pt x="3187" y="315"/>
                  <a:pt x="3188" y="315"/>
                  <a:pt x="3188" y="316"/>
                </a:cubicBezTo>
                <a:cubicBezTo>
                  <a:pt x="3189" y="313"/>
                  <a:pt x="3190" y="311"/>
                  <a:pt x="3194" y="311"/>
                </a:cubicBezTo>
                <a:close/>
                <a:moveTo>
                  <a:pt x="3237" y="312"/>
                </a:moveTo>
                <a:cubicBezTo>
                  <a:pt x="3236" y="314"/>
                  <a:pt x="3234" y="315"/>
                  <a:pt x="3232" y="316"/>
                </a:cubicBezTo>
                <a:cubicBezTo>
                  <a:pt x="3234" y="317"/>
                  <a:pt x="3236" y="315"/>
                  <a:pt x="3237" y="312"/>
                </a:cubicBezTo>
                <a:close/>
                <a:moveTo>
                  <a:pt x="3204" y="314"/>
                </a:moveTo>
                <a:cubicBezTo>
                  <a:pt x="3205" y="313"/>
                  <a:pt x="3206" y="312"/>
                  <a:pt x="3208" y="310"/>
                </a:cubicBezTo>
                <a:cubicBezTo>
                  <a:pt x="3204" y="312"/>
                  <a:pt x="3203" y="312"/>
                  <a:pt x="3204" y="314"/>
                </a:cubicBezTo>
                <a:close/>
                <a:moveTo>
                  <a:pt x="3214" y="335"/>
                </a:moveTo>
                <a:cubicBezTo>
                  <a:pt x="3212" y="336"/>
                  <a:pt x="3212" y="337"/>
                  <a:pt x="3212" y="338"/>
                </a:cubicBezTo>
                <a:cubicBezTo>
                  <a:pt x="3212" y="337"/>
                  <a:pt x="3213" y="336"/>
                  <a:pt x="3214" y="335"/>
                </a:cubicBezTo>
                <a:close/>
                <a:moveTo>
                  <a:pt x="3212" y="320"/>
                </a:moveTo>
                <a:cubicBezTo>
                  <a:pt x="3212" y="320"/>
                  <a:pt x="3211" y="320"/>
                  <a:pt x="3211" y="320"/>
                </a:cubicBezTo>
                <a:cubicBezTo>
                  <a:pt x="3210" y="320"/>
                  <a:pt x="3210" y="320"/>
                  <a:pt x="3210" y="321"/>
                </a:cubicBezTo>
                <a:cubicBezTo>
                  <a:pt x="3210" y="321"/>
                  <a:pt x="3210" y="322"/>
                  <a:pt x="3210" y="322"/>
                </a:cubicBezTo>
                <a:cubicBezTo>
                  <a:pt x="3211" y="322"/>
                  <a:pt x="3211" y="321"/>
                  <a:pt x="3212" y="320"/>
                </a:cubicBezTo>
                <a:close/>
                <a:moveTo>
                  <a:pt x="3504" y="298"/>
                </a:moveTo>
                <a:cubicBezTo>
                  <a:pt x="3504" y="298"/>
                  <a:pt x="3504" y="298"/>
                  <a:pt x="3504" y="298"/>
                </a:cubicBezTo>
                <a:cubicBezTo>
                  <a:pt x="3499" y="298"/>
                  <a:pt x="3499" y="298"/>
                  <a:pt x="3499" y="298"/>
                </a:cubicBezTo>
                <a:cubicBezTo>
                  <a:pt x="3497" y="299"/>
                  <a:pt x="3496" y="301"/>
                  <a:pt x="3494" y="302"/>
                </a:cubicBezTo>
                <a:cubicBezTo>
                  <a:pt x="3492" y="303"/>
                  <a:pt x="3490" y="304"/>
                  <a:pt x="3488" y="305"/>
                </a:cubicBezTo>
                <a:cubicBezTo>
                  <a:pt x="3486" y="306"/>
                  <a:pt x="3485" y="307"/>
                  <a:pt x="3483" y="307"/>
                </a:cubicBezTo>
                <a:cubicBezTo>
                  <a:pt x="3481" y="308"/>
                  <a:pt x="3479" y="309"/>
                  <a:pt x="3477" y="309"/>
                </a:cubicBezTo>
                <a:cubicBezTo>
                  <a:pt x="3477" y="309"/>
                  <a:pt x="3477" y="309"/>
                  <a:pt x="3477" y="319"/>
                </a:cubicBezTo>
                <a:cubicBezTo>
                  <a:pt x="3480" y="318"/>
                  <a:pt x="3483" y="318"/>
                  <a:pt x="3486" y="316"/>
                </a:cubicBezTo>
                <a:cubicBezTo>
                  <a:pt x="3488" y="315"/>
                  <a:pt x="3491" y="314"/>
                  <a:pt x="3492" y="313"/>
                </a:cubicBezTo>
                <a:cubicBezTo>
                  <a:pt x="3492" y="313"/>
                  <a:pt x="3492" y="313"/>
                  <a:pt x="3492" y="371"/>
                </a:cubicBezTo>
                <a:cubicBezTo>
                  <a:pt x="3492" y="371"/>
                  <a:pt x="3492" y="371"/>
                  <a:pt x="3504" y="371"/>
                </a:cubicBezTo>
                <a:cubicBezTo>
                  <a:pt x="3504" y="371"/>
                  <a:pt x="3504" y="371"/>
                  <a:pt x="3504" y="298"/>
                </a:cubicBezTo>
                <a:close/>
                <a:moveTo>
                  <a:pt x="3625" y="298"/>
                </a:moveTo>
                <a:cubicBezTo>
                  <a:pt x="3625" y="298"/>
                  <a:pt x="3625" y="298"/>
                  <a:pt x="3625" y="298"/>
                </a:cubicBezTo>
                <a:cubicBezTo>
                  <a:pt x="3620" y="298"/>
                  <a:pt x="3620" y="298"/>
                  <a:pt x="3620" y="298"/>
                </a:cubicBezTo>
                <a:cubicBezTo>
                  <a:pt x="3618" y="299"/>
                  <a:pt x="3617" y="301"/>
                  <a:pt x="3614" y="302"/>
                </a:cubicBezTo>
                <a:cubicBezTo>
                  <a:pt x="3613" y="303"/>
                  <a:pt x="3611" y="304"/>
                  <a:pt x="3609" y="305"/>
                </a:cubicBezTo>
                <a:cubicBezTo>
                  <a:pt x="3608" y="306"/>
                  <a:pt x="3606" y="307"/>
                  <a:pt x="3604" y="307"/>
                </a:cubicBezTo>
                <a:cubicBezTo>
                  <a:pt x="3602" y="308"/>
                  <a:pt x="3601" y="309"/>
                  <a:pt x="3598" y="309"/>
                </a:cubicBezTo>
                <a:cubicBezTo>
                  <a:pt x="3598" y="309"/>
                  <a:pt x="3598" y="309"/>
                  <a:pt x="3598" y="319"/>
                </a:cubicBezTo>
                <a:cubicBezTo>
                  <a:pt x="3601" y="318"/>
                  <a:pt x="3604" y="318"/>
                  <a:pt x="3607" y="316"/>
                </a:cubicBezTo>
                <a:cubicBezTo>
                  <a:pt x="3609" y="315"/>
                  <a:pt x="3611" y="314"/>
                  <a:pt x="3614" y="313"/>
                </a:cubicBezTo>
                <a:cubicBezTo>
                  <a:pt x="3614" y="313"/>
                  <a:pt x="3614" y="313"/>
                  <a:pt x="3614" y="371"/>
                </a:cubicBezTo>
                <a:cubicBezTo>
                  <a:pt x="3614" y="371"/>
                  <a:pt x="3614" y="371"/>
                  <a:pt x="3625" y="371"/>
                </a:cubicBezTo>
                <a:cubicBezTo>
                  <a:pt x="3625" y="371"/>
                  <a:pt x="3625" y="371"/>
                  <a:pt x="3625" y="298"/>
                </a:cubicBezTo>
                <a:close/>
                <a:moveTo>
                  <a:pt x="3672" y="298"/>
                </a:moveTo>
                <a:cubicBezTo>
                  <a:pt x="3672" y="298"/>
                  <a:pt x="3672" y="298"/>
                  <a:pt x="3672" y="298"/>
                </a:cubicBezTo>
                <a:cubicBezTo>
                  <a:pt x="3667" y="298"/>
                  <a:pt x="3667" y="298"/>
                  <a:pt x="3667" y="298"/>
                </a:cubicBezTo>
                <a:cubicBezTo>
                  <a:pt x="3665" y="299"/>
                  <a:pt x="3664" y="301"/>
                  <a:pt x="3661" y="302"/>
                </a:cubicBezTo>
                <a:cubicBezTo>
                  <a:pt x="3660" y="303"/>
                  <a:pt x="3658" y="304"/>
                  <a:pt x="3656" y="305"/>
                </a:cubicBezTo>
                <a:cubicBezTo>
                  <a:pt x="3655" y="306"/>
                  <a:pt x="3653" y="307"/>
                  <a:pt x="3651" y="307"/>
                </a:cubicBezTo>
                <a:cubicBezTo>
                  <a:pt x="3649" y="308"/>
                  <a:pt x="3648" y="309"/>
                  <a:pt x="3645" y="309"/>
                </a:cubicBezTo>
                <a:cubicBezTo>
                  <a:pt x="3645" y="309"/>
                  <a:pt x="3645" y="309"/>
                  <a:pt x="3645" y="319"/>
                </a:cubicBezTo>
                <a:cubicBezTo>
                  <a:pt x="3648" y="318"/>
                  <a:pt x="3651" y="318"/>
                  <a:pt x="3653" y="316"/>
                </a:cubicBezTo>
                <a:cubicBezTo>
                  <a:pt x="3656" y="315"/>
                  <a:pt x="3659" y="314"/>
                  <a:pt x="3661" y="313"/>
                </a:cubicBezTo>
                <a:cubicBezTo>
                  <a:pt x="3661" y="313"/>
                  <a:pt x="3661" y="313"/>
                  <a:pt x="3661" y="371"/>
                </a:cubicBezTo>
                <a:cubicBezTo>
                  <a:pt x="3661" y="371"/>
                  <a:pt x="3661" y="371"/>
                  <a:pt x="3672" y="371"/>
                </a:cubicBezTo>
                <a:cubicBezTo>
                  <a:pt x="3672" y="371"/>
                  <a:pt x="3672" y="371"/>
                  <a:pt x="3672" y="298"/>
                </a:cubicBezTo>
                <a:close/>
                <a:moveTo>
                  <a:pt x="3718" y="298"/>
                </a:moveTo>
                <a:cubicBezTo>
                  <a:pt x="3718" y="298"/>
                  <a:pt x="3718" y="298"/>
                  <a:pt x="3718" y="298"/>
                </a:cubicBezTo>
                <a:cubicBezTo>
                  <a:pt x="3714" y="298"/>
                  <a:pt x="3714" y="298"/>
                  <a:pt x="3714" y="298"/>
                </a:cubicBezTo>
                <a:cubicBezTo>
                  <a:pt x="3712" y="299"/>
                  <a:pt x="3710" y="301"/>
                  <a:pt x="3708" y="302"/>
                </a:cubicBezTo>
                <a:cubicBezTo>
                  <a:pt x="3707" y="303"/>
                  <a:pt x="3704" y="304"/>
                  <a:pt x="3703" y="305"/>
                </a:cubicBezTo>
                <a:cubicBezTo>
                  <a:pt x="3701" y="305"/>
                  <a:pt x="3699" y="306"/>
                  <a:pt x="3697" y="307"/>
                </a:cubicBezTo>
                <a:cubicBezTo>
                  <a:pt x="3696" y="307"/>
                  <a:pt x="3693" y="308"/>
                  <a:pt x="3692" y="309"/>
                </a:cubicBezTo>
                <a:cubicBezTo>
                  <a:pt x="3692" y="309"/>
                  <a:pt x="3692" y="309"/>
                  <a:pt x="3692" y="319"/>
                </a:cubicBezTo>
                <a:cubicBezTo>
                  <a:pt x="3695" y="318"/>
                  <a:pt x="3698" y="317"/>
                  <a:pt x="3700" y="316"/>
                </a:cubicBezTo>
                <a:cubicBezTo>
                  <a:pt x="3702" y="315"/>
                  <a:pt x="3705" y="314"/>
                  <a:pt x="3707" y="313"/>
                </a:cubicBezTo>
                <a:cubicBezTo>
                  <a:pt x="3707" y="313"/>
                  <a:pt x="3707" y="313"/>
                  <a:pt x="3707" y="371"/>
                </a:cubicBezTo>
                <a:cubicBezTo>
                  <a:pt x="3707" y="371"/>
                  <a:pt x="3707" y="371"/>
                  <a:pt x="3718" y="371"/>
                </a:cubicBezTo>
                <a:cubicBezTo>
                  <a:pt x="3718" y="371"/>
                  <a:pt x="3718" y="371"/>
                  <a:pt x="3718" y="298"/>
                </a:cubicBezTo>
                <a:close/>
                <a:moveTo>
                  <a:pt x="3524" y="330"/>
                </a:moveTo>
                <a:cubicBezTo>
                  <a:pt x="3524" y="330"/>
                  <a:pt x="3524" y="330"/>
                  <a:pt x="3524" y="330"/>
                </a:cubicBezTo>
                <a:cubicBezTo>
                  <a:pt x="3524" y="339"/>
                  <a:pt x="3524" y="339"/>
                  <a:pt x="3524" y="339"/>
                </a:cubicBezTo>
                <a:cubicBezTo>
                  <a:pt x="3530" y="339"/>
                  <a:pt x="3531" y="342"/>
                  <a:pt x="3531" y="344"/>
                </a:cubicBezTo>
                <a:cubicBezTo>
                  <a:pt x="3531" y="347"/>
                  <a:pt x="3530" y="349"/>
                  <a:pt x="3530" y="352"/>
                </a:cubicBezTo>
                <a:cubicBezTo>
                  <a:pt x="3530" y="354"/>
                  <a:pt x="3529" y="356"/>
                  <a:pt x="3529" y="359"/>
                </a:cubicBezTo>
                <a:cubicBezTo>
                  <a:pt x="3529" y="368"/>
                  <a:pt x="3535" y="371"/>
                  <a:pt x="3544" y="371"/>
                </a:cubicBezTo>
                <a:cubicBezTo>
                  <a:pt x="3544" y="371"/>
                  <a:pt x="3544" y="371"/>
                  <a:pt x="3548" y="371"/>
                </a:cubicBezTo>
                <a:cubicBezTo>
                  <a:pt x="3548" y="371"/>
                  <a:pt x="3548" y="371"/>
                  <a:pt x="3548" y="362"/>
                </a:cubicBezTo>
                <a:cubicBezTo>
                  <a:pt x="3548" y="362"/>
                  <a:pt x="3548" y="362"/>
                  <a:pt x="3546" y="362"/>
                </a:cubicBezTo>
                <a:cubicBezTo>
                  <a:pt x="3542" y="362"/>
                  <a:pt x="3541" y="360"/>
                  <a:pt x="3541" y="356"/>
                </a:cubicBezTo>
                <a:cubicBezTo>
                  <a:pt x="3541" y="355"/>
                  <a:pt x="3541" y="353"/>
                  <a:pt x="3542" y="352"/>
                </a:cubicBezTo>
                <a:cubicBezTo>
                  <a:pt x="3542" y="350"/>
                  <a:pt x="3542" y="348"/>
                  <a:pt x="3542" y="346"/>
                </a:cubicBezTo>
                <a:cubicBezTo>
                  <a:pt x="3542" y="338"/>
                  <a:pt x="3539" y="336"/>
                  <a:pt x="3534" y="334"/>
                </a:cubicBezTo>
                <a:cubicBezTo>
                  <a:pt x="3534" y="334"/>
                  <a:pt x="3534" y="334"/>
                  <a:pt x="3534" y="334"/>
                </a:cubicBezTo>
                <a:cubicBezTo>
                  <a:pt x="3539" y="333"/>
                  <a:pt x="3542" y="331"/>
                  <a:pt x="3542" y="323"/>
                </a:cubicBezTo>
                <a:cubicBezTo>
                  <a:pt x="3542" y="321"/>
                  <a:pt x="3542" y="319"/>
                  <a:pt x="3542" y="317"/>
                </a:cubicBezTo>
                <a:cubicBezTo>
                  <a:pt x="3541" y="315"/>
                  <a:pt x="3541" y="313"/>
                  <a:pt x="3541" y="312"/>
                </a:cubicBezTo>
                <a:cubicBezTo>
                  <a:pt x="3541" y="309"/>
                  <a:pt x="3542" y="306"/>
                  <a:pt x="3546" y="306"/>
                </a:cubicBezTo>
                <a:cubicBezTo>
                  <a:pt x="3546" y="306"/>
                  <a:pt x="3546" y="306"/>
                  <a:pt x="3548" y="306"/>
                </a:cubicBezTo>
                <a:cubicBezTo>
                  <a:pt x="3548" y="306"/>
                  <a:pt x="3548" y="306"/>
                  <a:pt x="3548" y="297"/>
                </a:cubicBezTo>
                <a:cubicBezTo>
                  <a:pt x="3548" y="297"/>
                  <a:pt x="3548" y="297"/>
                  <a:pt x="3544" y="297"/>
                </a:cubicBezTo>
                <a:cubicBezTo>
                  <a:pt x="3535" y="297"/>
                  <a:pt x="3529" y="301"/>
                  <a:pt x="3529" y="310"/>
                </a:cubicBezTo>
                <a:cubicBezTo>
                  <a:pt x="3529" y="312"/>
                  <a:pt x="3530" y="315"/>
                  <a:pt x="3530" y="317"/>
                </a:cubicBezTo>
                <a:cubicBezTo>
                  <a:pt x="3530" y="319"/>
                  <a:pt x="3531" y="322"/>
                  <a:pt x="3531" y="324"/>
                </a:cubicBezTo>
                <a:cubicBezTo>
                  <a:pt x="3531" y="327"/>
                  <a:pt x="3530" y="330"/>
                  <a:pt x="3524" y="330"/>
                </a:cubicBezTo>
                <a:close/>
                <a:moveTo>
                  <a:pt x="3579" y="339"/>
                </a:moveTo>
                <a:cubicBezTo>
                  <a:pt x="3579" y="339"/>
                  <a:pt x="3579" y="339"/>
                  <a:pt x="3579" y="339"/>
                </a:cubicBezTo>
                <a:cubicBezTo>
                  <a:pt x="3579" y="330"/>
                  <a:pt x="3579" y="330"/>
                  <a:pt x="3579" y="330"/>
                </a:cubicBezTo>
                <a:cubicBezTo>
                  <a:pt x="3572" y="330"/>
                  <a:pt x="3572" y="327"/>
                  <a:pt x="3572" y="324"/>
                </a:cubicBezTo>
                <a:cubicBezTo>
                  <a:pt x="3572" y="322"/>
                  <a:pt x="3572" y="319"/>
                  <a:pt x="3572" y="317"/>
                </a:cubicBezTo>
                <a:cubicBezTo>
                  <a:pt x="3573" y="315"/>
                  <a:pt x="3573" y="312"/>
                  <a:pt x="3573" y="310"/>
                </a:cubicBezTo>
                <a:cubicBezTo>
                  <a:pt x="3573" y="301"/>
                  <a:pt x="3567" y="297"/>
                  <a:pt x="3558" y="297"/>
                </a:cubicBezTo>
                <a:cubicBezTo>
                  <a:pt x="3558" y="297"/>
                  <a:pt x="3558" y="297"/>
                  <a:pt x="3554" y="297"/>
                </a:cubicBezTo>
                <a:cubicBezTo>
                  <a:pt x="3554" y="297"/>
                  <a:pt x="3554" y="297"/>
                  <a:pt x="3554" y="306"/>
                </a:cubicBezTo>
                <a:cubicBezTo>
                  <a:pt x="3554" y="306"/>
                  <a:pt x="3554" y="306"/>
                  <a:pt x="3556" y="306"/>
                </a:cubicBezTo>
                <a:cubicBezTo>
                  <a:pt x="3560" y="306"/>
                  <a:pt x="3561" y="309"/>
                  <a:pt x="3561" y="312"/>
                </a:cubicBezTo>
                <a:cubicBezTo>
                  <a:pt x="3561" y="313"/>
                  <a:pt x="3561" y="315"/>
                  <a:pt x="3561" y="317"/>
                </a:cubicBezTo>
                <a:cubicBezTo>
                  <a:pt x="3560" y="319"/>
                  <a:pt x="3560" y="321"/>
                  <a:pt x="3560" y="323"/>
                </a:cubicBezTo>
                <a:cubicBezTo>
                  <a:pt x="3560" y="331"/>
                  <a:pt x="3563" y="333"/>
                  <a:pt x="3569" y="334"/>
                </a:cubicBezTo>
                <a:cubicBezTo>
                  <a:pt x="3569" y="334"/>
                  <a:pt x="3569" y="334"/>
                  <a:pt x="3569" y="334"/>
                </a:cubicBezTo>
                <a:cubicBezTo>
                  <a:pt x="3563" y="336"/>
                  <a:pt x="3560" y="338"/>
                  <a:pt x="3560" y="346"/>
                </a:cubicBezTo>
                <a:cubicBezTo>
                  <a:pt x="3560" y="348"/>
                  <a:pt x="3560" y="350"/>
                  <a:pt x="3561" y="352"/>
                </a:cubicBezTo>
                <a:cubicBezTo>
                  <a:pt x="3561" y="353"/>
                  <a:pt x="3561" y="355"/>
                  <a:pt x="3561" y="356"/>
                </a:cubicBezTo>
                <a:cubicBezTo>
                  <a:pt x="3561" y="360"/>
                  <a:pt x="3560" y="362"/>
                  <a:pt x="3556" y="362"/>
                </a:cubicBezTo>
                <a:cubicBezTo>
                  <a:pt x="3556" y="362"/>
                  <a:pt x="3556" y="362"/>
                  <a:pt x="3554" y="362"/>
                </a:cubicBezTo>
                <a:cubicBezTo>
                  <a:pt x="3554" y="362"/>
                  <a:pt x="3554" y="362"/>
                  <a:pt x="3554" y="371"/>
                </a:cubicBezTo>
                <a:cubicBezTo>
                  <a:pt x="3554" y="371"/>
                  <a:pt x="3554" y="371"/>
                  <a:pt x="3558" y="371"/>
                </a:cubicBezTo>
                <a:cubicBezTo>
                  <a:pt x="3567" y="371"/>
                  <a:pt x="3573" y="368"/>
                  <a:pt x="3573" y="359"/>
                </a:cubicBezTo>
                <a:cubicBezTo>
                  <a:pt x="3573" y="356"/>
                  <a:pt x="3573" y="354"/>
                  <a:pt x="3572" y="352"/>
                </a:cubicBezTo>
                <a:cubicBezTo>
                  <a:pt x="3572" y="349"/>
                  <a:pt x="3572" y="347"/>
                  <a:pt x="3572" y="344"/>
                </a:cubicBezTo>
                <a:cubicBezTo>
                  <a:pt x="3572" y="342"/>
                  <a:pt x="3572" y="339"/>
                  <a:pt x="3579" y="339"/>
                </a:cubicBezTo>
                <a:close/>
                <a:moveTo>
                  <a:pt x="3762" y="371"/>
                </a:moveTo>
                <a:cubicBezTo>
                  <a:pt x="3755" y="371"/>
                  <a:pt x="3748" y="368"/>
                  <a:pt x="3744" y="363"/>
                </a:cubicBezTo>
                <a:cubicBezTo>
                  <a:pt x="3740" y="356"/>
                  <a:pt x="3738" y="347"/>
                  <a:pt x="3738" y="335"/>
                </a:cubicBezTo>
                <a:cubicBezTo>
                  <a:pt x="3738" y="321"/>
                  <a:pt x="3740" y="312"/>
                  <a:pt x="3745" y="305"/>
                </a:cubicBezTo>
                <a:cubicBezTo>
                  <a:pt x="3749" y="299"/>
                  <a:pt x="3756" y="295"/>
                  <a:pt x="3764" y="295"/>
                </a:cubicBezTo>
                <a:cubicBezTo>
                  <a:pt x="3780" y="295"/>
                  <a:pt x="3788" y="308"/>
                  <a:pt x="3788" y="333"/>
                </a:cubicBezTo>
                <a:cubicBezTo>
                  <a:pt x="3788" y="346"/>
                  <a:pt x="3786" y="355"/>
                  <a:pt x="3781" y="362"/>
                </a:cubicBezTo>
                <a:cubicBezTo>
                  <a:pt x="3777" y="368"/>
                  <a:pt x="3770" y="371"/>
                  <a:pt x="3762" y="371"/>
                </a:cubicBezTo>
                <a:close/>
                <a:moveTo>
                  <a:pt x="3764" y="305"/>
                </a:moveTo>
                <a:cubicBezTo>
                  <a:pt x="3754" y="305"/>
                  <a:pt x="3750" y="315"/>
                  <a:pt x="3750" y="335"/>
                </a:cubicBezTo>
                <a:cubicBezTo>
                  <a:pt x="3750" y="353"/>
                  <a:pt x="3754" y="362"/>
                  <a:pt x="3763" y="362"/>
                </a:cubicBezTo>
                <a:cubicBezTo>
                  <a:pt x="3772" y="362"/>
                  <a:pt x="3776" y="353"/>
                  <a:pt x="3776" y="334"/>
                </a:cubicBezTo>
                <a:cubicBezTo>
                  <a:pt x="3776" y="314"/>
                  <a:pt x="3772" y="305"/>
                  <a:pt x="3764" y="305"/>
                </a:cubicBezTo>
                <a:close/>
                <a:moveTo>
                  <a:pt x="3833" y="371"/>
                </a:moveTo>
                <a:cubicBezTo>
                  <a:pt x="3825" y="371"/>
                  <a:pt x="3818" y="368"/>
                  <a:pt x="3815" y="363"/>
                </a:cubicBezTo>
                <a:cubicBezTo>
                  <a:pt x="3810" y="356"/>
                  <a:pt x="3808" y="347"/>
                  <a:pt x="3808" y="335"/>
                </a:cubicBezTo>
                <a:cubicBezTo>
                  <a:pt x="3808" y="321"/>
                  <a:pt x="3810" y="312"/>
                  <a:pt x="3815" y="305"/>
                </a:cubicBezTo>
                <a:cubicBezTo>
                  <a:pt x="3819" y="299"/>
                  <a:pt x="3826" y="295"/>
                  <a:pt x="3835" y="295"/>
                </a:cubicBezTo>
                <a:cubicBezTo>
                  <a:pt x="3851" y="295"/>
                  <a:pt x="3859" y="308"/>
                  <a:pt x="3859" y="333"/>
                </a:cubicBezTo>
                <a:cubicBezTo>
                  <a:pt x="3859" y="346"/>
                  <a:pt x="3857" y="355"/>
                  <a:pt x="3852" y="362"/>
                </a:cubicBezTo>
                <a:cubicBezTo>
                  <a:pt x="3847" y="368"/>
                  <a:pt x="3841" y="371"/>
                  <a:pt x="3833" y="371"/>
                </a:cubicBezTo>
                <a:close/>
                <a:moveTo>
                  <a:pt x="3834" y="305"/>
                </a:moveTo>
                <a:cubicBezTo>
                  <a:pt x="3825" y="305"/>
                  <a:pt x="3820" y="315"/>
                  <a:pt x="3820" y="335"/>
                </a:cubicBezTo>
                <a:cubicBezTo>
                  <a:pt x="3820" y="353"/>
                  <a:pt x="3824" y="362"/>
                  <a:pt x="3833" y="362"/>
                </a:cubicBezTo>
                <a:cubicBezTo>
                  <a:pt x="3842" y="362"/>
                  <a:pt x="3847" y="353"/>
                  <a:pt x="3847" y="334"/>
                </a:cubicBezTo>
                <a:cubicBezTo>
                  <a:pt x="3847" y="314"/>
                  <a:pt x="3842" y="305"/>
                  <a:pt x="3834" y="305"/>
                </a:cubicBezTo>
                <a:close/>
                <a:moveTo>
                  <a:pt x="1978" y="394"/>
                </a:moveTo>
                <a:cubicBezTo>
                  <a:pt x="1978" y="394"/>
                  <a:pt x="1978" y="394"/>
                  <a:pt x="1978" y="394"/>
                </a:cubicBezTo>
                <a:cubicBezTo>
                  <a:pt x="1973" y="394"/>
                  <a:pt x="1973" y="394"/>
                  <a:pt x="1973" y="394"/>
                </a:cubicBezTo>
                <a:cubicBezTo>
                  <a:pt x="1971" y="395"/>
                  <a:pt x="1969" y="397"/>
                  <a:pt x="1967" y="398"/>
                </a:cubicBezTo>
                <a:cubicBezTo>
                  <a:pt x="1966" y="399"/>
                  <a:pt x="1964" y="400"/>
                  <a:pt x="1962" y="401"/>
                </a:cubicBezTo>
                <a:cubicBezTo>
                  <a:pt x="1960" y="402"/>
                  <a:pt x="1958" y="403"/>
                  <a:pt x="1957" y="403"/>
                </a:cubicBezTo>
                <a:cubicBezTo>
                  <a:pt x="1955" y="404"/>
                  <a:pt x="1953" y="405"/>
                  <a:pt x="1951" y="405"/>
                </a:cubicBezTo>
                <a:cubicBezTo>
                  <a:pt x="1951" y="405"/>
                  <a:pt x="1951" y="405"/>
                  <a:pt x="1951" y="415"/>
                </a:cubicBezTo>
                <a:cubicBezTo>
                  <a:pt x="1954" y="414"/>
                  <a:pt x="1957" y="414"/>
                  <a:pt x="1960" y="412"/>
                </a:cubicBezTo>
                <a:cubicBezTo>
                  <a:pt x="1962" y="411"/>
                  <a:pt x="1964" y="410"/>
                  <a:pt x="1966" y="409"/>
                </a:cubicBezTo>
                <a:cubicBezTo>
                  <a:pt x="1966" y="409"/>
                  <a:pt x="1966" y="409"/>
                  <a:pt x="1966" y="467"/>
                </a:cubicBezTo>
                <a:cubicBezTo>
                  <a:pt x="1966" y="467"/>
                  <a:pt x="1966" y="467"/>
                  <a:pt x="1978" y="467"/>
                </a:cubicBezTo>
                <a:cubicBezTo>
                  <a:pt x="1978" y="467"/>
                  <a:pt x="1978" y="467"/>
                  <a:pt x="1978" y="394"/>
                </a:cubicBezTo>
                <a:close/>
                <a:moveTo>
                  <a:pt x="2025" y="394"/>
                </a:moveTo>
                <a:cubicBezTo>
                  <a:pt x="2025" y="394"/>
                  <a:pt x="2025" y="394"/>
                  <a:pt x="2025" y="394"/>
                </a:cubicBezTo>
                <a:cubicBezTo>
                  <a:pt x="2020" y="394"/>
                  <a:pt x="2020" y="394"/>
                  <a:pt x="2020" y="394"/>
                </a:cubicBezTo>
                <a:cubicBezTo>
                  <a:pt x="2018" y="395"/>
                  <a:pt x="2017" y="397"/>
                  <a:pt x="2015" y="398"/>
                </a:cubicBezTo>
                <a:cubicBezTo>
                  <a:pt x="2013" y="399"/>
                  <a:pt x="2011" y="400"/>
                  <a:pt x="2009" y="401"/>
                </a:cubicBezTo>
                <a:cubicBezTo>
                  <a:pt x="2008" y="402"/>
                  <a:pt x="2006" y="403"/>
                  <a:pt x="2004" y="403"/>
                </a:cubicBezTo>
                <a:cubicBezTo>
                  <a:pt x="2002" y="404"/>
                  <a:pt x="2001" y="405"/>
                  <a:pt x="1999" y="405"/>
                </a:cubicBezTo>
                <a:cubicBezTo>
                  <a:pt x="1999" y="405"/>
                  <a:pt x="1999" y="405"/>
                  <a:pt x="1999" y="415"/>
                </a:cubicBezTo>
                <a:cubicBezTo>
                  <a:pt x="2001" y="414"/>
                  <a:pt x="2004" y="414"/>
                  <a:pt x="2007" y="412"/>
                </a:cubicBezTo>
                <a:cubicBezTo>
                  <a:pt x="2009" y="411"/>
                  <a:pt x="2012" y="410"/>
                  <a:pt x="2014" y="409"/>
                </a:cubicBezTo>
                <a:cubicBezTo>
                  <a:pt x="2014" y="409"/>
                  <a:pt x="2014" y="409"/>
                  <a:pt x="2014" y="467"/>
                </a:cubicBezTo>
                <a:cubicBezTo>
                  <a:pt x="2014" y="467"/>
                  <a:pt x="2014" y="467"/>
                  <a:pt x="2025" y="467"/>
                </a:cubicBezTo>
                <a:cubicBezTo>
                  <a:pt x="2025" y="467"/>
                  <a:pt x="2025" y="467"/>
                  <a:pt x="2025" y="394"/>
                </a:cubicBezTo>
                <a:close/>
                <a:moveTo>
                  <a:pt x="2072" y="394"/>
                </a:moveTo>
                <a:cubicBezTo>
                  <a:pt x="2072" y="394"/>
                  <a:pt x="2072" y="394"/>
                  <a:pt x="2072" y="394"/>
                </a:cubicBezTo>
                <a:cubicBezTo>
                  <a:pt x="2068" y="394"/>
                  <a:pt x="2068" y="394"/>
                  <a:pt x="2068" y="394"/>
                </a:cubicBezTo>
                <a:cubicBezTo>
                  <a:pt x="2066" y="395"/>
                  <a:pt x="2064" y="397"/>
                  <a:pt x="2062" y="398"/>
                </a:cubicBezTo>
                <a:cubicBezTo>
                  <a:pt x="2060" y="399"/>
                  <a:pt x="2058" y="400"/>
                  <a:pt x="2057" y="401"/>
                </a:cubicBezTo>
                <a:cubicBezTo>
                  <a:pt x="2055" y="401"/>
                  <a:pt x="2053" y="402"/>
                  <a:pt x="2051" y="403"/>
                </a:cubicBezTo>
                <a:cubicBezTo>
                  <a:pt x="2050" y="403"/>
                  <a:pt x="2048" y="404"/>
                  <a:pt x="2046" y="405"/>
                </a:cubicBezTo>
                <a:cubicBezTo>
                  <a:pt x="2046" y="405"/>
                  <a:pt x="2046" y="405"/>
                  <a:pt x="2046" y="415"/>
                </a:cubicBezTo>
                <a:cubicBezTo>
                  <a:pt x="2049" y="414"/>
                  <a:pt x="2052" y="413"/>
                  <a:pt x="2054" y="412"/>
                </a:cubicBezTo>
                <a:cubicBezTo>
                  <a:pt x="2056" y="411"/>
                  <a:pt x="2059" y="410"/>
                  <a:pt x="2060" y="409"/>
                </a:cubicBezTo>
                <a:cubicBezTo>
                  <a:pt x="2060" y="409"/>
                  <a:pt x="2060" y="409"/>
                  <a:pt x="2060" y="467"/>
                </a:cubicBezTo>
                <a:cubicBezTo>
                  <a:pt x="2060" y="467"/>
                  <a:pt x="2060" y="467"/>
                  <a:pt x="2072" y="467"/>
                </a:cubicBezTo>
                <a:cubicBezTo>
                  <a:pt x="2072" y="467"/>
                  <a:pt x="2072" y="467"/>
                  <a:pt x="2072" y="394"/>
                </a:cubicBezTo>
                <a:close/>
                <a:moveTo>
                  <a:pt x="2117" y="467"/>
                </a:moveTo>
                <a:cubicBezTo>
                  <a:pt x="2109" y="467"/>
                  <a:pt x="2103" y="464"/>
                  <a:pt x="2098" y="459"/>
                </a:cubicBezTo>
                <a:cubicBezTo>
                  <a:pt x="2095" y="452"/>
                  <a:pt x="2093" y="443"/>
                  <a:pt x="2093" y="431"/>
                </a:cubicBezTo>
                <a:cubicBezTo>
                  <a:pt x="2093" y="417"/>
                  <a:pt x="2095" y="408"/>
                  <a:pt x="2099" y="401"/>
                </a:cubicBezTo>
                <a:cubicBezTo>
                  <a:pt x="2104" y="395"/>
                  <a:pt x="2110" y="391"/>
                  <a:pt x="2119" y="391"/>
                </a:cubicBezTo>
                <a:cubicBezTo>
                  <a:pt x="2135" y="391"/>
                  <a:pt x="2143" y="404"/>
                  <a:pt x="2143" y="429"/>
                </a:cubicBezTo>
                <a:cubicBezTo>
                  <a:pt x="2143" y="442"/>
                  <a:pt x="2141" y="451"/>
                  <a:pt x="2136" y="458"/>
                </a:cubicBezTo>
                <a:cubicBezTo>
                  <a:pt x="2131" y="464"/>
                  <a:pt x="2125" y="467"/>
                  <a:pt x="2117" y="467"/>
                </a:cubicBezTo>
                <a:close/>
                <a:moveTo>
                  <a:pt x="2118" y="401"/>
                </a:moveTo>
                <a:cubicBezTo>
                  <a:pt x="2109" y="401"/>
                  <a:pt x="2104" y="411"/>
                  <a:pt x="2104" y="431"/>
                </a:cubicBezTo>
                <a:cubicBezTo>
                  <a:pt x="2104" y="449"/>
                  <a:pt x="2109" y="458"/>
                  <a:pt x="2117" y="458"/>
                </a:cubicBezTo>
                <a:cubicBezTo>
                  <a:pt x="2126" y="458"/>
                  <a:pt x="2131" y="449"/>
                  <a:pt x="2131" y="430"/>
                </a:cubicBezTo>
                <a:cubicBezTo>
                  <a:pt x="2131" y="410"/>
                  <a:pt x="2126" y="401"/>
                  <a:pt x="2118" y="401"/>
                </a:cubicBezTo>
                <a:close/>
                <a:moveTo>
                  <a:pt x="2188" y="467"/>
                </a:moveTo>
                <a:cubicBezTo>
                  <a:pt x="2180" y="467"/>
                  <a:pt x="2174" y="464"/>
                  <a:pt x="2170" y="459"/>
                </a:cubicBezTo>
                <a:cubicBezTo>
                  <a:pt x="2166" y="452"/>
                  <a:pt x="2164" y="443"/>
                  <a:pt x="2164" y="431"/>
                </a:cubicBezTo>
                <a:cubicBezTo>
                  <a:pt x="2164" y="417"/>
                  <a:pt x="2166" y="408"/>
                  <a:pt x="2170" y="401"/>
                </a:cubicBezTo>
                <a:cubicBezTo>
                  <a:pt x="2175" y="395"/>
                  <a:pt x="2181" y="391"/>
                  <a:pt x="2190" y="391"/>
                </a:cubicBezTo>
                <a:cubicBezTo>
                  <a:pt x="2206" y="391"/>
                  <a:pt x="2214" y="404"/>
                  <a:pt x="2214" y="429"/>
                </a:cubicBezTo>
                <a:cubicBezTo>
                  <a:pt x="2214" y="442"/>
                  <a:pt x="2212" y="451"/>
                  <a:pt x="2208" y="458"/>
                </a:cubicBezTo>
                <a:cubicBezTo>
                  <a:pt x="2202" y="464"/>
                  <a:pt x="2197" y="467"/>
                  <a:pt x="2188" y="467"/>
                </a:cubicBezTo>
                <a:close/>
                <a:moveTo>
                  <a:pt x="2189" y="401"/>
                </a:moveTo>
                <a:cubicBezTo>
                  <a:pt x="2180" y="401"/>
                  <a:pt x="2175" y="411"/>
                  <a:pt x="2175" y="431"/>
                </a:cubicBezTo>
                <a:cubicBezTo>
                  <a:pt x="2175" y="449"/>
                  <a:pt x="2180" y="458"/>
                  <a:pt x="2189" y="458"/>
                </a:cubicBezTo>
                <a:cubicBezTo>
                  <a:pt x="2197" y="458"/>
                  <a:pt x="2202" y="449"/>
                  <a:pt x="2202" y="430"/>
                </a:cubicBezTo>
                <a:cubicBezTo>
                  <a:pt x="2202" y="410"/>
                  <a:pt x="2197" y="401"/>
                  <a:pt x="2189" y="401"/>
                </a:cubicBezTo>
                <a:close/>
                <a:moveTo>
                  <a:pt x="2400" y="467"/>
                </a:moveTo>
                <a:cubicBezTo>
                  <a:pt x="2393" y="467"/>
                  <a:pt x="2387" y="464"/>
                  <a:pt x="2383" y="458"/>
                </a:cubicBezTo>
                <a:cubicBezTo>
                  <a:pt x="2379" y="452"/>
                  <a:pt x="2376" y="442"/>
                  <a:pt x="2376" y="431"/>
                </a:cubicBezTo>
                <a:cubicBezTo>
                  <a:pt x="2376" y="417"/>
                  <a:pt x="2379" y="408"/>
                  <a:pt x="2383" y="401"/>
                </a:cubicBezTo>
                <a:cubicBezTo>
                  <a:pt x="2387" y="394"/>
                  <a:pt x="2394" y="391"/>
                  <a:pt x="2403" y="391"/>
                </a:cubicBezTo>
                <a:cubicBezTo>
                  <a:pt x="2419" y="391"/>
                  <a:pt x="2427" y="404"/>
                  <a:pt x="2427" y="429"/>
                </a:cubicBezTo>
                <a:cubicBezTo>
                  <a:pt x="2427" y="442"/>
                  <a:pt x="2425" y="451"/>
                  <a:pt x="2420" y="458"/>
                </a:cubicBezTo>
                <a:cubicBezTo>
                  <a:pt x="2415" y="464"/>
                  <a:pt x="2409" y="467"/>
                  <a:pt x="2400" y="467"/>
                </a:cubicBezTo>
                <a:close/>
                <a:moveTo>
                  <a:pt x="2402" y="401"/>
                </a:moveTo>
                <a:cubicBezTo>
                  <a:pt x="2393" y="401"/>
                  <a:pt x="2389" y="410"/>
                  <a:pt x="2389" y="430"/>
                </a:cubicBezTo>
                <a:cubicBezTo>
                  <a:pt x="2389" y="448"/>
                  <a:pt x="2393" y="458"/>
                  <a:pt x="2402" y="458"/>
                </a:cubicBezTo>
                <a:cubicBezTo>
                  <a:pt x="2410" y="458"/>
                  <a:pt x="2414" y="448"/>
                  <a:pt x="2414" y="430"/>
                </a:cubicBezTo>
                <a:cubicBezTo>
                  <a:pt x="2414" y="410"/>
                  <a:pt x="2411" y="401"/>
                  <a:pt x="2402" y="401"/>
                </a:cubicBezTo>
                <a:close/>
                <a:moveTo>
                  <a:pt x="2519" y="467"/>
                </a:moveTo>
                <a:cubicBezTo>
                  <a:pt x="2511" y="467"/>
                  <a:pt x="2505" y="464"/>
                  <a:pt x="2501" y="458"/>
                </a:cubicBezTo>
                <a:cubicBezTo>
                  <a:pt x="2497" y="452"/>
                  <a:pt x="2494" y="442"/>
                  <a:pt x="2494" y="431"/>
                </a:cubicBezTo>
                <a:cubicBezTo>
                  <a:pt x="2494" y="417"/>
                  <a:pt x="2497" y="408"/>
                  <a:pt x="2501" y="401"/>
                </a:cubicBezTo>
                <a:cubicBezTo>
                  <a:pt x="2505" y="394"/>
                  <a:pt x="2512" y="391"/>
                  <a:pt x="2521" y="391"/>
                </a:cubicBezTo>
                <a:cubicBezTo>
                  <a:pt x="2537" y="391"/>
                  <a:pt x="2545" y="404"/>
                  <a:pt x="2545" y="429"/>
                </a:cubicBezTo>
                <a:cubicBezTo>
                  <a:pt x="2545" y="442"/>
                  <a:pt x="2543" y="451"/>
                  <a:pt x="2538" y="458"/>
                </a:cubicBezTo>
                <a:cubicBezTo>
                  <a:pt x="2533" y="464"/>
                  <a:pt x="2527" y="467"/>
                  <a:pt x="2519" y="467"/>
                </a:cubicBezTo>
                <a:close/>
                <a:moveTo>
                  <a:pt x="2520" y="401"/>
                </a:moveTo>
                <a:cubicBezTo>
                  <a:pt x="2511" y="401"/>
                  <a:pt x="2507" y="410"/>
                  <a:pt x="2507" y="430"/>
                </a:cubicBezTo>
                <a:cubicBezTo>
                  <a:pt x="2507" y="448"/>
                  <a:pt x="2511" y="458"/>
                  <a:pt x="2520" y="458"/>
                </a:cubicBezTo>
                <a:cubicBezTo>
                  <a:pt x="2528" y="458"/>
                  <a:pt x="2532" y="448"/>
                  <a:pt x="2532" y="430"/>
                </a:cubicBezTo>
                <a:cubicBezTo>
                  <a:pt x="2532" y="410"/>
                  <a:pt x="2529" y="401"/>
                  <a:pt x="2520" y="401"/>
                </a:cubicBezTo>
                <a:close/>
                <a:moveTo>
                  <a:pt x="2474" y="394"/>
                </a:moveTo>
                <a:cubicBezTo>
                  <a:pt x="2474" y="394"/>
                  <a:pt x="2474" y="394"/>
                  <a:pt x="2474" y="394"/>
                </a:cubicBezTo>
                <a:cubicBezTo>
                  <a:pt x="2469" y="394"/>
                  <a:pt x="2469" y="394"/>
                  <a:pt x="2469" y="394"/>
                </a:cubicBezTo>
                <a:cubicBezTo>
                  <a:pt x="2467" y="395"/>
                  <a:pt x="2465" y="397"/>
                  <a:pt x="2463" y="398"/>
                </a:cubicBezTo>
                <a:cubicBezTo>
                  <a:pt x="2462" y="399"/>
                  <a:pt x="2460" y="400"/>
                  <a:pt x="2458" y="401"/>
                </a:cubicBezTo>
                <a:cubicBezTo>
                  <a:pt x="2457" y="401"/>
                  <a:pt x="2455" y="402"/>
                  <a:pt x="2453" y="403"/>
                </a:cubicBezTo>
                <a:cubicBezTo>
                  <a:pt x="2451" y="403"/>
                  <a:pt x="2450" y="404"/>
                  <a:pt x="2447" y="405"/>
                </a:cubicBezTo>
                <a:cubicBezTo>
                  <a:pt x="2447" y="405"/>
                  <a:pt x="2447" y="405"/>
                  <a:pt x="2447" y="415"/>
                </a:cubicBezTo>
                <a:cubicBezTo>
                  <a:pt x="2450" y="414"/>
                  <a:pt x="2453" y="413"/>
                  <a:pt x="2455" y="412"/>
                </a:cubicBezTo>
                <a:cubicBezTo>
                  <a:pt x="2458" y="411"/>
                  <a:pt x="2460" y="410"/>
                  <a:pt x="2462" y="409"/>
                </a:cubicBezTo>
                <a:cubicBezTo>
                  <a:pt x="2462" y="409"/>
                  <a:pt x="2462" y="409"/>
                  <a:pt x="2462" y="467"/>
                </a:cubicBezTo>
                <a:cubicBezTo>
                  <a:pt x="2462" y="467"/>
                  <a:pt x="2462" y="467"/>
                  <a:pt x="2474" y="467"/>
                </a:cubicBezTo>
                <a:cubicBezTo>
                  <a:pt x="2474" y="467"/>
                  <a:pt x="2474" y="467"/>
                  <a:pt x="2474" y="394"/>
                </a:cubicBezTo>
                <a:close/>
                <a:moveTo>
                  <a:pt x="2590" y="467"/>
                </a:moveTo>
                <a:cubicBezTo>
                  <a:pt x="2582" y="467"/>
                  <a:pt x="2576" y="464"/>
                  <a:pt x="2572" y="459"/>
                </a:cubicBezTo>
                <a:cubicBezTo>
                  <a:pt x="2568" y="452"/>
                  <a:pt x="2565" y="443"/>
                  <a:pt x="2565" y="431"/>
                </a:cubicBezTo>
                <a:cubicBezTo>
                  <a:pt x="2565" y="417"/>
                  <a:pt x="2568" y="408"/>
                  <a:pt x="2572" y="401"/>
                </a:cubicBezTo>
                <a:cubicBezTo>
                  <a:pt x="2576" y="395"/>
                  <a:pt x="2583" y="391"/>
                  <a:pt x="2592" y="391"/>
                </a:cubicBezTo>
                <a:cubicBezTo>
                  <a:pt x="2608" y="391"/>
                  <a:pt x="2616" y="404"/>
                  <a:pt x="2616" y="429"/>
                </a:cubicBezTo>
                <a:cubicBezTo>
                  <a:pt x="2616" y="442"/>
                  <a:pt x="2614" y="451"/>
                  <a:pt x="2609" y="458"/>
                </a:cubicBezTo>
                <a:cubicBezTo>
                  <a:pt x="2604" y="464"/>
                  <a:pt x="2598" y="467"/>
                  <a:pt x="2590" y="467"/>
                </a:cubicBezTo>
                <a:close/>
                <a:moveTo>
                  <a:pt x="2591" y="401"/>
                </a:moveTo>
                <a:cubicBezTo>
                  <a:pt x="2582" y="401"/>
                  <a:pt x="2577" y="411"/>
                  <a:pt x="2577" y="431"/>
                </a:cubicBezTo>
                <a:cubicBezTo>
                  <a:pt x="2577" y="449"/>
                  <a:pt x="2582" y="458"/>
                  <a:pt x="2590" y="458"/>
                </a:cubicBezTo>
                <a:cubicBezTo>
                  <a:pt x="2599" y="458"/>
                  <a:pt x="2603" y="449"/>
                  <a:pt x="2603" y="430"/>
                </a:cubicBezTo>
                <a:cubicBezTo>
                  <a:pt x="2603" y="410"/>
                  <a:pt x="2599" y="401"/>
                  <a:pt x="2591" y="401"/>
                </a:cubicBezTo>
                <a:close/>
                <a:moveTo>
                  <a:pt x="2637" y="426"/>
                </a:moveTo>
                <a:cubicBezTo>
                  <a:pt x="2637" y="426"/>
                  <a:pt x="2637" y="426"/>
                  <a:pt x="2637" y="426"/>
                </a:cubicBezTo>
                <a:cubicBezTo>
                  <a:pt x="2636" y="435"/>
                  <a:pt x="2636" y="435"/>
                  <a:pt x="2636" y="435"/>
                </a:cubicBezTo>
                <a:cubicBezTo>
                  <a:pt x="2643" y="435"/>
                  <a:pt x="2644" y="438"/>
                  <a:pt x="2644" y="440"/>
                </a:cubicBezTo>
                <a:cubicBezTo>
                  <a:pt x="2644" y="443"/>
                  <a:pt x="2643" y="445"/>
                  <a:pt x="2643" y="448"/>
                </a:cubicBezTo>
                <a:cubicBezTo>
                  <a:pt x="2643" y="450"/>
                  <a:pt x="2642" y="452"/>
                  <a:pt x="2642" y="455"/>
                </a:cubicBezTo>
                <a:cubicBezTo>
                  <a:pt x="2642" y="464"/>
                  <a:pt x="2648" y="467"/>
                  <a:pt x="2657" y="467"/>
                </a:cubicBezTo>
                <a:cubicBezTo>
                  <a:pt x="2657" y="467"/>
                  <a:pt x="2657" y="467"/>
                  <a:pt x="2660" y="467"/>
                </a:cubicBezTo>
                <a:cubicBezTo>
                  <a:pt x="2660" y="467"/>
                  <a:pt x="2660" y="467"/>
                  <a:pt x="2660" y="458"/>
                </a:cubicBezTo>
                <a:cubicBezTo>
                  <a:pt x="2660" y="458"/>
                  <a:pt x="2660" y="458"/>
                  <a:pt x="2659" y="458"/>
                </a:cubicBezTo>
                <a:cubicBezTo>
                  <a:pt x="2655" y="458"/>
                  <a:pt x="2654" y="456"/>
                  <a:pt x="2654" y="452"/>
                </a:cubicBezTo>
                <a:cubicBezTo>
                  <a:pt x="2654" y="451"/>
                  <a:pt x="2654" y="449"/>
                  <a:pt x="2655" y="448"/>
                </a:cubicBezTo>
                <a:cubicBezTo>
                  <a:pt x="2655" y="446"/>
                  <a:pt x="2655" y="444"/>
                  <a:pt x="2655" y="442"/>
                </a:cubicBezTo>
                <a:cubicBezTo>
                  <a:pt x="2655" y="434"/>
                  <a:pt x="2652" y="432"/>
                  <a:pt x="2646" y="430"/>
                </a:cubicBezTo>
                <a:cubicBezTo>
                  <a:pt x="2646" y="430"/>
                  <a:pt x="2646" y="430"/>
                  <a:pt x="2646" y="430"/>
                </a:cubicBezTo>
                <a:cubicBezTo>
                  <a:pt x="2652" y="429"/>
                  <a:pt x="2655" y="427"/>
                  <a:pt x="2655" y="419"/>
                </a:cubicBezTo>
                <a:cubicBezTo>
                  <a:pt x="2655" y="417"/>
                  <a:pt x="2655" y="415"/>
                  <a:pt x="2655" y="413"/>
                </a:cubicBezTo>
                <a:cubicBezTo>
                  <a:pt x="2654" y="411"/>
                  <a:pt x="2654" y="409"/>
                  <a:pt x="2654" y="408"/>
                </a:cubicBezTo>
                <a:cubicBezTo>
                  <a:pt x="2654" y="405"/>
                  <a:pt x="2655" y="402"/>
                  <a:pt x="2659" y="402"/>
                </a:cubicBezTo>
                <a:cubicBezTo>
                  <a:pt x="2659" y="402"/>
                  <a:pt x="2659" y="402"/>
                  <a:pt x="2660" y="402"/>
                </a:cubicBezTo>
                <a:cubicBezTo>
                  <a:pt x="2660" y="402"/>
                  <a:pt x="2660" y="402"/>
                  <a:pt x="2660" y="393"/>
                </a:cubicBezTo>
                <a:cubicBezTo>
                  <a:pt x="2660" y="393"/>
                  <a:pt x="2660" y="393"/>
                  <a:pt x="2657" y="393"/>
                </a:cubicBezTo>
                <a:cubicBezTo>
                  <a:pt x="2648" y="393"/>
                  <a:pt x="2642" y="397"/>
                  <a:pt x="2642" y="406"/>
                </a:cubicBezTo>
                <a:cubicBezTo>
                  <a:pt x="2642" y="408"/>
                  <a:pt x="2643" y="411"/>
                  <a:pt x="2643" y="413"/>
                </a:cubicBezTo>
                <a:cubicBezTo>
                  <a:pt x="2643" y="415"/>
                  <a:pt x="2644" y="418"/>
                  <a:pt x="2644" y="420"/>
                </a:cubicBezTo>
                <a:cubicBezTo>
                  <a:pt x="2644" y="423"/>
                  <a:pt x="2643" y="426"/>
                  <a:pt x="2637" y="426"/>
                </a:cubicBezTo>
                <a:close/>
                <a:moveTo>
                  <a:pt x="2692" y="435"/>
                </a:moveTo>
                <a:cubicBezTo>
                  <a:pt x="2692" y="435"/>
                  <a:pt x="2692" y="435"/>
                  <a:pt x="2692" y="435"/>
                </a:cubicBezTo>
                <a:cubicBezTo>
                  <a:pt x="2692" y="426"/>
                  <a:pt x="2692" y="426"/>
                  <a:pt x="2692" y="426"/>
                </a:cubicBezTo>
                <a:cubicBezTo>
                  <a:pt x="2685" y="426"/>
                  <a:pt x="2685" y="423"/>
                  <a:pt x="2685" y="420"/>
                </a:cubicBezTo>
                <a:cubicBezTo>
                  <a:pt x="2685" y="418"/>
                  <a:pt x="2685" y="415"/>
                  <a:pt x="2685" y="413"/>
                </a:cubicBezTo>
                <a:cubicBezTo>
                  <a:pt x="2686" y="411"/>
                  <a:pt x="2686" y="408"/>
                  <a:pt x="2686" y="406"/>
                </a:cubicBezTo>
                <a:cubicBezTo>
                  <a:pt x="2686" y="397"/>
                  <a:pt x="2681" y="393"/>
                  <a:pt x="2671" y="393"/>
                </a:cubicBezTo>
                <a:cubicBezTo>
                  <a:pt x="2671" y="393"/>
                  <a:pt x="2671" y="393"/>
                  <a:pt x="2668" y="393"/>
                </a:cubicBezTo>
                <a:cubicBezTo>
                  <a:pt x="2668" y="393"/>
                  <a:pt x="2668" y="393"/>
                  <a:pt x="2668" y="402"/>
                </a:cubicBezTo>
                <a:cubicBezTo>
                  <a:pt x="2668" y="402"/>
                  <a:pt x="2668" y="402"/>
                  <a:pt x="2669" y="402"/>
                </a:cubicBezTo>
                <a:cubicBezTo>
                  <a:pt x="2673" y="402"/>
                  <a:pt x="2674" y="405"/>
                  <a:pt x="2674" y="408"/>
                </a:cubicBezTo>
                <a:cubicBezTo>
                  <a:pt x="2674" y="409"/>
                  <a:pt x="2674" y="411"/>
                  <a:pt x="2674" y="413"/>
                </a:cubicBezTo>
                <a:cubicBezTo>
                  <a:pt x="2674" y="415"/>
                  <a:pt x="2674" y="417"/>
                  <a:pt x="2674" y="419"/>
                </a:cubicBezTo>
                <a:cubicBezTo>
                  <a:pt x="2674" y="427"/>
                  <a:pt x="2676" y="429"/>
                  <a:pt x="2682" y="430"/>
                </a:cubicBezTo>
                <a:cubicBezTo>
                  <a:pt x="2682" y="430"/>
                  <a:pt x="2682" y="430"/>
                  <a:pt x="2682" y="430"/>
                </a:cubicBezTo>
                <a:cubicBezTo>
                  <a:pt x="2676" y="432"/>
                  <a:pt x="2674" y="434"/>
                  <a:pt x="2674" y="442"/>
                </a:cubicBezTo>
                <a:cubicBezTo>
                  <a:pt x="2674" y="444"/>
                  <a:pt x="2674" y="446"/>
                  <a:pt x="2674" y="448"/>
                </a:cubicBezTo>
                <a:cubicBezTo>
                  <a:pt x="2674" y="449"/>
                  <a:pt x="2674" y="451"/>
                  <a:pt x="2674" y="452"/>
                </a:cubicBezTo>
                <a:cubicBezTo>
                  <a:pt x="2674" y="456"/>
                  <a:pt x="2673" y="458"/>
                  <a:pt x="2669" y="458"/>
                </a:cubicBezTo>
                <a:cubicBezTo>
                  <a:pt x="2669" y="458"/>
                  <a:pt x="2669" y="458"/>
                  <a:pt x="2668" y="458"/>
                </a:cubicBezTo>
                <a:cubicBezTo>
                  <a:pt x="2668" y="458"/>
                  <a:pt x="2668" y="458"/>
                  <a:pt x="2668" y="467"/>
                </a:cubicBezTo>
                <a:cubicBezTo>
                  <a:pt x="2668" y="467"/>
                  <a:pt x="2668" y="467"/>
                  <a:pt x="2671" y="467"/>
                </a:cubicBezTo>
                <a:cubicBezTo>
                  <a:pt x="2680" y="467"/>
                  <a:pt x="2686" y="464"/>
                  <a:pt x="2686" y="455"/>
                </a:cubicBezTo>
                <a:cubicBezTo>
                  <a:pt x="2686" y="452"/>
                  <a:pt x="2686" y="450"/>
                  <a:pt x="2685" y="448"/>
                </a:cubicBezTo>
                <a:cubicBezTo>
                  <a:pt x="2685" y="445"/>
                  <a:pt x="2685" y="443"/>
                  <a:pt x="2685" y="440"/>
                </a:cubicBezTo>
                <a:cubicBezTo>
                  <a:pt x="2685" y="438"/>
                  <a:pt x="2685" y="435"/>
                  <a:pt x="2692" y="435"/>
                </a:cubicBezTo>
                <a:close/>
                <a:moveTo>
                  <a:pt x="2812" y="467"/>
                </a:moveTo>
                <a:cubicBezTo>
                  <a:pt x="2804" y="467"/>
                  <a:pt x="2798" y="464"/>
                  <a:pt x="2794" y="459"/>
                </a:cubicBezTo>
                <a:cubicBezTo>
                  <a:pt x="2790" y="452"/>
                  <a:pt x="2788" y="443"/>
                  <a:pt x="2788" y="431"/>
                </a:cubicBezTo>
                <a:cubicBezTo>
                  <a:pt x="2788" y="417"/>
                  <a:pt x="2790" y="408"/>
                  <a:pt x="2794" y="401"/>
                </a:cubicBezTo>
                <a:cubicBezTo>
                  <a:pt x="2799" y="395"/>
                  <a:pt x="2805" y="391"/>
                  <a:pt x="2814" y="391"/>
                </a:cubicBezTo>
                <a:cubicBezTo>
                  <a:pt x="2830" y="391"/>
                  <a:pt x="2838" y="404"/>
                  <a:pt x="2838" y="429"/>
                </a:cubicBezTo>
                <a:cubicBezTo>
                  <a:pt x="2838" y="442"/>
                  <a:pt x="2836" y="451"/>
                  <a:pt x="2831" y="458"/>
                </a:cubicBezTo>
                <a:cubicBezTo>
                  <a:pt x="2826" y="464"/>
                  <a:pt x="2820" y="467"/>
                  <a:pt x="2812" y="467"/>
                </a:cubicBezTo>
                <a:close/>
                <a:moveTo>
                  <a:pt x="2813" y="401"/>
                </a:moveTo>
                <a:cubicBezTo>
                  <a:pt x="2804" y="401"/>
                  <a:pt x="2799" y="411"/>
                  <a:pt x="2799" y="431"/>
                </a:cubicBezTo>
                <a:cubicBezTo>
                  <a:pt x="2799" y="449"/>
                  <a:pt x="2804" y="458"/>
                  <a:pt x="2813" y="458"/>
                </a:cubicBezTo>
                <a:cubicBezTo>
                  <a:pt x="2821" y="458"/>
                  <a:pt x="2826" y="449"/>
                  <a:pt x="2826" y="430"/>
                </a:cubicBezTo>
                <a:cubicBezTo>
                  <a:pt x="2826" y="410"/>
                  <a:pt x="2821" y="401"/>
                  <a:pt x="2813" y="401"/>
                </a:cubicBezTo>
                <a:close/>
                <a:moveTo>
                  <a:pt x="2886" y="394"/>
                </a:moveTo>
                <a:cubicBezTo>
                  <a:pt x="2886" y="394"/>
                  <a:pt x="2886" y="394"/>
                  <a:pt x="2886" y="394"/>
                </a:cubicBezTo>
                <a:cubicBezTo>
                  <a:pt x="2881" y="394"/>
                  <a:pt x="2881" y="394"/>
                  <a:pt x="2881" y="394"/>
                </a:cubicBezTo>
                <a:cubicBezTo>
                  <a:pt x="2879" y="395"/>
                  <a:pt x="2877" y="397"/>
                  <a:pt x="2875" y="398"/>
                </a:cubicBezTo>
                <a:cubicBezTo>
                  <a:pt x="2874" y="399"/>
                  <a:pt x="2871" y="400"/>
                  <a:pt x="2870" y="401"/>
                </a:cubicBezTo>
                <a:cubicBezTo>
                  <a:pt x="2868" y="401"/>
                  <a:pt x="2866" y="402"/>
                  <a:pt x="2865" y="403"/>
                </a:cubicBezTo>
                <a:cubicBezTo>
                  <a:pt x="2862" y="403"/>
                  <a:pt x="2861" y="404"/>
                  <a:pt x="2859" y="405"/>
                </a:cubicBezTo>
                <a:cubicBezTo>
                  <a:pt x="2859" y="405"/>
                  <a:pt x="2859" y="405"/>
                  <a:pt x="2859" y="415"/>
                </a:cubicBezTo>
                <a:cubicBezTo>
                  <a:pt x="2862" y="414"/>
                  <a:pt x="2865" y="413"/>
                  <a:pt x="2867" y="412"/>
                </a:cubicBezTo>
                <a:cubicBezTo>
                  <a:pt x="2870" y="411"/>
                  <a:pt x="2872" y="410"/>
                  <a:pt x="2874" y="409"/>
                </a:cubicBezTo>
                <a:cubicBezTo>
                  <a:pt x="2874" y="409"/>
                  <a:pt x="2874" y="409"/>
                  <a:pt x="2874" y="467"/>
                </a:cubicBezTo>
                <a:cubicBezTo>
                  <a:pt x="2874" y="467"/>
                  <a:pt x="2874" y="467"/>
                  <a:pt x="2886" y="467"/>
                </a:cubicBezTo>
                <a:cubicBezTo>
                  <a:pt x="2886" y="467"/>
                  <a:pt x="2886" y="467"/>
                  <a:pt x="2886" y="394"/>
                </a:cubicBezTo>
                <a:close/>
                <a:moveTo>
                  <a:pt x="2718" y="467"/>
                </a:moveTo>
                <a:cubicBezTo>
                  <a:pt x="2721" y="448"/>
                  <a:pt x="2721" y="448"/>
                  <a:pt x="2721" y="448"/>
                </a:cubicBezTo>
                <a:cubicBezTo>
                  <a:pt x="2712" y="448"/>
                  <a:pt x="2712" y="448"/>
                  <a:pt x="2712" y="448"/>
                </a:cubicBezTo>
                <a:cubicBezTo>
                  <a:pt x="2712" y="436"/>
                  <a:pt x="2712" y="436"/>
                  <a:pt x="2712" y="436"/>
                </a:cubicBezTo>
                <a:cubicBezTo>
                  <a:pt x="2723" y="436"/>
                  <a:pt x="2723" y="436"/>
                  <a:pt x="2723" y="436"/>
                </a:cubicBezTo>
                <a:cubicBezTo>
                  <a:pt x="2725" y="425"/>
                  <a:pt x="2725" y="425"/>
                  <a:pt x="2725" y="425"/>
                </a:cubicBezTo>
                <a:cubicBezTo>
                  <a:pt x="2715" y="425"/>
                  <a:pt x="2715" y="425"/>
                  <a:pt x="2715" y="425"/>
                </a:cubicBezTo>
                <a:cubicBezTo>
                  <a:pt x="2715" y="413"/>
                  <a:pt x="2715" y="413"/>
                  <a:pt x="2715" y="413"/>
                </a:cubicBezTo>
                <a:cubicBezTo>
                  <a:pt x="2726" y="413"/>
                  <a:pt x="2726" y="413"/>
                  <a:pt x="2726" y="413"/>
                </a:cubicBezTo>
                <a:cubicBezTo>
                  <a:pt x="2729" y="395"/>
                  <a:pt x="2729" y="395"/>
                  <a:pt x="2729" y="395"/>
                </a:cubicBezTo>
                <a:cubicBezTo>
                  <a:pt x="2740" y="395"/>
                  <a:pt x="2740" y="395"/>
                  <a:pt x="2740" y="395"/>
                </a:cubicBezTo>
                <a:cubicBezTo>
                  <a:pt x="2737" y="413"/>
                  <a:pt x="2737" y="413"/>
                  <a:pt x="2737" y="413"/>
                </a:cubicBezTo>
                <a:cubicBezTo>
                  <a:pt x="2747" y="413"/>
                  <a:pt x="2747" y="413"/>
                  <a:pt x="2747" y="413"/>
                </a:cubicBezTo>
                <a:cubicBezTo>
                  <a:pt x="2750" y="395"/>
                  <a:pt x="2750" y="395"/>
                  <a:pt x="2750" y="395"/>
                </a:cubicBezTo>
                <a:cubicBezTo>
                  <a:pt x="2761" y="395"/>
                  <a:pt x="2761" y="395"/>
                  <a:pt x="2761" y="395"/>
                </a:cubicBezTo>
                <a:cubicBezTo>
                  <a:pt x="2758" y="413"/>
                  <a:pt x="2758" y="413"/>
                  <a:pt x="2758" y="413"/>
                </a:cubicBezTo>
                <a:cubicBezTo>
                  <a:pt x="2767" y="413"/>
                  <a:pt x="2767" y="413"/>
                  <a:pt x="2767" y="413"/>
                </a:cubicBezTo>
                <a:cubicBezTo>
                  <a:pt x="2767" y="425"/>
                  <a:pt x="2767" y="425"/>
                  <a:pt x="2767" y="425"/>
                </a:cubicBezTo>
                <a:cubicBezTo>
                  <a:pt x="2756" y="425"/>
                  <a:pt x="2756" y="425"/>
                  <a:pt x="2756" y="425"/>
                </a:cubicBezTo>
                <a:cubicBezTo>
                  <a:pt x="2755" y="436"/>
                  <a:pt x="2755" y="436"/>
                  <a:pt x="2755" y="436"/>
                </a:cubicBezTo>
                <a:cubicBezTo>
                  <a:pt x="2764" y="436"/>
                  <a:pt x="2764" y="436"/>
                  <a:pt x="2764" y="436"/>
                </a:cubicBezTo>
                <a:cubicBezTo>
                  <a:pt x="2764" y="448"/>
                  <a:pt x="2764" y="448"/>
                  <a:pt x="2764" y="448"/>
                </a:cubicBezTo>
                <a:cubicBezTo>
                  <a:pt x="2753" y="448"/>
                  <a:pt x="2753" y="448"/>
                  <a:pt x="2753" y="448"/>
                </a:cubicBezTo>
                <a:cubicBezTo>
                  <a:pt x="2750" y="467"/>
                  <a:pt x="2750" y="467"/>
                  <a:pt x="2750" y="467"/>
                </a:cubicBezTo>
                <a:cubicBezTo>
                  <a:pt x="2739" y="467"/>
                  <a:pt x="2739" y="467"/>
                  <a:pt x="2739" y="467"/>
                </a:cubicBezTo>
                <a:cubicBezTo>
                  <a:pt x="2742" y="448"/>
                  <a:pt x="2742" y="448"/>
                  <a:pt x="2742" y="448"/>
                </a:cubicBezTo>
                <a:cubicBezTo>
                  <a:pt x="2732" y="448"/>
                  <a:pt x="2732" y="448"/>
                  <a:pt x="2732" y="448"/>
                </a:cubicBezTo>
                <a:cubicBezTo>
                  <a:pt x="2729" y="467"/>
                  <a:pt x="2729" y="467"/>
                  <a:pt x="2729" y="467"/>
                </a:cubicBezTo>
                <a:cubicBezTo>
                  <a:pt x="2718" y="467"/>
                  <a:pt x="2718" y="467"/>
                  <a:pt x="2718" y="467"/>
                </a:cubicBezTo>
                <a:cubicBezTo>
                  <a:pt x="2718" y="467"/>
                  <a:pt x="2718" y="467"/>
                  <a:pt x="2718" y="467"/>
                </a:cubicBezTo>
                <a:close/>
                <a:moveTo>
                  <a:pt x="2744" y="436"/>
                </a:moveTo>
                <a:cubicBezTo>
                  <a:pt x="2745" y="425"/>
                  <a:pt x="2745" y="425"/>
                  <a:pt x="2745" y="425"/>
                </a:cubicBezTo>
                <a:cubicBezTo>
                  <a:pt x="2736" y="425"/>
                  <a:pt x="2736" y="425"/>
                  <a:pt x="2736" y="425"/>
                </a:cubicBezTo>
                <a:cubicBezTo>
                  <a:pt x="2734" y="436"/>
                  <a:pt x="2734" y="436"/>
                  <a:pt x="2734" y="436"/>
                </a:cubicBezTo>
                <a:cubicBezTo>
                  <a:pt x="2744" y="436"/>
                  <a:pt x="2744" y="436"/>
                  <a:pt x="2744" y="436"/>
                </a:cubicBezTo>
                <a:cubicBezTo>
                  <a:pt x="2744" y="436"/>
                  <a:pt x="2744" y="436"/>
                  <a:pt x="2744" y="436"/>
                </a:cubicBezTo>
                <a:close/>
                <a:moveTo>
                  <a:pt x="2262" y="394"/>
                </a:moveTo>
                <a:cubicBezTo>
                  <a:pt x="2262" y="394"/>
                  <a:pt x="2262" y="394"/>
                  <a:pt x="2262" y="394"/>
                </a:cubicBezTo>
                <a:cubicBezTo>
                  <a:pt x="2257" y="394"/>
                  <a:pt x="2257" y="394"/>
                  <a:pt x="2257" y="394"/>
                </a:cubicBezTo>
                <a:cubicBezTo>
                  <a:pt x="2254" y="395"/>
                  <a:pt x="2253" y="397"/>
                  <a:pt x="2251" y="398"/>
                </a:cubicBezTo>
                <a:cubicBezTo>
                  <a:pt x="2249" y="399"/>
                  <a:pt x="2248" y="400"/>
                  <a:pt x="2246" y="401"/>
                </a:cubicBezTo>
                <a:cubicBezTo>
                  <a:pt x="2244" y="402"/>
                  <a:pt x="2242" y="403"/>
                  <a:pt x="2241" y="403"/>
                </a:cubicBezTo>
                <a:cubicBezTo>
                  <a:pt x="2238" y="404"/>
                  <a:pt x="2237" y="405"/>
                  <a:pt x="2235" y="405"/>
                </a:cubicBezTo>
                <a:cubicBezTo>
                  <a:pt x="2235" y="405"/>
                  <a:pt x="2235" y="405"/>
                  <a:pt x="2235" y="415"/>
                </a:cubicBezTo>
                <a:cubicBezTo>
                  <a:pt x="2238" y="414"/>
                  <a:pt x="2241" y="414"/>
                  <a:pt x="2243" y="412"/>
                </a:cubicBezTo>
                <a:cubicBezTo>
                  <a:pt x="2246" y="411"/>
                  <a:pt x="2248" y="410"/>
                  <a:pt x="2250" y="409"/>
                </a:cubicBezTo>
                <a:cubicBezTo>
                  <a:pt x="2250" y="409"/>
                  <a:pt x="2250" y="409"/>
                  <a:pt x="2250" y="467"/>
                </a:cubicBezTo>
                <a:cubicBezTo>
                  <a:pt x="2250" y="467"/>
                  <a:pt x="2250" y="467"/>
                  <a:pt x="2262" y="467"/>
                </a:cubicBezTo>
                <a:cubicBezTo>
                  <a:pt x="2262" y="467"/>
                  <a:pt x="2262" y="467"/>
                  <a:pt x="2262" y="394"/>
                </a:cubicBezTo>
                <a:close/>
                <a:moveTo>
                  <a:pt x="2309" y="394"/>
                </a:moveTo>
                <a:cubicBezTo>
                  <a:pt x="2309" y="394"/>
                  <a:pt x="2309" y="394"/>
                  <a:pt x="2309" y="394"/>
                </a:cubicBezTo>
                <a:cubicBezTo>
                  <a:pt x="2304" y="394"/>
                  <a:pt x="2304" y="394"/>
                  <a:pt x="2304" y="394"/>
                </a:cubicBezTo>
                <a:cubicBezTo>
                  <a:pt x="2302" y="395"/>
                  <a:pt x="2300" y="397"/>
                  <a:pt x="2298" y="398"/>
                </a:cubicBezTo>
                <a:cubicBezTo>
                  <a:pt x="2297" y="399"/>
                  <a:pt x="2295" y="400"/>
                  <a:pt x="2293" y="401"/>
                </a:cubicBezTo>
                <a:cubicBezTo>
                  <a:pt x="2292" y="402"/>
                  <a:pt x="2290" y="403"/>
                  <a:pt x="2288" y="403"/>
                </a:cubicBezTo>
                <a:cubicBezTo>
                  <a:pt x="2286" y="404"/>
                  <a:pt x="2284" y="405"/>
                  <a:pt x="2282" y="405"/>
                </a:cubicBezTo>
                <a:cubicBezTo>
                  <a:pt x="2282" y="405"/>
                  <a:pt x="2282" y="405"/>
                  <a:pt x="2282" y="415"/>
                </a:cubicBezTo>
                <a:cubicBezTo>
                  <a:pt x="2285" y="414"/>
                  <a:pt x="2288" y="414"/>
                  <a:pt x="2290" y="412"/>
                </a:cubicBezTo>
                <a:cubicBezTo>
                  <a:pt x="2293" y="411"/>
                  <a:pt x="2295" y="410"/>
                  <a:pt x="2298" y="409"/>
                </a:cubicBezTo>
                <a:cubicBezTo>
                  <a:pt x="2298" y="409"/>
                  <a:pt x="2298" y="409"/>
                  <a:pt x="2298" y="467"/>
                </a:cubicBezTo>
                <a:cubicBezTo>
                  <a:pt x="2298" y="467"/>
                  <a:pt x="2298" y="467"/>
                  <a:pt x="2309" y="467"/>
                </a:cubicBezTo>
                <a:cubicBezTo>
                  <a:pt x="2309" y="467"/>
                  <a:pt x="2309" y="467"/>
                  <a:pt x="2309" y="394"/>
                </a:cubicBezTo>
                <a:close/>
                <a:moveTo>
                  <a:pt x="2356" y="394"/>
                </a:moveTo>
                <a:cubicBezTo>
                  <a:pt x="2356" y="394"/>
                  <a:pt x="2356" y="394"/>
                  <a:pt x="2356" y="394"/>
                </a:cubicBezTo>
                <a:cubicBezTo>
                  <a:pt x="2351" y="394"/>
                  <a:pt x="2351" y="394"/>
                  <a:pt x="2351" y="394"/>
                </a:cubicBezTo>
                <a:cubicBezTo>
                  <a:pt x="2349" y="395"/>
                  <a:pt x="2348" y="397"/>
                  <a:pt x="2346" y="398"/>
                </a:cubicBezTo>
                <a:cubicBezTo>
                  <a:pt x="2344" y="399"/>
                  <a:pt x="2342" y="400"/>
                  <a:pt x="2341" y="401"/>
                </a:cubicBezTo>
                <a:cubicBezTo>
                  <a:pt x="2338" y="401"/>
                  <a:pt x="2337" y="402"/>
                  <a:pt x="2335" y="403"/>
                </a:cubicBezTo>
                <a:cubicBezTo>
                  <a:pt x="2333" y="403"/>
                  <a:pt x="2331" y="404"/>
                  <a:pt x="2330" y="405"/>
                </a:cubicBezTo>
                <a:cubicBezTo>
                  <a:pt x="2330" y="405"/>
                  <a:pt x="2330" y="405"/>
                  <a:pt x="2330" y="415"/>
                </a:cubicBezTo>
                <a:cubicBezTo>
                  <a:pt x="2333" y="414"/>
                  <a:pt x="2336" y="413"/>
                  <a:pt x="2338" y="412"/>
                </a:cubicBezTo>
                <a:cubicBezTo>
                  <a:pt x="2340" y="411"/>
                  <a:pt x="2343" y="410"/>
                  <a:pt x="2344" y="409"/>
                </a:cubicBezTo>
                <a:cubicBezTo>
                  <a:pt x="2344" y="409"/>
                  <a:pt x="2344" y="409"/>
                  <a:pt x="2344" y="467"/>
                </a:cubicBezTo>
                <a:cubicBezTo>
                  <a:pt x="2344" y="467"/>
                  <a:pt x="2344" y="467"/>
                  <a:pt x="2356" y="467"/>
                </a:cubicBezTo>
                <a:cubicBezTo>
                  <a:pt x="2356" y="467"/>
                  <a:pt x="2356" y="467"/>
                  <a:pt x="2356" y="394"/>
                </a:cubicBezTo>
                <a:close/>
                <a:moveTo>
                  <a:pt x="2563" y="298"/>
                </a:moveTo>
                <a:cubicBezTo>
                  <a:pt x="2563" y="298"/>
                  <a:pt x="2563" y="298"/>
                  <a:pt x="2563" y="298"/>
                </a:cubicBezTo>
                <a:cubicBezTo>
                  <a:pt x="2558" y="298"/>
                  <a:pt x="2558" y="298"/>
                  <a:pt x="2558" y="298"/>
                </a:cubicBezTo>
                <a:cubicBezTo>
                  <a:pt x="2556" y="299"/>
                  <a:pt x="2554" y="301"/>
                  <a:pt x="2552" y="302"/>
                </a:cubicBezTo>
                <a:cubicBezTo>
                  <a:pt x="2551" y="303"/>
                  <a:pt x="2549" y="304"/>
                  <a:pt x="2547" y="305"/>
                </a:cubicBezTo>
                <a:cubicBezTo>
                  <a:pt x="2545" y="305"/>
                  <a:pt x="2543" y="306"/>
                  <a:pt x="2542" y="307"/>
                </a:cubicBezTo>
                <a:cubicBezTo>
                  <a:pt x="2540" y="307"/>
                  <a:pt x="2538" y="308"/>
                  <a:pt x="2536" y="309"/>
                </a:cubicBezTo>
                <a:cubicBezTo>
                  <a:pt x="2536" y="309"/>
                  <a:pt x="2536" y="309"/>
                  <a:pt x="2536" y="319"/>
                </a:cubicBezTo>
                <a:cubicBezTo>
                  <a:pt x="2539" y="318"/>
                  <a:pt x="2542" y="317"/>
                  <a:pt x="2544" y="316"/>
                </a:cubicBezTo>
                <a:cubicBezTo>
                  <a:pt x="2547" y="315"/>
                  <a:pt x="2549" y="314"/>
                  <a:pt x="2551" y="313"/>
                </a:cubicBezTo>
                <a:cubicBezTo>
                  <a:pt x="2551" y="313"/>
                  <a:pt x="2551" y="313"/>
                  <a:pt x="2551" y="371"/>
                </a:cubicBezTo>
                <a:cubicBezTo>
                  <a:pt x="2551" y="371"/>
                  <a:pt x="2551" y="371"/>
                  <a:pt x="2563" y="371"/>
                </a:cubicBezTo>
                <a:cubicBezTo>
                  <a:pt x="2563" y="371"/>
                  <a:pt x="2563" y="371"/>
                  <a:pt x="2563" y="298"/>
                </a:cubicBezTo>
                <a:close/>
                <a:moveTo>
                  <a:pt x="2610" y="298"/>
                </a:moveTo>
                <a:cubicBezTo>
                  <a:pt x="2610" y="298"/>
                  <a:pt x="2610" y="298"/>
                  <a:pt x="2610" y="298"/>
                </a:cubicBezTo>
                <a:cubicBezTo>
                  <a:pt x="2605" y="298"/>
                  <a:pt x="2605" y="298"/>
                  <a:pt x="2605" y="298"/>
                </a:cubicBezTo>
                <a:cubicBezTo>
                  <a:pt x="2602" y="299"/>
                  <a:pt x="2601" y="301"/>
                  <a:pt x="2599" y="302"/>
                </a:cubicBezTo>
                <a:cubicBezTo>
                  <a:pt x="2597" y="303"/>
                  <a:pt x="2595" y="304"/>
                  <a:pt x="2594" y="305"/>
                </a:cubicBezTo>
                <a:cubicBezTo>
                  <a:pt x="2592" y="306"/>
                  <a:pt x="2590" y="307"/>
                  <a:pt x="2589" y="307"/>
                </a:cubicBezTo>
                <a:cubicBezTo>
                  <a:pt x="2586" y="308"/>
                  <a:pt x="2585" y="309"/>
                  <a:pt x="2583" y="309"/>
                </a:cubicBezTo>
                <a:cubicBezTo>
                  <a:pt x="2583" y="309"/>
                  <a:pt x="2583" y="309"/>
                  <a:pt x="2583" y="319"/>
                </a:cubicBezTo>
                <a:cubicBezTo>
                  <a:pt x="2586" y="318"/>
                  <a:pt x="2589" y="318"/>
                  <a:pt x="2591" y="316"/>
                </a:cubicBezTo>
                <a:cubicBezTo>
                  <a:pt x="2594" y="315"/>
                  <a:pt x="2596" y="314"/>
                  <a:pt x="2598" y="313"/>
                </a:cubicBezTo>
                <a:cubicBezTo>
                  <a:pt x="2598" y="313"/>
                  <a:pt x="2598" y="313"/>
                  <a:pt x="2598" y="371"/>
                </a:cubicBezTo>
                <a:cubicBezTo>
                  <a:pt x="2598" y="371"/>
                  <a:pt x="2598" y="371"/>
                  <a:pt x="2610" y="371"/>
                </a:cubicBezTo>
                <a:cubicBezTo>
                  <a:pt x="2610" y="371"/>
                  <a:pt x="2610" y="371"/>
                  <a:pt x="2610" y="298"/>
                </a:cubicBezTo>
                <a:close/>
                <a:moveTo>
                  <a:pt x="2655" y="298"/>
                </a:moveTo>
                <a:cubicBezTo>
                  <a:pt x="2655" y="298"/>
                  <a:pt x="2655" y="298"/>
                  <a:pt x="2655" y="298"/>
                </a:cubicBezTo>
                <a:cubicBezTo>
                  <a:pt x="2651" y="298"/>
                  <a:pt x="2651" y="298"/>
                  <a:pt x="2651" y="298"/>
                </a:cubicBezTo>
                <a:cubicBezTo>
                  <a:pt x="2649" y="299"/>
                  <a:pt x="2647" y="301"/>
                  <a:pt x="2645" y="302"/>
                </a:cubicBezTo>
                <a:cubicBezTo>
                  <a:pt x="2644" y="303"/>
                  <a:pt x="2642" y="304"/>
                  <a:pt x="2640" y="305"/>
                </a:cubicBezTo>
                <a:cubicBezTo>
                  <a:pt x="2638" y="306"/>
                  <a:pt x="2636" y="307"/>
                  <a:pt x="2634" y="307"/>
                </a:cubicBezTo>
                <a:cubicBezTo>
                  <a:pt x="2633" y="308"/>
                  <a:pt x="2631" y="309"/>
                  <a:pt x="2629" y="309"/>
                </a:cubicBezTo>
                <a:cubicBezTo>
                  <a:pt x="2629" y="309"/>
                  <a:pt x="2629" y="309"/>
                  <a:pt x="2629" y="319"/>
                </a:cubicBezTo>
                <a:cubicBezTo>
                  <a:pt x="2632" y="318"/>
                  <a:pt x="2635" y="318"/>
                  <a:pt x="2637" y="316"/>
                </a:cubicBezTo>
                <a:cubicBezTo>
                  <a:pt x="2639" y="315"/>
                  <a:pt x="2642" y="314"/>
                  <a:pt x="2644" y="313"/>
                </a:cubicBezTo>
                <a:cubicBezTo>
                  <a:pt x="2644" y="313"/>
                  <a:pt x="2644" y="313"/>
                  <a:pt x="2644" y="371"/>
                </a:cubicBezTo>
                <a:cubicBezTo>
                  <a:pt x="2644" y="371"/>
                  <a:pt x="2644" y="371"/>
                  <a:pt x="2655" y="371"/>
                </a:cubicBezTo>
                <a:cubicBezTo>
                  <a:pt x="2655" y="371"/>
                  <a:pt x="2655" y="371"/>
                  <a:pt x="2655" y="298"/>
                </a:cubicBezTo>
                <a:close/>
                <a:moveTo>
                  <a:pt x="2702" y="298"/>
                </a:moveTo>
                <a:cubicBezTo>
                  <a:pt x="2702" y="298"/>
                  <a:pt x="2702" y="298"/>
                  <a:pt x="2702" y="298"/>
                </a:cubicBezTo>
                <a:cubicBezTo>
                  <a:pt x="2697" y="298"/>
                  <a:pt x="2697" y="298"/>
                  <a:pt x="2697" y="298"/>
                </a:cubicBezTo>
                <a:cubicBezTo>
                  <a:pt x="2695" y="299"/>
                  <a:pt x="2694" y="301"/>
                  <a:pt x="2691" y="302"/>
                </a:cubicBezTo>
                <a:cubicBezTo>
                  <a:pt x="2690" y="303"/>
                  <a:pt x="2688" y="304"/>
                  <a:pt x="2686" y="305"/>
                </a:cubicBezTo>
                <a:cubicBezTo>
                  <a:pt x="2685" y="306"/>
                  <a:pt x="2683" y="307"/>
                  <a:pt x="2681" y="307"/>
                </a:cubicBezTo>
                <a:cubicBezTo>
                  <a:pt x="2679" y="308"/>
                  <a:pt x="2678" y="309"/>
                  <a:pt x="2675" y="309"/>
                </a:cubicBezTo>
                <a:cubicBezTo>
                  <a:pt x="2675" y="309"/>
                  <a:pt x="2675" y="309"/>
                  <a:pt x="2675" y="319"/>
                </a:cubicBezTo>
                <a:cubicBezTo>
                  <a:pt x="2678" y="318"/>
                  <a:pt x="2681" y="318"/>
                  <a:pt x="2683" y="316"/>
                </a:cubicBezTo>
                <a:cubicBezTo>
                  <a:pt x="2686" y="315"/>
                  <a:pt x="2688" y="314"/>
                  <a:pt x="2691" y="313"/>
                </a:cubicBezTo>
                <a:cubicBezTo>
                  <a:pt x="2691" y="313"/>
                  <a:pt x="2691" y="313"/>
                  <a:pt x="2691" y="371"/>
                </a:cubicBezTo>
                <a:cubicBezTo>
                  <a:pt x="2691" y="371"/>
                  <a:pt x="2691" y="371"/>
                  <a:pt x="2702" y="371"/>
                </a:cubicBezTo>
                <a:cubicBezTo>
                  <a:pt x="2702" y="371"/>
                  <a:pt x="2702" y="371"/>
                  <a:pt x="2702" y="298"/>
                </a:cubicBezTo>
                <a:close/>
                <a:moveTo>
                  <a:pt x="2824" y="298"/>
                </a:moveTo>
                <a:cubicBezTo>
                  <a:pt x="2824" y="298"/>
                  <a:pt x="2824" y="298"/>
                  <a:pt x="2824" y="298"/>
                </a:cubicBezTo>
                <a:cubicBezTo>
                  <a:pt x="2819" y="298"/>
                  <a:pt x="2819" y="298"/>
                  <a:pt x="2819" y="298"/>
                </a:cubicBezTo>
                <a:cubicBezTo>
                  <a:pt x="2817" y="299"/>
                  <a:pt x="2815" y="301"/>
                  <a:pt x="2813" y="302"/>
                </a:cubicBezTo>
                <a:cubicBezTo>
                  <a:pt x="2812" y="303"/>
                  <a:pt x="2810" y="304"/>
                  <a:pt x="2808" y="305"/>
                </a:cubicBezTo>
                <a:cubicBezTo>
                  <a:pt x="2806" y="306"/>
                  <a:pt x="2804" y="307"/>
                  <a:pt x="2803" y="307"/>
                </a:cubicBezTo>
                <a:cubicBezTo>
                  <a:pt x="2801" y="308"/>
                  <a:pt x="2799" y="309"/>
                  <a:pt x="2797" y="309"/>
                </a:cubicBezTo>
                <a:cubicBezTo>
                  <a:pt x="2797" y="309"/>
                  <a:pt x="2797" y="309"/>
                  <a:pt x="2797" y="319"/>
                </a:cubicBezTo>
                <a:cubicBezTo>
                  <a:pt x="2800" y="318"/>
                  <a:pt x="2803" y="318"/>
                  <a:pt x="2806" y="316"/>
                </a:cubicBezTo>
                <a:cubicBezTo>
                  <a:pt x="2808" y="315"/>
                  <a:pt x="2810" y="314"/>
                  <a:pt x="2812" y="313"/>
                </a:cubicBezTo>
                <a:cubicBezTo>
                  <a:pt x="2812" y="313"/>
                  <a:pt x="2812" y="313"/>
                  <a:pt x="2812" y="371"/>
                </a:cubicBezTo>
                <a:cubicBezTo>
                  <a:pt x="2812" y="371"/>
                  <a:pt x="2812" y="371"/>
                  <a:pt x="2824" y="371"/>
                </a:cubicBezTo>
                <a:cubicBezTo>
                  <a:pt x="2824" y="371"/>
                  <a:pt x="2824" y="371"/>
                  <a:pt x="2824" y="298"/>
                </a:cubicBezTo>
                <a:close/>
                <a:moveTo>
                  <a:pt x="2871" y="298"/>
                </a:moveTo>
                <a:cubicBezTo>
                  <a:pt x="2871" y="298"/>
                  <a:pt x="2871" y="298"/>
                  <a:pt x="2871" y="298"/>
                </a:cubicBezTo>
                <a:cubicBezTo>
                  <a:pt x="2866" y="298"/>
                  <a:pt x="2866" y="298"/>
                  <a:pt x="2866" y="298"/>
                </a:cubicBezTo>
                <a:cubicBezTo>
                  <a:pt x="2864" y="299"/>
                  <a:pt x="2862" y="301"/>
                  <a:pt x="2860" y="302"/>
                </a:cubicBezTo>
                <a:cubicBezTo>
                  <a:pt x="2859" y="303"/>
                  <a:pt x="2856" y="304"/>
                  <a:pt x="2855" y="305"/>
                </a:cubicBezTo>
                <a:cubicBezTo>
                  <a:pt x="2853" y="306"/>
                  <a:pt x="2851" y="307"/>
                  <a:pt x="2850" y="307"/>
                </a:cubicBezTo>
                <a:cubicBezTo>
                  <a:pt x="2848" y="308"/>
                  <a:pt x="2846" y="309"/>
                  <a:pt x="2844" y="309"/>
                </a:cubicBezTo>
                <a:cubicBezTo>
                  <a:pt x="2844" y="309"/>
                  <a:pt x="2844" y="309"/>
                  <a:pt x="2844" y="319"/>
                </a:cubicBezTo>
                <a:cubicBezTo>
                  <a:pt x="2847" y="318"/>
                  <a:pt x="2850" y="318"/>
                  <a:pt x="2852" y="316"/>
                </a:cubicBezTo>
                <a:cubicBezTo>
                  <a:pt x="2855" y="315"/>
                  <a:pt x="2857" y="314"/>
                  <a:pt x="2859" y="313"/>
                </a:cubicBezTo>
                <a:cubicBezTo>
                  <a:pt x="2859" y="313"/>
                  <a:pt x="2859" y="313"/>
                  <a:pt x="2859" y="371"/>
                </a:cubicBezTo>
                <a:cubicBezTo>
                  <a:pt x="2859" y="371"/>
                  <a:pt x="2859" y="371"/>
                  <a:pt x="2871" y="371"/>
                </a:cubicBezTo>
                <a:cubicBezTo>
                  <a:pt x="2871" y="371"/>
                  <a:pt x="2871" y="371"/>
                  <a:pt x="2871" y="298"/>
                </a:cubicBezTo>
                <a:close/>
                <a:moveTo>
                  <a:pt x="2722" y="330"/>
                </a:moveTo>
                <a:cubicBezTo>
                  <a:pt x="2722" y="330"/>
                  <a:pt x="2722" y="330"/>
                  <a:pt x="2722" y="330"/>
                </a:cubicBezTo>
                <a:cubicBezTo>
                  <a:pt x="2722" y="339"/>
                  <a:pt x="2722" y="339"/>
                  <a:pt x="2722" y="339"/>
                </a:cubicBezTo>
                <a:cubicBezTo>
                  <a:pt x="2728" y="339"/>
                  <a:pt x="2729" y="342"/>
                  <a:pt x="2729" y="344"/>
                </a:cubicBezTo>
                <a:cubicBezTo>
                  <a:pt x="2729" y="347"/>
                  <a:pt x="2729" y="349"/>
                  <a:pt x="2729" y="352"/>
                </a:cubicBezTo>
                <a:cubicBezTo>
                  <a:pt x="2728" y="354"/>
                  <a:pt x="2728" y="356"/>
                  <a:pt x="2728" y="359"/>
                </a:cubicBezTo>
                <a:cubicBezTo>
                  <a:pt x="2728" y="368"/>
                  <a:pt x="2734" y="371"/>
                  <a:pt x="2743" y="371"/>
                </a:cubicBezTo>
                <a:cubicBezTo>
                  <a:pt x="2743" y="371"/>
                  <a:pt x="2743" y="371"/>
                  <a:pt x="2746" y="371"/>
                </a:cubicBezTo>
                <a:cubicBezTo>
                  <a:pt x="2746" y="371"/>
                  <a:pt x="2746" y="371"/>
                  <a:pt x="2746" y="362"/>
                </a:cubicBezTo>
                <a:cubicBezTo>
                  <a:pt x="2746" y="362"/>
                  <a:pt x="2746" y="362"/>
                  <a:pt x="2745" y="362"/>
                </a:cubicBezTo>
                <a:cubicBezTo>
                  <a:pt x="2741" y="362"/>
                  <a:pt x="2740" y="360"/>
                  <a:pt x="2740" y="356"/>
                </a:cubicBezTo>
                <a:cubicBezTo>
                  <a:pt x="2740" y="355"/>
                  <a:pt x="2740" y="353"/>
                  <a:pt x="2740" y="352"/>
                </a:cubicBezTo>
                <a:cubicBezTo>
                  <a:pt x="2740" y="350"/>
                  <a:pt x="2741" y="348"/>
                  <a:pt x="2741" y="346"/>
                </a:cubicBezTo>
                <a:cubicBezTo>
                  <a:pt x="2741" y="338"/>
                  <a:pt x="2738" y="336"/>
                  <a:pt x="2732" y="334"/>
                </a:cubicBezTo>
                <a:cubicBezTo>
                  <a:pt x="2732" y="334"/>
                  <a:pt x="2732" y="334"/>
                  <a:pt x="2732" y="334"/>
                </a:cubicBezTo>
                <a:cubicBezTo>
                  <a:pt x="2738" y="333"/>
                  <a:pt x="2741" y="331"/>
                  <a:pt x="2741" y="323"/>
                </a:cubicBezTo>
                <a:cubicBezTo>
                  <a:pt x="2741" y="321"/>
                  <a:pt x="2740" y="319"/>
                  <a:pt x="2740" y="317"/>
                </a:cubicBezTo>
                <a:cubicBezTo>
                  <a:pt x="2740" y="315"/>
                  <a:pt x="2740" y="313"/>
                  <a:pt x="2740" y="312"/>
                </a:cubicBezTo>
                <a:cubicBezTo>
                  <a:pt x="2740" y="309"/>
                  <a:pt x="2741" y="306"/>
                  <a:pt x="2745" y="306"/>
                </a:cubicBezTo>
                <a:cubicBezTo>
                  <a:pt x="2745" y="306"/>
                  <a:pt x="2745" y="306"/>
                  <a:pt x="2746" y="306"/>
                </a:cubicBezTo>
                <a:cubicBezTo>
                  <a:pt x="2746" y="306"/>
                  <a:pt x="2746" y="306"/>
                  <a:pt x="2746" y="297"/>
                </a:cubicBezTo>
                <a:cubicBezTo>
                  <a:pt x="2746" y="297"/>
                  <a:pt x="2746" y="297"/>
                  <a:pt x="2743" y="297"/>
                </a:cubicBezTo>
                <a:cubicBezTo>
                  <a:pt x="2734" y="297"/>
                  <a:pt x="2728" y="301"/>
                  <a:pt x="2728" y="310"/>
                </a:cubicBezTo>
                <a:cubicBezTo>
                  <a:pt x="2728" y="312"/>
                  <a:pt x="2728" y="315"/>
                  <a:pt x="2728" y="317"/>
                </a:cubicBezTo>
                <a:cubicBezTo>
                  <a:pt x="2729" y="319"/>
                  <a:pt x="2729" y="322"/>
                  <a:pt x="2729" y="324"/>
                </a:cubicBezTo>
                <a:cubicBezTo>
                  <a:pt x="2729" y="327"/>
                  <a:pt x="2728" y="330"/>
                  <a:pt x="2722" y="330"/>
                </a:cubicBezTo>
                <a:close/>
                <a:moveTo>
                  <a:pt x="2777" y="339"/>
                </a:moveTo>
                <a:cubicBezTo>
                  <a:pt x="2777" y="339"/>
                  <a:pt x="2777" y="339"/>
                  <a:pt x="2777" y="339"/>
                </a:cubicBezTo>
                <a:cubicBezTo>
                  <a:pt x="2777" y="330"/>
                  <a:pt x="2777" y="330"/>
                  <a:pt x="2777" y="330"/>
                </a:cubicBezTo>
                <a:cubicBezTo>
                  <a:pt x="2771" y="330"/>
                  <a:pt x="2770" y="327"/>
                  <a:pt x="2770" y="324"/>
                </a:cubicBezTo>
                <a:cubicBezTo>
                  <a:pt x="2770" y="322"/>
                  <a:pt x="2770" y="319"/>
                  <a:pt x="2771" y="317"/>
                </a:cubicBezTo>
                <a:cubicBezTo>
                  <a:pt x="2771" y="315"/>
                  <a:pt x="2771" y="312"/>
                  <a:pt x="2771" y="310"/>
                </a:cubicBezTo>
                <a:cubicBezTo>
                  <a:pt x="2771" y="301"/>
                  <a:pt x="2766" y="297"/>
                  <a:pt x="2757" y="297"/>
                </a:cubicBezTo>
                <a:cubicBezTo>
                  <a:pt x="2757" y="297"/>
                  <a:pt x="2757" y="297"/>
                  <a:pt x="2753" y="297"/>
                </a:cubicBezTo>
                <a:cubicBezTo>
                  <a:pt x="2753" y="297"/>
                  <a:pt x="2753" y="297"/>
                  <a:pt x="2753" y="306"/>
                </a:cubicBezTo>
                <a:cubicBezTo>
                  <a:pt x="2753" y="306"/>
                  <a:pt x="2753" y="306"/>
                  <a:pt x="2755" y="306"/>
                </a:cubicBezTo>
                <a:cubicBezTo>
                  <a:pt x="2758" y="306"/>
                  <a:pt x="2760" y="309"/>
                  <a:pt x="2760" y="312"/>
                </a:cubicBezTo>
                <a:cubicBezTo>
                  <a:pt x="2760" y="313"/>
                  <a:pt x="2759" y="315"/>
                  <a:pt x="2759" y="317"/>
                </a:cubicBezTo>
                <a:cubicBezTo>
                  <a:pt x="2759" y="319"/>
                  <a:pt x="2759" y="321"/>
                  <a:pt x="2759" y="323"/>
                </a:cubicBezTo>
                <a:cubicBezTo>
                  <a:pt x="2759" y="331"/>
                  <a:pt x="2762" y="333"/>
                  <a:pt x="2768" y="334"/>
                </a:cubicBezTo>
                <a:cubicBezTo>
                  <a:pt x="2768" y="334"/>
                  <a:pt x="2768" y="334"/>
                  <a:pt x="2768" y="334"/>
                </a:cubicBezTo>
                <a:cubicBezTo>
                  <a:pt x="2762" y="336"/>
                  <a:pt x="2759" y="338"/>
                  <a:pt x="2759" y="346"/>
                </a:cubicBezTo>
                <a:cubicBezTo>
                  <a:pt x="2759" y="348"/>
                  <a:pt x="2759" y="350"/>
                  <a:pt x="2759" y="352"/>
                </a:cubicBezTo>
                <a:cubicBezTo>
                  <a:pt x="2759" y="353"/>
                  <a:pt x="2760" y="355"/>
                  <a:pt x="2760" y="356"/>
                </a:cubicBezTo>
                <a:cubicBezTo>
                  <a:pt x="2760" y="360"/>
                  <a:pt x="2759" y="362"/>
                  <a:pt x="2755" y="362"/>
                </a:cubicBezTo>
                <a:cubicBezTo>
                  <a:pt x="2755" y="362"/>
                  <a:pt x="2755" y="362"/>
                  <a:pt x="2753" y="362"/>
                </a:cubicBezTo>
                <a:cubicBezTo>
                  <a:pt x="2753" y="362"/>
                  <a:pt x="2753" y="362"/>
                  <a:pt x="2753" y="371"/>
                </a:cubicBezTo>
                <a:cubicBezTo>
                  <a:pt x="2753" y="371"/>
                  <a:pt x="2753" y="371"/>
                  <a:pt x="2757" y="371"/>
                </a:cubicBezTo>
                <a:cubicBezTo>
                  <a:pt x="2766" y="371"/>
                  <a:pt x="2771" y="368"/>
                  <a:pt x="2771" y="359"/>
                </a:cubicBezTo>
                <a:cubicBezTo>
                  <a:pt x="2771" y="356"/>
                  <a:pt x="2771" y="354"/>
                  <a:pt x="2771" y="352"/>
                </a:cubicBezTo>
                <a:cubicBezTo>
                  <a:pt x="2770" y="349"/>
                  <a:pt x="2770" y="347"/>
                  <a:pt x="2770" y="344"/>
                </a:cubicBezTo>
                <a:cubicBezTo>
                  <a:pt x="2770" y="342"/>
                  <a:pt x="2771" y="339"/>
                  <a:pt x="2777" y="339"/>
                </a:cubicBezTo>
                <a:close/>
                <a:moveTo>
                  <a:pt x="2163" y="371"/>
                </a:moveTo>
                <a:cubicBezTo>
                  <a:pt x="2156" y="371"/>
                  <a:pt x="2149" y="368"/>
                  <a:pt x="2145" y="363"/>
                </a:cubicBezTo>
                <a:cubicBezTo>
                  <a:pt x="2141" y="356"/>
                  <a:pt x="2139" y="347"/>
                  <a:pt x="2139" y="335"/>
                </a:cubicBezTo>
                <a:cubicBezTo>
                  <a:pt x="2139" y="321"/>
                  <a:pt x="2141" y="312"/>
                  <a:pt x="2145" y="305"/>
                </a:cubicBezTo>
                <a:cubicBezTo>
                  <a:pt x="2150" y="299"/>
                  <a:pt x="2156" y="295"/>
                  <a:pt x="2165" y="295"/>
                </a:cubicBezTo>
                <a:cubicBezTo>
                  <a:pt x="2182" y="295"/>
                  <a:pt x="2190" y="308"/>
                  <a:pt x="2190" y="333"/>
                </a:cubicBezTo>
                <a:cubicBezTo>
                  <a:pt x="2190" y="346"/>
                  <a:pt x="2187" y="355"/>
                  <a:pt x="2182" y="362"/>
                </a:cubicBezTo>
                <a:cubicBezTo>
                  <a:pt x="2178" y="368"/>
                  <a:pt x="2171" y="371"/>
                  <a:pt x="2163" y="371"/>
                </a:cubicBezTo>
                <a:close/>
                <a:moveTo>
                  <a:pt x="2165" y="305"/>
                </a:moveTo>
                <a:cubicBezTo>
                  <a:pt x="2155" y="305"/>
                  <a:pt x="2151" y="315"/>
                  <a:pt x="2151" y="335"/>
                </a:cubicBezTo>
                <a:cubicBezTo>
                  <a:pt x="2151" y="353"/>
                  <a:pt x="2155" y="362"/>
                  <a:pt x="2164" y="362"/>
                </a:cubicBezTo>
                <a:cubicBezTo>
                  <a:pt x="2173" y="362"/>
                  <a:pt x="2177" y="353"/>
                  <a:pt x="2177" y="334"/>
                </a:cubicBezTo>
                <a:cubicBezTo>
                  <a:pt x="2177" y="314"/>
                  <a:pt x="2173" y="305"/>
                  <a:pt x="2165" y="305"/>
                </a:cubicBezTo>
                <a:close/>
                <a:moveTo>
                  <a:pt x="2233" y="371"/>
                </a:moveTo>
                <a:cubicBezTo>
                  <a:pt x="2226" y="371"/>
                  <a:pt x="2220" y="368"/>
                  <a:pt x="2216" y="363"/>
                </a:cubicBezTo>
                <a:cubicBezTo>
                  <a:pt x="2211" y="356"/>
                  <a:pt x="2209" y="347"/>
                  <a:pt x="2209" y="335"/>
                </a:cubicBezTo>
                <a:cubicBezTo>
                  <a:pt x="2209" y="321"/>
                  <a:pt x="2211" y="312"/>
                  <a:pt x="2216" y="305"/>
                </a:cubicBezTo>
                <a:cubicBezTo>
                  <a:pt x="2220" y="299"/>
                  <a:pt x="2227" y="295"/>
                  <a:pt x="2236" y="295"/>
                </a:cubicBezTo>
                <a:cubicBezTo>
                  <a:pt x="2252" y="295"/>
                  <a:pt x="2260" y="308"/>
                  <a:pt x="2260" y="333"/>
                </a:cubicBezTo>
                <a:cubicBezTo>
                  <a:pt x="2260" y="346"/>
                  <a:pt x="2258" y="355"/>
                  <a:pt x="2253" y="362"/>
                </a:cubicBezTo>
                <a:cubicBezTo>
                  <a:pt x="2248" y="368"/>
                  <a:pt x="2242" y="371"/>
                  <a:pt x="2233" y="371"/>
                </a:cubicBezTo>
                <a:close/>
                <a:moveTo>
                  <a:pt x="2235" y="305"/>
                </a:moveTo>
                <a:cubicBezTo>
                  <a:pt x="2226" y="305"/>
                  <a:pt x="2221" y="315"/>
                  <a:pt x="2221" y="335"/>
                </a:cubicBezTo>
                <a:cubicBezTo>
                  <a:pt x="2221" y="353"/>
                  <a:pt x="2225" y="362"/>
                  <a:pt x="2234" y="362"/>
                </a:cubicBezTo>
                <a:cubicBezTo>
                  <a:pt x="2243" y="362"/>
                  <a:pt x="2247" y="353"/>
                  <a:pt x="2247" y="334"/>
                </a:cubicBezTo>
                <a:cubicBezTo>
                  <a:pt x="2247" y="314"/>
                  <a:pt x="2243" y="305"/>
                  <a:pt x="2235" y="305"/>
                </a:cubicBezTo>
                <a:close/>
                <a:moveTo>
                  <a:pt x="2444" y="371"/>
                </a:moveTo>
                <a:cubicBezTo>
                  <a:pt x="2436" y="371"/>
                  <a:pt x="2430" y="368"/>
                  <a:pt x="2426" y="362"/>
                </a:cubicBezTo>
                <a:cubicBezTo>
                  <a:pt x="2422" y="356"/>
                  <a:pt x="2420" y="346"/>
                  <a:pt x="2420" y="335"/>
                </a:cubicBezTo>
                <a:cubicBezTo>
                  <a:pt x="2420" y="321"/>
                  <a:pt x="2422" y="312"/>
                  <a:pt x="2426" y="305"/>
                </a:cubicBezTo>
                <a:cubicBezTo>
                  <a:pt x="2430" y="298"/>
                  <a:pt x="2437" y="295"/>
                  <a:pt x="2446" y="295"/>
                </a:cubicBezTo>
                <a:cubicBezTo>
                  <a:pt x="2462" y="295"/>
                  <a:pt x="2470" y="308"/>
                  <a:pt x="2470" y="333"/>
                </a:cubicBezTo>
                <a:cubicBezTo>
                  <a:pt x="2470" y="346"/>
                  <a:pt x="2468" y="355"/>
                  <a:pt x="2463" y="362"/>
                </a:cubicBezTo>
                <a:cubicBezTo>
                  <a:pt x="2458" y="368"/>
                  <a:pt x="2452" y="371"/>
                  <a:pt x="2444" y="371"/>
                </a:cubicBezTo>
                <a:close/>
                <a:moveTo>
                  <a:pt x="2445" y="305"/>
                </a:moveTo>
                <a:cubicBezTo>
                  <a:pt x="2436" y="305"/>
                  <a:pt x="2432" y="314"/>
                  <a:pt x="2432" y="334"/>
                </a:cubicBezTo>
                <a:cubicBezTo>
                  <a:pt x="2432" y="352"/>
                  <a:pt x="2436" y="362"/>
                  <a:pt x="2445" y="362"/>
                </a:cubicBezTo>
                <a:cubicBezTo>
                  <a:pt x="2453" y="362"/>
                  <a:pt x="2458" y="352"/>
                  <a:pt x="2458" y="334"/>
                </a:cubicBezTo>
                <a:cubicBezTo>
                  <a:pt x="2458" y="314"/>
                  <a:pt x="2454" y="305"/>
                  <a:pt x="2445" y="305"/>
                </a:cubicBezTo>
                <a:close/>
                <a:moveTo>
                  <a:pt x="2516" y="298"/>
                </a:moveTo>
                <a:cubicBezTo>
                  <a:pt x="2516" y="298"/>
                  <a:pt x="2516" y="298"/>
                  <a:pt x="2516" y="298"/>
                </a:cubicBezTo>
                <a:cubicBezTo>
                  <a:pt x="2511" y="298"/>
                  <a:pt x="2511" y="298"/>
                  <a:pt x="2511" y="298"/>
                </a:cubicBezTo>
                <a:cubicBezTo>
                  <a:pt x="2509" y="299"/>
                  <a:pt x="2507" y="301"/>
                  <a:pt x="2505" y="302"/>
                </a:cubicBezTo>
                <a:cubicBezTo>
                  <a:pt x="2504" y="303"/>
                  <a:pt x="2502" y="304"/>
                  <a:pt x="2500" y="305"/>
                </a:cubicBezTo>
                <a:cubicBezTo>
                  <a:pt x="2499" y="305"/>
                  <a:pt x="2497" y="306"/>
                  <a:pt x="2495" y="307"/>
                </a:cubicBezTo>
                <a:cubicBezTo>
                  <a:pt x="2493" y="307"/>
                  <a:pt x="2492" y="308"/>
                  <a:pt x="2490" y="309"/>
                </a:cubicBezTo>
                <a:cubicBezTo>
                  <a:pt x="2490" y="309"/>
                  <a:pt x="2490" y="309"/>
                  <a:pt x="2490" y="319"/>
                </a:cubicBezTo>
                <a:cubicBezTo>
                  <a:pt x="2492" y="318"/>
                  <a:pt x="2495" y="317"/>
                  <a:pt x="2497" y="316"/>
                </a:cubicBezTo>
                <a:cubicBezTo>
                  <a:pt x="2500" y="315"/>
                  <a:pt x="2502" y="314"/>
                  <a:pt x="2505" y="313"/>
                </a:cubicBezTo>
                <a:cubicBezTo>
                  <a:pt x="2505" y="313"/>
                  <a:pt x="2505" y="313"/>
                  <a:pt x="2505" y="371"/>
                </a:cubicBezTo>
                <a:cubicBezTo>
                  <a:pt x="2505" y="371"/>
                  <a:pt x="2505" y="371"/>
                  <a:pt x="2516" y="371"/>
                </a:cubicBezTo>
                <a:cubicBezTo>
                  <a:pt x="2516" y="371"/>
                  <a:pt x="2516" y="371"/>
                  <a:pt x="2516" y="298"/>
                </a:cubicBezTo>
                <a:close/>
                <a:moveTo>
                  <a:pt x="2307" y="298"/>
                </a:moveTo>
                <a:cubicBezTo>
                  <a:pt x="2307" y="298"/>
                  <a:pt x="2307" y="298"/>
                  <a:pt x="2307" y="298"/>
                </a:cubicBezTo>
                <a:cubicBezTo>
                  <a:pt x="2302" y="298"/>
                  <a:pt x="2302" y="298"/>
                  <a:pt x="2302" y="298"/>
                </a:cubicBezTo>
                <a:cubicBezTo>
                  <a:pt x="2299" y="299"/>
                  <a:pt x="2298" y="301"/>
                  <a:pt x="2296" y="302"/>
                </a:cubicBezTo>
                <a:cubicBezTo>
                  <a:pt x="2294" y="303"/>
                  <a:pt x="2293" y="304"/>
                  <a:pt x="2290" y="305"/>
                </a:cubicBezTo>
                <a:cubicBezTo>
                  <a:pt x="2289" y="306"/>
                  <a:pt x="2287" y="307"/>
                  <a:pt x="2285" y="307"/>
                </a:cubicBezTo>
                <a:cubicBezTo>
                  <a:pt x="2283" y="308"/>
                  <a:pt x="2282" y="309"/>
                  <a:pt x="2279" y="309"/>
                </a:cubicBezTo>
                <a:cubicBezTo>
                  <a:pt x="2279" y="309"/>
                  <a:pt x="2279" y="309"/>
                  <a:pt x="2279" y="319"/>
                </a:cubicBezTo>
                <a:cubicBezTo>
                  <a:pt x="2282" y="318"/>
                  <a:pt x="2285" y="318"/>
                  <a:pt x="2288" y="316"/>
                </a:cubicBezTo>
                <a:cubicBezTo>
                  <a:pt x="2290" y="315"/>
                  <a:pt x="2293" y="314"/>
                  <a:pt x="2295" y="313"/>
                </a:cubicBezTo>
                <a:cubicBezTo>
                  <a:pt x="2295" y="313"/>
                  <a:pt x="2295" y="313"/>
                  <a:pt x="2295" y="371"/>
                </a:cubicBezTo>
                <a:cubicBezTo>
                  <a:pt x="2295" y="371"/>
                  <a:pt x="2295" y="371"/>
                  <a:pt x="2307" y="371"/>
                </a:cubicBezTo>
                <a:cubicBezTo>
                  <a:pt x="2307" y="371"/>
                  <a:pt x="2307" y="371"/>
                  <a:pt x="2307" y="298"/>
                </a:cubicBezTo>
                <a:close/>
                <a:moveTo>
                  <a:pt x="2354" y="298"/>
                </a:moveTo>
                <a:cubicBezTo>
                  <a:pt x="2354" y="298"/>
                  <a:pt x="2354" y="298"/>
                  <a:pt x="2354" y="298"/>
                </a:cubicBezTo>
                <a:cubicBezTo>
                  <a:pt x="2349" y="298"/>
                  <a:pt x="2349" y="298"/>
                  <a:pt x="2349" y="298"/>
                </a:cubicBezTo>
                <a:cubicBezTo>
                  <a:pt x="2346" y="299"/>
                  <a:pt x="2345" y="301"/>
                  <a:pt x="2343" y="302"/>
                </a:cubicBezTo>
                <a:cubicBezTo>
                  <a:pt x="2341" y="303"/>
                  <a:pt x="2339" y="304"/>
                  <a:pt x="2338" y="305"/>
                </a:cubicBezTo>
                <a:cubicBezTo>
                  <a:pt x="2336" y="306"/>
                  <a:pt x="2334" y="307"/>
                  <a:pt x="2332" y="307"/>
                </a:cubicBezTo>
                <a:cubicBezTo>
                  <a:pt x="2330" y="308"/>
                  <a:pt x="2329" y="309"/>
                  <a:pt x="2326" y="309"/>
                </a:cubicBezTo>
                <a:cubicBezTo>
                  <a:pt x="2326" y="309"/>
                  <a:pt x="2326" y="309"/>
                  <a:pt x="2326" y="319"/>
                </a:cubicBezTo>
                <a:cubicBezTo>
                  <a:pt x="2329" y="318"/>
                  <a:pt x="2332" y="318"/>
                  <a:pt x="2335" y="316"/>
                </a:cubicBezTo>
                <a:cubicBezTo>
                  <a:pt x="2338" y="315"/>
                  <a:pt x="2340" y="314"/>
                  <a:pt x="2342" y="313"/>
                </a:cubicBezTo>
                <a:cubicBezTo>
                  <a:pt x="2342" y="313"/>
                  <a:pt x="2342" y="313"/>
                  <a:pt x="2342" y="371"/>
                </a:cubicBezTo>
                <a:cubicBezTo>
                  <a:pt x="2342" y="371"/>
                  <a:pt x="2342" y="371"/>
                  <a:pt x="2354" y="371"/>
                </a:cubicBezTo>
                <a:cubicBezTo>
                  <a:pt x="2354" y="371"/>
                  <a:pt x="2354" y="371"/>
                  <a:pt x="2354" y="298"/>
                </a:cubicBezTo>
                <a:close/>
                <a:moveTo>
                  <a:pt x="2399" y="298"/>
                </a:moveTo>
                <a:cubicBezTo>
                  <a:pt x="2399" y="298"/>
                  <a:pt x="2399" y="298"/>
                  <a:pt x="2399" y="298"/>
                </a:cubicBezTo>
                <a:cubicBezTo>
                  <a:pt x="2395" y="298"/>
                  <a:pt x="2395" y="298"/>
                  <a:pt x="2395" y="298"/>
                </a:cubicBezTo>
                <a:cubicBezTo>
                  <a:pt x="2393" y="299"/>
                  <a:pt x="2391" y="301"/>
                  <a:pt x="2389" y="302"/>
                </a:cubicBezTo>
                <a:cubicBezTo>
                  <a:pt x="2388" y="303"/>
                  <a:pt x="2386" y="304"/>
                  <a:pt x="2384" y="305"/>
                </a:cubicBezTo>
                <a:cubicBezTo>
                  <a:pt x="2382" y="305"/>
                  <a:pt x="2381" y="306"/>
                  <a:pt x="2378" y="307"/>
                </a:cubicBezTo>
                <a:cubicBezTo>
                  <a:pt x="2377" y="307"/>
                  <a:pt x="2375" y="308"/>
                  <a:pt x="2373" y="309"/>
                </a:cubicBezTo>
                <a:cubicBezTo>
                  <a:pt x="2373" y="309"/>
                  <a:pt x="2373" y="309"/>
                  <a:pt x="2373" y="319"/>
                </a:cubicBezTo>
                <a:cubicBezTo>
                  <a:pt x="2376" y="318"/>
                  <a:pt x="2379" y="317"/>
                  <a:pt x="2381" y="316"/>
                </a:cubicBezTo>
                <a:cubicBezTo>
                  <a:pt x="2384" y="315"/>
                  <a:pt x="2386" y="314"/>
                  <a:pt x="2388" y="313"/>
                </a:cubicBezTo>
                <a:cubicBezTo>
                  <a:pt x="2388" y="313"/>
                  <a:pt x="2388" y="313"/>
                  <a:pt x="2388" y="371"/>
                </a:cubicBezTo>
                <a:cubicBezTo>
                  <a:pt x="2388" y="371"/>
                  <a:pt x="2388" y="371"/>
                  <a:pt x="2399" y="371"/>
                </a:cubicBezTo>
                <a:cubicBezTo>
                  <a:pt x="2399" y="371"/>
                  <a:pt x="2399" y="371"/>
                  <a:pt x="2399" y="298"/>
                </a:cubicBezTo>
                <a:close/>
                <a:moveTo>
                  <a:pt x="1965" y="371"/>
                </a:moveTo>
                <a:cubicBezTo>
                  <a:pt x="1958" y="371"/>
                  <a:pt x="1951" y="368"/>
                  <a:pt x="1948" y="363"/>
                </a:cubicBezTo>
                <a:cubicBezTo>
                  <a:pt x="1943" y="356"/>
                  <a:pt x="1941" y="347"/>
                  <a:pt x="1941" y="335"/>
                </a:cubicBezTo>
                <a:cubicBezTo>
                  <a:pt x="1941" y="321"/>
                  <a:pt x="1943" y="312"/>
                  <a:pt x="1948" y="305"/>
                </a:cubicBezTo>
                <a:cubicBezTo>
                  <a:pt x="1952" y="299"/>
                  <a:pt x="1959" y="295"/>
                  <a:pt x="1967" y="295"/>
                </a:cubicBezTo>
                <a:cubicBezTo>
                  <a:pt x="1983" y="295"/>
                  <a:pt x="1991" y="308"/>
                  <a:pt x="1991" y="333"/>
                </a:cubicBezTo>
                <a:cubicBezTo>
                  <a:pt x="1991" y="346"/>
                  <a:pt x="1989" y="355"/>
                  <a:pt x="1985" y="362"/>
                </a:cubicBezTo>
                <a:cubicBezTo>
                  <a:pt x="1980" y="368"/>
                  <a:pt x="1974" y="371"/>
                  <a:pt x="1965" y="371"/>
                </a:cubicBezTo>
                <a:close/>
                <a:moveTo>
                  <a:pt x="1967" y="305"/>
                </a:moveTo>
                <a:cubicBezTo>
                  <a:pt x="1958" y="305"/>
                  <a:pt x="1953" y="315"/>
                  <a:pt x="1953" y="335"/>
                </a:cubicBezTo>
                <a:cubicBezTo>
                  <a:pt x="1953" y="353"/>
                  <a:pt x="1957" y="362"/>
                  <a:pt x="1966" y="362"/>
                </a:cubicBezTo>
                <a:cubicBezTo>
                  <a:pt x="1975" y="362"/>
                  <a:pt x="1979" y="353"/>
                  <a:pt x="1979" y="334"/>
                </a:cubicBezTo>
                <a:cubicBezTo>
                  <a:pt x="1979" y="314"/>
                  <a:pt x="1975" y="305"/>
                  <a:pt x="1967" y="305"/>
                </a:cubicBezTo>
                <a:close/>
                <a:moveTo>
                  <a:pt x="2026" y="298"/>
                </a:moveTo>
                <a:cubicBezTo>
                  <a:pt x="2026" y="298"/>
                  <a:pt x="2026" y="298"/>
                  <a:pt x="2026" y="298"/>
                </a:cubicBezTo>
                <a:cubicBezTo>
                  <a:pt x="2021" y="298"/>
                  <a:pt x="2021" y="298"/>
                  <a:pt x="2021" y="298"/>
                </a:cubicBezTo>
                <a:cubicBezTo>
                  <a:pt x="2019" y="299"/>
                  <a:pt x="2018" y="301"/>
                  <a:pt x="2015" y="302"/>
                </a:cubicBezTo>
                <a:cubicBezTo>
                  <a:pt x="2014" y="303"/>
                  <a:pt x="2012" y="304"/>
                  <a:pt x="2010" y="305"/>
                </a:cubicBezTo>
                <a:cubicBezTo>
                  <a:pt x="2009" y="306"/>
                  <a:pt x="2006" y="307"/>
                  <a:pt x="2005" y="307"/>
                </a:cubicBezTo>
                <a:cubicBezTo>
                  <a:pt x="2003" y="308"/>
                  <a:pt x="2001" y="309"/>
                  <a:pt x="1999" y="309"/>
                </a:cubicBezTo>
                <a:cubicBezTo>
                  <a:pt x="1999" y="309"/>
                  <a:pt x="1999" y="309"/>
                  <a:pt x="1999" y="319"/>
                </a:cubicBezTo>
                <a:cubicBezTo>
                  <a:pt x="2002" y="318"/>
                  <a:pt x="2005" y="318"/>
                  <a:pt x="2008" y="316"/>
                </a:cubicBezTo>
                <a:cubicBezTo>
                  <a:pt x="2010" y="315"/>
                  <a:pt x="2012" y="314"/>
                  <a:pt x="2015" y="313"/>
                </a:cubicBezTo>
                <a:cubicBezTo>
                  <a:pt x="2015" y="313"/>
                  <a:pt x="2015" y="313"/>
                  <a:pt x="2015" y="371"/>
                </a:cubicBezTo>
                <a:cubicBezTo>
                  <a:pt x="2015" y="371"/>
                  <a:pt x="2015" y="371"/>
                  <a:pt x="2026" y="371"/>
                </a:cubicBezTo>
                <a:cubicBezTo>
                  <a:pt x="2026" y="371"/>
                  <a:pt x="2026" y="371"/>
                  <a:pt x="2026" y="298"/>
                </a:cubicBezTo>
                <a:close/>
                <a:moveTo>
                  <a:pt x="2073" y="298"/>
                </a:moveTo>
                <a:cubicBezTo>
                  <a:pt x="2073" y="298"/>
                  <a:pt x="2073" y="298"/>
                  <a:pt x="2073" y="298"/>
                </a:cubicBezTo>
                <a:cubicBezTo>
                  <a:pt x="2068" y="298"/>
                  <a:pt x="2068" y="298"/>
                  <a:pt x="2068" y="298"/>
                </a:cubicBezTo>
                <a:cubicBezTo>
                  <a:pt x="2066" y="299"/>
                  <a:pt x="2065" y="301"/>
                  <a:pt x="2062" y="302"/>
                </a:cubicBezTo>
                <a:cubicBezTo>
                  <a:pt x="2061" y="303"/>
                  <a:pt x="2059" y="304"/>
                  <a:pt x="2057" y="305"/>
                </a:cubicBezTo>
                <a:cubicBezTo>
                  <a:pt x="2056" y="306"/>
                  <a:pt x="2053" y="307"/>
                  <a:pt x="2052" y="307"/>
                </a:cubicBezTo>
                <a:cubicBezTo>
                  <a:pt x="2050" y="308"/>
                  <a:pt x="2048" y="309"/>
                  <a:pt x="2046" y="309"/>
                </a:cubicBezTo>
                <a:cubicBezTo>
                  <a:pt x="2046" y="309"/>
                  <a:pt x="2046" y="309"/>
                  <a:pt x="2046" y="319"/>
                </a:cubicBezTo>
                <a:cubicBezTo>
                  <a:pt x="2049" y="318"/>
                  <a:pt x="2052" y="318"/>
                  <a:pt x="2054" y="316"/>
                </a:cubicBezTo>
                <a:cubicBezTo>
                  <a:pt x="2057" y="315"/>
                  <a:pt x="2059" y="314"/>
                  <a:pt x="2062" y="313"/>
                </a:cubicBezTo>
                <a:cubicBezTo>
                  <a:pt x="2062" y="313"/>
                  <a:pt x="2062" y="313"/>
                  <a:pt x="2062" y="371"/>
                </a:cubicBezTo>
                <a:cubicBezTo>
                  <a:pt x="2062" y="371"/>
                  <a:pt x="2062" y="371"/>
                  <a:pt x="2073" y="371"/>
                </a:cubicBezTo>
                <a:cubicBezTo>
                  <a:pt x="2073" y="371"/>
                  <a:pt x="2073" y="371"/>
                  <a:pt x="2073" y="298"/>
                </a:cubicBezTo>
                <a:close/>
                <a:moveTo>
                  <a:pt x="2119" y="298"/>
                </a:moveTo>
                <a:cubicBezTo>
                  <a:pt x="2119" y="298"/>
                  <a:pt x="2119" y="298"/>
                  <a:pt x="2119" y="298"/>
                </a:cubicBezTo>
                <a:cubicBezTo>
                  <a:pt x="2115" y="298"/>
                  <a:pt x="2115" y="298"/>
                  <a:pt x="2115" y="298"/>
                </a:cubicBezTo>
                <a:cubicBezTo>
                  <a:pt x="2113" y="299"/>
                  <a:pt x="2111" y="301"/>
                  <a:pt x="2109" y="302"/>
                </a:cubicBezTo>
                <a:cubicBezTo>
                  <a:pt x="2108" y="303"/>
                  <a:pt x="2105" y="304"/>
                  <a:pt x="2104" y="305"/>
                </a:cubicBezTo>
                <a:cubicBezTo>
                  <a:pt x="2102" y="305"/>
                  <a:pt x="2100" y="306"/>
                  <a:pt x="2098" y="307"/>
                </a:cubicBezTo>
                <a:cubicBezTo>
                  <a:pt x="2097" y="307"/>
                  <a:pt x="2095" y="308"/>
                  <a:pt x="2093" y="309"/>
                </a:cubicBezTo>
                <a:cubicBezTo>
                  <a:pt x="2093" y="309"/>
                  <a:pt x="2093" y="309"/>
                  <a:pt x="2093" y="319"/>
                </a:cubicBezTo>
                <a:cubicBezTo>
                  <a:pt x="2096" y="318"/>
                  <a:pt x="2099" y="317"/>
                  <a:pt x="2101" y="316"/>
                </a:cubicBezTo>
                <a:cubicBezTo>
                  <a:pt x="2103" y="315"/>
                  <a:pt x="2106" y="314"/>
                  <a:pt x="2108" y="313"/>
                </a:cubicBezTo>
                <a:cubicBezTo>
                  <a:pt x="2108" y="313"/>
                  <a:pt x="2108" y="313"/>
                  <a:pt x="2108" y="371"/>
                </a:cubicBezTo>
                <a:cubicBezTo>
                  <a:pt x="2108" y="371"/>
                  <a:pt x="2108" y="371"/>
                  <a:pt x="2119" y="371"/>
                </a:cubicBezTo>
                <a:cubicBezTo>
                  <a:pt x="2119" y="371"/>
                  <a:pt x="2119" y="371"/>
                  <a:pt x="2119" y="298"/>
                </a:cubicBezTo>
                <a:close/>
                <a:moveTo>
                  <a:pt x="1978" y="597"/>
                </a:moveTo>
                <a:cubicBezTo>
                  <a:pt x="1978" y="597"/>
                  <a:pt x="1978" y="597"/>
                  <a:pt x="1978" y="597"/>
                </a:cubicBezTo>
                <a:cubicBezTo>
                  <a:pt x="1973" y="597"/>
                  <a:pt x="1973" y="597"/>
                  <a:pt x="1973" y="597"/>
                </a:cubicBezTo>
                <a:cubicBezTo>
                  <a:pt x="1971" y="598"/>
                  <a:pt x="1969" y="599"/>
                  <a:pt x="1967" y="600"/>
                </a:cubicBezTo>
                <a:cubicBezTo>
                  <a:pt x="1966" y="602"/>
                  <a:pt x="1963" y="602"/>
                  <a:pt x="1962" y="603"/>
                </a:cubicBezTo>
                <a:cubicBezTo>
                  <a:pt x="1960" y="605"/>
                  <a:pt x="1958" y="605"/>
                  <a:pt x="1957" y="606"/>
                </a:cubicBezTo>
                <a:cubicBezTo>
                  <a:pt x="1955" y="607"/>
                  <a:pt x="1953" y="607"/>
                  <a:pt x="1951" y="607"/>
                </a:cubicBezTo>
                <a:cubicBezTo>
                  <a:pt x="1951" y="607"/>
                  <a:pt x="1951" y="607"/>
                  <a:pt x="1951" y="618"/>
                </a:cubicBezTo>
                <a:cubicBezTo>
                  <a:pt x="1954" y="617"/>
                  <a:pt x="1957" y="616"/>
                  <a:pt x="1959" y="615"/>
                </a:cubicBezTo>
                <a:cubicBezTo>
                  <a:pt x="1962" y="614"/>
                  <a:pt x="1964" y="613"/>
                  <a:pt x="1966" y="611"/>
                </a:cubicBezTo>
                <a:cubicBezTo>
                  <a:pt x="1966" y="611"/>
                  <a:pt x="1966" y="611"/>
                  <a:pt x="1966" y="670"/>
                </a:cubicBezTo>
                <a:cubicBezTo>
                  <a:pt x="1966" y="670"/>
                  <a:pt x="1966" y="670"/>
                  <a:pt x="1978" y="670"/>
                </a:cubicBezTo>
                <a:cubicBezTo>
                  <a:pt x="1978" y="670"/>
                  <a:pt x="1978" y="670"/>
                  <a:pt x="1978" y="597"/>
                </a:cubicBezTo>
                <a:close/>
                <a:moveTo>
                  <a:pt x="1978" y="492"/>
                </a:moveTo>
                <a:cubicBezTo>
                  <a:pt x="1978" y="492"/>
                  <a:pt x="1978" y="492"/>
                  <a:pt x="1978" y="492"/>
                </a:cubicBezTo>
                <a:cubicBezTo>
                  <a:pt x="1974" y="492"/>
                  <a:pt x="1974" y="492"/>
                  <a:pt x="1974" y="492"/>
                </a:cubicBezTo>
                <a:cubicBezTo>
                  <a:pt x="1972" y="494"/>
                  <a:pt x="1970" y="495"/>
                  <a:pt x="1968" y="496"/>
                </a:cubicBezTo>
                <a:cubicBezTo>
                  <a:pt x="1967" y="497"/>
                  <a:pt x="1965" y="498"/>
                  <a:pt x="1963" y="499"/>
                </a:cubicBezTo>
                <a:cubicBezTo>
                  <a:pt x="1961" y="500"/>
                  <a:pt x="1960" y="500"/>
                  <a:pt x="1958" y="501"/>
                </a:cubicBezTo>
                <a:cubicBezTo>
                  <a:pt x="1956" y="502"/>
                  <a:pt x="1954" y="503"/>
                  <a:pt x="1952" y="503"/>
                </a:cubicBezTo>
                <a:cubicBezTo>
                  <a:pt x="1952" y="503"/>
                  <a:pt x="1952" y="503"/>
                  <a:pt x="1952" y="513"/>
                </a:cubicBezTo>
                <a:cubicBezTo>
                  <a:pt x="1955" y="513"/>
                  <a:pt x="1958" y="511"/>
                  <a:pt x="1960" y="511"/>
                </a:cubicBezTo>
                <a:cubicBezTo>
                  <a:pt x="1963" y="510"/>
                  <a:pt x="1965" y="508"/>
                  <a:pt x="1967" y="507"/>
                </a:cubicBezTo>
                <a:cubicBezTo>
                  <a:pt x="1967" y="507"/>
                  <a:pt x="1967" y="507"/>
                  <a:pt x="1967" y="566"/>
                </a:cubicBezTo>
                <a:cubicBezTo>
                  <a:pt x="1967" y="566"/>
                  <a:pt x="1967" y="566"/>
                  <a:pt x="1978" y="566"/>
                </a:cubicBezTo>
                <a:cubicBezTo>
                  <a:pt x="1978" y="566"/>
                  <a:pt x="1978" y="566"/>
                  <a:pt x="1978" y="492"/>
                </a:cubicBezTo>
                <a:close/>
                <a:moveTo>
                  <a:pt x="2922" y="281"/>
                </a:moveTo>
                <a:cubicBezTo>
                  <a:pt x="2915" y="281"/>
                  <a:pt x="2908" y="278"/>
                  <a:pt x="2904" y="272"/>
                </a:cubicBezTo>
                <a:cubicBezTo>
                  <a:pt x="2900" y="265"/>
                  <a:pt x="2898" y="257"/>
                  <a:pt x="2898" y="244"/>
                </a:cubicBezTo>
                <a:cubicBezTo>
                  <a:pt x="2898" y="231"/>
                  <a:pt x="2900" y="222"/>
                  <a:pt x="2905" y="215"/>
                </a:cubicBezTo>
                <a:cubicBezTo>
                  <a:pt x="2909" y="208"/>
                  <a:pt x="2916" y="205"/>
                  <a:pt x="2924" y="205"/>
                </a:cubicBezTo>
                <a:cubicBezTo>
                  <a:pt x="2940" y="205"/>
                  <a:pt x="2948" y="217"/>
                  <a:pt x="2948" y="243"/>
                </a:cubicBezTo>
                <a:cubicBezTo>
                  <a:pt x="2948" y="255"/>
                  <a:pt x="2946" y="265"/>
                  <a:pt x="2941" y="271"/>
                </a:cubicBezTo>
                <a:cubicBezTo>
                  <a:pt x="2937" y="278"/>
                  <a:pt x="2930" y="281"/>
                  <a:pt x="2922" y="281"/>
                </a:cubicBezTo>
                <a:close/>
                <a:moveTo>
                  <a:pt x="2924" y="214"/>
                </a:moveTo>
                <a:cubicBezTo>
                  <a:pt x="2914" y="214"/>
                  <a:pt x="2910" y="225"/>
                  <a:pt x="2910" y="244"/>
                </a:cubicBezTo>
                <a:cubicBezTo>
                  <a:pt x="2910" y="262"/>
                  <a:pt x="2914" y="271"/>
                  <a:pt x="2923" y="271"/>
                </a:cubicBezTo>
                <a:cubicBezTo>
                  <a:pt x="2932" y="271"/>
                  <a:pt x="2936" y="262"/>
                  <a:pt x="2936" y="243"/>
                </a:cubicBezTo>
                <a:cubicBezTo>
                  <a:pt x="2936" y="224"/>
                  <a:pt x="2932" y="214"/>
                  <a:pt x="2924" y="214"/>
                </a:cubicBezTo>
                <a:close/>
                <a:moveTo>
                  <a:pt x="2996" y="207"/>
                </a:moveTo>
                <a:cubicBezTo>
                  <a:pt x="2996" y="207"/>
                  <a:pt x="2996" y="207"/>
                  <a:pt x="2996" y="207"/>
                </a:cubicBezTo>
                <a:cubicBezTo>
                  <a:pt x="2991" y="207"/>
                  <a:pt x="2991" y="207"/>
                  <a:pt x="2991" y="207"/>
                </a:cubicBezTo>
                <a:cubicBezTo>
                  <a:pt x="2989" y="209"/>
                  <a:pt x="2987" y="210"/>
                  <a:pt x="2985" y="211"/>
                </a:cubicBezTo>
                <a:cubicBezTo>
                  <a:pt x="2984" y="212"/>
                  <a:pt x="2981" y="213"/>
                  <a:pt x="2980" y="214"/>
                </a:cubicBezTo>
                <a:cubicBezTo>
                  <a:pt x="2978" y="215"/>
                  <a:pt x="2976" y="215"/>
                  <a:pt x="2975" y="216"/>
                </a:cubicBezTo>
                <a:cubicBezTo>
                  <a:pt x="2973" y="217"/>
                  <a:pt x="2971" y="217"/>
                  <a:pt x="2969" y="218"/>
                </a:cubicBezTo>
                <a:cubicBezTo>
                  <a:pt x="2969" y="218"/>
                  <a:pt x="2969" y="218"/>
                  <a:pt x="2969" y="228"/>
                </a:cubicBezTo>
                <a:cubicBezTo>
                  <a:pt x="2972" y="228"/>
                  <a:pt x="2975" y="226"/>
                  <a:pt x="2977" y="225"/>
                </a:cubicBezTo>
                <a:cubicBezTo>
                  <a:pt x="2980" y="225"/>
                  <a:pt x="2982" y="223"/>
                  <a:pt x="2984" y="222"/>
                </a:cubicBezTo>
                <a:cubicBezTo>
                  <a:pt x="2984" y="222"/>
                  <a:pt x="2984" y="222"/>
                  <a:pt x="2984" y="281"/>
                </a:cubicBezTo>
                <a:cubicBezTo>
                  <a:pt x="2984" y="281"/>
                  <a:pt x="2984" y="281"/>
                  <a:pt x="2996" y="281"/>
                </a:cubicBezTo>
                <a:cubicBezTo>
                  <a:pt x="2996" y="281"/>
                  <a:pt x="2996" y="281"/>
                  <a:pt x="2996" y="207"/>
                </a:cubicBezTo>
                <a:close/>
                <a:moveTo>
                  <a:pt x="3043" y="207"/>
                </a:moveTo>
                <a:cubicBezTo>
                  <a:pt x="3043" y="207"/>
                  <a:pt x="3043" y="207"/>
                  <a:pt x="3043" y="207"/>
                </a:cubicBezTo>
                <a:cubicBezTo>
                  <a:pt x="3038" y="207"/>
                  <a:pt x="3038" y="207"/>
                  <a:pt x="3038" y="207"/>
                </a:cubicBezTo>
                <a:cubicBezTo>
                  <a:pt x="3036" y="209"/>
                  <a:pt x="3034" y="210"/>
                  <a:pt x="3032" y="211"/>
                </a:cubicBezTo>
                <a:cubicBezTo>
                  <a:pt x="3031" y="212"/>
                  <a:pt x="3029" y="213"/>
                  <a:pt x="3027" y="214"/>
                </a:cubicBezTo>
                <a:cubicBezTo>
                  <a:pt x="3026" y="215"/>
                  <a:pt x="3024" y="216"/>
                  <a:pt x="3022" y="217"/>
                </a:cubicBezTo>
                <a:cubicBezTo>
                  <a:pt x="3020" y="217"/>
                  <a:pt x="3019" y="218"/>
                  <a:pt x="3017" y="218"/>
                </a:cubicBezTo>
                <a:cubicBezTo>
                  <a:pt x="3017" y="218"/>
                  <a:pt x="3017" y="218"/>
                  <a:pt x="3017" y="228"/>
                </a:cubicBezTo>
                <a:cubicBezTo>
                  <a:pt x="3020" y="228"/>
                  <a:pt x="3022" y="227"/>
                  <a:pt x="3025" y="225"/>
                </a:cubicBezTo>
                <a:cubicBezTo>
                  <a:pt x="3027" y="225"/>
                  <a:pt x="3029" y="223"/>
                  <a:pt x="3032" y="222"/>
                </a:cubicBezTo>
                <a:cubicBezTo>
                  <a:pt x="3032" y="222"/>
                  <a:pt x="3032" y="222"/>
                  <a:pt x="3032" y="281"/>
                </a:cubicBezTo>
                <a:cubicBezTo>
                  <a:pt x="3032" y="281"/>
                  <a:pt x="3032" y="281"/>
                  <a:pt x="3043" y="281"/>
                </a:cubicBezTo>
                <a:cubicBezTo>
                  <a:pt x="3043" y="281"/>
                  <a:pt x="3043" y="281"/>
                  <a:pt x="3043" y="207"/>
                </a:cubicBezTo>
                <a:close/>
                <a:moveTo>
                  <a:pt x="3090" y="207"/>
                </a:moveTo>
                <a:cubicBezTo>
                  <a:pt x="3090" y="207"/>
                  <a:pt x="3090" y="207"/>
                  <a:pt x="3090" y="207"/>
                </a:cubicBezTo>
                <a:cubicBezTo>
                  <a:pt x="3085" y="207"/>
                  <a:pt x="3085" y="207"/>
                  <a:pt x="3085" y="207"/>
                </a:cubicBezTo>
                <a:cubicBezTo>
                  <a:pt x="3083" y="209"/>
                  <a:pt x="3082" y="210"/>
                  <a:pt x="3080" y="211"/>
                </a:cubicBezTo>
                <a:cubicBezTo>
                  <a:pt x="3078" y="212"/>
                  <a:pt x="3076" y="213"/>
                  <a:pt x="3074" y="214"/>
                </a:cubicBezTo>
                <a:cubicBezTo>
                  <a:pt x="3072" y="215"/>
                  <a:pt x="3071" y="216"/>
                  <a:pt x="3069" y="217"/>
                </a:cubicBezTo>
                <a:cubicBezTo>
                  <a:pt x="3067" y="217"/>
                  <a:pt x="3065" y="218"/>
                  <a:pt x="3064" y="218"/>
                </a:cubicBezTo>
                <a:cubicBezTo>
                  <a:pt x="3064" y="218"/>
                  <a:pt x="3064" y="218"/>
                  <a:pt x="3064" y="228"/>
                </a:cubicBezTo>
                <a:cubicBezTo>
                  <a:pt x="3067" y="228"/>
                  <a:pt x="3069" y="227"/>
                  <a:pt x="3072" y="225"/>
                </a:cubicBezTo>
                <a:cubicBezTo>
                  <a:pt x="3074" y="225"/>
                  <a:pt x="3077" y="223"/>
                  <a:pt x="3078" y="222"/>
                </a:cubicBezTo>
                <a:cubicBezTo>
                  <a:pt x="3078" y="222"/>
                  <a:pt x="3078" y="222"/>
                  <a:pt x="3078" y="281"/>
                </a:cubicBezTo>
                <a:cubicBezTo>
                  <a:pt x="3078" y="281"/>
                  <a:pt x="3078" y="281"/>
                  <a:pt x="3090" y="281"/>
                </a:cubicBezTo>
                <a:cubicBezTo>
                  <a:pt x="3090" y="281"/>
                  <a:pt x="3090" y="281"/>
                  <a:pt x="3090" y="207"/>
                </a:cubicBezTo>
                <a:close/>
                <a:moveTo>
                  <a:pt x="3137" y="207"/>
                </a:moveTo>
                <a:cubicBezTo>
                  <a:pt x="3137" y="207"/>
                  <a:pt x="3137" y="207"/>
                  <a:pt x="3137" y="207"/>
                </a:cubicBezTo>
                <a:cubicBezTo>
                  <a:pt x="3132" y="207"/>
                  <a:pt x="3132" y="207"/>
                  <a:pt x="3132" y="207"/>
                </a:cubicBezTo>
                <a:cubicBezTo>
                  <a:pt x="3130" y="209"/>
                  <a:pt x="3128" y="210"/>
                  <a:pt x="3126" y="211"/>
                </a:cubicBezTo>
                <a:cubicBezTo>
                  <a:pt x="3125" y="212"/>
                  <a:pt x="3123" y="213"/>
                  <a:pt x="3121" y="214"/>
                </a:cubicBezTo>
                <a:cubicBezTo>
                  <a:pt x="3120" y="215"/>
                  <a:pt x="3118" y="216"/>
                  <a:pt x="3116" y="217"/>
                </a:cubicBezTo>
                <a:cubicBezTo>
                  <a:pt x="3114" y="217"/>
                  <a:pt x="3112" y="218"/>
                  <a:pt x="3110" y="218"/>
                </a:cubicBezTo>
                <a:cubicBezTo>
                  <a:pt x="3110" y="218"/>
                  <a:pt x="3110" y="218"/>
                  <a:pt x="3110" y="228"/>
                </a:cubicBezTo>
                <a:cubicBezTo>
                  <a:pt x="3113" y="228"/>
                  <a:pt x="3116" y="227"/>
                  <a:pt x="3118" y="225"/>
                </a:cubicBezTo>
                <a:cubicBezTo>
                  <a:pt x="3121" y="225"/>
                  <a:pt x="3123" y="223"/>
                  <a:pt x="3126" y="222"/>
                </a:cubicBezTo>
                <a:cubicBezTo>
                  <a:pt x="3126" y="222"/>
                  <a:pt x="3126" y="222"/>
                  <a:pt x="3126" y="281"/>
                </a:cubicBezTo>
                <a:cubicBezTo>
                  <a:pt x="3126" y="281"/>
                  <a:pt x="3126" y="281"/>
                  <a:pt x="3137" y="281"/>
                </a:cubicBezTo>
                <a:cubicBezTo>
                  <a:pt x="3137" y="281"/>
                  <a:pt x="3137" y="281"/>
                  <a:pt x="3137" y="207"/>
                </a:cubicBezTo>
                <a:close/>
                <a:moveTo>
                  <a:pt x="3260" y="207"/>
                </a:moveTo>
                <a:cubicBezTo>
                  <a:pt x="3260" y="207"/>
                  <a:pt x="3260" y="207"/>
                  <a:pt x="3260" y="207"/>
                </a:cubicBezTo>
                <a:cubicBezTo>
                  <a:pt x="3255" y="207"/>
                  <a:pt x="3255" y="207"/>
                  <a:pt x="3255" y="207"/>
                </a:cubicBezTo>
                <a:cubicBezTo>
                  <a:pt x="3253" y="209"/>
                  <a:pt x="3252" y="210"/>
                  <a:pt x="3250" y="211"/>
                </a:cubicBezTo>
                <a:cubicBezTo>
                  <a:pt x="3248" y="212"/>
                  <a:pt x="3247" y="213"/>
                  <a:pt x="3245" y="214"/>
                </a:cubicBezTo>
                <a:cubicBezTo>
                  <a:pt x="3243" y="215"/>
                  <a:pt x="3241" y="216"/>
                  <a:pt x="3239" y="217"/>
                </a:cubicBezTo>
                <a:cubicBezTo>
                  <a:pt x="3237" y="217"/>
                  <a:pt x="3236" y="218"/>
                  <a:pt x="3234" y="218"/>
                </a:cubicBezTo>
                <a:cubicBezTo>
                  <a:pt x="3234" y="218"/>
                  <a:pt x="3234" y="218"/>
                  <a:pt x="3234" y="228"/>
                </a:cubicBezTo>
                <a:cubicBezTo>
                  <a:pt x="3237" y="228"/>
                  <a:pt x="3239" y="227"/>
                  <a:pt x="3242" y="225"/>
                </a:cubicBezTo>
                <a:cubicBezTo>
                  <a:pt x="3245" y="225"/>
                  <a:pt x="3247" y="223"/>
                  <a:pt x="3249" y="222"/>
                </a:cubicBezTo>
                <a:cubicBezTo>
                  <a:pt x="3249" y="222"/>
                  <a:pt x="3249" y="222"/>
                  <a:pt x="3249" y="281"/>
                </a:cubicBezTo>
                <a:cubicBezTo>
                  <a:pt x="3249" y="281"/>
                  <a:pt x="3249" y="281"/>
                  <a:pt x="3260" y="281"/>
                </a:cubicBezTo>
                <a:cubicBezTo>
                  <a:pt x="3260" y="281"/>
                  <a:pt x="3260" y="281"/>
                  <a:pt x="3260" y="207"/>
                </a:cubicBezTo>
                <a:close/>
                <a:moveTo>
                  <a:pt x="3308" y="207"/>
                </a:moveTo>
                <a:cubicBezTo>
                  <a:pt x="3308" y="207"/>
                  <a:pt x="3308" y="207"/>
                  <a:pt x="3308" y="207"/>
                </a:cubicBezTo>
                <a:cubicBezTo>
                  <a:pt x="3303" y="207"/>
                  <a:pt x="3303" y="207"/>
                  <a:pt x="3303" y="207"/>
                </a:cubicBezTo>
                <a:cubicBezTo>
                  <a:pt x="3301" y="209"/>
                  <a:pt x="3299" y="210"/>
                  <a:pt x="3297" y="211"/>
                </a:cubicBezTo>
                <a:cubicBezTo>
                  <a:pt x="3296" y="212"/>
                  <a:pt x="3293" y="213"/>
                  <a:pt x="3292" y="214"/>
                </a:cubicBezTo>
                <a:cubicBezTo>
                  <a:pt x="3291" y="215"/>
                  <a:pt x="3288" y="216"/>
                  <a:pt x="3287" y="217"/>
                </a:cubicBezTo>
                <a:cubicBezTo>
                  <a:pt x="3285" y="217"/>
                  <a:pt x="3283" y="218"/>
                  <a:pt x="3281" y="218"/>
                </a:cubicBezTo>
                <a:cubicBezTo>
                  <a:pt x="3281" y="218"/>
                  <a:pt x="3281" y="218"/>
                  <a:pt x="3281" y="228"/>
                </a:cubicBezTo>
                <a:cubicBezTo>
                  <a:pt x="3284" y="228"/>
                  <a:pt x="3287" y="227"/>
                  <a:pt x="3289" y="225"/>
                </a:cubicBezTo>
                <a:cubicBezTo>
                  <a:pt x="3292" y="225"/>
                  <a:pt x="3294" y="223"/>
                  <a:pt x="3296" y="222"/>
                </a:cubicBezTo>
                <a:cubicBezTo>
                  <a:pt x="3296" y="222"/>
                  <a:pt x="3296" y="222"/>
                  <a:pt x="3296" y="281"/>
                </a:cubicBezTo>
                <a:cubicBezTo>
                  <a:pt x="3296" y="281"/>
                  <a:pt x="3296" y="281"/>
                  <a:pt x="3308" y="281"/>
                </a:cubicBezTo>
                <a:cubicBezTo>
                  <a:pt x="3308" y="281"/>
                  <a:pt x="3308" y="281"/>
                  <a:pt x="3308" y="207"/>
                </a:cubicBezTo>
                <a:close/>
                <a:moveTo>
                  <a:pt x="3356" y="207"/>
                </a:moveTo>
                <a:cubicBezTo>
                  <a:pt x="3356" y="207"/>
                  <a:pt x="3356" y="207"/>
                  <a:pt x="3356" y="207"/>
                </a:cubicBezTo>
                <a:cubicBezTo>
                  <a:pt x="3350" y="207"/>
                  <a:pt x="3350" y="207"/>
                  <a:pt x="3350" y="207"/>
                </a:cubicBezTo>
                <a:cubicBezTo>
                  <a:pt x="3349" y="209"/>
                  <a:pt x="3347" y="210"/>
                  <a:pt x="3345" y="211"/>
                </a:cubicBezTo>
                <a:cubicBezTo>
                  <a:pt x="3343" y="212"/>
                  <a:pt x="3342" y="213"/>
                  <a:pt x="3340" y="214"/>
                </a:cubicBezTo>
                <a:cubicBezTo>
                  <a:pt x="3338" y="215"/>
                  <a:pt x="3336" y="216"/>
                  <a:pt x="3334" y="217"/>
                </a:cubicBezTo>
                <a:cubicBezTo>
                  <a:pt x="3332" y="217"/>
                  <a:pt x="3331" y="218"/>
                  <a:pt x="3329" y="218"/>
                </a:cubicBezTo>
                <a:cubicBezTo>
                  <a:pt x="3329" y="218"/>
                  <a:pt x="3329" y="218"/>
                  <a:pt x="3329" y="228"/>
                </a:cubicBezTo>
                <a:cubicBezTo>
                  <a:pt x="3332" y="228"/>
                  <a:pt x="3334" y="227"/>
                  <a:pt x="3337" y="225"/>
                </a:cubicBezTo>
                <a:cubicBezTo>
                  <a:pt x="3340" y="225"/>
                  <a:pt x="3342" y="223"/>
                  <a:pt x="3344" y="222"/>
                </a:cubicBezTo>
                <a:cubicBezTo>
                  <a:pt x="3344" y="222"/>
                  <a:pt x="3344" y="222"/>
                  <a:pt x="3344" y="281"/>
                </a:cubicBezTo>
                <a:cubicBezTo>
                  <a:pt x="3344" y="281"/>
                  <a:pt x="3344" y="281"/>
                  <a:pt x="3356" y="281"/>
                </a:cubicBezTo>
                <a:cubicBezTo>
                  <a:pt x="3356" y="281"/>
                  <a:pt x="3356" y="281"/>
                  <a:pt x="3356" y="207"/>
                </a:cubicBezTo>
                <a:close/>
                <a:moveTo>
                  <a:pt x="3402" y="207"/>
                </a:moveTo>
                <a:cubicBezTo>
                  <a:pt x="3402" y="207"/>
                  <a:pt x="3402" y="207"/>
                  <a:pt x="3402" y="207"/>
                </a:cubicBezTo>
                <a:cubicBezTo>
                  <a:pt x="3398" y="207"/>
                  <a:pt x="3398" y="207"/>
                  <a:pt x="3398" y="207"/>
                </a:cubicBezTo>
                <a:cubicBezTo>
                  <a:pt x="3396" y="209"/>
                  <a:pt x="3394" y="210"/>
                  <a:pt x="3392" y="211"/>
                </a:cubicBezTo>
                <a:cubicBezTo>
                  <a:pt x="3391" y="212"/>
                  <a:pt x="3388" y="213"/>
                  <a:pt x="3387" y="214"/>
                </a:cubicBezTo>
                <a:cubicBezTo>
                  <a:pt x="3385" y="215"/>
                  <a:pt x="3383" y="215"/>
                  <a:pt x="3381" y="216"/>
                </a:cubicBezTo>
                <a:cubicBezTo>
                  <a:pt x="3380" y="217"/>
                  <a:pt x="3378" y="217"/>
                  <a:pt x="3376" y="218"/>
                </a:cubicBezTo>
                <a:cubicBezTo>
                  <a:pt x="3376" y="218"/>
                  <a:pt x="3376" y="218"/>
                  <a:pt x="3376" y="228"/>
                </a:cubicBezTo>
                <a:cubicBezTo>
                  <a:pt x="3379" y="228"/>
                  <a:pt x="3382" y="226"/>
                  <a:pt x="3384" y="225"/>
                </a:cubicBezTo>
                <a:cubicBezTo>
                  <a:pt x="3386" y="225"/>
                  <a:pt x="3389" y="223"/>
                  <a:pt x="3391" y="222"/>
                </a:cubicBezTo>
                <a:cubicBezTo>
                  <a:pt x="3391" y="222"/>
                  <a:pt x="3391" y="222"/>
                  <a:pt x="3391" y="281"/>
                </a:cubicBezTo>
                <a:cubicBezTo>
                  <a:pt x="3391" y="281"/>
                  <a:pt x="3391" y="281"/>
                  <a:pt x="3402" y="281"/>
                </a:cubicBezTo>
                <a:cubicBezTo>
                  <a:pt x="3402" y="281"/>
                  <a:pt x="3402" y="281"/>
                  <a:pt x="3402" y="207"/>
                </a:cubicBezTo>
                <a:close/>
                <a:moveTo>
                  <a:pt x="3158" y="240"/>
                </a:moveTo>
                <a:cubicBezTo>
                  <a:pt x="3158" y="240"/>
                  <a:pt x="3158" y="240"/>
                  <a:pt x="3158" y="240"/>
                </a:cubicBezTo>
                <a:cubicBezTo>
                  <a:pt x="3158" y="248"/>
                  <a:pt x="3158" y="248"/>
                  <a:pt x="3158" y="248"/>
                </a:cubicBezTo>
                <a:cubicBezTo>
                  <a:pt x="3164" y="248"/>
                  <a:pt x="3165" y="251"/>
                  <a:pt x="3165" y="254"/>
                </a:cubicBezTo>
                <a:cubicBezTo>
                  <a:pt x="3165" y="256"/>
                  <a:pt x="3164" y="258"/>
                  <a:pt x="3164" y="261"/>
                </a:cubicBezTo>
                <a:cubicBezTo>
                  <a:pt x="3164" y="263"/>
                  <a:pt x="3164" y="266"/>
                  <a:pt x="3164" y="268"/>
                </a:cubicBezTo>
                <a:cubicBezTo>
                  <a:pt x="3164" y="277"/>
                  <a:pt x="3170" y="281"/>
                  <a:pt x="3178" y="281"/>
                </a:cubicBezTo>
                <a:cubicBezTo>
                  <a:pt x="3178" y="281"/>
                  <a:pt x="3178" y="281"/>
                  <a:pt x="3182" y="281"/>
                </a:cubicBezTo>
                <a:cubicBezTo>
                  <a:pt x="3182" y="281"/>
                  <a:pt x="3182" y="281"/>
                  <a:pt x="3182" y="272"/>
                </a:cubicBezTo>
                <a:cubicBezTo>
                  <a:pt x="3182" y="272"/>
                  <a:pt x="3182" y="272"/>
                  <a:pt x="3180" y="272"/>
                </a:cubicBezTo>
                <a:cubicBezTo>
                  <a:pt x="3177" y="272"/>
                  <a:pt x="3175" y="269"/>
                  <a:pt x="3175" y="266"/>
                </a:cubicBezTo>
                <a:cubicBezTo>
                  <a:pt x="3175" y="264"/>
                  <a:pt x="3175" y="263"/>
                  <a:pt x="3176" y="261"/>
                </a:cubicBezTo>
                <a:cubicBezTo>
                  <a:pt x="3176" y="259"/>
                  <a:pt x="3176" y="257"/>
                  <a:pt x="3176" y="255"/>
                </a:cubicBezTo>
                <a:cubicBezTo>
                  <a:pt x="3176" y="247"/>
                  <a:pt x="3173" y="245"/>
                  <a:pt x="3168" y="244"/>
                </a:cubicBezTo>
                <a:cubicBezTo>
                  <a:pt x="3168" y="244"/>
                  <a:pt x="3168" y="244"/>
                  <a:pt x="3168" y="243"/>
                </a:cubicBezTo>
                <a:cubicBezTo>
                  <a:pt x="3173" y="242"/>
                  <a:pt x="3176" y="240"/>
                  <a:pt x="3176" y="232"/>
                </a:cubicBezTo>
                <a:cubicBezTo>
                  <a:pt x="3176" y="230"/>
                  <a:pt x="3176" y="228"/>
                  <a:pt x="3176" y="226"/>
                </a:cubicBezTo>
                <a:cubicBezTo>
                  <a:pt x="3175" y="225"/>
                  <a:pt x="3175" y="223"/>
                  <a:pt x="3175" y="222"/>
                </a:cubicBezTo>
                <a:cubicBezTo>
                  <a:pt x="3175" y="218"/>
                  <a:pt x="3177" y="216"/>
                  <a:pt x="3180" y="216"/>
                </a:cubicBezTo>
                <a:cubicBezTo>
                  <a:pt x="3180" y="216"/>
                  <a:pt x="3180" y="216"/>
                  <a:pt x="3182" y="216"/>
                </a:cubicBezTo>
                <a:cubicBezTo>
                  <a:pt x="3182" y="216"/>
                  <a:pt x="3182" y="216"/>
                  <a:pt x="3182" y="206"/>
                </a:cubicBezTo>
                <a:cubicBezTo>
                  <a:pt x="3182" y="206"/>
                  <a:pt x="3182" y="206"/>
                  <a:pt x="3178" y="206"/>
                </a:cubicBezTo>
                <a:cubicBezTo>
                  <a:pt x="3169" y="206"/>
                  <a:pt x="3164" y="210"/>
                  <a:pt x="3164" y="219"/>
                </a:cubicBezTo>
                <a:cubicBezTo>
                  <a:pt x="3164" y="221"/>
                  <a:pt x="3164" y="224"/>
                  <a:pt x="3164" y="226"/>
                </a:cubicBezTo>
                <a:cubicBezTo>
                  <a:pt x="3164" y="229"/>
                  <a:pt x="3165" y="231"/>
                  <a:pt x="3165" y="233"/>
                </a:cubicBezTo>
                <a:cubicBezTo>
                  <a:pt x="3165" y="236"/>
                  <a:pt x="3164" y="239"/>
                  <a:pt x="3158" y="240"/>
                </a:cubicBezTo>
                <a:close/>
                <a:moveTo>
                  <a:pt x="3213" y="248"/>
                </a:moveTo>
                <a:cubicBezTo>
                  <a:pt x="3213" y="248"/>
                  <a:pt x="3213" y="248"/>
                  <a:pt x="3213" y="248"/>
                </a:cubicBezTo>
                <a:cubicBezTo>
                  <a:pt x="3213" y="240"/>
                  <a:pt x="3213" y="240"/>
                  <a:pt x="3213" y="240"/>
                </a:cubicBezTo>
                <a:cubicBezTo>
                  <a:pt x="3207" y="239"/>
                  <a:pt x="3206" y="236"/>
                  <a:pt x="3206" y="233"/>
                </a:cubicBezTo>
                <a:cubicBezTo>
                  <a:pt x="3206" y="231"/>
                  <a:pt x="3206" y="229"/>
                  <a:pt x="3207" y="226"/>
                </a:cubicBezTo>
                <a:cubicBezTo>
                  <a:pt x="3207" y="224"/>
                  <a:pt x="3207" y="221"/>
                  <a:pt x="3207" y="219"/>
                </a:cubicBezTo>
                <a:cubicBezTo>
                  <a:pt x="3207" y="210"/>
                  <a:pt x="3202" y="206"/>
                  <a:pt x="3193" y="206"/>
                </a:cubicBezTo>
                <a:cubicBezTo>
                  <a:pt x="3193" y="206"/>
                  <a:pt x="3193" y="206"/>
                  <a:pt x="3189" y="206"/>
                </a:cubicBezTo>
                <a:cubicBezTo>
                  <a:pt x="3189" y="206"/>
                  <a:pt x="3189" y="206"/>
                  <a:pt x="3189" y="216"/>
                </a:cubicBezTo>
                <a:cubicBezTo>
                  <a:pt x="3189" y="216"/>
                  <a:pt x="3189" y="216"/>
                  <a:pt x="3190" y="216"/>
                </a:cubicBezTo>
                <a:cubicBezTo>
                  <a:pt x="3194" y="216"/>
                  <a:pt x="3196" y="218"/>
                  <a:pt x="3196" y="222"/>
                </a:cubicBezTo>
                <a:cubicBezTo>
                  <a:pt x="3196" y="223"/>
                  <a:pt x="3195" y="225"/>
                  <a:pt x="3195" y="226"/>
                </a:cubicBezTo>
                <a:cubicBezTo>
                  <a:pt x="3195" y="228"/>
                  <a:pt x="3195" y="230"/>
                  <a:pt x="3195" y="232"/>
                </a:cubicBezTo>
                <a:cubicBezTo>
                  <a:pt x="3195" y="240"/>
                  <a:pt x="3197" y="242"/>
                  <a:pt x="3203" y="243"/>
                </a:cubicBezTo>
                <a:cubicBezTo>
                  <a:pt x="3203" y="243"/>
                  <a:pt x="3203" y="243"/>
                  <a:pt x="3203" y="244"/>
                </a:cubicBezTo>
                <a:cubicBezTo>
                  <a:pt x="3197" y="245"/>
                  <a:pt x="3195" y="247"/>
                  <a:pt x="3195" y="255"/>
                </a:cubicBezTo>
                <a:cubicBezTo>
                  <a:pt x="3195" y="257"/>
                  <a:pt x="3195" y="259"/>
                  <a:pt x="3195" y="261"/>
                </a:cubicBezTo>
                <a:cubicBezTo>
                  <a:pt x="3195" y="263"/>
                  <a:pt x="3196" y="264"/>
                  <a:pt x="3196" y="266"/>
                </a:cubicBezTo>
                <a:cubicBezTo>
                  <a:pt x="3196" y="269"/>
                  <a:pt x="3195" y="272"/>
                  <a:pt x="3190" y="272"/>
                </a:cubicBezTo>
                <a:cubicBezTo>
                  <a:pt x="3190" y="272"/>
                  <a:pt x="3190" y="272"/>
                  <a:pt x="3189" y="272"/>
                </a:cubicBezTo>
                <a:cubicBezTo>
                  <a:pt x="3189" y="272"/>
                  <a:pt x="3189" y="272"/>
                  <a:pt x="3189" y="281"/>
                </a:cubicBezTo>
                <a:cubicBezTo>
                  <a:pt x="3189" y="281"/>
                  <a:pt x="3189" y="281"/>
                  <a:pt x="3193" y="281"/>
                </a:cubicBezTo>
                <a:cubicBezTo>
                  <a:pt x="3202" y="281"/>
                  <a:pt x="3207" y="277"/>
                  <a:pt x="3207" y="268"/>
                </a:cubicBezTo>
                <a:cubicBezTo>
                  <a:pt x="3207" y="266"/>
                  <a:pt x="3207" y="263"/>
                  <a:pt x="3207" y="261"/>
                </a:cubicBezTo>
                <a:cubicBezTo>
                  <a:pt x="3206" y="258"/>
                  <a:pt x="3206" y="256"/>
                  <a:pt x="3206" y="254"/>
                </a:cubicBezTo>
                <a:cubicBezTo>
                  <a:pt x="3206" y="251"/>
                  <a:pt x="3207" y="248"/>
                  <a:pt x="3213" y="248"/>
                </a:cubicBezTo>
                <a:close/>
                <a:moveTo>
                  <a:pt x="3540" y="240"/>
                </a:moveTo>
                <a:cubicBezTo>
                  <a:pt x="3540" y="240"/>
                  <a:pt x="3540" y="240"/>
                  <a:pt x="3540" y="240"/>
                </a:cubicBezTo>
                <a:cubicBezTo>
                  <a:pt x="3540" y="248"/>
                  <a:pt x="3540" y="248"/>
                  <a:pt x="3540" y="248"/>
                </a:cubicBezTo>
                <a:cubicBezTo>
                  <a:pt x="3546" y="248"/>
                  <a:pt x="3547" y="251"/>
                  <a:pt x="3547" y="254"/>
                </a:cubicBezTo>
                <a:cubicBezTo>
                  <a:pt x="3547" y="256"/>
                  <a:pt x="3547" y="258"/>
                  <a:pt x="3547" y="261"/>
                </a:cubicBezTo>
                <a:cubicBezTo>
                  <a:pt x="3546" y="263"/>
                  <a:pt x="3546" y="266"/>
                  <a:pt x="3546" y="268"/>
                </a:cubicBezTo>
                <a:cubicBezTo>
                  <a:pt x="3546" y="277"/>
                  <a:pt x="3552" y="281"/>
                  <a:pt x="3561" y="281"/>
                </a:cubicBezTo>
                <a:cubicBezTo>
                  <a:pt x="3561" y="281"/>
                  <a:pt x="3561" y="281"/>
                  <a:pt x="3564" y="281"/>
                </a:cubicBezTo>
                <a:cubicBezTo>
                  <a:pt x="3564" y="281"/>
                  <a:pt x="3564" y="281"/>
                  <a:pt x="3564" y="272"/>
                </a:cubicBezTo>
                <a:cubicBezTo>
                  <a:pt x="3564" y="272"/>
                  <a:pt x="3564" y="272"/>
                  <a:pt x="3563" y="272"/>
                </a:cubicBezTo>
                <a:cubicBezTo>
                  <a:pt x="3559" y="272"/>
                  <a:pt x="3558" y="269"/>
                  <a:pt x="3558" y="266"/>
                </a:cubicBezTo>
                <a:cubicBezTo>
                  <a:pt x="3558" y="264"/>
                  <a:pt x="3558" y="263"/>
                  <a:pt x="3558" y="261"/>
                </a:cubicBezTo>
                <a:cubicBezTo>
                  <a:pt x="3558" y="259"/>
                  <a:pt x="3559" y="257"/>
                  <a:pt x="3559" y="255"/>
                </a:cubicBezTo>
                <a:cubicBezTo>
                  <a:pt x="3559" y="247"/>
                  <a:pt x="3556" y="245"/>
                  <a:pt x="3550" y="244"/>
                </a:cubicBezTo>
                <a:cubicBezTo>
                  <a:pt x="3550" y="244"/>
                  <a:pt x="3550" y="244"/>
                  <a:pt x="3550" y="243"/>
                </a:cubicBezTo>
                <a:cubicBezTo>
                  <a:pt x="3556" y="242"/>
                  <a:pt x="3559" y="240"/>
                  <a:pt x="3559" y="232"/>
                </a:cubicBezTo>
                <a:cubicBezTo>
                  <a:pt x="3559" y="230"/>
                  <a:pt x="3558" y="228"/>
                  <a:pt x="3558" y="226"/>
                </a:cubicBezTo>
                <a:cubicBezTo>
                  <a:pt x="3558" y="225"/>
                  <a:pt x="3558" y="223"/>
                  <a:pt x="3558" y="222"/>
                </a:cubicBezTo>
                <a:cubicBezTo>
                  <a:pt x="3558" y="218"/>
                  <a:pt x="3559" y="216"/>
                  <a:pt x="3563" y="216"/>
                </a:cubicBezTo>
                <a:cubicBezTo>
                  <a:pt x="3563" y="216"/>
                  <a:pt x="3563" y="216"/>
                  <a:pt x="3564" y="216"/>
                </a:cubicBezTo>
                <a:cubicBezTo>
                  <a:pt x="3564" y="216"/>
                  <a:pt x="3564" y="216"/>
                  <a:pt x="3564" y="206"/>
                </a:cubicBezTo>
                <a:cubicBezTo>
                  <a:pt x="3564" y="206"/>
                  <a:pt x="3564" y="206"/>
                  <a:pt x="3561" y="206"/>
                </a:cubicBezTo>
                <a:cubicBezTo>
                  <a:pt x="3552" y="206"/>
                  <a:pt x="3546" y="210"/>
                  <a:pt x="3546" y="219"/>
                </a:cubicBezTo>
                <a:cubicBezTo>
                  <a:pt x="3546" y="221"/>
                  <a:pt x="3546" y="224"/>
                  <a:pt x="3546" y="226"/>
                </a:cubicBezTo>
                <a:cubicBezTo>
                  <a:pt x="3547" y="229"/>
                  <a:pt x="3547" y="231"/>
                  <a:pt x="3547" y="233"/>
                </a:cubicBezTo>
                <a:cubicBezTo>
                  <a:pt x="3547" y="236"/>
                  <a:pt x="3546" y="239"/>
                  <a:pt x="3540" y="240"/>
                </a:cubicBezTo>
                <a:close/>
                <a:moveTo>
                  <a:pt x="3595" y="248"/>
                </a:moveTo>
                <a:cubicBezTo>
                  <a:pt x="3595" y="248"/>
                  <a:pt x="3595" y="248"/>
                  <a:pt x="3595" y="248"/>
                </a:cubicBezTo>
                <a:cubicBezTo>
                  <a:pt x="3595" y="240"/>
                  <a:pt x="3595" y="240"/>
                  <a:pt x="3595" y="240"/>
                </a:cubicBezTo>
                <a:cubicBezTo>
                  <a:pt x="3589" y="239"/>
                  <a:pt x="3588" y="236"/>
                  <a:pt x="3588" y="233"/>
                </a:cubicBezTo>
                <a:cubicBezTo>
                  <a:pt x="3588" y="231"/>
                  <a:pt x="3588" y="229"/>
                  <a:pt x="3589" y="226"/>
                </a:cubicBezTo>
                <a:cubicBezTo>
                  <a:pt x="3589" y="224"/>
                  <a:pt x="3589" y="221"/>
                  <a:pt x="3589" y="219"/>
                </a:cubicBezTo>
                <a:cubicBezTo>
                  <a:pt x="3589" y="210"/>
                  <a:pt x="3584" y="206"/>
                  <a:pt x="3575" y="206"/>
                </a:cubicBezTo>
                <a:cubicBezTo>
                  <a:pt x="3575" y="206"/>
                  <a:pt x="3575" y="206"/>
                  <a:pt x="3571" y="206"/>
                </a:cubicBezTo>
                <a:cubicBezTo>
                  <a:pt x="3571" y="206"/>
                  <a:pt x="3571" y="206"/>
                  <a:pt x="3571" y="216"/>
                </a:cubicBezTo>
                <a:cubicBezTo>
                  <a:pt x="3571" y="216"/>
                  <a:pt x="3571" y="216"/>
                  <a:pt x="3573" y="216"/>
                </a:cubicBezTo>
                <a:cubicBezTo>
                  <a:pt x="3576" y="216"/>
                  <a:pt x="3578" y="218"/>
                  <a:pt x="3578" y="222"/>
                </a:cubicBezTo>
                <a:cubicBezTo>
                  <a:pt x="3578" y="223"/>
                  <a:pt x="3577" y="225"/>
                  <a:pt x="3577" y="226"/>
                </a:cubicBezTo>
                <a:cubicBezTo>
                  <a:pt x="3577" y="228"/>
                  <a:pt x="3577" y="230"/>
                  <a:pt x="3577" y="232"/>
                </a:cubicBezTo>
                <a:cubicBezTo>
                  <a:pt x="3577" y="240"/>
                  <a:pt x="3580" y="242"/>
                  <a:pt x="3585" y="243"/>
                </a:cubicBezTo>
                <a:cubicBezTo>
                  <a:pt x="3585" y="243"/>
                  <a:pt x="3585" y="243"/>
                  <a:pt x="3585" y="244"/>
                </a:cubicBezTo>
                <a:cubicBezTo>
                  <a:pt x="3580" y="245"/>
                  <a:pt x="3577" y="247"/>
                  <a:pt x="3577" y="255"/>
                </a:cubicBezTo>
                <a:cubicBezTo>
                  <a:pt x="3577" y="257"/>
                  <a:pt x="3577" y="259"/>
                  <a:pt x="3577" y="261"/>
                </a:cubicBezTo>
                <a:cubicBezTo>
                  <a:pt x="3577" y="263"/>
                  <a:pt x="3578" y="264"/>
                  <a:pt x="3578" y="266"/>
                </a:cubicBezTo>
                <a:cubicBezTo>
                  <a:pt x="3578" y="269"/>
                  <a:pt x="3577" y="272"/>
                  <a:pt x="3573" y="272"/>
                </a:cubicBezTo>
                <a:cubicBezTo>
                  <a:pt x="3573" y="272"/>
                  <a:pt x="3573" y="272"/>
                  <a:pt x="3571" y="272"/>
                </a:cubicBezTo>
                <a:cubicBezTo>
                  <a:pt x="3571" y="272"/>
                  <a:pt x="3571" y="272"/>
                  <a:pt x="3571" y="281"/>
                </a:cubicBezTo>
                <a:cubicBezTo>
                  <a:pt x="3571" y="281"/>
                  <a:pt x="3571" y="281"/>
                  <a:pt x="3575" y="281"/>
                </a:cubicBezTo>
                <a:cubicBezTo>
                  <a:pt x="3584" y="281"/>
                  <a:pt x="3589" y="277"/>
                  <a:pt x="3589" y="268"/>
                </a:cubicBezTo>
                <a:cubicBezTo>
                  <a:pt x="3589" y="266"/>
                  <a:pt x="3589" y="263"/>
                  <a:pt x="3589" y="261"/>
                </a:cubicBezTo>
                <a:cubicBezTo>
                  <a:pt x="3588" y="258"/>
                  <a:pt x="3588" y="256"/>
                  <a:pt x="3588" y="254"/>
                </a:cubicBezTo>
                <a:cubicBezTo>
                  <a:pt x="3588" y="251"/>
                  <a:pt x="3589" y="248"/>
                  <a:pt x="3595" y="248"/>
                </a:cubicBezTo>
                <a:close/>
                <a:moveTo>
                  <a:pt x="3643" y="207"/>
                </a:moveTo>
                <a:cubicBezTo>
                  <a:pt x="3643" y="207"/>
                  <a:pt x="3643" y="207"/>
                  <a:pt x="3643" y="207"/>
                </a:cubicBezTo>
                <a:cubicBezTo>
                  <a:pt x="3637" y="207"/>
                  <a:pt x="3637" y="207"/>
                  <a:pt x="3637" y="207"/>
                </a:cubicBezTo>
                <a:cubicBezTo>
                  <a:pt x="3635" y="209"/>
                  <a:pt x="3634" y="210"/>
                  <a:pt x="3632" y="211"/>
                </a:cubicBezTo>
                <a:cubicBezTo>
                  <a:pt x="3630" y="212"/>
                  <a:pt x="3628" y="213"/>
                  <a:pt x="3627" y="214"/>
                </a:cubicBezTo>
                <a:cubicBezTo>
                  <a:pt x="3624" y="215"/>
                  <a:pt x="3623" y="215"/>
                  <a:pt x="3622" y="216"/>
                </a:cubicBezTo>
                <a:cubicBezTo>
                  <a:pt x="3619" y="217"/>
                  <a:pt x="3618" y="217"/>
                  <a:pt x="3616" y="218"/>
                </a:cubicBezTo>
                <a:cubicBezTo>
                  <a:pt x="3616" y="218"/>
                  <a:pt x="3616" y="218"/>
                  <a:pt x="3616" y="228"/>
                </a:cubicBezTo>
                <a:cubicBezTo>
                  <a:pt x="3619" y="228"/>
                  <a:pt x="3622" y="226"/>
                  <a:pt x="3624" y="225"/>
                </a:cubicBezTo>
                <a:cubicBezTo>
                  <a:pt x="3627" y="225"/>
                  <a:pt x="3629" y="223"/>
                  <a:pt x="3631" y="222"/>
                </a:cubicBezTo>
                <a:cubicBezTo>
                  <a:pt x="3631" y="222"/>
                  <a:pt x="3631" y="222"/>
                  <a:pt x="3631" y="281"/>
                </a:cubicBezTo>
                <a:cubicBezTo>
                  <a:pt x="3631" y="281"/>
                  <a:pt x="3631" y="281"/>
                  <a:pt x="3643" y="281"/>
                </a:cubicBezTo>
                <a:cubicBezTo>
                  <a:pt x="3643" y="281"/>
                  <a:pt x="3643" y="281"/>
                  <a:pt x="3643" y="207"/>
                </a:cubicBezTo>
                <a:close/>
                <a:moveTo>
                  <a:pt x="3690" y="207"/>
                </a:moveTo>
                <a:cubicBezTo>
                  <a:pt x="3690" y="207"/>
                  <a:pt x="3690" y="207"/>
                  <a:pt x="3690" y="207"/>
                </a:cubicBezTo>
                <a:cubicBezTo>
                  <a:pt x="3685" y="207"/>
                  <a:pt x="3685" y="207"/>
                  <a:pt x="3685" y="207"/>
                </a:cubicBezTo>
                <a:cubicBezTo>
                  <a:pt x="3682" y="209"/>
                  <a:pt x="3681" y="210"/>
                  <a:pt x="3679" y="211"/>
                </a:cubicBezTo>
                <a:cubicBezTo>
                  <a:pt x="3677" y="212"/>
                  <a:pt x="3675" y="213"/>
                  <a:pt x="3674" y="214"/>
                </a:cubicBezTo>
                <a:cubicBezTo>
                  <a:pt x="3672" y="215"/>
                  <a:pt x="3670" y="216"/>
                  <a:pt x="3669" y="217"/>
                </a:cubicBezTo>
                <a:cubicBezTo>
                  <a:pt x="3667" y="217"/>
                  <a:pt x="3665" y="218"/>
                  <a:pt x="3663" y="218"/>
                </a:cubicBezTo>
                <a:cubicBezTo>
                  <a:pt x="3663" y="218"/>
                  <a:pt x="3663" y="218"/>
                  <a:pt x="3663" y="228"/>
                </a:cubicBezTo>
                <a:cubicBezTo>
                  <a:pt x="3666" y="228"/>
                  <a:pt x="3669" y="227"/>
                  <a:pt x="3671" y="225"/>
                </a:cubicBezTo>
                <a:cubicBezTo>
                  <a:pt x="3674" y="225"/>
                  <a:pt x="3676" y="223"/>
                  <a:pt x="3678" y="222"/>
                </a:cubicBezTo>
                <a:cubicBezTo>
                  <a:pt x="3678" y="222"/>
                  <a:pt x="3678" y="222"/>
                  <a:pt x="3678" y="281"/>
                </a:cubicBezTo>
                <a:cubicBezTo>
                  <a:pt x="3678" y="281"/>
                  <a:pt x="3678" y="281"/>
                  <a:pt x="3690" y="281"/>
                </a:cubicBezTo>
                <a:cubicBezTo>
                  <a:pt x="3690" y="281"/>
                  <a:pt x="3690" y="281"/>
                  <a:pt x="3690" y="207"/>
                </a:cubicBezTo>
                <a:close/>
                <a:moveTo>
                  <a:pt x="3736" y="207"/>
                </a:moveTo>
                <a:cubicBezTo>
                  <a:pt x="3736" y="207"/>
                  <a:pt x="3736" y="207"/>
                  <a:pt x="3736" y="207"/>
                </a:cubicBezTo>
                <a:cubicBezTo>
                  <a:pt x="3732" y="207"/>
                  <a:pt x="3732" y="207"/>
                  <a:pt x="3732" y="207"/>
                </a:cubicBezTo>
                <a:cubicBezTo>
                  <a:pt x="3730" y="209"/>
                  <a:pt x="3728" y="210"/>
                  <a:pt x="3726" y="211"/>
                </a:cubicBezTo>
                <a:cubicBezTo>
                  <a:pt x="3725" y="212"/>
                  <a:pt x="3722" y="213"/>
                  <a:pt x="3721" y="214"/>
                </a:cubicBezTo>
                <a:cubicBezTo>
                  <a:pt x="3719" y="215"/>
                  <a:pt x="3717" y="216"/>
                  <a:pt x="3715" y="217"/>
                </a:cubicBezTo>
                <a:cubicBezTo>
                  <a:pt x="3714" y="217"/>
                  <a:pt x="3712" y="218"/>
                  <a:pt x="3710" y="218"/>
                </a:cubicBezTo>
                <a:cubicBezTo>
                  <a:pt x="3710" y="218"/>
                  <a:pt x="3710" y="218"/>
                  <a:pt x="3710" y="228"/>
                </a:cubicBezTo>
                <a:cubicBezTo>
                  <a:pt x="3713" y="228"/>
                  <a:pt x="3716" y="227"/>
                  <a:pt x="3718" y="225"/>
                </a:cubicBezTo>
                <a:cubicBezTo>
                  <a:pt x="3720" y="225"/>
                  <a:pt x="3723" y="223"/>
                  <a:pt x="3725" y="222"/>
                </a:cubicBezTo>
                <a:cubicBezTo>
                  <a:pt x="3725" y="222"/>
                  <a:pt x="3725" y="222"/>
                  <a:pt x="3725" y="281"/>
                </a:cubicBezTo>
                <a:cubicBezTo>
                  <a:pt x="3725" y="281"/>
                  <a:pt x="3725" y="281"/>
                  <a:pt x="3736" y="281"/>
                </a:cubicBezTo>
                <a:cubicBezTo>
                  <a:pt x="3736" y="281"/>
                  <a:pt x="3736" y="281"/>
                  <a:pt x="3736" y="207"/>
                </a:cubicBezTo>
                <a:close/>
                <a:moveTo>
                  <a:pt x="3860" y="207"/>
                </a:moveTo>
                <a:cubicBezTo>
                  <a:pt x="3860" y="207"/>
                  <a:pt x="3860" y="207"/>
                  <a:pt x="3860" y="207"/>
                </a:cubicBezTo>
                <a:cubicBezTo>
                  <a:pt x="3854" y="207"/>
                  <a:pt x="3854" y="207"/>
                  <a:pt x="3854" y="207"/>
                </a:cubicBezTo>
                <a:cubicBezTo>
                  <a:pt x="3852" y="209"/>
                  <a:pt x="3851" y="210"/>
                  <a:pt x="3848" y="211"/>
                </a:cubicBezTo>
                <a:cubicBezTo>
                  <a:pt x="3847" y="212"/>
                  <a:pt x="3845" y="213"/>
                  <a:pt x="3843" y="214"/>
                </a:cubicBezTo>
                <a:cubicBezTo>
                  <a:pt x="3842" y="215"/>
                  <a:pt x="3840" y="216"/>
                  <a:pt x="3838" y="217"/>
                </a:cubicBezTo>
                <a:cubicBezTo>
                  <a:pt x="3836" y="217"/>
                  <a:pt x="3834" y="218"/>
                  <a:pt x="3832" y="218"/>
                </a:cubicBezTo>
                <a:cubicBezTo>
                  <a:pt x="3832" y="218"/>
                  <a:pt x="3832" y="218"/>
                  <a:pt x="3832" y="228"/>
                </a:cubicBezTo>
                <a:cubicBezTo>
                  <a:pt x="3835" y="228"/>
                  <a:pt x="3838" y="227"/>
                  <a:pt x="3841" y="225"/>
                </a:cubicBezTo>
                <a:cubicBezTo>
                  <a:pt x="3843" y="225"/>
                  <a:pt x="3845" y="223"/>
                  <a:pt x="3848" y="222"/>
                </a:cubicBezTo>
                <a:cubicBezTo>
                  <a:pt x="3848" y="222"/>
                  <a:pt x="3848" y="222"/>
                  <a:pt x="3848" y="281"/>
                </a:cubicBezTo>
                <a:cubicBezTo>
                  <a:pt x="3848" y="281"/>
                  <a:pt x="3848" y="281"/>
                  <a:pt x="3860" y="281"/>
                </a:cubicBezTo>
                <a:cubicBezTo>
                  <a:pt x="3860" y="281"/>
                  <a:pt x="3860" y="281"/>
                  <a:pt x="3860" y="207"/>
                </a:cubicBezTo>
                <a:close/>
                <a:moveTo>
                  <a:pt x="3757" y="240"/>
                </a:moveTo>
                <a:cubicBezTo>
                  <a:pt x="3757" y="240"/>
                  <a:pt x="3757" y="240"/>
                  <a:pt x="3757" y="240"/>
                </a:cubicBezTo>
                <a:cubicBezTo>
                  <a:pt x="3757" y="248"/>
                  <a:pt x="3757" y="248"/>
                  <a:pt x="3757" y="248"/>
                </a:cubicBezTo>
                <a:cubicBezTo>
                  <a:pt x="3763" y="248"/>
                  <a:pt x="3764" y="251"/>
                  <a:pt x="3764" y="254"/>
                </a:cubicBezTo>
                <a:cubicBezTo>
                  <a:pt x="3764" y="256"/>
                  <a:pt x="3763" y="258"/>
                  <a:pt x="3763" y="261"/>
                </a:cubicBezTo>
                <a:cubicBezTo>
                  <a:pt x="3763" y="263"/>
                  <a:pt x="3763" y="266"/>
                  <a:pt x="3763" y="268"/>
                </a:cubicBezTo>
                <a:cubicBezTo>
                  <a:pt x="3763" y="277"/>
                  <a:pt x="3769" y="281"/>
                  <a:pt x="3777" y="281"/>
                </a:cubicBezTo>
                <a:cubicBezTo>
                  <a:pt x="3777" y="281"/>
                  <a:pt x="3777" y="281"/>
                  <a:pt x="3781" y="281"/>
                </a:cubicBezTo>
                <a:cubicBezTo>
                  <a:pt x="3781" y="281"/>
                  <a:pt x="3781" y="281"/>
                  <a:pt x="3781" y="272"/>
                </a:cubicBezTo>
                <a:cubicBezTo>
                  <a:pt x="3781" y="272"/>
                  <a:pt x="3781" y="272"/>
                  <a:pt x="3779" y="272"/>
                </a:cubicBezTo>
                <a:cubicBezTo>
                  <a:pt x="3776" y="272"/>
                  <a:pt x="3775" y="269"/>
                  <a:pt x="3775" y="266"/>
                </a:cubicBezTo>
                <a:cubicBezTo>
                  <a:pt x="3775" y="264"/>
                  <a:pt x="3775" y="263"/>
                  <a:pt x="3775" y="261"/>
                </a:cubicBezTo>
                <a:cubicBezTo>
                  <a:pt x="3775" y="259"/>
                  <a:pt x="3775" y="257"/>
                  <a:pt x="3775" y="255"/>
                </a:cubicBezTo>
                <a:cubicBezTo>
                  <a:pt x="3775" y="247"/>
                  <a:pt x="3772" y="245"/>
                  <a:pt x="3767" y="244"/>
                </a:cubicBezTo>
                <a:cubicBezTo>
                  <a:pt x="3767" y="244"/>
                  <a:pt x="3767" y="244"/>
                  <a:pt x="3767" y="243"/>
                </a:cubicBezTo>
                <a:cubicBezTo>
                  <a:pt x="3772" y="242"/>
                  <a:pt x="3775" y="240"/>
                  <a:pt x="3775" y="232"/>
                </a:cubicBezTo>
                <a:cubicBezTo>
                  <a:pt x="3775" y="230"/>
                  <a:pt x="3775" y="228"/>
                  <a:pt x="3775" y="226"/>
                </a:cubicBezTo>
                <a:cubicBezTo>
                  <a:pt x="3775" y="225"/>
                  <a:pt x="3775" y="223"/>
                  <a:pt x="3775" y="222"/>
                </a:cubicBezTo>
                <a:cubicBezTo>
                  <a:pt x="3775" y="218"/>
                  <a:pt x="3776" y="216"/>
                  <a:pt x="3779" y="216"/>
                </a:cubicBezTo>
                <a:cubicBezTo>
                  <a:pt x="3779" y="216"/>
                  <a:pt x="3779" y="216"/>
                  <a:pt x="3781" y="216"/>
                </a:cubicBezTo>
                <a:cubicBezTo>
                  <a:pt x="3781" y="216"/>
                  <a:pt x="3781" y="216"/>
                  <a:pt x="3781" y="206"/>
                </a:cubicBezTo>
                <a:cubicBezTo>
                  <a:pt x="3781" y="206"/>
                  <a:pt x="3781" y="206"/>
                  <a:pt x="3777" y="206"/>
                </a:cubicBezTo>
                <a:cubicBezTo>
                  <a:pt x="3768" y="206"/>
                  <a:pt x="3763" y="210"/>
                  <a:pt x="3763" y="219"/>
                </a:cubicBezTo>
                <a:cubicBezTo>
                  <a:pt x="3763" y="221"/>
                  <a:pt x="3763" y="224"/>
                  <a:pt x="3763" y="226"/>
                </a:cubicBezTo>
                <a:cubicBezTo>
                  <a:pt x="3763" y="229"/>
                  <a:pt x="3764" y="231"/>
                  <a:pt x="3764" y="233"/>
                </a:cubicBezTo>
                <a:cubicBezTo>
                  <a:pt x="3764" y="236"/>
                  <a:pt x="3763" y="239"/>
                  <a:pt x="3757" y="240"/>
                </a:cubicBezTo>
                <a:close/>
                <a:moveTo>
                  <a:pt x="3812" y="248"/>
                </a:moveTo>
                <a:cubicBezTo>
                  <a:pt x="3812" y="248"/>
                  <a:pt x="3812" y="248"/>
                  <a:pt x="3812" y="248"/>
                </a:cubicBezTo>
                <a:cubicBezTo>
                  <a:pt x="3812" y="240"/>
                  <a:pt x="3812" y="240"/>
                  <a:pt x="3812" y="240"/>
                </a:cubicBezTo>
                <a:cubicBezTo>
                  <a:pt x="3806" y="239"/>
                  <a:pt x="3805" y="236"/>
                  <a:pt x="3805" y="233"/>
                </a:cubicBezTo>
                <a:cubicBezTo>
                  <a:pt x="3805" y="231"/>
                  <a:pt x="3805" y="229"/>
                  <a:pt x="3806" y="226"/>
                </a:cubicBezTo>
                <a:cubicBezTo>
                  <a:pt x="3806" y="224"/>
                  <a:pt x="3806" y="221"/>
                  <a:pt x="3806" y="219"/>
                </a:cubicBezTo>
                <a:cubicBezTo>
                  <a:pt x="3806" y="210"/>
                  <a:pt x="3801" y="206"/>
                  <a:pt x="3791" y="206"/>
                </a:cubicBezTo>
                <a:cubicBezTo>
                  <a:pt x="3791" y="206"/>
                  <a:pt x="3791" y="206"/>
                  <a:pt x="3788" y="206"/>
                </a:cubicBezTo>
                <a:cubicBezTo>
                  <a:pt x="3788" y="206"/>
                  <a:pt x="3788" y="206"/>
                  <a:pt x="3788" y="216"/>
                </a:cubicBezTo>
                <a:cubicBezTo>
                  <a:pt x="3788" y="216"/>
                  <a:pt x="3788" y="216"/>
                  <a:pt x="3789" y="216"/>
                </a:cubicBezTo>
                <a:cubicBezTo>
                  <a:pt x="3793" y="216"/>
                  <a:pt x="3794" y="218"/>
                  <a:pt x="3794" y="222"/>
                </a:cubicBezTo>
                <a:cubicBezTo>
                  <a:pt x="3794" y="223"/>
                  <a:pt x="3794" y="225"/>
                  <a:pt x="3794" y="226"/>
                </a:cubicBezTo>
                <a:cubicBezTo>
                  <a:pt x="3794" y="228"/>
                  <a:pt x="3794" y="230"/>
                  <a:pt x="3794" y="232"/>
                </a:cubicBezTo>
                <a:cubicBezTo>
                  <a:pt x="3794" y="240"/>
                  <a:pt x="3796" y="242"/>
                  <a:pt x="3802" y="243"/>
                </a:cubicBezTo>
                <a:cubicBezTo>
                  <a:pt x="3802" y="243"/>
                  <a:pt x="3802" y="243"/>
                  <a:pt x="3802" y="244"/>
                </a:cubicBezTo>
                <a:cubicBezTo>
                  <a:pt x="3796" y="245"/>
                  <a:pt x="3794" y="247"/>
                  <a:pt x="3794" y="255"/>
                </a:cubicBezTo>
                <a:cubicBezTo>
                  <a:pt x="3794" y="257"/>
                  <a:pt x="3794" y="259"/>
                  <a:pt x="3794" y="261"/>
                </a:cubicBezTo>
                <a:cubicBezTo>
                  <a:pt x="3794" y="263"/>
                  <a:pt x="3794" y="264"/>
                  <a:pt x="3794" y="266"/>
                </a:cubicBezTo>
                <a:cubicBezTo>
                  <a:pt x="3794" y="269"/>
                  <a:pt x="3793" y="272"/>
                  <a:pt x="3789" y="272"/>
                </a:cubicBezTo>
                <a:cubicBezTo>
                  <a:pt x="3789" y="272"/>
                  <a:pt x="3789" y="272"/>
                  <a:pt x="3788" y="272"/>
                </a:cubicBezTo>
                <a:cubicBezTo>
                  <a:pt x="3788" y="272"/>
                  <a:pt x="3788" y="272"/>
                  <a:pt x="3788" y="281"/>
                </a:cubicBezTo>
                <a:cubicBezTo>
                  <a:pt x="3788" y="281"/>
                  <a:pt x="3788" y="281"/>
                  <a:pt x="3791" y="281"/>
                </a:cubicBezTo>
                <a:cubicBezTo>
                  <a:pt x="3800" y="281"/>
                  <a:pt x="3806" y="277"/>
                  <a:pt x="3806" y="268"/>
                </a:cubicBezTo>
                <a:cubicBezTo>
                  <a:pt x="3806" y="266"/>
                  <a:pt x="3806" y="263"/>
                  <a:pt x="3806" y="261"/>
                </a:cubicBezTo>
                <a:cubicBezTo>
                  <a:pt x="3805" y="258"/>
                  <a:pt x="3805" y="256"/>
                  <a:pt x="3805" y="254"/>
                </a:cubicBezTo>
                <a:cubicBezTo>
                  <a:pt x="3805" y="251"/>
                  <a:pt x="3806" y="248"/>
                  <a:pt x="3812" y="248"/>
                </a:cubicBezTo>
                <a:close/>
                <a:moveTo>
                  <a:pt x="2953" y="159"/>
                </a:moveTo>
                <a:cubicBezTo>
                  <a:pt x="2953" y="160"/>
                  <a:pt x="2954" y="161"/>
                  <a:pt x="2954" y="163"/>
                </a:cubicBezTo>
                <a:cubicBezTo>
                  <a:pt x="2955" y="164"/>
                  <a:pt x="2955" y="166"/>
                  <a:pt x="2956" y="168"/>
                </a:cubicBezTo>
                <a:cubicBezTo>
                  <a:pt x="2956" y="170"/>
                  <a:pt x="2956" y="171"/>
                  <a:pt x="2956" y="173"/>
                </a:cubicBezTo>
                <a:cubicBezTo>
                  <a:pt x="2957" y="176"/>
                  <a:pt x="2956" y="178"/>
                  <a:pt x="2952" y="178"/>
                </a:cubicBezTo>
                <a:cubicBezTo>
                  <a:pt x="2950" y="178"/>
                  <a:pt x="2947" y="177"/>
                  <a:pt x="2944" y="177"/>
                </a:cubicBezTo>
                <a:cubicBezTo>
                  <a:pt x="2944" y="177"/>
                  <a:pt x="2943" y="177"/>
                  <a:pt x="2943" y="178"/>
                </a:cubicBezTo>
                <a:cubicBezTo>
                  <a:pt x="2941" y="179"/>
                  <a:pt x="2939" y="180"/>
                  <a:pt x="2938" y="182"/>
                </a:cubicBezTo>
                <a:cubicBezTo>
                  <a:pt x="2936" y="184"/>
                  <a:pt x="2933" y="185"/>
                  <a:pt x="2931" y="183"/>
                </a:cubicBezTo>
                <a:cubicBezTo>
                  <a:pt x="2929" y="180"/>
                  <a:pt x="2928" y="178"/>
                  <a:pt x="2926" y="175"/>
                </a:cubicBezTo>
                <a:cubicBezTo>
                  <a:pt x="2925" y="174"/>
                  <a:pt x="2926" y="172"/>
                  <a:pt x="2928" y="170"/>
                </a:cubicBezTo>
                <a:cubicBezTo>
                  <a:pt x="2925" y="170"/>
                  <a:pt x="2924" y="170"/>
                  <a:pt x="2922" y="170"/>
                </a:cubicBezTo>
                <a:cubicBezTo>
                  <a:pt x="2921" y="172"/>
                  <a:pt x="2920" y="174"/>
                  <a:pt x="2919" y="176"/>
                </a:cubicBezTo>
                <a:cubicBezTo>
                  <a:pt x="2919" y="177"/>
                  <a:pt x="2919" y="178"/>
                  <a:pt x="2919" y="179"/>
                </a:cubicBezTo>
                <a:cubicBezTo>
                  <a:pt x="2919" y="182"/>
                  <a:pt x="2918" y="183"/>
                  <a:pt x="2915" y="183"/>
                </a:cubicBezTo>
                <a:cubicBezTo>
                  <a:pt x="2912" y="182"/>
                  <a:pt x="2909" y="182"/>
                  <a:pt x="2906" y="180"/>
                </a:cubicBezTo>
                <a:cubicBezTo>
                  <a:pt x="2904" y="180"/>
                  <a:pt x="2903" y="178"/>
                  <a:pt x="2904" y="176"/>
                </a:cubicBezTo>
                <a:cubicBezTo>
                  <a:pt x="2904" y="176"/>
                  <a:pt x="2904" y="175"/>
                  <a:pt x="2905" y="175"/>
                </a:cubicBezTo>
                <a:cubicBezTo>
                  <a:pt x="2902" y="174"/>
                  <a:pt x="2900" y="173"/>
                  <a:pt x="2898" y="171"/>
                </a:cubicBezTo>
                <a:cubicBezTo>
                  <a:pt x="2897" y="170"/>
                  <a:pt x="2896" y="168"/>
                  <a:pt x="2895" y="167"/>
                </a:cubicBezTo>
                <a:cubicBezTo>
                  <a:pt x="2894" y="165"/>
                  <a:pt x="2894" y="163"/>
                  <a:pt x="2896" y="162"/>
                </a:cubicBezTo>
                <a:cubicBezTo>
                  <a:pt x="2899" y="159"/>
                  <a:pt x="2900" y="157"/>
                  <a:pt x="2899" y="153"/>
                </a:cubicBezTo>
                <a:cubicBezTo>
                  <a:pt x="2899" y="151"/>
                  <a:pt x="2899" y="148"/>
                  <a:pt x="2899" y="147"/>
                </a:cubicBezTo>
                <a:cubicBezTo>
                  <a:pt x="2898" y="146"/>
                  <a:pt x="2896" y="145"/>
                  <a:pt x="2895" y="144"/>
                </a:cubicBezTo>
                <a:cubicBezTo>
                  <a:pt x="2894" y="143"/>
                  <a:pt x="2893" y="141"/>
                  <a:pt x="2893" y="139"/>
                </a:cubicBezTo>
                <a:cubicBezTo>
                  <a:pt x="2893" y="136"/>
                  <a:pt x="2896" y="133"/>
                  <a:pt x="2899" y="132"/>
                </a:cubicBezTo>
                <a:cubicBezTo>
                  <a:pt x="2899" y="133"/>
                  <a:pt x="2899" y="134"/>
                  <a:pt x="2900" y="135"/>
                </a:cubicBezTo>
                <a:cubicBezTo>
                  <a:pt x="2900" y="136"/>
                  <a:pt x="2900" y="137"/>
                  <a:pt x="2900" y="138"/>
                </a:cubicBezTo>
                <a:cubicBezTo>
                  <a:pt x="2899" y="138"/>
                  <a:pt x="2899" y="138"/>
                  <a:pt x="2899" y="138"/>
                </a:cubicBezTo>
                <a:cubicBezTo>
                  <a:pt x="2898" y="139"/>
                  <a:pt x="2898" y="140"/>
                  <a:pt x="2897" y="142"/>
                </a:cubicBezTo>
                <a:cubicBezTo>
                  <a:pt x="2898" y="142"/>
                  <a:pt x="2899" y="142"/>
                  <a:pt x="2899" y="141"/>
                </a:cubicBezTo>
                <a:cubicBezTo>
                  <a:pt x="2901" y="140"/>
                  <a:pt x="2901" y="139"/>
                  <a:pt x="2902" y="138"/>
                </a:cubicBezTo>
                <a:cubicBezTo>
                  <a:pt x="2907" y="131"/>
                  <a:pt x="2912" y="127"/>
                  <a:pt x="2920" y="126"/>
                </a:cubicBezTo>
                <a:cubicBezTo>
                  <a:pt x="2923" y="125"/>
                  <a:pt x="2927" y="124"/>
                  <a:pt x="2929" y="121"/>
                </a:cubicBezTo>
                <a:cubicBezTo>
                  <a:pt x="2929" y="121"/>
                  <a:pt x="2930" y="121"/>
                  <a:pt x="2930" y="121"/>
                </a:cubicBezTo>
                <a:cubicBezTo>
                  <a:pt x="2933" y="120"/>
                  <a:pt x="2934" y="118"/>
                  <a:pt x="2936" y="116"/>
                </a:cubicBezTo>
                <a:cubicBezTo>
                  <a:pt x="2944" y="108"/>
                  <a:pt x="2956" y="108"/>
                  <a:pt x="2963" y="115"/>
                </a:cubicBezTo>
                <a:cubicBezTo>
                  <a:pt x="2966" y="117"/>
                  <a:pt x="2969" y="119"/>
                  <a:pt x="2971" y="121"/>
                </a:cubicBezTo>
                <a:cubicBezTo>
                  <a:pt x="2972" y="122"/>
                  <a:pt x="2974" y="123"/>
                  <a:pt x="2975" y="125"/>
                </a:cubicBezTo>
                <a:cubicBezTo>
                  <a:pt x="2976" y="127"/>
                  <a:pt x="2976" y="127"/>
                  <a:pt x="2978" y="126"/>
                </a:cubicBezTo>
                <a:cubicBezTo>
                  <a:pt x="2978" y="125"/>
                  <a:pt x="2979" y="125"/>
                  <a:pt x="2980" y="124"/>
                </a:cubicBezTo>
                <a:cubicBezTo>
                  <a:pt x="2982" y="121"/>
                  <a:pt x="2985" y="121"/>
                  <a:pt x="2986" y="124"/>
                </a:cubicBezTo>
                <a:cubicBezTo>
                  <a:pt x="2987" y="127"/>
                  <a:pt x="2988" y="130"/>
                  <a:pt x="2989" y="133"/>
                </a:cubicBezTo>
                <a:cubicBezTo>
                  <a:pt x="2989" y="138"/>
                  <a:pt x="2989" y="142"/>
                  <a:pt x="2987" y="146"/>
                </a:cubicBezTo>
                <a:cubicBezTo>
                  <a:pt x="2985" y="153"/>
                  <a:pt x="2980" y="156"/>
                  <a:pt x="2974" y="156"/>
                </a:cubicBezTo>
                <a:cubicBezTo>
                  <a:pt x="2973" y="156"/>
                  <a:pt x="2972" y="156"/>
                  <a:pt x="2972" y="156"/>
                </a:cubicBezTo>
                <a:cubicBezTo>
                  <a:pt x="2969" y="156"/>
                  <a:pt x="2968" y="156"/>
                  <a:pt x="2967" y="159"/>
                </a:cubicBezTo>
                <a:cubicBezTo>
                  <a:pt x="2966" y="163"/>
                  <a:pt x="2960" y="164"/>
                  <a:pt x="2957" y="161"/>
                </a:cubicBezTo>
                <a:cubicBezTo>
                  <a:pt x="2956" y="160"/>
                  <a:pt x="2955" y="159"/>
                  <a:pt x="2954" y="158"/>
                </a:cubicBezTo>
                <a:cubicBezTo>
                  <a:pt x="2953" y="159"/>
                  <a:pt x="2953" y="159"/>
                  <a:pt x="2953" y="159"/>
                </a:cubicBezTo>
                <a:close/>
                <a:moveTo>
                  <a:pt x="2947" y="154"/>
                </a:moveTo>
                <a:cubicBezTo>
                  <a:pt x="2951" y="156"/>
                  <a:pt x="2954" y="157"/>
                  <a:pt x="2957" y="160"/>
                </a:cubicBezTo>
                <a:cubicBezTo>
                  <a:pt x="2959" y="161"/>
                  <a:pt x="2961" y="162"/>
                  <a:pt x="2963" y="161"/>
                </a:cubicBezTo>
                <a:cubicBezTo>
                  <a:pt x="2965" y="161"/>
                  <a:pt x="2967" y="159"/>
                  <a:pt x="2967" y="155"/>
                </a:cubicBezTo>
                <a:cubicBezTo>
                  <a:pt x="2967" y="156"/>
                  <a:pt x="2966" y="156"/>
                  <a:pt x="2966" y="156"/>
                </a:cubicBezTo>
                <a:cubicBezTo>
                  <a:pt x="2965" y="158"/>
                  <a:pt x="2964" y="159"/>
                  <a:pt x="2963" y="160"/>
                </a:cubicBezTo>
                <a:cubicBezTo>
                  <a:pt x="2962" y="161"/>
                  <a:pt x="2961" y="161"/>
                  <a:pt x="2960" y="160"/>
                </a:cubicBezTo>
                <a:cubicBezTo>
                  <a:pt x="2959" y="160"/>
                  <a:pt x="2959" y="159"/>
                  <a:pt x="2959" y="158"/>
                </a:cubicBezTo>
                <a:cubicBezTo>
                  <a:pt x="2959" y="156"/>
                  <a:pt x="2959" y="154"/>
                  <a:pt x="2960" y="152"/>
                </a:cubicBezTo>
                <a:cubicBezTo>
                  <a:pt x="2963" y="153"/>
                  <a:pt x="2966" y="154"/>
                  <a:pt x="2970" y="154"/>
                </a:cubicBezTo>
                <a:cubicBezTo>
                  <a:pt x="2977" y="155"/>
                  <a:pt x="2983" y="154"/>
                  <a:pt x="2986" y="145"/>
                </a:cubicBezTo>
                <a:cubicBezTo>
                  <a:pt x="2988" y="140"/>
                  <a:pt x="2987" y="136"/>
                  <a:pt x="2987" y="130"/>
                </a:cubicBezTo>
                <a:cubicBezTo>
                  <a:pt x="2986" y="128"/>
                  <a:pt x="2985" y="127"/>
                  <a:pt x="2985" y="125"/>
                </a:cubicBezTo>
                <a:cubicBezTo>
                  <a:pt x="2984" y="123"/>
                  <a:pt x="2983" y="123"/>
                  <a:pt x="2981" y="125"/>
                </a:cubicBezTo>
                <a:cubicBezTo>
                  <a:pt x="2980" y="126"/>
                  <a:pt x="2978" y="128"/>
                  <a:pt x="2976" y="128"/>
                </a:cubicBezTo>
                <a:cubicBezTo>
                  <a:pt x="2976" y="129"/>
                  <a:pt x="2975" y="130"/>
                  <a:pt x="2975" y="131"/>
                </a:cubicBezTo>
                <a:cubicBezTo>
                  <a:pt x="2976" y="134"/>
                  <a:pt x="2975" y="137"/>
                  <a:pt x="2974" y="140"/>
                </a:cubicBezTo>
                <a:cubicBezTo>
                  <a:pt x="2974" y="138"/>
                  <a:pt x="2974" y="136"/>
                  <a:pt x="2974" y="135"/>
                </a:cubicBezTo>
                <a:cubicBezTo>
                  <a:pt x="2974" y="134"/>
                  <a:pt x="2974" y="134"/>
                  <a:pt x="2974" y="133"/>
                </a:cubicBezTo>
                <a:cubicBezTo>
                  <a:pt x="2973" y="134"/>
                  <a:pt x="2972" y="134"/>
                  <a:pt x="2972" y="134"/>
                </a:cubicBezTo>
                <a:cubicBezTo>
                  <a:pt x="2972" y="135"/>
                  <a:pt x="2971" y="137"/>
                  <a:pt x="2970" y="138"/>
                </a:cubicBezTo>
                <a:cubicBezTo>
                  <a:pt x="2970" y="138"/>
                  <a:pt x="2970" y="138"/>
                  <a:pt x="2970" y="138"/>
                </a:cubicBezTo>
                <a:cubicBezTo>
                  <a:pt x="2970" y="136"/>
                  <a:pt x="2970" y="135"/>
                  <a:pt x="2971" y="132"/>
                </a:cubicBezTo>
                <a:cubicBezTo>
                  <a:pt x="2970" y="133"/>
                  <a:pt x="2969" y="134"/>
                  <a:pt x="2969" y="134"/>
                </a:cubicBezTo>
                <a:cubicBezTo>
                  <a:pt x="2968" y="135"/>
                  <a:pt x="2968" y="136"/>
                  <a:pt x="2967" y="136"/>
                </a:cubicBezTo>
                <a:cubicBezTo>
                  <a:pt x="2968" y="133"/>
                  <a:pt x="2968" y="133"/>
                  <a:pt x="2974" y="132"/>
                </a:cubicBezTo>
                <a:cubicBezTo>
                  <a:pt x="2974" y="131"/>
                  <a:pt x="2973" y="130"/>
                  <a:pt x="2973" y="130"/>
                </a:cubicBezTo>
                <a:cubicBezTo>
                  <a:pt x="2970" y="131"/>
                  <a:pt x="2969" y="130"/>
                  <a:pt x="2969" y="127"/>
                </a:cubicBezTo>
                <a:cubicBezTo>
                  <a:pt x="2970" y="127"/>
                  <a:pt x="2972" y="126"/>
                  <a:pt x="2974" y="126"/>
                </a:cubicBezTo>
                <a:cubicBezTo>
                  <a:pt x="2972" y="124"/>
                  <a:pt x="2970" y="121"/>
                  <a:pt x="2967" y="121"/>
                </a:cubicBezTo>
                <a:cubicBezTo>
                  <a:pt x="2967" y="121"/>
                  <a:pt x="2967" y="120"/>
                  <a:pt x="2967" y="120"/>
                </a:cubicBezTo>
                <a:cubicBezTo>
                  <a:pt x="2964" y="118"/>
                  <a:pt x="2962" y="115"/>
                  <a:pt x="2959" y="113"/>
                </a:cubicBezTo>
                <a:cubicBezTo>
                  <a:pt x="2957" y="112"/>
                  <a:pt x="2954" y="111"/>
                  <a:pt x="2952" y="111"/>
                </a:cubicBezTo>
                <a:cubicBezTo>
                  <a:pt x="2949" y="112"/>
                  <a:pt x="2945" y="113"/>
                  <a:pt x="2942" y="114"/>
                </a:cubicBezTo>
                <a:cubicBezTo>
                  <a:pt x="2939" y="115"/>
                  <a:pt x="2937" y="117"/>
                  <a:pt x="2935" y="120"/>
                </a:cubicBezTo>
                <a:cubicBezTo>
                  <a:pt x="2937" y="120"/>
                  <a:pt x="2938" y="120"/>
                  <a:pt x="2939" y="120"/>
                </a:cubicBezTo>
                <a:cubicBezTo>
                  <a:pt x="2939" y="120"/>
                  <a:pt x="2938" y="121"/>
                  <a:pt x="2937" y="121"/>
                </a:cubicBezTo>
                <a:cubicBezTo>
                  <a:pt x="2935" y="121"/>
                  <a:pt x="2932" y="121"/>
                  <a:pt x="2930" y="123"/>
                </a:cubicBezTo>
                <a:cubicBezTo>
                  <a:pt x="2927" y="127"/>
                  <a:pt x="2923" y="130"/>
                  <a:pt x="2919" y="135"/>
                </a:cubicBezTo>
                <a:cubicBezTo>
                  <a:pt x="2918" y="137"/>
                  <a:pt x="2917" y="139"/>
                  <a:pt x="2916" y="142"/>
                </a:cubicBezTo>
                <a:cubicBezTo>
                  <a:pt x="2916" y="142"/>
                  <a:pt x="2916" y="143"/>
                  <a:pt x="2916" y="143"/>
                </a:cubicBezTo>
                <a:cubicBezTo>
                  <a:pt x="2917" y="145"/>
                  <a:pt x="2918" y="147"/>
                  <a:pt x="2920" y="149"/>
                </a:cubicBezTo>
                <a:cubicBezTo>
                  <a:pt x="2921" y="147"/>
                  <a:pt x="2922" y="146"/>
                  <a:pt x="2923" y="145"/>
                </a:cubicBezTo>
                <a:cubicBezTo>
                  <a:pt x="2923" y="146"/>
                  <a:pt x="2923" y="147"/>
                  <a:pt x="2922" y="149"/>
                </a:cubicBezTo>
                <a:cubicBezTo>
                  <a:pt x="2921" y="150"/>
                  <a:pt x="2920" y="151"/>
                  <a:pt x="2920" y="153"/>
                </a:cubicBezTo>
                <a:cubicBezTo>
                  <a:pt x="2919" y="153"/>
                  <a:pt x="2920" y="155"/>
                  <a:pt x="2920" y="155"/>
                </a:cubicBezTo>
                <a:cubicBezTo>
                  <a:pt x="2923" y="159"/>
                  <a:pt x="2926" y="159"/>
                  <a:pt x="2930" y="157"/>
                </a:cubicBezTo>
                <a:cubicBezTo>
                  <a:pt x="2932" y="155"/>
                  <a:pt x="2935" y="154"/>
                  <a:pt x="2938" y="153"/>
                </a:cubicBezTo>
                <a:cubicBezTo>
                  <a:pt x="2939" y="153"/>
                  <a:pt x="2940" y="152"/>
                  <a:pt x="2940" y="151"/>
                </a:cubicBezTo>
                <a:cubicBezTo>
                  <a:pt x="2940" y="147"/>
                  <a:pt x="2940" y="144"/>
                  <a:pt x="2940" y="141"/>
                </a:cubicBezTo>
                <a:cubicBezTo>
                  <a:pt x="2940" y="138"/>
                  <a:pt x="2940" y="135"/>
                  <a:pt x="2940" y="132"/>
                </a:cubicBezTo>
                <a:cubicBezTo>
                  <a:pt x="2941" y="134"/>
                  <a:pt x="2941" y="137"/>
                  <a:pt x="2942" y="140"/>
                </a:cubicBezTo>
                <a:cubicBezTo>
                  <a:pt x="2943" y="144"/>
                  <a:pt x="2943" y="149"/>
                  <a:pt x="2941" y="153"/>
                </a:cubicBezTo>
                <a:cubicBezTo>
                  <a:pt x="2941" y="154"/>
                  <a:pt x="2940" y="155"/>
                  <a:pt x="2940" y="155"/>
                </a:cubicBezTo>
                <a:cubicBezTo>
                  <a:pt x="2936" y="155"/>
                  <a:pt x="2933" y="157"/>
                  <a:pt x="2930" y="159"/>
                </a:cubicBezTo>
                <a:cubicBezTo>
                  <a:pt x="2925" y="162"/>
                  <a:pt x="2921" y="160"/>
                  <a:pt x="2918" y="156"/>
                </a:cubicBezTo>
                <a:cubicBezTo>
                  <a:pt x="2918" y="155"/>
                  <a:pt x="2918" y="154"/>
                  <a:pt x="2918" y="154"/>
                </a:cubicBezTo>
                <a:cubicBezTo>
                  <a:pt x="2919" y="151"/>
                  <a:pt x="2918" y="149"/>
                  <a:pt x="2916" y="147"/>
                </a:cubicBezTo>
                <a:cubicBezTo>
                  <a:pt x="2915" y="145"/>
                  <a:pt x="2913" y="143"/>
                  <a:pt x="2914" y="140"/>
                </a:cubicBezTo>
                <a:cubicBezTo>
                  <a:pt x="2915" y="138"/>
                  <a:pt x="2916" y="137"/>
                  <a:pt x="2917" y="135"/>
                </a:cubicBezTo>
                <a:cubicBezTo>
                  <a:pt x="2919" y="132"/>
                  <a:pt x="2921" y="130"/>
                  <a:pt x="2923" y="127"/>
                </a:cubicBezTo>
                <a:cubicBezTo>
                  <a:pt x="2923" y="127"/>
                  <a:pt x="2922" y="127"/>
                  <a:pt x="2922" y="127"/>
                </a:cubicBezTo>
                <a:cubicBezTo>
                  <a:pt x="2917" y="128"/>
                  <a:pt x="2912" y="130"/>
                  <a:pt x="2909" y="133"/>
                </a:cubicBezTo>
                <a:cubicBezTo>
                  <a:pt x="2904" y="138"/>
                  <a:pt x="2901" y="143"/>
                  <a:pt x="2901" y="149"/>
                </a:cubicBezTo>
                <a:cubicBezTo>
                  <a:pt x="2900" y="156"/>
                  <a:pt x="2903" y="162"/>
                  <a:pt x="2906" y="168"/>
                </a:cubicBezTo>
                <a:cubicBezTo>
                  <a:pt x="2907" y="169"/>
                  <a:pt x="2907" y="170"/>
                  <a:pt x="2907" y="172"/>
                </a:cubicBezTo>
                <a:cubicBezTo>
                  <a:pt x="2907" y="173"/>
                  <a:pt x="2907" y="175"/>
                  <a:pt x="2906" y="176"/>
                </a:cubicBezTo>
                <a:cubicBezTo>
                  <a:pt x="2905" y="178"/>
                  <a:pt x="2906" y="179"/>
                  <a:pt x="2907" y="179"/>
                </a:cubicBezTo>
                <a:cubicBezTo>
                  <a:pt x="2910" y="180"/>
                  <a:pt x="2913" y="180"/>
                  <a:pt x="2916" y="181"/>
                </a:cubicBezTo>
                <a:cubicBezTo>
                  <a:pt x="2916" y="181"/>
                  <a:pt x="2917" y="180"/>
                  <a:pt x="2917" y="180"/>
                </a:cubicBezTo>
                <a:cubicBezTo>
                  <a:pt x="2918" y="178"/>
                  <a:pt x="2918" y="177"/>
                  <a:pt x="2918" y="176"/>
                </a:cubicBezTo>
                <a:cubicBezTo>
                  <a:pt x="2920" y="174"/>
                  <a:pt x="2920" y="171"/>
                  <a:pt x="2920" y="168"/>
                </a:cubicBezTo>
                <a:cubicBezTo>
                  <a:pt x="2920" y="168"/>
                  <a:pt x="2920" y="167"/>
                  <a:pt x="2920" y="167"/>
                </a:cubicBezTo>
                <a:cubicBezTo>
                  <a:pt x="2920" y="166"/>
                  <a:pt x="2920" y="166"/>
                  <a:pt x="2920" y="166"/>
                </a:cubicBezTo>
                <a:cubicBezTo>
                  <a:pt x="2921" y="169"/>
                  <a:pt x="2922" y="169"/>
                  <a:pt x="2924" y="169"/>
                </a:cubicBezTo>
                <a:cubicBezTo>
                  <a:pt x="2925" y="169"/>
                  <a:pt x="2926" y="169"/>
                  <a:pt x="2927" y="169"/>
                </a:cubicBezTo>
                <a:cubicBezTo>
                  <a:pt x="2929" y="169"/>
                  <a:pt x="2932" y="170"/>
                  <a:pt x="2933" y="165"/>
                </a:cubicBezTo>
                <a:cubicBezTo>
                  <a:pt x="2933" y="168"/>
                  <a:pt x="2933" y="169"/>
                  <a:pt x="2933" y="170"/>
                </a:cubicBezTo>
                <a:cubicBezTo>
                  <a:pt x="2932" y="171"/>
                  <a:pt x="2930" y="172"/>
                  <a:pt x="2929" y="172"/>
                </a:cubicBezTo>
                <a:cubicBezTo>
                  <a:pt x="2928" y="173"/>
                  <a:pt x="2927" y="174"/>
                  <a:pt x="2928" y="175"/>
                </a:cubicBezTo>
                <a:cubicBezTo>
                  <a:pt x="2929" y="178"/>
                  <a:pt x="2930" y="180"/>
                  <a:pt x="2932" y="182"/>
                </a:cubicBezTo>
                <a:cubicBezTo>
                  <a:pt x="2934" y="183"/>
                  <a:pt x="2936" y="182"/>
                  <a:pt x="2937" y="181"/>
                </a:cubicBezTo>
                <a:cubicBezTo>
                  <a:pt x="2938" y="180"/>
                  <a:pt x="2938" y="179"/>
                  <a:pt x="2939" y="179"/>
                </a:cubicBezTo>
                <a:cubicBezTo>
                  <a:pt x="2941" y="177"/>
                  <a:pt x="2942" y="176"/>
                  <a:pt x="2944" y="175"/>
                </a:cubicBezTo>
                <a:cubicBezTo>
                  <a:pt x="2948" y="170"/>
                  <a:pt x="2950" y="164"/>
                  <a:pt x="2952" y="159"/>
                </a:cubicBezTo>
                <a:cubicBezTo>
                  <a:pt x="2952" y="158"/>
                  <a:pt x="2951" y="157"/>
                  <a:pt x="2950" y="157"/>
                </a:cubicBezTo>
                <a:cubicBezTo>
                  <a:pt x="2950" y="156"/>
                  <a:pt x="2949" y="155"/>
                  <a:pt x="2947" y="154"/>
                </a:cubicBezTo>
                <a:close/>
                <a:moveTo>
                  <a:pt x="2900" y="161"/>
                </a:moveTo>
                <a:cubicBezTo>
                  <a:pt x="2899" y="161"/>
                  <a:pt x="2898" y="162"/>
                  <a:pt x="2897" y="163"/>
                </a:cubicBezTo>
                <a:cubicBezTo>
                  <a:pt x="2896" y="164"/>
                  <a:pt x="2896" y="164"/>
                  <a:pt x="2896" y="165"/>
                </a:cubicBezTo>
                <a:cubicBezTo>
                  <a:pt x="2896" y="168"/>
                  <a:pt x="2900" y="172"/>
                  <a:pt x="2903" y="172"/>
                </a:cubicBezTo>
                <a:cubicBezTo>
                  <a:pt x="2905" y="172"/>
                  <a:pt x="2906" y="171"/>
                  <a:pt x="2905" y="169"/>
                </a:cubicBezTo>
                <a:cubicBezTo>
                  <a:pt x="2903" y="166"/>
                  <a:pt x="2902" y="163"/>
                  <a:pt x="2900" y="161"/>
                </a:cubicBezTo>
                <a:close/>
                <a:moveTo>
                  <a:pt x="2953" y="163"/>
                </a:moveTo>
                <a:cubicBezTo>
                  <a:pt x="2950" y="167"/>
                  <a:pt x="2948" y="172"/>
                  <a:pt x="2946" y="176"/>
                </a:cubicBezTo>
                <a:cubicBezTo>
                  <a:pt x="2949" y="176"/>
                  <a:pt x="2951" y="176"/>
                  <a:pt x="2954" y="176"/>
                </a:cubicBezTo>
                <a:cubicBezTo>
                  <a:pt x="2954" y="176"/>
                  <a:pt x="2954" y="175"/>
                  <a:pt x="2954" y="174"/>
                </a:cubicBezTo>
                <a:cubicBezTo>
                  <a:pt x="2954" y="172"/>
                  <a:pt x="2954" y="169"/>
                  <a:pt x="2954" y="167"/>
                </a:cubicBezTo>
                <a:cubicBezTo>
                  <a:pt x="2954" y="165"/>
                  <a:pt x="2953" y="164"/>
                  <a:pt x="2953" y="163"/>
                </a:cubicBezTo>
                <a:close/>
                <a:moveTo>
                  <a:pt x="2900" y="142"/>
                </a:moveTo>
                <a:cubicBezTo>
                  <a:pt x="2899" y="143"/>
                  <a:pt x="2899" y="143"/>
                  <a:pt x="2898" y="143"/>
                </a:cubicBezTo>
                <a:cubicBezTo>
                  <a:pt x="2898" y="143"/>
                  <a:pt x="2897" y="143"/>
                  <a:pt x="2897" y="143"/>
                </a:cubicBezTo>
                <a:cubicBezTo>
                  <a:pt x="2896" y="142"/>
                  <a:pt x="2896" y="142"/>
                  <a:pt x="2896" y="141"/>
                </a:cubicBezTo>
                <a:cubicBezTo>
                  <a:pt x="2897" y="139"/>
                  <a:pt x="2897" y="137"/>
                  <a:pt x="2898" y="135"/>
                </a:cubicBezTo>
                <a:cubicBezTo>
                  <a:pt x="2898" y="135"/>
                  <a:pt x="2898" y="135"/>
                  <a:pt x="2897" y="135"/>
                </a:cubicBezTo>
                <a:cubicBezTo>
                  <a:pt x="2896" y="136"/>
                  <a:pt x="2895" y="136"/>
                  <a:pt x="2894" y="138"/>
                </a:cubicBezTo>
                <a:cubicBezTo>
                  <a:pt x="2894" y="139"/>
                  <a:pt x="2895" y="144"/>
                  <a:pt x="2897" y="145"/>
                </a:cubicBezTo>
                <a:cubicBezTo>
                  <a:pt x="2898" y="145"/>
                  <a:pt x="2900" y="144"/>
                  <a:pt x="2900" y="142"/>
                </a:cubicBezTo>
                <a:close/>
                <a:moveTo>
                  <a:pt x="2900" y="161"/>
                </a:moveTo>
                <a:cubicBezTo>
                  <a:pt x="2900" y="161"/>
                  <a:pt x="2898" y="162"/>
                  <a:pt x="2897" y="163"/>
                </a:cubicBezTo>
                <a:cubicBezTo>
                  <a:pt x="2897" y="164"/>
                  <a:pt x="2896" y="165"/>
                  <a:pt x="2896" y="165"/>
                </a:cubicBezTo>
                <a:cubicBezTo>
                  <a:pt x="2896" y="168"/>
                  <a:pt x="2900" y="173"/>
                  <a:pt x="2903" y="172"/>
                </a:cubicBezTo>
                <a:cubicBezTo>
                  <a:pt x="2905" y="172"/>
                  <a:pt x="2906" y="171"/>
                  <a:pt x="2905" y="169"/>
                </a:cubicBezTo>
                <a:cubicBezTo>
                  <a:pt x="2903" y="166"/>
                  <a:pt x="2902" y="163"/>
                  <a:pt x="2900" y="161"/>
                </a:cubicBezTo>
                <a:close/>
                <a:moveTo>
                  <a:pt x="2953" y="163"/>
                </a:moveTo>
                <a:cubicBezTo>
                  <a:pt x="2951" y="167"/>
                  <a:pt x="2948" y="172"/>
                  <a:pt x="2946" y="176"/>
                </a:cubicBezTo>
                <a:cubicBezTo>
                  <a:pt x="2949" y="176"/>
                  <a:pt x="2951" y="177"/>
                  <a:pt x="2954" y="176"/>
                </a:cubicBezTo>
                <a:cubicBezTo>
                  <a:pt x="2954" y="176"/>
                  <a:pt x="2955" y="175"/>
                  <a:pt x="2955" y="175"/>
                </a:cubicBezTo>
                <a:cubicBezTo>
                  <a:pt x="2955" y="172"/>
                  <a:pt x="2955" y="169"/>
                  <a:pt x="2954" y="167"/>
                </a:cubicBezTo>
                <a:cubicBezTo>
                  <a:pt x="2954" y="165"/>
                  <a:pt x="2954" y="164"/>
                  <a:pt x="2953" y="163"/>
                </a:cubicBezTo>
                <a:close/>
                <a:moveTo>
                  <a:pt x="2900" y="143"/>
                </a:moveTo>
                <a:cubicBezTo>
                  <a:pt x="2900" y="143"/>
                  <a:pt x="2899" y="143"/>
                  <a:pt x="2899" y="143"/>
                </a:cubicBezTo>
                <a:cubicBezTo>
                  <a:pt x="2898" y="143"/>
                  <a:pt x="2897" y="143"/>
                  <a:pt x="2897" y="143"/>
                </a:cubicBezTo>
                <a:cubicBezTo>
                  <a:pt x="2897" y="143"/>
                  <a:pt x="2896" y="142"/>
                  <a:pt x="2896" y="141"/>
                </a:cubicBezTo>
                <a:cubicBezTo>
                  <a:pt x="2897" y="139"/>
                  <a:pt x="2897" y="137"/>
                  <a:pt x="2898" y="135"/>
                </a:cubicBezTo>
                <a:cubicBezTo>
                  <a:pt x="2898" y="135"/>
                  <a:pt x="2898" y="135"/>
                  <a:pt x="2897" y="135"/>
                </a:cubicBezTo>
                <a:cubicBezTo>
                  <a:pt x="2897" y="136"/>
                  <a:pt x="2895" y="136"/>
                  <a:pt x="2895" y="138"/>
                </a:cubicBezTo>
                <a:cubicBezTo>
                  <a:pt x="2894" y="139"/>
                  <a:pt x="2895" y="144"/>
                  <a:pt x="2897" y="145"/>
                </a:cubicBezTo>
                <a:cubicBezTo>
                  <a:pt x="2899" y="146"/>
                  <a:pt x="2900" y="145"/>
                  <a:pt x="2900" y="143"/>
                </a:cubicBezTo>
                <a:close/>
                <a:moveTo>
                  <a:pt x="2952" y="134"/>
                </a:moveTo>
                <a:cubicBezTo>
                  <a:pt x="2956" y="131"/>
                  <a:pt x="2956" y="131"/>
                  <a:pt x="2960" y="129"/>
                </a:cubicBezTo>
                <a:cubicBezTo>
                  <a:pt x="2960" y="131"/>
                  <a:pt x="2961" y="133"/>
                  <a:pt x="2962" y="133"/>
                </a:cubicBezTo>
                <a:cubicBezTo>
                  <a:pt x="2960" y="134"/>
                  <a:pt x="2958" y="135"/>
                  <a:pt x="2956" y="137"/>
                </a:cubicBezTo>
                <a:cubicBezTo>
                  <a:pt x="2955" y="136"/>
                  <a:pt x="2955" y="135"/>
                  <a:pt x="2954" y="134"/>
                </a:cubicBezTo>
                <a:cubicBezTo>
                  <a:pt x="2954" y="134"/>
                  <a:pt x="2953" y="134"/>
                  <a:pt x="2952" y="134"/>
                </a:cubicBezTo>
                <a:close/>
                <a:moveTo>
                  <a:pt x="2958" y="134"/>
                </a:moveTo>
                <a:cubicBezTo>
                  <a:pt x="2958" y="133"/>
                  <a:pt x="2957" y="133"/>
                  <a:pt x="2956" y="133"/>
                </a:cubicBezTo>
                <a:cubicBezTo>
                  <a:pt x="2956" y="133"/>
                  <a:pt x="2955" y="134"/>
                  <a:pt x="2955" y="134"/>
                </a:cubicBezTo>
                <a:cubicBezTo>
                  <a:pt x="2955" y="135"/>
                  <a:pt x="2956" y="135"/>
                  <a:pt x="2956" y="135"/>
                </a:cubicBezTo>
                <a:cubicBezTo>
                  <a:pt x="2957" y="135"/>
                  <a:pt x="2957" y="135"/>
                  <a:pt x="2958" y="134"/>
                </a:cubicBezTo>
                <a:close/>
                <a:moveTo>
                  <a:pt x="2939" y="124"/>
                </a:moveTo>
                <a:cubicBezTo>
                  <a:pt x="2933" y="123"/>
                  <a:pt x="2930" y="126"/>
                  <a:pt x="2929" y="134"/>
                </a:cubicBezTo>
                <a:cubicBezTo>
                  <a:pt x="2930" y="132"/>
                  <a:pt x="2931" y="129"/>
                  <a:pt x="2932" y="127"/>
                </a:cubicBezTo>
                <a:cubicBezTo>
                  <a:pt x="2933" y="127"/>
                  <a:pt x="2933" y="127"/>
                  <a:pt x="2933" y="127"/>
                </a:cubicBezTo>
                <a:cubicBezTo>
                  <a:pt x="2933" y="128"/>
                  <a:pt x="2933" y="129"/>
                  <a:pt x="2933" y="130"/>
                </a:cubicBezTo>
                <a:cubicBezTo>
                  <a:pt x="2934" y="126"/>
                  <a:pt x="2936" y="124"/>
                  <a:pt x="2939" y="124"/>
                </a:cubicBezTo>
                <a:close/>
                <a:moveTo>
                  <a:pt x="2983" y="126"/>
                </a:moveTo>
                <a:cubicBezTo>
                  <a:pt x="2981" y="127"/>
                  <a:pt x="2979" y="128"/>
                  <a:pt x="2978" y="130"/>
                </a:cubicBezTo>
                <a:cubicBezTo>
                  <a:pt x="2980" y="130"/>
                  <a:pt x="2982" y="128"/>
                  <a:pt x="2983" y="126"/>
                </a:cubicBezTo>
                <a:close/>
                <a:moveTo>
                  <a:pt x="2950" y="128"/>
                </a:moveTo>
                <a:cubicBezTo>
                  <a:pt x="2951" y="126"/>
                  <a:pt x="2952" y="125"/>
                  <a:pt x="2953" y="124"/>
                </a:cubicBezTo>
                <a:cubicBezTo>
                  <a:pt x="2950" y="125"/>
                  <a:pt x="2949" y="126"/>
                  <a:pt x="2950" y="128"/>
                </a:cubicBezTo>
                <a:close/>
                <a:moveTo>
                  <a:pt x="2960" y="149"/>
                </a:moveTo>
                <a:cubicBezTo>
                  <a:pt x="2958" y="150"/>
                  <a:pt x="2957" y="150"/>
                  <a:pt x="2957" y="151"/>
                </a:cubicBezTo>
                <a:cubicBezTo>
                  <a:pt x="2958" y="151"/>
                  <a:pt x="2959" y="150"/>
                  <a:pt x="2960" y="149"/>
                </a:cubicBezTo>
                <a:close/>
                <a:moveTo>
                  <a:pt x="2959" y="134"/>
                </a:moveTo>
                <a:cubicBezTo>
                  <a:pt x="2958" y="133"/>
                  <a:pt x="2957" y="133"/>
                  <a:pt x="2956" y="133"/>
                </a:cubicBezTo>
                <a:cubicBezTo>
                  <a:pt x="2956" y="133"/>
                  <a:pt x="2955" y="134"/>
                  <a:pt x="2955" y="134"/>
                </a:cubicBezTo>
                <a:cubicBezTo>
                  <a:pt x="2955" y="134"/>
                  <a:pt x="2956" y="135"/>
                  <a:pt x="2956" y="135"/>
                </a:cubicBezTo>
                <a:cubicBezTo>
                  <a:pt x="2957" y="135"/>
                  <a:pt x="2957" y="134"/>
                  <a:pt x="2959" y="134"/>
                </a:cubicBezTo>
                <a:close/>
                <a:moveTo>
                  <a:pt x="3483" y="255"/>
                </a:moveTo>
                <a:cubicBezTo>
                  <a:pt x="3483" y="256"/>
                  <a:pt x="3484" y="257"/>
                  <a:pt x="3484" y="259"/>
                </a:cubicBezTo>
                <a:cubicBezTo>
                  <a:pt x="3485" y="260"/>
                  <a:pt x="3485" y="262"/>
                  <a:pt x="3485" y="264"/>
                </a:cubicBezTo>
                <a:cubicBezTo>
                  <a:pt x="3485" y="266"/>
                  <a:pt x="3486" y="267"/>
                  <a:pt x="3486" y="269"/>
                </a:cubicBezTo>
                <a:cubicBezTo>
                  <a:pt x="3487" y="272"/>
                  <a:pt x="3485" y="274"/>
                  <a:pt x="3482" y="274"/>
                </a:cubicBezTo>
                <a:cubicBezTo>
                  <a:pt x="3480" y="274"/>
                  <a:pt x="3477" y="273"/>
                  <a:pt x="3474" y="273"/>
                </a:cubicBezTo>
                <a:cubicBezTo>
                  <a:pt x="3474" y="273"/>
                  <a:pt x="3473" y="273"/>
                  <a:pt x="3473" y="274"/>
                </a:cubicBezTo>
                <a:cubicBezTo>
                  <a:pt x="3471" y="275"/>
                  <a:pt x="3469" y="276"/>
                  <a:pt x="3468" y="278"/>
                </a:cubicBezTo>
                <a:cubicBezTo>
                  <a:pt x="3466" y="280"/>
                  <a:pt x="3463" y="281"/>
                  <a:pt x="3461" y="279"/>
                </a:cubicBezTo>
                <a:cubicBezTo>
                  <a:pt x="3459" y="276"/>
                  <a:pt x="3458" y="274"/>
                  <a:pt x="3456" y="271"/>
                </a:cubicBezTo>
                <a:cubicBezTo>
                  <a:pt x="3455" y="270"/>
                  <a:pt x="3456" y="268"/>
                  <a:pt x="3458" y="266"/>
                </a:cubicBezTo>
                <a:cubicBezTo>
                  <a:pt x="3455" y="266"/>
                  <a:pt x="3454" y="266"/>
                  <a:pt x="3452" y="266"/>
                </a:cubicBezTo>
                <a:cubicBezTo>
                  <a:pt x="3451" y="268"/>
                  <a:pt x="3450" y="270"/>
                  <a:pt x="3449" y="272"/>
                </a:cubicBezTo>
                <a:cubicBezTo>
                  <a:pt x="3449" y="273"/>
                  <a:pt x="3449" y="274"/>
                  <a:pt x="3449" y="275"/>
                </a:cubicBezTo>
                <a:cubicBezTo>
                  <a:pt x="3449" y="278"/>
                  <a:pt x="3448" y="279"/>
                  <a:pt x="3445" y="279"/>
                </a:cubicBezTo>
                <a:cubicBezTo>
                  <a:pt x="3442" y="278"/>
                  <a:pt x="3439" y="278"/>
                  <a:pt x="3436" y="276"/>
                </a:cubicBezTo>
                <a:cubicBezTo>
                  <a:pt x="3434" y="276"/>
                  <a:pt x="3433" y="274"/>
                  <a:pt x="3434" y="272"/>
                </a:cubicBezTo>
                <a:cubicBezTo>
                  <a:pt x="3434" y="272"/>
                  <a:pt x="3434" y="271"/>
                  <a:pt x="3434" y="271"/>
                </a:cubicBezTo>
                <a:cubicBezTo>
                  <a:pt x="3432" y="270"/>
                  <a:pt x="3430" y="269"/>
                  <a:pt x="3428" y="267"/>
                </a:cubicBezTo>
                <a:cubicBezTo>
                  <a:pt x="3427" y="266"/>
                  <a:pt x="3425" y="264"/>
                  <a:pt x="3425" y="263"/>
                </a:cubicBezTo>
                <a:cubicBezTo>
                  <a:pt x="3424" y="261"/>
                  <a:pt x="3424" y="259"/>
                  <a:pt x="3426" y="258"/>
                </a:cubicBezTo>
                <a:cubicBezTo>
                  <a:pt x="3429" y="255"/>
                  <a:pt x="3430" y="253"/>
                  <a:pt x="3429" y="249"/>
                </a:cubicBezTo>
                <a:cubicBezTo>
                  <a:pt x="3429" y="247"/>
                  <a:pt x="3429" y="244"/>
                  <a:pt x="3429" y="243"/>
                </a:cubicBezTo>
                <a:cubicBezTo>
                  <a:pt x="3428" y="242"/>
                  <a:pt x="3426" y="241"/>
                  <a:pt x="3425" y="240"/>
                </a:cubicBezTo>
                <a:cubicBezTo>
                  <a:pt x="3424" y="239"/>
                  <a:pt x="3423" y="237"/>
                  <a:pt x="3423" y="235"/>
                </a:cubicBezTo>
                <a:cubicBezTo>
                  <a:pt x="3423" y="232"/>
                  <a:pt x="3426" y="229"/>
                  <a:pt x="3429" y="228"/>
                </a:cubicBezTo>
                <a:cubicBezTo>
                  <a:pt x="3429" y="229"/>
                  <a:pt x="3429" y="230"/>
                  <a:pt x="3430" y="231"/>
                </a:cubicBezTo>
                <a:cubicBezTo>
                  <a:pt x="3430" y="232"/>
                  <a:pt x="3430" y="233"/>
                  <a:pt x="3430" y="234"/>
                </a:cubicBezTo>
                <a:cubicBezTo>
                  <a:pt x="3429" y="234"/>
                  <a:pt x="3429" y="234"/>
                  <a:pt x="3429" y="234"/>
                </a:cubicBezTo>
                <a:cubicBezTo>
                  <a:pt x="3428" y="235"/>
                  <a:pt x="3428" y="236"/>
                  <a:pt x="3427" y="238"/>
                </a:cubicBezTo>
                <a:cubicBezTo>
                  <a:pt x="3428" y="238"/>
                  <a:pt x="3429" y="238"/>
                  <a:pt x="3429" y="237"/>
                </a:cubicBezTo>
                <a:cubicBezTo>
                  <a:pt x="3431" y="236"/>
                  <a:pt x="3431" y="235"/>
                  <a:pt x="3432" y="234"/>
                </a:cubicBezTo>
                <a:cubicBezTo>
                  <a:pt x="3436" y="227"/>
                  <a:pt x="3442" y="223"/>
                  <a:pt x="3450" y="222"/>
                </a:cubicBezTo>
                <a:cubicBezTo>
                  <a:pt x="3453" y="221"/>
                  <a:pt x="3456" y="220"/>
                  <a:pt x="3459" y="217"/>
                </a:cubicBezTo>
                <a:cubicBezTo>
                  <a:pt x="3459" y="217"/>
                  <a:pt x="3460" y="217"/>
                  <a:pt x="3460" y="217"/>
                </a:cubicBezTo>
                <a:cubicBezTo>
                  <a:pt x="3463" y="216"/>
                  <a:pt x="3464" y="214"/>
                  <a:pt x="3466" y="212"/>
                </a:cubicBezTo>
                <a:cubicBezTo>
                  <a:pt x="3474" y="204"/>
                  <a:pt x="3485" y="204"/>
                  <a:pt x="3493" y="211"/>
                </a:cubicBezTo>
                <a:cubicBezTo>
                  <a:pt x="3496" y="213"/>
                  <a:pt x="3498" y="215"/>
                  <a:pt x="3501" y="217"/>
                </a:cubicBezTo>
                <a:cubicBezTo>
                  <a:pt x="3502" y="218"/>
                  <a:pt x="3504" y="219"/>
                  <a:pt x="3505" y="221"/>
                </a:cubicBezTo>
                <a:cubicBezTo>
                  <a:pt x="3505" y="223"/>
                  <a:pt x="3506" y="223"/>
                  <a:pt x="3507" y="222"/>
                </a:cubicBezTo>
                <a:cubicBezTo>
                  <a:pt x="3508" y="221"/>
                  <a:pt x="3509" y="221"/>
                  <a:pt x="3510" y="220"/>
                </a:cubicBezTo>
                <a:cubicBezTo>
                  <a:pt x="3512" y="217"/>
                  <a:pt x="3515" y="217"/>
                  <a:pt x="3516" y="220"/>
                </a:cubicBezTo>
                <a:cubicBezTo>
                  <a:pt x="3517" y="223"/>
                  <a:pt x="3518" y="226"/>
                  <a:pt x="3518" y="229"/>
                </a:cubicBezTo>
                <a:cubicBezTo>
                  <a:pt x="3519" y="234"/>
                  <a:pt x="3519" y="238"/>
                  <a:pt x="3517" y="242"/>
                </a:cubicBezTo>
                <a:cubicBezTo>
                  <a:pt x="3515" y="249"/>
                  <a:pt x="3510" y="252"/>
                  <a:pt x="3504" y="252"/>
                </a:cubicBezTo>
                <a:cubicBezTo>
                  <a:pt x="3503" y="252"/>
                  <a:pt x="3502" y="252"/>
                  <a:pt x="3502" y="252"/>
                </a:cubicBezTo>
                <a:cubicBezTo>
                  <a:pt x="3499" y="252"/>
                  <a:pt x="3498" y="252"/>
                  <a:pt x="3497" y="255"/>
                </a:cubicBezTo>
                <a:cubicBezTo>
                  <a:pt x="3496" y="259"/>
                  <a:pt x="3490" y="260"/>
                  <a:pt x="3487" y="257"/>
                </a:cubicBezTo>
                <a:cubicBezTo>
                  <a:pt x="3485" y="256"/>
                  <a:pt x="3485" y="255"/>
                  <a:pt x="3484" y="254"/>
                </a:cubicBezTo>
                <a:cubicBezTo>
                  <a:pt x="3483" y="255"/>
                  <a:pt x="3483" y="255"/>
                  <a:pt x="3483" y="255"/>
                </a:cubicBezTo>
                <a:close/>
                <a:moveTo>
                  <a:pt x="3477" y="250"/>
                </a:moveTo>
                <a:cubicBezTo>
                  <a:pt x="3481" y="252"/>
                  <a:pt x="3484" y="253"/>
                  <a:pt x="3487" y="256"/>
                </a:cubicBezTo>
                <a:cubicBezTo>
                  <a:pt x="3489" y="257"/>
                  <a:pt x="3491" y="258"/>
                  <a:pt x="3493" y="257"/>
                </a:cubicBezTo>
                <a:cubicBezTo>
                  <a:pt x="3495" y="257"/>
                  <a:pt x="3497" y="255"/>
                  <a:pt x="3497" y="251"/>
                </a:cubicBezTo>
                <a:cubicBezTo>
                  <a:pt x="3496" y="252"/>
                  <a:pt x="3496" y="252"/>
                  <a:pt x="3496" y="252"/>
                </a:cubicBezTo>
                <a:cubicBezTo>
                  <a:pt x="3495" y="254"/>
                  <a:pt x="3494" y="255"/>
                  <a:pt x="3493" y="256"/>
                </a:cubicBezTo>
                <a:cubicBezTo>
                  <a:pt x="3492" y="257"/>
                  <a:pt x="3491" y="257"/>
                  <a:pt x="3490" y="256"/>
                </a:cubicBezTo>
                <a:cubicBezTo>
                  <a:pt x="3489" y="256"/>
                  <a:pt x="3489" y="255"/>
                  <a:pt x="3489" y="254"/>
                </a:cubicBezTo>
                <a:cubicBezTo>
                  <a:pt x="3489" y="252"/>
                  <a:pt x="3489" y="250"/>
                  <a:pt x="3490" y="248"/>
                </a:cubicBezTo>
                <a:cubicBezTo>
                  <a:pt x="3493" y="249"/>
                  <a:pt x="3496" y="250"/>
                  <a:pt x="3500" y="250"/>
                </a:cubicBezTo>
                <a:cubicBezTo>
                  <a:pt x="3507" y="251"/>
                  <a:pt x="3513" y="250"/>
                  <a:pt x="3516" y="241"/>
                </a:cubicBezTo>
                <a:cubicBezTo>
                  <a:pt x="3518" y="236"/>
                  <a:pt x="3517" y="232"/>
                  <a:pt x="3516" y="226"/>
                </a:cubicBezTo>
                <a:cubicBezTo>
                  <a:pt x="3516" y="224"/>
                  <a:pt x="3515" y="223"/>
                  <a:pt x="3515" y="221"/>
                </a:cubicBezTo>
                <a:cubicBezTo>
                  <a:pt x="3514" y="219"/>
                  <a:pt x="3513" y="219"/>
                  <a:pt x="3511" y="221"/>
                </a:cubicBezTo>
                <a:cubicBezTo>
                  <a:pt x="3510" y="222"/>
                  <a:pt x="3508" y="224"/>
                  <a:pt x="3506" y="224"/>
                </a:cubicBezTo>
                <a:cubicBezTo>
                  <a:pt x="3505" y="225"/>
                  <a:pt x="3505" y="226"/>
                  <a:pt x="3505" y="227"/>
                </a:cubicBezTo>
                <a:cubicBezTo>
                  <a:pt x="3506" y="230"/>
                  <a:pt x="3505" y="233"/>
                  <a:pt x="3504" y="236"/>
                </a:cubicBezTo>
                <a:cubicBezTo>
                  <a:pt x="3504" y="234"/>
                  <a:pt x="3504" y="232"/>
                  <a:pt x="3504" y="231"/>
                </a:cubicBezTo>
                <a:cubicBezTo>
                  <a:pt x="3504" y="230"/>
                  <a:pt x="3504" y="230"/>
                  <a:pt x="3504" y="229"/>
                </a:cubicBezTo>
                <a:cubicBezTo>
                  <a:pt x="3503" y="230"/>
                  <a:pt x="3502" y="230"/>
                  <a:pt x="3502" y="230"/>
                </a:cubicBezTo>
                <a:cubicBezTo>
                  <a:pt x="3502" y="231"/>
                  <a:pt x="3501" y="233"/>
                  <a:pt x="3500" y="234"/>
                </a:cubicBezTo>
                <a:cubicBezTo>
                  <a:pt x="3500" y="234"/>
                  <a:pt x="3500" y="234"/>
                  <a:pt x="3500" y="234"/>
                </a:cubicBezTo>
                <a:cubicBezTo>
                  <a:pt x="3500" y="232"/>
                  <a:pt x="3500" y="231"/>
                  <a:pt x="3501" y="228"/>
                </a:cubicBezTo>
                <a:cubicBezTo>
                  <a:pt x="3500" y="229"/>
                  <a:pt x="3499" y="230"/>
                  <a:pt x="3498" y="230"/>
                </a:cubicBezTo>
                <a:cubicBezTo>
                  <a:pt x="3498" y="231"/>
                  <a:pt x="3498" y="232"/>
                  <a:pt x="3497" y="232"/>
                </a:cubicBezTo>
                <a:cubicBezTo>
                  <a:pt x="3498" y="229"/>
                  <a:pt x="3498" y="229"/>
                  <a:pt x="3504" y="228"/>
                </a:cubicBezTo>
                <a:cubicBezTo>
                  <a:pt x="3504" y="227"/>
                  <a:pt x="3503" y="226"/>
                  <a:pt x="3503" y="226"/>
                </a:cubicBezTo>
                <a:cubicBezTo>
                  <a:pt x="3500" y="227"/>
                  <a:pt x="3499" y="226"/>
                  <a:pt x="3499" y="223"/>
                </a:cubicBezTo>
                <a:cubicBezTo>
                  <a:pt x="3500" y="223"/>
                  <a:pt x="3502" y="222"/>
                  <a:pt x="3504" y="222"/>
                </a:cubicBezTo>
                <a:cubicBezTo>
                  <a:pt x="3502" y="220"/>
                  <a:pt x="3500" y="217"/>
                  <a:pt x="3497" y="217"/>
                </a:cubicBezTo>
                <a:cubicBezTo>
                  <a:pt x="3497" y="217"/>
                  <a:pt x="3496" y="216"/>
                  <a:pt x="3496" y="216"/>
                </a:cubicBezTo>
                <a:cubicBezTo>
                  <a:pt x="3494" y="214"/>
                  <a:pt x="3492" y="211"/>
                  <a:pt x="3489" y="209"/>
                </a:cubicBezTo>
                <a:cubicBezTo>
                  <a:pt x="3487" y="208"/>
                  <a:pt x="3484" y="207"/>
                  <a:pt x="3482" y="207"/>
                </a:cubicBezTo>
                <a:cubicBezTo>
                  <a:pt x="3478" y="208"/>
                  <a:pt x="3475" y="209"/>
                  <a:pt x="3472" y="210"/>
                </a:cubicBezTo>
                <a:cubicBezTo>
                  <a:pt x="3469" y="211"/>
                  <a:pt x="3467" y="213"/>
                  <a:pt x="3465" y="216"/>
                </a:cubicBezTo>
                <a:cubicBezTo>
                  <a:pt x="3467" y="216"/>
                  <a:pt x="3468" y="216"/>
                  <a:pt x="3469" y="216"/>
                </a:cubicBezTo>
                <a:cubicBezTo>
                  <a:pt x="3469" y="216"/>
                  <a:pt x="3468" y="217"/>
                  <a:pt x="3467" y="217"/>
                </a:cubicBezTo>
                <a:cubicBezTo>
                  <a:pt x="3465" y="217"/>
                  <a:pt x="3462" y="217"/>
                  <a:pt x="3460" y="219"/>
                </a:cubicBezTo>
                <a:cubicBezTo>
                  <a:pt x="3456" y="223"/>
                  <a:pt x="3453" y="226"/>
                  <a:pt x="3449" y="231"/>
                </a:cubicBezTo>
                <a:cubicBezTo>
                  <a:pt x="3447" y="233"/>
                  <a:pt x="3447" y="235"/>
                  <a:pt x="3445" y="238"/>
                </a:cubicBezTo>
                <a:cubicBezTo>
                  <a:pt x="3445" y="238"/>
                  <a:pt x="3445" y="239"/>
                  <a:pt x="3446" y="239"/>
                </a:cubicBezTo>
                <a:cubicBezTo>
                  <a:pt x="3447" y="241"/>
                  <a:pt x="3448" y="243"/>
                  <a:pt x="3450" y="245"/>
                </a:cubicBezTo>
                <a:cubicBezTo>
                  <a:pt x="3451" y="243"/>
                  <a:pt x="3452" y="242"/>
                  <a:pt x="3453" y="241"/>
                </a:cubicBezTo>
                <a:cubicBezTo>
                  <a:pt x="3453" y="242"/>
                  <a:pt x="3453" y="243"/>
                  <a:pt x="3452" y="245"/>
                </a:cubicBezTo>
                <a:cubicBezTo>
                  <a:pt x="3451" y="246"/>
                  <a:pt x="3450" y="247"/>
                  <a:pt x="3450" y="249"/>
                </a:cubicBezTo>
                <a:cubicBezTo>
                  <a:pt x="3449" y="249"/>
                  <a:pt x="3450" y="251"/>
                  <a:pt x="3450" y="251"/>
                </a:cubicBezTo>
                <a:cubicBezTo>
                  <a:pt x="3453" y="255"/>
                  <a:pt x="3456" y="255"/>
                  <a:pt x="3460" y="253"/>
                </a:cubicBezTo>
                <a:cubicBezTo>
                  <a:pt x="3462" y="251"/>
                  <a:pt x="3465" y="250"/>
                  <a:pt x="3467" y="249"/>
                </a:cubicBezTo>
                <a:cubicBezTo>
                  <a:pt x="3469" y="249"/>
                  <a:pt x="3470" y="248"/>
                  <a:pt x="3470" y="247"/>
                </a:cubicBezTo>
                <a:cubicBezTo>
                  <a:pt x="3470" y="243"/>
                  <a:pt x="3470" y="240"/>
                  <a:pt x="3470" y="237"/>
                </a:cubicBezTo>
                <a:cubicBezTo>
                  <a:pt x="3470" y="234"/>
                  <a:pt x="3470" y="231"/>
                  <a:pt x="3470" y="228"/>
                </a:cubicBezTo>
                <a:cubicBezTo>
                  <a:pt x="3471" y="230"/>
                  <a:pt x="3471" y="233"/>
                  <a:pt x="3472" y="236"/>
                </a:cubicBezTo>
                <a:cubicBezTo>
                  <a:pt x="3473" y="240"/>
                  <a:pt x="3473" y="245"/>
                  <a:pt x="3471" y="249"/>
                </a:cubicBezTo>
                <a:cubicBezTo>
                  <a:pt x="3471" y="250"/>
                  <a:pt x="3470" y="251"/>
                  <a:pt x="3470" y="251"/>
                </a:cubicBezTo>
                <a:cubicBezTo>
                  <a:pt x="3466" y="251"/>
                  <a:pt x="3463" y="253"/>
                  <a:pt x="3460" y="255"/>
                </a:cubicBezTo>
                <a:cubicBezTo>
                  <a:pt x="3455" y="258"/>
                  <a:pt x="3451" y="256"/>
                  <a:pt x="3448" y="252"/>
                </a:cubicBezTo>
                <a:cubicBezTo>
                  <a:pt x="3447" y="251"/>
                  <a:pt x="3447" y="250"/>
                  <a:pt x="3448" y="250"/>
                </a:cubicBezTo>
                <a:cubicBezTo>
                  <a:pt x="3449" y="247"/>
                  <a:pt x="3448" y="245"/>
                  <a:pt x="3446" y="243"/>
                </a:cubicBezTo>
                <a:cubicBezTo>
                  <a:pt x="3445" y="241"/>
                  <a:pt x="3443" y="239"/>
                  <a:pt x="3444" y="236"/>
                </a:cubicBezTo>
                <a:cubicBezTo>
                  <a:pt x="3445" y="234"/>
                  <a:pt x="3446" y="233"/>
                  <a:pt x="3447" y="231"/>
                </a:cubicBezTo>
                <a:cubicBezTo>
                  <a:pt x="3449" y="228"/>
                  <a:pt x="3451" y="226"/>
                  <a:pt x="3453" y="223"/>
                </a:cubicBezTo>
                <a:cubicBezTo>
                  <a:pt x="3453" y="223"/>
                  <a:pt x="3452" y="223"/>
                  <a:pt x="3452" y="223"/>
                </a:cubicBezTo>
                <a:cubicBezTo>
                  <a:pt x="3447" y="224"/>
                  <a:pt x="3442" y="226"/>
                  <a:pt x="3438" y="229"/>
                </a:cubicBezTo>
                <a:cubicBezTo>
                  <a:pt x="3434" y="234"/>
                  <a:pt x="3431" y="239"/>
                  <a:pt x="3431" y="245"/>
                </a:cubicBezTo>
                <a:cubicBezTo>
                  <a:pt x="3430" y="252"/>
                  <a:pt x="3433" y="258"/>
                  <a:pt x="3436" y="264"/>
                </a:cubicBezTo>
                <a:cubicBezTo>
                  <a:pt x="3436" y="265"/>
                  <a:pt x="3437" y="266"/>
                  <a:pt x="3437" y="268"/>
                </a:cubicBezTo>
                <a:cubicBezTo>
                  <a:pt x="3437" y="269"/>
                  <a:pt x="3436" y="271"/>
                  <a:pt x="3436" y="272"/>
                </a:cubicBezTo>
                <a:cubicBezTo>
                  <a:pt x="3435" y="274"/>
                  <a:pt x="3436" y="275"/>
                  <a:pt x="3437" y="275"/>
                </a:cubicBezTo>
                <a:cubicBezTo>
                  <a:pt x="3440" y="276"/>
                  <a:pt x="3443" y="276"/>
                  <a:pt x="3445" y="277"/>
                </a:cubicBezTo>
                <a:cubicBezTo>
                  <a:pt x="3446" y="277"/>
                  <a:pt x="3447" y="276"/>
                  <a:pt x="3447" y="276"/>
                </a:cubicBezTo>
                <a:cubicBezTo>
                  <a:pt x="3447" y="274"/>
                  <a:pt x="3447" y="273"/>
                  <a:pt x="3448" y="272"/>
                </a:cubicBezTo>
                <a:cubicBezTo>
                  <a:pt x="3450" y="270"/>
                  <a:pt x="3450" y="267"/>
                  <a:pt x="3450" y="264"/>
                </a:cubicBezTo>
                <a:cubicBezTo>
                  <a:pt x="3450" y="264"/>
                  <a:pt x="3450" y="263"/>
                  <a:pt x="3450" y="263"/>
                </a:cubicBezTo>
                <a:cubicBezTo>
                  <a:pt x="3450" y="262"/>
                  <a:pt x="3450" y="262"/>
                  <a:pt x="3450" y="262"/>
                </a:cubicBezTo>
                <a:cubicBezTo>
                  <a:pt x="3451" y="265"/>
                  <a:pt x="3452" y="265"/>
                  <a:pt x="3454" y="265"/>
                </a:cubicBezTo>
                <a:cubicBezTo>
                  <a:pt x="3455" y="265"/>
                  <a:pt x="3456" y="265"/>
                  <a:pt x="3457" y="265"/>
                </a:cubicBezTo>
                <a:cubicBezTo>
                  <a:pt x="3459" y="265"/>
                  <a:pt x="3462" y="266"/>
                  <a:pt x="3463" y="261"/>
                </a:cubicBezTo>
                <a:cubicBezTo>
                  <a:pt x="3463" y="264"/>
                  <a:pt x="3463" y="265"/>
                  <a:pt x="3463" y="266"/>
                </a:cubicBezTo>
                <a:cubicBezTo>
                  <a:pt x="3462" y="267"/>
                  <a:pt x="3460" y="268"/>
                  <a:pt x="3459" y="268"/>
                </a:cubicBezTo>
                <a:cubicBezTo>
                  <a:pt x="3458" y="269"/>
                  <a:pt x="3457" y="270"/>
                  <a:pt x="3458" y="271"/>
                </a:cubicBezTo>
                <a:cubicBezTo>
                  <a:pt x="3459" y="274"/>
                  <a:pt x="3460" y="276"/>
                  <a:pt x="3462" y="278"/>
                </a:cubicBezTo>
                <a:cubicBezTo>
                  <a:pt x="3464" y="279"/>
                  <a:pt x="3465" y="278"/>
                  <a:pt x="3467" y="277"/>
                </a:cubicBezTo>
                <a:cubicBezTo>
                  <a:pt x="3467" y="276"/>
                  <a:pt x="3468" y="275"/>
                  <a:pt x="3469" y="275"/>
                </a:cubicBezTo>
                <a:cubicBezTo>
                  <a:pt x="3471" y="273"/>
                  <a:pt x="3472" y="272"/>
                  <a:pt x="3474" y="271"/>
                </a:cubicBezTo>
                <a:cubicBezTo>
                  <a:pt x="3478" y="266"/>
                  <a:pt x="3480" y="260"/>
                  <a:pt x="3482" y="255"/>
                </a:cubicBezTo>
                <a:cubicBezTo>
                  <a:pt x="3482" y="254"/>
                  <a:pt x="3481" y="253"/>
                  <a:pt x="3480" y="253"/>
                </a:cubicBezTo>
                <a:cubicBezTo>
                  <a:pt x="3480" y="252"/>
                  <a:pt x="3478" y="251"/>
                  <a:pt x="3477" y="250"/>
                </a:cubicBezTo>
                <a:close/>
                <a:moveTo>
                  <a:pt x="3430" y="257"/>
                </a:moveTo>
                <a:cubicBezTo>
                  <a:pt x="3429" y="257"/>
                  <a:pt x="3428" y="258"/>
                  <a:pt x="3427" y="259"/>
                </a:cubicBezTo>
                <a:cubicBezTo>
                  <a:pt x="3426" y="260"/>
                  <a:pt x="3426" y="260"/>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0" y="263"/>
                  <a:pt x="3478" y="268"/>
                  <a:pt x="3476" y="272"/>
                </a:cubicBezTo>
                <a:cubicBezTo>
                  <a:pt x="3478" y="272"/>
                  <a:pt x="3481" y="272"/>
                  <a:pt x="3484" y="272"/>
                </a:cubicBezTo>
                <a:cubicBezTo>
                  <a:pt x="3484" y="272"/>
                  <a:pt x="3484" y="271"/>
                  <a:pt x="3484" y="270"/>
                </a:cubicBezTo>
                <a:cubicBezTo>
                  <a:pt x="3484" y="268"/>
                  <a:pt x="3484" y="265"/>
                  <a:pt x="3484" y="263"/>
                </a:cubicBezTo>
                <a:cubicBezTo>
                  <a:pt x="3484" y="261"/>
                  <a:pt x="3483" y="260"/>
                  <a:pt x="3483" y="259"/>
                </a:cubicBezTo>
                <a:close/>
                <a:moveTo>
                  <a:pt x="3430" y="238"/>
                </a:moveTo>
                <a:cubicBezTo>
                  <a:pt x="3429" y="239"/>
                  <a:pt x="3429" y="239"/>
                  <a:pt x="3428" y="239"/>
                </a:cubicBezTo>
                <a:cubicBezTo>
                  <a:pt x="3427" y="239"/>
                  <a:pt x="3427" y="239"/>
                  <a:pt x="3427" y="239"/>
                </a:cubicBezTo>
                <a:cubicBezTo>
                  <a:pt x="3426" y="238"/>
                  <a:pt x="3426" y="238"/>
                  <a:pt x="3426" y="237"/>
                </a:cubicBezTo>
                <a:cubicBezTo>
                  <a:pt x="3427" y="235"/>
                  <a:pt x="3427" y="233"/>
                  <a:pt x="3428" y="231"/>
                </a:cubicBezTo>
                <a:cubicBezTo>
                  <a:pt x="3427" y="231"/>
                  <a:pt x="3427" y="231"/>
                  <a:pt x="3427" y="231"/>
                </a:cubicBezTo>
                <a:cubicBezTo>
                  <a:pt x="3426" y="232"/>
                  <a:pt x="3425" y="232"/>
                  <a:pt x="3424" y="234"/>
                </a:cubicBezTo>
                <a:cubicBezTo>
                  <a:pt x="3424" y="235"/>
                  <a:pt x="3425" y="240"/>
                  <a:pt x="3427" y="241"/>
                </a:cubicBezTo>
                <a:cubicBezTo>
                  <a:pt x="3428" y="241"/>
                  <a:pt x="3430" y="240"/>
                  <a:pt x="3430" y="238"/>
                </a:cubicBezTo>
                <a:close/>
                <a:moveTo>
                  <a:pt x="3430" y="257"/>
                </a:moveTo>
                <a:cubicBezTo>
                  <a:pt x="3430" y="257"/>
                  <a:pt x="3428" y="258"/>
                  <a:pt x="3427" y="259"/>
                </a:cubicBezTo>
                <a:cubicBezTo>
                  <a:pt x="3426" y="260"/>
                  <a:pt x="3426" y="261"/>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1" y="263"/>
                  <a:pt x="3478" y="268"/>
                  <a:pt x="3476" y="272"/>
                </a:cubicBezTo>
                <a:cubicBezTo>
                  <a:pt x="3479" y="272"/>
                  <a:pt x="3481" y="273"/>
                  <a:pt x="3484" y="272"/>
                </a:cubicBezTo>
                <a:cubicBezTo>
                  <a:pt x="3484" y="272"/>
                  <a:pt x="3485" y="271"/>
                  <a:pt x="3485" y="271"/>
                </a:cubicBezTo>
                <a:cubicBezTo>
                  <a:pt x="3485" y="268"/>
                  <a:pt x="3485" y="265"/>
                  <a:pt x="3484" y="263"/>
                </a:cubicBezTo>
                <a:cubicBezTo>
                  <a:pt x="3484" y="261"/>
                  <a:pt x="3483" y="260"/>
                  <a:pt x="3483" y="259"/>
                </a:cubicBezTo>
                <a:close/>
                <a:moveTo>
                  <a:pt x="3430" y="238"/>
                </a:moveTo>
                <a:cubicBezTo>
                  <a:pt x="3430" y="239"/>
                  <a:pt x="3429" y="239"/>
                  <a:pt x="3428" y="239"/>
                </a:cubicBezTo>
                <a:cubicBezTo>
                  <a:pt x="3428" y="239"/>
                  <a:pt x="3427" y="239"/>
                  <a:pt x="3427" y="239"/>
                </a:cubicBezTo>
                <a:cubicBezTo>
                  <a:pt x="3426" y="238"/>
                  <a:pt x="3426" y="237"/>
                  <a:pt x="3426" y="237"/>
                </a:cubicBezTo>
                <a:cubicBezTo>
                  <a:pt x="3427" y="235"/>
                  <a:pt x="3427" y="233"/>
                  <a:pt x="3428" y="231"/>
                </a:cubicBezTo>
                <a:cubicBezTo>
                  <a:pt x="3428" y="231"/>
                  <a:pt x="3428" y="231"/>
                  <a:pt x="3427" y="231"/>
                </a:cubicBezTo>
                <a:cubicBezTo>
                  <a:pt x="3426" y="232"/>
                  <a:pt x="3425" y="232"/>
                  <a:pt x="3424" y="233"/>
                </a:cubicBezTo>
                <a:cubicBezTo>
                  <a:pt x="3424" y="235"/>
                  <a:pt x="3425" y="240"/>
                  <a:pt x="3427" y="241"/>
                </a:cubicBezTo>
                <a:cubicBezTo>
                  <a:pt x="3428" y="241"/>
                  <a:pt x="3430" y="240"/>
                  <a:pt x="3430" y="238"/>
                </a:cubicBezTo>
                <a:close/>
                <a:moveTo>
                  <a:pt x="3482" y="230"/>
                </a:moveTo>
                <a:cubicBezTo>
                  <a:pt x="3485" y="227"/>
                  <a:pt x="3485" y="227"/>
                  <a:pt x="3490" y="225"/>
                </a:cubicBezTo>
                <a:cubicBezTo>
                  <a:pt x="3490" y="227"/>
                  <a:pt x="3491" y="228"/>
                  <a:pt x="3492" y="228"/>
                </a:cubicBezTo>
                <a:cubicBezTo>
                  <a:pt x="3490" y="230"/>
                  <a:pt x="3488" y="231"/>
                  <a:pt x="3486" y="232"/>
                </a:cubicBezTo>
                <a:cubicBezTo>
                  <a:pt x="3485" y="231"/>
                  <a:pt x="3485" y="231"/>
                  <a:pt x="3484" y="230"/>
                </a:cubicBezTo>
                <a:cubicBezTo>
                  <a:pt x="3483" y="230"/>
                  <a:pt x="3483" y="230"/>
                  <a:pt x="3482" y="230"/>
                </a:cubicBezTo>
                <a:close/>
                <a:moveTo>
                  <a:pt x="3488" y="230"/>
                </a:moveTo>
                <a:cubicBezTo>
                  <a:pt x="3487" y="229"/>
                  <a:pt x="3487" y="229"/>
                  <a:pt x="3486" y="229"/>
                </a:cubicBezTo>
                <a:cubicBezTo>
                  <a:pt x="3486" y="229"/>
                  <a:pt x="3485" y="230"/>
                  <a:pt x="3485" y="230"/>
                </a:cubicBezTo>
                <a:cubicBezTo>
                  <a:pt x="3485" y="230"/>
                  <a:pt x="3485" y="231"/>
                  <a:pt x="3486" y="231"/>
                </a:cubicBezTo>
                <a:cubicBezTo>
                  <a:pt x="3487" y="231"/>
                  <a:pt x="3487" y="230"/>
                  <a:pt x="3488" y="230"/>
                </a:cubicBezTo>
                <a:close/>
                <a:moveTo>
                  <a:pt x="3470" y="220"/>
                </a:moveTo>
                <a:cubicBezTo>
                  <a:pt x="3463" y="219"/>
                  <a:pt x="3460" y="222"/>
                  <a:pt x="3459" y="230"/>
                </a:cubicBezTo>
                <a:cubicBezTo>
                  <a:pt x="3460" y="228"/>
                  <a:pt x="3461" y="225"/>
                  <a:pt x="3462" y="223"/>
                </a:cubicBezTo>
                <a:cubicBezTo>
                  <a:pt x="3463" y="223"/>
                  <a:pt x="3463" y="223"/>
                  <a:pt x="3463" y="223"/>
                </a:cubicBezTo>
                <a:cubicBezTo>
                  <a:pt x="3463" y="224"/>
                  <a:pt x="3463" y="225"/>
                  <a:pt x="3463" y="226"/>
                </a:cubicBezTo>
                <a:cubicBezTo>
                  <a:pt x="3464" y="222"/>
                  <a:pt x="3466" y="220"/>
                  <a:pt x="3470" y="220"/>
                </a:cubicBezTo>
                <a:close/>
                <a:moveTo>
                  <a:pt x="3513" y="222"/>
                </a:moveTo>
                <a:cubicBezTo>
                  <a:pt x="3511" y="223"/>
                  <a:pt x="3509" y="224"/>
                  <a:pt x="3508" y="226"/>
                </a:cubicBezTo>
                <a:cubicBezTo>
                  <a:pt x="3510" y="226"/>
                  <a:pt x="3512" y="224"/>
                  <a:pt x="3513" y="222"/>
                </a:cubicBezTo>
                <a:close/>
                <a:moveTo>
                  <a:pt x="3480" y="224"/>
                </a:moveTo>
                <a:cubicBezTo>
                  <a:pt x="3481" y="222"/>
                  <a:pt x="3482" y="221"/>
                  <a:pt x="3483" y="220"/>
                </a:cubicBezTo>
                <a:cubicBezTo>
                  <a:pt x="3480" y="221"/>
                  <a:pt x="3479" y="222"/>
                  <a:pt x="3480" y="224"/>
                </a:cubicBezTo>
                <a:close/>
                <a:moveTo>
                  <a:pt x="3489" y="245"/>
                </a:moveTo>
                <a:cubicBezTo>
                  <a:pt x="3488" y="246"/>
                  <a:pt x="3487" y="246"/>
                  <a:pt x="3487" y="247"/>
                </a:cubicBezTo>
                <a:cubicBezTo>
                  <a:pt x="3487" y="247"/>
                  <a:pt x="3489" y="246"/>
                  <a:pt x="3489" y="245"/>
                </a:cubicBezTo>
                <a:close/>
                <a:moveTo>
                  <a:pt x="3488" y="230"/>
                </a:moveTo>
                <a:cubicBezTo>
                  <a:pt x="3488" y="229"/>
                  <a:pt x="3487" y="229"/>
                  <a:pt x="3486" y="229"/>
                </a:cubicBezTo>
                <a:cubicBezTo>
                  <a:pt x="3486" y="229"/>
                  <a:pt x="3485" y="230"/>
                  <a:pt x="3485" y="230"/>
                </a:cubicBezTo>
                <a:cubicBezTo>
                  <a:pt x="3485" y="230"/>
                  <a:pt x="3486" y="231"/>
                  <a:pt x="3486" y="231"/>
                </a:cubicBezTo>
                <a:cubicBezTo>
                  <a:pt x="3487" y="231"/>
                  <a:pt x="3487" y="230"/>
                  <a:pt x="3488" y="230"/>
                </a:cubicBezTo>
                <a:close/>
                <a:moveTo>
                  <a:pt x="3036" y="111"/>
                </a:moveTo>
                <a:cubicBezTo>
                  <a:pt x="3036" y="111"/>
                  <a:pt x="3036" y="111"/>
                  <a:pt x="3036" y="111"/>
                </a:cubicBezTo>
                <a:cubicBezTo>
                  <a:pt x="3031" y="111"/>
                  <a:pt x="3031" y="111"/>
                  <a:pt x="3031" y="111"/>
                </a:cubicBezTo>
                <a:cubicBezTo>
                  <a:pt x="3029" y="113"/>
                  <a:pt x="3028" y="114"/>
                  <a:pt x="3025" y="115"/>
                </a:cubicBezTo>
                <a:cubicBezTo>
                  <a:pt x="3024" y="116"/>
                  <a:pt x="3022" y="117"/>
                  <a:pt x="3020" y="118"/>
                </a:cubicBezTo>
                <a:cubicBezTo>
                  <a:pt x="3019" y="119"/>
                  <a:pt x="3017" y="120"/>
                  <a:pt x="3015" y="121"/>
                </a:cubicBezTo>
                <a:cubicBezTo>
                  <a:pt x="3013" y="121"/>
                  <a:pt x="3012" y="122"/>
                  <a:pt x="3009" y="122"/>
                </a:cubicBezTo>
                <a:cubicBezTo>
                  <a:pt x="3009" y="122"/>
                  <a:pt x="3009" y="122"/>
                  <a:pt x="3009" y="132"/>
                </a:cubicBezTo>
                <a:cubicBezTo>
                  <a:pt x="3012" y="132"/>
                  <a:pt x="3015" y="131"/>
                  <a:pt x="3017" y="129"/>
                </a:cubicBezTo>
                <a:cubicBezTo>
                  <a:pt x="3020" y="129"/>
                  <a:pt x="3023" y="127"/>
                  <a:pt x="3025" y="126"/>
                </a:cubicBezTo>
                <a:cubicBezTo>
                  <a:pt x="3025" y="126"/>
                  <a:pt x="3025" y="126"/>
                  <a:pt x="3025" y="185"/>
                </a:cubicBezTo>
                <a:cubicBezTo>
                  <a:pt x="3025" y="185"/>
                  <a:pt x="3025" y="185"/>
                  <a:pt x="3036" y="185"/>
                </a:cubicBezTo>
                <a:cubicBezTo>
                  <a:pt x="3036" y="185"/>
                  <a:pt x="3036" y="185"/>
                  <a:pt x="3036" y="111"/>
                </a:cubicBezTo>
                <a:close/>
                <a:moveTo>
                  <a:pt x="3083" y="111"/>
                </a:moveTo>
                <a:cubicBezTo>
                  <a:pt x="3083" y="111"/>
                  <a:pt x="3083" y="111"/>
                  <a:pt x="3083" y="111"/>
                </a:cubicBezTo>
                <a:cubicBezTo>
                  <a:pt x="3078" y="111"/>
                  <a:pt x="3078" y="111"/>
                  <a:pt x="3078" y="111"/>
                </a:cubicBezTo>
                <a:cubicBezTo>
                  <a:pt x="3077" y="113"/>
                  <a:pt x="3075" y="114"/>
                  <a:pt x="3073" y="115"/>
                </a:cubicBezTo>
                <a:cubicBezTo>
                  <a:pt x="3071" y="116"/>
                  <a:pt x="3070" y="117"/>
                  <a:pt x="3067" y="118"/>
                </a:cubicBezTo>
                <a:cubicBezTo>
                  <a:pt x="3066" y="119"/>
                  <a:pt x="3064" y="120"/>
                  <a:pt x="3062" y="121"/>
                </a:cubicBezTo>
                <a:cubicBezTo>
                  <a:pt x="3060" y="121"/>
                  <a:pt x="3059" y="122"/>
                  <a:pt x="3056" y="122"/>
                </a:cubicBezTo>
                <a:cubicBezTo>
                  <a:pt x="3056" y="122"/>
                  <a:pt x="3056" y="122"/>
                  <a:pt x="3056" y="132"/>
                </a:cubicBezTo>
                <a:cubicBezTo>
                  <a:pt x="3059" y="132"/>
                  <a:pt x="3062" y="131"/>
                  <a:pt x="3065" y="129"/>
                </a:cubicBezTo>
                <a:cubicBezTo>
                  <a:pt x="3067" y="129"/>
                  <a:pt x="3070" y="127"/>
                  <a:pt x="3072" y="126"/>
                </a:cubicBezTo>
                <a:cubicBezTo>
                  <a:pt x="3072" y="126"/>
                  <a:pt x="3072" y="126"/>
                  <a:pt x="3072" y="185"/>
                </a:cubicBezTo>
                <a:cubicBezTo>
                  <a:pt x="3072" y="185"/>
                  <a:pt x="3072" y="185"/>
                  <a:pt x="3083" y="185"/>
                </a:cubicBezTo>
                <a:cubicBezTo>
                  <a:pt x="3083" y="185"/>
                  <a:pt x="3083" y="185"/>
                  <a:pt x="3083" y="111"/>
                </a:cubicBezTo>
                <a:close/>
                <a:moveTo>
                  <a:pt x="3129" y="111"/>
                </a:moveTo>
                <a:cubicBezTo>
                  <a:pt x="3129" y="111"/>
                  <a:pt x="3129" y="111"/>
                  <a:pt x="3129" y="111"/>
                </a:cubicBezTo>
                <a:cubicBezTo>
                  <a:pt x="3125" y="111"/>
                  <a:pt x="3125" y="111"/>
                  <a:pt x="3125" y="111"/>
                </a:cubicBezTo>
                <a:cubicBezTo>
                  <a:pt x="3122" y="113"/>
                  <a:pt x="3121" y="114"/>
                  <a:pt x="3119" y="115"/>
                </a:cubicBezTo>
                <a:cubicBezTo>
                  <a:pt x="3117" y="116"/>
                  <a:pt x="3115" y="117"/>
                  <a:pt x="3114" y="118"/>
                </a:cubicBezTo>
                <a:cubicBezTo>
                  <a:pt x="3112" y="119"/>
                  <a:pt x="3110" y="119"/>
                  <a:pt x="3108" y="120"/>
                </a:cubicBezTo>
                <a:cubicBezTo>
                  <a:pt x="3107" y="121"/>
                  <a:pt x="3104" y="121"/>
                  <a:pt x="3103" y="122"/>
                </a:cubicBezTo>
                <a:cubicBezTo>
                  <a:pt x="3103" y="122"/>
                  <a:pt x="3103" y="122"/>
                  <a:pt x="3103" y="132"/>
                </a:cubicBezTo>
                <a:cubicBezTo>
                  <a:pt x="3106" y="132"/>
                  <a:pt x="3109" y="130"/>
                  <a:pt x="3111" y="129"/>
                </a:cubicBezTo>
                <a:cubicBezTo>
                  <a:pt x="3113" y="129"/>
                  <a:pt x="3116" y="127"/>
                  <a:pt x="3117" y="126"/>
                </a:cubicBezTo>
                <a:cubicBezTo>
                  <a:pt x="3117" y="126"/>
                  <a:pt x="3117" y="126"/>
                  <a:pt x="3117" y="185"/>
                </a:cubicBezTo>
                <a:cubicBezTo>
                  <a:pt x="3117" y="185"/>
                  <a:pt x="3117" y="185"/>
                  <a:pt x="3129" y="185"/>
                </a:cubicBezTo>
                <a:cubicBezTo>
                  <a:pt x="3129" y="185"/>
                  <a:pt x="3129" y="185"/>
                  <a:pt x="3129" y="111"/>
                </a:cubicBezTo>
                <a:close/>
                <a:moveTo>
                  <a:pt x="3266" y="144"/>
                </a:moveTo>
                <a:cubicBezTo>
                  <a:pt x="3266" y="144"/>
                  <a:pt x="3266" y="144"/>
                  <a:pt x="3266" y="144"/>
                </a:cubicBezTo>
                <a:cubicBezTo>
                  <a:pt x="3266" y="152"/>
                  <a:pt x="3266" y="152"/>
                  <a:pt x="3266" y="152"/>
                </a:cubicBezTo>
                <a:cubicBezTo>
                  <a:pt x="3272" y="152"/>
                  <a:pt x="3273" y="155"/>
                  <a:pt x="3273" y="158"/>
                </a:cubicBezTo>
                <a:cubicBezTo>
                  <a:pt x="3273" y="160"/>
                  <a:pt x="3272" y="162"/>
                  <a:pt x="3272" y="165"/>
                </a:cubicBezTo>
                <a:cubicBezTo>
                  <a:pt x="3272" y="167"/>
                  <a:pt x="3272" y="170"/>
                  <a:pt x="3272" y="172"/>
                </a:cubicBezTo>
                <a:cubicBezTo>
                  <a:pt x="3272" y="181"/>
                  <a:pt x="3278" y="185"/>
                  <a:pt x="3286" y="185"/>
                </a:cubicBezTo>
                <a:cubicBezTo>
                  <a:pt x="3286" y="185"/>
                  <a:pt x="3286" y="185"/>
                  <a:pt x="3290" y="185"/>
                </a:cubicBezTo>
                <a:cubicBezTo>
                  <a:pt x="3290" y="185"/>
                  <a:pt x="3290" y="185"/>
                  <a:pt x="3290" y="176"/>
                </a:cubicBezTo>
                <a:cubicBezTo>
                  <a:pt x="3290" y="176"/>
                  <a:pt x="3290" y="176"/>
                  <a:pt x="3288" y="176"/>
                </a:cubicBezTo>
                <a:cubicBezTo>
                  <a:pt x="3285" y="176"/>
                  <a:pt x="3283" y="173"/>
                  <a:pt x="3283" y="170"/>
                </a:cubicBezTo>
                <a:cubicBezTo>
                  <a:pt x="3283" y="168"/>
                  <a:pt x="3283" y="167"/>
                  <a:pt x="3284" y="165"/>
                </a:cubicBezTo>
                <a:cubicBezTo>
                  <a:pt x="3284" y="163"/>
                  <a:pt x="3284" y="161"/>
                  <a:pt x="3284" y="159"/>
                </a:cubicBezTo>
                <a:cubicBezTo>
                  <a:pt x="3284" y="151"/>
                  <a:pt x="3281" y="149"/>
                  <a:pt x="3276" y="148"/>
                </a:cubicBezTo>
                <a:cubicBezTo>
                  <a:pt x="3276" y="148"/>
                  <a:pt x="3276" y="148"/>
                  <a:pt x="3276" y="147"/>
                </a:cubicBezTo>
                <a:cubicBezTo>
                  <a:pt x="3281" y="146"/>
                  <a:pt x="3284" y="144"/>
                  <a:pt x="3284" y="136"/>
                </a:cubicBezTo>
                <a:cubicBezTo>
                  <a:pt x="3284" y="134"/>
                  <a:pt x="3284" y="132"/>
                  <a:pt x="3284" y="130"/>
                </a:cubicBezTo>
                <a:cubicBezTo>
                  <a:pt x="3283" y="129"/>
                  <a:pt x="3283" y="127"/>
                  <a:pt x="3283" y="126"/>
                </a:cubicBezTo>
                <a:cubicBezTo>
                  <a:pt x="3283" y="122"/>
                  <a:pt x="3285" y="120"/>
                  <a:pt x="3288" y="120"/>
                </a:cubicBezTo>
                <a:cubicBezTo>
                  <a:pt x="3288" y="120"/>
                  <a:pt x="3288" y="120"/>
                  <a:pt x="3290" y="120"/>
                </a:cubicBezTo>
                <a:cubicBezTo>
                  <a:pt x="3290" y="120"/>
                  <a:pt x="3290" y="120"/>
                  <a:pt x="3290" y="110"/>
                </a:cubicBezTo>
                <a:cubicBezTo>
                  <a:pt x="3290" y="110"/>
                  <a:pt x="3290" y="110"/>
                  <a:pt x="3286" y="110"/>
                </a:cubicBezTo>
                <a:cubicBezTo>
                  <a:pt x="3277" y="110"/>
                  <a:pt x="3272" y="114"/>
                  <a:pt x="3272" y="123"/>
                </a:cubicBezTo>
                <a:cubicBezTo>
                  <a:pt x="3272" y="125"/>
                  <a:pt x="3272" y="128"/>
                  <a:pt x="3272" y="130"/>
                </a:cubicBezTo>
                <a:cubicBezTo>
                  <a:pt x="3272" y="133"/>
                  <a:pt x="3273" y="135"/>
                  <a:pt x="3273" y="137"/>
                </a:cubicBezTo>
                <a:cubicBezTo>
                  <a:pt x="3273" y="140"/>
                  <a:pt x="3272" y="143"/>
                  <a:pt x="3266" y="144"/>
                </a:cubicBezTo>
                <a:close/>
                <a:moveTo>
                  <a:pt x="3320" y="152"/>
                </a:moveTo>
                <a:cubicBezTo>
                  <a:pt x="3320" y="152"/>
                  <a:pt x="3320" y="152"/>
                  <a:pt x="3320" y="152"/>
                </a:cubicBezTo>
                <a:cubicBezTo>
                  <a:pt x="3320" y="144"/>
                  <a:pt x="3320" y="144"/>
                  <a:pt x="3320" y="144"/>
                </a:cubicBezTo>
                <a:cubicBezTo>
                  <a:pt x="3314" y="143"/>
                  <a:pt x="3314" y="140"/>
                  <a:pt x="3314" y="137"/>
                </a:cubicBezTo>
                <a:cubicBezTo>
                  <a:pt x="3314" y="135"/>
                  <a:pt x="3314" y="133"/>
                  <a:pt x="3314" y="130"/>
                </a:cubicBezTo>
                <a:cubicBezTo>
                  <a:pt x="3315" y="128"/>
                  <a:pt x="3315" y="125"/>
                  <a:pt x="3315" y="123"/>
                </a:cubicBezTo>
                <a:cubicBezTo>
                  <a:pt x="3315" y="114"/>
                  <a:pt x="3309" y="110"/>
                  <a:pt x="3300" y="110"/>
                </a:cubicBezTo>
                <a:cubicBezTo>
                  <a:pt x="3300" y="110"/>
                  <a:pt x="3300" y="110"/>
                  <a:pt x="3296" y="110"/>
                </a:cubicBezTo>
                <a:cubicBezTo>
                  <a:pt x="3296" y="110"/>
                  <a:pt x="3296" y="110"/>
                  <a:pt x="3296" y="120"/>
                </a:cubicBezTo>
                <a:cubicBezTo>
                  <a:pt x="3296" y="120"/>
                  <a:pt x="3296" y="120"/>
                  <a:pt x="3298" y="120"/>
                </a:cubicBezTo>
                <a:cubicBezTo>
                  <a:pt x="3302" y="120"/>
                  <a:pt x="3303" y="122"/>
                  <a:pt x="3303" y="126"/>
                </a:cubicBezTo>
                <a:cubicBezTo>
                  <a:pt x="3303" y="127"/>
                  <a:pt x="3303" y="129"/>
                  <a:pt x="3303" y="130"/>
                </a:cubicBezTo>
                <a:cubicBezTo>
                  <a:pt x="3302" y="132"/>
                  <a:pt x="3302" y="134"/>
                  <a:pt x="3302" y="136"/>
                </a:cubicBezTo>
                <a:cubicBezTo>
                  <a:pt x="3302" y="144"/>
                  <a:pt x="3305" y="146"/>
                  <a:pt x="3311" y="147"/>
                </a:cubicBezTo>
                <a:cubicBezTo>
                  <a:pt x="3311" y="147"/>
                  <a:pt x="3311" y="147"/>
                  <a:pt x="3311" y="148"/>
                </a:cubicBezTo>
                <a:cubicBezTo>
                  <a:pt x="3305" y="149"/>
                  <a:pt x="3302" y="151"/>
                  <a:pt x="3302" y="159"/>
                </a:cubicBezTo>
                <a:cubicBezTo>
                  <a:pt x="3302" y="161"/>
                  <a:pt x="3302" y="163"/>
                  <a:pt x="3303" y="165"/>
                </a:cubicBezTo>
                <a:cubicBezTo>
                  <a:pt x="3303" y="167"/>
                  <a:pt x="3303" y="168"/>
                  <a:pt x="3303" y="170"/>
                </a:cubicBezTo>
                <a:cubicBezTo>
                  <a:pt x="3303" y="173"/>
                  <a:pt x="3302" y="176"/>
                  <a:pt x="3298" y="176"/>
                </a:cubicBezTo>
                <a:cubicBezTo>
                  <a:pt x="3298" y="176"/>
                  <a:pt x="3298" y="176"/>
                  <a:pt x="3296" y="176"/>
                </a:cubicBezTo>
                <a:cubicBezTo>
                  <a:pt x="3296" y="176"/>
                  <a:pt x="3296" y="176"/>
                  <a:pt x="3296" y="185"/>
                </a:cubicBezTo>
                <a:cubicBezTo>
                  <a:pt x="3296" y="185"/>
                  <a:pt x="3296" y="185"/>
                  <a:pt x="3300" y="185"/>
                </a:cubicBezTo>
                <a:cubicBezTo>
                  <a:pt x="3309" y="185"/>
                  <a:pt x="3315" y="181"/>
                  <a:pt x="3315" y="172"/>
                </a:cubicBezTo>
                <a:cubicBezTo>
                  <a:pt x="3315" y="170"/>
                  <a:pt x="3315" y="167"/>
                  <a:pt x="3314" y="165"/>
                </a:cubicBezTo>
                <a:cubicBezTo>
                  <a:pt x="3314" y="162"/>
                  <a:pt x="3314" y="160"/>
                  <a:pt x="3314" y="158"/>
                </a:cubicBezTo>
                <a:cubicBezTo>
                  <a:pt x="3314" y="155"/>
                  <a:pt x="3314" y="152"/>
                  <a:pt x="3320" y="152"/>
                </a:cubicBezTo>
                <a:close/>
                <a:moveTo>
                  <a:pt x="3368" y="111"/>
                </a:moveTo>
                <a:cubicBezTo>
                  <a:pt x="3368" y="111"/>
                  <a:pt x="3368" y="111"/>
                  <a:pt x="3368" y="111"/>
                </a:cubicBezTo>
                <a:cubicBezTo>
                  <a:pt x="3362" y="111"/>
                  <a:pt x="3362" y="111"/>
                  <a:pt x="3362" y="111"/>
                </a:cubicBezTo>
                <a:cubicBezTo>
                  <a:pt x="3360" y="113"/>
                  <a:pt x="3359" y="114"/>
                  <a:pt x="3357" y="115"/>
                </a:cubicBezTo>
                <a:cubicBezTo>
                  <a:pt x="3355" y="116"/>
                  <a:pt x="3353" y="117"/>
                  <a:pt x="3352" y="118"/>
                </a:cubicBezTo>
                <a:cubicBezTo>
                  <a:pt x="3349" y="119"/>
                  <a:pt x="3348" y="119"/>
                  <a:pt x="3346" y="120"/>
                </a:cubicBezTo>
                <a:cubicBezTo>
                  <a:pt x="3344" y="121"/>
                  <a:pt x="3343" y="121"/>
                  <a:pt x="3341" y="122"/>
                </a:cubicBezTo>
                <a:cubicBezTo>
                  <a:pt x="3341" y="122"/>
                  <a:pt x="3341" y="122"/>
                  <a:pt x="3341" y="132"/>
                </a:cubicBezTo>
                <a:cubicBezTo>
                  <a:pt x="3344" y="132"/>
                  <a:pt x="3346" y="130"/>
                  <a:pt x="3349" y="129"/>
                </a:cubicBezTo>
                <a:cubicBezTo>
                  <a:pt x="3352" y="129"/>
                  <a:pt x="3354" y="127"/>
                  <a:pt x="3356" y="126"/>
                </a:cubicBezTo>
                <a:cubicBezTo>
                  <a:pt x="3356" y="126"/>
                  <a:pt x="3356" y="126"/>
                  <a:pt x="3356" y="185"/>
                </a:cubicBezTo>
                <a:cubicBezTo>
                  <a:pt x="3356" y="185"/>
                  <a:pt x="3356" y="185"/>
                  <a:pt x="3368" y="185"/>
                </a:cubicBezTo>
                <a:cubicBezTo>
                  <a:pt x="3368" y="185"/>
                  <a:pt x="3368" y="185"/>
                  <a:pt x="3368" y="111"/>
                </a:cubicBezTo>
                <a:close/>
                <a:moveTo>
                  <a:pt x="3414" y="111"/>
                </a:moveTo>
                <a:cubicBezTo>
                  <a:pt x="3414" y="111"/>
                  <a:pt x="3414" y="111"/>
                  <a:pt x="3414" y="111"/>
                </a:cubicBezTo>
                <a:cubicBezTo>
                  <a:pt x="3409" y="111"/>
                  <a:pt x="3409" y="111"/>
                  <a:pt x="3409" y="111"/>
                </a:cubicBezTo>
                <a:cubicBezTo>
                  <a:pt x="3407" y="113"/>
                  <a:pt x="3405" y="114"/>
                  <a:pt x="3403" y="115"/>
                </a:cubicBezTo>
                <a:cubicBezTo>
                  <a:pt x="3402" y="116"/>
                  <a:pt x="3400" y="117"/>
                  <a:pt x="3398" y="118"/>
                </a:cubicBezTo>
                <a:cubicBezTo>
                  <a:pt x="3397" y="119"/>
                  <a:pt x="3394" y="120"/>
                  <a:pt x="3393" y="121"/>
                </a:cubicBezTo>
                <a:cubicBezTo>
                  <a:pt x="3391" y="121"/>
                  <a:pt x="3389" y="122"/>
                  <a:pt x="3387" y="122"/>
                </a:cubicBezTo>
                <a:cubicBezTo>
                  <a:pt x="3387" y="122"/>
                  <a:pt x="3387" y="122"/>
                  <a:pt x="3387" y="132"/>
                </a:cubicBezTo>
                <a:cubicBezTo>
                  <a:pt x="3390" y="132"/>
                  <a:pt x="3393" y="131"/>
                  <a:pt x="3395" y="129"/>
                </a:cubicBezTo>
                <a:cubicBezTo>
                  <a:pt x="3398" y="129"/>
                  <a:pt x="3400" y="127"/>
                  <a:pt x="3402" y="126"/>
                </a:cubicBezTo>
                <a:cubicBezTo>
                  <a:pt x="3402" y="126"/>
                  <a:pt x="3402" y="126"/>
                  <a:pt x="3402" y="185"/>
                </a:cubicBezTo>
                <a:cubicBezTo>
                  <a:pt x="3402" y="185"/>
                  <a:pt x="3402" y="185"/>
                  <a:pt x="3414" y="185"/>
                </a:cubicBezTo>
                <a:cubicBezTo>
                  <a:pt x="3414" y="185"/>
                  <a:pt x="3414" y="185"/>
                  <a:pt x="3414" y="111"/>
                </a:cubicBezTo>
                <a:close/>
                <a:moveTo>
                  <a:pt x="3460" y="111"/>
                </a:moveTo>
                <a:cubicBezTo>
                  <a:pt x="3460" y="111"/>
                  <a:pt x="3460" y="111"/>
                  <a:pt x="3460" y="111"/>
                </a:cubicBezTo>
                <a:cubicBezTo>
                  <a:pt x="3455" y="111"/>
                  <a:pt x="3455" y="111"/>
                  <a:pt x="3455" y="111"/>
                </a:cubicBezTo>
                <a:cubicBezTo>
                  <a:pt x="3453" y="113"/>
                  <a:pt x="3452" y="114"/>
                  <a:pt x="3450" y="115"/>
                </a:cubicBezTo>
                <a:cubicBezTo>
                  <a:pt x="3448" y="116"/>
                  <a:pt x="3446" y="117"/>
                  <a:pt x="3445" y="118"/>
                </a:cubicBezTo>
                <a:cubicBezTo>
                  <a:pt x="3442" y="119"/>
                  <a:pt x="3441" y="120"/>
                  <a:pt x="3439" y="121"/>
                </a:cubicBezTo>
                <a:cubicBezTo>
                  <a:pt x="3437" y="121"/>
                  <a:pt x="3435" y="122"/>
                  <a:pt x="3434" y="122"/>
                </a:cubicBezTo>
                <a:cubicBezTo>
                  <a:pt x="3434" y="122"/>
                  <a:pt x="3434" y="122"/>
                  <a:pt x="3434" y="132"/>
                </a:cubicBezTo>
                <a:cubicBezTo>
                  <a:pt x="3437" y="132"/>
                  <a:pt x="3440" y="131"/>
                  <a:pt x="3442" y="129"/>
                </a:cubicBezTo>
                <a:cubicBezTo>
                  <a:pt x="3444" y="129"/>
                  <a:pt x="3447" y="127"/>
                  <a:pt x="3448" y="126"/>
                </a:cubicBezTo>
                <a:cubicBezTo>
                  <a:pt x="3448" y="126"/>
                  <a:pt x="3448" y="126"/>
                  <a:pt x="3448" y="185"/>
                </a:cubicBezTo>
                <a:cubicBezTo>
                  <a:pt x="3448" y="185"/>
                  <a:pt x="3448" y="185"/>
                  <a:pt x="3460" y="185"/>
                </a:cubicBezTo>
                <a:cubicBezTo>
                  <a:pt x="3460" y="185"/>
                  <a:pt x="3460" y="185"/>
                  <a:pt x="3460" y="111"/>
                </a:cubicBezTo>
                <a:close/>
                <a:moveTo>
                  <a:pt x="3209" y="159"/>
                </a:moveTo>
                <a:cubicBezTo>
                  <a:pt x="3210" y="160"/>
                  <a:pt x="3210" y="161"/>
                  <a:pt x="3211" y="163"/>
                </a:cubicBezTo>
                <a:cubicBezTo>
                  <a:pt x="3211" y="164"/>
                  <a:pt x="3211" y="166"/>
                  <a:pt x="3212" y="168"/>
                </a:cubicBezTo>
                <a:cubicBezTo>
                  <a:pt x="3212" y="170"/>
                  <a:pt x="3212" y="171"/>
                  <a:pt x="3212" y="173"/>
                </a:cubicBezTo>
                <a:cubicBezTo>
                  <a:pt x="3213" y="176"/>
                  <a:pt x="3212" y="178"/>
                  <a:pt x="3209" y="178"/>
                </a:cubicBezTo>
                <a:cubicBezTo>
                  <a:pt x="3206" y="178"/>
                  <a:pt x="3203" y="177"/>
                  <a:pt x="3201" y="177"/>
                </a:cubicBezTo>
                <a:cubicBezTo>
                  <a:pt x="3200" y="177"/>
                  <a:pt x="3199" y="177"/>
                  <a:pt x="3199" y="178"/>
                </a:cubicBezTo>
                <a:cubicBezTo>
                  <a:pt x="3197" y="179"/>
                  <a:pt x="3196" y="180"/>
                  <a:pt x="3195" y="182"/>
                </a:cubicBezTo>
                <a:cubicBezTo>
                  <a:pt x="3193" y="184"/>
                  <a:pt x="3190" y="185"/>
                  <a:pt x="3187" y="183"/>
                </a:cubicBezTo>
                <a:cubicBezTo>
                  <a:pt x="3185" y="180"/>
                  <a:pt x="3184" y="178"/>
                  <a:pt x="3182" y="175"/>
                </a:cubicBezTo>
                <a:cubicBezTo>
                  <a:pt x="3182" y="174"/>
                  <a:pt x="3182" y="172"/>
                  <a:pt x="3184" y="170"/>
                </a:cubicBezTo>
                <a:cubicBezTo>
                  <a:pt x="3182" y="170"/>
                  <a:pt x="3180" y="170"/>
                  <a:pt x="3179" y="170"/>
                </a:cubicBezTo>
                <a:cubicBezTo>
                  <a:pt x="3178" y="172"/>
                  <a:pt x="3177" y="174"/>
                  <a:pt x="3176" y="176"/>
                </a:cubicBezTo>
                <a:cubicBezTo>
                  <a:pt x="3176" y="177"/>
                  <a:pt x="3175" y="178"/>
                  <a:pt x="3175" y="179"/>
                </a:cubicBezTo>
                <a:cubicBezTo>
                  <a:pt x="3175" y="182"/>
                  <a:pt x="3174" y="183"/>
                  <a:pt x="3171" y="183"/>
                </a:cubicBezTo>
                <a:cubicBezTo>
                  <a:pt x="3168" y="182"/>
                  <a:pt x="3165" y="182"/>
                  <a:pt x="3162" y="180"/>
                </a:cubicBezTo>
                <a:cubicBezTo>
                  <a:pt x="3160" y="180"/>
                  <a:pt x="3160" y="178"/>
                  <a:pt x="3160" y="176"/>
                </a:cubicBezTo>
                <a:cubicBezTo>
                  <a:pt x="3161" y="176"/>
                  <a:pt x="3161" y="175"/>
                  <a:pt x="3161" y="175"/>
                </a:cubicBezTo>
                <a:cubicBezTo>
                  <a:pt x="3159" y="174"/>
                  <a:pt x="3156" y="173"/>
                  <a:pt x="3154" y="171"/>
                </a:cubicBezTo>
                <a:cubicBezTo>
                  <a:pt x="3153" y="170"/>
                  <a:pt x="3152" y="168"/>
                  <a:pt x="3151" y="167"/>
                </a:cubicBezTo>
                <a:cubicBezTo>
                  <a:pt x="3150" y="165"/>
                  <a:pt x="3150" y="163"/>
                  <a:pt x="3152" y="162"/>
                </a:cubicBezTo>
                <a:cubicBezTo>
                  <a:pt x="3155" y="159"/>
                  <a:pt x="3156" y="157"/>
                  <a:pt x="3155" y="153"/>
                </a:cubicBezTo>
                <a:cubicBezTo>
                  <a:pt x="3155" y="151"/>
                  <a:pt x="3155" y="148"/>
                  <a:pt x="3155" y="147"/>
                </a:cubicBezTo>
                <a:cubicBezTo>
                  <a:pt x="3154" y="146"/>
                  <a:pt x="3152" y="145"/>
                  <a:pt x="3151" y="144"/>
                </a:cubicBezTo>
                <a:cubicBezTo>
                  <a:pt x="3150" y="143"/>
                  <a:pt x="3150" y="141"/>
                  <a:pt x="3150" y="139"/>
                </a:cubicBezTo>
                <a:cubicBezTo>
                  <a:pt x="3149" y="136"/>
                  <a:pt x="3153" y="133"/>
                  <a:pt x="3155" y="132"/>
                </a:cubicBezTo>
                <a:cubicBezTo>
                  <a:pt x="3156" y="133"/>
                  <a:pt x="3156" y="134"/>
                  <a:pt x="3156" y="135"/>
                </a:cubicBezTo>
                <a:cubicBezTo>
                  <a:pt x="3156" y="136"/>
                  <a:pt x="3156" y="137"/>
                  <a:pt x="3157" y="138"/>
                </a:cubicBezTo>
                <a:cubicBezTo>
                  <a:pt x="3156" y="138"/>
                  <a:pt x="3155" y="138"/>
                  <a:pt x="3155" y="138"/>
                </a:cubicBezTo>
                <a:cubicBezTo>
                  <a:pt x="3155" y="139"/>
                  <a:pt x="3154" y="140"/>
                  <a:pt x="3153" y="142"/>
                </a:cubicBezTo>
                <a:cubicBezTo>
                  <a:pt x="3155" y="142"/>
                  <a:pt x="3155" y="142"/>
                  <a:pt x="3156" y="141"/>
                </a:cubicBezTo>
                <a:cubicBezTo>
                  <a:pt x="3157" y="140"/>
                  <a:pt x="3158" y="139"/>
                  <a:pt x="3159" y="138"/>
                </a:cubicBezTo>
                <a:cubicBezTo>
                  <a:pt x="3163" y="131"/>
                  <a:pt x="3169" y="127"/>
                  <a:pt x="3177" y="126"/>
                </a:cubicBezTo>
                <a:cubicBezTo>
                  <a:pt x="3180" y="125"/>
                  <a:pt x="3183" y="124"/>
                  <a:pt x="3185" y="121"/>
                </a:cubicBezTo>
                <a:cubicBezTo>
                  <a:pt x="3185" y="121"/>
                  <a:pt x="3186" y="121"/>
                  <a:pt x="3186" y="121"/>
                </a:cubicBezTo>
                <a:cubicBezTo>
                  <a:pt x="3189" y="120"/>
                  <a:pt x="3191" y="118"/>
                  <a:pt x="3193" y="116"/>
                </a:cubicBezTo>
                <a:cubicBezTo>
                  <a:pt x="3200" y="108"/>
                  <a:pt x="3212" y="108"/>
                  <a:pt x="3220" y="115"/>
                </a:cubicBezTo>
                <a:cubicBezTo>
                  <a:pt x="3222" y="117"/>
                  <a:pt x="3225" y="119"/>
                  <a:pt x="3227" y="121"/>
                </a:cubicBezTo>
                <a:cubicBezTo>
                  <a:pt x="3229" y="122"/>
                  <a:pt x="3230" y="123"/>
                  <a:pt x="3231" y="125"/>
                </a:cubicBezTo>
                <a:cubicBezTo>
                  <a:pt x="3232" y="127"/>
                  <a:pt x="3233" y="127"/>
                  <a:pt x="3234" y="126"/>
                </a:cubicBezTo>
                <a:cubicBezTo>
                  <a:pt x="3235" y="125"/>
                  <a:pt x="3235" y="125"/>
                  <a:pt x="3236" y="124"/>
                </a:cubicBezTo>
                <a:cubicBezTo>
                  <a:pt x="3238" y="121"/>
                  <a:pt x="3241" y="121"/>
                  <a:pt x="3242" y="124"/>
                </a:cubicBezTo>
                <a:cubicBezTo>
                  <a:pt x="3244" y="127"/>
                  <a:pt x="3244" y="130"/>
                  <a:pt x="3245" y="133"/>
                </a:cubicBezTo>
                <a:cubicBezTo>
                  <a:pt x="3246" y="138"/>
                  <a:pt x="3245" y="142"/>
                  <a:pt x="3244" y="146"/>
                </a:cubicBezTo>
                <a:cubicBezTo>
                  <a:pt x="3241" y="153"/>
                  <a:pt x="3237" y="156"/>
                  <a:pt x="3230" y="156"/>
                </a:cubicBezTo>
                <a:cubicBezTo>
                  <a:pt x="3229" y="156"/>
                  <a:pt x="3229" y="156"/>
                  <a:pt x="3228" y="156"/>
                </a:cubicBezTo>
                <a:cubicBezTo>
                  <a:pt x="3226" y="156"/>
                  <a:pt x="3224" y="156"/>
                  <a:pt x="3224" y="159"/>
                </a:cubicBezTo>
                <a:cubicBezTo>
                  <a:pt x="3222" y="163"/>
                  <a:pt x="3217" y="164"/>
                  <a:pt x="3213" y="161"/>
                </a:cubicBezTo>
                <a:cubicBezTo>
                  <a:pt x="3212" y="160"/>
                  <a:pt x="3211" y="159"/>
                  <a:pt x="3210" y="158"/>
                </a:cubicBezTo>
                <a:cubicBezTo>
                  <a:pt x="3210" y="159"/>
                  <a:pt x="3210" y="159"/>
                  <a:pt x="3209" y="159"/>
                </a:cubicBezTo>
                <a:close/>
                <a:moveTo>
                  <a:pt x="3204" y="154"/>
                </a:moveTo>
                <a:cubicBezTo>
                  <a:pt x="3207" y="156"/>
                  <a:pt x="3211" y="157"/>
                  <a:pt x="3213" y="160"/>
                </a:cubicBezTo>
                <a:cubicBezTo>
                  <a:pt x="3215" y="161"/>
                  <a:pt x="3217" y="162"/>
                  <a:pt x="3219" y="161"/>
                </a:cubicBezTo>
                <a:cubicBezTo>
                  <a:pt x="3222" y="161"/>
                  <a:pt x="3223" y="159"/>
                  <a:pt x="3223" y="155"/>
                </a:cubicBezTo>
                <a:cubicBezTo>
                  <a:pt x="3223" y="156"/>
                  <a:pt x="3222" y="156"/>
                  <a:pt x="3222" y="156"/>
                </a:cubicBezTo>
                <a:cubicBezTo>
                  <a:pt x="3222" y="158"/>
                  <a:pt x="3221" y="159"/>
                  <a:pt x="3220" y="160"/>
                </a:cubicBezTo>
                <a:cubicBezTo>
                  <a:pt x="3219" y="161"/>
                  <a:pt x="3217" y="161"/>
                  <a:pt x="3217" y="160"/>
                </a:cubicBezTo>
                <a:cubicBezTo>
                  <a:pt x="3216" y="160"/>
                  <a:pt x="3215" y="159"/>
                  <a:pt x="3215" y="158"/>
                </a:cubicBezTo>
                <a:cubicBezTo>
                  <a:pt x="3215" y="156"/>
                  <a:pt x="3216" y="154"/>
                  <a:pt x="3216" y="152"/>
                </a:cubicBezTo>
                <a:cubicBezTo>
                  <a:pt x="3219" y="153"/>
                  <a:pt x="3222" y="154"/>
                  <a:pt x="3226" y="154"/>
                </a:cubicBezTo>
                <a:cubicBezTo>
                  <a:pt x="3233" y="155"/>
                  <a:pt x="3239" y="154"/>
                  <a:pt x="3242" y="145"/>
                </a:cubicBezTo>
                <a:cubicBezTo>
                  <a:pt x="3244" y="140"/>
                  <a:pt x="3244" y="136"/>
                  <a:pt x="3243" y="130"/>
                </a:cubicBezTo>
                <a:cubicBezTo>
                  <a:pt x="3242" y="128"/>
                  <a:pt x="3242" y="127"/>
                  <a:pt x="3241" y="125"/>
                </a:cubicBezTo>
                <a:cubicBezTo>
                  <a:pt x="3240" y="123"/>
                  <a:pt x="3239" y="123"/>
                  <a:pt x="3238" y="125"/>
                </a:cubicBezTo>
                <a:cubicBezTo>
                  <a:pt x="3236" y="126"/>
                  <a:pt x="3235" y="128"/>
                  <a:pt x="3233" y="128"/>
                </a:cubicBezTo>
                <a:cubicBezTo>
                  <a:pt x="3232" y="129"/>
                  <a:pt x="3231" y="130"/>
                  <a:pt x="3231" y="131"/>
                </a:cubicBezTo>
                <a:cubicBezTo>
                  <a:pt x="3232" y="134"/>
                  <a:pt x="3231" y="137"/>
                  <a:pt x="3230" y="140"/>
                </a:cubicBezTo>
                <a:cubicBezTo>
                  <a:pt x="3230" y="138"/>
                  <a:pt x="3231" y="136"/>
                  <a:pt x="3231" y="135"/>
                </a:cubicBezTo>
                <a:cubicBezTo>
                  <a:pt x="3231" y="134"/>
                  <a:pt x="3230" y="134"/>
                  <a:pt x="3230" y="133"/>
                </a:cubicBezTo>
                <a:cubicBezTo>
                  <a:pt x="3230" y="134"/>
                  <a:pt x="3229" y="134"/>
                  <a:pt x="3229" y="134"/>
                </a:cubicBezTo>
                <a:cubicBezTo>
                  <a:pt x="3228" y="135"/>
                  <a:pt x="3227" y="137"/>
                  <a:pt x="3226" y="138"/>
                </a:cubicBezTo>
                <a:cubicBezTo>
                  <a:pt x="3226" y="138"/>
                  <a:pt x="3226" y="138"/>
                  <a:pt x="3226" y="138"/>
                </a:cubicBezTo>
                <a:cubicBezTo>
                  <a:pt x="3226" y="136"/>
                  <a:pt x="3227" y="135"/>
                  <a:pt x="3227" y="132"/>
                </a:cubicBezTo>
                <a:cubicBezTo>
                  <a:pt x="3226" y="133"/>
                  <a:pt x="3226" y="134"/>
                  <a:pt x="3225" y="134"/>
                </a:cubicBezTo>
                <a:cubicBezTo>
                  <a:pt x="3224" y="135"/>
                  <a:pt x="3224" y="136"/>
                  <a:pt x="3224" y="136"/>
                </a:cubicBezTo>
                <a:cubicBezTo>
                  <a:pt x="3224" y="133"/>
                  <a:pt x="3224" y="133"/>
                  <a:pt x="3230" y="132"/>
                </a:cubicBezTo>
                <a:cubicBezTo>
                  <a:pt x="3230" y="131"/>
                  <a:pt x="3229" y="130"/>
                  <a:pt x="3229" y="130"/>
                </a:cubicBezTo>
                <a:cubicBezTo>
                  <a:pt x="3226" y="131"/>
                  <a:pt x="3226" y="130"/>
                  <a:pt x="3225" y="127"/>
                </a:cubicBezTo>
                <a:cubicBezTo>
                  <a:pt x="3227" y="127"/>
                  <a:pt x="3228" y="126"/>
                  <a:pt x="3230" y="126"/>
                </a:cubicBezTo>
                <a:cubicBezTo>
                  <a:pt x="3228" y="124"/>
                  <a:pt x="3227" y="121"/>
                  <a:pt x="3224" y="121"/>
                </a:cubicBezTo>
                <a:cubicBezTo>
                  <a:pt x="3223" y="121"/>
                  <a:pt x="3223" y="120"/>
                  <a:pt x="3223" y="120"/>
                </a:cubicBezTo>
                <a:cubicBezTo>
                  <a:pt x="3221" y="118"/>
                  <a:pt x="3218" y="115"/>
                  <a:pt x="3215" y="113"/>
                </a:cubicBezTo>
                <a:cubicBezTo>
                  <a:pt x="3213" y="112"/>
                  <a:pt x="3210" y="111"/>
                  <a:pt x="3208" y="111"/>
                </a:cubicBezTo>
                <a:cubicBezTo>
                  <a:pt x="3205" y="112"/>
                  <a:pt x="3202" y="113"/>
                  <a:pt x="3199" y="114"/>
                </a:cubicBezTo>
                <a:cubicBezTo>
                  <a:pt x="3196" y="115"/>
                  <a:pt x="3193" y="117"/>
                  <a:pt x="3191" y="120"/>
                </a:cubicBezTo>
                <a:cubicBezTo>
                  <a:pt x="3193" y="120"/>
                  <a:pt x="3194" y="120"/>
                  <a:pt x="3195" y="120"/>
                </a:cubicBezTo>
                <a:cubicBezTo>
                  <a:pt x="3195" y="120"/>
                  <a:pt x="3194" y="121"/>
                  <a:pt x="3193" y="121"/>
                </a:cubicBezTo>
                <a:cubicBezTo>
                  <a:pt x="3191" y="121"/>
                  <a:pt x="3188" y="121"/>
                  <a:pt x="3186" y="123"/>
                </a:cubicBezTo>
                <a:cubicBezTo>
                  <a:pt x="3183" y="127"/>
                  <a:pt x="3179" y="130"/>
                  <a:pt x="3175" y="135"/>
                </a:cubicBezTo>
                <a:cubicBezTo>
                  <a:pt x="3174" y="137"/>
                  <a:pt x="3173" y="139"/>
                  <a:pt x="3172" y="142"/>
                </a:cubicBezTo>
                <a:cubicBezTo>
                  <a:pt x="3172" y="142"/>
                  <a:pt x="3172" y="143"/>
                  <a:pt x="3172" y="143"/>
                </a:cubicBezTo>
                <a:cubicBezTo>
                  <a:pt x="3173" y="145"/>
                  <a:pt x="3175" y="147"/>
                  <a:pt x="3176" y="149"/>
                </a:cubicBezTo>
                <a:cubicBezTo>
                  <a:pt x="3177" y="147"/>
                  <a:pt x="3179" y="146"/>
                  <a:pt x="3180" y="145"/>
                </a:cubicBezTo>
                <a:cubicBezTo>
                  <a:pt x="3179" y="146"/>
                  <a:pt x="3179" y="147"/>
                  <a:pt x="3178" y="149"/>
                </a:cubicBezTo>
                <a:cubicBezTo>
                  <a:pt x="3177" y="150"/>
                  <a:pt x="3177" y="151"/>
                  <a:pt x="3176" y="153"/>
                </a:cubicBezTo>
                <a:cubicBezTo>
                  <a:pt x="3176" y="153"/>
                  <a:pt x="3176" y="155"/>
                  <a:pt x="3177" y="155"/>
                </a:cubicBezTo>
                <a:cubicBezTo>
                  <a:pt x="3179" y="159"/>
                  <a:pt x="3182" y="159"/>
                  <a:pt x="3186" y="157"/>
                </a:cubicBezTo>
                <a:cubicBezTo>
                  <a:pt x="3188" y="155"/>
                  <a:pt x="3191" y="154"/>
                  <a:pt x="3194" y="153"/>
                </a:cubicBezTo>
                <a:cubicBezTo>
                  <a:pt x="3195" y="153"/>
                  <a:pt x="3197" y="152"/>
                  <a:pt x="3197" y="151"/>
                </a:cubicBezTo>
                <a:cubicBezTo>
                  <a:pt x="3197" y="147"/>
                  <a:pt x="3197" y="144"/>
                  <a:pt x="3197" y="141"/>
                </a:cubicBezTo>
                <a:cubicBezTo>
                  <a:pt x="3197" y="138"/>
                  <a:pt x="3197" y="135"/>
                  <a:pt x="3197" y="132"/>
                </a:cubicBezTo>
                <a:cubicBezTo>
                  <a:pt x="3197" y="134"/>
                  <a:pt x="3198" y="137"/>
                  <a:pt x="3198" y="140"/>
                </a:cubicBezTo>
                <a:cubicBezTo>
                  <a:pt x="3199" y="144"/>
                  <a:pt x="3199" y="149"/>
                  <a:pt x="3198" y="153"/>
                </a:cubicBezTo>
                <a:cubicBezTo>
                  <a:pt x="3197" y="154"/>
                  <a:pt x="3197" y="155"/>
                  <a:pt x="3196" y="155"/>
                </a:cubicBezTo>
                <a:cubicBezTo>
                  <a:pt x="3193" y="155"/>
                  <a:pt x="3190" y="157"/>
                  <a:pt x="3186" y="159"/>
                </a:cubicBezTo>
                <a:cubicBezTo>
                  <a:pt x="3181" y="162"/>
                  <a:pt x="3178" y="160"/>
                  <a:pt x="3174" y="156"/>
                </a:cubicBezTo>
                <a:cubicBezTo>
                  <a:pt x="3174" y="155"/>
                  <a:pt x="3174" y="154"/>
                  <a:pt x="3174" y="154"/>
                </a:cubicBezTo>
                <a:cubicBezTo>
                  <a:pt x="3175" y="151"/>
                  <a:pt x="3174" y="149"/>
                  <a:pt x="3173" y="147"/>
                </a:cubicBezTo>
                <a:cubicBezTo>
                  <a:pt x="3171" y="145"/>
                  <a:pt x="3170" y="143"/>
                  <a:pt x="3171" y="140"/>
                </a:cubicBezTo>
                <a:cubicBezTo>
                  <a:pt x="3171" y="138"/>
                  <a:pt x="3172" y="137"/>
                  <a:pt x="3173" y="135"/>
                </a:cubicBezTo>
                <a:cubicBezTo>
                  <a:pt x="3175" y="132"/>
                  <a:pt x="3177" y="130"/>
                  <a:pt x="3179" y="127"/>
                </a:cubicBezTo>
                <a:cubicBezTo>
                  <a:pt x="3179" y="127"/>
                  <a:pt x="3178" y="127"/>
                  <a:pt x="3178" y="127"/>
                </a:cubicBezTo>
                <a:cubicBezTo>
                  <a:pt x="3173" y="128"/>
                  <a:pt x="3169" y="130"/>
                  <a:pt x="3165" y="133"/>
                </a:cubicBezTo>
                <a:cubicBezTo>
                  <a:pt x="3160" y="138"/>
                  <a:pt x="3157" y="143"/>
                  <a:pt x="3157" y="149"/>
                </a:cubicBezTo>
                <a:cubicBezTo>
                  <a:pt x="3157" y="156"/>
                  <a:pt x="3159" y="162"/>
                  <a:pt x="3162" y="168"/>
                </a:cubicBezTo>
                <a:cubicBezTo>
                  <a:pt x="3163" y="169"/>
                  <a:pt x="3164" y="170"/>
                  <a:pt x="3163" y="172"/>
                </a:cubicBezTo>
                <a:cubicBezTo>
                  <a:pt x="3163" y="173"/>
                  <a:pt x="3163" y="175"/>
                  <a:pt x="3162" y="176"/>
                </a:cubicBezTo>
                <a:cubicBezTo>
                  <a:pt x="3162" y="178"/>
                  <a:pt x="3162" y="179"/>
                  <a:pt x="3163" y="179"/>
                </a:cubicBezTo>
                <a:cubicBezTo>
                  <a:pt x="3166" y="180"/>
                  <a:pt x="3169" y="180"/>
                  <a:pt x="3172" y="181"/>
                </a:cubicBezTo>
                <a:cubicBezTo>
                  <a:pt x="3173" y="181"/>
                  <a:pt x="3173" y="180"/>
                  <a:pt x="3173" y="180"/>
                </a:cubicBezTo>
                <a:cubicBezTo>
                  <a:pt x="3174" y="178"/>
                  <a:pt x="3174" y="177"/>
                  <a:pt x="3175" y="176"/>
                </a:cubicBezTo>
                <a:cubicBezTo>
                  <a:pt x="3177" y="174"/>
                  <a:pt x="3177" y="171"/>
                  <a:pt x="3177" y="168"/>
                </a:cubicBezTo>
                <a:cubicBezTo>
                  <a:pt x="3177" y="168"/>
                  <a:pt x="3177" y="167"/>
                  <a:pt x="3177" y="167"/>
                </a:cubicBezTo>
                <a:cubicBezTo>
                  <a:pt x="3177" y="166"/>
                  <a:pt x="3177" y="166"/>
                  <a:pt x="3177" y="166"/>
                </a:cubicBezTo>
                <a:cubicBezTo>
                  <a:pt x="3177" y="169"/>
                  <a:pt x="3179" y="169"/>
                  <a:pt x="3181" y="169"/>
                </a:cubicBezTo>
                <a:cubicBezTo>
                  <a:pt x="3181" y="169"/>
                  <a:pt x="3182" y="169"/>
                  <a:pt x="3183" y="169"/>
                </a:cubicBezTo>
                <a:cubicBezTo>
                  <a:pt x="3186" y="169"/>
                  <a:pt x="3189" y="170"/>
                  <a:pt x="3190" y="165"/>
                </a:cubicBezTo>
                <a:cubicBezTo>
                  <a:pt x="3190" y="168"/>
                  <a:pt x="3190" y="169"/>
                  <a:pt x="3190" y="170"/>
                </a:cubicBezTo>
                <a:cubicBezTo>
                  <a:pt x="3188" y="171"/>
                  <a:pt x="3187" y="172"/>
                  <a:pt x="3186" y="172"/>
                </a:cubicBezTo>
                <a:cubicBezTo>
                  <a:pt x="3184" y="173"/>
                  <a:pt x="3184" y="174"/>
                  <a:pt x="3184" y="175"/>
                </a:cubicBezTo>
                <a:cubicBezTo>
                  <a:pt x="3186" y="178"/>
                  <a:pt x="3187" y="180"/>
                  <a:pt x="3188" y="182"/>
                </a:cubicBezTo>
                <a:cubicBezTo>
                  <a:pt x="3190" y="183"/>
                  <a:pt x="3192" y="182"/>
                  <a:pt x="3193" y="181"/>
                </a:cubicBezTo>
                <a:cubicBezTo>
                  <a:pt x="3194" y="180"/>
                  <a:pt x="3195" y="179"/>
                  <a:pt x="3195" y="179"/>
                </a:cubicBezTo>
                <a:cubicBezTo>
                  <a:pt x="3197" y="177"/>
                  <a:pt x="3199" y="176"/>
                  <a:pt x="3200" y="175"/>
                </a:cubicBezTo>
                <a:cubicBezTo>
                  <a:pt x="3204" y="170"/>
                  <a:pt x="3206" y="164"/>
                  <a:pt x="3208" y="159"/>
                </a:cubicBezTo>
                <a:cubicBezTo>
                  <a:pt x="3208" y="158"/>
                  <a:pt x="3207" y="157"/>
                  <a:pt x="3207" y="157"/>
                </a:cubicBezTo>
                <a:cubicBezTo>
                  <a:pt x="3206" y="156"/>
                  <a:pt x="3205" y="155"/>
                  <a:pt x="3204" y="154"/>
                </a:cubicBezTo>
                <a:close/>
                <a:moveTo>
                  <a:pt x="3157" y="161"/>
                </a:moveTo>
                <a:cubicBezTo>
                  <a:pt x="3156" y="161"/>
                  <a:pt x="3154" y="162"/>
                  <a:pt x="3153" y="163"/>
                </a:cubicBezTo>
                <a:cubicBezTo>
                  <a:pt x="3153" y="164"/>
                  <a:pt x="3152" y="164"/>
                  <a:pt x="3152" y="165"/>
                </a:cubicBezTo>
                <a:cubicBezTo>
                  <a:pt x="3152" y="168"/>
                  <a:pt x="3157" y="172"/>
                  <a:pt x="3160" y="172"/>
                </a:cubicBezTo>
                <a:cubicBezTo>
                  <a:pt x="3161" y="172"/>
                  <a:pt x="3162" y="171"/>
                  <a:pt x="3161" y="169"/>
                </a:cubicBezTo>
                <a:cubicBezTo>
                  <a:pt x="3160" y="166"/>
                  <a:pt x="3158" y="163"/>
                  <a:pt x="3157" y="161"/>
                </a:cubicBezTo>
                <a:close/>
                <a:moveTo>
                  <a:pt x="3209" y="163"/>
                </a:moveTo>
                <a:cubicBezTo>
                  <a:pt x="3207" y="167"/>
                  <a:pt x="3204" y="172"/>
                  <a:pt x="3202" y="176"/>
                </a:cubicBezTo>
                <a:cubicBezTo>
                  <a:pt x="3205" y="176"/>
                  <a:pt x="3207" y="176"/>
                  <a:pt x="3210" y="176"/>
                </a:cubicBezTo>
                <a:cubicBezTo>
                  <a:pt x="3210" y="176"/>
                  <a:pt x="3211" y="175"/>
                  <a:pt x="3211" y="174"/>
                </a:cubicBezTo>
                <a:cubicBezTo>
                  <a:pt x="3211" y="172"/>
                  <a:pt x="3211" y="169"/>
                  <a:pt x="3210" y="167"/>
                </a:cubicBezTo>
                <a:cubicBezTo>
                  <a:pt x="3210" y="165"/>
                  <a:pt x="3210" y="164"/>
                  <a:pt x="3209" y="163"/>
                </a:cubicBezTo>
                <a:close/>
                <a:moveTo>
                  <a:pt x="3157" y="142"/>
                </a:moveTo>
                <a:cubicBezTo>
                  <a:pt x="3156" y="143"/>
                  <a:pt x="3155" y="143"/>
                  <a:pt x="3155" y="143"/>
                </a:cubicBezTo>
                <a:cubicBezTo>
                  <a:pt x="3154" y="143"/>
                  <a:pt x="3153" y="143"/>
                  <a:pt x="3153" y="143"/>
                </a:cubicBezTo>
                <a:cubicBezTo>
                  <a:pt x="3153" y="142"/>
                  <a:pt x="3152" y="142"/>
                  <a:pt x="3152" y="141"/>
                </a:cubicBezTo>
                <a:cubicBezTo>
                  <a:pt x="3153" y="139"/>
                  <a:pt x="3153" y="137"/>
                  <a:pt x="3154" y="135"/>
                </a:cubicBezTo>
                <a:cubicBezTo>
                  <a:pt x="3154" y="135"/>
                  <a:pt x="3154" y="135"/>
                  <a:pt x="3153" y="135"/>
                </a:cubicBezTo>
                <a:cubicBezTo>
                  <a:pt x="3153" y="136"/>
                  <a:pt x="3151" y="136"/>
                  <a:pt x="3151" y="138"/>
                </a:cubicBezTo>
                <a:cubicBezTo>
                  <a:pt x="3150" y="139"/>
                  <a:pt x="3151" y="144"/>
                  <a:pt x="3153" y="145"/>
                </a:cubicBezTo>
                <a:cubicBezTo>
                  <a:pt x="3155" y="145"/>
                  <a:pt x="3157" y="144"/>
                  <a:pt x="3157" y="142"/>
                </a:cubicBezTo>
                <a:close/>
                <a:moveTo>
                  <a:pt x="3156" y="161"/>
                </a:moveTo>
                <a:cubicBezTo>
                  <a:pt x="3156" y="161"/>
                  <a:pt x="3154" y="162"/>
                  <a:pt x="3153" y="163"/>
                </a:cubicBezTo>
                <a:cubicBezTo>
                  <a:pt x="3152" y="164"/>
                  <a:pt x="3152" y="165"/>
                  <a:pt x="3152" y="165"/>
                </a:cubicBezTo>
                <a:cubicBezTo>
                  <a:pt x="3152" y="168"/>
                  <a:pt x="3156" y="173"/>
                  <a:pt x="3160" y="172"/>
                </a:cubicBezTo>
                <a:cubicBezTo>
                  <a:pt x="3161" y="172"/>
                  <a:pt x="3162" y="171"/>
                  <a:pt x="3161" y="169"/>
                </a:cubicBezTo>
                <a:cubicBezTo>
                  <a:pt x="3160" y="166"/>
                  <a:pt x="3158" y="163"/>
                  <a:pt x="3156" y="161"/>
                </a:cubicBezTo>
                <a:close/>
                <a:moveTo>
                  <a:pt x="3209" y="163"/>
                </a:moveTo>
                <a:cubicBezTo>
                  <a:pt x="3207" y="167"/>
                  <a:pt x="3204" y="172"/>
                  <a:pt x="3202" y="176"/>
                </a:cubicBezTo>
                <a:cubicBezTo>
                  <a:pt x="3205" y="176"/>
                  <a:pt x="3207" y="177"/>
                  <a:pt x="3210" y="176"/>
                </a:cubicBezTo>
                <a:cubicBezTo>
                  <a:pt x="3210" y="176"/>
                  <a:pt x="3211" y="175"/>
                  <a:pt x="3211" y="175"/>
                </a:cubicBezTo>
                <a:cubicBezTo>
                  <a:pt x="3211" y="172"/>
                  <a:pt x="3211" y="169"/>
                  <a:pt x="3210" y="167"/>
                </a:cubicBezTo>
                <a:cubicBezTo>
                  <a:pt x="3210" y="165"/>
                  <a:pt x="3209" y="164"/>
                  <a:pt x="3209" y="163"/>
                </a:cubicBezTo>
                <a:close/>
                <a:moveTo>
                  <a:pt x="3156" y="143"/>
                </a:moveTo>
                <a:cubicBezTo>
                  <a:pt x="3156" y="143"/>
                  <a:pt x="3155" y="143"/>
                  <a:pt x="3154" y="143"/>
                </a:cubicBezTo>
                <a:cubicBezTo>
                  <a:pt x="3154" y="143"/>
                  <a:pt x="3153" y="143"/>
                  <a:pt x="3153" y="143"/>
                </a:cubicBezTo>
                <a:cubicBezTo>
                  <a:pt x="3153" y="143"/>
                  <a:pt x="3152" y="142"/>
                  <a:pt x="3152" y="141"/>
                </a:cubicBezTo>
                <a:cubicBezTo>
                  <a:pt x="3153" y="139"/>
                  <a:pt x="3153" y="137"/>
                  <a:pt x="3154" y="135"/>
                </a:cubicBezTo>
                <a:cubicBezTo>
                  <a:pt x="3154" y="135"/>
                  <a:pt x="3154" y="135"/>
                  <a:pt x="3153" y="135"/>
                </a:cubicBezTo>
                <a:cubicBezTo>
                  <a:pt x="3153" y="136"/>
                  <a:pt x="3152" y="136"/>
                  <a:pt x="3151" y="138"/>
                </a:cubicBezTo>
                <a:cubicBezTo>
                  <a:pt x="3150" y="139"/>
                  <a:pt x="3152" y="144"/>
                  <a:pt x="3153" y="145"/>
                </a:cubicBezTo>
                <a:cubicBezTo>
                  <a:pt x="3154" y="146"/>
                  <a:pt x="3156" y="145"/>
                  <a:pt x="3156" y="143"/>
                </a:cubicBezTo>
                <a:close/>
                <a:moveTo>
                  <a:pt x="3209" y="134"/>
                </a:moveTo>
                <a:cubicBezTo>
                  <a:pt x="3212" y="131"/>
                  <a:pt x="3212" y="131"/>
                  <a:pt x="3216" y="129"/>
                </a:cubicBezTo>
                <a:cubicBezTo>
                  <a:pt x="3216" y="131"/>
                  <a:pt x="3217" y="133"/>
                  <a:pt x="3219" y="133"/>
                </a:cubicBezTo>
                <a:cubicBezTo>
                  <a:pt x="3216" y="134"/>
                  <a:pt x="3214" y="135"/>
                  <a:pt x="3212" y="137"/>
                </a:cubicBezTo>
                <a:cubicBezTo>
                  <a:pt x="3211" y="136"/>
                  <a:pt x="3211" y="135"/>
                  <a:pt x="3210" y="134"/>
                </a:cubicBezTo>
                <a:cubicBezTo>
                  <a:pt x="3210" y="134"/>
                  <a:pt x="3209" y="134"/>
                  <a:pt x="3209" y="134"/>
                </a:cubicBezTo>
                <a:close/>
                <a:moveTo>
                  <a:pt x="3215" y="134"/>
                </a:moveTo>
                <a:cubicBezTo>
                  <a:pt x="3214" y="133"/>
                  <a:pt x="3213" y="133"/>
                  <a:pt x="3213" y="133"/>
                </a:cubicBezTo>
                <a:cubicBezTo>
                  <a:pt x="3212" y="133"/>
                  <a:pt x="3211" y="134"/>
                  <a:pt x="3211" y="134"/>
                </a:cubicBezTo>
                <a:cubicBezTo>
                  <a:pt x="3211" y="135"/>
                  <a:pt x="3212" y="135"/>
                  <a:pt x="3212" y="135"/>
                </a:cubicBezTo>
                <a:cubicBezTo>
                  <a:pt x="3213" y="135"/>
                  <a:pt x="3213" y="135"/>
                  <a:pt x="3215" y="134"/>
                </a:cubicBezTo>
                <a:close/>
                <a:moveTo>
                  <a:pt x="3196" y="124"/>
                </a:moveTo>
                <a:cubicBezTo>
                  <a:pt x="3189" y="123"/>
                  <a:pt x="3186" y="126"/>
                  <a:pt x="3185" y="134"/>
                </a:cubicBezTo>
                <a:cubicBezTo>
                  <a:pt x="3186" y="132"/>
                  <a:pt x="3187" y="129"/>
                  <a:pt x="3189" y="127"/>
                </a:cubicBezTo>
                <a:cubicBezTo>
                  <a:pt x="3189" y="127"/>
                  <a:pt x="3189" y="127"/>
                  <a:pt x="3189" y="127"/>
                </a:cubicBezTo>
                <a:cubicBezTo>
                  <a:pt x="3189" y="128"/>
                  <a:pt x="3189" y="129"/>
                  <a:pt x="3189" y="130"/>
                </a:cubicBezTo>
                <a:cubicBezTo>
                  <a:pt x="3191" y="126"/>
                  <a:pt x="3192" y="124"/>
                  <a:pt x="3196" y="124"/>
                </a:cubicBezTo>
                <a:close/>
                <a:moveTo>
                  <a:pt x="3239" y="126"/>
                </a:moveTo>
                <a:cubicBezTo>
                  <a:pt x="3237" y="127"/>
                  <a:pt x="3236" y="128"/>
                  <a:pt x="3234" y="130"/>
                </a:cubicBezTo>
                <a:cubicBezTo>
                  <a:pt x="3236" y="130"/>
                  <a:pt x="3238" y="128"/>
                  <a:pt x="3239" y="126"/>
                </a:cubicBezTo>
                <a:close/>
                <a:moveTo>
                  <a:pt x="3206" y="128"/>
                </a:moveTo>
                <a:cubicBezTo>
                  <a:pt x="3207" y="126"/>
                  <a:pt x="3208" y="125"/>
                  <a:pt x="3210" y="124"/>
                </a:cubicBezTo>
                <a:cubicBezTo>
                  <a:pt x="3207" y="125"/>
                  <a:pt x="3206" y="126"/>
                  <a:pt x="3206" y="128"/>
                </a:cubicBezTo>
                <a:close/>
                <a:moveTo>
                  <a:pt x="3216" y="149"/>
                </a:moveTo>
                <a:cubicBezTo>
                  <a:pt x="3214" y="150"/>
                  <a:pt x="3213" y="150"/>
                  <a:pt x="3213" y="151"/>
                </a:cubicBezTo>
                <a:cubicBezTo>
                  <a:pt x="3214" y="151"/>
                  <a:pt x="3215" y="150"/>
                  <a:pt x="3216" y="149"/>
                </a:cubicBezTo>
                <a:close/>
                <a:moveTo>
                  <a:pt x="3215" y="134"/>
                </a:moveTo>
                <a:cubicBezTo>
                  <a:pt x="3214" y="133"/>
                  <a:pt x="3213" y="133"/>
                  <a:pt x="3213" y="133"/>
                </a:cubicBezTo>
                <a:cubicBezTo>
                  <a:pt x="3212" y="133"/>
                  <a:pt x="3212" y="134"/>
                  <a:pt x="3212" y="134"/>
                </a:cubicBezTo>
                <a:cubicBezTo>
                  <a:pt x="3212" y="134"/>
                  <a:pt x="3212" y="135"/>
                  <a:pt x="3212" y="135"/>
                </a:cubicBezTo>
                <a:cubicBezTo>
                  <a:pt x="3213" y="135"/>
                  <a:pt x="3214" y="134"/>
                  <a:pt x="3215" y="134"/>
                </a:cubicBezTo>
                <a:close/>
                <a:moveTo>
                  <a:pt x="3506" y="111"/>
                </a:moveTo>
                <a:cubicBezTo>
                  <a:pt x="3506" y="111"/>
                  <a:pt x="3506" y="111"/>
                  <a:pt x="3506" y="111"/>
                </a:cubicBezTo>
                <a:cubicBezTo>
                  <a:pt x="3501" y="111"/>
                  <a:pt x="3501" y="111"/>
                  <a:pt x="3501" y="111"/>
                </a:cubicBezTo>
                <a:cubicBezTo>
                  <a:pt x="3499" y="113"/>
                  <a:pt x="3498" y="114"/>
                  <a:pt x="3496" y="115"/>
                </a:cubicBezTo>
                <a:cubicBezTo>
                  <a:pt x="3494" y="116"/>
                  <a:pt x="3492" y="117"/>
                  <a:pt x="3490" y="118"/>
                </a:cubicBezTo>
                <a:cubicBezTo>
                  <a:pt x="3488" y="119"/>
                  <a:pt x="3487" y="120"/>
                  <a:pt x="3485" y="121"/>
                </a:cubicBezTo>
                <a:cubicBezTo>
                  <a:pt x="3483" y="121"/>
                  <a:pt x="3481" y="122"/>
                  <a:pt x="3479" y="122"/>
                </a:cubicBezTo>
                <a:cubicBezTo>
                  <a:pt x="3479" y="122"/>
                  <a:pt x="3479" y="122"/>
                  <a:pt x="3479" y="132"/>
                </a:cubicBezTo>
                <a:cubicBezTo>
                  <a:pt x="3482" y="132"/>
                  <a:pt x="3485" y="131"/>
                  <a:pt x="3487" y="129"/>
                </a:cubicBezTo>
                <a:cubicBezTo>
                  <a:pt x="3490" y="129"/>
                  <a:pt x="3493" y="127"/>
                  <a:pt x="3494" y="126"/>
                </a:cubicBezTo>
                <a:cubicBezTo>
                  <a:pt x="3494" y="126"/>
                  <a:pt x="3494" y="126"/>
                  <a:pt x="3494" y="185"/>
                </a:cubicBezTo>
                <a:cubicBezTo>
                  <a:pt x="3494" y="185"/>
                  <a:pt x="3494" y="185"/>
                  <a:pt x="3506" y="185"/>
                </a:cubicBezTo>
                <a:cubicBezTo>
                  <a:pt x="3506" y="185"/>
                  <a:pt x="3506" y="185"/>
                  <a:pt x="3506" y="111"/>
                </a:cubicBezTo>
                <a:close/>
                <a:moveTo>
                  <a:pt x="3627" y="111"/>
                </a:moveTo>
                <a:cubicBezTo>
                  <a:pt x="3627" y="111"/>
                  <a:pt x="3627" y="111"/>
                  <a:pt x="3627" y="111"/>
                </a:cubicBezTo>
                <a:cubicBezTo>
                  <a:pt x="3622" y="111"/>
                  <a:pt x="3622" y="111"/>
                  <a:pt x="3622" y="111"/>
                </a:cubicBezTo>
                <a:cubicBezTo>
                  <a:pt x="3620" y="113"/>
                  <a:pt x="3618" y="114"/>
                  <a:pt x="3616" y="115"/>
                </a:cubicBezTo>
                <a:cubicBezTo>
                  <a:pt x="3615" y="116"/>
                  <a:pt x="3613" y="117"/>
                  <a:pt x="3611" y="118"/>
                </a:cubicBezTo>
                <a:cubicBezTo>
                  <a:pt x="3610" y="119"/>
                  <a:pt x="3608" y="120"/>
                  <a:pt x="3606" y="121"/>
                </a:cubicBezTo>
                <a:cubicBezTo>
                  <a:pt x="3604" y="121"/>
                  <a:pt x="3603" y="122"/>
                  <a:pt x="3600" y="122"/>
                </a:cubicBezTo>
                <a:cubicBezTo>
                  <a:pt x="3600" y="122"/>
                  <a:pt x="3600" y="122"/>
                  <a:pt x="3600" y="132"/>
                </a:cubicBezTo>
                <a:cubicBezTo>
                  <a:pt x="3603" y="132"/>
                  <a:pt x="3606" y="131"/>
                  <a:pt x="3609" y="129"/>
                </a:cubicBezTo>
                <a:cubicBezTo>
                  <a:pt x="3611" y="129"/>
                  <a:pt x="3613" y="127"/>
                  <a:pt x="3616" y="126"/>
                </a:cubicBezTo>
                <a:cubicBezTo>
                  <a:pt x="3616" y="126"/>
                  <a:pt x="3616" y="126"/>
                  <a:pt x="3616" y="185"/>
                </a:cubicBezTo>
                <a:cubicBezTo>
                  <a:pt x="3616" y="185"/>
                  <a:pt x="3616" y="185"/>
                  <a:pt x="3627" y="185"/>
                </a:cubicBezTo>
                <a:cubicBezTo>
                  <a:pt x="3627" y="185"/>
                  <a:pt x="3627" y="185"/>
                  <a:pt x="3627" y="111"/>
                </a:cubicBezTo>
                <a:close/>
                <a:moveTo>
                  <a:pt x="3674" y="111"/>
                </a:moveTo>
                <a:cubicBezTo>
                  <a:pt x="3674" y="111"/>
                  <a:pt x="3674" y="111"/>
                  <a:pt x="3674" y="111"/>
                </a:cubicBezTo>
                <a:cubicBezTo>
                  <a:pt x="3669" y="111"/>
                  <a:pt x="3669" y="111"/>
                  <a:pt x="3669" y="111"/>
                </a:cubicBezTo>
                <a:cubicBezTo>
                  <a:pt x="3667" y="113"/>
                  <a:pt x="3666" y="114"/>
                  <a:pt x="3663" y="115"/>
                </a:cubicBezTo>
                <a:cubicBezTo>
                  <a:pt x="3662" y="116"/>
                  <a:pt x="3660" y="117"/>
                  <a:pt x="3658" y="118"/>
                </a:cubicBezTo>
                <a:cubicBezTo>
                  <a:pt x="3657" y="119"/>
                  <a:pt x="3655" y="120"/>
                  <a:pt x="3653" y="121"/>
                </a:cubicBezTo>
                <a:cubicBezTo>
                  <a:pt x="3651" y="121"/>
                  <a:pt x="3650" y="122"/>
                  <a:pt x="3647" y="122"/>
                </a:cubicBezTo>
                <a:cubicBezTo>
                  <a:pt x="3647" y="122"/>
                  <a:pt x="3647" y="122"/>
                  <a:pt x="3647" y="132"/>
                </a:cubicBezTo>
                <a:cubicBezTo>
                  <a:pt x="3650" y="132"/>
                  <a:pt x="3653" y="131"/>
                  <a:pt x="3655" y="129"/>
                </a:cubicBezTo>
                <a:cubicBezTo>
                  <a:pt x="3658" y="129"/>
                  <a:pt x="3660" y="127"/>
                  <a:pt x="3663" y="126"/>
                </a:cubicBezTo>
                <a:cubicBezTo>
                  <a:pt x="3663" y="126"/>
                  <a:pt x="3663" y="126"/>
                  <a:pt x="3663" y="185"/>
                </a:cubicBezTo>
                <a:cubicBezTo>
                  <a:pt x="3663" y="185"/>
                  <a:pt x="3663" y="185"/>
                  <a:pt x="3674" y="185"/>
                </a:cubicBezTo>
                <a:cubicBezTo>
                  <a:pt x="3674" y="185"/>
                  <a:pt x="3674" y="185"/>
                  <a:pt x="3674" y="111"/>
                </a:cubicBezTo>
                <a:close/>
                <a:moveTo>
                  <a:pt x="3720" y="111"/>
                </a:moveTo>
                <a:cubicBezTo>
                  <a:pt x="3720" y="111"/>
                  <a:pt x="3720" y="111"/>
                  <a:pt x="3720" y="111"/>
                </a:cubicBezTo>
                <a:cubicBezTo>
                  <a:pt x="3716" y="111"/>
                  <a:pt x="3716" y="111"/>
                  <a:pt x="3716" y="111"/>
                </a:cubicBezTo>
                <a:cubicBezTo>
                  <a:pt x="3714" y="113"/>
                  <a:pt x="3712" y="114"/>
                  <a:pt x="3710" y="115"/>
                </a:cubicBezTo>
                <a:cubicBezTo>
                  <a:pt x="3709" y="116"/>
                  <a:pt x="3707" y="117"/>
                  <a:pt x="3705" y="118"/>
                </a:cubicBezTo>
                <a:cubicBezTo>
                  <a:pt x="3703" y="119"/>
                  <a:pt x="3702" y="119"/>
                  <a:pt x="3699" y="120"/>
                </a:cubicBezTo>
                <a:cubicBezTo>
                  <a:pt x="3698" y="121"/>
                  <a:pt x="3696" y="121"/>
                  <a:pt x="3694" y="122"/>
                </a:cubicBezTo>
                <a:cubicBezTo>
                  <a:pt x="3694" y="122"/>
                  <a:pt x="3694" y="122"/>
                  <a:pt x="3694" y="132"/>
                </a:cubicBezTo>
                <a:cubicBezTo>
                  <a:pt x="3697" y="132"/>
                  <a:pt x="3700" y="130"/>
                  <a:pt x="3702" y="129"/>
                </a:cubicBezTo>
                <a:cubicBezTo>
                  <a:pt x="3704" y="129"/>
                  <a:pt x="3707" y="127"/>
                  <a:pt x="3709" y="126"/>
                </a:cubicBezTo>
                <a:cubicBezTo>
                  <a:pt x="3709" y="126"/>
                  <a:pt x="3709" y="126"/>
                  <a:pt x="3709" y="185"/>
                </a:cubicBezTo>
                <a:cubicBezTo>
                  <a:pt x="3709" y="185"/>
                  <a:pt x="3709" y="185"/>
                  <a:pt x="3720" y="185"/>
                </a:cubicBezTo>
                <a:cubicBezTo>
                  <a:pt x="3720" y="185"/>
                  <a:pt x="3720" y="185"/>
                  <a:pt x="3720" y="111"/>
                </a:cubicBezTo>
                <a:close/>
                <a:moveTo>
                  <a:pt x="3526" y="144"/>
                </a:moveTo>
                <a:cubicBezTo>
                  <a:pt x="3526" y="144"/>
                  <a:pt x="3526" y="144"/>
                  <a:pt x="3526" y="144"/>
                </a:cubicBezTo>
                <a:cubicBezTo>
                  <a:pt x="3525" y="152"/>
                  <a:pt x="3525" y="152"/>
                  <a:pt x="3525" y="152"/>
                </a:cubicBezTo>
                <a:cubicBezTo>
                  <a:pt x="3532" y="152"/>
                  <a:pt x="3532" y="155"/>
                  <a:pt x="3532" y="158"/>
                </a:cubicBezTo>
                <a:cubicBezTo>
                  <a:pt x="3532" y="160"/>
                  <a:pt x="3532" y="162"/>
                  <a:pt x="3532" y="165"/>
                </a:cubicBezTo>
                <a:cubicBezTo>
                  <a:pt x="3532" y="167"/>
                  <a:pt x="3531" y="170"/>
                  <a:pt x="3531" y="172"/>
                </a:cubicBezTo>
                <a:cubicBezTo>
                  <a:pt x="3531" y="181"/>
                  <a:pt x="3537" y="185"/>
                  <a:pt x="3546" y="185"/>
                </a:cubicBezTo>
                <a:cubicBezTo>
                  <a:pt x="3546" y="185"/>
                  <a:pt x="3546" y="185"/>
                  <a:pt x="3549" y="185"/>
                </a:cubicBezTo>
                <a:cubicBezTo>
                  <a:pt x="3549" y="185"/>
                  <a:pt x="3549" y="185"/>
                  <a:pt x="3549" y="176"/>
                </a:cubicBezTo>
                <a:cubicBezTo>
                  <a:pt x="3549" y="176"/>
                  <a:pt x="3549" y="176"/>
                  <a:pt x="3548" y="176"/>
                </a:cubicBezTo>
                <a:cubicBezTo>
                  <a:pt x="3544" y="176"/>
                  <a:pt x="3543" y="173"/>
                  <a:pt x="3543" y="170"/>
                </a:cubicBezTo>
                <a:cubicBezTo>
                  <a:pt x="3543" y="168"/>
                  <a:pt x="3543" y="167"/>
                  <a:pt x="3544" y="165"/>
                </a:cubicBezTo>
                <a:cubicBezTo>
                  <a:pt x="3544" y="163"/>
                  <a:pt x="3544" y="161"/>
                  <a:pt x="3544" y="159"/>
                </a:cubicBezTo>
                <a:cubicBezTo>
                  <a:pt x="3544" y="151"/>
                  <a:pt x="3541" y="149"/>
                  <a:pt x="3535" y="148"/>
                </a:cubicBezTo>
                <a:cubicBezTo>
                  <a:pt x="3535" y="148"/>
                  <a:pt x="3535" y="148"/>
                  <a:pt x="3535" y="147"/>
                </a:cubicBezTo>
                <a:cubicBezTo>
                  <a:pt x="3541" y="146"/>
                  <a:pt x="3544" y="144"/>
                  <a:pt x="3544" y="136"/>
                </a:cubicBezTo>
                <a:cubicBezTo>
                  <a:pt x="3544" y="134"/>
                  <a:pt x="3544" y="132"/>
                  <a:pt x="3544" y="130"/>
                </a:cubicBezTo>
                <a:cubicBezTo>
                  <a:pt x="3543" y="129"/>
                  <a:pt x="3543" y="127"/>
                  <a:pt x="3543" y="126"/>
                </a:cubicBezTo>
                <a:cubicBezTo>
                  <a:pt x="3543" y="122"/>
                  <a:pt x="3544" y="120"/>
                  <a:pt x="3548" y="120"/>
                </a:cubicBezTo>
                <a:cubicBezTo>
                  <a:pt x="3548" y="120"/>
                  <a:pt x="3548" y="120"/>
                  <a:pt x="3549" y="120"/>
                </a:cubicBezTo>
                <a:cubicBezTo>
                  <a:pt x="3549" y="120"/>
                  <a:pt x="3549" y="120"/>
                  <a:pt x="3549" y="110"/>
                </a:cubicBezTo>
                <a:cubicBezTo>
                  <a:pt x="3549" y="110"/>
                  <a:pt x="3549" y="110"/>
                  <a:pt x="3546" y="110"/>
                </a:cubicBezTo>
                <a:cubicBezTo>
                  <a:pt x="3537" y="110"/>
                  <a:pt x="3531" y="114"/>
                  <a:pt x="3531" y="123"/>
                </a:cubicBezTo>
                <a:cubicBezTo>
                  <a:pt x="3531" y="125"/>
                  <a:pt x="3532" y="128"/>
                  <a:pt x="3532" y="130"/>
                </a:cubicBezTo>
                <a:cubicBezTo>
                  <a:pt x="3532" y="133"/>
                  <a:pt x="3532" y="135"/>
                  <a:pt x="3532" y="137"/>
                </a:cubicBezTo>
                <a:cubicBezTo>
                  <a:pt x="3532" y="140"/>
                  <a:pt x="3532" y="143"/>
                  <a:pt x="3526" y="144"/>
                </a:cubicBezTo>
                <a:close/>
                <a:moveTo>
                  <a:pt x="3581" y="152"/>
                </a:moveTo>
                <a:cubicBezTo>
                  <a:pt x="3581" y="152"/>
                  <a:pt x="3581" y="152"/>
                  <a:pt x="3581" y="152"/>
                </a:cubicBezTo>
                <a:cubicBezTo>
                  <a:pt x="3581" y="144"/>
                  <a:pt x="3581" y="144"/>
                  <a:pt x="3581" y="144"/>
                </a:cubicBezTo>
                <a:cubicBezTo>
                  <a:pt x="3574" y="143"/>
                  <a:pt x="3574" y="140"/>
                  <a:pt x="3574" y="137"/>
                </a:cubicBezTo>
                <a:cubicBezTo>
                  <a:pt x="3574" y="135"/>
                  <a:pt x="3574" y="133"/>
                  <a:pt x="3574" y="130"/>
                </a:cubicBezTo>
                <a:cubicBezTo>
                  <a:pt x="3575" y="128"/>
                  <a:pt x="3575" y="125"/>
                  <a:pt x="3575" y="123"/>
                </a:cubicBezTo>
                <a:cubicBezTo>
                  <a:pt x="3575" y="114"/>
                  <a:pt x="3569" y="110"/>
                  <a:pt x="3560" y="110"/>
                </a:cubicBezTo>
                <a:cubicBezTo>
                  <a:pt x="3560" y="110"/>
                  <a:pt x="3560" y="110"/>
                  <a:pt x="3556" y="110"/>
                </a:cubicBezTo>
                <a:cubicBezTo>
                  <a:pt x="3556" y="110"/>
                  <a:pt x="3556" y="110"/>
                  <a:pt x="3556" y="120"/>
                </a:cubicBezTo>
                <a:cubicBezTo>
                  <a:pt x="3556" y="120"/>
                  <a:pt x="3556" y="120"/>
                  <a:pt x="3558" y="120"/>
                </a:cubicBezTo>
                <a:cubicBezTo>
                  <a:pt x="3561" y="120"/>
                  <a:pt x="3563" y="122"/>
                  <a:pt x="3563" y="126"/>
                </a:cubicBezTo>
                <a:cubicBezTo>
                  <a:pt x="3563" y="127"/>
                  <a:pt x="3563" y="129"/>
                  <a:pt x="3563" y="130"/>
                </a:cubicBezTo>
                <a:cubicBezTo>
                  <a:pt x="3562" y="132"/>
                  <a:pt x="3562" y="134"/>
                  <a:pt x="3562" y="136"/>
                </a:cubicBezTo>
                <a:cubicBezTo>
                  <a:pt x="3562" y="144"/>
                  <a:pt x="3565" y="146"/>
                  <a:pt x="3571" y="147"/>
                </a:cubicBezTo>
                <a:cubicBezTo>
                  <a:pt x="3571" y="147"/>
                  <a:pt x="3571" y="147"/>
                  <a:pt x="3571" y="148"/>
                </a:cubicBezTo>
                <a:cubicBezTo>
                  <a:pt x="3565" y="149"/>
                  <a:pt x="3562" y="151"/>
                  <a:pt x="3562" y="159"/>
                </a:cubicBezTo>
                <a:cubicBezTo>
                  <a:pt x="3562" y="161"/>
                  <a:pt x="3562" y="163"/>
                  <a:pt x="3563" y="165"/>
                </a:cubicBezTo>
                <a:cubicBezTo>
                  <a:pt x="3563" y="167"/>
                  <a:pt x="3563" y="168"/>
                  <a:pt x="3563" y="170"/>
                </a:cubicBezTo>
                <a:cubicBezTo>
                  <a:pt x="3563" y="173"/>
                  <a:pt x="3562" y="176"/>
                  <a:pt x="3558" y="176"/>
                </a:cubicBezTo>
                <a:cubicBezTo>
                  <a:pt x="3558" y="176"/>
                  <a:pt x="3558" y="176"/>
                  <a:pt x="3556" y="176"/>
                </a:cubicBezTo>
                <a:cubicBezTo>
                  <a:pt x="3556" y="176"/>
                  <a:pt x="3556" y="176"/>
                  <a:pt x="3556" y="185"/>
                </a:cubicBezTo>
                <a:cubicBezTo>
                  <a:pt x="3556" y="185"/>
                  <a:pt x="3556" y="185"/>
                  <a:pt x="3560" y="185"/>
                </a:cubicBezTo>
                <a:cubicBezTo>
                  <a:pt x="3569" y="185"/>
                  <a:pt x="3575" y="181"/>
                  <a:pt x="3575" y="172"/>
                </a:cubicBezTo>
                <a:cubicBezTo>
                  <a:pt x="3575" y="170"/>
                  <a:pt x="3575" y="167"/>
                  <a:pt x="3574" y="165"/>
                </a:cubicBezTo>
                <a:cubicBezTo>
                  <a:pt x="3574" y="162"/>
                  <a:pt x="3574" y="160"/>
                  <a:pt x="3574" y="158"/>
                </a:cubicBezTo>
                <a:cubicBezTo>
                  <a:pt x="3574" y="155"/>
                  <a:pt x="3574" y="152"/>
                  <a:pt x="3581" y="152"/>
                </a:cubicBezTo>
                <a:close/>
                <a:moveTo>
                  <a:pt x="3764" y="185"/>
                </a:moveTo>
                <a:cubicBezTo>
                  <a:pt x="3757" y="185"/>
                  <a:pt x="3750" y="182"/>
                  <a:pt x="3746" y="176"/>
                </a:cubicBezTo>
                <a:cubicBezTo>
                  <a:pt x="3742" y="169"/>
                  <a:pt x="3740" y="161"/>
                  <a:pt x="3740" y="148"/>
                </a:cubicBezTo>
                <a:cubicBezTo>
                  <a:pt x="3740" y="135"/>
                  <a:pt x="3742" y="126"/>
                  <a:pt x="3747" y="119"/>
                </a:cubicBezTo>
                <a:cubicBezTo>
                  <a:pt x="3751" y="112"/>
                  <a:pt x="3758" y="109"/>
                  <a:pt x="3766" y="109"/>
                </a:cubicBezTo>
                <a:cubicBezTo>
                  <a:pt x="3782" y="109"/>
                  <a:pt x="3790" y="121"/>
                  <a:pt x="3790" y="147"/>
                </a:cubicBezTo>
                <a:cubicBezTo>
                  <a:pt x="3790" y="159"/>
                  <a:pt x="3788" y="169"/>
                  <a:pt x="3783" y="175"/>
                </a:cubicBezTo>
                <a:cubicBezTo>
                  <a:pt x="3779" y="182"/>
                  <a:pt x="3772" y="185"/>
                  <a:pt x="3764" y="185"/>
                </a:cubicBezTo>
                <a:close/>
                <a:moveTo>
                  <a:pt x="3766" y="118"/>
                </a:moveTo>
                <a:cubicBezTo>
                  <a:pt x="3756" y="118"/>
                  <a:pt x="3752" y="129"/>
                  <a:pt x="3752" y="148"/>
                </a:cubicBezTo>
                <a:cubicBezTo>
                  <a:pt x="3752" y="166"/>
                  <a:pt x="3756" y="175"/>
                  <a:pt x="3765" y="175"/>
                </a:cubicBezTo>
                <a:cubicBezTo>
                  <a:pt x="3774" y="175"/>
                  <a:pt x="3778" y="166"/>
                  <a:pt x="3778" y="147"/>
                </a:cubicBezTo>
                <a:cubicBezTo>
                  <a:pt x="3778" y="128"/>
                  <a:pt x="3774" y="118"/>
                  <a:pt x="3766" y="118"/>
                </a:cubicBezTo>
                <a:close/>
                <a:moveTo>
                  <a:pt x="3835" y="185"/>
                </a:moveTo>
                <a:cubicBezTo>
                  <a:pt x="3827" y="185"/>
                  <a:pt x="3821" y="182"/>
                  <a:pt x="3817" y="176"/>
                </a:cubicBezTo>
                <a:cubicBezTo>
                  <a:pt x="3813" y="169"/>
                  <a:pt x="3811" y="161"/>
                  <a:pt x="3811" y="148"/>
                </a:cubicBezTo>
                <a:cubicBezTo>
                  <a:pt x="3811" y="135"/>
                  <a:pt x="3813" y="126"/>
                  <a:pt x="3817" y="119"/>
                </a:cubicBezTo>
                <a:cubicBezTo>
                  <a:pt x="3822" y="112"/>
                  <a:pt x="3828" y="109"/>
                  <a:pt x="3837" y="109"/>
                </a:cubicBezTo>
                <a:cubicBezTo>
                  <a:pt x="3853" y="109"/>
                  <a:pt x="3861" y="121"/>
                  <a:pt x="3861" y="147"/>
                </a:cubicBezTo>
                <a:cubicBezTo>
                  <a:pt x="3861" y="159"/>
                  <a:pt x="3859" y="169"/>
                  <a:pt x="3854" y="175"/>
                </a:cubicBezTo>
                <a:cubicBezTo>
                  <a:pt x="3849" y="182"/>
                  <a:pt x="3843" y="185"/>
                  <a:pt x="3835" y="185"/>
                </a:cubicBezTo>
                <a:close/>
                <a:moveTo>
                  <a:pt x="3836" y="118"/>
                </a:moveTo>
                <a:cubicBezTo>
                  <a:pt x="3827" y="118"/>
                  <a:pt x="3822" y="129"/>
                  <a:pt x="3822" y="148"/>
                </a:cubicBezTo>
                <a:cubicBezTo>
                  <a:pt x="3822" y="166"/>
                  <a:pt x="3827" y="175"/>
                  <a:pt x="3835" y="175"/>
                </a:cubicBezTo>
                <a:cubicBezTo>
                  <a:pt x="3844" y="175"/>
                  <a:pt x="3849" y="166"/>
                  <a:pt x="3849" y="147"/>
                </a:cubicBezTo>
                <a:cubicBezTo>
                  <a:pt x="3849" y="128"/>
                  <a:pt x="3844" y="118"/>
                  <a:pt x="3836" y="118"/>
                </a:cubicBezTo>
                <a:close/>
                <a:moveTo>
                  <a:pt x="1980" y="207"/>
                </a:moveTo>
                <a:cubicBezTo>
                  <a:pt x="1980" y="207"/>
                  <a:pt x="1980" y="207"/>
                  <a:pt x="1980" y="207"/>
                </a:cubicBezTo>
                <a:cubicBezTo>
                  <a:pt x="1975" y="207"/>
                  <a:pt x="1975" y="207"/>
                  <a:pt x="1975" y="207"/>
                </a:cubicBezTo>
                <a:cubicBezTo>
                  <a:pt x="1973" y="209"/>
                  <a:pt x="1971" y="210"/>
                  <a:pt x="1969" y="211"/>
                </a:cubicBezTo>
                <a:cubicBezTo>
                  <a:pt x="1968" y="212"/>
                  <a:pt x="1966" y="213"/>
                  <a:pt x="1964" y="214"/>
                </a:cubicBezTo>
                <a:cubicBezTo>
                  <a:pt x="1962" y="215"/>
                  <a:pt x="1960" y="216"/>
                  <a:pt x="1959" y="217"/>
                </a:cubicBezTo>
                <a:cubicBezTo>
                  <a:pt x="1957" y="217"/>
                  <a:pt x="1955" y="218"/>
                  <a:pt x="1953" y="218"/>
                </a:cubicBezTo>
                <a:cubicBezTo>
                  <a:pt x="1953" y="218"/>
                  <a:pt x="1953" y="218"/>
                  <a:pt x="1953" y="228"/>
                </a:cubicBezTo>
                <a:cubicBezTo>
                  <a:pt x="1956" y="228"/>
                  <a:pt x="1959" y="227"/>
                  <a:pt x="1962" y="225"/>
                </a:cubicBezTo>
                <a:cubicBezTo>
                  <a:pt x="1964" y="225"/>
                  <a:pt x="1966" y="223"/>
                  <a:pt x="1968" y="222"/>
                </a:cubicBezTo>
                <a:cubicBezTo>
                  <a:pt x="1968" y="222"/>
                  <a:pt x="1968" y="222"/>
                  <a:pt x="1968" y="281"/>
                </a:cubicBezTo>
                <a:cubicBezTo>
                  <a:pt x="1968" y="281"/>
                  <a:pt x="1968" y="281"/>
                  <a:pt x="1980" y="281"/>
                </a:cubicBezTo>
                <a:cubicBezTo>
                  <a:pt x="1980" y="281"/>
                  <a:pt x="1980" y="281"/>
                  <a:pt x="1980" y="207"/>
                </a:cubicBezTo>
                <a:close/>
                <a:moveTo>
                  <a:pt x="2027" y="207"/>
                </a:moveTo>
                <a:cubicBezTo>
                  <a:pt x="2027" y="207"/>
                  <a:pt x="2027" y="207"/>
                  <a:pt x="2027" y="207"/>
                </a:cubicBezTo>
                <a:cubicBezTo>
                  <a:pt x="2022" y="207"/>
                  <a:pt x="2022" y="207"/>
                  <a:pt x="2022" y="207"/>
                </a:cubicBezTo>
                <a:cubicBezTo>
                  <a:pt x="2020" y="209"/>
                  <a:pt x="2019" y="210"/>
                  <a:pt x="2016" y="211"/>
                </a:cubicBezTo>
                <a:cubicBezTo>
                  <a:pt x="2015" y="212"/>
                  <a:pt x="2013" y="213"/>
                  <a:pt x="2011" y="214"/>
                </a:cubicBezTo>
                <a:cubicBezTo>
                  <a:pt x="2010" y="215"/>
                  <a:pt x="2008" y="216"/>
                  <a:pt x="2006" y="217"/>
                </a:cubicBezTo>
                <a:cubicBezTo>
                  <a:pt x="2004" y="217"/>
                  <a:pt x="2003" y="218"/>
                  <a:pt x="2000" y="218"/>
                </a:cubicBezTo>
                <a:cubicBezTo>
                  <a:pt x="2000" y="218"/>
                  <a:pt x="2000" y="218"/>
                  <a:pt x="2000" y="228"/>
                </a:cubicBezTo>
                <a:cubicBezTo>
                  <a:pt x="2003" y="228"/>
                  <a:pt x="2006" y="227"/>
                  <a:pt x="2008" y="225"/>
                </a:cubicBezTo>
                <a:cubicBezTo>
                  <a:pt x="2011" y="225"/>
                  <a:pt x="2014" y="223"/>
                  <a:pt x="2016" y="222"/>
                </a:cubicBezTo>
                <a:cubicBezTo>
                  <a:pt x="2016" y="222"/>
                  <a:pt x="2016" y="222"/>
                  <a:pt x="2016" y="281"/>
                </a:cubicBezTo>
                <a:cubicBezTo>
                  <a:pt x="2016" y="281"/>
                  <a:pt x="2016" y="281"/>
                  <a:pt x="2027" y="281"/>
                </a:cubicBezTo>
                <a:cubicBezTo>
                  <a:pt x="2027" y="281"/>
                  <a:pt x="2027" y="281"/>
                  <a:pt x="2027" y="207"/>
                </a:cubicBezTo>
                <a:close/>
                <a:moveTo>
                  <a:pt x="2074" y="207"/>
                </a:moveTo>
                <a:cubicBezTo>
                  <a:pt x="2074" y="207"/>
                  <a:pt x="2074" y="207"/>
                  <a:pt x="2074" y="207"/>
                </a:cubicBezTo>
                <a:cubicBezTo>
                  <a:pt x="2070" y="207"/>
                  <a:pt x="2070" y="207"/>
                  <a:pt x="2070" y="207"/>
                </a:cubicBezTo>
                <a:cubicBezTo>
                  <a:pt x="2067" y="209"/>
                  <a:pt x="2066" y="210"/>
                  <a:pt x="2064" y="211"/>
                </a:cubicBezTo>
                <a:cubicBezTo>
                  <a:pt x="2062" y="212"/>
                  <a:pt x="2060" y="213"/>
                  <a:pt x="2059" y="214"/>
                </a:cubicBezTo>
                <a:cubicBezTo>
                  <a:pt x="2057" y="215"/>
                  <a:pt x="2055" y="215"/>
                  <a:pt x="2053" y="216"/>
                </a:cubicBezTo>
                <a:cubicBezTo>
                  <a:pt x="2052" y="217"/>
                  <a:pt x="2049" y="217"/>
                  <a:pt x="2048" y="218"/>
                </a:cubicBezTo>
                <a:cubicBezTo>
                  <a:pt x="2048" y="218"/>
                  <a:pt x="2048" y="218"/>
                  <a:pt x="2048" y="228"/>
                </a:cubicBezTo>
                <a:cubicBezTo>
                  <a:pt x="2051" y="228"/>
                  <a:pt x="2054" y="226"/>
                  <a:pt x="2056" y="225"/>
                </a:cubicBezTo>
                <a:cubicBezTo>
                  <a:pt x="2058" y="225"/>
                  <a:pt x="2061" y="223"/>
                  <a:pt x="2062" y="222"/>
                </a:cubicBezTo>
                <a:cubicBezTo>
                  <a:pt x="2062" y="222"/>
                  <a:pt x="2062" y="222"/>
                  <a:pt x="2062" y="281"/>
                </a:cubicBezTo>
                <a:cubicBezTo>
                  <a:pt x="2062" y="281"/>
                  <a:pt x="2062" y="281"/>
                  <a:pt x="2074" y="281"/>
                </a:cubicBezTo>
                <a:cubicBezTo>
                  <a:pt x="2074" y="281"/>
                  <a:pt x="2074" y="281"/>
                  <a:pt x="2074" y="207"/>
                </a:cubicBezTo>
                <a:close/>
                <a:moveTo>
                  <a:pt x="2119" y="281"/>
                </a:moveTo>
                <a:cubicBezTo>
                  <a:pt x="2111" y="281"/>
                  <a:pt x="2105" y="278"/>
                  <a:pt x="2100" y="272"/>
                </a:cubicBezTo>
                <a:cubicBezTo>
                  <a:pt x="2097" y="265"/>
                  <a:pt x="2095" y="257"/>
                  <a:pt x="2095" y="244"/>
                </a:cubicBezTo>
                <a:cubicBezTo>
                  <a:pt x="2095" y="231"/>
                  <a:pt x="2097" y="222"/>
                  <a:pt x="2101" y="215"/>
                </a:cubicBezTo>
                <a:cubicBezTo>
                  <a:pt x="2106" y="208"/>
                  <a:pt x="2112" y="205"/>
                  <a:pt x="2121" y="205"/>
                </a:cubicBezTo>
                <a:cubicBezTo>
                  <a:pt x="2137" y="205"/>
                  <a:pt x="2145" y="217"/>
                  <a:pt x="2145" y="243"/>
                </a:cubicBezTo>
                <a:cubicBezTo>
                  <a:pt x="2145" y="255"/>
                  <a:pt x="2143" y="265"/>
                  <a:pt x="2138" y="271"/>
                </a:cubicBezTo>
                <a:cubicBezTo>
                  <a:pt x="2133" y="278"/>
                  <a:pt x="2127" y="281"/>
                  <a:pt x="2119" y="281"/>
                </a:cubicBezTo>
                <a:close/>
                <a:moveTo>
                  <a:pt x="2120" y="214"/>
                </a:moveTo>
                <a:cubicBezTo>
                  <a:pt x="2111" y="214"/>
                  <a:pt x="2106" y="225"/>
                  <a:pt x="2106" y="244"/>
                </a:cubicBezTo>
                <a:cubicBezTo>
                  <a:pt x="2106" y="262"/>
                  <a:pt x="2111" y="271"/>
                  <a:pt x="2119" y="271"/>
                </a:cubicBezTo>
                <a:cubicBezTo>
                  <a:pt x="2128" y="271"/>
                  <a:pt x="2133" y="262"/>
                  <a:pt x="2133" y="243"/>
                </a:cubicBezTo>
                <a:cubicBezTo>
                  <a:pt x="2133" y="224"/>
                  <a:pt x="2128" y="214"/>
                  <a:pt x="2120" y="214"/>
                </a:cubicBezTo>
                <a:close/>
                <a:moveTo>
                  <a:pt x="2190" y="281"/>
                </a:moveTo>
                <a:cubicBezTo>
                  <a:pt x="2182" y="281"/>
                  <a:pt x="2176" y="278"/>
                  <a:pt x="2172" y="272"/>
                </a:cubicBezTo>
                <a:cubicBezTo>
                  <a:pt x="2168" y="265"/>
                  <a:pt x="2166" y="257"/>
                  <a:pt x="2166" y="244"/>
                </a:cubicBezTo>
                <a:cubicBezTo>
                  <a:pt x="2166" y="231"/>
                  <a:pt x="2168" y="222"/>
                  <a:pt x="2172" y="215"/>
                </a:cubicBezTo>
                <a:cubicBezTo>
                  <a:pt x="2177" y="208"/>
                  <a:pt x="2183" y="205"/>
                  <a:pt x="2192" y="205"/>
                </a:cubicBezTo>
                <a:cubicBezTo>
                  <a:pt x="2208" y="205"/>
                  <a:pt x="2216" y="217"/>
                  <a:pt x="2216" y="243"/>
                </a:cubicBezTo>
                <a:cubicBezTo>
                  <a:pt x="2216" y="255"/>
                  <a:pt x="2214" y="265"/>
                  <a:pt x="2209" y="271"/>
                </a:cubicBezTo>
                <a:cubicBezTo>
                  <a:pt x="2204" y="278"/>
                  <a:pt x="2198" y="281"/>
                  <a:pt x="2190" y="281"/>
                </a:cubicBezTo>
                <a:close/>
                <a:moveTo>
                  <a:pt x="2191" y="214"/>
                </a:moveTo>
                <a:cubicBezTo>
                  <a:pt x="2182" y="214"/>
                  <a:pt x="2177" y="225"/>
                  <a:pt x="2177" y="244"/>
                </a:cubicBezTo>
                <a:cubicBezTo>
                  <a:pt x="2177" y="262"/>
                  <a:pt x="2182" y="271"/>
                  <a:pt x="2190" y="271"/>
                </a:cubicBezTo>
                <a:cubicBezTo>
                  <a:pt x="2199" y="271"/>
                  <a:pt x="2204" y="262"/>
                  <a:pt x="2204" y="243"/>
                </a:cubicBezTo>
                <a:cubicBezTo>
                  <a:pt x="2204" y="224"/>
                  <a:pt x="2199" y="214"/>
                  <a:pt x="2191" y="214"/>
                </a:cubicBezTo>
                <a:close/>
                <a:moveTo>
                  <a:pt x="2403" y="281"/>
                </a:moveTo>
                <a:cubicBezTo>
                  <a:pt x="2395" y="281"/>
                  <a:pt x="2389" y="278"/>
                  <a:pt x="2385" y="271"/>
                </a:cubicBezTo>
                <a:cubicBezTo>
                  <a:pt x="2380" y="265"/>
                  <a:pt x="2378" y="256"/>
                  <a:pt x="2378" y="244"/>
                </a:cubicBezTo>
                <a:cubicBezTo>
                  <a:pt x="2378" y="231"/>
                  <a:pt x="2380" y="222"/>
                  <a:pt x="2385" y="214"/>
                </a:cubicBezTo>
                <a:cubicBezTo>
                  <a:pt x="2389" y="208"/>
                  <a:pt x="2396" y="205"/>
                  <a:pt x="2405" y="205"/>
                </a:cubicBezTo>
                <a:cubicBezTo>
                  <a:pt x="2421" y="205"/>
                  <a:pt x="2429" y="217"/>
                  <a:pt x="2429" y="242"/>
                </a:cubicBezTo>
                <a:cubicBezTo>
                  <a:pt x="2429" y="255"/>
                  <a:pt x="2427" y="265"/>
                  <a:pt x="2422" y="271"/>
                </a:cubicBezTo>
                <a:cubicBezTo>
                  <a:pt x="2417" y="278"/>
                  <a:pt x="2411" y="281"/>
                  <a:pt x="2403" y="281"/>
                </a:cubicBezTo>
                <a:close/>
                <a:moveTo>
                  <a:pt x="2404" y="214"/>
                </a:moveTo>
                <a:cubicBezTo>
                  <a:pt x="2395" y="214"/>
                  <a:pt x="2391" y="224"/>
                  <a:pt x="2391" y="243"/>
                </a:cubicBezTo>
                <a:cubicBezTo>
                  <a:pt x="2391" y="262"/>
                  <a:pt x="2395" y="271"/>
                  <a:pt x="2404" y="271"/>
                </a:cubicBezTo>
                <a:cubicBezTo>
                  <a:pt x="2412" y="271"/>
                  <a:pt x="2417" y="262"/>
                  <a:pt x="2417" y="243"/>
                </a:cubicBezTo>
                <a:cubicBezTo>
                  <a:pt x="2417" y="224"/>
                  <a:pt x="2413" y="214"/>
                  <a:pt x="2404" y="214"/>
                </a:cubicBezTo>
                <a:close/>
                <a:moveTo>
                  <a:pt x="2521" y="281"/>
                </a:moveTo>
                <a:cubicBezTo>
                  <a:pt x="2513" y="281"/>
                  <a:pt x="2507" y="278"/>
                  <a:pt x="2503" y="271"/>
                </a:cubicBezTo>
                <a:cubicBezTo>
                  <a:pt x="2499" y="265"/>
                  <a:pt x="2496" y="256"/>
                  <a:pt x="2496" y="244"/>
                </a:cubicBezTo>
                <a:cubicBezTo>
                  <a:pt x="2496" y="231"/>
                  <a:pt x="2499" y="222"/>
                  <a:pt x="2503" y="214"/>
                </a:cubicBezTo>
                <a:cubicBezTo>
                  <a:pt x="2507" y="208"/>
                  <a:pt x="2514" y="205"/>
                  <a:pt x="2523" y="205"/>
                </a:cubicBezTo>
                <a:cubicBezTo>
                  <a:pt x="2539" y="205"/>
                  <a:pt x="2547" y="217"/>
                  <a:pt x="2547" y="242"/>
                </a:cubicBezTo>
                <a:cubicBezTo>
                  <a:pt x="2547" y="255"/>
                  <a:pt x="2545" y="265"/>
                  <a:pt x="2541" y="271"/>
                </a:cubicBezTo>
                <a:cubicBezTo>
                  <a:pt x="2535" y="278"/>
                  <a:pt x="2530" y="281"/>
                  <a:pt x="2521" y="281"/>
                </a:cubicBezTo>
                <a:close/>
                <a:moveTo>
                  <a:pt x="2522" y="214"/>
                </a:moveTo>
                <a:cubicBezTo>
                  <a:pt x="2513" y="214"/>
                  <a:pt x="2509" y="224"/>
                  <a:pt x="2509" y="243"/>
                </a:cubicBezTo>
                <a:cubicBezTo>
                  <a:pt x="2509" y="262"/>
                  <a:pt x="2513" y="271"/>
                  <a:pt x="2522" y="271"/>
                </a:cubicBezTo>
                <a:cubicBezTo>
                  <a:pt x="2530" y="271"/>
                  <a:pt x="2535" y="262"/>
                  <a:pt x="2535" y="243"/>
                </a:cubicBezTo>
                <a:cubicBezTo>
                  <a:pt x="2535" y="224"/>
                  <a:pt x="2531" y="214"/>
                  <a:pt x="2522" y="214"/>
                </a:cubicBezTo>
                <a:close/>
                <a:moveTo>
                  <a:pt x="2476" y="207"/>
                </a:moveTo>
                <a:cubicBezTo>
                  <a:pt x="2476" y="207"/>
                  <a:pt x="2476" y="207"/>
                  <a:pt x="2476" y="207"/>
                </a:cubicBezTo>
                <a:cubicBezTo>
                  <a:pt x="2471" y="207"/>
                  <a:pt x="2471" y="207"/>
                  <a:pt x="2471" y="207"/>
                </a:cubicBezTo>
                <a:cubicBezTo>
                  <a:pt x="2469" y="209"/>
                  <a:pt x="2467" y="210"/>
                  <a:pt x="2465" y="211"/>
                </a:cubicBezTo>
                <a:cubicBezTo>
                  <a:pt x="2464" y="212"/>
                  <a:pt x="2462" y="213"/>
                  <a:pt x="2460" y="214"/>
                </a:cubicBezTo>
                <a:cubicBezTo>
                  <a:pt x="2459" y="215"/>
                  <a:pt x="2457" y="215"/>
                  <a:pt x="2455" y="216"/>
                </a:cubicBezTo>
                <a:cubicBezTo>
                  <a:pt x="2453" y="217"/>
                  <a:pt x="2451" y="217"/>
                  <a:pt x="2449" y="218"/>
                </a:cubicBezTo>
                <a:cubicBezTo>
                  <a:pt x="2449" y="218"/>
                  <a:pt x="2449" y="218"/>
                  <a:pt x="2449" y="228"/>
                </a:cubicBezTo>
                <a:cubicBezTo>
                  <a:pt x="2452" y="228"/>
                  <a:pt x="2455" y="226"/>
                  <a:pt x="2457" y="225"/>
                </a:cubicBezTo>
                <a:cubicBezTo>
                  <a:pt x="2460" y="225"/>
                  <a:pt x="2462" y="223"/>
                  <a:pt x="2465" y="222"/>
                </a:cubicBezTo>
                <a:cubicBezTo>
                  <a:pt x="2465" y="222"/>
                  <a:pt x="2465" y="222"/>
                  <a:pt x="2465" y="281"/>
                </a:cubicBezTo>
                <a:cubicBezTo>
                  <a:pt x="2465" y="281"/>
                  <a:pt x="2465" y="281"/>
                  <a:pt x="2476" y="281"/>
                </a:cubicBezTo>
                <a:cubicBezTo>
                  <a:pt x="2476" y="281"/>
                  <a:pt x="2476" y="281"/>
                  <a:pt x="2476" y="207"/>
                </a:cubicBezTo>
                <a:close/>
                <a:moveTo>
                  <a:pt x="2592" y="281"/>
                </a:moveTo>
                <a:cubicBezTo>
                  <a:pt x="2584" y="281"/>
                  <a:pt x="2578" y="278"/>
                  <a:pt x="2574" y="272"/>
                </a:cubicBezTo>
                <a:cubicBezTo>
                  <a:pt x="2570" y="265"/>
                  <a:pt x="2567" y="257"/>
                  <a:pt x="2567" y="244"/>
                </a:cubicBezTo>
                <a:cubicBezTo>
                  <a:pt x="2567" y="231"/>
                  <a:pt x="2570" y="222"/>
                  <a:pt x="2574" y="215"/>
                </a:cubicBezTo>
                <a:cubicBezTo>
                  <a:pt x="2578" y="208"/>
                  <a:pt x="2585" y="205"/>
                  <a:pt x="2594" y="205"/>
                </a:cubicBezTo>
                <a:cubicBezTo>
                  <a:pt x="2610" y="205"/>
                  <a:pt x="2618" y="217"/>
                  <a:pt x="2618" y="243"/>
                </a:cubicBezTo>
                <a:cubicBezTo>
                  <a:pt x="2618" y="255"/>
                  <a:pt x="2616" y="265"/>
                  <a:pt x="2612" y="271"/>
                </a:cubicBezTo>
                <a:cubicBezTo>
                  <a:pt x="2606" y="278"/>
                  <a:pt x="2601" y="281"/>
                  <a:pt x="2592" y="281"/>
                </a:cubicBezTo>
                <a:close/>
                <a:moveTo>
                  <a:pt x="2593" y="214"/>
                </a:moveTo>
                <a:cubicBezTo>
                  <a:pt x="2584" y="214"/>
                  <a:pt x="2579" y="225"/>
                  <a:pt x="2579" y="244"/>
                </a:cubicBezTo>
                <a:cubicBezTo>
                  <a:pt x="2579" y="262"/>
                  <a:pt x="2584" y="271"/>
                  <a:pt x="2592" y="271"/>
                </a:cubicBezTo>
                <a:cubicBezTo>
                  <a:pt x="2601" y="271"/>
                  <a:pt x="2606" y="262"/>
                  <a:pt x="2606" y="243"/>
                </a:cubicBezTo>
                <a:cubicBezTo>
                  <a:pt x="2606" y="224"/>
                  <a:pt x="2601" y="214"/>
                  <a:pt x="2593" y="214"/>
                </a:cubicBezTo>
                <a:close/>
                <a:moveTo>
                  <a:pt x="2639" y="240"/>
                </a:moveTo>
                <a:cubicBezTo>
                  <a:pt x="2639" y="240"/>
                  <a:pt x="2639" y="240"/>
                  <a:pt x="2639" y="240"/>
                </a:cubicBezTo>
                <a:cubicBezTo>
                  <a:pt x="2638" y="248"/>
                  <a:pt x="2638" y="248"/>
                  <a:pt x="2638" y="248"/>
                </a:cubicBezTo>
                <a:cubicBezTo>
                  <a:pt x="2645" y="248"/>
                  <a:pt x="2646" y="251"/>
                  <a:pt x="2646" y="254"/>
                </a:cubicBezTo>
                <a:cubicBezTo>
                  <a:pt x="2646" y="256"/>
                  <a:pt x="2645" y="258"/>
                  <a:pt x="2645" y="261"/>
                </a:cubicBezTo>
                <a:cubicBezTo>
                  <a:pt x="2645" y="263"/>
                  <a:pt x="2644" y="266"/>
                  <a:pt x="2644" y="268"/>
                </a:cubicBezTo>
                <a:cubicBezTo>
                  <a:pt x="2644" y="277"/>
                  <a:pt x="2650" y="281"/>
                  <a:pt x="2659" y="281"/>
                </a:cubicBezTo>
                <a:cubicBezTo>
                  <a:pt x="2659" y="281"/>
                  <a:pt x="2659" y="281"/>
                  <a:pt x="2663" y="281"/>
                </a:cubicBezTo>
                <a:cubicBezTo>
                  <a:pt x="2663" y="281"/>
                  <a:pt x="2663" y="281"/>
                  <a:pt x="2663" y="272"/>
                </a:cubicBezTo>
                <a:cubicBezTo>
                  <a:pt x="2663" y="272"/>
                  <a:pt x="2663" y="272"/>
                  <a:pt x="2661" y="272"/>
                </a:cubicBezTo>
                <a:cubicBezTo>
                  <a:pt x="2658" y="272"/>
                  <a:pt x="2656" y="269"/>
                  <a:pt x="2656" y="266"/>
                </a:cubicBezTo>
                <a:cubicBezTo>
                  <a:pt x="2656" y="264"/>
                  <a:pt x="2656" y="263"/>
                  <a:pt x="2657" y="261"/>
                </a:cubicBezTo>
                <a:cubicBezTo>
                  <a:pt x="2657" y="259"/>
                  <a:pt x="2657" y="257"/>
                  <a:pt x="2657" y="255"/>
                </a:cubicBezTo>
                <a:cubicBezTo>
                  <a:pt x="2657" y="247"/>
                  <a:pt x="2654" y="245"/>
                  <a:pt x="2649" y="244"/>
                </a:cubicBezTo>
                <a:cubicBezTo>
                  <a:pt x="2649" y="244"/>
                  <a:pt x="2649" y="244"/>
                  <a:pt x="2649" y="243"/>
                </a:cubicBezTo>
                <a:cubicBezTo>
                  <a:pt x="2654" y="242"/>
                  <a:pt x="2657" y="240"/>
                  <a:pt x="2657" y="232"/>
                </a:cubicBezTo>
                <a:cubicBezTo>
                  <a:pt x="2657" y="230"/>
                  <a:pt x="2657" y="228"/>
                  <a:pt x="2657" y="226"/>
                </a:cubicBezTo>
                <a:cubicBezTo>
                  <a:pt x="2656" y="225"/>
                  <a:pt x="2656" y="223"/>
                  <a:pt x="2656" y="222"/>
                </a:cubicBezTo>
                <a:cubicBezTo>
                  <a:pt x="2656" y="218"/>
                  <a:pt x="2658" y="216"/>
                  <a:pt x="2661" y="216"/>
                </a:cubicBezTo>
                <a:cubicBezTo>
                  <a:pt x="2661" y="216"/>
                  <a:pt x="2661" y="216"/>
                  <a:pt x="2663" y="216"/>
                </a:cubicBezTo>
                <a:cubicBezTo>
                  <a:pt x="2663" y="216"/>
                  <a:pt x="2663" y="216"/>
                  <a:pt x="2663" y="206"/>
                </a:cubicBezTo>
                <a:cubicBezTo>
                  <a:pt x="2663" y="206"/>
                  <a:pt x="2663" y="206"/>
                  <a:pt x="2659" y="206"/>
                </a:cubicBezTo>
                <a:cubicBezTo>
                  <a:pt x="2650" y="206"/>
                  <a:pt x="2644" y="210"/>
                  <a:pt x="2644" y="219"/>
                </a:cubicBezTo>
                <a:cubicBezTo>
                  <a:pt x="2644" y="221"/>
                  <a:pt x="2645" y="224"/>
                  <a:pt x="2645" y="226"/>
                </a:cubicBezTo>
                <a:cubicBezTo>
                  <a:pt x="2645" y="229"/>
                  <a:pt x="2646" y="231"/>
                  <a:pt x="2646" y="233"/>
                </a:cubicBezTo>
                <a:cubicBezTo>
                  <a:pt x="2646" y="236"/>
                  <a:pt x="2645" y="239"/>
                  <a:pt x="2639" y="240"/>
                </a:cubicBezTo>
                <a:close/>
                <a:moveTo>
                  <a:pt x="2694" y="248"/>
                </a:moveTo>
                <a:cubicBezTo>
                  <a:pt x="2694" y="248"/>
                  <a:pt x="2694" y="248"/>
                  <a:pt x="2694" y="248"/>
                </a:cubicBezTo>
                <a:cubicBezTo>
                  <a:pt x="2694" y="240"/>
                  <a:pt x="2694" y="240"/>
                  <a:pt x="2694" y="240"/>
                </a:cubicBezTo>
                <a:cubicBezTo>
                  <a:pt x="2687" y="239"/>
                  <a:pt x="2687" y="236"/>
                  <a:pt x="2687" y="233"/>
                </a:cubicBezTo>
                <a:cubicBezTo>
                  <a:pt x="2687" y="231"/>
                  <a:pt x="2687" y="229"/>
                  <a:pt x="2687" y="226"/>
                </a:cubicBezTo>
                <a:cubicBezTo>
                  <a:pt x="2688" y="224"/>
                  <a:pt x="2688" y="221"/>
                  <a:pt x="2688" y="219"/>
                </a:cubicBezTo>
                <a:cubicBezTo>
                  <a:pt x="2688" y="210"/>
                  <a:pt x="2683" y="206"/>
                  <a:pt x="2673" y="206"/>
                </a:cubicBezTo>
                <a:cubicBezTo>
                  <a:pt x="2673" y="206"/>
                  <a:pt x="2673" y="206"/>
                  <a:pt x="2670" y="206"/>
                </a:cubicBezTo>
                <a:cubicBezTo>
                  <a:pt x="2670" y="206"/>
                  <a:pt x="2670" y="206"/>
                  <a:pt x="2670" y="216"/>
                </a:cubicBezTo>
                <a:cubicBezTo>
                  <a:pt x="2670" y="216"/>
                  <a:pt x="2670" y="216"/>
                  <a:pt x="2671" y="216"/>
                </a:cubicBezTo>
                <a:cubicBezTo>
                  <a:pt x="2675" y="216"/>
                  <a:pt x="2676" y="218"/>
                  <a:pt x="2676" y="222"/>
                </a:cubicBezTo>
                <a:cubicBezTo>
                  <a:pt x="2676" y="223"/>
                  <a:pt x="2676" y="225"/>
                  <a:pt x="2676" y="226"/>
                </a:cubicBezTo>
                <a:cubicBezTo>
                  <a:pt x="2676" y="228"/>
                  <a:pt x="2676" y="230"/>
                  <a:pt x="2676" y="232"/>
                </a:cubicBezTo>
                <a:cubicBezTo>
                  <a:pt x="2676" y="240"/>
                  <a:pt x="2678" y="242"/>
                  <a:pt x="2684" y="243"/>
                </a:cubicBezTo>
                <a:cubicBezTo>
                  <a:pt x="2684" y="243"/>
                  <a:pt x="2684" y="243"/>
                  <a:pt x="2684" y="244"/>
                </a:cubicBezTo>
                <a:cubicBezTo>
                  <a:pt x="2678" y="245"/>
                  <a:pt x="2676" y="247"/>
                  <a:pt x="2676" y="255"/>
                </a:cubicBezTo>
                <a:cubicBezTo>
                  <a:pt x="2676" y="257"/>
                  <a:pt x="2676" y="259"/>
                  <a:pt x="2676" y="261"/>
                </a:cubicBezTo>
                <a:cubicBezTo>
                  <a:pt x="2676" y="263"/>
                  <a:pt x="2676" y="264"/>
                  <a:pt x="2676" y="266"/>
                </a:cubicBezTo>
                <a:cubicBezTo>
                  <a:pt x="2676" y="269"/>
                  <a:pt x="2675" y="272"/>
                  <a:pt x="2671" y="272"/>
                </a:cubicBezTo>
                <a:cubicBezTo>
                  <a:pt x="2671" y="272"/>
                  <a:pt x="2671" y="272"/>
                  <a:pt x="2670" y="272"/>
                </a:cubicBezTo>
                <a:cubicBezTo>
                  <a:pt x="2670" y="272"/>
                  <a:pt x="2670" y="272"/>
                  <a:pt x="2670" y="281"/>
                </a:cubicBezTo>
                <a:cubicBezTo>
                  <a:pt x="2670" y="281"/>
                  <a:pt x="2670" y="281"/>
                  <a:pt x="2673" y="281"/>
                </a:cubicBezTo>
                <a:cubicBezTo>
                  <a:pt x="2682" y="281"/>
                  <a:pt x="2688" y="277"/>
                  <a:pt x="2688" y="268"/>
                </a:cubicBezTo>
                <a:cubicBezTo>
                  <a:pt x="2688" y="266"/>
                  <a:pt x="2688" y="263"/>
                  <a:pt x="2687" y="261"/>
                </a:cubicBezTo>
                <a:cubicBezTo>
                  <a:pt x="2687" y="258"/>
                  <a:pt x="2687" y="256"/>
                  <a:pt x="2687" y="254"/>
                </a:cubicBezTo>
                <a:cubicBezTo>
                  <a:pt x="2687" y="251"/>
                  <a:pt x="2687" y="248"/>
                  <a:pt x="2694" y="248"/>
                </a:cubicBezTo>
                <a:close/>
                <a:moveTo>
                  <a:pt x="2814" y="281"/>
                </a:moveTo>
                <a:cubicBezTo>
                  <a:pt x="2807" y="281"/>
                  <a:pt x="2800" y="278"/>
                  <a:pt x="2796" y="272"/>
                </a:cubicBezTo>
                <a:cubicBezTo>
                  <a:pt x="2792" y="265"/>
                  <a:pt x="2790" y="257"/>
                  <a:pt x="2790" y="244"/>
                </a:cubicBezTo>
                <a:cubicBezTo>
                  <a:pt x="2790" y="231"/>
                  <a:pt x="2792" y="222"/>
                  <a:pt x="2796" y="215"/>
                </a:cubicBezTo>
                <a:cubicBezTo>
                  <a:pt x="2801" y="208"/>
                  <a:pt x="2807" y="205"/>
                  <a:pt x="2816" y="205"/>
                </a:cubicBezTo>
                <a:cubicBezTo>
                  <a:pt x="2832" y="205"/>
                  <a:pt x="2840" y="217"/>
                  <a:pt x="2840" y="243"/>
                </a:cubicBezTo>
                <a:cubicBezTo>
                  <a:pt x="2840" y="255"/>
                  <a:pt x="2838" y="265"/>
                  <a:pt x="2833" y="271"/>
                </a:cubicBezTo>
                <a:cubicBezTo>
                  <a:pt x="2829" y="278"/>
                  <a:pt x="2822" y="281"/>
                  <a:pt x="2814" y="281"/>
                </a:cubicBezTo>
                <a:close/>
                <a:moveTo>
                  <a:pt x="2815" y="214"/>
                </a:moveTo>
                <a:cubicBezTo>
                  <a:pt x="2806" y="214"/>
                  <a:pt x="2801" y="225"/>
                  <a:pt x="2801" y="244"/>
                </a:cubicBezTo>
                <a:cubicBezTo>
                  <a:pt x="2801" y="262"/>
                  <a:pt x="2806" y="271"/>
                  <a:pt x="2815" y="271"/>
                </a:cubicBezTo>
                <a:cubicBezTo>
                  <a:pt x="2824" y="271"/>
                  <a:pt x="2828" y="262"/>
                  <a:pt x="2828" y="243"/>
                </a:cubicBezTo>
                <a:cubicBezTo>
                  <a:pt x="2828" y="224"/>
                  <a:pt x="2824" y="214"/>
                  <a:pt x="2815" y="214"/>
                </a:cubicBezTo>
                <a:close/>
                <a:moveTo>
                  <a:pt x="2888" y="207"/>
                </a:moveTo>
                <a:cubicBezTo>
                  <a:pt x="2888" y="207"/>
                  <a:pt x="2888" y="207"/>
                  <a:pt x="2888" y="207"/>
                </a:cubicBezTo>
                <a:cubicBezTo>
                  <a:pt x="2883" y="207"/>
                  <a:pt x="2883" y="207"/>
                  <a:pt x="2883" y="207"/>
                </a:cubicBezTo>
                <a:cubicBezTo>
                  <a:pt x="2881" y="209"/>
                  <a:pt x="2879" y="210"/>
                  <a:pt x="2877" y="211"/>
                </a:cubicBezTo>
                <a:cubicBezTo>
                  <a:pt x="2875" y="212"/>
                  <a:pt x="2873" y="213"/>
                  <a:pt x="2872" y="214"/>
                </a:cubicBezTo>
                <a:cubicBezTo>
                  <a:pt x="2870" y="215"/>
                  <a:pt x="2868" y="215"/>
                  <a:pt x="2867" y="216"/>
                </a:cubicBezTo>
                <a:cubicBezTo>
                  <a:pt x="2864" y="217"/>
                  <a:pt x="2863" y="217"/>
                  <a:pt x="2861" y="218"/>
                </a:cubicBezTo>
                <a:cubicBezTo>
                  <a:pt x="2861" y="218"/>
                  <a:pt x="2861" y="218"/>
                  <a:pt x="2861" y="228"/>
                </a:cubicBezTo>
                <a:cubicBezTo>
                  <a:pt x="2864" y="228"/>
                  <a:pt x="2867" y="226"/>
                  <a:pt x="2869" y="225"/>
                </a:cubicBezTo>
                <a:cubicBezTo>
                  <a:pt x="2872" y="225"/>
                  <a:pt x="2874" y="223"/>
                  <a:pt x="2876" y="222"/>
                </a:cubicBezTo>
                <a:cubicBezTo>
                  <a:pt x="2876" y="222"/>
                  <a:pt x="2876" y="222"/>
                  <a:pt x="2876" y="281"/>
                </a:cubicBezTo>
                <a:cubicBezTo>
                  <a:pt x="2876" y="281"/>
                  <a:pt x="2876" y="281"/>
                  <a:pt x="2888" y="281"/>
                </a:cubicBezTo>
                <a:cubicBezTo>
                  <a:pt x="2888" y="281"/>
                  <a:pt x="2888" y="281"/>
                  <a:pt x="2888" y="207"/>
                </a:cubicBezTo>
                <a:close/>
                <a:moveTo>
                  <a:pt x="2720" y="281"/>
                </a:moveTo>
                <a:cubicBezTo>
                  <a:pt x="2723" y="262"/>
                  <a:pt x="2723" y="262"/>
                  <a:pt x="2723" y="262"/>
                </a:cubicBezTo>
                <a:cubicBezTo>
                  <a:pt x="2714" y="262"/>
                  <a:pt x="2714" y="262"/>
                  <a:pt x="2714" y="262"/>
                </a:cubicBezTo>
                <a:cubicBezTo>
                  <a:pt x="2714" y="249"/>
                  <a:pt x="2714" y="249"/>
                  <a:pt x="2714" y="249"/>
                </a:cubicBezTo>
                <a:cubicBezTo>
                  <a:pt x="2725" y="249"/>
                  <a:pt x="2725" y="249"/>
                  <a:pt x="2725" y="249"/>
                </a:cubicBezTo>
                <a:cubicBezTo>
                  <a:pt x="2727" y="239"/>
                  <a:pt x="2727" y="239"/>
                  <a:pt x="2727" y="239"/>
                </a:cubicBezTo>
                <a:cubicBezTo>
                  <a:pt x="2717" y="239"/>
                  <a:pt x="2717" y="239"/>
                  <a:pt x="2717" y="239"/>
                </a:cubicBezTo>
                <a:cubicBezTo>
                  <a:pt x="2717" y="227"/>
                  <a:pt x="2717" y="227"/>
                  <a:pt x="2717" y="227"/>
                </a:cubicBezTo>
                <a:cubicBezTo>
                  <a:pt x="2729" y="227"/>
                  <a:pt x="2729" y="227"/>
                  <a:pt x="2729" y="227"/>
                </a:cubicBezTo>
                <a:cubicBezTo>
                  <a:pt x="2731" y="208"/>
                  <a:pt x="2731" y="208"/>
                  <a:pt x="2731" y="208"/>
                </a:cubicBezTo>
                <a:cubicBezTo>
                  <a:pt x="2743" y="208"/>
                  <a:pt x="2743" y="208"/>
                  <a:pt x="2743" y="208"/>
                </a:cubicBezTo>
                <a:cubicBezTo>
                  <a:pt x="2740" y="227"/>
                  <a:pt x="2740" y="227"/>
                  <a:pt x="2740" y="227"/>
                </a:cubicBezTo>
                <a:cubicBezTo>
                  <a:pt x="2749" y="227"/>
                  <a:pt x="2749" y="227"/>
                  <a:pt x="2749" y="227"/>
                </a:cubicBezTo>
                <a:cubicBezTo>
                  <a:pt x="2752" y="208"/>
                  <a:pt x="2752" y="208"/>
                  <a:pt x="2752" y="208"/>
                </a:cubicBezTo>
                <a:cubicBezTo>
                  <a:pt x="2764" y="208"/>
                  <a:pt x="2764" y="208"/>
                  <a:pt x="2764" y="208"/>
                </a:cubicBezTo>
                <a:cubicBezTo>
                  <a:pt x="2760" y="227"/>
                  <a:pt x="2760" y="227"/>
                  <a:pt x="2760" y="227"/>
                </a:cubicBezTo>
                <a:cubicBezTo>
                  <a:pt x="2769" y="227"/>
                  <a:pt x="2769" y="227"/>
                  <a:pt x="2769" y="227"/>
                </a:cubicBezTo>
                <a:cubicBezTo>
                  <a:pt x="2769" y="239"/>
                  <a:pt x="2769" y="239"/>
                  <a:pt x="2769" y="239"/>
                </a:cubicBezTo>
                <a:cubicBezTo>
                  <a:pt x="2759" y="239"/>
                  <a:pt x="2759" y="239"/>
                  <a:pt x="2759" y="239"/>
                </a:cubicBezTo>
                <a:cubicBezTo>
                  <a:pt x="2757" y="249"/>
                  <a:pt x="2757" y="249"/>
                  <a:pt x="2757" y="249"/>
                </a:cubicBezTo>
                <a:cubicBezTo>
                  <a:pt x="2766" y="249"/>
                  <a:pt x="2766" y="249"/>
                  <a:pt x="2766" y="249"/>
                </a:cubicBezTo>
                <a:cubicBezTo>
                  <a:pt x="2766" y="262"/>
                  <a:pt x="2766" y="262"/>
                  <a:pt x="2766" y="262"/>
                </a:cubicBezTo>
                <a:cubicBezTo>
                  <a:pt x="2755" y="262"/>
                  <a:pt x="2755" y="262"/>
                  <a:pt x="2755" y="262"/>
                </a:cubicBezTo>
                <a:cubicBezTo>
                  <a:pt x="2753" y="281"/>
                  <a:pt x="2753" y="281"/>
                  <a:pt x="2753" y="281"/>
                </a:cubicBezTo>
                <a:cubicBezTo>
                  <a:pt x="2741" y="281"/>
                  <a:pt x="2741" y="281"/>
                  <a:pt x="2741" y="281"/>
                </a:cubicBezTo>
                <a:cubicBezTo>
                  <a:pt x="2744" y="262"/>
                  <a:pt x="2744" y="262"/>
                  <a:pt x="2744" y="262"/>
                </a:cubicBezTo>
                <a:cubicBezTo>
                  <a:pt x="2734" y="262"/>
                  <a:pt x="2734" y="262"/>
                  <a:pt x="2734" y="262"/>
                </a:cubicBezTo>
                <a:cubicBezTo>
                  <a:pt x="2732" y="281"/>
                  <a:pt x="2732" y="281"/>
                  <a:pt x="2732" y="281"/>
                </a:cubicBezTo>
                <a:cubicBezTo>
                  <a:pt x="2720" y="281"/>
                  <a:pt x="2720" y="281"/>
                  <a:pt x="2720" y="281"/>
                </a:cubicBezTo>
                <a:cubicBezTo>
                  <a:pt x="2720" y="281"/>
                  <a:pt x="2720" y="281"/>
                  <a:pt x="2720" y="281"/>
                </a:cubicBezTo>
                <a:close/>
                <a:moveTo>
                  <a:pt x="2746" y="249"/>
                </a:moveTo>
                <a:cubicBezTo>
                  <a:pt x="2747" y="239"/>
                  <a:pt x="2747" y="239"/>
                  <a:pt x="2747" y="239"/>
                </a:cubicBezTo>
                <a:cubicBezTo>
                  <a:pt x="2738" y="239"/>
                  <a:pt x="2738" y="239"/>
                  <a:pt x="2738" y="239"/>
                </a:cubicBezTo>
                <a:cubicBezTo>
                  <a:pt x="2736" y="249"/>
                  <a:pt x="2736" y="249"/>
                  <a:pt x="2736" y="249"/>
                </a:cubicBezTo>
                <a:cubicBezTo>
                  <a:pt x="2746" y="249"/>
                  <a:pt x="2746" y="249"/>
                  <a:pt x="2746" y="249"/>
                </a:cubicBezTo>
                <a:cubicBezTo>
                  <a:pt x="2746" y="249"/>
                  <a:pt x="2746" y="249"/>
                  <a:pt x="2746" y="249"/>
                </a:cubicBezTo>
                <a:close/>
                <a:moveTo>
                  <a:pt x="2264" y="207"/>
                </a:moveTo>
                <a:cubicBezTo>
                  <a:pt x="2264" y="207"/>
                  <a:pt x="2264" y="207"/>
                  <a:pt x="2264" y="207"/>
                </a:cubicBezTo>
                <a:cubicBezTo>
                  <a:pt x="2258" y="207"/>
                  <a:pt x="2258" y="207"/>
                  <a:pt x="2258" y="207"/>
                </a:cubicBezTo>
                <a:cubicBezTo>
                  <a:pt x="2256" y="209"/>
                  <a:pt x="2255" y="210"/>
                  <a:pt x="2253" y="211"/>
                </a:cubicBezTo>
                <a:cubicBezTo>
                  <a:pt x="2251" y="212"/>
                  <a:pt x="2250" y="213"/>
                  <a:pt x="2248" y="214"/>
                </a:cubicBezTo>
                <a:cubicBezTo>
                  <a:pt x="2246" y="215"/>
                  <a:pt x="2244" y="216"/>
                  <a:pt x="2242" y="217"/>
                </a:cubicBezTo>
                <a:cubicBezTo>
                  <a:pt x="2240" y="217"/>
                  <a:pt x="2239" y="218"/>
                  <a:pt x="2237" y="218"/>
                </a:cubicBezTo>
                <a:cubicBezTo>
                  <a:pt x="2237" y="218"/>
                  <a:pt x="2237" y="218"/>
                  <a:pt x="2237" y="228"/>
                </a:cubicBezTo>
                <a:cubicBezTo>
                  <a:pt x="2240" y="228"/>
                  <a:pt x="2242" y="227"/>
                  <a:pt x="2245" y="225"/>
                </a:cubicBezTo>
                <a:cubicBezTo>
                  <a:pt x="2248" y="225"/>
                  <a:pt x="2250" y="223"/>
                  <a:pt x="2252" y="222"/>
                </a:cubicBezTo>
                <a:cubicBezTo>
                  <a:pt x="2252" y="222"/>
                  <a:pt x="2252" y="222"/>
                  <a:pt x="2252" y="281"/>
                </a:cubicBezTo>
                <a:cubicBezTo>
                  <a:pt x="2252" y="281"/>
                  <a:pt x="2252" y="281"/>
                  <a:pt x="2264" y="281"/>
                </a:cubicBezTo>
                <a:cubicBezTo>
                  <a:pt x="2264" y="281"/>
                  <a:pt x="2264" y="281"/>
                  <a:pt x="2264" y="207"/>
                </a:cubicBezTo>
                <a:close/>
                <a:moveTo>
                  <a:pt x="2312" y="207"/>
                </a:moveTo>
                <a:cubicBezTo>
                  <a:pt x="2312" y="207"/>
                  <a:pt x="2312" y="207"/>
                  <a:pt x="2312" y="207"/>
                </a:cubicBezTo>
                <a:cubicBezTo>
                  <a:pt x="2306" y="207"/>
                  <a:pt x="2306" y="207"/>
                  <a:pt x="2306" y="207"/>
                </a:cubicBezTo>
                <a:cubicBezTo>
                  <a:pt x="2304" y="209"/>
                  <a:pt x="2303" y="210"/>
                  <a:pt x="2300" y="211"/>
                </a:cubicBezTo>
                <a:cubicBezTo>
                  <a:pt x="2299" y="212"/>
                  <a:pt x="2297" y="213"/>
                  <a:pt x="2295" y="214"/>
                </a:cubicBezTo>
                <a:cubicBezTo>
                  <a:pt x="2294" y="215"/>
                  <a:pt x="2292" y="216"/>
                  <a:pt x="2290" y="217"/>
                </a:cubicBezTo>
                <a:cubicBezTo>
                  <a:pt x="2288" y="217"/>
                  <a:pt x="2286" y="218"/>
                  <a:pt x="2284" y="218"/>
                </a:cubicBezTo>
                <a:cubicBezTo>
                  <a:pt x="2284" y="218"/>
                  <a:pt x="2284" y="218"/>
                  <a:pt x="2284" y="228"/>
                </a:cubicBezTo>
                <a:cubicBezTo>
                  <a:pt x="2287" y="228"/>
                  <a:pt x="2290" y="227"/>
                  <a:pt x="2292" y="225"/>
                </a:cubicBezTo>
                <a:cubicBezTo>
                  <a:pt x="2295" y="225"/>
                  <a:pt x="2297" y="223"/>
                  <a:pt x="2300" y="222"/>
                </a:cubicBezTo>
                <a:cubicBezTo>
                  <a:pt x="2300" y="222"/>
                  <a:pt x="2300" y="222"/>
                  <a:pt x="2300" y="281"/>
                </a:cubicBezTo>
                <a:cubicBezTo>
                  <a:pt x="2300" y="281"/>
                  <a:pt x="2300" y="281"/>
                  <a:pt x="2312" y="281"/>
                </a:cubicBezTo>
                <a:cubicBezTo>
                  <a:pt x="2312" y="281"/>
                  <a:pt x="2312" y="281"/>
                  <a:pt x="2312" y="207"/>
                </a:cubicBezTo>
                <a:close/>
                <a:moveTo>
                  <a:pt x="2358" y="207"/>
                </a:moveTo>
                <a:cubicBezTo>
                  <a:pt x="2358" y="207"/>
                  <a:pt x="2358" y="207"/>
                  <a:pt x="2358" y="207"/>
                </a:cubicBezTo>
                <a:cubicBezTo>
                  <a:pt x="2354" y="207"/>
                  <a:pt x="2354" y="207"/>
                  <a:pt x="2354" y="207"/>
                </a:cubicBezTo>
                <a:cubicBezTo>
                  <a:pt x="2351" y="209"/>
                  <a:pt x="2350" y="210"/>
                  <a:pt x="2348" y="211"/>
                </a:cubicBezTo>
                <a:cubicBezTo>
                  <a:pt x="2346" y="212"/>
                  <a:pt x="2344" y="213"/>
                  <a:pt x="2343" y="214"/>
                </a:cubicBezTo>
                <a:cubicBezTo>
                  <a:pt x="2340" y="215"/>
                  <a:pt x="2339" y="215"/>
                  <a:pt x="2337" y="216"/>
                </a:cubicBezTo>
                <a:cubicBezTo>
                  <a:pt x="2335" y="217"/>
                  <a:pt x="2333" y="217"/>
                  <a:pt x="2332" y="218"/>
                </a:cubicBezTo>
                <a:cubicBezTo>
                  <a:pt x="2332" y="218"/>
                  <a:pt x="2332" y="218"/>
                  <a:pt x="2332" y="228"/>
                </a:cubicBezTo>
                <a:cubicBezTo>
                  <a:pt x="2335" y="228"/>
                  <a:pt x="2338" y="226"/>
                  <a:pt x="2340" y="225"/>
                </a:cubicBezTo>
                <a:cubicBezTo>
                  <a:pt x="2342" y="225"/>
                  <a:pt x="2345" y="223"/>
                  <a:pt x="2346" y="222"/>
                </a:cubicBezTo>
                <a:cubicBezTo>
                  <a:pt x="2346" y="222"/>
                  <a:pt x="2346" y="222"/>
                  <a:pt x="2346" y="281"/>
                </a:cubicBezTo>
                <a:cubicBezTo>
                  <a:pt x="2346" y="281"/>
                  <a:pt x="2346" y="281"/>
                  <a:pt x="2358" y="281"/>
                </a:cubicBezTo>
                <a:cubicBezTo>
                  <a:pt x="2358" y="281"/>
                  <a:pt x="2358" y="281"/>
                  <a:pt x="2358" y="207"/>
                </a:cubicBezTo>
                <a:close/>
                <a:moveTo>
                  <a:pt x="2565" y="111"/>
                </a:moveTo>
                <a:cubicBezTo>
                  <a:pt x="2565" y="111"/>
                  <a:pt x="2565" y="111"/>
                  <a:pt x="2565" y="111"/>
                </a:cubicBezTo>
                <a:cubicBezTo>
                  <a:pt x="2560" y="111"/>
                  <a:pt x="2560" y="111"/>
                  <a:pt x="2560" y="111"/>
                </a:cubicBezTo>
                <a:cubicBezTo>
                  <a:pt x="2558" y="113"/>
                  <a:pt x="2556" y="114"/>
                  <a:pt x="2554" y="115"/>
                </a:cubicBezTo>
                <a:cubicBezTo>
                  <a:pt x="2553" y="116"/>
                  <a:pt x="2550" y="117"/>
                  <a:pt x="2549" y="118"/>
                </a:cubicBezTo>
                <a:cubicBezTo>
                  <a:pt x="2547" y="119"/>
                  <a:pt x="2545" y="119"/>
                  <a:pt x="2544" y="120"/>
                </a:cubicBezTo>
                <a:cubicBezTo>
                  <a:pt x="2542" y="121"/>
                  <a:pt x="2540" y="121"/>
                  <a:pt x="2538" y="122"/>
                </a:cubicBezTo>
                <a:cubicBezTo>
                  <a:pt x="2538" y="122"/>
                  <a:pt x="2538" y="122"/>
                  <a:pt x="2538" y="132"/>
                </a:cubicBezTo>
                <a:cubicBezTo>
                  <a:pt x="2541" y="132"/>
                  <a:pt x="2544" y="130"/>
                  <a:pt x="2546" y="129"/>
                </a:cubicBezTo>
                <a:cubicBezTo>
                  <a:pt x="2549" y="129"/>
                  <a:pt x="2551" y="127"/>
                  <a:pt x="2553" y="126"/>
                </a:cubicBezTo>
                <a:cubicBezTo>
                  <a:pt x="2553" y="126"/>
                  <a:pt x="2553" y="126"/>
                  <a:pt x="2553" y="185"/>
                </a:cubicBezTo>
                <a:cubicBezTo>
                  <a:pt x="2553" y="185"/>
                  <a:pt x="2553" y="185"/>
                  <a:pt x="2565" y="185"/>
                </a:cubicBezTo>
                <a:cubicBezTo>
                  <a:pt x="2565" y="185"/>
                  <a:pt x="2565" y="185"/>
                  <a:pt x="2565" y="111"/>
                </a:cubicBezTo>
                <a:close/>
                <a:moveTo>
                  <a:pt x="2612" y="111"/>
                </a:moveTo>
                <a:cubicBezTo>
                  <a:pt x="2612" y="111"/>
                  <a:pt x="2612" y="111"/>
                  <a:pt x="2612" y="111"/>
                </a:cubicBezTo>
                <a:cubicBezTo>
                  <a:pt x="2607" y="111"/>
                  <a:pt x="2607" y="111"/>
                  <a:pt x="2607" y="111"/>
                </a:cubicBezTo>
                <a:cubicBezTo>
                  <a:pt x="2604" y="113"/>
                  <a:pt x="2603" y="114"/>
                  <a:pt x="2601" y="115"/>
                </a:cubicBezTo>
                <a:cubicBezTo>
                  <a:pt x="2599" y="116"/>
                  <a:pt x="2597" y="117"/>
                  <a:pt x="2596" y="118"/>
                </a:cubicBezTo>
                <a:cubicBezTo>
                  <a:pt x="2594" y="119"/>
                  <a:pt x="2592" y="120"/>
                  <a:pt x="2591" y="121"/>
                </a:cubicBezTo>
                <a:cubicBezTo>
                  <a:pt x="2589" y="121"/>
                  <a:pt x="2587" y="122"/>
                  <a:pt x="2585" y="122"/>
                </a:cubicBezTo>
                <a:cubicBezTo>
                  <a:pt x="2585" y="122"/>
                  <a:pt x="2585" y="122"/>
                  <a:pt x="2585" y="132"/>
                </a:cubicBezTo>
                <a:cubicBezTo>
                  <a:pt x="2588" y="132"/>
                  <a:pt x="2591" y="131"/>
                  <a:pt x="2593" y="129"/>
                </a:cubicBezTo>
                <a:cubicBezTo>
                  <a:pt x="2596" y="129"/>
                  <a:pt x="2598" y="127"/>
                  <a:pt x="2600" y="126"/>
                </a:cubicBezTo>
                <a:cubicBezTo>
                  <a:pt x="2600" y="126"/>
                  <a:pt x="2600" y="126"/>
                  <a:pt x="2600" y="185"/>
                </a:cubicBezTo>
                <a:cubicBezTo>
                  <a:pt x="2600" y="185"/>
                  <a:pt x="2600" y="185"/>
                  <a:pt x="2612" y="185"/>
                </a:cubicBezTo>
                <a:cubicBezTo>
                  <a:pt x="2612" y="185"/>
                  <a:pt x="2612" y="185"/>
                  <a:pt x="2612" y="111"/>
                </a:cubicBezTo>
                <a:close/>
                <a:moveTo>
                  <a:pt x="2658" y="111"/>
                </a:moveTo>
                <a:cubicBezTo>
                  <a:pt x="2658" y="111"/>
                  <a:pt x="2658" y="111"/>
                  <a:pt x="2658" y="111"/>
                </a:cubicBezTo>
                <a:cubicBezTo>
                  <a:pt x="2653" y="111"/>
                  <a:pt x="2653" y="111"/>
                  <a:pt x="2653" y="111"/>
                </a:cubicBezTo>
                <a:cubicBezTo>
                  <a:pt x="2651" y="113"/>
                  <a:pt x="2650" y="114"/>
                  <a:pt x="2647" y="115"/>
                </a:cubicBezTo>
                <a:cubicBezTo>
                  <a:pt x="2646" y="116"/>
                  <a:pt x="2644" y="117"/>
                  <a:pt x="2642" y="118"/>
                </a:cubicBezTo>
                <a:cubicBezTo>
                  <a:pt x="2640" y="119"/>
                  <a:pt x="2639" y="120"/>
                  <a:pt x="2636" y="121"/>
                </a:cubicBezTo>
                <a:cubicBezTo>
                  <a:pt x="2635" y="121"/>
                  <a:pt x="2633" y="122"/>
                  <a:pt x="2631" y="122"/>
                </a:cubicBezTo>
                <a:cubicBezTo>
                  <a:pt x="2631" y="122"/>
                  <a:pt x="2631" y="122"/>
                  <a:pt x="2631" y="132"/>
                </a:cubicBezTo>
                <a:cubicBezTo>
                  <a:pt x="2634" y="132"/>
                  <a:pt x="2637" y="131"/>
                  <a:pt x="2639" y="129"/>
                </a:cubicBezTo>
                <a:cubicBezTo>
                  <a:pt x="2641" y="129"/>
                  <a:pt x="2644" y="127"/>
                  <a:pt x="2646" y="126"/>
                </a:cubicBezTo>
                <a:cubicBezTo>
                  <a:pt x="2646" y="126"/>
                  <a:pt x="2646" y="126"/>
                  <a:pt x="2646" y="185"/>
                </a:cubicBezTo>
                <a:cubicBezTo>
                  <a:pt x="2646" y="185"/>
                  <a:pt x="2646" y="185"/>
                  <a:pt x="2658" y="185"/>
                </a:cubicBezTo>
                <a:cubicBezTo>
                  <a:pt x="2658" y="185"/>
                  <a:pt x="2658" y="185"/>
                  <a:pt x="2658" y="111"/>
                </a:cubicBezTo>
                <a:close/>
                <a:moveTo>
                  <a:pt x="2704" y="111"/>
                </a:moveTo>
                <a:cubicBezTo>
                  <a:pt x="2704" y="111"/>
                  <a:pt x="2704" y="111"/>
                  <a:pt x="2704" y="111"/>
                </a:cubicBezTo>
                <a:cubicBezTo>
                  <a:pt x="2699" y="111"/>
                  <a:pt x="2699" y="111"/>
                  <a:pt x="2699" y="111"/>
                </a:cubicBezTo>
                <a:cubicBezTo>
                  <a:pt x="2697" y="113"/>
                  <a:pt x="2695" y="114"/>
                  <a:pt x="2693" y="115"/>
                </a:cubicBezTo>
                <a:cubicBezTo>
                  <a:pt x="2692" y="116"/>
                  <a:pt x="2690" y="117"/>
                  <a:pt x="2688" y="118"/>
                </a:cubicBezTo>
                <a:cubicBezTo>
                  <a:pt x="2687" y="119"/>
                  <a:pt x="2685" y="120"/>
                  <a:pt x="2683" y="121"/>
                </a:cubicBezTo>
                <a:cubicBezTo>
                  <a:pt x="2681" y="121"/>
                  <a:pt x="2679" y="122"/>
                  <a:pt x="2677" y="122"/>
                </a:cubicBezTo>
                <a:cubicBezTo>
                  <a:pt x="2677" y="122"/>
                  <a:pt x="2677" y="122"/>
                  <a:pt x="2677" y="132"/>
                </a:cubicBezTo>
                <a:cubicBezTo>
                  <a:pt x="2680" y="132"/>
                  <a:pt x="2683" y="131"/>
                  <a:pt x="2685" y="129"/>
                </a:cubicBezTo>
                <a:cubicBezTo>
                  <a:pt x="2688" y="129"/>
                  <a:pt x="2690" y="127"/>
                  <a:pt x="2693" y="126"/>
                </a:cubicBezTo>
                <a:cubicBezTo>
                  <a:pt x="2693" y="126"/>
                  <a:pt x="2693" y="126"/>
                  <a:pt x="2693" y="185"/>
                </a:cubicBezTo>
                <a:cubicBezTo>
                  <a:pt x="2693" y="185"/>
                  <a:pt x="2693" y="185"/>
                  <a:pt x="2704" y="185"/>
                </a:cubicBezTo>
                <a:cubicBezTo>
                  <a:pt x="2704" y="185"/>
                  <a:pt x="2704" y="185"/>
                  <a:pt x="2704" y="111"/>
                </a:cubicBezTo>
                <a:close/>
                <a:moveTo>
                  <a:pt x="2826" y="111"/>
                </a:moveTo>
                <a:cubicBezTo>
                  <a:pt x="2826" y="111"/>
                  <a:pt x="2826" y="111"/>
                  <a:pt x="2826" y="111"/>
                </a:cubicBezTo>
                <a:cubicBezTo>
                  <a:pt x="2821" y="111"/>
                  <a:pt x="2821" y="111"/>
                  <a:pt x="2821" y="111"/>
                </a:cubicBezTo>
                <a:cubicBezTo>
                  <a:pt x="2819" y="113"/>
                  <a:pt x="2817" y="114"/>
                  <a:pt x="2815" y="115"/>
                </a:cubicBezTo>
                <a:cubicBezTo>
                  <a:pt x="2814" y="116"/>
                  <a:pt x="2812" y="117"/>
                  <a:pt x="2810" y="118"/>
                </a:cubicBezTo>
                <a:cubicBezTo>
                  <a:pt x="2809" y="119"/>
                  <a:pt x="2806" y="120"/>
                  <a:pt x="2805" y="121"/>
                </a:cubicBezTo>
                <a:cubicBezTo>
                  <a:pt x="2803" y="121"/>
                  <a:pt x="2801" y="122"/>
                  <a:pt x="2799" y="122"/>
                </a:cubicBezTo>
                <a:cubicBezTo>
                  <a:pt x="2799" y="122"/>
                  <a:pt x="2799" y="122"/>
                  <a:pt x="2799" y="132"/>
                </a:cubicBezTo>
                <a:cubicBezTo>
                  <a:pt x="2802" y="132"/>
                  <a:pt x="2805" y="131"/>
                  <a:pt x="2808" y="129"/>
                </a:cubicBezTo>
                <a:cubicBezTo>
                  <a:pt x="2810" y="129"/>
                  <a:pt x="2812" y="127"/>
                  <a:pt x="2814" y="126"/>
                </a:cubicBezTo>
                <a:cubicBezTo>
                  <a:pt x="2814" y="126"/>
                  <a:pt x="2814" y="126"/>
                  <a:pt x="2814" y="185"/>
                </a:cubicBezTo>
                <a:cubicBezTo>
                  <a:pt x="2814" y="185"/>
                  <a:pt x="2814" y="185"/>
                  <a:pt x="2826" y="185"/>
                </a:cubicBezTo>
                <a:cubicBezTo>
                  <a:pt x="2826" y="185"/>
                  <a:pt x="2826" y="185"/>
                  <a:pt x="2826" y="111"/>
                </a:cubicBezTo>
                <a:close/>
                <a:moveTo>
                  <a:pt x="2873" y="111"/>
                </a:moveTo>
                <a:cubicBezTo>
                  <a:pt x="2873" y="111"/>
                  <a:pt x="2873" y="111"/>
                  <a:pt x="2873" y="111"/>
                </a:cubicBezTo>
                <a:cubicBezTo>
                  <a:pt x="2868" y="111"/>
                  <a:pt x="2868" y="111"/>
                  <a:pt x="2868" y="111"/>
                </a:cubicBezTo>
                <a:cubicBezTo>
                  <a:pt x="2866" y="113"/>
                  <a:pt x="2864" y="114"/>
                  <a:pt x="2862" y="115"/>
                </a:cubicBezTo>
                <a:cubicBezTo>
                  <a:pt x="2861" y="116"/>
                  <a:pt x="2858" y="117"/>
                  <a:pt x="2857" y="118"/>
                </a:cubicBezTo>
                <a:cubicBezTo>
                  <a:pt x="2855" y="119"/>
                  <a:pt x="2853" y="120"/>
                  <a:pt x="2852" y="121"/>
                </a:cubicBezTo>
                <a:cubicBezTo>
                  <a:pt x="2849" y="121"/>
                  <a:pt x="2848" y="122"/>
                  <a:pt x="2846" y="122"/>
                </a:cubicBezTo>
                <a:cubicBezTo>
                  <a:pt x="2846" y="122"/>
                  <a:pt x="2846" y="122"/>
                  <a:pt x="2846" y="132"/>
                </a:cubicBezTo>
                <a:cubicBezTo>
                  <a:pt x="2849" y="132"/>
                  <a:pt x="2852" y="131"/>
                  <a:pt x="2854" y="129"/>
                </a:cubicBezTo>
                <a:cubicBezTo>
                  <a:pt x="2857" y="129"/>
                  <a:pt x="2859" y="127"/>
                  <a:pt x="2861" y="126"/>
                </a:cubicBezTo>
                <a:cubicBezTo>
                  <a:pt x="2861" y="126"/>
                  <a:pt x="2861" y="126"/>
                  <a:pt x="2861" y="185"/>
                </a:cubicBezTo>
                <a:cubicBezTo>
                  <a:pt x="2861" y="185"/>
                  <a:pt x="2861" y="185"/>
                  <a:pt x="2873" y="185"/>
                </a:cubicBezTo>
                <a:cubicBezTo>
                  <a:pt x="2873" y="185"/>
                  <a:pt x="2873" y="185"/>
                  <a:pt x="2873" y="111"/>
                </a:cubicBezTo>
                <a:close/>
                <a:moveTo>
                  <a:pt x="2725" y="144"/>
                </a:moveTo>
                <a:cubicBezTo>
                  <a:pt x="2725" y="144"/>
                  <a:pt x="2725" y="144"/>
                  <a:pt x="2725" y="144"/>
                </a:cubicBezTo>
                <a:cubicBezTo>
                  <a:pt x="2724" y="152"/>
                  <a:pt x="2724" y="152"/>
                  <a:pt x="2724" y="152"/>
                </a:cubicBezTo>
                <a:cubicBezTo>
                  <a:pt x="2731" y="152"/>
                  <a:pt x="2731" y="155"/>
                  <a:pt x="2731" y="158"/>
                </a:cubicBezTo>
                <a:cubicBezTo>
                  <a:pt x="2731" y="160"/>
                  <a:pt x="2731" y="162"/>
                  <a:pt x="2731" y="165"/>
                </a:cubicBezTo>
                <a:cubicBezTo>
                  <a:pt x="2731" y="167"/>
                  <a:pt x="2730" y="170"/>
                  <a:pt x="2730" y="172"/>
                </a:cubicBezTo>
                <a:cubicBezTo>
                  <a:pt x="2730" y="181"/>
                  <a:pt x="2736" y="185"/>
                  <a:pt x="2745" y="185"/>
                </a:cubicBezTo>
                <a:cubicBezTo>
                  <a:pt x="2745" y="185"/>
                  <a:pt x="2745" y="185"/>
                  <a:pt x="2748" y="185"/>
                </a:cubicBezTo>
                <a:cubicBezTo>
                  <a:pt x="2748" y="185"/>
                  <a:pt x="2748" y="185"/>
                  <a:pt x="2748" y="176"/>
                </a:cubicBezTo>
                <a:cubicBezTo>
                  <a:pt x="2748" y="176"/>
                  <a:pt x="2748" y="176"/>
                  <a:pt x="2747" y="176"/>
                </a:cubicBezTo>
                <a:cubicBezTo>
                  <a:pt x="2743" y="176"/>
                  <a:pt x="2742" y="173"/>
                  <a:pt x="2742" y="170"/>
                </a:cubicBezTo>
                <a:cubicBezTo>
                  <a:pt x="2742" y="168"/>
                  <a:pt x="2742" y="167"/>
                  <a:pt x="2742" y="165"/>
                </a:cubicBezTo>
                <a:cubicBezTo>
                  <a:pt x="2742" y="163"/>
                  <a:pt x="2743" y="161"/>
                  <a:pt x="2743" y="159"/>
                </a:cubicBezTo>
                <a:cubicBezTo>
                  <a:pt x="2743" y="151"/>
                  <a:pt x="2740" y="149"/>
                  <a:pt x="2734" y="148"/>
                </a:cubicBezTo>
                <a:cubicBezTo>
                  <a:pt x="2734" y="148"/>
                  <a:pt x="2734" y="148"/>
                  <a:pt x="2734" y="147"/>
                </a:cubicBezTo>
                <a:cubicBezTo>
                  <a:pt x="2740" y="146"/>
                  <a:pt x="2743" y="144"/>
                  <a:pt x="2743" y="136"/>
                </a:cubicBezTo>
                <a:cubicBezTo>
                  <a:pt x="2743" y="134"/>
                  <a:pt x="2742" y="132"/>
                  <a:pt x="2742" y="130"/>
                </a:cubicBezTo>
                <a:cubicBezTo>
                  <a:pt x="2742" y="129"/>
                  <a:pt x="2742" y="127"/>
                  <a:pt x="2742" y="126"/>
                </a:cubicBezTo>
                <a:cubicBezTo>
                  <a:pt x="2742" y="122"/>
                  <a:pt x="2743" y="120"/>
                  <a:pt x="2747" y="120"/>
                </a:cubicBezTo>
                <a:cubicBezTo>
                  <a:pt x="2747" y="120"/>
                  <a:pt x="2747" y="120"/>
                  <a:pt x="2748" y="120"/>
                </a:cubicBezTo>
                <a:cubicBezTo>
                  <a:pt x="2748" y="120"/>
                  <a:pt x="2748" y="120"/>
                  <a:pt x="2748" y="110"/>
                </a:cubicBezTo>
                <a:cubicBezTo>
                  <a:pt x="2748" y="110"/>
                  <a:pt x="2748" y="110"/>
                  <a:pt x="2745" y="110"/>
                </a:cubicBezTo>
                <a:cubicBezTo>
                  <a:pt x="2736" y="110"/>
                  <a:pt x="2730" y="114"/>
                  <a:pt x="2730" y="123"/>
                </a:cubicBezTo>
                <a:cubicBezTo>
                  <a:pt x="2730" y="125"/>
                  <a:pt x="2731" y="128"/>
                  <a:pt x="2731" y="130"/>
                </a:cubicBezTo>
                <a:cubicBezTo>
                  <a:pt x="2731" y="133"/>
                  <a:pt x="2731" y="135"/>
                  <a:pt x="2731" y="137"/>
                </a:cubicBezTo>
                <a:cubicBezTo>
                  <a:pt x="2731" y="140"/>
                  <a:pt x="2731" y="143"/>
                  <a:pt x="2725" y="144"/>
                </a:cubicBezTo>
                <a:close/>
                <a:moveTo>
                  <a:pt x="2779" y="152"/>
                </a:moveTo>
                <a:cubicBezTo>
                  <a:pt x="2779" y="152"/>
                  <a:pt x="2779" y="152"/>
                  <a:pt x="2779" y="152"/>
                </a:cubicBezTo>
                <a:cubicBezTo>
                  <a:pt x="2779" y="144"/>
                  <a:pt x="2779" y="144"/>
                  <a:pt x="2779" y="144"/>
                </a:cubicBezTo>
                <a:cubicBezTo>
                  <a:pt x="2773" y="143"/>
                  <a:pt x="2772" y="140"/>
                  <a:pt x="2772" y="137"/>
                </a:cubicBezTo>
                <a:cubicBezTo>
                  <a:pt x="2772" y="135"/>
                  <a:pt x="2772" y="133"/>
                  <a:pt x="2773" y="130"/>
                </a:cubicBezTo>
                <a:cubicBezTo>
                  <a:pt x="2773" y="128"/>
                  <a:pt x="2773" y="125"/>
                  <a:pt x="2773" y="123"/>
                </a:cubicBezTo>
                <a:cubicBezTo>
                  <a:pt x="2773" y="114"/>
                  <a:pt x="2768" y="110"/>
                  <a:pt x="2759" y="110"/>
                </a:cubicBezTo>
                <a:cubicBezTo>
                  <a:pt x="2759" y="110"/>
                  <a:pt x="2759" y="110"/>
                  <a:pt x="2755" y="110"/>
                </a:cubicBezTo>
                <a:cubicBezTo>
                  <a:pt x="2755" y="110"/>
                  <a:pt x="2755" y="110"/>
                  <a:pt x="2755" y="120"/>
                </a:cubicBezTo>
                <a:cubicBezTo>
                  <a:pt x="2755" y="120"/>
                  <a:pt x="2755" y="120"/>
                  <a:pt x="2757" y="120"/>
                </a:cubicBezTo>
                <a:cubicBezTo>
                  <a:pt x="2760" y="120"/>
                  <a:pt x="2762" y="122"/>
                  <a:pt x="2762" y="126"/>
                </a:cubicBezTo>
                <a:cubicBezTo>
                  <a:pt x="2762" y="127"/>
                  <a:pt x="2761" y="129"/>
                  <a:pt x="2761" y="130"/>
                </a:cubicBezTo>
                <a:cubicBezTo>
                  <a:pt x="2761" y="132"/>
                  <a:pt x="2761" y="134"/>
                  <a:pt x="2761" y="136"/>
                </a:cubicBezTo>
                <a:cubicBezTo>
                  <a:pt x="2761" y="144"/>
                  <a:pt x="2764" y="146"/>
                  <a:pt x="2769" y="147"/>
                </a:cubicBezTo>
                <a:cubicBezTo>
                  <a:pt x="2769" y="147"/>
                  <a:pt x="2769" y="147"/>
                  <a:pt x="2769" y="148"/>
                </a:cubicBezTo>
                <a:cubicBezTo>
                  <a:pt x="2764" y="149"/>
                  <a:pt x="2761" y="151"/>
                  <a:pt x="2761" y="159"/>
                </a:cubicBezTo>
                <a:cubicBezTo>
                  <a:pt x="2761" y="161"/>
                  <a:pt x="2761" y="163"/>
                  <a:pt x="2761" y="165"/>
                </a:cubicBezTo>
                <a:cubicBezTo>
                  <a:pt x="2761" y="167"/>
                  <a:pt x="2762" y="168"/>
                  <a:pt x="2762" y="170"/>
                </a:cubicBezTo>
                <a:cubicBezTo>
                  <a:pt x="2762" y="173"/>
                  <a:pt x="2761" y="176"/>
                  <a:pt x="2757" y="176"/>
                </a:cubicBezTo>
                <a:cubicBezTo>
                  <a:pt x="2757" y="176"/>
                  <a:pt x="2757" y="176"/>
                  <a:pt x="2755" y="176"/>
                </a:cubicBezTo>
                <a:cubicBezTo>
                  <a:pt x="2755" y="176"/>
                  <a:pt x="2755" y="176"/>
                  <a:pt x="2755" y="185"/>
                </a:cubicBezTo>
                <a:cubicBezTo>
                  <a:pt x="2755" y="185"/>
                  <a:pt x="2755" y="185"/>
                  <a:pt x="2759" y="185"/>
                </a:cubicBezTo>
                <a:cubicBezTo>
                  <a:pt x="2768" y="185"/>
                  <a:pt x="2773" y="181"/>
                  <a:pt x="2773" y="172"/>
                </a:cubicBezTo>
                <a:cubicBezTo>
                  <a:pt x="2773" y="170"/>
                  <a:pt x="2773" y="167"/>
                  <a:pt x="2773" y="165"/>
                </a:cubicBezTo>
                <a:cubicBezTo>
                  <a:pt x="2772" y="162"/>
                  <a:pt x="2772" y="160"/>
                  <a:pt x="2772" y="158"/>
                </a:cubicBezTo>
                <a:cubicBezTo>
                  <a:pt x="2772" y="155"/>
                  <a:pt x="2773" y="152"/>
                  <a:pt x="2779" y="152"/>
                </a:cubicBezTo>
                <a:close/>
                <a:moveTo>
                  <a:pt x="2165" y="185"/>
                </a:moveTo>
                <a:cubicBezTo>
                  <a:pt x="2158" y="185"/>
                  <a:pt x="2151" y="182"/>
                  <a:pt x="2147" y="176"/>
                </a:cubicBezTo>
                <a:cubicBezTo>
                  <a:pt x="2143" y="169"/>
                  <a:pt x="2141" y="161"/>
                  <a:pt x="2141" y="148"/>
                </a:cubicBezTo>
                <a:cubicBezTo>
                  <a:pt x="2141" y="135"/>
                  <a:pt x="2143" y="126"/>
                  <a:pt x="2148" y="119"/>
                </a:cubicBezTo>
                <a:cubicBezTo>
                  <a:pt x="2152" y="112"/>
                  <a:pt x="2159" y="109"/>
                  <a:pt x="2167" y="109"/>
                </a:cubicBezTo>
                <a:cubicBezTo>
                  <a:pt x="2183" y="109"/>
                  <a:pt x="2192" y="121"/>
                  <a:pt x="2192" y="147"/>
                </a:cubicBezTo>
                <a:cubicBezTo>
                  <a:pt x="2192" y="159"/>
                  <a:pt x="2189" y="169"/>
                  <a:pt x="2184" y="175"/>
                </a:cubicBezTo>
                <a:cubicBezTo>
                  <a:pt x="2180" y="182"/>
                  <a:pt x="2173" y="185"/>
                  <a:pt x="2165" y="185"/>
                </a:cubicBezTo>
                <a:close/>
                <a:moveTo>
                  <a:pt x="2167" y="118"/>
                </a:moveTo>
                <a:cubicBezTo>
                  <a:pt x="2157" y="118"/>
                  <a:pt x="2153" y="129"/>
                  <a:pt x="2153" y="148"/>
                </a:cubicBezTo>
                <a:cubicBezTo>
                  <a:pt x="2153" y="166"/>
                  <a:pt x="2157" y="175"/>
                  <a:pt x="2166" y="175"/>
                </a:cubicBezTo>
                <a:cubicBezTo>
                  <a:pt x="2175" y="175"/>
                  <a:pt x="2179" y="166"/>
                  <a:pt x="2179" y="147"/>
                </a:cubicBezTo>
                <a:cubicBezTo>
                  <a:pt x="2179" y="128"/>
                  <a:pt x="2175" y="118"/>
                  <a:pt x="2167" y="118"/>
                </a:cubicBezTo>
                <a:close/>
                <a:moveTo>
                  <a:pt x="2235" y="185"/>
                </a:moveTo>
                <a:cubicBezTo>
                  <a:pt x="2228" y="185"/>
                  <a:pt x="2221" y="182"/>
                  <a:pt x="2218" y="176"/>
                </a:cubicBezTo>
                <a:cubicBezTo>
                  <a:pt x="2213" y="169"/>
                  <a:pt x="2211" y="161"/>
                  <a:pt x="2211" y="148"/>
                </a:cubicBezTo>
                <a:cubicBezTo>
                  <a:pt x="2211" y="135"/>
                  <a:pt x="2213" y="126"/>
                  <a:pt x="2218" y="119"/>
                </a:cubicBezTo>
                <a:cubicBezTo>
                  <a:pt x="2222" y="112"/>
                  <a:pt x="2229" y="109"/>
                  <a:pt x="2238" y="109"/>
                </a:cubicBezTo>
                <a:cubicBezTo>
                  <a:pt x="2254" y="109"/>
                  <a:pt x="2262" y="121"/>
                  <a:pt x="2262" y="147"/>
                </a:cubicBezTo>
                <a:cubicBezTo>
                  <a:pt x="2262" y="159"/>
                  <a:pt x="2259" y="169"/>
                  <a:pt x="2255" y="175"/>
                </a:cubicBezTo>
                <a:cubicBezTo>
                  <a:pt x="2250" y="182"/>
                  <a:pt x="2244" y="185"/>
                  <a:pt x="2235" y="185"/>
                </a:cubicBezTo>
                <a:close/>
                <a:moveTo>
                  <a:pt x="2237" y="118"/>
                </a:moveTo>
                <a:cubicBezTo>
                  <a:pt x="2228" y="118"/>
                  <a:pt x="2223" y="129"/>
                  <a:pt x="2223" y="148"/>
                </a:cubicBezTo>
                <a:cubicBezTo>
                  <a:pt x="2223" y="166"/>
                  <a:pt x="2227" y="175"/>
                  <a:pt x="2236" y="175"/>
                </a:cubicBezTo>
                <a:cubicBezTo>
                  <a:pt x="2245" y="175"/>
                  <a:pt x="2249" y="166"/>
                  <a:pt x="2249" y="147"/>
                </a:cubicBezTo>
                <a:cubicBezTo>
                  <a:pt x="2249" y="128"/>
                  <a:pt x="2245" y="118"/>
                  <a:pt x="2237" y="118"/>
                </a:cubicBezTo>
                <a:close/>
                <a:moveTo>
                  <a:pt x="2446" y="185"/>
                </a:moveTo>
                <a:cubicBezTo>
                  <a:pt x="2438" y="185"/>
                  <a:pt x="2432" y="182"/>
                  <a:pt x="2428" y="175"/>
                </a:cubicBezTo>
                <a:cubicBezTo>
                  <a:pt x="2424" y="169"/>
                  <a:pt x="2421" y="160"/>
                  <a:pt x="2421" y="148"/>
                </a:cubicBezTo>
                <a:cubicBezTo>
                  <a:pt x="2421" y="135"/>
                  <a:pt x="2424" y="126"/>
                  <a:pt x="2428" y="118"/>
                </a:cubicBezTo>
                <a:cubicBezTo>
                  <a:pt x="2432" y="112"/>
                  <a:pt x="2439" y="109"/>
                  <a:pt x="2448" y="109"/>
                </a:cubicBezTo>
                <a:cubicBezTo>
                  <a:pt x="2464" y="109"/>
                  <a:pt x="2472" y="121"/>
                  <a:pt x="2472" y="146"/>
                </a:cubicBezTo>
                <a:cubicBezTo>
                  <a:pt x="2472" y="159"/>
                  <a:pt x="2470" y="169"/>
                  <a:pt x="2465" y="175"/>
                </a:cubicBezTo>
                <a:cubicBezTo>
                  <a:pt x="2460" y="182"/>
                  <a:pt x="2454" y="185"/>
                  <a:pt x="2446" y="185"/>
                </a:cubicBezTo>
                <a:close/>
                <a:moveTo>
                  <a:pt x="2447" y="118"/>
                </a:moveTo>
                <a:cubicBezTo>
                  <a:pt x="2438" y="118"/>
                  <a:pt x="2434" y="128"/>
                  <a:pt x="2434" y="147"/>
                </a:cubicBezTo>
                <a:cubicBezTo>
                  <a:pt x="2434" y="166"/>
                  <a:pt x="2438" y="175"/>
                  <a:pt x="2447" y="175"/>
                </a:cubicBezTo>
                <a:cubicBezTo>
                  <a:pt x="2455" y="175"/>
                  <a:pt x="2459" y="166"/>
                  <a:pt x="2459" y="147"/>
                </a:cubicBezTo>
                <a:cubicBezTo>
                  <a:pt x="2459" y="128"/>
                  <a:pt x="2456" y="118"/>
                  <a:pt x="2447" y="118"/>
                </a:cubicBezTo>
                <a:close/>
                <a:moveTo>
                  <a:pt x="2518" y="111"/>
                </a:moveTo>
                <a:cubicBezTo>
                  <a:pt x="2518" y="111"/>
                  <a:pt x="2518" y="111"/>
                  <a:pt x="2518" y="111"/>
                </a:cubicBezTo>
                <a:cubicBezTo>
                  <a:pt x="2513" y="111"/>
                  <a:pt x="2513" y="111"/>
                  <a:pt x="2513" y="111"/>
                </a:cubicBezTo>
                <a:cubicBezTo>
                  <a:pt x="2511" y="113"/>
                  <a:pt x="2510" y="114"/>
                  <a:pt x="2508" y="115"/>
                </a:cubicBezTo>
                <a:cubicBezTo>
                  <a:pt x="2506" y="116"/>
                  <a:pt x="2504" y="117"/>
                  <a:pt x="2502" y="118"/>
                </a:cubicBezTo>
                <a:cubicBezTo>
                  <a:pt x="2501" y="119"/>
                  <a:pt x="2499" y="119"/>
                  <a:pt x="2497" y="120"/>
                </a:cubicBezTo>
                <a:cubicBezTo>
                  <a:pt x="2495" y="121"/>
                  <a:pt x="2494" y="121"/>
                  <a:pt x="2492" y="122"/>
                </a:cubicBezTo>
                <a:cubicBezTo>
                  <a:pt x="2492" y="122"/>
                  <a:pt x="2492" y="122"/>
                  <a:pt x="2492" y="132"/>
                </a:cubicBezTo>
                <a:cubicBezTo>
                  <a:pt x="2494" y="132"/>
                  <a:pt x="2497" y="130"/>
                  <a:pt x="2500" y="129"/>
                </a:cubicBezTo>
                <a:cubicBezTo>
                  <a:pt x="2502" y="129"/>
                  <a:pt x="2505" y="127"/>
                  <a:pt x="2507" y="126"/>
                </a:cubicBezTo>
                <a:cubicBezTo>
                  <a:pt x="2507" y="126"/>
                  <a:pt x="2507" y="126"/>
                  <a:pt x="2507" y="185"/>
                </a:cubicBezTo>
                <a:cubicBezTo>
                  <a:pt x="2507" y="185"/>
                  <a:pt x="2507" y="185"/>
                  <a:pt x="2518" y="185"/>
                </a:cubicBezTo>
                <a:cubicBezTo>
                  <a:pt x="2518" y="185"/>
                  <a:pt x="2518" y="185"/>
                  <a:pt x="2518" y="111"/>
                </a:cubicBezTo>
                <a:close/>
                <a:moveTo>
                  <a:pt x="2309" y="111"/>
                </a:moveTo>
                <a:cubicBezTo>
                  <a:pt x="2309" y="111"/>
                  <a:pt x="2309" y="111"/>
                  <a:pt x="2309" y="111"/>
                </a:cubicBezTo>
                <a:cubicBezTo>
                  <a:pt x="2304" y="111"/>
                  <a:pt x="2304" y="111"/>
                  <a:pt x="2304" y="111"/>
                </a:cubicBezTo>
                <a:cubicBezTo>
                  <a:pt x="2301" y="113"/>
                  <a:pt x="2300" y="114"/>
                  <a:pt x="2298" y="115"/>
                </a:cubicBezTo>
                <a:cubicBezTo>
                  <a:pt x="2296" y="116"/>
                  <a:pt x="2295" y="117"/>
                  <a:pt x="2293" y="118"/>
                </a:cubicBezTo>
                <a:cubicBezTo>
                  <a:pt x="2291" y="119"/>
                  <a:pt x="2289" y="120"/>
                  <a:pt x="2288" y="121"/>
                </a:cubicBezTo>
                <a:cubicBezTo>
                  <a:pt x="2285" y="121"/>
                  <a:pt x="2284" y="122"/>
                  <a:pt x="2282" y="122"/>
                </a:cubicBezTo>
                <a:cubicBezTo>
                  <a:pt x="2282" y="122"/>
                  <a:pt x="2282" y="122"/>
                  <a:pt x="2282" y="132"/>
                </a:cubicBezTo>
                <a:cubicBezTo>
                  <a:pt x="2285" y="132"/>
                  <a:pt x="2288" y="131"/>
                  <a:pt x="2290" y="129"/>
                </a:cubicBezTo>
                <a:cubicBezTo>
                  <a:pt x="2293" y="129"/>
                  <a:pt x="2295" y="127"/>
                  <a:pt x="2297" y="126"/>
                </a:cubicBezTo>
                <a:cubicBezTo>
                  <a:pt x="2297" y="126"/>
                  <a:pt x="2297" y="126"/>
                  <a:pt x="2297" y="185"/>
                </a:cubicBezTo>
                <a:cubicBezTo>
                  <a:pt x="2297" y="185"/>
                  <a:pt x="2297" y="185"/>
                  <a:pt x="2309" y="185"/>
                </a:cubicBezTo>
                <a:cubicBezTo>
                  <a:pt x="2309" y="185"/>
                  <a:pt x="2309" y="185"/>
                  <a:pt x="2309" y="111"/>
                </a:cubicBezTo>
                <a:close/>
                <a:moveTo>
                  <a:pt x="2356" y="111"/>
                </a:moveTo>
                <a:cubicBezTo>
                  <a:pt x="2356" y="111"/>
                  <a:pt x="2356" y="111"/>
                  <a:pt x="2356" y="111"/>
                </a:cubicBezTo>
                <a:cubicBezTo>
                  <a:pt x="2351" y="111"/>
                  <a:pt x="2351" y="111"/>
                  <a:pt x="2351" y="111"/>
                </a:cubicBezTo>
                <a:cubicBezTo>
                  <a:pt x="2348" y="113"/>
                  <a:pt x="2347" y="114"/>
                  <a:pt x="2345" y="115"/>
                </a:cubicBezTo>
                <a:cubicBezTo>
                  <a:pt x="2343" y="116"/>
                  <a:pt x="2341" y="117"/>
                  <a:pt x="2339" y="118"/>
                </a:cubicBezTo>
                <a:cubicBezTo>
                  <a:pt x="2338" y="119"/>
                  <a:pt x="2336" y="120"/>
                  <a:pt x="2334" y="121"/>
                </a:cubicBezTo>
                <a:cubicBezTo>
                  <a:pt x="2332" y="121"/>
                  <a:pt x="2331" y="122"/>
                  <a:pt x="2328" y="122"/>
                </a:cubicBezTo>
                <a:cubicBezTo>
                  <a:pt x="2328" y="122"/>
                  <a:pt x="2328" y="122"/>
                  <a:pt x="2328" y="132"/>
                </a:cubicBezTo>
                <a:cubicBezTo>
                  <a:pt x="2331" y="132"/>
                  <a:pt x="2334" y="131"/>
                  <a:pt x="2336" y="129"/>
                </a:cubicBezTo>
                <a:cubicBezTo>
                  <a:pt x="2339" y="129"/>
                  <a:pt x="2342" y="127"/>
                  <a:pt x="2344" y="126"/>
                </a:cubicBezTo>
                <a:cubicBezTo>
                  <a:pt x="2344" y="126"/>
                  <a:pt x="2344" y="126"/>
                  <a:pt x="2344" y="185"/>
                </a:cubicBezTo>
                <a:cubicBezTo>
                  <a:pt x="2344" y="185"/>
                  <a:pt x="2344" y="185"/>
                  <a:pt x="2356" y="185"/>
                </a:cubicBezTo>
                <a:cubicBezTo>
                  <a:pt x="2356" y="185"/>
                  <a:pt x="2356" y="185"/>
                  <a:pt x="2356" y="111"/>
                </a:cubicBezTo>
                <a:close/>
                <a:moveTo>
                  <a:pt x="2401" y="111"/>
                </a:moveTo>
                <a:cubicBezTo>
                  <a:pt x="2401" y="111"/>
                  <a:pt x="2401" y="111"/>
                  <a:pt x="2401" y="111"/>
                </a:cubicBezTo>
                <a:cubicBezTo>
                  <a:pt x="2397" y="111"/>
                  <a:pt x="2397" y="111"/>
                  <a:pt x="2397" y="111"/>
                </a:cubicBezTo>
                <a:cubicBezTo>
                  <a:pt x="2395" y="113"/>
                  <a:pt x="2393" y="114"/>
                  <a:pt x="2391" y="115"/>
                </a:cubicBezTo>
                <a:cubicBezTo>
                  <a:pt x="2390" y="116"/>
                  <a:pt x="2388" y="117"/>
                  <a:pt x="2386" y="118"/>
                </a:cubicBezTo>
                <a:cubicBezTo>
                  <a:pt x="2384" y="119"/>
                  <a:pt x="2383" y="119"/>
                  <a:pt x="2380" y="120"/>
                </a:cubicBezTo>
                <a:cubicBezTo>
                  <a:pt x="2379" y="121"/>
                  <a:pt x="2377" y="121"/>
                  <a:pt x="2375" y="122"/>
                </a:cubicBezTo>
                <a:cubicBezTo>
                  <a:pt x="2375" y="122"/>
                  <a:pt x="2375" y="122"/>
                  <a:pt x="2375" y="132"/>
                </a:cubicBezTo>
                <a:cubicBezTo>
                  <a:pt x="2378" y="132"/>
                  <a:pt x="2381" y="130"/>
                  <a:pt x="2383" y="129"/>
                </a:cubicBezTo>
                <a:cubicBezTo>
                  <a:pt x="2385" y="129"/>
                  <a:pt x="2388" y="127"/>
                  <a:pt x="2390" y="126"/>
                </a:cubicBezTo>
                <a:cubicBezTo>
                  <a:pt x="2390" y="126"/>
                  <a:pt x="2390" y="126"/>
                  <a:pt x="2390" y="185"/>
                </a:cubicBezTo>
                <a:cubicBezTo>
                  <a:pt x="2390" y="185"/>
                  <a:pt x="2390" y="185"/>
                  <a:pt x="2401" y="185"/>
                </a:cubicBezTo>
                <a:cubicBezTo>
                  <a:pt x="2401" y="185"/>
                  <a:pt x="2401" y="185"/>
                  <a:pt x="2401" y="111"/>
                </a:cubicBezTo>
                <a:close/>
                <a:moveTo>
                  <a:pt x="1967" y="185"/>
                </a:moveTo>
                <a:cubicBezTo>
                  <a:pt x="1960" y="185"/>
                  <a:pt x="1953" y="182"/>
                  <a:pt x="1949" y="176"/>
                </a:cubicBezTo>
                <a:cubicBezTo>
                  <a:pt x="1945" y="169"/>
                  <a:pt x="1943" y="161"/>
                  <a:pt x="1943" y="148"/>
                </a:cubicBezTo>
                <a:cubicBezTo>
                  <a:pt x="1943" y="135"/>
                  <a:pt x="1945" y="126"/>
                  <a:pt x="1949" y="119"/>
                </a:cubicBezTo>
                <a:cubicBezTo>
                  <a:pt x="1954" y="112"/>
                  <a:pt x="1960" y="109"/>
                  <a:pt x="1969" y="109"/>
                </a:cubicBezTo>
                <a:cubicBezTo>
                  <a:pt x="1985" y="109"/>
                  <a:pt x="1993" y="121"/>
                  <a:pt x="1993" y="147"/>
                </a:cubicBezTo>
                <a:cubicBezTo>
                  <a:pt x="1993" y="159"/>
                  <a:pt x="1991" y="169"/>
                  <a:pt x="1987" y="175"/>
                </a:cubicBezTo>
                <a:cubicBezTo>
                  <a:pt x="1982" y="182"/>
                  <a:pt x="1976" y="185"/>
                  <a:pt x="1967" y="185"/>
                </a:cubicBezTo>
                <a:close/>
                <a:moveTo>
                  <a:pt x="1968" y="118"/>
                </a:moveTo>
                <a:cubicBezTo>
                  <a:pt x="1960" y="118"/>
                  <a:pt x="1955" y="129"/>
                  <a:pt x="1955" y="148"/>
                </a:cubicBezTo>
                <a:cubicBezTo>
                  <a:pt x="1955" y="166"/>
                  <a:pt x="1959" y="175"/>
                  <a:pt x="1968" y="175"/>
                </a:cubicBezTo>
                <a:cubicBezTo>
                  <a:pt x="1976" y="175"/>
                  <a:pt x="1981" y="166"/>
                  <a:pt x="1981" y="147"/>
                </a:cubicBezTo>
                <a:cubicBezTo>
                  <a:pt x="1981" y="128"/>
                  <a:pt x="1976" y="118"/>
                  <a:pt x="1968" y="118"/>
                </a:cubicBezTo>
                <a:close/>
                <a:moveTo>
                  <a:pt x="2028" y="111"/>
                </a:moveTo>
                <a:cubicBezTo>
                  <a:pt x="2028" y="111"/>
                  <a:pt x="2028" y="111"/>
                  <a:pt x="2028" y="111"/>
                </a:cubicBezTo>
                <a:cubicBezTo>
                  <a:pt x="2023" y="111"/>
                  <a:pt x="2023" y="111"/>
                  <a:pt x="2023" y="111"/>
                </a:cubicBezTo>
                <a:cubicBezTo>
                  <a:pt x="2021" y="113"/>
                  <a:pt x="2020" y="114"/>
                  <a:pt x="2017" y="115"/>
                </a:cubicBezTo>
                <a:cubicBezTo>
                  <a:pt x="2016" y="116"/>
                  <a:pt x="2015" y="117"/>
                  <a:pt x="2012" y="118"/>
                </a:cubicBezTo>
                <a:cubicBezTo>
                  <a:pt x="2011" y="119"/>
                  <a:pt x="2009" y="120"/>
                  <a:pt x="2007" y="121"/>
                </a:cubicBezTo>
                <a:cubicBezTo>
                  <a:pt x="2005" y="121"/>
                  <a:pt x="2004" y="122"/>
                  <a:pt x="2001" y="122"/>
                </a:cubicBezTo>
                <a:cubicBezTo>
                  <a:pt x="2001" y="122"/>
                  <a:pt x="2001" y="122"/>
                  <a:pt x="2001" y="132"/>
                </a:cubicBezTo>
                <a:cubicBezTo>
                  <a:pt x="2004" y="132"/>
                  <a:pt x="2007" y="131"/>
                  <a:pt x="2010" y="129"/>
                </a:cubicBezTo>
                <a:cubicBezTo>
                  <a:pt x="2012" y="129"/>
                  <a:pt x="2015" y="127"/>
                  <a:pt x="2017" y="126"/>
                </a:cubicBezTo>
                <a:cubicBezTo>
                  <a:pt x="2017" y="126"/>
                  <a:pt x="2017" y="126"/>
                  <a:pt x="2017" y="185"/>
                </a:cubicBezTo>
                <a:cubicBezTo>
                  <a:pt x="2017" y="185"/>
                  <a:pt x="2017" y="185"/>
                  <a:pt x="2028" y="185"/>
                </a:cubicBezTo>
                <a:cubicBezTo>
                  <a:pt x="2028" y="185"/>
                  <a:pt x="2028" y="185"/>
                  <a:pt x="2028" y="111"/>
                </a:cubicBezTo>
                <a:close/>
                <a:moveTo>
                  <a:pt x="2075" y="111"/>
                </a:moveTo>
                <a:cubicBezTo>
                  <a:pt x="2075" y="111"/>
                  <a:pt x="2075" y="111"/>
                  <a:pt x="2075" y="111"/>
                </a:cubicBezTo>
                <a:cubicBezTo>
                  <a:pt x="2070" y="111"/>
                  <a:pt x="2070" y="111"/>
                  <a:pt x="2070" y="111"/>
                </a:cubicBezTo>
                <a:cubicBezTo>
                  <a:pt x="2068" y="113"/>
                  <a:pt x="2066" y="114"/>
                  <a:pt x="2064" y="115"/>
                </a:cubicBezTo>
                <a:cubicBezTo>
                  <a:pt x="2063" y="116"/>
                  <a:pt x="2061" y="117"/>
                  <a:pt x="2059" y="118"/>
                </a:cubicBezTo>
                <a:cubicBezTo>
                  <a:pt x="2058" y="119"/>
                  <a:pt x="2055" y="120"/>
                  <a:pt x="2054" y="121"/>
                </a:cubicBezTo>
                <a:cubicBezTo>
                  <a:pt x="2052" y="121"/>
                  <a:pt x="2050" y="122"/>
                  <a:pt x="2048" y="122"/>
                </a:cubicBezTo>
                <a:cubicBezTo>
                  <a:pt x="2048" y="122"/>
                  <a:pt x="2048" y="122"/>
                  <a:pt x="2048" y="132"/>
                </a:cubicBezTo>
                <a:cubicBezTo>
                  <a:pt x="2051" y="132"/>
                  <a:pt x="2054" y="131"/>
                  <a:pt x="2056" y="129"/>
                </a:cubicBezTo>
                <a:cubicBezTo>
                  <a:pt x="2059" y="129"/>
                  <a:pt x="2061" y="127"/>
                  <a:pt x="2064" y="126"/>
                </a:cubicBezTo>
                <a:cubicBezTo>
                  <a:pt x="2064" y="126"/>
                  <a:pt x="2064" y="126"/>
                  <a:pt x="2064" y="185"/>
                </a:cubicBezTo>
                <a:cubicBezTo>
                  <a:pt x="2064" y="185"/>
                  <a:pt x="2064" y="185"/>
                  <a:pt x="2075" y="185"/>
                </a:cubicBezTo>
                <a:cubicBezTo>
                  <a:pt x="2075" y="185"/>
                  <a:pt x="2075" y="185"/>
                  <a:pt x="2075" y="111"/>
                </a:cubicBezTo>
                <a:close/>
                <a:moveTo>
                  <a:pt x="2121" y="111"/>
                </a:moveTo>
                <a:cubicBezTo>
                  <a:pt x="2121" y="111"/>
                  <a:pt x="2121" y="111"/>
                  <a:pt x="2121" y="111"/>
                </a:cubicBezTo>
                <a:cubicBezTo>
                  <a:pt x="2117" y="111"/>
                  <a:pt x="2117" y="111"/>
                  <a:pt x="2117" y="111"/>
                </a:cubicBezTo>
                <a:cubicBezTo>
                  <a:pt x="2114" y="113"/>
                  <a:pt x="2113" y="114"/>
                  <a:pt x="2111" y="115"/>
                </a:cubicBezTo>
                <a:cubicBezTo>
                  <a:pt x="2109" y="116"/>
                  <a:pt x="2107" y="117"/>
                  <a:pt x="2106" y="118"/>
                </a:cubicBezTo>
                <a:cubicBezTo>
                  <a:pt x="2104" y="119"/>
                  <a:pt x="2102" y="119"/>
                  <a:pt x="2100" y="120"/>
                </a:cubicBezTo>
                <a:cubicBezTo>
                  <a:pt x="2099" y="121"/>
                  <a:pt x="2096" y="121"/>
                  <a:pt x="2095" y="122"/>
                </a:cubicBezTo>
                <a:cubicBezTo>
                  <a:pt x="2095" y="122"/>
                  <a:pt x="2095" y="122"/>
                  <a:pt x="2095" y="132"/>
                </a:cubicBezTo>
                <a:cubicBezTo>
                  <a:pt x="2098" y="132"/>
                  <a:pt x="2101" y="130"/>
                  <a:pt x="2103" y="129"/>
                </a:cubicBezTo>
                <a:cubicBezTo>
                  <a:pt x="2105" y="129"/>
                  <a:pt x="2108" y="127"/>
                  <a:pt x="2109" y="126"/>
                </a:cubicBezTo>
                <a:cubicBezTo>
                  <a:pt x="2109" y="126"/>
                  <a:pt x="2109" y="126"/>
                  <a:pt x="2109" y="185"/>
                </a:cubicBezTo>
                <a:cubicBezTo>
                  <a:pt x="2109" y="185"/>
                  <a:pt x="2109" y="185"/>
                  <a:pt x="2121" y="185"/>
                </a:cubicBezTo>
                <a:cubicBezTo>
                  <a:pt x="2121" y="185"/>
                  <a:pt x="2121" y="185"/>
                  <a:pt x="2121" y="111"/>
                </a:cubicBezTo>
                <a:close/>
                <a:moveTo>
                  <a:pt x="2036" y="77"/>
                </a:moveTo>
                <a:cubicBezTo>
                  <a:pt x="2029" y="77"/>
                  <a:pt x="2022" y="74"/>
                  <a:pt x="2018" y="68"/>
                </a:cubicBezTo>
                <a:cubicBezTo>
                  <a:pt x="2014" y="62"/>
                  <a:pt x="2012" y="53"/>
                  <a:pt x="2012" y="41"/>
                </a:cubicBezTo>
                <a:cubicBezTo>
                  <a:pt x="2012" y="28"/>
                  <a:pt x="2014" y="18"/>
                  <a:pt x="2019" y="12"/>
                </a:cubicBezTo>
                <a:cubicBezTo>
                  <a:pt x="2023" y="5"/>
                  <a:pt x="2030" y="1"/>
                  <a:pt x="2038" y="1"/>
                </a:cubicBezTo>
                <a:cubicBezTo>
                  <a:pt x="2054" y="1"/>
                  <a:pt x="2062" y="14"/>
                  <a:pt x="2062" y="39"/>
                </a:cubicBezTo>
                <a:cubicBezTo>
                  <a:pt x="2062" y="52"/>
                  <a:pt x="2060" y="61"/>
                  <a:pt x="2055" y="68"/>
                </a:cubicBezTo>
                <a:cubicBezTo>
                  <a:pt x="2051" y="74"/>
                  <a:pt x="2044" y="77"/>
                  <a:pt x="2036" y="77"/>
                </a:cubicBezTo>
                <a:close/>
                <a:moveTo>
                  <a:pt x="2038" y="11"/>
                </a:moveTo>
                <a:cubicBezTo>
                  <a:pt x="2028" y="11"/>
                  <a:pt x="2024" y="21"/>
                  <a:pt x="2024" y="41"/>
                </a:cubicBezTo>
                <a:cubicBezTo>
                  <a:pt x="2024" y="59"/>
                  <a:pt x="2028" y="68"/>
                  <a:pt x="2037" y="68"/>
                </a:cubicBezTo>
                <a:cubicBezTo>
                  <a:pt x="2046" y="68"/>
                  <a:pt x="2050" y="59"/>
                  <a:pt x="2050" y="40"/>
                </a:cubicBezTo>
                <a:cubicBezTo>
                  <a:pt x="2050" y="20"/>
                  <a:pt x="2046" y="11"/>
                  <a:pt x="2038" y="11"/>
                </a:cubicBezTo>
                <a:close/>
                <a:moveTo>
                  <a:pt x="2110" y="4"/>
                </a:moveTo>
                <a:cubicBezTo>
                  <a:pt x="2110" y="4"/>
                  <a:pt x="2110" y="4"/>
                  <a:pt x="2110" y="4"/>
                </a:cubicBezTo>
                <a:cubicBezTo>
                  <a:pt x="2105" y="4"/>
                  <a:pt x="2105" y="4"/>
                  <a:pt x="2105" y="4"/>
                </a:cubicBezTo>
                <a:cubicBezTo>
                  <a:pt x="2103" y="5"/>
                  <a:pt x="2101" y="7"/>
                  <a:pt x="2099" y="7"/>
                </a:cubicBezTo>
                <a:cubicBezTo>
                  <a:pt x="2098" y="9"/>
                  <a:pt x="2095" y="10"/>
                  <a:pt x="2094" y="10"/>
                </a:cubicBezTo>
                <a:cubicBezTo>
                  <a:pt x="2092" y="11"/>
                  <a:pt x="2090" y="12"/>
                  <a:pt x="2089" y="12"/>
                </a:cubicBezTo>
                <a:cubicBezTo>
                  <a:pt x="2087" y="13"/>
                  <a:pt x="2085" y="14"/>
                  <a:pt x="2083" y="15"/>
                </a:cubicBezTo>
                <a:cubicBezTo>
                  <a:pt x="2083" y="15"/>
                  <a:pt x="2083" y="15"/>
                  <a:pt x="2083" y="25"/>
                </a:cubicBezTo>
                <a:cubicBezTo>
                  <a:pt x="2086" y="24"/>
                  <a:pt x="2089" y="23"/>
                  <a:pt x="2091" y="22"/>
                </a:cubicBezTo>
                <a:cubicBezTo>
                  <a:pt x="2094" y="21"/>
                  <a:pt x="2096" y="20"/>
                  <a:pt x="2098" y="18"/>
                </a:cubicBezTo>
                <a:cubicBezTo>
                  <a:pt x="2098" y="18"/>
                  <a:pt x="2098" y="18"/>
                  <a:pt x="2098" y="77"/>
                </a:cubicBezTo>
                <a:cubicBezTo>
                  <a:pt x="2098" y="77"/>
                  <a:pt x="2098" y="77"/>
                  <a:pt x="2110" y="77"/>
                </a:cubicBezTo>
                <a:cubicBezTo>
                  <a:pt x="2110" y="77"/>
                  <a:pt x="2110" y="77"/>
                  <a:pt x="2110" y="4"/>
                </a:cubicBezTo>
                <a:close/>
                <a:moveTo>
                  <a:pt x="2157" y="4"/>
                </a:moveTo>
                <a:cubicBezTo>
                  <a:pt x="2157" y="4"/>
                  <a:pt x="2157" y="4"/>
                  <a:pt x="2157" y="4"/>
                </a:cubicBezTo>
                <a:cubicBezTo>
                  <a:pt x="2152" y="4"/>
                  <a:pt x="2152" y="4"/>
                  <a:pt x="2152" y="4"/>
                </a:cubicBezTo>
                <a:cubicBezTo>
                  <a:pt x="2150" y="5"/>
                  <a:pt x="2148" y="7"/>
                  <a:pt x="2146" y="7"/>
                </a:cubicBezTo>
                <a:cubicBezTo>
                  <a:pt x="2145" y="9"/>
                  <a:pt x="2143" y="10"/>
                  <a:pt x="2141" y="10"/>
                </a:cubicBezTo>
                <a:cubicBezTo>
                  <a:pt x="2140" y="12"/>
                  <a:pt x="2138" y="12"/>
                  <a:pt x="2136" y="13"/>
                </a:cubicBezTo>
                <a:cubicBezTo>
                  <a:pt x="2134" y="14"/>
                  <a:pt x="2133" y="15"/>
                  <a:pt x="2131" y="15"/>
                </a:cubicBezTo>
                <a:cubicBezTo>
                  <a:pt x="2131" y="15"/>
                  <a:pt x="2131" y="15"/>
                  <a:pt x="2131" y="25"/>
                </a:cubicBezTo>
                <a:cubicBezTo>
                  <a:pt x="2133" y="24"/>
                  <a:pt x="2136" y="23"/>
                  <a:pt x="2138" y="22"/>
                </a:cubicBezTo>
                <a:cubicBezTo>
                  <a:pt x="2141" y="21"/>
                  <a:pt x="2143" y="20"/>
                  <a:pt x="2146" y="18"/>
                </a:cubicBezTo>
                <a:cubicBezTo>
                  <a:pt x="2146" y="18"/>
                  <a:pt x="2146" y="18"/>
                  <a:pt x="2146" y="77"/>
                </a:cubicBezTo>
                <a:cubicBezTo>
                  <a:pt x="2146" y="77"/>
                  <a:pt x="2146" y="77"/>
                  <a:pt x="2157" y="77"/>
                </a:cubicBezTo>
                <a:cubicBezTo>
                  <a:pt x="2157" y="77"/>
                  <a:pt x="2157" y="77"/>
                  <a:pt x="2157" y="4"/>
                </a:cubicBezTo>
                <a:close/>
                <a:moveTo>
                  <a:pt x="2204" y="4"/>
                </a:moveTo>
                <a:cubicBezTo>
                  <a:pt x="2204" y="4"/>
                  <a:pt x="2204" y="4"/>
                  <a:pt x="2204" y="4"/>
                </a:cubicBezTo>
                <a:cubicBezTo>
                  <a:pt x="2199" y="4"/>
                  <a:pt x="2199" y="4"/>
                  <a:pt x="2199" y="4"/>
                </a:cubicBezTo>
                <a:cubicBezTo>
                  <a:pt x="2197" y="5"/>
                  <a:pt x="2195" y="7"/>
                  <a:pt x="2193" y="7"/>
                </a:cubicBezTo>
                <a:cubicBezTo>
                  <a:pt x="2192" y="9"/>
                  <a:pt x="2190" y="10"/>
                  <a:pt x="2188" y="10"/>
                </a:cubicBezTo>
                <a:cubicBezTo>
                  <a:pt x="2186" y="12"/>
                  <a:pt x="2184" y="12"/>
                  <a:pt x="2182" y="13"/>
                </a:cubicBezTo>
                <a:cubicBezTo>
                  <a:pt x="2181" y="14"/>
                  <a:pt x="2179" y="15"/>
                  <a:pt x="2177" y="15"/>
                </a:cubicBezTo>
                <a:cubicBezTo>
                  <a:pt x="2177" y="15"/>
                  <a:pt x="2177" y="15"/>
                  <a:pt x="2177" y="25"/>
                </a:cubicBezTo>
                <a:cubicBezTo>
                  <a:pt x="2180" y="24"/>
                  <a:pt x="2183" y="23"/>
                  <a:pt x="2185" y="22"/>
                </a:cubicBezTo>
                <a:cubicBezTo>
                  <a:pt x="2187" y="21"/>
                  <a:pt x="2190" y="20"/>
                  <a:pt x="2192" y="18"/>
                </a:cubicBezTo>
                <a:cubicBezTo>
                  <a:pt x="2192" y="18"/>
                  <a:pt x="2192" y="18"/>
                  <a:pt x="2192" y="77"/>
                </a:cubicBezTo>
                <a:cubicBezTo>
                  <a:pt x="2192" y="77"/>
                  <a:pt x="2192" y="77"/>
                  <a:pt x="2204" y="77"/>
                </a:cubicBezTo>
                <a:cubicBezTo>
                  <a:pt x="2204" y="77"/>
                  <a:pt x="2204" y="77"/>
                  <a:pt x="2204" y="4"/>
                </a:cubicBezTo>
                <a:close/>
                <a:moveTo>
                  <a:pt x="2251" y="4"/>
                </a:moveTo>
                <a:cubicBezTo>
                  <a:pt x="2251" y="4"/>
                  <a:pt x="2251" y="4"/>
                  <a:pt x="2251" y="4"/>
                </a:cubicBezTo>
                <a:cubicBezTo>
                  <a:pt x="2246" y="4"/>
                  <a:pt x="2246" y="4"/>
                  <a:pt x="2246" y="4"/>
                </a:cubicBezTo>
                <a:cubicBezTo>
                  <a:pt x="2244" y="5"/>
                  <a:pt x="2242" y="7"/>
                  <a:pt x="2240" y="7"/>
                </a:cubicBezTo>
                <a:cubicBezTo>
                  <a:pt x="2238" y="9"/>
                  <a:pt x="2237" y="10"/>
                  <a:pt x="2235" y="10"/>
                </a:cubicBezTo>
                <a:cubicBezTo>
                  <a:pt x="2233" y="12"/>
                  <a:pt x="2231" y="12"/>
                  <a:pt x="2230" y="13"/>
                </a:cubicBezTo>
                <a:cubicBezTo>
                  <a:pt x="2227" y="14"/>
                  <a:pt x="2226" y="15"/>
                  <a:pt x="2224" y="15"/>
                </a:cubicBezTo>
                <a:cubicBezTo>
                  <a:pt x="2224" y="15"/>
                  <a:pt x="2224" y="15"/>
                  <a:pt x="2224" y="25"/>
                </a:cubicBezTo>
                <a:cubicBezTo>
                  <a:pt x="2227" y="24"/>
                  <a:pt x="2230" y="23"/>
                  <a:pt x="2232" y="22"/>
                </a:cubicBezTo>
                <a:cubicBezTo>
                  <a:pt x="2235" y="21"/>
                  <a:pt x="2237" y="20"/>
                  <a:pt x="2239" y="18"/>
                </a:cubicBezTo>
                <a:cubicBezTo>
                  <a:pt x="2239" y="18"/>
                  <a:pt x="2239" y="18"/>
                  <a:pt x="2239" y="77"/>
                </a:cubicBezTo>
                <a:cubicBezTo>
                  <a:pt x="2239" y="77"/>
                  <a:pt x="2239" y="77"/>
                  <a:pt x="2251" y="77"/>
                </a:cubicBezTo>
                <a:cubicBezTo>
                  <a:pt x="2251" y="77"/>
                  <a:pt x="2251" y="77"/>
                  <a:pt x="2251" y="4"/>
                </a:cubicBezTo>
                <a:close/>
                <a:moveTo>
                  <a:pt x="2374" y="4"/>
                </a:moveTo>
                <a:cubicBezTo>
                  <a:pt x="2374" y="4"/>
                  <a:pt x="2374" y="4"/>
                  <a:pt x="2374" y="4"/>
                </a:cubicBezTo>
                <a:cubicBezTo>
                  <a:pt x="2369" y="4"/>
                  <a:pt x="2369" y="4"/>
                  <a:pt x="2369" y="4"/>
                </a:cubicBezTo>
                <a:cubicBezTo>
                  <a:pt x="2367" y="5"/>
                  <a:pt x="2365" y="7"/>
                  <a:pt x="2363" y="7"/>
                </a:cubicBezTo>
                <a:cubicBezTo>
                  <a:pt x="2362" y="9"/>
                  <a:pt x="2360" y="10"/>
                  <a:pt x="2358" y="10"/>
                </a:cubicBezTo>
                <a:cubicBezTo>
                  <a:pt x="2356" y="12"/>
                  <a:pt x="2354" y="12"/>
                  <a:pt x="2353" y="13"/>
                </a:cubicBezTo>
                <a:cubicBezTo>
                  <a:pt x="2351" y="14"/>
                  <a:pt x="2349" y="15"/>
                  <a:pt x="2347" y="15"/>
                </a:cubicBezTo>
                <a:cubicBezTo>
                  <a:pt x="2347" y="15"/>
                  <a:pt x="2347" y="15"/>
                  <a:pt x="2347" y="25"/>
                </a:cubicBezTo>
                <a:cubicBezTo>
                  <a:pt x="2350" y="24"/>
                  <a:pt x="2353" y="23"/>
                  <a:pt x="2356" y="22"/>
                </a:cubicBezTo>
                <a:cubicBezTo>
                  <a:pt x="2358" y="21"/>
                  <a:pt x="2360" y="20"/>
                  <a:pt x="2362" y="18"/>
                </a:cubicBezTo>
                <a:cubicBezTo>
                  <a:pt x="2362" y="18"/>
                  <a:pt x="2362" y="18"/>
                  <a:pt x="2362" y="77"/>
                </a:cubicBezTo>
                <a:cubicBezTo>
                  <a:pt x="2362" y="77"/>
                  <a:pt x="2362" y="77"/>
                  <a:pt x="2374" y="77"/>
                </a:cubicBezTo>
                <a:cubicBezTo>
                  <a:pt x="2374" y="77"/>
                  <a:pt x="2374" y="77"/>
                  <a:pt x="2374" y="4"/>
                </a:cubicBezTo>
                <a:close/>
                <a:moveTo>
                  <a:pt x="2421" y="4"/>
                </a:moveTo>
                <a:cubicBezTo>
                  <a:pt x="2421" y="4"/>
                  <a:pt x="2421" y="4"/>
                  <a:pt x="2421" y="4"/>
                </a:cubicBezTo>
                <a:cubicBezTo>
                  <a:pt x="2416" y="4"/>
                  <a:pt x="2416" y="4"/>
                  <a:pt x="2416" y="4"/>
                </a:cubicBezTo>
                <a:cubicBezTo>
                  <a:pt x="2414" y="5"/>
                  <a:pt x="2413" y="7"/>
                  <a:pt x="2411" y="7"/>
                </a:cubicBezTo>
                <a:cubicBezTo>
                  <a:pt x="2409" y="9"/>
                  <a:pt x="2407" y="10"/>
                  <a:pt x="2405" y="10"/>
                </a:cubicBezTo>
                <a:cubicBezTo>
                  <a:pt x="2404" y="12"/>
                  <a:pt x="2402" y="12"/>
                  <a:pt x="2400" y="13"/>
                </a:cubicBezTo>
                <a:cubicBezTo>
                  <a:pt x="2398" y="14"/>
                  <a:pt x="2397" y="15"/>
                  <a:pt x="2395" y="15"/>
                </a:cubicBezTo>
                <a:cubicBezTo>
                  <a:pt x="2395" y="15"/>
                  <a:pt x="2395" y="15"/>
                  <a:pt x="2395" y="25"/>
                </a:cubicBezTo>
                <a:cubicBezTo>
                  <a:pt x="2397" y="24"/>
                  <a:pt x="2400" y="23"/>
                  <a:pt x="2403" y="22"/>
                </a:cubicBezTo>
                <a:cubicBezTo>
                  <a:pt x="2405" y="21"/>
                  <a:pt x="2408" y="20"/>
                  <a:pt x="2410" y="18"/>
                </a:cubicBezTo>
                <a:cubicBezTo>
                  <a:pt x="2410" y="18"/>
                  <a:pt x="2410" y="18"/>
                  <a:pt x="2410" y="77"/>
                </a:cubicBezTo>
                <a:cubicBezTo>
                  <a:pt x="2410" y="77"/>
                  <a:pt x="2410" y="77"/>
                  <a:pt x="2421" y="77"/>
                </a:cubicBezTo>
                <a:cubicBezTo>
                  <a:pt x="2421" y="77"/>
                  <a:pt x="2421" y="77"/>
                  <a:pt x="2421" y="4"/>
                </a:cubicBezTo>
                <a:close/>
                <a:moveTo>
                  <a:pt x="2469" y="4"/>
                </a:moveTo>
                <a:cubicBezTo>
                  <a:pt x="2469" y="4"/>
                  <a:pt x="2469" y="4"/>
                  <a:pt x="2469" y="4"/>
                </a:cubicBezTo>
                <a:cubicBezTo>
                  <a:pt x="2464" y="4"/>
                  <a:pt x="2464" y="4"/>
                  <a:pt x="2464" y="4"/>
                </a:cubicBezTo>
                <a:cubicBezTo>
                  <a:pt x="2462" y="5"/>
                  <a:pt x="2460" y="7"/>
                  <a:pt x="2459" y="7"/>
                </a:cubicBezTo>
                <a:cubicBezTo>
                  <a:pt x="2457" y="9"/>
                  <a:pt x="2455" y="10"/>
                  <a:pt x="2453" y="10"/>
                </a:cubicBezTo>
                <a:cubicBezTo>
                  <a:pt x="2452" y="12"/>
                  <a:pt x="2449" y="12"/>
                  <a:pt x="2448" y="13"/>
                </a:cubicBezTo>
                <a:cubicBezTo>
                  <a:pt x="2446" y="14"/>
                  <a:pt x="2444" y="15"/>
                  <a:pt x="2442" y="15"/>
                </a:cubicBezTo>
                <a:cubicBezTo>
                  <a:pt x="2442" y="15"/>
                  <a:pt x="2442" y="15"/>
                  <a:pt x="2442" y="25"/>
                </a:cubicBezTo>
                <a:cubicBezTo>
                  <a:pt x="2445" y="24"/>
                  <a:pt x="2448" y="23"/>
                  <a:pt x="2451" y="22"/>
                </a:cubicBezTo>
                <a:cubicBezTo>
                  <a:pt x="2453" y="21"/>
                  <a:pt x="2455" y="20"/>
                  <a:pt x="2457" y="18"/>
                </a:cubicBezTo>
                <a:cubicBezTo>
                  <a:pt x="2457" y="18"/>
                  <a:pt x="2457" y="18"/>
                  <a:pt x="2457" y="77"/>
                </a:cubicBezTo>
                <a:cubicBezTo>
                  <a:pt x="2457" y="77"/>
                  <a:pt x="2457" y="77"/>
                  <a:pt x="2469" y="77"/>
                </a:cubicBezTo>
                <a:cubicBezTo>
                  <a:pt x="2469" y="77"/>
                  <a:pt x="2469" y="77"/>
                  <a:pt x="2469" y="4"/>
                </a:cubicBezTo>
                <a:close/>
                <a:moveTo>
                  <a:pt x="2516" y="4"/>
                </a:moveTo>
                <a:cubicBezTo>
                  <a:pt x="2516" y="4"/>
                  <a:pt x="2516" y="4"/>
                  <a:pt x="2516" y="4"/>
                </a:cubicBezTo>
                <a:cubicBezTo>
                  <a:pt x="2511" y="4"/>
                  <a:pt x="2511" y="4"/>
                  <a:pt x="2511" y="4"/>
                </a:cubicBezTo>
                <a:cubicBezTo>
                  <a:pt x="2509" y="5"/>
                  <a:pt x="2508" y="7"/>
                  <a:pt x="2505" y="7"/>
                </a:cubicBezTo>
                <a:cubicBezTo>
                  <a:pt x="2504" y="9"/>
                  <a:pt x="2502" y="10"/>
                  <a:pt x="2500" y="10"/>
                </a:cubicBezTo>
                <a:cubicBezTo>
                  <a:pt x="2498" y="11"/>
                  <a:pt x="2497" y="12"/>
                  <a:pt x="2495" y="12"/>
                </a:cubicBezTo>
                <a:cubicBezTo>
                  <a:pt x="2493" y="13"/>
                  <a:pt x="2491" y="14"/>
                  <a:pt x="2490" y="15"/>
                </a:cubicBezTo>
                <a:cubicBezTo>
                  <a:pt x="2490" y="15"/>
                  <a:pt x="2490" y="15"/>
                  <a:pt x="2490" y="25"/>
                </a:cubicBezTo>
                <a:cubicBezTo>
                  <a:pt x="2492" y="24"/>
                  <a:pt x="2495" y="23"/>
                  <a:pt x="2498" y="22"/>
                </a:cubicBezTo>
                <a:cubicBezTo>
                  <a:pt x="2500" y="21"/>
                  <a:pt x="2503" y="20"/>
                  <a:pt x="2504" y="18"/>
                </a:cubicBezTo>
                <a:cubicBezTo>
                  <a:pt x="2504" y="18"/>
                  <a:pt x="2504" y="18"/>
                  <a:pt x="2504" y="77"/>
                </a:cubicBezTo>
                <a:cubicBezTo>
                  <a:pt x="2504" y="77"/>
                  <a:pt x="2504" y="77"/>
                  <a:pt x="2516" y="77"/>
                </a:cubicBezTo>
                <a:cubicBezTo>
                  <a:pt x="2516" y="77"/>
                  <a:pt x="2516" y="77"/>
                  <a:pt x="2516" y="4"/>
                </a:cubicBezTo>
                <a:close/>
                <a:moveTo>
                  <a:pt x="2272" y="36"/>
                </a:moveTo>
                <a:cubicBezTo>
                  <a:pt x="2272" y="36"/>
                  <a:pt x="2272" y="36"/>
                  <a:pt x="2272" y="36"/>
                </a:cubicBezTo>
                <a:cubicBezTo>
                  <a:pt x="2271" y="44"/>
                  <a:pt x="2271" y="44"/>
                  <a:pt x="2271" y="44"/>
                </a:cubicBezTo>
                <a:cubicBezTo>
                  <a:pt x="2278" y="45"/>
                  <a:pt x="2278" y="48"/>
                  <a:pt x="2278" y="50"/>
                </a:cubicBezTo>
                <a:cubicBezTo>
                  <a:pt x="2278" y="53"/>
                  <a:pt x="2278" y="55"/>
                  <a:pt x="2278" y="57"/>
                </a:cubicBezTo>
                <a:cubicBezTo>
                  <a:pt x="2278" y="60"/>
                  <a:pt x="2277" y="62"/>
                  <a:pt x="2277" y="65"/>
                </a:cubicBezTo>
                <a:cubicBezTo>
                  <a:pt x="2277" y="74"/>
                  <a:pt x="2283" y="77"/>
                  <a:pt x="2292" y="77"/>
                </a:cubicBezTo>
                <a:cubicBezTo>
                  <a:pt x="2292" y="77"/>
                  <a:pt x="2292" y="77"/>
                  <a:pt x="2296" y="77"/>
                </a:cubicBezTo>
                <a:cubicBezTo>
                  <a:pt x="2296" y="77"/>
                  <a:pt x="2296" y="77"/>
                  <a:pt x="2296" y="68"/>
                </a:cubicBezTo>
                <a:cubicBezTo>
                  <a:pt x="2296" y="68"/>
                  <a:pt x="2296" y="68"/>
                  <a:pt x="2294" y="68"/>
                </a:cubicBezTo>
                <a:cubicBezTo>
                  <a:pt x="2290" y="68"/>
                  <a:pt x="2289" y="66"/>
                  <a:pt x="2289" y="62"/>
                </a:cubicBezTo>
                <a:cubicBezTo>
                  <a:pt x="2289" y="61"/>
                  <a:pt x="2289" y="59"/>
                  <a:pt x="2290" y="57"/>
                </a:cubicBezTo>
                <a:cubicBezTo>
                  <a:pt x="2290" y="56"/>
                  <a:pt x="2290" y="54"/>
                  <a:pt x="2290" y="52"/>
                </a:cubicBezTo>
                <a:cubicBezTo>
                  <a:pt x="2290" y="44"/>
                  <a:pt x="2287" y="42"/>
                  <a:pt x="2281" y="40"/>
                </a:cubicBezTo>
                <a:cubicBezTo>
                  <a:pt x="2281" y="40"/>
                  <a:pt x="2281" y="40"/>
                  <a:pt x="2281" y="40"/>
                </a:cubicBezTo>
                <a:cubicBezTo>
                  <a:pt x="2287" y="39"/>
                  <a:pt x="2290" y="37"/>
                  <a:pt x="2290" y="29"/>
                </a:cubicBezTo>
                <a:cubicBezTo>
                  <a:pt x="2290" y="27"/>
                  <a:pt x="2290" y="25"/>
                  <a:pt x="2290" y="23"/>
                </a:cubicBezTo>
                <a:cubicBezTo>
                  <a:pt x="2289" y="21"/>
                  <a:pt x="2289" y="20"/>
                  <a:pt x="2289" y="18"/>
                </a:cubicBezTo>
                <a:cubicBezTo>
                  <a:pt x="2289" y="15"/>
                  <a:pt x="2290" y="13"/>
                  <a:pt x="2294" y="13"/>
                </a:cubicBezTo>
                <a:cubicBezTo>
                  <a:pt x="2294" y="13"/>
                  <a:pt x="2294" y="13"/>
                  <a:pt x="2296" y="13"/>
                </a:cubicBezTo>
                <a:cubicBezTo>
                  <a:pt x="2296" y="13"/>
                  <a:pt x="2296" y="13"/>
                  <a:pt x="2296" y="3"/>
                </a:cubicBezTo>
                <a:cubicBezTo>
                  <a:pt x="2296" y="3"/>
                  <a:pt x="2296" y="3"/>
                  <a:pt x="2292" y="3"/>
                </a:cubicBezTo>
                <a:cubicBezTo>
                  <a:pt x="2283" y="3"/>
                  <a:pt x="2277" y="7"/>
                  <a:pt x="2277" y="16"/>
                </a:cubicBezTo>
                <a:cubicBezTo>
                  <a:pt x="2277" y="18"/>
                  <a:pt x="2278" y="21"/>
                  <a:pt x="2278" y="23"/>
                </a:cubicBezTo>
                <a:cubicBezTo>
                  <a:pt x="2278" y="26"/>
                  <a:pt x="2278" y="28"/>
                  <a:pt x="2278" y="30"/>
                </a:cubicBezTo>
                <a:cubicBezTo>
                  <a:pt x="2278" y="33"/>
                  <a:pt x="2278" y="36"/>
                  <a:pt x="2272" y="36"/>
                </a:cubicBezTo>
                <a:close/>
                <a:moveTo>
                  <a:pt x="2326" y="44"/>
                </a:moveTo>
                <a:cubicBezTo>
                  <a:pt x="2326" y="44"/>
                  <a:pt x="2326" y="44"/>
                  <a:pt x="2326" y="44"/>
                </a:cubicBezTo>
                <a:cubicBezTo>
                  <a:pt x="2326" y="36"/>
                  <a:pt x="2326" y="36"/>
                  <a:pt x="2326" y="36"/>
                </a:cubicBezTo>
                <a:cubicBezTo>
                  <a:pt x="2320" y="36"/>
                  <a:pt x="2320" y="33"/>
                  <a:pt x="2320" y="30"/>
                </a:cubicBezTo>
                <a:cubicBezTo>
                  <a:pt x="2320" y="28"/>
                  <a:pt x="2320" y="26"/>
                  <a:pt x="2320" y="23"/>
                </a:cubicBezTo>
                <a:cubicBezTo>
                  <a:pt x="2321" y="21"/>
                  <a:pt x="2321" y="18"/>
                  <a:pt x="2321" y="16"/>
                </a:cubicBezTo>
                <a:cubicBezTo>
                  <a:pt x="2321" y="7"/>
                  <a:pt x="2315" y="3"/>
                  <a:pt x="2306" y="3"/>
                </a:cubicBezTo>
                <a:cubicBezTo>
                  <a:pt x="2306" y="3"/>
                  <a:pt x="2306" y="3"/>
                  <a:pt x="2302" y="3"/>
                </a:cubicBezTo>
                <a:cubicBezTo>
                  <a:pt x="2302" y="3"/>
                  <a:pt x="2302" y="3"/>
                  <a:pt x="2302" y="13"/>
                </a:cubicBezTo>
                <a:cubicBezTo>
                  <a:pt x="2302" y="13"/>
                  <a:pt x="2302" y="13"/>
                  <a:pt x="2304" y="13"/>
                </a:cubicBezTo>
                <a:cubicBezTo>
                  <a:pt x="2308" y="13"/>
                  <a:pt x="2309" y="15"/>
                  <a:pt x="2309" y="18"/>
                </a:cubicBezTo>
                <a:cubicBezTo>
                  <a:pt x="2309" y="20"/>
                  <a:pt x="2309" y="21"/>
                  <a:pt x="2309" y="23"/>
                </a:cubicBezTo>
                <a:cubicBezTo>
                  <a:pt x="2308" y="25"/>
                  <a:pt x="2308" y="27"/>
                  <a:pt x="2308" y="29"/>
                </a:cubicBezTo>
                <a:cubicBezTo>
                  <a:pt x="2308" y="37"/>
                  <a:pt x="2311" y="39"/>
                  <a:pt x="2317" y="40"/>
                </a:cubicBezTo>
                <a:cubicBezTo>
                  <a:pt x="2317" y="40"/>
                  <a:pt x="2317" y="40"/>
                  <a:pt x="2317" y="40"/>
                </a:cubicBezTo>
                <a:cubicBezTo>
                  <a:pt x="2311" y="42"/>
                  <a:pt x="2308" y="44"/>
                  <a:pt x="2308" y="52"/>
                </a:cubicBezTo>
                <a:cubicBezTo>
                  <a:pt x="2308" y="54"/>
                  <a:pt x="2308" y="56"/>
                  <a:pt x="2309" y="57"/>
                </a:cubicBezTo>
                <a:cubicBezTo>
                  <a:pt x="2309" y="59"/>
                  <a:pt x="2309" y="61"/>
                  <a:pt x="2309" y="62"/>
                </a:cubicBezTo>
                <a:cubicBezTo>
                  <a:pt x="2309" y="66"/>
                  <a:pt x="2308" y="68"/>
                  <a:pt x="2304" y="68"/>
                </a:cubicBezTo>
                <a:cubicBezTo>
                  <a:pt x="2304" y="68"/>
                  <a:pt x="2304" y="68"/>
                  <a:pt x="2302" y="68"/>
                </a:cubicBezTo>
                <a:cubicBezTo>
                  <a:pt x="2302" y="68"/>
                  <a:pt x="2302" y="68"/>
                  <a:pt x="2302" y="77"/>
                </a:cubicBezTo>
                <a:cubicBezTo>
                  <a:pt x="2302" y="77"/>
                  <a:pt x="2302" y="77"/>
                  <a:pt x="2306" y="77"/>
                </a:cubicBezTo>
                <a:cubicBezTo>
                  <a:pt x="2315" y="77"/>
                  <a:pt x="2321" y="74"/>
                  <a:pt x="2321" y="65"/>
                </a:cubicBezTo>
                <a:cubicBezTo>
                  <a:pt x="2321" y="62"/>
                  <a:pt x="2321" y="60"/>
                  <a:pt x="2320" y="57"/>
                </a:cubicBezTo>
                <a:cubicBezTo>
                  <a:pt x="2320" y="55"/>
                  <a:pt x="2320" y="53"/>
                  <a:pt x="2320" y="50"/>
                </a:cubicBezTo>
                <a:cubicBezTo>
                  <a:pt x="2320" y="48"/>
                  <a:pt x="2320" y="45"/>
                  <a:pt x="2326" y="44"/>
                </a:cubicBezTo>
                <a:close/>
                <a:moveTo>
                  <a:pt x="2653" y="36"/>
                </a:moveTo>
                <a:cubicBezTo>
                  <a:pt x="2653" y="36"/>
                  <a:pt x="2653" y="36"/>
                  <a:pt x="2653" y="36"/>
                </a:cubicBezTo>
                <a:cubicBezTo>
                  <a:pt x="2653" y="44"/>
                  <a:pt x="2653" y="44"/>
                  <a:pt x="2653" y="44"/>
                </a:cubicBezTo>
                <a:cubicBezTo>
                  <a:pt x="2659" y="45"/>
                  <a:pt x="2660" y="48"/>
                  <a:pt x="2660" y="50"/>
                </a:cubicBezTo>
                <a:cubicBezTo>
                  <a:pt x="2660" y="53"/>
                  <a:pt x="2660" y="55"/>
                  <a:pt x="2660" y="57"/>
                </a:cubicBezTo>
                <a:cubicBezTo>
                  <a:pt x="2659" y="60"/>
                  <a:pt x="2659" y="62"/>
                  <a:pt x="2659" y="65"/>
                </a:cubicBezTo>
                <a:cubicBezTo>
                  <a:pt x="2659" y="74"/>
                  <a:pt x="2665" y="77"/>
                  <a:pt x="2674" y="77"/>
                </a:cubicBezTo>
                <a:cubicBezTo>
                  <a:pt x="2674" y="77"/>
                  <a:pt x="2674" y="77"/>
                  <a:pt x="2677" y="77"/>
                </a:cubicBezTo>
                <a:cubicBezTo>
                  <a:pt x="2677" y="77"/>
                  <a:pt x="2677" y="77"/>
                  <a:pt x="2677" y="68"/>
                </a:cubicBezTo>
                <a:cubicBezTo>
                  <a:pt x="2677" y="68"/>
                  <a:pt x="2677" y="68"/>
                  <a:pt x="2676" y="68"/>
                </a:cubicBezTo>
                <a:cubicBezTo>
                  <a:pt x="2672" y="68"/>
                  <a:pt x="2671" y="66"/>
                  <a:pt x="2671" y="62"/>
                </a:cubicBezTo>
                <a:cubicBezTo>
                  <a:pt x="2671" y="61"/>
                  <a:pt x="2671" y="59"/>
                  <a:pt x="2671" y="57"/>
                </a:cubicBezTo>
                <a:cubicBezTo>
                  <a:pt x="2671" y="56"/>
                  <a:pt x="2672" y="54"/>
                  <a:pt x="2672" y="52"/>
                </a:cubicBezTo>
                <a:cubicBezTo>
                  <a:pt x="2672" y="44"/>
                  <a:pt x="2669" y="42"/>
                  <a:pt x="2663" y="40"/>
                </a:cubicBezTo>
                <a:cubicBezTo>
                  <a:pt x="2663" y="40"/>
                  <a:pt x="2663" y="40"/>
                  <a:pt x="2663" y="40"/>
                </a:cubicBezTo>
                <a:cubicBezTo>
                  <a:pt x="2669" y="39"/>
                  <a:pt x="2672" y="37"/>
                  <a:pt x="2672" y="29"/>
                </a:cubicBezTo>
                <a:cubicBezTo>
                  <a:pt x="2672" y="27"/>
                  <a:pt x="2671" y="25"/>
                  <a:pt x="2671" y="23"/>
                </a:cubicBezTo>
                <a:cubicBezTo>
                  <a:pt x="2671" y="21"/>
                  <a:pt x="2671" y="20"/>
                  <a:pt x="2671" y="18"/>
                </a:cubicBezTo>
                <a:cubicBezTo>
                  <a:pt x="2671" y="15"/>
                  <a:pt x="2672" y="13"/>
                  <a:pt x="2676" y="13"/>
                </a:cubicBezTo>
                <a:cubicBezTo>
                  <a:pt x="2676" y="13"/>
                  <a:pt x="2676" y="13"/>
                  <a:pt x="2677" y="13"/>
                </a:cubicBezTo>
                <a:cubicBezTo>
                  <a:pt x="2677" y="13"/>
                  <a:pt x="2677" y="13"/>
                  <a:pt x="2677" y="3"/>
                </a:cubicBezTo>
                <a:cubicBezTo>
                  <a:pt x="2677" y="3"/>
                  <a:pt x="2677" y="3"/>
                  <a:pt x="2674" y="3"/>
                </a:cubicBezTo>
                <a:cubicBezTo>
                  <a:pt x="2664" y="3"/>
                  <a:pt x="2659" y="7"/>
                  <a:pt x="2659" y="16"/>
                </a:cubicBezTo>
                <a:cubicBezTo>
                  <a:pt x="2659" y="18"/>
                  <a:pt x="2659" y="21"/>
                  <a:pt x="2659" y="23"/>
                </a:cubicBezTo>
                <a:cubicBezTo>
                  <a:pt x="2660" y="26"/>
                  <a:pt x="2660" y="28"/>
                  <a:pt x="2660" y="30"/>
                </a:cubicBezTo>
                <a:cubicBezTo>
                  <a:pt x="2660" y="33"/>
                  <a:pt x="2659" y="36"/>
                  <a:pt x="2653" y="36"/>
                </a:cubicBezTo>
                <a:close/>
                <a:moveTo>
                  <a:pt x="2708" y="44"/>
                </a:moveTo>
                <a:cubicBezTo>
                  <a:pt x="2708" y="44"/>
                  <a:pt x="2708" y="44"/>
                  <a:pt x="2708" y="44"/>
                </a:cubicBezTo>
                <a:cubicBezTo>
                  <a:pt x="2708" y="36"/>
                  <a:pt x="2708" y="36"/>
                  <a:pt x="2708" y="36"/>
                </a:cubicBezTo>
                <a:cubicBezTo>
                  <a:pt x="2702" y="36"/>
                  <a:pt x="2701" y="33"/>
                  <a:pt x="2701" y="30"/>
                </a:cubicBezTo>
                <a:cubicBezTo>
                  <a:pt x="2701" y="28"/>
                  <a:pt x="2701" y="26"/>
                  <a:pt x="2702" y="23"/>
                </a:cubicBezTo>
                <a:cubicBezTo>
                  <a:pt x="2702" y="21"/>
                  <a:pt x="2702" y="18"/>
                  <a:pt x="2702" y="16"/>
                </a:cubicBezTo>
                <a:cubicBezTo>
                  <a:pt x="2702" y="7"/>
                  <a:pt x="2697" y="3"/>
                  <a:pt x="2688" y="3"/>
                </a:cubicBezTo>
                <a:cubicBezTo>
                  <a:pt x="2688" y="3"/>
                  <a:pt x="2688" y="3"/>
                  <a:pt x="2684" y="3"/>
                </a:cubicBezTo>
                <a:cubicBezTo>
                  <a:pt x="2684" y="3"/>
                  <a:pt x="2684" y="3"/>
                  <a:pt x="2684" y="13"/>
                </a:cubicBezTo>
                <a:cubicBezTo>
                  <a:pt x="2684" y="13"/>
                  <a:pt x="2684" y="13"/>
                  <a:pt x="2685" y="13"/>
                </a:cubicBezTo>
                <a:cubicBezTo>
                  <a:pt x="2689" y="13"/>
                  <a:pt x="2691" y="15"/>
                  <a:pt x="2691" y="18"/>
                </a:cubicBezTo>
                <a:cubicBezTo>
                  <a:pt x="2691" y="20"/>
                  <a:pt x="2690" y="21"/>
                  <a:pt x="2690" y="23"/>
                </a:cubicBezTo>
                <a:cubicBezTo>
                  <a:pt x="2690" y="25"/>
                  <a:pt x="2690" y="27"/>
                  <a:pt x="2690" y="29"/>
                </a:cubicBezTo>
                <a:cubicBezTo>
                  <a:pt x="2690" y="37"/>
                  <a:pt x="2693" y="39"/>
                  <a:pt x="2698" y="40"/>
                </a:cubicBezTo>
                <a:cubicBezTo>
                  <a:pt x="2698" y="40"/>
                  <a:pt x="2698" y="40"/>
                  <a:pt x="2698" y="40"/>
                </a:cubicBezTo>
                <a:cubicBezTo>
                  <a:pt x="2693" y="42"/>
                  <a:pt x="2690" y="44"/>
                  <a:pt x="2690" y="52"/>
                </a:cubicBezTo>
                <a:cubicBezTo>
                  <a:pt x="2690" y="54"/>
                  <a:pt x="2690" y="56"/>
                  <a:pt x="2690" y="57"/>
                </a:cubicBezTo>
                <a:cubicBezTo>
                  <a:pt x="2690" y="59"/>
                  <a:pt x="2691" y="61"/>
                  <a:pt x="2691" y="62"/>
                </a:cubicBezTo>
                <a:cubicBezTo>
                  <a:pt x="2691" y="66"/>
                  <a:pt x="2690" y="68"/>
                  <a:pt x="2685" y="68"/>
                </a:cubicBezTo>
                <a:cubicBezTo>
                  <a:pt x="2685" y="68"/>
                  <a:pt x="2685" y="68"/>
                  <a:pt x="2684" y="68"/>
                </a:cubicBezTo>
                <a:cubicBezTo>
                  <a:pt x="2684" y="68"/>
                  <a:pt x="2684" y="68"/>
                  <a:pt x="2684" y="77"/>
                </a:cubicBezTo>
                <a:cubicBezTo>
                  <a:pt x="2684" y="77"/>
                  <a:pt x="2684" y="77"/>
                  <a:pt x="2688" y="77"/>
                </a:cubicBezTo>
                <a:cubicBezTo>
                  <a:pt x="2697" y="77"/>
                  <a:pt x="2702" y="74"/>
                  <a:pt x="2702" y="65"/>
                </a:cubicBezTo>
                <a:cubicBezTo>
                  <a:pt x="2702" y="62"/>
                  <a:pt x="2702" y="60"/>
                  <a:pt x="2702" y="57"/>
                </a:cubicBezTo>
                <a:cubicBezTo>
                  <a:pt x="2701" y="55"/>
                  <a:pt x="2701" y="53"/>
                  <a:pt x="2701" y="50"/>
                </a:cubicBezTo>
                <a:cubicBezTo>
                  <a:pt x="2701" y="48"/>
                  <a:pt x="2702" y="45"/>
                  <a:pt x="2708" y="44"/>
                </a:cubicBezTo>
                <a:close/>
                <a:moveTo>
                  <a:pt x="2756" y="4"/>
                </a:moveTo>
                <a:cubicBezTo>
                  <a:pt x="2756" y="4"/>
                  <a:pt x="2756" y="4"/>
                  <a:pt x="2756" y="4"/>
                </a:cubicBezTo>
                <a:cubicBezTo>
                  <a:pt x="2750" y="4"/>
                  <a:pt x="2750" y="4"/>
                  <a:pt x="2750" y="4"/>
                </a:cubicBezTo>
                <a:cubicBezTo>
                  <a:pt x="2748" y="5"/>
                  <a:pt x="2747" y="7"/>
                  <a:pt x="2745" y="7"/>
                </a:cubicBezTo>
                <a:cubicBezTo>
                  <a:pt x="2743" y="9"/>
                  <a:pt x="2741" y="10"/>
                  <a:pt x="2740" y="10"/>
                </a:cubicBezTo>
                <a:cubicBezTo>
                  <a:pt x="2737" y="11"/>
                  <a:pt x="2736" y="12"/>
                  <a:pt x="2734" y="12"/>
                </a:cubicBezTo>
                <a:cubicBezTo>
                  <a:pt x="2732" y="13"/>
                  <a:pt x="2731" y="14"/>
                  <a:pt x="2729" y="15"/>
                </a:cubicBezTo>
                <a:cubicBezTo>
                  <a:pt x="2729" y="15"/>
                  <a:pt x="2729" y="15"/>
                  <a:pt x="2729" y="25"/>
                </a:cubicBezTo>
                <a:cubicBezTo>
                  <a:pt x="2732" y="24"/>
                  <a:pt x="2734" y="23"/>
                  <a:pt x="2737" y="22"/>
                </a:cubicBezTo>
                <a:cubicBezTo>
                  <a:pt x="2740" y="21"/>
                  <a:pt x="2742" y="20"/>
                  <a:pt x="2744" y="18"/>
                </a:cubicBezTo>
                <a:cubicBezTo>
                  <a:pt x="2744" y="18"/>
                  <a:pt x="2744" y="18"/>
                  <a:pt x="2744" y="77"/>
                </a:cubicBezTo>
                <a:cubicBezTo>
                  <a:pt x="2744" y="77"/>
                  <a:pt x="2744" y="77"/>
                  <a:pt x="2756" y="77"/>
                </a:cubicBezTo>
                <a:cubicBezTo>
                  <a:pt x="2756" y="77"/>
                  <a:pt x="2756" y="77"/>
                  <a:pt x="2756" y="4"/>
                </a:cubicBezTo>
                <a:close/>
                <a:moveTo>
                  <a:pt x="2803" y="4"/>
                </a:moveTo>
                <a:cubicBezTo>
                  <a:pt x="2803" y="4"/>
                  <a:pt x="2803" y="4"/>
                  <a:pt x="2803" y="4"/>
                </a:cubicBezTo>
                <a:cubicBezTo>
                  <a:pt x="2798" y="4"/>
                  <a:pt x="2798" y="4"/>
                  <a:pt x="2798" y="4"/>
                </a:cubicBezTo>
                <a:cubicBezTo>
                  <a:pt x="2795" y="5"/>
                  <a:pt x="2794" y="7"/>
                  <a:pt x="2792" y="7"/>
                </a:cubicBezTo>
                <a:cubicBezTo>
                  <a:pt x="2790" y="9"/>
                  <a:pt x="2788" y="10"/>
                  <a:pt x="2787" y="10"/>
                </a:cubicBezTo>
                <a:cubicBezTo>
                  <a:pt x="2785" y="12"/>
                  <a:pt x="2783" y="12"/>
                  <a:pt x="2782" y="13"/>
                </a:cubicBezTo>
                <a:cubicBezTo>
                  <a:pt x="2780" y="14"/>
                  <a:pt x="2778" y="15"/>
                  <a:pt x="2776" y="15"/>
                </a:cubicBezTo>
                <a:cubicBezTo>
                  <a:pt x="2776" y="15"/>
                  <a:pt x="2776" y="15"/>
                  <a:pt x="2776" y="25"/>
                </a:cubicBezTo>
                <a:cubicBezTo>
                  <a:pt x="2779" y="24"/>
                  <a:pt x="2782" y="23"/>
                  <a:pt x="2784" y="22"/>
                </a:cubicBezTo>
                <a:cubicBezTo>
                  <a:pt x="2787" y="21"/>
                  <a:pt x="2789" y="20"/>
                  <a:pt x="2791" y="18"/>
                </a:cubicBezTo>
                <a:cubicBezTo>
                  <a:pt x="2791" y="18"/>
                  <a:pt x="2791" y="18"/>
                  <a:pt x="2791" y="77"/>
                </a:cubicBezTo>
                <a:cubicBezTo>
                  <a:pt x="2791" y="77"/>
                  <a:pt x="2791" y="77"/>
                  <a:pt x="2803" y="77"/>
                </a:cubicBezTo>
                <a:cubicBezTo>
                  <a:pt x="2803" y="77"/>
                  <a:pt x="2803" y="77"/>
                  <a:pt x="2803" y="4"/>
                </a:cubicBezTo>
                <a:close/>
                <a:moveTo>
                  <a:pt x="2849" y="4"/>
                </a:moveTo>
                <a:cubicBezTo>
                  <a:pt x="2849" y="4"/>
                  <a:pt x="2849" y="4"/>
                  <a:pt x="2849" y="4"/>
                </a:cubicBezTo>
                <a:cubicBezTo>
                  <a:pt x="2845" y="4"/>
                  <a:pt x="2845" y="4"/>
                  <a:pt x="2845" y="4"/>
                </a:cubicBezTo>
                <a:cubicBezTo>
                  <a:pt x="2843" y="5"/>
                  <a:pt x="2841" y="7"/>
                  <a:pt x="2839" y="7"/>
                </a:cubicBezTo>
                <a:cubicBezTo>
                  <a:pt x="2838" y="9"/>
                  <a:pt x="2835" y="10"/>
                  <a:pt x="2834" y="10"/>
                </a:cubicBezTo>
                <a:cubicBezTo>
                  <a:pt x="2832" y="12"/>
                  <a:pt x="2830" y="12"/>
                  <a:pt x="2828" y="13"/>
                </a:cubicBezTo>
                <a:cubicBezTo>
                  <a:pt x="2827" y="14"/>
                  <a:pt x="2825" y="15"/>
                  <a:pt x="2823" y="15"/>
                </a:cubicBezTo>
                <a:cubicBezTo>
                  <a:pt x="2823" y="15"/>
                  <a:pt x="2823" y="15"/>
                  <a:pt x="2823" y="25"/>
                </a:cubicBezTo>
                <a:cubicBezTo>
                  <a:pt x="2826" y="24"/>
                  <a:pt x="2829" y="23"/>
                  <a:pt x="2831" y="22"/>
                </a:cubicBezTo>
                <a:cubicBezTo>
                  <a:pt x="2833" y="21"/>
                  <a:pt x="2836" y="20"/>
                  <a:pt x="2838" y="18"/>
                </a:cubicBezTo>
                <a:cubicBezTo>
                  <a:pt x="2838" y="18"/>
                  <a:pt x="2838" y="18"/>
                  <a:pt x="2838" y="77"/>
                </a:cubicBezTo>
                <a:cubicBezTo>
                  <a:pt x="2838" y="77"/>
                  <a:pt x="2838" y="77"/>
                  <a:pt x="2849" y="77"/>
                </a:cubicBezTo>
                <a:cubicBezTo>
                  <a:pt x="2849" y="77"/>
                  <a:pt x="2849" y="77"/>
                  <a:pt x="2849" y="4"/>
                </a:cubicBezTo>
                <a:close/>
                <a:moveTo>
                  <a:pt x="2972" y="4"/>
                </a:moveTo>
                <a:cubicBezTo>
                  <a:pt x="2972" y="4"/>
                  <a:pt x="2972" y="4"/>
                  <a:pt x="2972" y="4"/>
                </a:cubicBezTo>
                <a:cubicBezTo>
                  <a:pt x="2967" y="4"/>
                  <a:pt x="2967" y="4"/>
                  <a:pt x="2967" y="4"/>
                </a:cubicBezTo>
                <a:cubicBezTo>
                  <a:pt x="2965" y="5"/>
                  <a:pt x="2963" y="7"/>
                  <a:pt x="2961" y="7"/>
                </a:cubicBezTo>
                <a:cubicBezTo>
                  <a:pt x="2960" y="9"/>
                  <a:pt x="2958" y="10"/>
                  <a:pt x="2956" y="10"/>
                </a:cubicBezTo>
                <a:cubicBezTo>
                  <a:pt x="2955" y="12"/>
                  <a:pt x="2952" y="12"/>
                  <a:pt x="2951" y="13"/>
                </a:cubicBezTo>
                <a:cubicBezTo>
                  <a:pt x="2949" y="14"/>
                  <a:pt x="2947" y="15"/>
                  <a:pt x="2945" y="15"/>
                </a:cubicBezTo>
                <a:cubicBezTo>
                  <a:pt x="2945" y="15"/>
                  <a:pt x="2945" y="15"/>
                  <a:pt x="2945" y="25"/>
                </a:cubicBezTo>
                <a:cubicBezTo>
                  <a:pt x="2948" y="24"/>
                  <a:pt x="2951" y="23"/>
                  <a:pt x="2954" y="22"/>
                </a:cubicBezTo>
                <a:cubicBezTo>
                  <a:pt x="2956" y="21"/>
                  <a:pt x="2958" y="20"/>
                  <a:pt x="2960" y="18"/>
                </a:cubicBezTo>
                <a:cubicBezTo>
                  <a:pt x="2960" y="18"/>
                  <a:pt x="2960" y="18"/>
                  <a:pt x="2960" y="77"/>
                </a:cubicBezTo>
                <a:cubicBezTo>
                  <a:pt x="2960" y="77"/>
                  <a:pt x="2960" y="77"/>
                  <a:pt x="2972" y="77"/>
                </a:cubicBezTo>
                <a:cubicBezTo>
                  <a:pt x="2972" y="77"/>
                  <a:pt x="2972" y="77"/>
                  <a:pt x="2972" y="4"/>
                </a:cubicBezTo>
                <a:close/>
                <a:moveTo>
                  <a:pt x="3020" y="4"/>
                </a:moveTo>
                <a:cubicBezTo>
                  <a:pt x="3020" y="4"/>
                  <a:pt x="3020" y="4"/>
                  <a:pt x="3020" y="4"/>
                </a:cubicBezTo>
                <a:cubicBezTo>
                  <a:pt x="3014" y="4"/>
                  <a:pt x="3014" y="4"/>
                  <a:pt x="3014" y="4"/>
                </a:cubicBezTo>
                <a:cubicBezTo>
                  <a:pt x="3012" y="5"/>
                  <a:pt x="3011" y="7"/>
                  <a:pt x="3009" y="7"/>
                </a:cubicBezTo>
                <a:cubicBezTo>
                  <a:pt x="3007" y="9"/>
                  <a:pt x="3005" y="10"/>
                  <a:pt x="3004" y="10"/>
                </a:cubicBezTo>
                <a:cubicBezTo>
                  <a:pt x="3002" y="12"/>
                  <a:pt x="3000" y="12"/>
                  <a:pt x="2998" y="13"/>
                </a:cubicBezTo>
                <a:cubicBezTo>
                  <a:pt x="2996" y="14"/>
                  <a:pt x="2995" y="15"/>
                  <a:pt x="2993" y="15"/>
                </a:cubicBezTo>
                <a:cubicBezTo>
                  <a:pt x="2993" y="15"/>
                  <a:pt x="2993" y="15"/>
                  <a:pt x="2993" y="25"/>
                </a:cubicBezTo>
                <a:cubicBezTo>
                  <a:pt x="2996" y="24"/>
                  <a:pt x="2998" y="23"/>
                  <a:pt x="3001" y="22"/>
                </a:cubicBezTo>
                <a:cubicBezTo>
                  <a:pt x="3004" y="21"/>
                  <a:pt x="3006" y="20"/>
                  <a:pt x="3008" y="18"/>
                </a:cubicBezTo>
                <a:cubicBezTo>
                  <a:pt x="3008" y="18"/>
                  <a:pt x="3008" y="18"/>
                  <a:pt x="3008" y="77"/>
                </a:cubicBezTo>
                <a:cubicBezTo>
                  <a:pt x="3008" y="77"/>
                  <a:pt x="3008" y="77"/>
                  <a:pt x="3020" y="77"/>
                </a:cubicBezTo>
                <a:cubicBezTo>
                  <a:pt x="3020" y="77"/>
                  <a:pt x="3020" y="77"/>
                  <a:pt x="3020" y="4"/>
                </a:cubicBezTo>
                <a:close/>
                <a:moveTo>
                  <a:pt x="3066" y="4"/>
                </a:moveTo>
                <a:cubicBezTo>
                  <a:pt x="3066" y="4"/>
                  <a:pt x="3066" y="4"/>
                  <a:pt x="3066" y="4"/>
                </a:cubicBezTo>
                <a:cubicBezTo>
                  <a:pt x="3062" y="4"/>
                  <a:pt x="3062" y="4"/>
                  <a:pt x="3062" y="4"/>
                </a:cubicBezTo>
                <a:cubicBezTo>
                  <a:pt x="3060" y="5"/>
                  <a:pt x="3058" y="7"/>
                  <a:pt x="3056" y="7"/>
                </a:cubicBezTo>
                <a:cubicBezTo>
                  <a:pt x="3055" y="9"/>
                  <a:pt x="3052" y="10"/>
                  <a:pt x="3051" y="10"/>
                </a:cubicBezTo>
                <a:cubicBezTo>
                  <a:pt x="3049" y="11"/>
                  <a:pt x="3047" y="12"/>
                  <a:pt x="3045" y="12"/>
                </a:cubicBezTo>
                <a:cubicBezTo>
                  <a:pt x="3044" y="13"/>
                  <a:pt x="3042" y="14"/>
                  <a:pt x="3040" y="15"/>
                </a:cubicBezTo>
                <a:cubicBezTo>
                  <a:pt x="3040" y="15"/>
                  <a:pt x="3040" y="15"/>
                  <a:pt x="3040" y="25"/>
                </a:cubicBezTo>
                <a:cubicBezTo>
                  <a:pt x="3043" y="24"/>
                  <a:pt x="3046" y="23"/>
                  <a:pt x="3048" y="22"/>
                </a:cubicBezTo>
                <a:cubicBezTo>
                  <a:pt x="3050" y="21"/>
                  <a:pt x="3053" y="20"/>
                  <a:pt x="3055" y="18"/>
                </a:cubicBezTo>
                <a:cubicBezTo>
                  <a:pt x="3055" y="18"/>
                  <a:pt x="3055" y="18"/>
                  <a:pt x="3055" y="77"/>
                </a:cubicBezTo>
                <a:cubicBezTo>
                  <a:pt x="3055" y="77"/>
                  <a:pt x="3055" y="77"/>
                  <a:pt x="3066" y="77"/>
                </a:cubicBezTo>
                <a:cubicBezTo>
                  <a:pt x="3066" y="77"/>
                  <a:pt x="3066" y="77"/>
                  <a:pt x="3066" y="4"/>
                </a:cubicBezTo>
                <a:close/>
                <a:moveTo>
                  <a:pt x="3111" y="77"/>
                </a:moveTo>
                <a:cubicBezTo>
                  <a:pt x="3104" y="77"/>
                  <a:pt x="3097" y="74"/>
                  <a:pt x="3093" y="68"/>
                </a:cubicBezTo>
                <a:cubicBezTo>
                  <a:pt x="3089" y="62"/>
                  <a:pt x="3087" y="53"/>
                  <a:pt x="3087" y="41"/>
                </a:cubicBezTo>
                <a:cubicBezTo>
                  <a:pt x="3087" y="28"/>
                  <a:pt x="3089" y="18"/>
                  <a:pt x="3093" y="12"/>
                </a:cubicBezTo>
                <a:cubicBezTo>
                  <a:pt x="3098" y="5"/>
                  <a:pt x="3104" y="1"/>
                  <a:pt x="3113" y="1"/>
                </a:cubicBezTo>
                <a:cubicBezTo>
                  <a:pt x="3129" y="1"/>
                  <a:pt x="3137" y="14"/>
                  <a:pt x="3137" y="39"/>
                </a:cubicBezTo>
                <a:cubicBezTo>
                  <a:pt x="3137" y="52"/>
                  <a:pt x="3135" y="61"/>
                  <a:pt x="3130" y="68"/>
                </a:cubicBezTo>
                <a:cubicBezTo>
                  <a:pt x="3125" y="74"/>
                  <a:pt x="3119" y="77"/>
                  <a:pt x="3111" y="77"/>
                </a:cubicBezTo>
                <a:close/>
                <a:moveTo>
                  <a:pt x="3112" y="11"/>
                </a:moveTo>
                <a:cubicBezTo>
                  <a:pt x="3103" y="11"/>
                  <a:pt x="3098" y="21"/>
                  <a:pt x="3098" y="41"/>
                </a:cubicBezTo>
                <a:cubicBezTo>
                  <a:pt x="3098" y="59"/>
                  <a:pt x="3103" y="68"/>
                  <a:pt x="3112" y="68"/>
                </a:cubicBezTo>
                <a:cubicBezTo>
                  <a:pt x="3120" y="68"/>
                  <a:pt x="3125" y="59"/>
                  <a:pt x="3125" y="40"/>
                </a:cubicBezTo>
                <a:cubicBezTo>
                  <a:pt x="3125" y="20"/>
                  <a:pt x="3120" y="11"/>
                  <a:pt x="3112" y="11"/>
                </a:cubicBezTo>
                <a:close/>
                <a:moveTo>
                  <a:pt x="3182" y="77"/>
                </a:moveTo>
                <a:cubicBezTo>
                  <a:pt x="3174" y="77"/>
                  <a:pt x="3168" y="74"/>
                  <a:pt x="3164" y="68"/>
                </a:cubicBezTo>
                <a:cubicBezTo>
                  <a:pt x="3160" y="62"/>
                  <a:pt x="3157" y="53"/>
                  <a:pt x="3157" y="41"/>
                </a:cubicBezTo>
                <a:cubicBezTo>
                  <a:pt x="3157" y="28"/>
                  <a:pt x="3160" y="18"/>
                  <a:pt x="3164" y="12"/>
                </a:cubicBezTo>
                <a:cubicBezTo>
                  <a:pt x="3168" y="5"/>
                  <a:pt x="3175" y="1"/>
                  <a:pt x="3184" y="1"/>
                </a:cubicBezTo>
                <a:cubicBezTo>
                  <a:pt x="3200" y="1"/>
                  <a:pt x="3208" y="14"/>
                  <a:pt x="3208" y="39"/>
                </a:cubicBezTo>
                <a:cubicBezTo>
                  <a:pt x="3208" y="52"/>
                  <a:pt x="3206" y="61"/>
                  <a:pt x="3202" y="68"/>
                </a:cubicBezTo>
                <a:cubicBezTo>
                  <a:pt x="3196" y="74"/>
                  <a:pt x="3190" y="77"/>
                  <a:pt x="3182" y="77"/>
                </a:cubicBezTo>
                <a:close/>
                <a:moveTo>
                  <a:pt x="3183" y="11"/>
                </a:moveTo>
                <a:cubicBezTo>
                  <a:pt x="3174" y="11"/>
                  <a:pt x="3169" y="21"/>
                  <a:pt x="3169" y="41"/>
                </a:cubicBezTo>
                <a:cubicBezTo>
                  <a:pt x="3169" y="59"/>
                  <a:pt x="3174" y="68"/>
                  <a:pt x="3182" y="68"/>
                </a:cubicBezTo>
                <a:cubicBezTo>
                  <a:pt x="3191" y="68"/>
                  <a:pt x="3196" y="59"/>
                  <a:pt x="3196" y="40"/>
                </a:cubicBezTo>
                <a:cubicBezTo>
                  <a:pt x="3196" y="20"/>
                  <a:pt x="3191" y="11"/>
                  <a:pt x="3183" y="11"/>
                </a:cubicBezTo>
                <a:close/>
                <a:moveTo>
                  <a:pt x="2870" y="36"/>
                </a:moveTo>
                <a:cubicBezTo>
                  <a:pt x="2870" y="36"/>
                  <a:pt x="2870" y="36"/>
                  <a:pt x="2870" y="36"/>
                </a:cubicBezTo>
                <a:cubicBezTo>
                  <a:pt x="2869" y="44"/>
                  <a:pt x="2869" y="44"/>
                  <a:pt x="2869" y="44"/>
                </a:cubicBezTo>
                <a:cubicBezTo>
                  <a:pt x="2876" y="45"/>
                  <a:pt x="2876" y="48"/>
                  <a:pt x="2876" y="50"/>
                </a:cubicBezTo>
                <a:cubicBezTo>
                  <a:pt x="2876" y="53"/>
                  <a:pt x="2876" y="55"/>
                  <a:pt x="2876" y="57"/>
                </a:cubicBezTo>
                <a:cubicBezTo>
                  <a:pt x="2876" y="60"/>
                  <a:pt x="2875" y="62"/>
                  <a:pt x="2875" y="65"/>
                </a:cubicBezTo>
                <a:cubicBezTo>
                  <a:pt x="2875" y="74"/>
                  <a:pt x="2881" y="77"/>
                  <a:pt x="2890" y="77"/>
                </a:cubicBezTo>
                <a:cubicBezTo>
                  <a:pt x="2890" y="77"/>
                  <a:pt x="2890" y="77"/>
                  <a:pt x="2894" y="77"/>
                </a:cubicBezTo>
                <a:cubicBezTo>
                  <a:pt x="2894" y="77"/>
                  <a:pt x="2894" y="77"/>
                  <a:pt x="2894" y="68"/>
                </a:cubicBezTo>
                <a:cubicBezTo>
                  <a:pt x="2894" y="68"/>
                  <a:pt x="2894" y="68"/>
                  <a:pt x="2892" y="68"/>
                </a:cubicBezTo>
                <a:cubicBezTo>
                  <a:pt x="2889" y="68"/>
                  <a:pt x="2887" y="66"/>
                  <a:pt x="2887" y="62"/>
                </a:cubicBezTo>
                <a:cubicBezTo>
                  <a:pt x="2887" y="61"/>
                  <a:pt x="2887" y="59"/>
                  <a:pt x="2888" y="57"/>
                </a:cubicBezTo>
                <a:cubicBezTo>
                  <a:pt x="2888" y="56"/>
                  <a:pt x="2888" y="54"/>
                  <a:pt x="2888" y="52"/>
                </a:cubicBezTo>
                <a:cubicBezTo>
                  <a:pt x="2888" y="44"/>
                  <a:pt x="2885" y="42"/>
                  <a:pt x="2879" y="40"/>
                </a:cubicBezTo>
                <a:cubicBezTo>
                  <a:pt x="2879" y="40"/>
                  <a:pt x="2879" y="40"/>
                  <a:pt x="2879" y="40"/>
                </a:cubicBezTo>
                <a:cubicBezTo>
                  <a:pt x="2885" y="39"/>
                  <a:pt x="2888" y="37"/>
                  <a:pt x="2888" y="29"/>
                </a:cubicBezTo>
                <a:cubicBezTo>
                  <a:pt x="2888" y="27"/>
                  <a:pt x="2888" y="25"/>
                  <a:pt x="2888" y="23"/>
                </a:cubicBezTo>
                <a:cubicBezTo>
                  <a:pt x="2887" y="21"/>
                  <a:pt x="2887" y="20"/>
                  <a:pt x="2887" y="18"/>
                </a:cubicBezTo>
                <a:cubicBezTo>
                  <a:pt x="2887" y="15"/>
                  <a:pt x="2889" y="13"/>
                  <a:pt x="2892" y="13"/>
                </a:cubicBezTo>
                <a:cubicBezTo>
                  <a:pt x="2892" y="13"/>
                  <a:pt x="2892" y="13"/>
                  <a:pt x="2894" y="13"/>
                </a:cubicBezTo>
                <a:cubicBezTo>
                  <a:pt x="2894" y="13"/>
                  <a:pt x="2894" y="13"/>
                  <a:pt x="2894" y="3"/>
                </a:cubicBezTo>
                <a:cubicBezTo>
                  <a:pt x="2894" y="3"/>
                  <a:pt x="2894" y="3"/>
                  <a:pt x="2890" y="3"/>
                </a:cubicBezTo>
                <a:cubicBezTo>
                  <a:pt x="2881" y="3"/>
                  <a:pt x="2875" y="7"/>
                  <a:pt x="2875" y="16"/>
                </a:cubicBezTo>
                <a:cubicBezTo>
                  <a:pt x="2875" y="18"/>
                  <a:pt x="2876" y="21"/>
                  <a:pt x="2876" y="23"/>
                </a:cubicBezTo>
                <a:cubicBezTo>
                  <a:pt x="2876" y="26"/>
                  <a:pt x="2876" y="28"/>
                  <a:pt x="2876" y="30"/>
                </a:cubicBezTo>
                <a:cubicBezTo>
                  <a:pt x="2876" y="33"/>
                  <a:pt x="2876" y="36"/>
                  <a:pt x="2870" y="36"/>
                </a:cubicBezTo>
                <a:close/>
                <a:moveTo>
                  <a:pt x="2924" y="44"/>
                </a:moveTo>
                <a:cubicBezTo>
                  <a:pt x="2924" y="44"/>
                  <a:pt x="2924" y="44"/>
                  <a:pt x="2924" y="44"/>
                </a:cubicBezTo>
                <a:cubicBezTo>
                  <a:pt x="2924" y="36"/>
                  <a:pt x="2924" y="36"/>
                  <a:pt x="2924" y="36"/>
                </a:cubicBezTo>
                <a:cubicBezTo>
                  <a:pt x="2918" y="36"/>
                  <a:pt x="2918" y="33"/>
                  <a:pt x="2918" y="30"/>
                </a:cubicBezTo>
                <a:cubicBezTo>
                  <a:pt x="2918" y="28"/>
                  <a:pt x="2918" y="26"/>
                  <a:pt x="2918" y="23"/>
                </a:cubicBezTo>
                <a:cubicBezTo>
                  <a:pt x="2919" y="21"/>
                  <a:pt x="2919" y="18"/>
                  <a:pt x="2919" y="16"/>
                </a:cubicBezTo>
                <a:cubicBezTo>
                  <a:pt x="2919" y="7"/>
                  <a:pt x="2913" y="3"/>
                  <a:pt x="2904" y="3"/>
                </a:cubicBezTo>
                <a:cubicBezTo>
                  <a:pt x="2904" y="3"/>
                  <a:pt x="2904" y="3"/>
                  <a:pt x="2900" y="3"/>
                </a:cubicBezTo>
                <a:cubicBezTo>
                  <a:pt x="2900" y="3"/>
                  <a:pt x="2900" y="3"/>
                  <a:pt x="2900" y="13"/>
                </a:cubicBezTo>
                <a:cubicBezTo>
                  <a:pt x="2900" y="13"/>
                  <a:pt x="2900" y="13"/>
                  <a:pt x="2902" y="13"/>
                </a:cubicBezTo>
                <a:cubicBezTo>
                  <a:pt x="2906" y="13"/>
                  <a:pt x="2907" y="15"/>
                  <a:pt x="2907" y="18"/>
                </a:cubicBezTo>
                <a:cubicBezTo>
                  <a:pt x="2907" y="20"/>
                  <a:pt x="2907" y="21"/>
                  <a:pt x="2907" y="23"/>
                </a:cubicBezTo>
                <a:cubicBezTo>
                  <a:pt x="2906" y="25"/>
                  <a:pt x="2906" y="27"/>
                  <a:pt x="2906" y="29"/>
                </a:cubicBezTo>
                <a:cubicBezTo>
                  <a:pt x="2906" y="37"/>
                  <a:pt x="2909" y="39"/>
                  <a:pt x="2915" y="40"/>
                </a:cubicBezTo>
                <a:cubicBezTo>
                  <a:pt x="2915" y="40"/>
                  <a:pt x="2915" y="40"/>
                  <a:pt x="2915" y="40"/>
                </a:cubicBezTo>
                <a:cubicBezTo>
                  <a:pt x="2909" y="42"/>
                  <a:pt x="2906" y="44"/>
                  <a:pt x="2906" y="52"/>
                </a:cubicBezTo>
                <a:cubicBezTo>
                  <a:pt x="2906" y="54"/>
                  <a:pt x="2906" y="56"/>
                  <a:pt x="2907" y="57"/>
                </a:cubicBezTo>
                <a:cubicBezTo>
                  <a:pt x="2907" y="59"/>
                  <a:pt x="2907" y="61"/>
                  <a:pt x="2907" y="62"/>
                </a:cubicBezTo>
                <a:cubicBezTo>
                  <a:pt x="2907" y="66"/>
                  <a:pt x="2906" y="68"/>
                  <a:pt x="2902" y="68"/>
                </a:cubicBezTo>
                <a:cubicBezTo>
                  <a:pt x="2902" y="68"/>
                  <a:pt x="2902" y="68"/>
                  <a:pt x="2900" y="68"/>
                </a:cubicBezTo>
                <a:cubicBezTo>
                  <a:pt x="2900" y="68"/>
                  <a:pt x="2900" y="68"/>
                  <a:pt x="2900" y="77"/>
                </a:cubicBezTo>
                <a:cubicBezTo>
                  <a:pt x="2900" y="77"/>
                  <a:pt x="2900" y="77"/>
                  <a:pt x="2904" y="77"/>
                </a:cubicBezTo>
                <a:cubicBezTo>
                  <a:pt x="2913" y="77"/>
                  <a:pt x="2919" y="74"/>
                  <a:pt x="2919" y="65"/>
                </a:cubicBezTo>
                <a:cubicBezTo>
                  <a:pt x="2919" y="62"/>
                  <a:pt x="2919" y="60"/>
                  <a:pt x="2918" y="57"/>
                </a:cubicBezTo>
                <a:cubicBezTo>
                  <a:pt x="2918" y="55"/>
                  <a:pt x="2918" y="53"/>
                  <a:pt x="2918" y="50"/>
                </a:cubicBezTo>
                <a:cubicBezTo>
                  <a:pt x="2918" y="48"/>
                  <a:pt x="2918" y="45"/>
                  <a:pt x="2924" y="44"/>
                </a:cubicBezTo>
                <a:close/>
                <a:moveTo>
                  <a:pt x="3685" y="44"/>
                </a:moveTo>
                <a:cubicBezTo>
                  <a:pt x="3685" y="44"/>
                  <a:pt x="3685" y="44"/>
                  <a:pt x="3685" y="44"/>
                </a:cubicBezTo>
                <a:cubicBezTo>
                  <a:pt x="3685" y="36"/>
                  <a:pt x="3685" y="36"/>
                  <a:pt x="3685" y="36"/>
                </a:cubicBezTo>
                <a:cubicBezTo>
                  <a:pt x="3679" y="36"/>
                  <a:pt x="3678" y="33"/>
                  <a:pt x="3678" y="30"/>
                </a:cubicBezTo>
                <a:cubicBezTo>
                  <a:pt x="3678" y="28"/>
                  <a:pt x="3678" y="26"/>
                  <a:pt x="3679" y="23"/>
                </a:cubicBezTo>
                <a:cubicBezTo>
                  <a:pt x="3679" y="21"/>
                  <a:pt x="3679" y="18"/>
                  <a:pt x="3679" y="16"/>
                </a:cubicBezTo>
                <a:cubicBezTo>
                  <a:pt x="3679" y="7"/>
                  <a:pt x="3674" y="3"/>
                  <a:pt x="3665" y="3"/>
                </a:cubicBezTo>
                <a:cubicBezTo>
                  <a:pt x="3665" y="3"/>
                  <a:pt x="3665" y="3"/>
                  <a:pt x="3661" y="3"/>
                </a:cubicBezTo>
                <a:cubicBezTo>
                  <a:pt x="3661" y="3"/>
                  <a:pt x="3661" y="3"/>
                  <a:pt x="3661" y="13"/>
                </a:cubicBezTo>
                <a:cubicBezTo>
                  <a:pt x="3661" y="13"/>
                  <a:pt x="3661" y="13"/>
                  <a:pt x="3662" y="13"/>
                </a:cubicBezTo>
                <a:cubicBezTo>
                  <a:pt x="3666" y="13"/>
                  <a:pt x="3667" y="15"/>
                  <a:pt x="3667" y="18"/>
                </a:cubicBezTo>
                <a:cubicBezTo>
                  <a:pt x="3667" y="20"/>
                  <a:pt x="3667" y="21"/>
                  <a:pt x="3667" y="23"/>
                </a:cubicBezTo>
                <a:cubicBezTo>
                  <a:pt x="3667" y="25"/>
                  <a:pt x="3667" y="27"/>
                  <a:pt x="3667" y="29"/>
                </a:cubicBezTo>
                <a:cubicBezTo>
                  <a:pt x="3667" y="37"/>
                  <a:pt x="3669" y="39"/>
                  <a:pt x="3675" y="40"/>
                </a:cubicBezTo>
                <a:cubicBezTo>
                  <a:pt x="3675" y="40"/>
                  <a:pt x="3675" y="40"/>
                  <a:pt x="3675" y="40"/>
                </a:cubicBezTo>
                <a:cubicBezTo>
                  <a:pt x="3669" y="42"/>
                  <a:pt x="3667" y="44"/>
                  <a:pt x="3667" y="52"/>
                </a:cubicBezTo>
                <a:cubicBezTo>
                  <a:pt x="3667" y="54"/>
                  <a:pt x="3667" y="56"/>
                  <a:pt x="3667" y="57"/>
                </a:cubicBezTo>
                <a:cubicBezTo>
                  <a:pt x="3667" y="59"/>
                  <a:pt x="3667" y="61"/>
                  <a:pt x="3667" y="62"/>
                </a:cubicBezTo>
                <a:cubicBezTo>
                  <a:pt x="3667" y="66"/>
                  <a:pt x="3666" y="68"/>
                  <a:pt x="3662" y="68"/>
                </a:cubicBezTo>
                <a:cubicBezTo>
                  <a:pt x="3662" y="68"/>
                  <a:pt x="3662" y="68"/>
                  <a:pt x="3661" y="68"/>
                </a:cubicBezTo>
                <a:cubicBezTo>
                  <a:pt x="3661" y="68"/>
                  <a:pt x="3661" y="68"/>
                  <a:pt x="3661" y="77"/>
                </a:cubicBezTo>
                <a:cubicBezTo>
                  <a:pt x="3661" y="77"/>
                  <a:pt x="3661" y="77"/>
                  <a:pt x="3665" y="77"/>
                </a:cubicBezTo>
                <a:cubicBezTo>
                  <a:pt x="3673" y="77"/>
                  <a:pt x="3679" y="74"/>
                  <a:pt x="3679" y="65"/>
                </a:cubicBezTo>
                <a:cubicBezTo>
                  <a:pt x="3679" y="62"/>
                  <a:pt x="3679" y="60"/>
                  <a:pt x="3679" y="57"/>
                </a:cubicBezTo>
                <a:cubicBezTo>
                  <a:pt x="3678" y="55"/>
                  <a:pt x="3678" y="53"/>
                  <a:pt x="3678" y="50"/>
                </a:cubicBezTo>
                <a:cubicBezTo>
                  <a:pt x="3678" y="48"/>
                  <a:pt x="3679" y="45"/>
                  <a:pt x="3685" y="44"/>
                </a:cubicBezTo>
                <a:close/>
                <a:moveTo>
                  <a:pt x="3805" y="77"/>
                </a:moveTo>
                <a:cubicBezTo>
                  <a:pt x="3798" y="77"/>
                  <a:pt x="3791" y="74"/>
                  <a:pt x="3787" y="68"/>
                </a:cubicBezTo>
                <a:cubicBezTo>
                  <a:pt x="3783" y="62"/>
                  <a:pt x="3781" y="53"/>
                  <a:pt x="3781" y="41"/>
                </a:cubicBezTo>
                <a:cubicBezTo>
                  <a:pt x="3781" y="28"/>
                  <a:pt x="3783" y="18"/>
                  <a:pt x="3787" y="12"/>
                </a:cubicBezTo>
                <a:cubicBezTo>
                  <a:pt x="3792" y="5"/>
                  <a:pt x="3798" y="1"/>
                  <a:pt x="3807" y="1"/>
                </a:cubicBezTo>
                <a:cubicBezTo>
                  <a:pt x="3823" y="1"/>
                  <a:pt x="3831" y="14"/>
                  <a:pt x="3831" y="39"/>
                </a:cubicBezTo>
                <a:cubicBezTo>
                  <a:pt x="3831" y="52"/>
                  <a:pt x="3829" y="61"/>
                  <a:pt x="3824" y="68"/>
                </a:cubicBezTo>
                <a:cubicBezTo>
                  <a:pt x="3820" y="74"/>
                  <a:pt x="3813" y="77"/>
                  <a:pt x="3805" y="77"/>
                </a:cubicBezTo>
                <a:close/>
                <a:moveTo>
                  <a:pt x="3806" y="11"/>
                </a:moveTo>
                <a:cubicBezTo>
                  <a:pt x="3797" y="11"/>
                  <a:pt x="3793" y="21"/>
                  <a:pt x="3793" y="41"/>
                </a:cubicBezTo>
                <a:cubicBezTo>
                  <a:pt x="3793" y="59"/>
                  <a:pt x="3797" y="68"/>
                  <a:pt x="3806" y="68"/>
                </a:cubicBezTo>
                <a:cubicBezTo>
                  <a:pt x="3814" y="68"/>
                  <a:pt x="3819" y="59"/>
                  <a:pt x="3819" y="40"/>
                </a:cubicBezTo>
                <a:cubicBezTo>
                  <a:pt x="3819" y="20"/>
                  <a:pt x="3814" y="11"/>
                  <a:pt x="3806" y="11"/>
                </a:cubicBezTo>
                <a:close/>
                <a:moveTo>
                  <a:pt x="3711" y="77"/>
                </a:moveTo>
                <a:cubicBezTo>
                  <a:pt x="3714" y="58"/>
                  <a:pt x="3714" y="58"/>
                  <a:pt x="3714" y="58"/>
                </a:cubicBezTo>
                <a:cubicBezTo>
                  <a:pt x="3705" y="58"/>
                  <a:pt x="3705" y="58"/>
                  <a:pt x="3705" y="58"/>
                </a:cubicBezTo>
                <a:cubicBezTo>
                  <a:pt x="3705" y="46"/>
                  <a:pt x="3705" y="46"/>
                  <a:pt x="3705" y="46"/>
                </a:cubicBezTo>
                <a:cubicBezTo>
                  <a:pt x="3716" y="46"/>
                  <a:pt x="3716" y="46"/>
                  <a:pt x="3716" y="46"/>
                </a:cubicBezTo>
                <a:cubicBezTo>
                  <a:pt x="3718" y="35"/>
                  <a:pt x="3718" y="35"/>
                  <a:pt x="3718" y="35"/>
                </a:cubicBezTo>
                <a:cubicBezTo>
                  <a:pt x="3708" y="35"/>
                  <a:pt x="3708" y="35"/>
                  <a:pt x="3708" y="35"/>
                </a:cubicBezTo>
                <a:cubicBezTo>
                  <a:pt x="3708" y="23"/>
                  <a:pt x="3708" y="23"/>
                  <a:pt x="3708" y="23"/>
                </a:cubicBezTo>
                <a:cubicBezTo>
                  <a:pt x="3720" y="23"/>
                  <a:pt x="3720" y="23"/>
                  <a:pt x="3720" y="23"/>
                </a:cubicBezTo>
                <a:cubicBezTo>
                  <a:pt x="3722" y="5"/>
                  <a:pt x="3722" y="5"/>
                  <a:pt x="3722" y="5"/>
                </a:cubicBezTo>
                <a:cubicBezTo>
                  <a:pt x="3734" y="5"/>
                  <a:pt x="3734" y="5"/>
                  <a:pt x="3734" y="5"/>
                </a:cubicBezTo>
                <a:cubicBezTo>
                  <a:pt x="3731" y="23"/>
                  <a:pt x="3731" y="23"/>
                  <a:pt x="3731" y="23"/>
                </a:cubicBezTo>
                <a:cubicBezTo>
                  <a:pt x="3740" y="23"/>
                  <a:pt x="3740" y="23"/>
                  <a:pt x="3740" y="23"/>
                </a:cubicBezTo>
                <a:cubicBezTo>
                  <a:pt x="3743" y="5"/>
                  <a:pt x="3743" y="5"/>
                  <a:pt x="3743" y="5"/>
                </a:cubicBezTo>
                <a:cubicBezTo>
                  <a:pt x="3754" y="5"/>
                  <a:pt x="3754" y="5"/>
                  <a:pt x="3754" y="5"/>
                </a:cubicBezTo>
                <a:cubicBezTo>
                  <a:pt x="3751" y="23"/>
                  <a:pt x="3751" y="23"/>
                  <a:pt x="3751" y="23"/>
                </a:cubicBezTo>
                <a:cubicBezTo>
                  <a:pt x="3760" y="23"/>
                  <a:pt x="3760" y="23"/>
                  <a:pt x="3760" y="23"/>
                </a:cubicBezTo>
                <a:cubicBezTo>
                  <a:pt x="3760" y="35"/>
                  <a:pt x="3760" y="35"/>
                  <a:pt x="3760" y="35"/>
                </a:cubicBezTo>
                <a:cubicBezTo>
                  <a:pt x="3750" y="35"/>
                  <a:pt x="3750" y="35"/>
                  <a:pt x="3750" y="35"/>
                </a:cubicBezTo>
                <a:cubicBezTo>
                  <a:pt x="3748" y="46"/>
                  <a:pt x="3748" y="46"/>
                  <a:pt x="3748" y="46"/>
                </a:cubicBezTo>
                <a:cubicBezTo>
                  <a:pt x="3757" y="46"/>
                  <a:pt x="3757" y="46"/>
                  <a:pt x="3757" y="46"/>
                </a:cubicBezTo>
                <a:cubicBezTo>
                  <a:pt x="3757" y="58"/>
                  <a:pt x="3757" y="58"/>
                  <a:pt x="3757" y="58"/>
                </a:cubicBezTo>
                <a:cubicBezTo>
                  <a:pt x="3746" y="58"/>
                  <a:pt x="3746" y="58"/>
                  <a:pt x="3746" y="58"/>
                </a:cubicBezTo>
                <a:cubicBezTo>
                  <a:pt x="3743" y="77"/>
                  <a:pt x="3743" y="77"/>
                  <a:pt x="3743" y="77"/>
                </a:cubicBezTo>
                <a:cubicBezTo>
                  <a:pt x="3732" y="77"/>
                  <a:pt x="3732" y="77"/>
                  <a:pt x="3732" y="77"/>
                </a:cubicBezTo>
                <a:cubicBezTo>
                  <a:pt x="3735" y="58"/>
                  <a:pt x="3735" y="58"/>
                  <a:pt x="3735" y="58"/>
                </a:cubicBezTo>
                <a:cubicBezTo>
                  <a:pt x="3725" y="58"/>
                  <a:pt x="3725" y="58"/>
                  <a:pt x="3725" y="58"/>
                </a:cubicBezTo>
                <a:cubicBezTo>
                  <a:pt x="3723" y="77"/>
                  <a:pt x="3723" y="77"/>
                  <a:pt x="3723" y="77"/>
                </a:cubicBezTo>
                <a:cubicBezTo>
                  <a:pt x="3711" y="77"/>
                  <a:pt x="3711" y="77"/>
                  <a:pt x="3711" y="77"/>
                </a:cubicBezTo>
                <a:cubicBezTo>
                  <a:pt x="3711" y="77"/>
                  <a:pt x="3711" y="77"/>
                  <a:pt x="3711" y="77"/>
                </a:cubicBezTo>
                <a:close/>
                <a:moveTo>
                  <a:pt x="3737" y="46"/>
                </a:moveTo>
                <a:cubicBezTo>
                  <a:pt x="3738" y="35"/>
                  <a:pt x="3738" y="35"/>
                  <a:pt x="3738" y="35"/>
                </a:cubicBezTo>
                <a:cubicBezTo>
                  <a:pt x="3729" y="35"/>
                  <a:pt x="3729" y="35"/>
                  <a:pt x="3729" y="35"/>
                </a:cubicBezTo>
                <a:cubicBezTo>
                  <a:pt x="3727" y="46"/>
                  <a:pt x="3727" y="46"/>
                  <a:pt x="3727" y="46"/>
                </a:cubicBezTo>
                <a:cubicBezTo>
                  <a:pt x="3737" y="46"/>
                  <a:pt x="3737" y="46"/>
                  <a:pt x="3737" y="46"/>
                </a:cubicBezTo>
                <a:cubicBezTo>
                  <a:pt x="3737" y="46"/>
                  <a:pt x="3737" y="46"/>
                  <a:pt x="3737" y="46"/>
                </a:cubicBezTo>
                <a:close/>
                <a:moveTo>
                  <a:pt x="2596" y="51"/>
                </a:moveTo>
                <a:cubicBezTo>
                  <a:pt x="2596" y="53"/>
                  <a:pt x="2597" y="54"/>
                  <a:pt x="2598" y="55"/>
                </a:cubicBezTo>
                <a:cubicBezTo>
                  <a:pt x="2598" y="57"/>
                  <a:pt x="2598" y="59"/>
                  <a:pt x="2599" y="61"/>
                </a:cubicBezTo>
                <a:cubicBezTo>
                  <a:pt x="2599" y="62"/>
                  <a:pt x="2599" y="64"/>
                  <a:pt x="2599" y="65"/>
                </a:cubicBezTo>
                <a:cubicBezTo>
                  <a:pt x="2600" y="68"/>
                  <a:pt x="2599" y="70"/>
                  <a:pt x="2596" y="70"/>
                </a:cubicBezTo>
                <a:cubicBezTo>
                  <a:pt x="2593" y="70"/>
                  <a:pt x="2590" y="70"/>
                  <a:pt x="2587" y="70"/>
                </a:cubicBezTo>
                <a:cubicBezTo>
                  <a:pt x="2587" y="70"/>
                  <a:pt x="2586" y="70"/>
                  <a:pt x="2586" y="70"/>
                </a:cubicBezTo>
                <a:cubicBezTo>
                  <a:pt x="2584" y="72"/>
                  <a:pt x="2583" y="73"/>
                  <a:pt x="2581" y="74"/>
                </a:cubicBezTo>
                <a:cubicBezTo>
                  <a:pt x="2579" y="77"/>
                  <a:pt x="2576" y="77"/>
                  <a:pt x="2574" y="75"/>
                </a:cubicBezTo>
                <a:cubicBezTo>
                  <a:pt x="2572" y="73"/>
                  <a:pt x="2571" y="70"/>
                  <a:pt x="2569" y="68"/>
                </a:cubicBezTo>
                <a:cubicBezTo>
                  <a:pt x="2568" y="66"/>
                  <a:pt x="2569" y="64"/>
                  <a:pt x="2571" y="63"/>
                </a:cubicBezTo>
                <a:cubicBezTo>
                  <a:pt x="2568" y="63"/>
                  <a:pt x="2567" y="63"/>
                  <a:pt x="2565" y="63"/>
                </a:cubicBezTo>
                <a:cubicBezTo>
                  <a:pt x="2564" y="65"/>
                  <a:pt x="2563" y="67"/>
                  <a:pt x="2562" y="69"/>
                </a:cubicBezTo>
                <a:cubicBezTo>
                  <a:pt x="2562" y="70"/>
                  <a:pt x="2562" y="70"/>
                  <a:pt x="2562" y="71"/>
                </a:cubicBezTo>
                <a:cubicBezTo>
                  <a:pt x="2562" y="74"/>
                  <a:pt x="2561" y="76"/>
                  <a:pt x="2558" y="75"/>
                </a:cubicBezTo>
                <a:cubicBezTo>
                  <a:pt x="2555" y="75"/>
                  <a:pt x="2552" y="74"/>
                  <a:pt x="2549" y="73"/>
                </a:cubicBezTo>
                <a:cubicBezTo>
                  <a:pt x="2547" y="72"/>
                  <a:pt x="2546" y="71"/>
                  <a:pt x="2547" y="69"/>
                </a:cubicBezTo>
                <a:cubicBezTo>
                  <a:pt x="2547" y="68"/>
                  <a:pt x="2547" y="67"/>
                  <a:pt x="2548" y="67"/>
                </a:cubicBezTo>
                <a:cubicBezTo>
                  <a:pt x="2545" y="66"/>
                  <a:pt x="2543" y="65"/>
                  <a:pt x="2541" y="64"/>
                </a:cubicBezTo>
                <a:cubicBezTo>
                  <a:pt x="2540" y="63"/>
                  <a:pt x="2538" y="61"/>
                  <a:pt x="2538" y="59"/>
                </a:cubicBezTo>
                <a:cubicBezTo>
                  <a:pt x="2537" y="57"/>
                  <a:pt x="2537" y="56"/>
                  <a:pt x="2539" y="54"/>
                </a:cubicBezTo>
                <a:cubicBezTo>
                  <a:pt x="2542" y="52"/>
                  <a:pt x="2543" y="49"/>
                  <a:pt x="2542" y="45"/>
                </a:cubicBezTo>
                <a:cubicBezTo>
                  <a:pt x="2542" y="43"/>
                  <a:pt x="2542" y="41"/>
                  <a:pt x="2542" y="39"/>
                </a:cubicBezTo>
                <a:cubicBezTo>
                  <a:pt x="2541" y="38"/>
                  <a:pt x="2539" y="38"/>
                  <a:pt x="2538" y="37"/>
                </a:cubicBezTo>
                <a:cubicBezTo>
                  <a:pt x="2537" y="35"/>
                  <a:pt x="2536" y="33"/>
                  <a:pt x="2536" y="31"/>
                </a:cubicBezTo>
                <a:cubicBezTo>
                  <a:pt x="2536" y="28"/>
                  <a:pt x="2539" y="26"/>
                  <a:pt x="2542" y="25"/>
                </a:cubicBezTo>
                <a:cubicBezTo>
                  <a:pt x="2542" y="26"/>
                  <a:pt x="2542" y="26"/>
                  <a:pt x="2543" y="27"/>
                </a:cubicBezTo>
                <a:cubicBezTo>
                  <a:pt x="2543" y="28"/>
                  <a:pt x="2543" y="29"/>
                  <a:pt x="2543" y="30"/>
                </a:cubicBezTo>
                <a:cubicBezTo>
                  <a:pt x="2542" y="30"/>
                  <a:pt x="2542" y="30"/>
                  <a:pt x="2542" y="30"/>
                </a:cubicBezTo>
                <a:cubicBezTo>
                  <a:pt x="2541" y="31"/>
                  <a:pt x="2541" y="32"/>
                  <a:pt x="2540" y="34"/>
                </a:cubicBezTo>
                <a:cubicBezTo>
                  <a:pt x="2541" y="34"/>
                  <a:pt x="2542" y="34"/>
                  <a:pt x="2542" y="34"/>
                </a:cubicBezTo>
                <a:cubicBezTo>
                  <a:pt x="2544" y="32"/>
                  <a:pt x="2544" y="32"/>
                  <a:pt x="2545" y="30"/>
                </a:cubicBezTo>
                <a:cubicBezTo>
                  <a:pt x="2549" y="24"/>
                  <a:pt x="2555" y="20"/>
                  <a:pt x="2563" y="18"/>
                </a:cubicBezTo>
                <a:cubicBezTo>
                  <a:pt x="2566" y="18"/>
                  <a:pt x="2570" y="17"/>
                  <a:pt x="2572" y="14"/>
                </a:cubicBezTo>
                <a:cubicBezTo>
                  <a:pt x="2572" y="13"/>
                  <a:pt x="2573" y="13"/>
                  <a:pt x="2573" y="13"/>
                </a:cubicBezTo>
                <a:cubicBezTo>
                  <a:pt x="2576" y="13"/>
                  <a:pt x="2577" y="10"/>
                  <a:pt x="2579" y="8"/>
                </a:cubicBezTo>
                <a:cubicBezTo>
                  <a:pt x="2587" y="1"/>
                  <a:pt x="2599" y="0"/>
                  <a:pt x="2607" y="7"/>
                </a:cubicBezTo>
                <a:cubicBezTo>
                  <a:pt x="2609" y="9"/>
                  <a:pt x="2612" y="11"/>
                  <a:pt x="2614" y="13"/>
                </a:cubicBezTo>
                <a:cubicBezTo>
                  <a:pt x="2616" y="14"/>
                  <a:pt x="2617" y="16"/>
                  <a:pt x="2618" y="18"/>
                </a:cubicBezTo>
                <a:cubicBezTo>
                  <a:pt x="2619" y="19"/>
                  <a:pt x="2620" y="19"/>
                  <a:pt x="2621" y="18"/>
                </a:cubicBezTo>
                <a:cubicBezTo>
                  <a:pt x="2622" y="18"/>
                  <a:pt x="2622" y="17"/>
                  <a:pt x="2623" y="16"/>
                </a:cubicBezTo>
                <a:cubicBezTo>
                  <a:pt x="2625" y="13"/>
                  <a:pt x="2628" y="13"/>
                  <a:pt x="2630" y="17"/>
                </a:cubicBezTo>
                <a:cubicBezTo>
                  <a:pt x="2631" y="20"/>
                  <a:pt x="2631" y="23"/>
                  <a:pt x="2632" y="26"/>
                </a:cubicBezTo>
                <a:cubicBezTo>
                  <a:pt x="2633" y="30"/>
                  <a:pt x="2632" y="34"/>
                  <a:pt x="2631" y="39"/>
                </a:cubicBezTo>
                <a:cubicBezTo>
                  <a:pt x="2628" y="45"/>
                  <a:pt x="2624" y="49"/>
                  <a:pt x="2617" y="49"/>
                </a:cubicBezTo>
                <a:cubicBezTo>
                  <a:pt x="2616" y="49"/>
                  <a:pt x="2616" y="49"/>
                  <a:pt x="2615" y="49"/>
                </a:cubicBezTo>
                <a:cubicBezTo>
                  <a:pt x="2613" y="48"/>
                  <a:pt x="2611" y="49"/>
                  <a:pt x="2611" y="51"/>
                </a:cubicBezTo>
                <a:cubicBezTo>
                  <a:pt x="2609" y="55"/>
                  <a:pt x="2603" y="57"/>
                  <a:pt x="2600" y="54"/>
                </a:cubicBezTo>
                <a:cubicBezTo>
                  <a:pt x="2599" y="53"/>
                  <a:pt x="2598" y="52"/>
                  <a:pt x="2597" y="51"/>
                </a:cubicBezTo>
                <a:cubicBezTo>
                  <a:pt x="2596" y="51"/>
                  <a:pt x="2596" y="51"/>
                  <a:pt x="2596" y="51"/>
                </a:cubicBezTo>
                <a:close/>
                <a:moveTo>
                  <a:pt x="2590" y="47"/>
                </a:moveTo>
                <a:cubicBezTo>
                  <a:pt x="2594" y="48"/>
                  <a:pt x="2598" y="49"/>
                  <a:pt x="2600" y="52"/>
                </a:cubicBezTo>
                <a:cubicBezTo>
                  <a:pt x="2602" y="54"/>
                  <a:pt x="2604" y="55"/>
                  <a:pt x="2606" y="54"/>
                </a:cubicBezTo>
                <a:cubicBezTo>
                  <a:pt x="2609" y="53"/>
                  <a:pt x="2610" y="51"/>
                  <a:pt x="2610" y="48"/>
                </a:cubicBezTo>
                <a:cubicBezTo>
                  <a:pt x="2610" y="48"/>
                  <a:pt x="2609" y="48"/>
                  <a:pt x="2609" y="49"/>
                </a:cubicBezTo>
                <a:cubicBezTo>
                  <a:pt x="2609" y="50"/>
                  <a:pt x="2607" y="51"/>
                  <a:pt x="2607" y="52"/>
                </a:cubicBezTo>
                <a:cubicBezTo>
                  <a:pt x="2605" y="53"/>
                  <a:pt x="2604" y="53"/>
                  <a:pt x="2603" y="53"/>
                </a:cubicBezTo>
                <a:cubicBezTo>
                  <a:pt x="2603" y="53"/>
                  <a:pt x="2602" y="51"/>
                  <a:pt x="2602" y="51"/>
                </a:cubicBezTo>
                <a:cubicBezTo>
                  <a:pt x="2602" y="48"/>
                  <a:pt x="2603" y="46"/>
                  <a:pt x="2603" y="44"/>
                </a:cubicBezTo>
                <a:cubicBezTo>
                  <a:pt x="2606" y="45"/>
                  <a:pt x="2609" y="46"/>
                  <a:pt x="2613" y="47"/>
                </a:cubicBezTo>
                <a:cubicBezTo>
                  <a:pt x="2620" y="48"/>
                  <a:pt x="2626" y="46"/>
                  <a:pt x="2630" y="38"/>
                </a:cubicBezTo>
                <a:cubicBezTo>
                  <a:pt x="2631" y="33"/>
                  <a:pt x="2631" y="28"/>
                  <a:pt x="2630" y="23"/>
                </a:cubicBezTo>
                <a:cubicBezTo>
                  <a:pt x="2630" y="21"/>
                  <a:pt x="2629" y="19"/>
                  <a:pt x="2628" y="17"/>
                </a:cubicBezTo>
                <a:cubicBezTo>
                  <a:pt x="2627" y="16"/>
                  <a:pt x="2626" y="15"/>
                  <a:pt x="2625" y="17"/>
                </a:cubicBezTo>
                <a:cubicBezTo>
                  <a:pt x="2623" y="19"/>
                  <a:pt x="2622" y="20"/>
                  <a:pt x="2620" y="21"/>
                </a:cubicBezTo>
                <a:cubicBezTo>
                  <a:pt x="2619" y="21"/>
                  <a:pt x="2618" y="22"/>
                  <a:pt x="2618" y="23"/>
                </a:cubicBezTo>
                <a:cubicBezTo>
                  <a:pt x="2619" y="26"/>
                  <a:pt x="2618" y="30"/>
                  <a:pt x="2617" y="33"/>
                </a:cubicBezTo>
                <a:cubicBezTo>
                  <a:pt x="2617" y="31"/>
                  <a:pt x="2618" y="29"/>
                  <a:pt x="2618" y="27"/>
                </a:cubicBezTo>
                <a:cubicBezTo>
                  <a:pt x="2618" y="26"/>
                  <a:pt x="2617" y="26"/>
                  <a:pt x="2617" y="26"/>
                </a:cubicBezTo>
                <a:cubicBezTo>
                  <a:pt x="2616" y="26"/>
                  <a:pt x="2616" y="26"/>
                  <a:pt x="2616" y="26"/>
                </a:cubicBezTo>
                <a:cubicBezTo>
                  <a:pt x="2615" y="28"/>
                  <a:pt x="2614" y="29"/>
                  <a:pt x="2613" y="30"/>
                </a:cubicBezTo>
                <a:cubicBezTo>
                  <a:pt x="2613" y="30"/>
                  <a:pt x="2613" y="30"/>
                  <a:pt x="2613" y="30"/>
                </a:cubicBezTo>
                <a:cubicBezTo>
                  <a:pt x="2613" y="29"/>
                  <a:pt x="2614" y="27"/>
                  <a:pt x="2614" y="25"/>
                </a:cubicBezTo>
                <a:cubicBezTo>
                  <a:pt x="2613" y="26"/>
                  <a:pt x="2613" y="26"/>
                  <a:pt x="2612" y="27"/>
                </a:cubicBezTo>
                <a:cubicBezTo>
                  <a:pt x="2611" y="27"/>
                  <a:pt x="2611" y="28"/>
                  <a:pt x="2611" y="29"/>
                </a:cubicBezTo>
                <a:cubicBezTo>
                  <a:pt x="2611" y="25"/>
                  <a:pt x="2611" y="25"/>
                  <a:pt x="2617" y="24"/>
                </a:cubicBezTo>
                <a:cubicBezTo>
                  <a:pt x="2617" y="24"/>
                  <a:pt x="2616" y="23"/>
                  <a:pt x="2616" y="23"/>
                </a:cubicBezTo>
                <a:cubicBezTo>
                  <a:pt x="2613" y="24"/>
                  <a:pt x="2613" y="22"/>
                  <a:pt x="2612" y="20"/>
                </a:cubicBezTo>
                <a:cubicBezTo>
                  <a:pt x="2614" y="19"/>
                  <a:pt x="2615" y="19"/>
                  <a:pt x="2617" y="19"/>
                </a:cubicBezTo>
                <a:cubicBezTo>
                  <a:pt x="2615" y="16"/>
                  <a:pt x="2614" y="13"/>
                  <a:pt x="2611" y="13"/>
                </a:cubicBezTo>
                <a:cubicBezTo>
                  <a:pt x="2610" y="13"/>
                  <a:pt x="2610" y="13"/>
                  <a:pt x="2610" y="12"/>
                </a:cubicBezTo>
                <a:cubicBezTo>
                  <a:pt x="2607" y="10"/>
                  <a:pt x="2605" y="8"/>
                  <a:pt x="2602" y="6"/>
                </a:cubicBezTo>
                <a:cubicBezTo>
                  <a:pt x="2600" y="5"/>
                  <a:pt x="2597" y="4"/>
                  <a:pt x="2595" y="4"/>
                </a:cubicBezTo>
                <a:cubicBezTo>
                  <a:pt x="2592" y="4"/>
                  <a:pt x="2589" y="6"/>
                  <a:pt x="2585" y="6"/>
                </a:cubicBezTo>
                <a:cubicBezTo>
                  <a:pt x="2583" y="7"/>
                  <a:pt x="2580" y="9"/>
                  <a:pt x="2578" y="12"/>
                </a:cubicBezTo>
                <a:cubicBezTo>
                  <a:pt x="2580" y="12"/>
                  <a:pt x="2581" y="12"/>
                  <a:pt x="2582" y="12"/>
                </a:cubicBezTo>
                <a:cubicBezTo>
                  <a:pt x="2582" y="13"/>
                  <a:pt x="2581" y="13"/>
                  <a:pt x="2580" y="13"/>
                </a:cubicBezTo>
                <a:cubicBezTo>
                  <a:pt x="2578" y="14"/>
                  <a:pt x="2575" y="13"/>
                  <a:pt x="2573" y="15"/>
                </a:cubicBezTo>
                <a:cubicBezTo>
                  <a:pt x="2570" y="19"/>
                  <a:pt x="2566" y="23"/>
                  <a:pt x="2562" y="27"/>
                </a:cubicBezTo>
                <a:cubicBezTo>
                  <a:pt x="2561" y="29"/>
                  <a:pt x="2560" y="32"/>
                  <a:pt x="2559" y="34"/>
                </a:cubicBezTo>
                <a:cubicBezTo>
                  <a:pt x="2559" y="34"/>
                  <a:pt x="2559" y="35"/>
                  <a:pt x="2559" y="36"/>
                </a:cubicBezTo>
                <a:cubicBezTo>
                  <a:pt x="2560" y="38"/>
                  <a:pt x="2561" y="40"/>
                  <a:pt x="2563" y="42"/>
                </a:cubicBezTo>
                <a:cubicBezTo>
                  <a:pt x="2564" y="40"/>
                  <a:pt x="2565" y="38"/>
                  <a:pt x="2566" y="37"/>
                </a:cubicBezTo>
                <a:cubicBezTo>
                  <a:pt x="2566" y="38"/>
                  <a:pt x="2566" y="40"/>
                  <a:pt x="2565" y="41"/>
                </a:cubicBezTo>
                <a:cubicBezTo>
                  <a:pt x="2564" y="42"/>
                  <a:pt x="2563" y="44"/>
                  <a:pt x="2563" y="45"/>
                </a:cubicBezTo>
                <a:cubicBezTo>
                  <a:pt x="2562" y="46"/>
                  <a:pt x="2563" y="47"/>
                  <a:pt x="2563" y="48"/>
                </a:cubicBezTo>
                <a:cubicBezTo>
                  <a:pt x="2566" y="51"/>
                  <a:pt x="2569" y="51"/>
                  <a:pt x="2573" y="49"/>
                </a:cubicBezTo>
                <a:cubicBezTo>
                  <a:pt x="2575" y="48"/>
                  <a:pt x="2578" y="47"/>
                  <a:pt x="2581" y="46"/>
                </a:cubicBezTo>
                <a:cubicBezTo>
                  <a:pt x="2582" y="45"/>
                  <a:pt x="2583" y="45"/>
                  <a:pt x="2583" y="43"/>
                </a:cubicBezTo>
                <a:cubicBezTo>
                  <a:pt x="2583" y="40"/>
                  <a:pt x="2583" y="36"/>
                  <a:pt x="2583" y="33"/>
                </a:cubicBezTo>
                <a:cubicBezTo>
                  <a:pt x="2583" y="30"/>
                  <a:pt x="2583" y="27"/>
                  <a:pt x="2583" y="24"/>
                </a:cubicBezTo>
                <a:cubicBezTo>
                  <a:pt x="2584" y="27"/>
                  <a:pt x="2585" y="30"/>
                  <a:pt x="2585" y="32"/>
                </a:cubicBezTo>
                <a:cubicBezTo>
                  <a:pt x="2586" y="37"/>
                  <a:pt x="2586" y="41"/>
                  <a:pt x="2585" y="45"/>
                </a:cubicBezTo>
                <a:cubicBezTo>
                  <a:pt x="2584" y="46"/>
                  <a:pt x="2583" y="47"/>
                  <a:pt x="2583" y="47"/>
                </a:cubicBezTo>
                <a:cubicBezTo>
                  <a:pt x="2579" y="47"/>
                  <a:pt x="2576" y="49"/>
                  <a:pt x="2573" y="51"/>
                </a:cubicBezTo>
                <a:cubicBezTo>
                  <a:pt x="2568" y="54"/>
                  <a:pt x="2564" y="52"/>
                  <a:pt x="2561" y="48"/>
                </a:cubicBezTo>
                <a:cubicBezTo>
                  <a:pt x="2561" y="48"/>
                  <a:pt x="2561" y="47"/>
                  <a:pt x="2561" y="46"/>
                </a:cubicBezTo>
                <a:cubicBezTo>
                  <a:pt x="2562" y="44"/>
                  <a:pt x="2561" y="42"/>
                  <a:pt x="2559" y="40"/>
                </a:cubicBezTo>
                <a:cubicBezTo>
                  <a:pt x="2558" y="38"/>
                  <a:pt x="2556" y="36"/>
                  <a:pt x="2557" y="33"/>
                </a:cubicBezTo>
                <a:cubicBezTo>
                  <a:pt x="2558" y="31"/>
                  <a:pt x="2559" y="29"/>
                  <a:pt x="2560" y="28"/>
                </a:cubicBezTo>
                <a:cubicBezTo>
                  <a:pt x="2562" y="25"/>
                  <a:pt x="2564" y="23"/>
                  <a:pt x="2566" y="20"/>
                </a:cubicBezTo>
                <a:cubicBezTo>
                  <a:pt x="2566" y="20"/>
                  <a:pt x="2565" y="20"/>
                  <a:pt x="2565" y="20"/>
                </a:cubicBezTo>
                <a:cubicBezTo>
                  <a:pt x="2560" y="21"/>
                  <a:pt x="2555" y="23"/>
                  <a:pt x="2551" y="26"/>
                </a:cubicBezTo>
                <a:cubicBezTo>
                  <a:pt x="2547" y="30"/>
                  <a:pt x="2544" y="35"/>
                  <a:pt x="2544" y="42"/>
                </a:cubicBezTo>
                <a:cubicBezTo>
                  <a:pt x="2543" y="49"/>
                  <a:pt x="2546" y="55"/>
                  <a:pt x="2549" y="61"/>
                </a:cubicBezTo>
                <a:cubicBezTo>
                  <a:pt x="2549" y="61"/>
                  <a:pt x="2550" y="63"/>
                  <a:pt x="2550" y="64"/>
                </a:cubicBezTo>
                <a:cubicBezTo>
                  <a:pt x="2550" y="66"/>
                  <a:pt x="2549" y="67"/>
                  <a:pt x="2549" y="68"/>
                </a:cubicBezTo>
                <a:cubicBezTo>
                  <a:pt x="2548" y="70"/>
                  <a:pt x="2549" y="71"/>
                  <a:pt x="2550" y="72"/>
                </a:cubicBezTo>
                <a:cubicBezTo>
                  <a:pt x="2553" y="72"/>
                  <a:pt x="2556" y="73"/>
                  <a:pt x="2559" y="73"/>
                </a:cubicBezTo>
                <a:cubicBezTo>
                  <a:pt x="2559" y="73"/>
                  <a:pt x="2560" y="72"/>
                  <a:pt x="2560" y="72"/>
                </a:cubicBezTo>
                <a:cubicBezTo>
                  <a:pt x="2561" y="71"/>
                  <a:pt x="2561" y="69"/>
                  <a:pt x="2561" y="68"/>
                </a:cubicBezTo>
                <a:cubicBezTo>
                  <a:pt x="2563" y="66"/>
                  <a:pt x="2563" y="63"/>
                  <a:pt x="2563" y="61"/>
                </a:cubicBezTo>
                <a:cubicBezTo>
                  <a:pt x="2563" y="60"/>
                  <a:pt x="2563" y="60"/>
                  <a:pt x="2563" y="59"/>
                </a:cubicBezTo>
                <a:cubicBezTo>
                  <a:pt x="2563" y="59"/>
                  <a:pt x="2563" y="59"/>
                  <a:pt x="2563" y="59"/>
                </a:cubicBezTo>
                <a:cubicBezTo>
                  <a:pt x="2564" y="61"/>
                  <a:pt x="2565" y="61"/>
                  <a:pt x="2567" y="61"/>
                </a:cubicBezTo>
                <a:cubicBezTo>
                  <a:pt x="2568" y="61"/>
                  <a:pt x="2569" y="61"/>
                  <a:pt x="2570" y="61"/>
                </a:cubicBezTo>
                <a:cubicBezTo>
                  <a:pt x="2572" y="61"/>
                  <a:pt x="2576" y="62"/>
                  <a:pt x="2576" y="58"/>
                </a:cubicBezTo>
                <a:cubicBezTo>
                  <a:pt x="2576" y="60"/>
                  <a:pt x="2576" y="62"/>
                  <a:pt x="2576" y="63"/>
                </a:cubicBezTo>
                <a:cubicBezTo>
                  <a:pt x="2575" y="63"/>
                  <a:pt x="2574" y="64"/>
                  <a:pt x="2572" y="64"/>
                </a:cubicBezTo>
                <a:cubicBezTo>
                  <a:pt x="2571" y="65"/>
                  <a:pt x="2570" y="67"/>
                  <a:pt x="2571" y="68"/>
                </a:cubicBezTo>
                <a:cubicBezTo>
                  <a:pt x="2572" y="70"/>
                  <a:pt x="2574" y="72"/>
                  <a:pt x="2575" y="74"/>
                </a:cubicBezTo>
                <a:cubicBezTo>
                  <a:pt x="2577" y="75"/>
                  <a:pt x="2579" y="75"/>
                  <a:pt x="2580" y="73"/>
                </a:cubicBezTo>
                <a:cubicBezTo>
                  <a:pt x="2581" y="72"/>
                  <a:pt x="2581" y="72"/>
                  <a:pt x="2582" y="71"/>
                </a:cubicBezTo>
                <a:cubicBezTo>
                  <a:pt x="2584" y="70"/>
                  <a:pt x="2585" y="68"/>
                  <a:pt x="2587" y="67"/>
                </a:cubicBezTo>
                <a:cubicBezTo>
                  <a:pt x="2591" y="63"/>
                  <a:pt x="2593" y="57"/>
                  <a:pt x="2595" y="51"/>
                </a:cubicBezTo>
                <a:cubicBezTo>
                  <a:pt x="2595" y="51"/>
                  <a:pt x="2594" y="50"/>
                  <a:pt x="2594" y="49"/>
                </a:cubicBezTo>
                <a:cubicBezTo>
                  <a:pt x="2593" y="48"/>
                  <a:pt x="2592" y="47"/>
                  <a:pt x="2590" y="47"/>
                </a:cubicBezTo>
                <a:close/>
                <a:moveTo>
                  <a:pt x="2543" y="53"/>
                </a:moveTo>
                <a:cubicBezTo>
                  <a:pt x="2542" y="54"/>
                  <a:pt x="2541" y="55"/>
                  <a:pt x="2540" y="56"/>
                </a:cubicBezTo>
                <a:cubicBezTo>
                  <a:pt x="2539" y="56"/>
                  <a:pt x="2539" y="57"/>
                  <a:pt x="2539" y="58"/>
                </a:cubicBezTo>
                <a:cubicBezTo>
                  <a:pt x="2539" y="61"/>
                  <a:pt x="2543" y="65"/>
                  <a:pt x="2546" y="64"/>
                </a:cubicBezTo>
                <a:cubicBezTo>
                  <a:pt x="2548" y="64"/>
                  <a:pt x="2549" y="63"/>
                  <a:pt x="2548" y="62"/>
                </a:cubicBezTo>
                <a:cubicBezTo>
                  <a:pt x="2546" y="59"/>
                  <a:pt x="2545" y="56"/>
                  <a:pt x="2543" y="53"/>
                </a:cubicBezTo>
                <a:close/>
                <a:moveTo>
                  <a:pt x="2596" y="55"/>
                </a:moveTo>
                <a:cubicBezTo>
                  <a:pt x="2594" y="60"/>
                  <a:pt x="2591" y="64"/>
                  <a:pt x="2589" y="68"/>
                </a:cubicBezTo>
                <a:cubicBezTo>
                  <a:pt x="2592" y="68"/>
                  <a:pt x="2594" y="69"/>
                  <a:pt x="2597" y="68"/>
                </a:cubicBezTo>
                <a:cubicBezTo>
                  <a:pt x="2597" y="68"/>
                  <a:pt x="2598" y="67"/>
                  <a:pt x="2598" y="67"/>
                </a:cubicBezTo>
                <a:cubicBezTo>
                  <a:pt x="2598" y="64"/>
                  <a:pt x="2598" y="62"/>
                  <a:pt x="2597" y="59"/>
                </a:cubicBezTo>
                <a:cubicBezTo>
                  <a:pt x="2597" y="58"/>
                  <a:pt x="2596" y="57"/>
                  <a:pt x="2596" y="55"/>
                </a:cubicBezTo>
                <a:close/>
                <a:moveTo>
                  <a:pt x="2543" y="35"/>
                </a:moveTo>
                <a:cubicBezTo>
                  <a:pt x="2542" y="35"/>
                  <a:pt x="2542" y="36"/>
                  <a:pt x="2541" y="36"/>
                </a:cubicBezTo>
                <a:cubicBezTo>
                  <a:pt x="2540" y="36"/>
                  <a:pt x="2540" y="36"/>
                  <a:pt x="2540" y="35"/>
                </a:cubicBezTo>
                <a:cubicBezTo>
                  <a:pt x="2539" y="35"/>
                  <a:pt x="2539" y="34"/>
                  <a:pt x="2539" y="33"/>
                </a:cubicBezTo>
                <a:cubicBezTo>
                  <a:pt x="2540" y="31"/>
                  <a:pt x="2540" y="29"/>
                  <a:pt x="2541" y="27"/>
                </a:cubicBezTo>
                <a:cubicBezTo>
                  <a:pt x="2540" y="27"/>
                  <a:pt x="2540" y="27"/>
                  <a:pt x="2540" y="27"/>
                </a:cubicBezTo>
                <a:cubicBezTo>
                  <a:pt x="2539" y="28"/>
                  <a:pt x="2538" y="29"/>
                  <a:pt x="2537" y="30"/>
                </a:cubicBezTo>
                <a:cubicBezTo>
                  <a:pt x="2536" y="31"/>
                  <a:pt x="2538" y="36"/>
                  <a:pt x="2540" y="37"/>
                </a:cubicBezTo>
                <a:cubicBezTo>
                  <a:pt x="2541" y="38"/>
                  <a:pt x="2543" y="37"/>
                  <a:pt x="2543" y="35"/>
                </a:cubicBezTo>
                <a:close/>
                <a:moveTo>
                  <a:pt x="2543" y="53"/>
                </a:moveTo>
                <a:cubicBezTo>
                  <a:pt x="2543" y="54"/>
                  <a:pt x="2541" y="55"/>
                  <a:pt x="2540" y="56"/>
                </a:cubicBezTo>
                <a:cubicBezTo>
                  <a:pt x="2539" y="56"/>
                  <a:pt x="2539" y="57"/>
                  <a:pt x="2539" y="58"/>
                </a:cubicBezTo>
                <a:cubicBezTo>
                  <a:pt x="2539" y="61"/>
                  <a:pt x="2543" y="65"/>
                  <a:pt x="2546" y="65"/>
                </a:cubicBezTo>
                <a:cubicBezTo>
                  <a:pt x="2548" y="65"/>
                  <a:pt x="2549" y="64"/>
                  <a:pt x="2548" y="62"/>
                </a:cubicBezTo>
                <a:cubicBezTo>
                  <a:pt x="2546" y="59"/>
                  <a:pt x="2545" y="56"/>
                  <a:pt x="2543" y="53"/>
                </a:cubicBezTo>
                <a:close/>
                <a:moveTo>
                  <a:pt x="2596" y="55"/>
                </a:moveTo>
                <a:cubicBezTo>
                  <a:pt x="2594" y="60"/>
                  <a:pt x="2591" y="64"/>
                  <a:pt x="2589" y="69"/>
                </a:cubicBezTo>
                <a:cubicBezTo>
                  <a:pt x="2592" y="69"/>
                  <a:pt x="2594" y="69"/>
                  <a:pt x="2597" y="69"/>
                </a:cubicBezTo>
                <a:cubicBezTo>
                  <a:pt x="2597" y="69"/>
                  <a:pt x="2598" y="67"/>
                  <a:pt x="2598" y="67"/>
                </a:cubicBezTo>
                <a:cubicBezTo>
                  <a:pt x="2598" y="64"/>
                  <a:pt x="2598" y="62"/>
                  <a:pt x="2597" y="59"/>
                </a:cubicBezTo>
                <a:cubicBezTo>
                  <a:pt x="2597" y="58"/>
                  <a:pt x="2596" y="57"/>
                  <a:pt x="2596" y="55"/>
                </a:cubicBezTo>
                <a:close/>
                <a:moveTo>
                  <a:pt x="2543" y="35"/>
                </a:moveTo>
                <a:cubicBezTo>
                  <a:pt x="2543" y="35"/>
                  <a:pt x="2542" y="36"/>
                  <a:pt x="2541" y="36"/>
                </a:cubicBezTo>
                <a:cubicBezTo>
                  <a:pt x="2541" y="36"/>
                  <a:pt x="2540" y="36"/>
                  <a:pt x="2540" y="35"/>
                </a:cubicBezTo>
                <a:cubicBezTo>
                  <a:pt x="2539" y="35"/>
                  <a:pt x="2539" y="34"/>
                  <a:pt x="2539" y="33"/>
                </a:cubicBezTo>
                <a:cubicBezTo>
                  <a:pt x="2540" y="31"/>
                  <a:pt x="2540" y="29"/>
                  <a:pt x="2541" y="27"/>
                </a:cubicBezTo>
                <a:cubicBezTo>
                  <a:pt x="2541" y="27"/>
                  <a:pt x="2541" y="27"/>
                  <a:pt x="2540" y="27"/>
                </a:cubicBezTo>
                <a:cubicBezTo>
                  <a:pt x="2539" y="28"/>
                  <a:pt x="2538" y="29"/>
                  <a:pt x="2537" y="30"/>
                </a:cubicBezTo>
                <a:cubicBezTo>
                  <a:pt x="2537" y="31"/>
                  <a:pt x="2538" y="37"/>
                  <a:pt x="2540" y="37"/>
                </a:cubicBezTo>
                <a:cubicBezTo>
                  <a:pt x="2541" y="38"/>
                  <a:pt x="2543" y="37"/>
                  <a:pt x="2543" y="35"/>
                </a:cubicBezTo>
                <a:close/>
                <a:moveTo>
                  <a:pt x="2596" y="27"/>
                </a:moveTo>
                <a:cubicBezTo>
                  <a:pt x="2599" y="23"/>
                  <a:pt x="2599" y="23"/>
                  <a:pt x="2603" y="22"/>
                </a:cubicBezTo>
                <a:cubicBezTo>
                  <a:pt x="2603" y="24"/>
                  <a:pt x="2604" y="25"/>
                  <a:pt x="2605" y="25"/>
                </a:cubicBezTo>
                <a:cubicBezTo>
                  <a:pt x="2603" y="26"/>
                  <a:pt x="2601" y="28"/>
                  <a:pt x="2599" y="29"/>
                </a:cubicBezTo>
                <a:cubicBezTo>
                  <a:pt x="2598" y="28"/>
                  <a:pt x="2598" y="28"/>
                  <a:pt x="2597" y="26"/>
                </a:cubicBezTo>
                <a:cubicBezTo>
                  <a:pt x="2597" y="26"/>
                  <a:pt x="2596" y="26"/>
                  <a:pt x="2596" y="27"/>
                </a:cubicBezTo>
                <a:close/>
                <a:moveTo>
                  <a:pt x="2601" y="26"/>
                </a:moveTo>
                <a:cubicBezTo>
                  <a:pt x="2601" y="26"/>
                  <a:pt x="2600" y="26"/>
                  <a:pt x="2600" y="26"/>
                </a:cubicBezTo>
                <a:cubicBezTo>
                  <a:pt x="2599" y="26"/>
                  <a:pt x="2598" y="26"/>
                  <a:pt x="2598" y="27"/>
                </a:cubicBezTo>
                <a:cubicBezTo>
                  <a:pt x="2598" y="27"/>
                  <a:pt x="2599" y="28"/>
                  <a:pt x="2599" y="28"/>
                </a:cubicBezTo>
                <a:cubicBezTo>
                  <a:pt x="2600" y="28"/>
                  <a:pt x="2600" y="27"/>
                  <a:pt x="2601" y="26"/>
                </a:cubicBezTo>
                <a:close/>
                <a:moveTo>
                  <a:pt x="2583" y="17"/>
                </a:moveTo>
                <a:cubicBezTo>
                  <a:pt x="2576" y="16"/>
                  <a:pt x="2573" y="19"/>
                  <a:pt x="2572" y="26"/>
                </a:cubicBezTo>
                <a:cubicBezTo>
                  <a:pt x="2573" y="24"/>
                  <a:pt x="2575" y="22"/>
                  <a:pt x="2576" y="20"/>
                </a:cubicBezTo>
                <a:cubicBezTo>
                  <a:pt x="2576" y="20"/>
                  <a:pt x="2576" y="20"/>
                  <a:pt x="2576" y="20"/>
                </a:cubicBezTo>
                <a:cubicBezTo>
                  <a:pt x="2576" y="21"/>
                  <a:pt x="2576" y="22"/>
                  <a:pt x="2576" y="22"/>
                </a:cubicBezTo>
                <a:cubicBezTo>
                  <a:pt x="2578" y="19"/>
                  <a:pt x="2579" y="17"/>
                  <a:pt x="2583" y="17"/>
                </a:cubicBezTo>
                <a:close/>
                <a:moveTo>
                  <a:pt x="2626" y="18"/>
                </a:moveTo>
                <a:cubicBezTo>
                  <a:pt x="2624" y="19"/>
                  <a:pt x="2622" y="21"/>
                  <a:pt x="2621" y="22"/>
                </a:cubicBezTo>
                <a:cubicBezTo>
                  <a:pt x="2623" y="23"/>
                  <a:pt x="2625" y="21"/>
                  <a:pt x="2626" y="18"/>
                </a:cubicBezTo>
                <a:close/>
                <a:moveTo>
                  <a:pt x="2593" y="21"/>
                </a:moveTo>
                <a:cubicBezTo>
                  <a:pt x="2594" y="19"/>
                  <a:pt x="2595" y="18"/>
                  <a:pt x="2596" y="17"/>
                </a:cubicBezTo>
                <a:cubicBezTo>
                  <a:pt x="2593" y="18"/>
                  <a:pt x="2592" y="19"/>
                  <a:pt x="2593" y="21"/>
                </a:cubicBezTo>
                <a:close/>
                <a:moveTo>
                  <a:pt x="2603" y="42"/>
                </a:moveTo>
                <a:cubicBezTo>
                  <a:pt x="2601" y="42"/>
                  <a:pt x="2600" y="43"/>
                  <a:pt x="2600" y="44"/>
                </a:cubicBezTo>
                <a:cubicBezTo>
                  <a:pt x="2600" y="43"/>
                  <a:pt x="2602" y="42"/>
                  <a:pt x="2603" y="42"/>
                </a:cubicBezTo>
                <a:close/>
                <a:moveTo>
                  <a:pt x="2601" y="26"/>
                </a:moveTo>
                <a:cubicBezTo>
                  <a:pt x="2601" y="26"/>
                  <a:pt x="2600" y="25"/>
                  <a:pt x="2600" y="25"/>
                </a:cubicBezTo>
                <a:cubicBezTo>
                  <a:pt x="2599" y="25"/>
                  <a:pt x="2599" y="26"/>
                  <a:pt x="2599" y="27"/>
                </a:cubicBezTo>
                <a:cubicBezTo>
                  <a:pt x="2599" y="27"/>
                  <a:pt x="2599" y="27"/>
                  <a:pt x="2599" y="28"/>
                </a:cubicBezTo>
                <a:cubicBezTo>
                  <a:pt x="2600" y="27"/>
                  <a:pt x="2600" y="27"/>
                  <a:pt x="2601" y="26"/>
                </a:cubicBezTo>
                <a:close/>
                <a:moveTo>
                  <a:pt x="3256" y="4"/>
                </a:moveTo>
                <a:cubicBezTo>
                  <a:pt x="3256" y="4"/>
                  <a:pt x="3256" y="4"/>
                  <a:pt x="3256" y="4"/>
                </a:cubicBezTo>
                <a:cubicBezTo>
                  <a:pt x="3251" y="4"/>
                  <a:pt x="3251" y="4"/>
                  <a:pt x="3251" y="4"/>
                </a:cubicBezTo>
                <a:cubicBezTo>
                  <a:pt x="3248" y="5"/>
                  <a:pt x="3247" y="7"/>
                  <a:pt x="3245" y="7"/>
                </a:cubicBezTo>
                <a:cubicBezTo>
                  <a:pt x="3243" y="9"/>
                  <a:pt x="3242" y="10"/>
                  <a:pt x="3239" y="10"/>
                </a:cubicBezTo>
                <a:cubicBezTo>
                  <a:pt x="3238" y="12"/>
                  <a:pt x="3236" y="12"/>
                  <a:pt x="3234" y="13"/>
                </a:cubicBezTo>
                <a:cubicBezTo>
                  <a:pt x="3232" y="14"/>
                  <a:pt x="3231" y="15"/>
                  <a:pt x="3228" y="15"/>
                </a:cubicBezTo>
                <a:cubicBezTo>
                  <a:pt x="3228" y="15"/>
                  <a:pt x="3228" y="15"/>
                  <a:pt x="3228" y="25"/>
                </a:cubicBezTo>
                <a:cubicBezTo>
                  <a:pt x="3231" y="24"/>
                  <a:pt x="3234" y="23"/>
                  <a:pt x="3237" y="22"/>
                </a:cubicBezTo>
                <a:cubicBezTo>
                  <a:pt x="3239" y="21"/>
                  <a:pt x="3242" y="20"/>
                  <a:pt x="3244" y="18"/>
                </a:cubicBezTo>
                <a:cubicBezTo>
                  <a:pt x="3244" y="18"/>
                  <a:pt x="3244" y="18"/>
                  <a:pt x="3244" y="77"/>
                </a:cubicBezTo>
                <a:cubicBezTo>
                  <a:pt x="3244" y="77"/>
                  <a:pt x="3244" y="77"/>
                  <a:pt x="3256" y="77"/>
                </a:cubicBezTo>
                <a:cubicBezTo>
                  <a:pt x="3256" y="77"/>
                  <a:pt x="3256" y="77"/>
                  <a:pt x="3256" y="4"/>
                </a:cubicBezTo>
                <a:close/>
                <a:moveTo>
                  <a:pt x="3303" y="4"/>
                </a:moveTo>
                <a:cubicBezTo>
                  <a:pt x="3303" y="4"/>
                  <a:pt x="3303" y="4"/>
                  <a:pt x="3303" y="4"/>
                </a:cubicBezTo>
                <a:cubicBezTo>
                  <a:pt x="3298" y="4"/>
                  <a:pt x="3298" y="4"/>
                  <a:pt x="3298" y="4"/>
                </a:cubicBezTo>
                <a:cubicBezTo>
                  <a:pt x="3296" y="5"/>
                  <a:pt x="3294" y="7"/>
                  <a:pt x="3292" y="7"/>
                </a:cubicBezTo>
                <a:cubicBezTo>
                  <a:pt x="3291" y="9"/>
                  <a:pt x="3288" y="10"/>
                  <a:pt x="3287" y="10"/>
                </a:cubicBezTo>
                <a:cubicBezTo>
                  <a:pt x="3285" y="12"/>
                  <a:pt x="3283" y="12"/>
                  <a:pt x="3282" y="13"/>
                </a:cubicBezTo>
                <a:cubicBezTo>
                  <a:pt x="3280" y="14"/>
                  <a:pt x="3278" y="15"/>
                  <a:pt x="3276" y="15"/>
                </a:cubicBezTo>
                <a:cubicBezTo>
                  <a:pt x="3276" y="15"/>
                  <a:pt x="3276" y="15"/>
                  <a:pt x="3276" y="25"/>
                </a:cubicBezTo>
                <a:cubicBezTo>
                  <a:pt x="3279" y="24"/>
                  <a:pt x="3282" y="23"/>
                  <a:pt x="3284" y="22"/>
                </a:cubicBezTo>
                <a:cubicBezTo>
                  <a:pt x="3287" y="21"/>
                  <a:pt x="3289" y="20"/>
                  <a:pt x="3291" y="18"/>
                </a:cubicBezTo>
                <a:cubicBezTo>
                  <a:pt x="3291" y="18"/>
                  <a:pt x="3291" y="18"/>
                  <a:pt x="3291" y="77"/>
                </a:cubicBezTo>
                <a:cubicBezTo>
                  <a:pt x="3291" y="77"/>
                  <a:pt x="3291" y="77"/>
                  <a:pt x="3303" y="77"/>
                </a:cubicBezTo>
                <a:cubicBezTo>
                  <a:pt x="3303" y="77"/>
                  <a:pt x="3303" y="77"/>
                  <a:pt x="3303" y="4"/>
                </a:cubicBezTo>
                <a:close/>
                <a:moveTo>
                  <a:pt x="3349" y="4"/>
                </a:moveTo>
                <a:cubicBezTo>
                  <a:pt x="3349" y="4"/>
                  <a:pt x="3349" y="4"/>
                  <a:pt x="3349" y="4"/>
                </a:cubicBezTo>
                <a:cubicBezTo>
                  <a:pt x="3345" y="4"/>
                  <a:pt x="3345" y="4"/>
                  <a:pt x="3345" y="4"/>
                </a:cubicBezTo>
                <a:cubicBezTo>
                  <a:pt x="3343" y="5"/>
                  <a:pt x="3341" y="7"/>
                  <a:pt x="3339" y="7"/>
                </a:cubicBezTo>
                <a:cubicBezTo>
                  <a:pt x="3338" y="9"/>
                  <a:pt x="3336" y="10"/>
                  <a:pt x="3334" y="10"/>
                </a:cubicBezTo>
                <a:cubicBezTo>
                  <a:pt x="3332" y="11"/>
                  <a:pt x="3331" y="12"/>
                  <a:pt x="3328" y="12"/>
                </a:cubicBezTo>
                <a:cubicBezTo>
                  <a:pt x="3327" y="13"/>
                  <a:pt x="3325" y="14"/>
                  <a:pt x="3323" y="15"/>
                </a:cubicBezTo>
                <a:cubicBezTo>
                  <a:pt x="3323" y="15"/>
                  <a:pt x="3323" y="15"/>
                  <a:pt x="3323" y="25"/>
                </a:cubicBezTo>
                <a:cubicBezTo>
                  <a:pt x="3326" y="24"/>
                  <a:pt x="3329" y="23"/>
                  <a:pt x="3331" y="22"/>
                </a:cubicBezTo>
                <a:cubicBezTo>
                  <a:pt x="3333" y="21"/>
                  <a:pt x="3336" y="20"/>
                  <a:pt x="3338" y="18"/>
                </a:cubicBezTo>
                <a:cubicBezTo>
                  <a:pt x="3338" y="18"/>
                  <a:pt x="3338" y="18"/>
                  <a:pt x="3338" y="77"/>
                </a:cubicBezTo>
                <a:cubicBezTo>
                  <a:pt x="3338" y="77"/>
                  <a:pt x="3338" y="77"/>
                  <a:pt x="3349" y="77"/>
                </a:cubicBezTo>
                <a:cubicBezTo>
                  <a:pt x="3349" y="77"/>
                  <a:pt x="3349" y="77"/>
                  <a:pt x="3349" y="4"/>
                </a:cubicBezTo>
                <a:close/>
                <a:moveTo>
                  <a:pt x="1984" y="3"/>
                </a:moveTo>
                <a:cubicBezTo>
                  <a:pt x="1984" y="3"/>
                  <a:pt x="1984" y="3"/>
                  <a:pt x="1984" y="3"/>
                </a:cubicBezTo>
                <a:cubicBezTo>
                  <a:pt x="1979" y="3"/>
                  <a:pt x="1979" y="3"/>
                  <a:pt x="1979" y="3"/>
                </a:cubicBezTo>
                <a:cubicBezTo>
                  <a:pt x="1977" y="5"/>
                  <a:pt x="1975" y="6"/>
                  <a:pt x="1973" y="7"/>
                </a:cubicBezTo>
                <a:cubicBezTo>
                  <a:pt x="1972" y="8"/>
                  <a:pt x="1970" y="9"/>
                  <a:pt x="1968" y="10"/>
                </a:cubicBezTo>
                <a:cubicBezTo>
                  <a:pt x="1967" y="11"/>
                  <a:pt x="1965" y="12"/>
                  <a:pt x="1963" y="13"/>
                </a:cubicBezTo>
                <a:cubicBezTo>
                  <a:pt x="1961" y="13"/>
                  <a:pt x="1959" y="14"/>
                  <a:pt x="1957" y="14"/>
                </a:cubicBezTo>
                <a:cubicBezTo>
                  <a:pt x="1957" y="14"/>
                  <a:pt x="1957" y="14"/>
                  <a:pt x="1957" y="24"/>
                </a:cubicBezTo>
                <a:cubicBezTo>
                  <a:pt x="1960" y="23"/>
                  <a:pt x="1963" y="23"/>
                  <a:pt x="1965" y="21"/>
                </a:cubicBezTo>
                <a:cubicBezTo>
                  <a:pt x="1968" y="21"/>
                  <a:pt x="1970" y="19"/>
                  <a:pt x="1973" y="18"/>
                </a:cubicBezTo>
                <a:cubicBezTo>
                  <a:pt x="1973" y="18"/>
                  <a:pt x="1973" y="18"/>
                  <a:pt x="1973" y="76"/>
                </a:cubicBezTo>
                <a:cubicBezTo>
                  <a:pt x="1973" y="76"/>
                  <a:pt x="1973" y="76"/>
                  <a:pt x="1984" y="76"/>
                </a:cubicBezTo>
                <a:cubicBezTo>
                  <a:pt x="1984" y="76"/>
                  <a:pt x="1984" y="76"/>
                  <a:pt x="1984" y="3"/>
                </a:cubicBezTo>
                <a:close/>
                <a:moveTo>
                  <a:pt x="1582" y="5"/>
                </a:moveTo>
                <a:cubicBezTo>
                  <a:pt x="1582" y="5"/>
                  <a:pt x="1582" y="5"/>
                  <a:pt x="1582" y="5"/>
                </a:cubicBezTo>
                <a:cubicBezTo>
                  <a:pt x="1577" y="5"/>
                  <a:pt x="1577" y="5"/>
                  <a:pt x="1577" y="5"/>
                </a:cubicBezTo>
                <a:cubicBezTo>
                  <a:pt x="1575" y="7"/>
                  <a:pt x="1574" y="8"/>
                  <a:pt x="1571" y="9"/>
                </a:cubicBezTo>
                <a:cubicBezTo>
                  <a:pt x="1570" y="10"/>
                  <a:pt x="1568" y="11"/>
                  <a:pt x="1566" y="12"/>
                </a:cubicBezTo>
                <a:cubicBezTo>
                  <a:pt x="1564" y="12"/>
                  <a:pt x="1562" y="13"/>
                  <a:pt x="1561" y="14"/>
                </a:cubicBezTo>
                <a:cubicBezTo>
                  <a:pt x="1559" y="15"/>
                  <a:pt x="1557" y="15"/>
                  <a:pt x="1555" y="16"/>
                </a:cubicBezTo>
                <a:cubicBezTo>
                  <a:pt x="1555" y="16"/>
                  <a:pt x="1555" y="16"/>
                  <a:pt x="1555" y="26"/>
                </a:cubicBezTo>
                <a:cubicBezTo>
                  <a:pt x="1558" y="26"/>
                  <a:pt x="1561" y="24"/>
                  <a:pt x="1563" y="23"/>
                </a:cubicBezTo>
                <a:cubicBezTo>
                  <a:pt x="1566" y="23"/>
                  <a:pt x="1568" y="21"/>
                  <a:pt x="1571" y="20"/>
                </a:cubicBezTo>
                <a:cubicBezTo>
                  <a:pt x="1571" y="20"/>
                  <a:pt x="1571" y="20"/>
                  <a:pt x="1571" y="79"/>
                </a:cubicBezTo>
                <a:cubicBezTo>
                  <a:pt x="1571" y="79"/>
                  <a:pt x="1571" y="79"/>
                  <a:pt x="1582" y="79"/>
                </a:cubicBezTo>
                <a:cubicBezTo>
                  <a:pt x="1582" y="79"/>
                  <a:pt x="1582" y="79"/>
                  <a:pt x="1582" y="5"/>
                </a:cubicBezTo>
                <a:close/>
                <a:moveTo>
                  <a:pt x="1680" y="79"/>
                </a:moveTo>
                <a:cubicBezTo>
                  <a:pt x="1673" y="79"/>
                  <a:pt x="1667" y="76"/>
                  <a:pt x="1662" y="70"/>
                </a:cubicBezTo>
                <a:cubicBezTo>
                  <a:pt x="1659" y="63"/>
                  <a:pt x="1656" y="54"/>
                  <a:pt x="1656" y="42"/>
                </a:cubicBezTo>
                <a:cubicBezTo>
                  <a:pt x="1656" y="29"/>
                  <a:pt x="1659" y="19"/>
                  <a:pt x="1663" y="13"/>
                </a:cubicBezTo>
                <a:cubicBezTo>
                  <a:pt x="1667" y="6"/>
                  <a:pt x="1674" y="2"/>
                  <a:pt x="1683" y="2"/>
                </a:cubicBezTo>
                <a:cubicBezTo>
                  <a:pt x="1699" y="2"/>
                  <a:pt x="1707" y="15"/>
                  <a:pt x="1707" y="40"/>
                </a:cubicBezTo>
                <a:cubicBezTo>
                  <a:pt x="1707" y="53"/>
                  <a:pt x="1705" y="62"/>
                  <a:pt x="1699" y="69"/>
                </a:cubicBezTo>
                <a:cubicBezTo>
                  <a:pt x="1695" y="76"/>
                  <a:pt x="1688" y="79"/>
                  <a:pt x="1680" y="79"/>
                </a:cubicBezTo>
                <a:close/>
                <a:moveTo>
                  <a:pt x="1682" y="12"/>
                </a:moveTo>
                <a:cubicBezTo>
                  <a:pt x="1672" y="12"/>
                  <a:pt x="1668" y="22"/>
                  <a:pt x="1668" y="42"/>
                </a:cubicBezTo>
                <a:cubicBezTo>
                  <a:pt x="1668" y="60"/>
                  <a:pt x="1672" y="69"/>
                  <a:pt x="1681" y="69"/>
                </a:cubicBezTo>
                <a:cubicBezTo>
                  <a:pt x="1690" y="69"/>
                  <a:pt x="1694" y="60"/>
                  <a:pt x="1694" y="41"/>
                </a:cubicBezTo>
                <a:cubicBezTo>
                  <a:pt x="1694" y="21"/>
                  <a:pt x="1690" y="12"/>
                  <a:pt x="1682" y="12"/>
                </a:cubicBezTo>
                <a:close/>
                <a:moveTo>
                  <a:pt x="1754" y="5"/>
                </a:moveTo>
                <a:cubicBezTo>
                  <a:pt x="1754" y="5"/>
                  <a:pt x="1754" y="5"/>
                  <a:pt x="1754" y="5"/>
                </a:cubicBezTo>
                <a:cubicBezTo>
                  <a:pt x="1749" y="5"/>
                  <a:pt x="1749" y="5"/>
                  <a:pt x="1749" y="5"/>
                </a:cubicBezTo>
                <a:cubicBezTo>
                  <a:pt x="1747" y="7"/>
                  <a:pt x="1746" y="8"/>
                  <a:pt x="1743" y="9"/>
                </a:cubicBezTo>
                <a:cubicBezTo>
                  <a:pt x="1742" y="10"/>
                  <a:pt x="1740" y="11"/>
                  <a:pt x="1738" y="12"/>
                </a:cubicBezTo>
                <a:cubicBezTo>
                  <a:pt x="1736" y="12"/>
                  <a:pt x="1735" y="13"/>
                  <a:pt x="1733" y="14"/>
                </a:cubicBezTo>
                <a:cubicBezTo>
                  <a:pt x="1731" y="15"/>
                  <a:pt x="1730" y="15"/>
                  <a:pt x="1727" y="16"/>
                </a:cubicBezTo>
                <a:cubicBezTo>
                  <a:pt x="1727" y="16"/>
                  <a:pt x="1727" y="16"/>
                  <a:pt x="1727" y="26"/>
                </a:cubicBezTo>
                <a:cubicBezTo>
                  <a:pt x="1730" y="26"/>
                  <a:pt x="1733" y="24"/>
                  <a:pt x="1735" y="23"/>
                </a:cubicBezTo>
                <a:cubicBezTo>
                  <a:pt x="1738" y="23"/>
                  <a:pt x="1740" y="21"/>
                  <a:pt x="1743" y="20"/>
                </a:cubicBezTo>
                <a:cubicBezTo>
                  <a:pt x="1743" y="20"/>
                  <a:pt x="1743" y="20"/>
                  <a:pt x="1743" y="79"/>
                </a:cubicBezTo>
                <a:cubicBezTo>
                  <a:pt x="1743" y="79"/>
                  <a:pt x="1743" y="79"/>
                  <a:pt x="1754" y="79"/>
                </a:cubicBezTo>
                <a:cubicBezTo>
                  <a:pt x="1754" y="79"/>
                  <a:pt x="1754" y="79"/>
                  <a:pt x="1754" y="5"/>
                </a:cubicBezTo>
                <a:close/>
                <a:moveTo>
                  <a:pt x="1628" y="4"/>
                </a:moveTo>
                <a:cubicBezTo>
                  <a:pt x="1628" y="4"/>
                  <a:pt x="1628" y="4"/>
                  <a:pt x="1628" y="4"/>
                </a:cubicBezTo>
                <a:cubicBezTo>
                  <a:pt x="1623" y="4"/>
                  <a:pt x="1623" y="4"/>
                  <a:pt x="1623" y="4"/>
                </a:cubicBezTo>
                <a:cubicBezTo>
                  <a:pt x="1621" y="6"/>
                  <a:pt x="1620" y="7"/>
                  <a:pt x="1618" y="8"/>
                </a:cubicBezTo>
                <a:cubicBezTo>
                  <a:pt x="1616" y="9"/>
                  <a:pt x="1614" y="10"/>
                  <a:pt x="1613" y="11"/>
                </a:cubicBezTo>
                <a:cubicBezTo>
                  <a:pt x="1611" y="12"/>
                  <a:pt x="1609" y="13"/>
                  <a:pt x="1607" y="14"/>
                </a:cubicBezTo>
                <a:cubicBezTo>
                  <a:pt x="1605" y="14"/>
                  <a:pt x="1604" y="15"/>
                  <a:pt x="1602" y="15"/>
                </a:cubicBezTo>
                <a:cubicBezTo>
                  <a:pt x="1602" y="15"/>
                  <a:pt x="1602" y="15"/>
                  <a:pt x="1602" y="25"/>
                </a:cubicBezTo>
                <a:cubicBezTo>
                  <a:pt x="1605" y="25"/>
                  <a:pt x="1607" y="24"/>
                  <a:pt x="1610" y="22"/>
                </a:cubicBezTo>
                <a:cubicBezTo>
                  <a:pt x="1613" y="22"/>
                  <a:pt x="1615" y="20"/>
                  <a:pt x="1617" y="19"/>
                </a:cubicBezTo>
                <a:cubicBezTo>
                  <a:pt x="1617" y="19"/>
                  <a:pt x="1617" y="19"/>
                  <a:pt x="1617" y="78"/>
                </a:cubicBezTo>
                <a:cubicBezTo>
                  <a:pt x="1617" y="78"/>
                  <a:pt x="1617" y="78"/>
                  <a:pt x="1628" y="78"/>
                </a:cubicBezTo>
                <a:cubicBezTo>
                  <a:pt x="1628" y="78"/>
                  <a:pt x="1628" y="78"/>
                  <a:pt x="1628" y="4"/>
                </a:cubicBezTo>
                <a:close/>
                <a:moveTo>
                  <a:pt x="3370" y="38"/>
                </a:moveTo>
                <a:cubicBezTo>
                  <a:pt x="3370" y="38"/>
                  <a:pt x="3370" y="38"/>
                  <a:pt x="3370" y="38"/>
                </a:cubicBezTo>
                <a:cubicBezTo>
                  <a:pt x="3369" y="47"/>
                  <a:pt x="3369" y="47"/>
                  <a:pt x="3369" y="47"/>
                </a:cubicBezTo>
                <a:cubicBezTo>
                  <a:pt x="3376" y="47"/>
                  <a:pt x="3377" y="50"/>
                  <a:pt x="3377" y="53"/>
                </a:cubicBezTo>
                <a:cubicBezTo>
                  <a:pt x="3377" y="55"/>
                  <a:pt x="3376" y="57"/>
                  <a:pt x="3376" y="60"/>
                </a:cubicBezTo>
                <a:cubicBezTo>
                  <a:pt x="3376" y="62"/>
                  <a:pt x="3375" y="65"/>
                  <a:pt x="3375" y="67"/>
                </a:cubicBezTo>
                <a:cubicBezTo>
                  <a:pt x="3375" y="76"/>
                  <a:pt x="3382" y="80"/>
                  <a:pt x="3390" y="80"/>
                </a:cubicBezTo>
                <a:cubicBezTo>
                  <a:pt x="3390" y="80"/>
                  <a:pt x="3390" y="80"/>
                  <a:pt x="3394" y="80"/>
                </a:cubicBezTo>
                <a:cubicBezTo>
                  <a:pt x="3394" y="80"/>
                  <a:pt x="3394" y="80"/>
                  <a:pt x="3394" y="71"/>
                </a:cubicBezTo>
                <a:cubicBezTo>
                  <a:pt x="3394" y="71"/>
                  <a:pt x="3394" y="71"/>
                  <a:pt x="3392" y="71"/>
                </a:cubicBezTo>
                <a:cubicBezTo>
                  <a:pt x="3389" y="71"/>
                  <a:pt x="3388" y="68"/>
                  <a:pt x="3388" y="65"/>
                </a:cubicBezTo>
                <a:cubicBezTo>
                  <a:pt x="3388" y="63"/>
                  <a:pt x="3388" y="62"/>
                  <a:pt x="3388" y="60"/>
                </a:cubicBezTo>
                <a:cubicBezTo>
                  <a:pt x="3388" y="58"/>
                  <a:pt x="3388" y="56"/>
                  <a:pt x="3388" y="54"/>
                </a:cubicBezTo>
                <a:cubicBezTo>
                  <a:pt x="3388" y="46"/>
                  <a:pt x="3385" y="44"/>
                  <a:pt x="3380" y="43"/>
                </a:cubicBezTo>
                <a:cubicBezTo>
                  <a:pt x="3380" y="43"/>
                  <a:pt x="3380" y="43"/>
                  <a:pt x="3380" y="42"/>
                </a:cubicBezTo>
                <a:cubicBezTo>
                  <a:pt x="3385" y="41"/>
                  <a:pt x="3388" y="39"/>
                  <a:pt x="3388" y="31"/>
                </a:cubicBezTo>
                <a:cubicBezTo>
                  <a:pt x="3388" y="29"/>
                  <a:pt x="3388" y="27"/>
                  <a:pt x="3388" y="25"/>
                </a:cubicBezTo>
                <a:cubicBezTo>
                  <a:pt x="3388" y="23"/>
                  <a:pt x="3388" y="22"/>
                  <a:pt x="3388" y="20"/>
                </a:cubicBezTo>
                <a:cubicBezTo>
                  <a:pt x="3388" y="17"/>
                  <a:pt x="3389" y="15"/>
                  <a:pt x="3392" y="15"/>
                </a:cubicBezTo>
                <a:cubicBezTo>
                  <a:pt x="3392" y="15"/>
                  <a:pt x="3392" y="15"/>
                  <a:pt x="3394" y="15"/>
                </a:cubicBezTo>
                <a:cubicBezTo>
                  <a:pt x="3394" y="15"/>
                  <a:pt x="3394" y="15"/>
                  <a:pt x="3394" y="5"/>
                </a:cubicBezTo>
                <a:cubicBezTo>
                  <a:pt x="3394" y="5"/>
                  <a:pt x="3394" y="5"/>
                  <a:pt x="3390" y="5"/>
                </a:cubicBezTo>
                <a:cubicBezTo>
                  <a:pt x="3381" y="5"/>
                  <a:pt x="3375" y="9"/>
                  <a:pt x="3375" y="18"/>
                </a:cubicBezTo>
                <a:cubicBezTo>
                  <a:pt x="3375" y="20"/>
                  <a:pt x="3376" y="23"/>
                  <a:pt x="3376" y="25"/>
                </a:cubicBezTo>
                <a:cubicBezTo>
                  <a:pt x="3376" y="28"/>
                  <a:pt x="3377" y="30"/>
                  <a:pt x="3377" y="32"/>
                </a:cubicBezTo>
                <a:cubicBezTo>
                  <a:pt x="3377" y="35"/>
                  <a:pt x="3376" y="38"/>
                  <a:pt x="3370" y="38"/>
                </a:cubicBezTo>
                <a:close/>
                <a:moveTo>
                  <a:pt x="3425" y="47"/>
                </a:moveTo>
                <a:cubicBezTo>
                  <a:pt x="3425" y="47"/>
                  <a:pt x="3425" y="47"/>
                  <a:pt x="3425" y="47"/>
                </a:cubicBezTo>
                <a:cubicBezTo>
                  <a:pt x="3425" y="38"/>
                  <a:pt x="3425" y="38"/>
                  <a:pt x="3425" y="38"/>
                </a:cubicBezTo>
                <a:cubicBezTo>
                  <a:pt x="3418" y="38"/>
                  <a:pt x="3418" y="35"/>
                  <a:pt x="3418" y="32"/>
                </a:cubicBezTo>
                <a:cubicBezTo>
                  <a:pt x="3418" y="30"/>
                  <a:pt x="3418" y="28"/>
                  <a:pt x="3418" y="25"/>
                </a:cubicBezTo>
                <a:cubicBezTo>
                  <a:pt x="3419" y="23"/>
                  <a:pt x="3419" y="20"/>
                  <a:pt x="3419" y="18"/>
                </a:cubicBezTo>
                <a:cubicBezTo>
                  <a:pt x="3419" y="9"/>
                  <a:pt x="3414" y="5"/>
                  <a:pt x="3404" y="5"/>
                </a:cubicBezTo>
                <a:cubicBezTo>
                  <a:pt x="3404" y="5"/>
                  <a:pt x="3404" y="5"/>
                  <a:pt x="3401" y="5"/>
                </a:cubicBezTo>
                <a:cubicBezTo>
                  <a:pt x="3401" y="5"/>
                  <a:pt x="3401" y="5"/>
                  <a:pt x="3401" y="15"/>
                </a:cubicBezTo>
                <a:cubicBezTo>
                  <a:pt x="3401" y="15"/>
                  <a:pt x="3401" y="15"/>
                  <a:pt x="3402" y="15"/>
                </a:cubicBezTo>
                <a:cubicBezTo>
                  <a:pt x="3406" y="15"/>
                  <a:pt x="3407" y="17"/>
                  <a:pt x="3407" y="20"/>
                </a:cubicBezTo>
                <a:cubicBezTo>
                  <a:pt x="3407" y="22"/>
                  <a:pt x="3407" y="23"/>
                  <a:pt x="3407" y="25"/>
                </a:cubicBezTo>
                <a:cubicBezTo>
                  <a:pt x="3407" y="27"/>
                  <a:pt x="3407" y="29"/>
                  <a:pt x="3407" y="31"/>
                </a:cubicBezTo>
                <a:cubicBezTo>
                  <a:pt x="3407" y="39"/>
                  <a:pt x="3409" y="41"/>
                  <a:pt x="3415" y="42"/>
                </a:cubicBezTo>
                <a:cubicBezTo>
                  <a:pt x="3415" y="42"/>
                  <a:pt x="3415" y="42"/>
                  <a:pt x="3415" y="43"/>
                </a:cubicBezTo>
                <a:cubicBezTo>
                  <a:pt x="3409" y="44"/>
                  <a:pt x="3407" y="46"/>
                  <a:pt x="3407" y="54"/>
                </a:cubicBezTo>
                <a:cubicBezTo>
                  <a:pt x="3407" y="56"/>
                  <a:pt x="3407" y="58"/>
                  <a:pt x="3407" y="60"/>
                </a:cubicBezTo>
                <a:cubicBezTo>
                  <a:pt x="3407" y="62"/>
                  <a:pt x="3407" y="63"/>
                  <a:pt x="3407" y="65"/>
                </a:cubicBezTo>
                <a:cubicBezTo>
                  <a:pt x="3407" y="68"/>
                  <a:pt x="3406" y="71"/>
                  <a:pt x="3402" y="71"/>
                </a:cubicBezTo>
                <a:cubicBezTo>
                  <a:pt x="3402" y="71"/>
                  <a:pt x="3402" y="71"/>
                  <a:pt x="3401" y="71"/>
                </a:cubicBezTo>
                <a:cubicBezTo>
                  <a:pt x="3401" y="71"/>
                  <a:pt x="3401" y="71"/>
                  <a:pt x="3401" y="80"/>
                </a:cubicBezTo>
                <a:cubicBezTo>
                  <a:pt x="3401" y="80"/>
                  <a:pt x="3401" y="80"/>
                  <a:pt x="3404" y="80"/>
                </a:cubicBezTo>
                <a:cubicBezTo>
                  <a:pt x="3413" y="80"/>
                  <a:pt x="3419" y="76"/>
                  <a:pt x="3419" y="67"/>
                </a:cubicBezTo>
                <a:cubicBezTo>
                  <a:pt x="3419" y="65"/>
                  <a:pt x="3419" y="62"/>
                  <a:pt x="3418" y="60"/>
                </a:cubicBezTo>
                <a:cubicBezTo>
                  <a:pt x="3418" y="57"/>
                  <a:pt x="3418" y="55"/>
                  <a:pt x="3418" y="53"/>
                </a:cubicBezTo>
                <a:cubicBezTo>
                  <a:pt x="3418" y="50"/>
                  <a:pt x="3418" y="47"/>
                  <a:pt x="3425" y="47"/>
                </a:cubicBezTo>
                <a:close/>
                <a:moveTo>
                  <a:pt x="3472" y="6"/>
                </a:moveTo>
                <a:cubicBezTo>
                  <a:pt x="3472" y="6"/>
                  <a:pt x="3472" y="6"/>
                  <a:pt x="3472" y="6"/>
                </a:cubicBezTo>
                <a:cubicBezTo>
                  <a:pt x="3467" y="6"/>
                  <a:pt x="3467" y="6"/>
                  <a:pt x="3467" y="6"/>
                </a:cubicBezTo>
                <a:cubicBezTo>
                  <a:pt x="3464" y="8"/>
                  <a:pt x="3463" y="9"/>
                  <a:pt x="3461" y="10"/>
                </a:cubicBezTo>
                <a:cubicBezTo>
                  <a:pt x="3459" y="11"/>
                  <a:pt x="3457" y="12"/>
                  <a:pt x="3455" y="13"/>
                </a:cubicBezTo>
                <a:cubicBezTo>
                  <a:pt x="3453" y="13"/>
                  <a:pt x="3452" y="14"/>
                  <a:pt x="3450" y="15"/>
                </a:cubicBezTo>
                <a:cubicBezTo>
                  <a:pt x="3448" y="16"/>
                  <a:pt x="3447" y="16"/>
                  <a:pt x="3444" y="17"/>
                </a:cubicBezTo>
                <a:cubicBezTo>
                  <a:pt x="3444" y="17"/>
                  <a:pt x="3444" y="17"/>
                  <a:pt x="3444" y="27"/>
                </a:cubicBezTo>
                <a:cubicBezTo>
                  <a:pt x="3447" y="26"/>
                  <a:pt x="3450" y="25"/>
                  <a:pt x="3452" y="24"/>
                </a:cubicBezTo>
                <a:cubicBezTo>
                  <a:pt x="3455" y="24"/>
                  <a:pt x="3458" y="22"/>
                  <a:pt x="3460" y="21"/>
                </a:cubicBezTo>
                <a:cubicBezTo>
                  <a:pt x="3460" y="21"/>
                  <a:pt x="3460" y="21"/>
                  <a:pt x="3460" y="80"/>
                </a:cubicBezTo>
                <a:cubicBezTo>
                  <a:pt x="3460" y="80"/>
                  <a:pt x="3460" y="80"/>
                  <a:pt x="3472" y="80"/>
                </a:cubicBezTo>
                <a:cubicBezTo>
                  <a:pt x="3472" y="80"/>
                  <a:pt x="3472" y="80"/>
                  <a:pt x="3472" y="6"/>
                </a:cubicBezTo>
                <a:close/>
                <a:moveTo>
                  <a:pt x="3518" y="6"/>
                </a:moveTo>
                <a:cubicBezTo>
                  <a:pt x="3518" y="6"/>
                  <a:pt x="3518" y="6"/>
                  <a:pt x="3518" y="6"/>
                </a:cubicBezTo>
                <a:cubicBezTo>
                  <a:pt x="3513" y="6"/>
                  <a:pt x="3513" y="6"/>
                  <a:pt x="3513" y="6"/>
                </a:cubicBezTo>
                <a:cubicBezTo>
                  <a:pt x="3511" y="8"/>
                  <a:pt x="3509" y="9"/>
                  <a:pt x="3507" y="10"/>
                </a:cubicBezTo>
                <a:cubicBezTo>
                  <a:pt x="3506" y="11"/>
                  <a:pt x="3504" y="12"/>
                  <a:pt x="3502" y="13"/>
                </a:cubicBezTo>
                <a:cubicBezTo>
                  <a:pt x="3501" y="14"/>
                  <a:pt x="3499" y="15"/>
                  <a:pt x="3497" y="16"/>
                </a:cubicBezTo>
                <a:cubicBezTo>
                  <a:pt x="3495" y="16"/>
                  <a:pt x="3494" y="17"/>
                  <a:pt x="3491" y="17"/>
                </a:cubicBezTo>
                <a:cubicBezTo>
                  <a:pt x="3491" y="17"/>
                  <a:pt x="3491" y="17"/>
                  <a:pt x="3491" y="27"/>
                </a:cubicBezTo>
                <a:cubicBezTo>
                  <a:pt x="3494" y="26"/>
                  <a:pt x="3497" y="26"/>
                  <a:pt x="3499" y="24"/>
                </a:cubicBezTo>
                <a:cubicBezTo>
                  <a:pt x="3502" y="24"/>
                  <a:pt x="3504" y="22"/>
                  <a:pt x="3506" y="21"/>
                </a:cubicBezTo>
                <a:cubicBezTo>
                  <a:pt x="3506" y="21"/>
                  <a:pt x="3506" y="21"/>
                  <a:pt x="3506" y="80"/>
                </a:cubicBezTo>
                <a:cubicBezTo>
                  <a:pt x="3506" y="80"/>
                  <a:pt x="3506" y="80"/>
                  <a:pt x="3518" y="80"/>
                </a:cubicBezTo>
                <a:cubicBezTo>
                  <a:pt x="3518" y="80"/>
                  <a:pt x="3518" y="80"/>
                  <a:pt x="3518" y="6"/>
                </a:cubicBezTo>
                <a:close/>
                <a:moveTo>
                  <a:pt x="3564" y="6"/>
                </a:moveTo>
                <a:cubicBezTo>
                  <a:pt x="3564" y="6"/>
                  <a:pt x="3564" y="6"/>
                  <a:pt x="3564" y="6"/>
                </a:cubicBezTo>
                <a:cubicBezTo>
                  <a:pt x="3560" y="6"/>
                  <a:pt x="3560" y="6"/>
                  <a:pt x="3560" y="6"/>
                </a:cubicBezTo>
                <a:cubicBezTo>
                  <a:pt x="3557" y="8"/>
                  <a:pt x="3556" y="9"/>
                  <a:pt x="3554" y="10"/>
                </a:cubicBezTo>
                <a:cubicBezTo>
                  <a:pt x="3552" y="11"/>
                  <a:pt x="3550" y="12"/>
                  <a:pt x="3549" y="13"/>
                </a:cubicBezTo>
                <a:cubicBezTo>
                  <a:pt x="3547" y="14"/>
                  <a:pt x="3545" y="15"/>
                  <a:pt x="3543" y="16"/>
                </a:cubicBezTo>
                <a:cubicBezTo>
                  <a:pt x="3542" y="16"/>
                  <a:pt x="3539" y="17"/>
                  <a:pt x="3538" y="17"/>
                </a:cubicBezTo>
                <a:cubicBezTo>
                  <a:pt x="3538" y="17"/>
                  <a:pt x="3538" y="17"/>
                  <a:pt x="3538" y="27"/>
                </a:cubicBezTo>
                <a:cubicBezTo>
                  <a:pt x="3541" y="26"/>
                  <a:pt x="3544" y="26"/>
                  <a:pt x="3546" y="24"/>
                </a:cubicBezTo>
                <a:cubicBezTo>
                  <a:pt x="3548" y="24"/>
                  <a:pt x="3551" y="22"/>
                  <a:pt x="3552" y="21"/>
                </a:cubicBezTo>
                <a:cubicBezTo>
                  <a:pt x="3552" y="21"/>
                  <a:pt x="3552" y="21"/>
                  <a:pt x="3552" y="80"/>
                </a:cubicBezTo>
                <a:cubicBezTo>
                  <a:pt x="3552" y="80"/>
                  <a:pt x="3552" y="80"/>
                  <a:pt x="3564" y="80"/>
                </a:cubicBezTo>
                <a:cubicBezTo>
                  <a:pt x="3564" y="80"/>
                  <a:pt x="3564" y="80"/>
                  <a:pt x="3564" y="6"/>
                </a:cubicBezTo>
                <a:close/>
                <a:moveTo>
                  <a:pt x="3609" y="6"/>
                </a:moveTo>
                <a:cubicBezTo>
                  <a:pt x="3609" y="6"/>
                  <a:pt x="3609" y="6"/>
                  <a:pt x="3609" y="6"/>
                </a:cubicBezTo>
                <a:cubicBezTo>
                  <a:pt x="3605" y="6"/>
                  <a:pt x="3605" y="6"/>
                  <a:pt x="3605" y="6"/>
                </a:cubicBezTo>
                <a:cubicBezTo>
                  <a:pt x="3603" y="8"/>
                  <a:pt x="3602" y="9"/>
                  <a:pt x="3599" y="10"/>
                </a:cubicBezTo>
                <a:cubicBezTo>
                  <a:pt x="3598" y="11"/>
                  <a:pt x="3596" y="12"/>
                  <a:pt x="3594" y="13"/>
                </a:cubicBezTo>
                <a:cubicBezTo>
                  <a:pt x="3592" y="14"/>
                  <a:pt x="3591" y="15"/>
                  <a:pt x="3589" y="16"/>
                </a:cubicBezTo>
                <a:cubicBezTo>
                  <a:pt x="3587" y="16"/>
                  <a:pt x="3585" y="17"/>
                  <a:pt x="3584" y="17"/>
                </a:cubicBezTo>
                <a:cubicBezTo>
                  <a:pt x="3584" y="17"/>
                  <a:pt x="3584" y="17"/>
                  <a:pt x="3584" y="27"/>
                </a:cubicBezTo>
                <a:cubicBezTo>
                  <a:pt x="3586" y="26"/>
                  <a:pt x="3589" y="26"/>
                  <a:pt x="3591" y="24"/>
                </a:cubicBezTo>
                <a:cubicBezTo>
                  <a:pt x="3594" y="24"/>
                  <a:pt x="3596" y="22"/>
                  <a:pt x="3598" y="21"/>
                </a:cubicBezTo>
                <a:cubicBezTo>
                  <a:pt x="3598" y="21"/>
                  <a:pt x="3598" y="21"/>
                  <a:pt x="3598" y="80"/>
                </a:cubicBezTo>
                <a:cubicBezTo>
                  <a:pt x="3598" y="80"/>
                  <a:pt x="3598" y="80"/>
                  <a:pt x="3609" y="80"/>
                </a:cubicBezTo>
                <a:cubicBezTo>
                  <a:pt x="3609" y="80"/>
                  <a:pt x="3609" y="80"/>
                  <a:pt x="3609" y="6"/>
                </a:cubicBezTo>
                <a:close/>
                <a:moveTo>
                  <a:pt x="3630" y="38"/>
                </a:moveTo>
                <a:cubicBezTo>
                  <a:pt x="3630" y="38"/>
                  <a:pt x="3630" y="38"/>
                  <a:pt x="3630" y="38"/>
                </a:cubicBezTo>
                <a:cubicBezTo>
                  <a:pt x="3630" y="47"/>
                  <a:pt x="3630" y="47"/>
                  <a:pt x="3630" y="47"/>
                </a:cubicBezTo>
                <a:cubicBezTo>
                  <a:pt x="3636" y="47"/>
                  <a:pt x="3637" y="50"/>
                  <a:pt x="3637" y="53"/>
                </a:cubicBezTo>
                <a:cubicBezTo>
                  <a:pt x="3637" y="55"/>
                  <a:pt x="3636" y="57"/>
                  <a:pt x="3636" y="60"/>
                </a:cubicBezTo>
                <a:cubicBezTo>
                  <a:pt x="3636" y="62"/>
                  <a:pt x="3636" y="65"/>
                  <a:pt x="3636" y="67"/>
                </a:cubicBezTo>
                <a:cubicBezTo>
                  <a:pt x="3636" y="76"/>
                  <a:pt x="3641" y="80"/>
                  <a:pt x="3650" y="80"/>
                </a:cubicBezTo>
                <a:cubicBezTo>
                  <a:pt x="3650" y="80"/>
                  <a:pt x="3650" y="80"/>
                  <a:pt x="3654" y="80"/>
                </a:cubicBezTo>
                <a:cubicBezTo>
                  <a:pt x="3654" y="80"/>
                  <a:pt x="3654" y="80"/>
                  <a:pt x="3654" y="71"/>
                </a:cubicBezTo>
                <a:cubicBezTo>
                  <a:pt x="3654" y="71"/>
                  <a:pt x="3654" y="71"/>
                  <a:pt x="3652" y="71"/>
                </a:cubicBezTo>
                <a:cubicBezTo>
                  <a:pt x="3648" y="71"/>
                  <a:pt x="3647" y="68"/>
                  <a:pt x="3647" y="65"/>
                </a:cubicBezTo>
                <a:cubicBezTo>
                  <a:pt x="3647" y="63"/>
                  <a:pt x="3647" y="62"/>
                  <a:pt x="3648" y="60"/>
                </a:cubicBezTo>
                <a:cubicBezTo>
                  <a:pt x="3648" y="58"/>
                  <a:pt x="3648" y="56"/>
                  <a:pt x="3648" y="54"/>
                </a:cubicBezTo>
                <a:cubicBezTo>
                  <a:pt x="3648" y="46"/>
                  <a:pt x="3645" y="44"/>
                  <a:pt x="3640" y="43"/>
                </a:cubicBezTo>
                <a:cubicBezTo>
                  <a:pt x="3640" y="43"/>
                  <a:pt x="3640" y="43"/>
                  <a:pt x="3640" y="42"/>
                </a:cubicBezTo>
                <a:cubicBezTo>
                  <a:pt x="3645" y="41"/>
                  <a:pt x="3648" y="39"/>
                  <a:pt x="3648" y="31"/>
                </a:cubicBezTo>
                <a:cubicBezTo>
                  <a:pt x="3648" y="29"/>
                  <a:pt x="3648" y="27"/>
                  <a:pt x="3648" y="25"/>
                </a:cubicBezTo>
                <a:cubicBezTo>
                  <a:pt x="3647" y="23"/>
                  <a:pt x="3647" y="22"/>
                  <a:pt x="3647" y="20"/>
                </a:cubicBezTo>
                <a:cubicBezTo>
                  <a:pt x="3647" y="17"/>
                  <a:pt x="3648" y="15"/>
                  <a:pt x="3652" y="15"/>
                </a:cubicBezTo>
                <a:cubicBezTo>
                  <a:pt x="3652" y="15"/>
                  <a:pt x="3652" y="15"/>
                  <a:pt x="3654" y="15"/>
                </a:cubicBezTo>
                <a:cubicBezTo>
                  <a:pt x="3654" y="15"/>
                  <a:pt x="3654" y="15"/>
                  <a:pt x="3654" y="5"/>
                </a:cubicBezTo>
                <a:cubicBezTo>
                  <a:pt x="3654" y="5"/>
                  <a:pt x="3654" y="5"/>
                  <a:pt x="3650" y="5"/>
                </a:cubicBezTo>
                <a:cubicBezTo>
                  <a:pt x="3641" y="5"/>
                  <a:pt x="3636" y="9"/>
                  <a:pt x="3636" y="18"/>
                </a:cubicBezTo>
                <a:cubicBezTo>
                  <a:pt x="3636" y="20"/>
                  <a:pt x="3636" y="23"/>
                  <a:pt x="3636" y="25"/>
                </a:cubicBezTo>
                <a:cubicBezTo>
                  <a:pt x="3636" y="28"/>
                  <a:pt x="3637" y="30"/>
                  <a:pt x="3637" y="32"/>
                </a:cubicBezTo>
                <a:cubicBezTo>
                  <a:pt x="3637" y="35"/>
                  <a:pt x="3636" y="38"/>
                  <a:pt x="3630" y="38"/>
                </a:cubicBezTo>
                <a:close/>
                <a:moveTo>
                  <a:pt x="89" y="2177"/>
                </a:moveTo>
                <a:cubicBezTo>
                  <a:pt x="81" y="2177"/>
                  <a:pt x="75" y="2174"/>
                  <a:pt x="70" y="2168"/>
                </a:cubicBezTo>
                <a:cubicBezTo>
                  <a:pt x="67" y="2162"/>
                  <a:pt x="65" y="2153"/>
                  <a:pt x="65" y="2141"/>
                </a:cubicBezTo>
                <a:cubicBezTo>
                  <a:pt x="65" y="2128"/>
                  <a:pt x="67" y="2118"/>
                  <a:pt x="71" y="2112"/>
                </a:cubicBezTo>
                <a:cubicBezTo>
                  <a:pt x="76" y="2105"/>
                  <a:pt x="82" y="2101"/>
                  <a:pt x="91" y="2101"/>
                </a:cubicBezTo>
                <a:cubicBezTo>
                  <a:pt x="107" y="2101"/>
                  <a:pt x="115" y="2114"/>
                  <a:pt x="115" y="2139"/>
                </a:cubicBezTo>
                <a:cubicBezTo>
                  <a:pt x="115" y="2152"/>
                  <a:pt x="113" y="2161"/>
                  <a:pt x="108" y="2168"/>
                </a:cubicBezTo>
                <a:cubicBezTo>
                  <a:pt x="103" y="2174"/>
                  <a:pt x="97" y="2177"/>
                  <a:pt x="89" y="2177"/>
                </a:cubicBezTo>
                <a:close/>
                <a:moveTo>
                  <a:pt x="90" y="2111"/>
                </a:moveTo>
                <a:cubicBezTo>
                  <a:pt x="81" y="2111"/>
                  <a:pt x="76" y="2121"/>
                  <a:pt x="76" y="2141"/>
                </a:cubicBezTo>
                <a:cubicBezTo>
                  <a:pt x="76" y="2159"/>
                  <a:pt x="81" y="2168"/>
                  <a:pt x="89" y="2168"/>
                </a:cubicBezTo>
                <a:cubicBezTo>
                  <a:pt x="98" y="2168"/>
                  <a:pt x="103" y="2159"/>
                  <a:pt x="103" y="2140"/>
                </a:cubicBezTo>
                <a:cubicBezTo>
                  <a:pt x="103" y="2120"/>
                  <a:pt x="98" y="2111"/>
                  <a:pt x="90" y="2111"/>
                </a:cubicBezTo>
                <a:close/>
                <a:moveTo>
                  <a:pt x="163" y="2104"/>
                </a:moveTo>
                <a:cubicBezTo>
                  <a:pt x="163" y="2104"/>
                  <a:pt x="163" y="2104"/>
                  <a:pt x="163" y="2104"/>
                </a:cubicBezTo>
                <a:cubicBezTo>
                  <a:pt x="157" y="2104"/>
                  <a:pt x="157" y="2104"/>
                  <a:pt x="157" y="2104"/>
                </a:cubicBezTo>
                <a:cubicBezTo>
                  <a:pt x="155" y="2105"/>
                  <a:pt x="154" y="2107"/>
                  <a:pt x="152" y="2107"/>
                </a:cubicBezTo>
                <a:cubicBezTo>
                  <a:pt x="150" y="2109"/>
                  <a:pt x="148" y="2110"/>
                  <a:pt x="147" y="2110"/>
                </a:cubicBezTo>
                <a:cubicBezTo>
                  <a:pt x="144" y="2111"/>
                  <a:pt x="143" y="2112"/>
                  <a:pt x="142" y="2112"/>
                </a:cubicBezTo>
                <a:cubicBezTo>
                  <a:pt x="139" y="2113"/>
                  <a:pt x="138" y="2114"/>
                  <a:pt x="136" y="2115"/>
                </a:cubicBezTo>
                <a:cubicBezTo>
                  <a:pt x="136" y="2115"/>
                  <a:pt x="136" y="2115"/>
                  <a:pt x="136" y="2125"/>
                </a:cubicBezTo>
                <a:cubicBezTo>
                  <a:pt x="139" y="2124"/>
                  <a:pt x="142" y="2123"/>
                  <a:pt x="144" y="2122"/>
                </a:cubicBezTo>
                <a:cubicBezTo>
                  <a:pt x="147" y="2121"/>
                  <a:pt x="149" y="2120"/>
                  <a:pt x="151" y="2118"/>
                </a:cubicBezTo>
                <a:cubicBezTo>
                  <a:pt x="151" y="2118"/>
                  <a:pt x="151" y="2118"/>
                  <a:pt x="151" y="2177"/>
                </a:cubicBezTo>
                <a:cubicBezTo>
                  <a:pt x="151" y="2177"/>
                  <a:pt x="151" y="2177"/>
                  <a:pt x="163" y="2177"/>
                </a:cubicBezTo>
                <a:cubicBezTo>
                  <a:pt x="163" y="2177"/>
                  <a:pt x="163" y="2177"/>
                  <a:pt x="163" y="2104"/>
                </a:cubicBezTo>
                <a:close/>
                <a:moveTo>
                  <a:pt x="210" y="2104"/>
                </a:moveTo>
                <a:cubicBezTo>
                  <a:pt x="210" y="2104"/>
                  <a:pt x="210" y="2104"/>
                  <a:pt x="210" y="2104"/>
                </a:cubicBezTo>
                <a:cubicBezTo>
                  <a:pt x="205" y="2104"/>
                  <a:pt x="205" y="2104"/>
                  <a:pt x="205" y="2104"/>
                </a:cubicBezTo>
                <a:cubicBezTo>
                  <a:pt x="202" y="2105"/>
                  <a:pt x="201" y="2107"/>
                  <a:pt x="199" y="2107"/>
                </a:cubicBezTo>
                <a:cubicBezTo>
                  <a:pt x="197" y="2109"/>
                  <a:pt x="195" y="2110"/>
                  <a:pt x="194" y="2110"/>
                </a:cubicBezTo>
                <a:cubicBezTo>
                  <a:pt x="192" y="2112"/>
                  <a:pt x="190" y="2112"/>
                  <a:pt x="189" y="2113"/>
                </a:cubicBezTo>
                <a:cubicBezTo>
                  <a:pt x="187" y="2114"/>
                  <a:pt x="185" y="2115"/>
                  <a:pt x="183" y="2115"/>
                </a:cubicBezTo>
                <a:cubicBezTo>
                  <a:pt x="183" y="2115"/>
                  <a:pt x="183" y="2115"/>
                  <a:pt x="183" y="2125"/>
                </a:cubicBezTo>
                <a:cubicBezTo>
                  <a:pt x="186" y="2124"/>
                  <a:pt x="189" y="2123"/>
                  <a:pt x="191" y="2122"/>
                </a:cubicBezTo>
                <a:cubicBezTo>
                  <a:pt x="194" y="2121"/>
                  <a:pt x="196" y="2120"/>
                  <a:pt x="198" y="2118"/>
                </a:cubicBezTo>
                <a:cubicBezTo>
                  <a:pt x="198" y="2118"/>
                  <a:pt x="198" y="2118"/>
                  <a:pt x="198" y="2177"/>
                </a:cubicBezTo>
                <a:cubicBezTo>
                  <a:pt x="198" y="2177"/>
                  <a:pt x="198" y="2177"/>
                  <a:pt x="210" y="2177"/>
                </a:cubicBezTo>
                <a:cubicBezTo>
                  <a:pt x="210" y="2177"/>
                  <a:pt x="210" y="2177"/>
                  <a:pt x="210" y="2104"/>
                </a:cubicBezTo>
                <a:close/>
                <a:moveTo>
                  <a:pt x="256" y="2104"/>
                </a:moveTo>
                <a:cubicBezTo>
                  <a:pt x="256" y="2104"/>
                  <a:pt x="256" y="2104"/>
                  <a:pt x="256" y="2104"/>
                </a:cubicBezTo>
                <a:cubicBezTo>
                  <a:pt x="252" y="2104"/>
                  <a:pt x="252" y="2104"/>
                  <a:pt x="252" y="2104"/>
                </a:cubicBezTo>
                <a:cubicBezTo>
                  <a:pt x="250" y="2105"/>
                  <a:pt x="248" y="2107"/>
                  <a:pt x="246" y="2107"/>
                </a:cubicBezTo>
                <a:cubicBezTo>
                  <a:pt x="245" y="2109"/>
                  <a:pt x="242" y="2110"/>
                  <a:pt x="241" y="2110"/>
                </a:cubicBezTo>
                <a:cubicBezTo>
                  <a:pt x="239" y="2112"/>
                  <a:pt x="237" y="2112"/>
                  <a:pt x="235" y="2113"/>
                </a:cubicBezTo>
                <a:cubicBezTo>
                  <a:pt x="234" y="2114"/>
                  <a:pt x="232" y="2115"/>
                  <a:pt x="230" y="2115"/>
                </a:cubicBezTo>
                <a:cubicBezTo>
                  <a:pt x="230" y="2115"/>
                  <a:pt x="230" y="2115"/>
                  <a:pt x="230" y="2125"/>
                </a:cubicBezTo>
                <a:cubicBezTo>
                  <a:pt x="233" y="2124"/>
                  <a:pt x="236" y="2123"/>
                  <a:pt x="238" y="2122"/>
                </a:cubicBezTo>
                <a:cubicBezTo>
                  <a:pt x="240" y="2121"/>
                  <a:pt x="243" y="2120"/>
                  <a:pt x="245" y="2118"/>
                </a:cubicBezTo>
                <a:cubicBezTo>
                  <a:pt x="245" y="2118"/>
                  <a:pt x="245" y="2118"/>
                  <a:pt x="245" y="2177"/>
                </a:cubicBezTo>
                <a:cubicBezTo>
                  <a:pt x="245" y="2177"/>
                  <a:pt x="245" y="2177"/>
                  <a:pt x="256" y="2177"/>
                </a:cubicBezTo>
                <a:cubicBezTo>
                  <a:pt x="256" y="2177"/>
                  <a:pt x="256" y="2177"/>
                  <a:pt x="256" y="2104"/>
                </a:cubicBezTo>
                <a:close/>
                <a:moveTo>
                  <a:pt x="304" y="2104"/>
                </a:moveTo>
                <a:cubicBezTo>
                  <a:pt x="304" y="2104"/>
                  <a:pt x="304" y="2104"/>
                  <a:pt x="304" y="2104"/>
                </a:cubicBezTo>
                <a:cubicBezTo>
                  <a:pt x="299" y="2104"/>
                  <a:pt x="299" y="2104"/>
                  <a:pt x="299" y="2104"/>
                </a:cubicBezTo>
                <a:cubicBezTo>
                  <a:pt x="296" y="2105"/>
                  <a:pt x="295" y="2107"/>
                  <a:pt x="293" y="2107"/>
                </a:cubicBezTo>
                <a:cubicBezTo>
                  <a:pt x="291" y="2109"/>
                  <a:pt x="290" y="2110"/>
                  <a:pt x="288" y="2110"/>
                </a:cubicBezTo>
                <a:cubicBezTo>
                  <a:pt x="286" y="2112"/>
                  <a:pt x="284" y="2112"/>
                  <a:pt x="283" y="2113"/>
                </a:cubicBezTo>
                <a:cubicBezTo>
                  <a:pt x="280" y="2114"/>
                  <a:pt x="279" y="2115"/>
                  <a:pt x="277" y="2115"/>
                </a:cubicBezTo>
                <a:cubicBezTo>
                  <a:pt x="277" y="2115"/>
                  <a:pt x="277" y="2115"/>
                  <a:pt x="277" y="2125"/>
                </a:cubicBezTo>
                <a:cubicBezTo>
                  <a:pt x="280" y="2124"/>
                  <a:pt x="283" y="2123"/>
                  <a:pt x="285" y="2122"/>
                </a:cubicBezTo>
                <a:cubicBezTo>
                  <a:pt x="288" y="2121"/>
                  <a:pt x="290" y="2120"/>
                  <a:pt x="292" y="2118"/>
                </a:cubicBezTo>
                <a:cubicBezTo>
                  <a:pt x="292" y="2118"/>
                  <a:pt x="292" y="2118"/>
                  <a:pt x="292" y="2177"/>
                </a:cubicBezTo>
                <a:cubicBezTo>
                  <a:pt x="292" y="2177"/>
                  <a:pt x="292" y="2177"/>
                  <a:pt x="304" y="2177"/>
                </a:cubicBezTo>
                <a:cubicBezTo>
                  <a:pt x="304" y="2177"/>
                  <a:pt x="304" y="2177"/>
                  <a:pt x="304" y="2104"/>
                </a:cubicBezTo>
                <a:close/>
                <a:moveTo>
                  <a:pt x="427" y="2104"/>
                </a:moveTo>
                <a:cubicBezTo>
                  <a:pt x="427" y="2104"/>
                  <a:pt x="427" y="2104"/>
                  <a:pt x="427" y="2104"/>
                </a:cubicBezTo>
                <a:cubicBezTo>
                  <a:pt x="421" y="2104"/>
                  <a:pt x="421" y="2104"/>
                  <a:pt x="421" y="2104"/>
                </a:cubicBezTo>
                <a:cubicBezTo>
                  <a:pt x="419" y="2105"/>
                  <a:pt x="418" y="2107"/>
                  <a:pt x="416" y="2107"/>
                </a:cubicBezTo>
                <a:cubicBezTo>
                  <a:pt x="414" y="2109"/>
                  <a:pt x="413" y="2110"/>
                  <a:pt x="411" y="2110"/>
                </a:cubicBezTo>
                <a:cubicBezTo>
                  <a:pt x="409" y="2112"/>
                  <a:pt x="407" y="2112"/>
                  <a:pt x="406" y="2113"/>
                </a:cubicBezTo>
                <a:cubicBezTo>
                  <a:pt x="403" y="2114"/>
                  <a:pt x="402" y="2115"/>
                  <a:pt x="400" y="2115"/>
                </a:cubicBezTo>
                <a:cubicBezTo>
                  <a:pt x="400" y="2115"/>
                  <a:pt x="400" y="2115"/>
                  <a:pt x="400" y="2125"/>
                </a:cubicBezTo>
                <a:cubicBezTo>
                  <a:pt x="403" y="2124"/>
                  <a:pt x="406" y="2123"/>
                  <a:pt x="408" y="2122"/>
                </a:cubicBezTo>
                <a:cubicBezTo>
                  <a:pt x="411" y="2121"/>
                  <a:pt x="413" y="2120"/>
                  <a:pt x="415" y="2118"/>
                </a:cubicBezTo>
                <a:cubicBezTo>
                  <a:pt x="415" y="2118"/>
                  <a:pt x="415" y="2118"/>
                  <a:pt x="415" y="2177"/>
                </a:cubicBezTo>
                <a:cubicBezTo>
                  <a:pt x="415" y="2177"/>
                  <a:pt x="415" y="2177"/>
                  <a:pt x="427" y="2177"/>
                </a:cubicBezTo>
                <a:cubicBezTo>
                  <a:pt x="427" y="2177"/>
                  <a:pt x="427" y="2177"/>
                  <a:pt x="427" y="2104"/>
                </a:cubicBezTo>
                <a:close/>
                <a:moveTo>
                  <a:pt x="474" y="2104"/>
                </a:moveTo>
                <a:cubicBezTo>
                  <a:pt x="474" y="2104"/>
                  <a:pt x="474" y="2104"/>
                  <a:pt x="474" y="2104"/>
                </a:cubicBezTo>
                <a:cubicBezTo>
                  <a:pt x="469" y="2104"/>
                  <a:pt x="469" y="2104"/>
                  <a:pt x="469" y="2104"/>
                </a:cubicBezTo>
                <a:cubicBezTo>
                  <a:pt x="467" y="2105"/>
                  <a:pt x="465" y="2107"/>
                  <a:pt x="463" y="2107"/>
                </a:cubicBezTo>
                <a:cubicBezTo>
                  <a:pt x="462" y="2109"/>
                  <a:pt x="460" y="2110"/>
                  <a:pt x="458" y="2110"/>
                </a:cubicBezTo>
                <a:cubicBezTo>
                  <a:pt x="457" y="2112"/>
                  <a:pt x="454" y="2112"/>
                  <a:pt x="453" y="2113"/>
                </a:cubicBezTo>
                <a:cubicBezTo>
                  <a:pt x="451" y="2114"/>
                  <a:pt x="449" y="2115"/>
                  <a:pt x="447" y="2115"/>
                </a:cubicBezTo>
                <a:cubicBezTo>
                  <a:pt x="447" y="2115"/>
                  <a:pt x="447" y="2115"/>
                  <a:pt x="447" y="2125"/>
                </a:cubicBezTo>
                <a:cubicBezTo>
                  <a:pt x="450" y="2124"/>
                  <a:pt x="453" y="2123"/>
                  <a:pt x="455" y="2122"/>
                </a:cubicBezTo>
                <a:cubicBezTo>
                  <a:pt x="458" y="2121"/>
                  <a:pt x="460" y="2120"/>
                  <a:pt x="462" y="2118"/>
                </a:cubicBezTo>
                <a:cubicBezTo>
                  <a:pt x="462" y="2118"/>
                  <a:pt x="462" y="2118"/>
                  <a:pt x="462" y="2177"/>
                </a:cubicBezTo>
                <a:cubicBezTo>
                  <a:pt x="462" y="2177"/>
                  <a:pt x="462" y="2177"/>
                  <a:pt x="474" y="2177"/>
                </a:cubicBezTo>
                <a:cubicBezTo>
                  <a:pt x="474" y="2177"/>
                  <a:pt x="474" y="2177"/>
                  <a:pt x="474" y="2104"/>
                </a:cubicBezTo>
                <a:close/>
                <a:moveTo>
                  <a:pt x="522" y="2104"/>
                </a:moveTo>
                <a:cubicBezTo>
                  <a:pt x="522" y="2104"/>
                  <a:pt x="522" y="2104"/>
                  <a:pt x="522" y="2104"/>
                </a:cubicBezTo>
                <a:cubicBezTo>
                  <a:pt x="517" y="2104"/>
                  <a:pt x="517" y="2104"/>
                  <a:pt x="517" y="2104"/>
                </a:cubicBezTo>
                <a:cubicBezTo>
                  <a:pt x="515" y="2105"/>
                  <a:pt x="513" y="2107"/>
                  <a:pt x="511" y="2107"/>
                </a:cubicBezTo>
                <a:cubicBezTo>
                  <a:pt x="509" y="2109"/>
                  <a:pt x="508" y="2110"/>
                  <a:pt x="506" y="2110"/>
                </a:cubicBezTo>
                <a:cubicBezTo>
                  <a:pt x="504" y="2112"/>
                  <a:pt x="502" y="2112"/>
                  <a:pt x="501" y="2113"/>
                </a:cubicBezTo>
                <a:cubicBezTo>
                  <a:pt x="498" y="2114"/>
                  <a:pt x="497" y="2115"/>
                  <a:pt x="495" y="2115"/>
                </a:cubicBezTo>
                <a:cubicBezTo>
                  <a:pt x="495" y="2115"/>
                  <a:pt x="495" y="2115"/>
                  <a:pt x="495" y="2125"/>
                </a:cubicBezTo>
                <a:cubicBezTo>
                  <a:pt x="498" y="2124"/>
                  <a:pt x="501" y="2123"/>
                  <a:pt x="503" y="2122"/>
                </a:cubicBezTo>
                <a:cubicBezTo>
                  <a:pt x="506" y="2121"/>
                  <a:pt x="508" y="2120"/>
                  <a:pt x="510" y="2118"/>
                </a:cubicBezTo>
                <a:cubicBezTo>
                  <a:pt x="510" y="2118"/>
                  <a:pt x="510" y="2118"/>
                  <a:pt x="510" y="2177"/>
                </a:cubicBezTo>
                <a:cubicBezTo>
                  <a:pt x="510" y="2177"/>
                  <a:pt x="510" y="2177"/>
                  <a:pt x="522" y="2177"/>
                </a:cubicBezTo>
                <a:cubicBezTo>
                  <a:pt x="522" y="2177"/>
                  <a:pt x="522" y="2177"/>
                  <a:pt x="522" y="2104"/>
                </a:cubicBezTo>
                <a:close/>
                <a:moveTo>
                  <a:pt x="568" y="2104"/>
                </a:moveTo>
                <a:cubicBezTo>
                  <a:pt x="568" y="2104"/>
                  <a:pt x="568" y="2104"/>
                  <a:pt x="568" y="2104"/>
                </a:cubicBezTo>
                <a:cubicBezTo>
                  <a:pt x="564" y="2104"/>
                  <a:pt x="564" y="2104"/>
                  <a:pt x="564" y="2104"/>
                </a:cubicBezTo>
                <a:cubicBezTo>
                  <a:pt x="562" y="2105"/>
                  <a:pt x="560" y="2107"/>
                  <a:pt x="558" y="2107"/>
                </a:cubicBezTo>
                <a:cubicBezTo>
                  <a:pt x="557" y="2109"/>
                  <a:pt x="554" y="2110"/>
                  <a:pt x="553" y="2110"/>
                </a:cubicBezTo>
                <a:cubicBezTo>
                  <a:pt x="551" y="2111"/>
                  <a:pt x="549" y="2112"/>
                  <a:pt x="547" y="2112"/>
                </a:cubicBezTo>
                <a:cubicBezTo>
                  <a:pt x="546" y="2113"/>
                  <a:pt x="544" y="2114"/>
                  <a:pt x="542" y="2115"/>
                </a:cubicBezTo>
                <a:cubicBezTo>
                  <a:pt x="542" y="2115"/>
                  <a:pt x="542" y="2115"/>
                  <a:pt x="542" y="2125"/>
                </a:cubicBezTo>
                <a:cubicBezTo>
                  <a:pt x="545" y="2124"/>
                  <a:pt x="548" y="2123"/>
                  <a:pt x="550" y="2122"/>
                </a:cubicBezTo>
                <a:cubicBezTo>
                  <a:pt x="552" y="2121"/>
                  <a:pt x="555" y="2120"/>
                  <a:pt x="557" y="2118"/>
                </a:cubicBezTo>
                <a:cubicBezTo>
                  <a:pt x="557" y="2118"/>
                  <a:pt x="557" y="2118"/>
                  <a:pt x="557" y="2177"/>
                </a:cubicBezTo>
                <a:cubicBezTo>
                  <a:pt x="557" y="2177"/>
                  <a:pt x="557" y="2177"/>
                  <a:pt x="568" y="2177"/>
                </a:cubicBezTo>
                <a:cubicBezTo>
                  <a:pt x="568" y="2177"/>
                  <a:pt x="568" y="2177"/>
                  <a:pt x="568" y="2104"/>
                </a:cubicBezTo>
                <a:close/>
                <a:moveTo>
                  <a:pt x="325" y="2136"/>
                </a:moveTo>
                <a:cubicBezTo>
                  <a:pt x="325" y="2136"/>
                  <a:pt x="325" y="2136"/>
                  <a:pt x="325" y="2136"/>
                </a:cubicBezTo>
                <a:cubicBezTo>
                  <a:pt x="324" y="2144"/>
                  <a:pt x="324" y="2144"/>
                  <a:pt x="324" y="2144"/>
                </a:cubicBezTo>
                <a:cubicBezTo>
                  <a:pt x="331" y="2145"/>
                  <a:pt x="331" y="2148"/>
                  <a:pt x="331" y="2150"/>
                </a:cubicBezTo>
                <a:cubicBezTo>
                  <a:pt x="331" y="2152"/>
                  <a:pt x="331" y="2155"/>
                  <a:pt x="331" y="2157"/>
                </a:cubicBezTo>
                <a:cubicBezTo>
                  <a:pt x="331" y="2160"/>
                  <a:pt x="330" y="2162"/>
                  <a:pt x="330" y="2164"/>
                </a:cubicBezTo>
                <a:cubicBezTo>
                  <a:pt x="330" y="2174"/>
                  <a:pt x="336" y="2177"/>
                  <a:pt x="345" y="2177"/>
                </a:cubicBezTo>
                <a:cubicBezTo>
                  <a:pt x="345" y="2177"/>
                  <a:pt x="345" y="2177"/>
                  <a:pt x="348" y="2177"/>
                </a:cubicBezTo>
                <a:cubicBezTo>
                  <a:pt x="348" y="2177"/>
                  <a:pt x="348" y="2177"/>
                  <a:pt x="348" y="2168"/>
                </a:cubicBezTo>
                <a:cubicBezTo>
                  <a:pt x="348" y="2168"/>
                  <a:pt x="348" y="2168"/>
                  <a:pt x="347" y="2168"/>
                </a:cubicBezTo>
                <a:cubicBezTo>
                  <a:pt x="343" y="2168"/>
                  <a:pt x="342" y="2166"/>
                  <a:pt x="342" y="2162"/>
                </a:cubicBezTo>
                <a:cubicBezTo>
                  <a:pt x="342" y="2161"/>
                  <a:pt x="342" y="2159"/>
                  <a:pt x="342" y="2157"/>
                </a:cubicBezTo>
                <a:cubicBezTo>
                  <a:pt x="342" y="2156"/>
                  <a:pt x="343" y="2154"/>
                  <a:pt x="343" y="2151"/>
                </a:cubicBezTo>
                <a:cubicBezTo>
                  <a:pt x="343" y="2144"/>
                  <a:pt x="340" y="2141"/>
                  <a:pt x="334" y="2140"/>
                </a:cubicBezTo>
                <a:cubicBezTo>
                  <a:pt x="334" y="2140"/>
                  <a:pt x="334" y="2140"/>
                  <a:pt x="334" y="2140"/>
                </a:cubicBezTo>
                <a:cubicBezTo>
                  <a:pt x="340" y="2139"/>
                  <a:pt x="343" y="2136"/>
                  <a:pt x="343" y="2129"/>
                </a:cubicBezTo>
                <a:cubicBezTo>
                  <a:pt x="343" y="2126"/>
                  <a:pt x="342" y="2124"/>
                  <a:pt x="342" y="2123"/>
                </a:cubicBezTo>
                <a:cubicBezTo>
                  <a:pt x="342" y="2121"/>
                  <a:pt x="342" y="2119"/>
                  <a:pt x="342" y="2118"/>
                </a:cubicBezTo>
                <a:cubicBezTo>
                  <a:pt x="342" y="2114"/>
                  <a:pt x="343" y="2112"/>
                  <a:pt x="347" y="2112"/>
                </a:cubicBezTo>
                <a:cubicBezTo>
                  <a:pt x="347" y="2112"/>
                  <a:pt x="347" y="2112"/>
                  <a:pt x="348" y="2112"/>
                </a:cubicBezTo>
                <a:cubicBezTo>
                  <a:pt x="348" y="2112"/>
                  <a:pt x="348" y="2112"/>
                  <a:pt x="348" y="2103"/>
                </a:cubicBezTo>
                <a:cubicBezTo>
                  <a:pt x="348" y="2103"/>
                  <a:pt x="348" y="2103"/>
                  <a:pt x="345" y="2103"/>
                </a:cubicBezTo>
                <a:cubicBezTo>
                  <a:pt x="336" y="2103"/>
                  <a:pt x="330" y="2107"/>
                  <a:pt x="330" y="2115"/>
                </a:cubicBezTo>
                <a:cubicBezTo>
                  <a:pt x="330" y="2118"/>
                  <a:pt x="331" y="2120"/>
                  <a:pt x="331" y="2123"/>
                </a:cubicBezTo>
                <a:cubicBezTo>
                  <a:pt x="331" y="2125"/>
                  <a:pt x="331" y="2128"/>
                  <a:pt x="331" y="2130"/>
                </a:cubicBezTo>
                <a:cubicBezTo>
                  <a:pt x="331" y="2132"/>
                  <a:pt x="331" y="2136"/>
                  <a:pt x="325" y="2136"/>
                </a:cubicBezTo>
                <a:close/>
                <a:moveTo>
                  <a:pt x="379" y="2144"/>
                </a:moveTo>
                <a:cubicBezTo>
                  <a:pt x="379" y="2144"/>
                  <a:pt x="379" y="2144"/>
                  <a:pt x="379" y="2144"/>
                </a:cubicBezTo>
                <a:cubicBezTo>
                  <a:pt x="379" y="2136"/>
                  <a:pt x="379" y="2136"/>
                  <a:pt x="379" y="2136"/>
                </a:cubicBezTo>
                <a:cubicBezTo>
                  <a:pt x="373" y="2136"/>
                  <a:pt x="372" y="2132"/>
                  <a:pt x="372" y="2130"/>
                </a:cubicBezTo>
                <a:cubicBezTo>
                  <a:pt x="372" y="2128"/>
                  <a:pt x="372" y="2125"/>
                  <a:pt x="373" y="2123"/>
                </a:cubicBezTo>
                <a:cubicBezTo>
                  <a:pt x="373" y="2120"/>
                  <a:pt x="373" y="2118"/>
                  <a:pt x="373" y="2115"/>
                </a:cubicBezTo>
                <a:cubicBezTo>
                  <a:pt x="373" y="2107"/>
                  <a:pt x="368" y="2103"/>
                  <a:pt x="359" y="2103"/>
                </a:cubicBezTo>
                <a:cubicBezTo>
                  <a:pt x="359" y="2103"/>
                  <a:pt x="359" y="2103"/>
                  <a:pt x="355" y="2103"/>
                </a:cubicBezTo>
                <a:cubicBezTo>
                  <a:pt x="355" y="2103"/>
                  <a:pt x="355" y="2103"/>
                  <a:pt x="355" y="2112"/>
                </a:cubicBezTo>
                <a:cubicBezTo>
                  <a:pt x="355" y="2112"/>
                  <a:pt x="355" y="2112"/>
                  <a:pt x="357" y="2112"/>
                </a:cubicBezTo>
                <a:cubicBezTo>
                  <a:pt x="360" y="2112"/>
                  <a:pt x="362" y="2114"/>
                  <a:pt x="362" y="2118"/>
                </a:cubicBezTo>
                <a:cubicBezTo>
                  <a:pt x="362" y="2119"/>
                  <a:pt x="361" y="2121"/>
                  <a:pt x="361" y="2123"/>
                </a:cubicBezTo>
                <a:cubicBezTo>
                  <a:pt x="361" y="2124"/>
                  <a:pt x="361" y="2126"/>
                  <a:pt x="361" y="2129"/>
                </a:cubicBezTo>
                <a:cubicBezTo>
                  <a:pt x="361" y="2136"/>
                  <a:pt x="364" y="2139"/>
                  <a:pt x="369" y="2140"/>
                </a:cubicBezTo>
                <a:cubicBezTo>
                  <a:pt x="369" y="2140"/>
                  <a:pt x="369" y="2140"/>
                  <a:pt x="369" y="2140"/>
                </a:cubicBezTo>
                <a:cubicBezTo>
                  <a:pt x="364" y="2141"/>
                  <a:pt x="361" y="2144"/>
                  <a:pt x="361" y="2151"/>
                </a:cubicBezTo>
                <a:cubicBezTo>
                  <a:pt x="361" y="2154"/>
                  <a:pt x="361" y="2156"/>
                  <a:pt x="361" y="2157"/>
                </a:cubicBezTo>
                <a:cubicBezTo>
                  <a:pt x="361" y="2159"/>
                  <a:pt x="362" y="2161"/>
                  <a:pt x="362" y="2162"/>
                </a:cubicBezTo>
                <a:cubicBezTo>
                  <a:pt x="362" y="2166"/>
                  <a:pt x="361" y="2168"/>
                  <a:pt x="357" y="2168"/>
                </a:cubicBezTo>
                <a:cubicBezTo>
                  <a:pt x="357" y="2168"/>
                  <a:pt x="357" y="2168"/>
                  <a:pt x="355" y="2168"/>
                </a:cubicBezTo>
                <a:cubicBezTo>
                  <a:pt x="355" y="2168"/>
                  <a:pt x="355" y="2168"/>
                  <a:pt x="355" y="2177"/>
                </a:cubicBezTo>
                <a:cubicBezTo>
                  <a:pt x="355" y="2177"/>
                  <a:pt x="355" y="2177"/>
                  <a:pt x="359" y="2177"/>
                </a:cubicBezTo>
                <a:cubicBezTo>
                  <a:pt x="368" y="2177"/>
                  <a:pt x="373" y="2174"/>
                  <a:pt x="373" y="2164"/>
                </a:cubicBezTo>
                <a:cubicBezTo>
                  <a:pt x="373" y="2162"/>
                  <a:pt x="373" y="2160"/>
                  <a:pt x="373" y="2157"/>
                </a:cubicBezTo>
                <a:cubicBezTo>
                  <a:pt x="372" y="2155"/>
                  <a:pt x="372" y="2152"/>
                  <a:pt x="372" y="2150"/>
                </a:cubicBezTo>
                <a:cubicBezTo>
                  <a:pt x="372" y="2148"/>
                  <a:pt x="373" y="2145"/>
                  <a:pt x="379" y="2144"/>
                </a:cubicBezTo>
                <a:close/>
                <a:moveTo>
                  <a:pt x="706" y="2136"/>
                </a:moveTo>
                <a:cubicBezTo>
                  <a:pt x="706" y="2136"/>
                  <a:pt x="706" y="2136"/>
                  <a:pt x="706" y="2136"/>
                </a:cubicBezTo>
                <a:cubicBezTo>
                  <a:pt x="706" y="2144"/>
                  <a:pt x="706" y="2144"/>
                  <a:pt x="706" y="2144"/>
                </a:cubicBezTo>
                <a:cubicBezTo>
                  <a:pt x="712" y="2145"/>
                  <a:pt x="713" y="2148"/>
                  <a:pt x="713" y="2150"/>
                </a:cubicBezTo>
                <a:cubicBezTo>
                  <a:pt x="713" y="2152"/>
                  <a:pt x="713" y="2155"/>
                  <a:pt x="713" y="2157"/>
                </a:cubicBezTo>
                <a:cubicBezTo>
                  <a:pt x="712" y="2160"/>
                  <a:pt x="712" y="2162"/>
                  <a:pt x="712" y="2164"/>
                </a:cubicBezTo>
                <a:cubicBezTo>
                  <a:pt x="712" y="2174"/>
                  <a:pt x="718" y="2177"/>
                  <a:pt x="726" y="2177"/>
                </a:cubicBezTo>
                <a:cubicBezTo>
                  <a:pt x="726" y="2177"/>
                  <a:pt x="726" y="2177"/>
                  <a:pt x="730" y="2177"/>
                </a:cubicBezTo>
                <a:cubicBezTo>
                  <a:pt x="730" y="2177"/>
                  <a:pt x="730" y="2177"/>
                  <a:pt x="730" y="2168"/>
                </a:cubicBezTo>
                <a:cubicBezTo>
                  <a:pt x="730" y="2168"/>
                  <a:pt x="730" y="2168"/>
                  <a:pt x="728" y="2168"/>
                </a:cubicBezTo>
                <a:cubicBezTo>
                  <a:pt x="725" y="2168"/>
                  <a:pt x="724" y="2166"/>
                  <a:pt x="724" y="2162"/>
                </a:cubicBezTo>
                <a:cubicBezTo>
                  <a:pt x="724" y="2161"/>
                  <a:pt x="724" y="2159"/>
                  <a:pt x="724" y="2157"/>
                </a:cubicBezTo>
                <a:cubicBezTo>
                  <a:pt x="724" y="2156"/>
                  <a:pt x="724" y="2154"/>
                  <a:pt x="724" y="2151"/>
                </a:cubicBezTo>
                <a:cubicBezTo>
                  <a:pt x="724" y="2144"/>
                  <a:pt x="721" y="2141"/>
                  <a:pt x="716" y="2140"/>
                </a:cubicBezTo>
                <a:cubicBezTo>
                  <a:pt x="716" y="2140"/>
                  <a:pt x="716" y="2140"/>
                  <a:pt x="716" y="2140"/>
                </a:cubicBezTo>
                <a:cubicBezTo>
                  <a:pt x="721" y="2139"/>
                  <a:pt x="724" y="2136"/>
                  <a:pt x="724" y="2129"/>
                </a:cubicBezTo>
                <a:cubicBezTo>
                  <a:pt x="724" y="2126"/>
                  <a:pt x="724" y="2124"/>
                  <a:pt x="724" y="2123"/>
                </a:cubicBezTo>
                <a:cubicBezTo>
                  <a:pt x="724" y="2121"/>
                  <a:pt x="724" y="2119"/>
                  <a:pt x="724" y="2118"/>
                </a:cubicBezTo>
                <a:cubicBezTo>
                  <a:pt x="724" y="2114"/>
                  <a:pt x="725" y="2112"/>
                  <a:pt x="728" y="2112"/>
                </a:cubicBezTo>
                <a:cubicBezTo>
                  <a:pt x="728" y="2112"/>
                  <a:pt x="728" y="2112"/>
                  <a:pt x="730" y="2112"/>
                </a:cubicBezTo>
                <a:cubicBezTo>
                  <a:pt x="730" y="2112"/>
                  <a:pt x="730" y="2112"/>
                  <a:pt x="730" y="2103"/>
                </a:cubicBezTo>
                <a:cubicBezTo>
                  <a:pt x="730" y="2103"/>
                  <a:pt x="730" y="2103"/>
                  <a:pt x="726" y="2103"/>
                </a:cubicBezTo>
                <a:cubicBezTo>
                  <a:pt x="717" y="2103"/>
                  <a:pt x="712" y="2107"/>
                  <a:pt x="712" y="2115"/>
                </a:cubicBezTo>
                <a:cubicBezTo>
                  <a:pt x="712" y="2118"/>
                  <a:pt x="712" y="2120"/>
                  <a:pt x="712" y="2123"/>
                </a:cubicBezTo>
                <a:cubicBezTo>
                  <a:pt x="713" y="2125"/>
                  <a:pt x="713" y="2128"/>
                  <a:pt x="713" y="2130"/>
                </a:cubicBezTo>
                <a:cubicBezTo>
                  <a:pt x="713" y="2132"/>
                  <a:pt x="712" y="2136"/>
                  <a:pt x="706" y="2136"/>
                </a:cubicBezTo>
                <a:close/>
                <a:moveTo>
                  <a:pt x="761" y="2144"/>
                </a:moveTo>
                <a:cubicBezTo>
                  <a:pt x="761" y="2144"/>
                  <a:pt x="761" y="2144"/>
                  <a:pt x="761" y="2144"/>
                </a:cubicBezTo>
                <a:cubicBezTo>
                  <a:pt x="761" y="2136"/>
                  <a:pt x="761" y="2136"/>
                  <a:pt x="761" y="2136"/>
                </a:cubicBezTo>
                <a:cubicBezTo>
                  <a:pt x="754" y="2136"/>
                  <a:pt x="754" y="2132"/>
                  <a:pt x="754" y="2130"/>
                </a:cubicBezTo>
                <a:cubicBezTo>
                  <a:pt x="754" y="2128"/>
                  <a:pt x="754" y="2125"/>
                  <a:pt x="754" y="2123"/>
                </a:cubicBezTo>
                <a:cubicBezTo>
                  <a:pt x="755" y="2120"/>
                  <a:pt x="755" y="2118"/>
                  <a:pt x="755" y="2115"/>
                </a:cubicBezTo>
                <a:cubicBezTo>
                  <a:pt x="755" y="2107"/>
                  <a:pt x="750" y="2103"/>
                  <a:pt x="740" y="2103"/>
                </a:cubicBezTo>
                <a:cubicBezTo>
                  <a:pt x="740" y="2103"/>
                  <a:pt x="740" y="2103"/>
                  <a:pt x="737" y="2103"/>
                </a:cubicBezTo>
                <a:cubicBezTo>
                  <a:pt x="737" y="2103"/>
                  <a:pt x="737" y="2103"/>
                  <a:pt x="737" y="2112"/>
                </a:cubicBezTo>
                <a:cubicBezTo>
                  <a:pt x="737" y="2112"/>
                  <a:pt x="737" y="2112"/>
                  <a:pt x="738" y="2112"/>
                </a:cubicBezTo>
                <a:cubicBezTo>
                  <a:pt x="742" y="2112"/>
                  <a:pt x="743" y="2114"/>
                  <a:pt x="743" y="2118"/>
                </a:cubicBezTo>
                <a:cubicBezTo>
                  <a:pt x="743" y="2119"/>
                  <a:pt x="743" y="2121"/>
                  <a:pt x="743" y="2123"/>
                </a:cubicBezTo>
                <a:cubicBezTo>
                  <a:pt x="743" y="2124"/>
                  <a:pt x="743" y="2126"/>
                  <a:pt x="743" y="2129"/>
                </a:cubicBezTo>
                <a:cubicBezTo>
                  <a:pt x="743" y="2136"/>
                  <a:pt x="745" y="2139"/>
                  <a:pt x="751" y="2140"/>
                </a:cubicBezTo>
                <a:cubicBezTo>
                  <a:pt x="751" y="2140"/>
                  <a:pt x="751" y="2140"/>
                  <a:pt x="751" y="2140"/>
                </a:cubicBezTo>
                <a:cubicBezTo>
                  <a:pt x="745" y="2141"/>
                  <a:pt x="743" y="2144"/>
                  <a:pt x="743" y="2151"/>
                </a:cubicBezTo>
                <a:cubicBezTo>
                  <a:pt x="743" y="2154"/>
                  <a:pt x="743" y="2156"/>
                  <a:pt x="743" y="2157"/>
                </a:cubicBezTo>
                <a:cubicBezTo>
                  <a:pt x="743" y="2159"/>
                  <a:pt x="743" y="2161"/>
                  <a:pt x="743" y="2162"/>
                </a:cubicBezTo>
                <a:cubicBezTo>
                  <a:pt x="743" y="2166"/>
                  <a:pt x="742" y="2168"/>
                  <a:pt x="738" y="2168"/>
                </a:cubicBezTo>
                <a:cubicBezTo>
                  <a:pt x="738" y="2168"/>
                  <a:pt x="738" y="2168"/>
                  <a:pt x="737" y="2168"/>
                </a:cubicBezTo>
                <a:cubicBezTo>
                  <a:pt x="737" y="2168"/>
                  <a:pt x="737" y="2168"/>
                  <a:pt x="737" y="2177"/>
                </a:cubicBezTo>
                <a:cubicBezTo>
                  <a:pt x="737" y="2177"/>
                  <a:pt x="737" y="2177"/>
                  <a:pt x="740" y="2177"/>
                </a:cubicBezTo>
                <a:cubicBezTo>
                  <a:pt x="749" y="2177"/>
                  <a:pt x="755" y="2174"/>
                  <a:pt x="755" y="2164"/>
                </a:cubicBezTo>
                <a:cubicBezTo>
                  <a:pt x="755" y="2162"/>
                  <a:pt x="755" y="2160"/>
                  <a:pt x="754" y="2157"/>
                </a:cubicBezTo>
                <a:cubicBezTo>
                  <a:pt x="754" y="2155"/>
                  <a:pt x="754" y="2152"/>
                  <a:pt x="754" y="2150"/>
                </a:cubicBezTo>
                <a:cubicBezTo>
                  <a:pt x="754" y="2148"/>
                  <a:pt x="754" y="2145"/>
                  <a:pt x="761" y="2144"/>
                </a:cubicBezTo>
                <a:close/>
                <a:moveTo>
                  <a:pt x="808" y="2104"/>
                </a:moveTo>
                <a:cubicBezTo>
                  <a:pt x="808" y="2104"/>
                  <a:pt x="808" y="2104"/>
                  <a:pt x="808" y="2104"/>
                </a:cubicBezTo>
                <a:cubicBezTo>
                  <a:pt x="803" y="2104"/>
                  <a:pt x="803" y="2104"/>
                  <a:pt x="803" y="2104"/>
                </a:cubicBezTo>
                <a:cubicBezTo>
                  <a:pt x="801" y="2105"/>
                  <a:pt x="799" y="2107"/>
                  <a:pt x="797" y="2107"/>
                </a:cubicBezTo>
                <a:cubicBezTo>
                  <a:pt x="796" y="2109"/>
                  <a:pt x="794" y="2110"/>
                  <a:pt x="792" y="2110"/>
                </a:cubicBezTo>
                <a:cubicBezTo>
                  <a:pt x="790" y="2111"/>
                  <a:pt x="789" y="2112"/>
                  <a:pt x="787" y="2112"/>
                </a:cubicBezTo>
                <a:cubicBezTo>
                  <a:pt x="785" y="2113"/>
                  <a:pt x="783" y="2114"/>
                  <a:pt x="781" y="2115"/>
                </a:cubicBezTo>
                <a:cubicBezTo>
                  <a:pt x="781" y="2115"/>
                  <a:pt x="781" y="2115"/>
                  <a:pt x="781" y="2125"/>
                </a:cubicBezTo>
                <a:cubicBezTo>
                  <a:pt x="784" y="2124"/>
                  <a:pt x="787" y="2123"/>
                  <a:pt x="789" y="2122"/>
                </a:cubicBezTo>
                <a:cubicBezTo>
                  <a:pt x="792" y="2121"/>
                  <a:pt x="794" y="2120"/>
                  <a:pt x="797" y="2118"/>
                </a:cubicBezTo>
                <a:cubicBezTo>
                  <a:pt x="797" y="2118"/>
                  <a:pt x="797" y="2118"/>
                  <a:pt x="797" y="2177"/>
                </a:cubicBezTo>
                <a:cubicBezTo>
                  <a:pt x="797" y="2177"/>
                  <a:pt x="797" y="2177"/>
                  <a:pt x="808" y="2177"/>
                </a:cubicBezTo>
                <a:cubicBezTo>
                  <a:pt x="808" y="2177"/>
                  <a:pt x="808" y="2177"/>
                  <a:pt x="808" y="2104"/>
                </a:cubicBezTo>
                <a:close/>
                <a:moveTo>
                  <a:pt x="855" y="2104"/>
                </a:moveTo>
                <a:cubicBezTo>
                  <a:pt x="855" y="2104"/>
                  <a:pt x="855" y="2104"/>
                  <a:pt x="855" y="2104"/>
                </a:cubicBezTo>
                <a:cubicBezTo>
                  <a:pt x="850" y="2104"/>
                  <a:pt x="850" y="2104"/>
                  <a:pt x="850" y="2104"/>
                </a:cubicBezTo>
                <a:cubicBezTo>
                  <a:pt x="848" y="2105"/>
                  <a:pt x="847" y="2107"/>
                  <a:pt x="845" y="2107"/>
                </a:cubicBezTo>
                <a:cubicBezTo>
                  <a:pt x="843" y="2109"/>
                  <a:pt x="841" y="2110"/>
                  <a:pt x="840" y="2110"/>
                </a:cubicBezTo>
                <a:cubicBezTo>
                  <a:pt x="838" y="2112"/>
                  <a:pt x="836" y="2112"/>
                  <a:pt x="835" y="2113"/>
                </a:cubicBezTo>
                <a:cubicBezTo>
                  <a:pt x="832" y="2114"/>
                  <a:pt x="831" y="2115"/>
                  <a:pt x="829" y="2115"/>
                </a:cubicBezTo>
                <a:cubicBezTo>
                  <a:pt x="829" y="2115"/>
                  <a:pt x="829" y="2115"/>
                  <a:pt x="829" y="2125"/>
                </a:cubicBezTo>
                <a:cubicBezTo>
                  <a:pt x="832" y="2124"/>
                  <a:pt x="835" y="2123"/>
                  <a:pt x="837" y="2122"/>
                </a:cubicBezTo>
                <a:cubicBezTo>
                  <a:pt x="840" y="2121"/>
                  <a:pt x="842" y="2120"/>
                  <a:pt x="844" y="2118"/>
                </a:cubicBezTo>
                <a:cubicBezTo>
                  <a:pt x="844" y="2118"/>
                  <a:pt x="844" y="2118"/>
                  <a:pt x="844" y="2177"/>
                </a:cubicBezTo>
                <a:cubicBezTo>
                  <a:pt x="844" y="2177"/>
                  <a:pt x="844" y="2177"/>
                  <a:pt x="855" y="2177"/>
                </a:cubicBezTo>
                <a:cubicBezTo>
                  <a:pt x="855" y="2177"/>
                  <a:pt x="855" y="2177"/>
                  <a:pt x="855" y="2104"/>
                </a:cubicBezTo>
                <a:close/>
                <a:moveTo>
                  <a:pt x="902" y="2104"/>
                </a:moveTo>
                <a:cubicBezTo>
                  <a:pt x="902" y="2104"/>
                  <a:pt x="902" y="2104"/>
                  <a:pt x="902" y="2104"/>
                </a:cubicBezTo>
                <a:cubicBezTo>
                  <a:pt x="897" y="2104"/>
                  <a:pt x="897" y="2104"/>
                  <a:pt x="897" y="2104"/>
                </a:cubicBezTo>
                <a:cubicBezTo>
                  <a:pt x="895" y="2105"/>
                  <a:pt x="894" y="2107"/>
                  <a:pt x="892" y="2107"/>
                </a:cubicBezTo>
                <a:cubicBezTo>
                  <a:pt x="890" y="2109"/>
                  <a:pt x="888" y="2110"/>
                  <a:pt x="887" y="2110"/>
                </a:cubicBezTo>
                <a:cubicBezTo>
                  <a:pt x="884" y="2112"/>
                  <a:pt x="883" y="2112"/>
                  <a:pt x="881" y="2113"/>
                </a:cubicBezTo>
                <a:cubicBezTo>
                  <a:pt x="879" y="2114"/>
                  <a:pt x="877" y="2115"/>
                  <a:pt x="876" y="2115"/>
                </a:cubicBezTo>
                <a:cubicBezTo>
                  <a:pt x="876" y="2115"/>
                  <a:pt x="876" y="2115"/>
                  <a:pt x="876" y="2125"/>
                </a:cubicBezTo>
                <a:cubicBezTo>
                  <a:pt x="879" y="2124"/>
                  <a:pt x="882" y="2123"/>
                  <a:pt x="884" y="2122"/>
                </a:cubicBezTo>
                <a:cubicBezTo>
                  <a:pt x="886" y="2121"/>
                  <a:pt x="889" y="2120"/>
                  <a:pt x="890" y="2118"/>
                </a:cubicBezTo>
                <a:cubicBezTo>
                  <a:pt x="890" y="2118"/>
                  <a:pt x="890" y="2118"/>
                  <a:pt x="890" y="2177"/>
                </a:cubicBezTo>
                <a:cubicBezTo>
                  <a:pt x="890" y="2177"/>
                  <a:pt x="890" y="2177"/>
                  <a:pt x="902" y="2177"/>
                </a:cubicBezTo>
                <a:cubicBezTo>
                  <a:pt x="902" y="2177"/>
                  <a:pt x="902" y="2177"/>
                  <a:pt x="902" y="2104"/>
                </a:cubicBezTo>
                <a:close/>
                <a:moveTo>
                  <a:pt x="1025" y="2104"/>
                </a:moveTo>
                <a:cubicBezTo>
                  <a:pt x="1025" y="2104"/>
                  <a:pt x="1025" y="2104"/>
                  <a:pt x="1025" y="2104"/>
                </a:cubicBezTo>
                <a:cubicBezTo>
                  <a:pt x="1020" y="2104"/>
                  <a:pt x="1020" y="2104"/>
                  <a:pt x="1020" y="2104"/>
                </a:cubicBezTo>
                <a:cubicBezTo>
                  <a:pt x="1018" y="2105"/>
                  <a:pt x="1016" y="2107"/>
                  <a:pt x="1014" y="2107"/>
                </a:cubicBezTo>
                <a:cubicBezTo>
                  <a:pt x="1013" y="2109"/>
                  <a:pt x="1011" y="2110"/>
                  <a:pt x="1009" y="2110"/>
                </a:cubicBezTo>
                <a:cubicBezTo>
                  <a:pt x="1007" y="2112"/>
                  <a:pt x="1005" y="2112"/>
                  <a:pt x="1004" y="2113"/>
                </a:cubicBezTo>
                <a:cubicBezTo>
                  <a:pt x="1001" y="2114"/>
                  <a:pt x="1000" y="2115"/>
                  <a:pt x="998" y="2115"/>
                </a:cubicBezTo>
                <a:cubicBezTo>
                  <a:pt x="998" y="2115"/>
                  <a:pt x="998" y="2115"/>
                  <a:pt x="998" y="2125"/>
                </a:cubicBezTo>
                <a:cubicBezTo>
                  <a:pt x="1001" y="2124"/>
                  <a:pt x="1004" y="2123"/>
                  <a:pt x="1007" y="2122"/>
                </a:cubicBezTo>
                <a:cubicBezTo>
                  <a:pt x="1009" y="2121"/>
                  <a:pt x="1011" y="2120"/>
                  <a:pt x="1013" y="2118"/>
                </a:cubicBezTo>
                <a:cubicBezTo>
                  <a:pt x="1013" y="2118"/>
                  <a:pt x="1013" y="2118"/>
                  <a:pt x="1013" y="2177"/>
                </a:cubicBezTo>
                <a:cubicBezTo>
                  <a:pt x="1013" y="2177"/>
                  <a:pt x="1013" y="2177"/>
                  <a:pt x="1025" y="2177"/>
                </a:cubicBezTo>
                <a:cubicBezTo>
                  <a:pt x="1025" y="2177"/>
                  <a:pt x="1025" y="2177"/>
                  <a:pt x="1025" y="2104"/>
                </a:cubicBezTo>
                <a:close/>
                <a:moveTo>
                  <a:pt x="1073" y="2104"/>
                </a:moveTo>
                <a:cubicBezTo>
                  <a:pt x="1073" y="2104"/>
                  <a:pt x="1073" y="2104"/>
                  <a:pt x="1073" y="2104"/>
                </a:cubicBezTo>
                <a:cubicBezTo>
                  <a:pt x="1067" y="2104"/>
                  <a:pt x="1067" y="2104"/>
                  <a:pt x="1067" y="2104"/>
                </a:cubicBezTo>
                <a:cubicBezTo>
                  <a:pt x="1065" y="2105"/>
                  <a:pt x="1064" y="2107"/>
                  <a:pt x="1062" y="2107"/>
                </a:cubicBezTo>
                <a:cubicBezTo>
                  <a:pt x="1060" y="2109"/>
                  <a:pt x="1058" y="2110"/>
                  <a:pt x="1056" y="2110"/>
                </a:cubicBezTo>
                <a:cubicBezTo>
                  <a:pt x="1055" y="2112"/>
                  <a:pt x="1053" y="2112"/>
                  <a:pt x="1051" y="2113"/>
                </a:cubicBezTo>
                <a:cubicBezTo>
                  <a:pt x="1049" y="2114"/>
                  <a:pt x="1048" y="2115"/>
                  <a:pt x="1045" y="2115"/>
                </a:cubicBezTo>
                <a:cubicBezTo>
                  <a:pt x="1045" y="2115"/>
                  <a:pt x="1045" y="2115"/>
                  <a:pt x="1045" y="2125"/>
                </a:cubicBezTo>
                <a:cubicBezTo>
                  <a:pt x="1048" y="2124"/>
                  <a:pt x="1051" y="2123"/>
                  <a:pt x="1053" y="2122"/>
                </a:cubicBezTo>
                <a:cubicBezTo>
                  <a:pt x="1056" y="2121"/>
                  <a:pt x="1059" y="2120"/>
                  <a:pt x="1061" y="2118"/>
                </a:cubicBezTo>
                <a:cubicBezTo>
                  <a:pt x="1061" y="2118"/>
                  <a:pt x="1061" y="2118"/>
                  <a:pt x="1061" y="2177"/>
                </a:cubicBezTo>
                <a:cubicBezTo>
                  <a:pt x="1061" y="2177"/>
                  <a:pt x="1061" y="2177"/>
                  <a:pt x="1073" y="2177"/>
                </a:cubicBezTo>
                <a:cubicBezTo>
                  <a:pt x="1073" y="2177"/>
                  <a:pt x="1073" y="2177"/>
                  <a:pt x="1073" y="2104"/>
                </a:cubicBezTo>
                <a:close/>
                <a:moveTo>
                  <a:pt x="1119" y="2104"/>
                </a:moveTo>
                <a:cubicBezTo>
                  <a:pt x="1119" y="2104"/>
                  <a:pt x="1119" y="2104"/>
                  <a:pt x="1119" y="2104"/>
                </a:cubicBezTo>
                <a:cubicBezTo>
                  <a:pt x="1114" y="2104"/>
                  <a:pt x="1114" y="2104"/>
                  <a:pt x="1114" y="2104"/>
                </a:cubicBezTo>
                <a:cubicBezTo>
                  <a:pt x="1112" y="2105"/>
                  <a:pt x="1111" y="2107"/>
                  <a:pt x="1109" y="2107"/>
                </a:cubicBezTo>
                <a:cubicBezTo>
                  <a:pt x="1107" y="2109"/>
                  <a:pt x="1105" y="2110"/>
                  <a:pt x="1104" y="2110"/>
                </a:cubicBezTo>
                <a:cubicBezTo>
                  <a:pt x="1101" y="2111"/>
                  <a:pt x="1100" y="2112"/>
                  <a:pt x="1098" y="2112"/>
                </a:cubicBezTo>
                <a:cubicBezTo>
                  <a:pt x="1096" y="2113"/>
                  <a:pt x="1094" y="2114"/>
                  <a:pt x="1093" y="2115"/>
                </a:cubicBezTo>
                <a:cubicBezTo>
                  <a:pt x="1093" y="2115"/>
                  <a:pt x="1093" y="2115"/>
                  <a:pt x="1093" y="2125"/>
                </a:cubicBezTo>
                <a:cubicBezTo>
                  <a:pt x="1096" y="2124"/>
                  <a:pt x="1099" y="2123"/>
                  <a:pt x="1101" y="2122"/>
                </a:cubicBezTo>
                <a:cubicBezTo>
                  <a:pt x="1103" y="2121"/>
                  <a:pt x="1106" y="2120"/>
                  <a:pt x="1107" y="2118"/>
                </a:cubicBezTo>
                <a:cubicBezTo>
                  <a:pt x="1107" y="2118"/>
                  <a:pt x="1107" y="2118"/>
                  <a:pt x="1107" y="2177"/>
                </a:cubicBezTo>
                <a:cubicBezTo>
                  <a:pt x="1107" y="2177"/>
                  <a:pt x="1107" y="2177"/>
                  <a:pt x="1119" y="2177"/>
                </a:cubicBezTo>
                <a:cubicBezTo>
                  <a:pt x="1119" y="2177"/>
                  <a:pt x="1119" y="2177"/>
                  <a:pt x="1119" y="2104"/>
                </a:cubicBezTo>
                <a:close/>
                <a:moveTo>
                  <a:pt x="1163" y="2177"/>
                </a:moveTo>
                <a:cubicBezTo>
                  <a:pt x="1156" y="2177"/>
                  <a:pt x="1150" y="2174"/>
                  <a:pt x="1145" y="2168"/>
                </a:cubicBezTo>
                <a:cubicBezTo>
                  <a:pt x="1142" y="2162"/>
                  <a:pt x="1139" y="2153"/>
                  <a:pt x="1139" y="2141"/>
                </a:cubicBezTo>
                <a:cubicBezTo>
                  <a:pt x="1139" y="2128"/>
                  <a:pt x="1142" y="2118"/>
                  <a:pt x="1146" y="2112"/>
                </a:cubicBezTo>
                <a:cubicBezTo>
                  <a:pt x="1150" y="2105"/>
                  <a:pt x="1157" y="2101"/>
                  <a:pt x="1166" y="2101"/>
                </a:cubicBezTo>
                <a:cubicBezTo>
                  <a:pt x="1182" y="2101"/>
                  <a:pt x="1190" y="2114"/>
                  <a:pt x="1190" y="2139"/>
                </a:cubicBezTo>
                <a:cubicBezTo>
                  <a:pt x="1190" y="2152"/>
                  <a:pt x="1188" y="2161"/>
                  <a:pt x="1182" y="2168"/>
                </a:cubicBezTo>
                <a:cubicBezTo>
                  <a:pt x="1178" y="2174"/>
                  <a:pt x="1172" y="2177"/>
                  <a:pt x="1163" y="2177"/>
                </a:cubicBezTo>
                <a:close/>
                <a:moveTo>
                  <a:pt x="1165" y="2111"/>
                </a:moveTo>
                <a:cubicBezTo>
                  <a:pt x="1155" y="2111"/>
                  <a:pt x="1151" y="2121"/>
                  <a:pt x="1151" y="2141"/>
                </a:cubicBezTo>
                <a:cubicBezTo>
                  <a:pt x="1151" y="2159"/>
                  <a:pt x="1155" y="2168"/>
                  <a:pt x="1164" y="2168"/>
                </a:cubicBezTo>
                <a:cubicBezTo>
                  <a:pt x="1173" y="2168"/>
                  <a:pt x="1177" y="2159"/>
                  <a:pt x="1177" y="2140"/>
                </a:cubicBezTo>
                <a:cubicBezTo>
                  <a:pt x="1177" y="2120"/>
                  <a:pt x="1173" y="2111"/>
                  <a:pt x="1165" y="2111"/>
                </a:cubicBezTo>
                <a:close/>
                <a:moveTo>
                  <a:pt x="1235" y="2177"/>
                </a:moveTo>
                <a:cubicBezTo>
                  <a:pt x="1227" y="2177"/>
                  <a:pt x="1221" y="2174"/>
                  <a:pt x="1217" y="2168"/>
                </a:cubicBezTo>
                <a:cubicBezTo>
                  <a:pt x="1213" y="2162"/>
                  <a:pt x="1210" y="2153"/>
                  <a:pt x="1210" y="2141"/>
                </a:cubicBezTo>
                <a:cubicBezTo>
                  <a:pt x="1210" y="2128"/>
                  <a:pt x="1213" y="2118"/>
                  <a:pt x="1217" y="2112"/>
                </a:cubicBezTo>
                <a:cubicBezTo>
                  <a:pt x="1221" y="2105"/>
                  <a:pt x="1228" y="2101"/>
                  <a:pt x="1237" y="2101"/>
                </a:cubicBezTo>
                <a:cubicBezTo>
                  <a:pt x="1253" y="2101"/>
                  <a:pt x="1261" y="2114"/>
                  <a:pt x="1261" y="2139"/>
                </a:cubicBezTo>
                <a:cubicBezTo>
                  <a:pt x="1261" y="2152"/>
                  <a:pt x="1259" y="2161"/>
                  <a:pt x="1254" y="2168"/>
                </a:cubicBezTo>
                <a:cubicBezTo>
                  <a:pt x="1249" y="2174"/>
                  <a:pt x="1243" y="2177"/>
                  <a:pt x="1235" y="2177"/>
                </a:cubicBezTo>
                <a:close/>
                <a:moveTo>
                  <a:pt x="1236" y="2111"/>
                </a:moveTo>
                <a:cubicBezTo>
                  <a:pt x="1227" y="2111"/>
                  <a:pt x="1222" y="2121"/>
                  <a:pt x="1222" y="2141"/>
                </a:cubicBezTo>
                <a:cubicBezTo>
                  <a:pt x="1222" y="2159"/>
                  <a:pt x="1226" y="2168"/>
                  <a:pt x="1235" y="2168"/>
                </a:cubicBezTo>
                <a:cubicBezTo>
                  <a:pt x="1244" y="2168"/>
                  <a:pt x="1248" y="2159"/>
                  <a:pt x="1248" y="2140"/>
                </a:cubicBezTo>
                <a:cubicBezTo>
                  <a:pt x="1248" y="2120"/>
                  <a:pt x="1244" y="2111"/>
                  <a:pt x="1236" y="2111"/>
                </a:cubicBezTo>
                <a:close/>
                <a:moveTo>
                  <a:pt x="923" y="2136"/>
                </a:moveTo>
                <a:cubicBezTo>
                  <a:pt x="923" y="2136"/>
                  <a:pt x="923" y="2136"/>
                  <a:pt x="923" y="2136"/>
                </a:cubicBezTo>
                <a:cubicBezTo>
                  <a:pt x="922" y="2144"/>
                  <a:pt x="922" y="2144"/>
                  <a:pt x="922" y="2144"/>
                </a:cubicBezTo>
                <a:cubicBezTo>
                  <a:pt x="929" y="2145"/>
                  <a:pt x="929" y="2148"/>
                  <a:pt x="929" y="2150"/>
                </a:cubicBezTo>
                <a:cubicBezTo>
                  <a:pt x="929" y="2152"/>
                  <a:pt x="929" y="2155"/>
                  <a:pt x="929" y="2157"/>
                </a:cubicBezTo>
                <a:cubicBezTo>
                  <a:pt x="929" y="2160"/>
                  <a:pt x="928" y="2162"/>
                  <a:pt x="928" y="2164"/>
                </a:cubicBezTo>
                <a:cubicBezTo>
                  <a:pt x="928" y="2174"/>
                  <a:pt x="934" y="2177"/>
                  <a:pt x="943" y="2177"/>
                </a:cubicBezTo>
                <a:cubicBezTo>
                  <a:pt x="943" y="2177"/>
                  <a:pt x="943" y="2177"/>
                  <a:pt x="946" y="2177"/>
                </a:cubicBezTo>
                <a:cubicBezTo>
                  <a:pt x="946" y="2177"/>
                  <a:pt x="946" y="2177"/>
                  <a:pt x="946" y="2168"/>
                </a:cubicBezTo>
                <a:cubicBezTo>
                  <a:pt x="946" y="2168"/>
                  <a:pt x="946" y="2168"/>
                  <a:pt x="945" y="2168"/>
                </a:cubicBezTo>
                <a:cubicBezTo>
                  <a:pt x="941" y="2168"/>
                  <a:pt x="940" y="2166"/>
                  <a:pt x="940" y="2162"/>
                </a:cubicBezTo>
                <a:cubicBezTo>
                  <a:pt x="940" y="2161"/>
                  <a:pt x="940" y="2159"/>
                  <a:pt x="941" y="2157"/>
                </a:cubicBezTo>
                <a:cubicBezTo>
                  <a:pt x="941" y="2156"/>
                  <a:pt x="941" y="2154"/>
                  <a:pt x="941" y="2151"/>
                </a:cubicBezTo>
                <a:cubicBezTo>
                  <a:pt x="941" y="2144"/>
                  <a:pt x="938" y="2141"/>
                  <a:pt x="932" y="2140"/>
                </a:cubicBezTo>
                <a:cubicBezTo>
                  <a:pt x="932" y="2140"/>
                  <a:pt x="932" y="2140"/>
                  <a:pt x="932" y="2140"/>
                </a:cubicBezTo>
                <a:cubicBezTo>
                  <a:pt x="938" y="2139"/>
                  <a:pt x="941" y="2136"/>
                  <a:pt x="941" y="2129"/>
                </a:cubicBezTo>
                <a:cubicBezTo>
                  <a:pt x="941" y="2126"/>
                  <a:pt x="941" y="2124"/>
                  <a:pt x="941" y="2123"/>
                </a:cubicBezTo>
                <a:cubicBezTo>
                  <a:pt x="940" y="2121"/>
                  <a:pt x="940" y="2119"/>
                  <a:pt x="940" y="2118"/>
                </a:cubicBezTo>
                <a:cubicBezTo>
                  <a:pt x="940" y="2114"/>
                  <a:pt x="941" y="2112"/>
                  <a:pt x="945" y="2112"/>
                </a:cubicBezTo>
                <a:cubicBezTo>
                  <a:pt x="945" y="2112"/>
                  <a:pt x="945" y="2112"/>
                  <a:pt x="946" y="2112"/>
                </a:cubicBezTo>
                <a:cubicBezTo>
                  <a:pt x="946" y="2112"/>
                  <a:pt x="946" y="2112"/>
                  <a:pt x="946" y="2103"/>
                </a:cubicBezTo>
                <a:cubicBezTo>
                  <a:pt x="946" y="2103"/>
                  <a:pt x="946" y="2103"/>
                  <a:pt x="943" y="2103"/>
                </a:cubicBezTo>
                <a:cubicBezTo>
                  <a:pt x="934" y="2103"/>
                  <a:pt x="928" y="2107"/>
                  <a:pt x="928" y="2115"/>
                </a:cubicBezTo>
                <a:cubicBezTo>
                  <a:pt x="928" y="2118"/>
                  <a:pt x="929" y="2120"/>
                  <a:pt x="929" y="2123"/>
                </a:cubicBezTo>
                <a:cubicBezTo>
                  <a:pt x="929" y="2125"/>
                  <a:pt x="929" y="2128"/>
                  <a:pt x="929" y="2130"/>
                </a:cubicBezTo>
                <a:cubicBezTo>
                  <a:pt x="929" y="2132"/>
                  <a:pt x="929" y="2136"/>
                  <a:pt x="923" y="2136"/>
                </a:cubicBezTo>
                <a:close/>
                <a:moveTo>
                  <a:pt x="978" y="2144"/>
                </a:moveTo>
                <a:cubicBezTo>
                  <a:pt x="978" y="2144"/>
                  <a:pt x="978" y="2144"/>
                  <a:pt x="978" y="2144"/>
                </a:cubicBezTo>
                <a:cubicBezTo>
                  <a:pt x="978" y="2136"/>
                  <a:pt x="978" y="2136"/>
                  <a:pt x="978" y="2136"/>
                </a:cubicBezTo>
                <a:cubicBezTo>
                  <a:pt x="971" y="2136"/>
                  <a:pt x="971" y="2132"/>
                  <a:pt x="971" y="2130"/>
                </a:cubicBezTo>
                <a:cubicBezTo>
                  <a:pt x="971" y="2128"/>
                  <a:pt x="971" y="2125"/>
                  <a:pt x="971" y="2123"/>
                </a:cubicBezTo>
                <a:cubicBezTo>
                  <a:pt x="972" y="2120"/>
                  <a:pt x="972" y="2118"/>
                  <a:pt x="972" y="2115"/>
                </a:cubicBezTo>
                <a:cubicBezTo>
                  <a:pt x="972" y="2107"/>
                  <a:pt x="966" y="2103"/>
                  <a:pt x="957" y="2103"/>
                </a:cubicBezTo>
                <a:cubicBezTo>
                  <a:pt x="957" y="2103"/>
                  <a:pt x="957" y="2103"/>
                  <a:pt x="953" y="2103"/>
                </a:cubicBezTo>
                <a:cubicBezTo>
                  <a:pt x="953" y="2103"/>
                  <a:pt x="953" y="2103"/>
                  <a:pt x="953" y="2112"/>
                </a:cubicBezTo>
                <a:cubicBezTo>
                  <a:pt x="953" y="2112"/>
                  <a:pt x="953" y="2112"/>
                  <a:pt x="955" y="2112"/>
                </a:cubicBezTo>
                <a:cubicBezTo>
                  <a:pt x="958" y="2112"/>
                  <a:pt x="960" y="2114"/>
                  <a:pt x="960" y="2118"/>
                </a:cubicBezTo>
                <a:cubicBezTo>
                  <a:pt x="960" y="2119"/>
                  <a:pt x="960" y="2121"/>
                  <a:pt x="960" y="2123"/>
                </a:cubicBezTo>
                <a:cubicBezTo>
                  <a:pt x="959" y="2124"/>
                  <a:pt x="959" y="2126"/>
                  <a:pt x="959" y="2129"/>
                </a:cubicBezTo>
                <a:cubicBezTo>
                  <a:pt x="959" y="2136"/>
                  <a:pt x="962" y="2139"/>
                  <a:pt x="968" y="2140"/>
                </a:cubicBezTo>
                <a:cubicBezTo>
                  <a:pt x="968" y="2140"/>
                  <a:pt x="968" y="2140"/>
                  <a:pt x="968" y="2140"/>
                </a:cubicBezTo>
                <a:cubicBezTo>
                  <a:pt x="962" y="2141"/>
                  <a:pt x="959" y="2144"/>
                  <a:pt x="959" y="2151"/>
                </a:cubicBezTo>
                <a:cubicBezTo>
                  <a:pt x="959" y="2154"/>
                  <a:pt x="959" y="2156"/>
                  <a:pt x="960" y="2157"/>
                </a:cubicBezTo>
                <a:cubicBezTo>
                  <a:pt x="960" y="2159"/>
                  <a:pt x="960" y="2161"/>
                  <a:pt x="960" y="2162"/>
                </a:cubicBezTo>
                <a:cubicBezTo>
                  <a:pt x="960" y="2166"/>
                  <a:pt x="959" y="2168"/>
                  <a:pt x="955" y="2168"/>
                </a:cubicBezTo>
                <a:cubicBezTo>
                  <a:pt x="955" y="2168"/>
                  <a:pt x="955" y="2168"/>
                  <a:pt x="953" y="2168"/>
                </a:cubicBezTo>
                <a:cubicBezTo>
                  <a:pt x="953" y="2168"/>
                  <a:pt x="953" y="2168"/>
                  <a:pt x="953" y="2177"/>
                </a:cubicBezTo>
                <a:cubicBezTo>
                  <a:pt x="953" y="2177"/>
                  <a:pt x="953" y="2177"/>
                  <a:pt x="957" y="2177"/>
                </a:cubicBezTo>
                <a:cubicBezTo>
                  <a:pt x="966" y="2177"/>
                  <a:pt x="972" y="2174"/>
                  <a:pt x="972" y="2164"/>
                </a:cubicBezTo>
                <a:cubicBezTo>
                  <a:pt x="972" y="2162"/>
                  <a:pt x="972" y="2160"/>
                  <a:pt x="971" y="2157"/>
                </a:cubicBezTo>
                <a:cubicBezTo>
                  <a:pt x="971" y="2155"/>
                  <a:pt x="971" y="2152"/>
                  <a:pt x="971" y="2150"/>
                </a:cubicBezTo>
                <a:cubicBezTo>
                  <a:pt x="971" y="2148"/>
                  <a:pt x="971" y="2145"/>
                  <a:pt x="978" y="2144"/>
                </a:cubicBezTo>
                <a:close/>
                <a:moveTo>
                  <a:pt x="1447" y="2177"/>
                </a:moveTo>
                <a:cubicBezTo>
                  <a:pt x="1440" y="2177"/>
                  <a:pt x="1434" y="2174"/>
                  <a:pt x="1429" y="2168"/>
                </a:cubicBezTo>
                <a:cubicBezTo>
                  <a:pt x="1425" y="2162"/>
                  <a:pt x="1423" y="2152"/>
                  <a:pt x="1423" y="2141"/>
                </a:cubicBezTo>
                <a:cubicBezTo>
                  <a:pt x="1423" y="2128"/>
                  <a:pt x="1425" y="2118"/>
                  <a:pt x="1429" y="2111"/>
                </a:cubicBezTo>
                <a:cubicBezTo>
                  <a:pt x="1434" y="2104"/>
                  <a:pt x="1440" y="2101"/>
                  <a:pt x="1449" y="2101"/>
                </a:cubicBezTo>
                <a:cubicBezTo>
                  <a:pt x="1465" y="2101"/>
                  <a:pt x="1473" y="2114"/>
                  <a:pt x="1473" y="2139"/>
                </a:cubicBezTo>
                <a:cubicBezTo>
                  <a:pt x="1473" y="2152"/>
                  <a:pt x="1471" y="2161"/>
                  <a:pt x="1467" y="2168"/>
                </a:cubicBezTo>
                <a:cubicBezTo>
                  <a:pt x="1462" y="2174"/>
                  <a:pt x="1456" y="2177"/>
                  <a:pt x="1447" y="2177"/>
                </a:cubicBezTo>
                <a:close/>
                <a:moveTo>
                  <a:pt x="1448" y="2111"/>
                </a:moveTo>
                <a:cubicBezTo>
                  <a:pt x="1440" y="2111"/>
                  <a:pt x="1435" y="2120"/>
                  <a:pt x="1435" y="2140"/>
                </a:cubicBezTo>
                <a:cubicBezTo>
                  <a:pt x="1435" y="2158"/>
                  <a:pt x="1440" y="2168"/>
                  <a:pt x="1448" y="2168"/>
                </a:cubicBezTo>
                <a:cubicBezTo>
                  <a:pt x="1456" y="2168"/>
                  <a:pt x="1461" y="2158"/>
                  <a:pt x="1461" y="2140"/>
                </a:cubicBezTo>
                <a:cubicBezTo>
                  <a:pt x="1461" y="2120"/>
                  <a:pt x="1457" y="2111"/>
                  <a:pt x="1448" y="2111"/>
                </a:cubicBezTo>
                <a:close/>
                <a:moveTo>
                  <a:pt x="1565" y="2177"/>
                </a:moveTo>
                <a:cubicBezTo>
                  <a:pt x="1557" y="2177"/>
                  <a:pt x="1552" y="2174"/>
                  <a:pt x="1547" y="2168"/>
                </a:cubicBezTo>
                <a:cubicBezTo>
                  <a:pt x="1543" y="2162"/>
                  <a:pt x="1541" y="2152"/>
                  <a:pt x="1541" y="2141"/>
                </a:cubicBezTo>
                <a:cubicBezTo>
                  <a:pt x="1541" y="2128"/>
                  <a:pt x="1543" y="2118"/>
                  <a:pt x="1547" y="2111"/>
                </a:cubicBezTo>
                <a:cubicBezTo>
                  <a:pt x="1552" y="2104"/>
                  <a:pt x="1558" y="2101"/>
                  <a:pt x="1567" y="2101"/>
                </a:cubicBezTo>
                <a:cubicBezTo>
                  <a:pt x="1583" y="2101"/>
                  <a:pt x="1591" y="2114"/>
                  <a:pt x="1591" y="2139"/>
                </a:cubicBezTo>
                <a:cubicBezTo>
                  <a:pt x="1591" y="2152"/>
                  <a:pt x="1589" y="2161"/>
                  <a:pt x="1584" y="2168"/>
                </a:cubicBezTo>
                <a:cubicBezTo>
                  <a:pt x="1579" y="2174"/>
                  <a:pt x="1574" y="2177"/>
                  <a:pt x="1565" y="2177"/>
                </a:cubicBezTo>
                <a:close/>
                <a:moveTo>
                  <a:pt x="1566" y="2111"/>
                </a:moveTo>
                <a:cubicBezTo>
                  <a:pt x="1557" y="2111"/>
                  <a:pt x="1553" y="2120"/>
                  <a:pt x="1553" y="2140"/>
                </a:cubicBezTo>
                <a:cubicBezTo>
                  <a:pt x="1553" y="2158"/>
                  <a:pt x="1557" y="2168"/>
                  <a:pt x="1566" y="2168"/>
                </a:cubicBezTo>
                <a:cubicBezTo>
                  <a:pt x="1574" y="2168"/>
                  <a:pt x="1579" y="2158"/>
                  <a:pt x="1579" y="2140"/>
                </a:cubicBezTo>
                <a:cubicBezTo>
                  <a:pt x="1579" y="2120"/>
                  <a:pt x="1575" y="2111"/>
                  <a:pt x="1566" y="2111"/>
                </a:cubicBezTo>
                <a:close/>
                <a:moveTo>
                  <a:pt x="1520" y="2104"/>
                </a:moveTo>
                <a:cubicBezTo>
                  <a:pt x="1520" y="2104"/>
                  <a:pt x="1520" y="2104"/>
                  <a:pt x="1520" y="2104"/>
                </a:cubicBezTo>
                <a:cubicBezTo>
                  <a:pt x="1515" y="2104"/>
                  <a:pt x="1515" y="2104"/>
                  <a:pt x="1515" y="2104"/>
                </a:cubicBezTo>
                <a:cubicBezTo>
                  <a:pt x="1513" y="2105"/>
                  <a:pt x="1512" y="2107"/>
                  <a:pt x="1510" y="2107"/>
                </a:cubicBezTo>
                <a:cubicBezTo>
                  <a:pt x="1508" y="2109"/>
                  <a:pt x="1506" y="2110"/>
                  <a:pt x="1505" y="2110"/>
                </a:cubicBezTo>
                <a:cubicBezTo>
                  <a:pt x="1503" y="2111"/>
                  <a:pt x="1501" y="2112"/>
                  <a:pt x="1499" y="2112"/>
                </a:cubicBezTo>
                <a:cubicBezTo>
                  <a:pt x="1497" y="2113"/>
                  <a:pt x="1496" y="2114"/>
                  <a:pt x="1494" y="2115"/>
                </a:cubicBezTo>
                <a:cubicBezTo>
                  <a:pt x="1494" y="2115"/>
                  <a:pt x="1494" y="2115"/>
                  <a:pt x="1494" y="2125"/>
                </a:cubicBezTo>
                <a:cubicBezTo>
                  <a:pt x="1497" y="2124"/>
                  <a:pt x="1499" y="2123"/>
                  <a:pt x="1502" y="2122"/>
                </a:cubicBezTo>
                <a:cubicBezTo>
                  <a:pt x="1505" y="2121"/>
                  <a:pt x="1507" y="2120"/>
                  <a:pt x="1509" y="2118"/>
                </a:cubicBezTo>
                <a:cubicBezTo>
                  <a:pt x="1509" y="2118"/>
                  <a:pt x="1509" y="2118"/>
                  <a:pt x="1509" y="2177"/>
                </a:cubicBezTo>
                <a:cubicBezTo>
                  <a:pt x="1509" y="2177"/>
                  <a:pt x="1509" y="2177"/>
                  <a:pt x="1520" y="2177"/>
                </a:cubicBezTo>
                <a:cubicBezTo>
                  <a:pt x="1520" y="2177"/>
                  <a:pt x="1520" y="2177"/>
                  <a:pt x="1520" y="2104"/>
                </a:cubicBezTo>
                <a:close/>
                <a:moveTo>
                  <a:pt x="1636" y="2177"/>
                </a:moveTo>
                <a:cubicBezTo>
                  <a:pt x="1628" y="2177"/>
                  <a:pt x="1622" y="2174"/>
                  <a:pt x="1618" y="2168"/>
                </a:cubicBezTo>
                <a:cubicBezTo>
                  <a:pt x="1614" y="2162"/>
                  <a:pt x="1612" y="2153"/>
                  <a:pt x="1612" y="2141"/>
                </a:cubicBezTo>
                <a:cubicBezTo>
                  <a:pt x="1612" y="2128"/>
                  <a:pt x="1614" y="2118"/>
                  <a:pt x="1618" y="2112"/>
                </a:cubicBezTo>
                <a:cubicBezTo>
                  <a:pt x="1623" y="2105"/>
                  <a:pt x="1629" y="2101"/>
                  <a:pt x="1638" y="2101"/>
                </a:cubicBezTo>
                <a:cubicBezTo>
                  <a:pt x="1654" y="2101"/>
                  <a:pt x="1662" y="2114"/>
                  <a:pt x="1662" y="2139"/>
                </a:cubicBezTo>
                <a:cubicBezTo>
                  <a:pt x="1662" y="2152"/>
                  <a:pt x="1660" y="2161"/>
                  <a:pt x="1656" y="2168"/>
                </a:cubicBezTo>
                <a:cubicBezTo>
                  <a:pt x="1650" y="2174"/>
                  <a:pt x="1645" y="2177"/>
                  <a:pt x="1636" y="2177"/>
                </a:cubicBezTo>
                <a:close/>
                <a:moveTo>
                  <a:pt x="1637" y="2111"/>
                </a:moveTo>
                <a:cubicBezTo>
                  <a:pt x="1628" y="2111"/>
                  <a:pt x="1623" y="2121"/>
                  <a:pt x="1623" y="2141"/>
                </a:cubicBezTo>
                <a:cubicBezTo>
                  <a:pt x="1623" y="2159"/>
                  <a:pt x="1628" y="2168"/>
                  <a:pt x="1637" y="2168"/>
                </a:cubicBezTo>
                <a:cubicBezTo>
                  <a:pt x="1645" y="2168"/>
                  <a:pt x="1650" y="2159"/>
                  <a:pt x="1650" y="2140"/>
                </a:cubicBezTo>
                <a:cubicBezTo>
                  <a:pt x="1650" y="2120"/>
                  <a:pt x="1645" y="2111"/>
                  <a:pt x="1637" y="2111"/>
                </a:cubicBezTo>
                <a:close/>
                <a:moveTo>
                  <a:pt x="1683" y="2136"/>
                </a:moveTo>
                <a:cubicBezTo>
                  <a:pt x="1683" y="2136"/>
                  <a:pt x="1683" y="2136"/>
                  <a:pt x="1683" y="2136"/>
                </a:cubicBezTo>
                <a:cubicBezTo>
                  <a:pt x="1683" y="2144"/>
                  <a:pt x="1683" y="2144"/>
                  <a:pt x="1683" y="2144"/>
                </a:cubicBezTo>
                <a:cubicBezTo>
                  <a:pt x="1689" y="2145"/>
                  <a:pt x="1690" y="2148"/>
                  <a:pt x="1690" y="2150"/>
                </a:cubicBezTo>
                <a:cubicBezTo>
                  <a:pt x="1690" y="2152"/>
                  <a:pt x="1689" y="2155"/>
                  <a:pt x="1689" y="2157"/>
                </a:cubicBezTo>
                <a:cubicBezTo>
                  <a:pt x="1689" y="2160"/>
                  <a:pt x="1689" y="2162"/>
                  <a:pt x="1689" y="2164"/>
                </a:cubicBezTo>
                <a:cubicBezTo>
                  <a:pt x="1689" y="2174"/>
                  <a:pt x="1695" y="2177"/>
                  <a:pt x="1703" y="2177"/>
                </a:cubicBezTo>
                <a:cubicBezTo>
                  <a:pt x="1703" y="2177"/>
                  <a:pt x="1703" y="2177"/>
                  <a:pt x="1707" y="2177"/>
                </a:cubicBezTo>
                <a:cubicBezTo>
                  <a:pt x="1707" y="2177"/>
                  <a:pt x="1707" y="2177"/>
                  <a:pt x="1707" y="2168"/>
                </a:cubicBezTo>
                <a:cubicBezTo>
                  <a:pt x="1707" y="2168"/>
                  <a:pt x="1707" y="2168"/>
                  <a:pt x="1705" y="2168"/>
                </a:cubicBezTo>
                <a:cubicBezTo>
                  <a:pt x="1702" y="2168"/>
                  <a:pt x="1700" y="2166"/>
                  <a:pt x="1700" y="2162"/>
                </a:cubicBezTo>
                <a:cubicBezTo>
                  <a:pt x="1700" y="2161"/>
                  <a:pt x="1700" y="2159"/>
                  <a:pt x="1701" y="2157"/>
                </a:cubicBezTo>
                <a:cubicBezTo>
                  <a:pt x="1701" y="2156"/>
                  <a:pt x="1701" y="2154"/>
                  <a:pt x="1701" y="2151"/>
                </a:cubicBezTo>
                <a:cubicBezTo>
                  <a:pt x="1701" y="2144"/>
                  <a:pt x="1698" y="2141"/>
                  <a:pt x="1693" y="2140"/>
                </a:cubicBezTo>
                <a:cubicBezTo>
                  <a:pt x="1693" y="2140"/>
                  <a:pt x="1693" y="2140"/>
                  <a:pt x="1693" y="2140"/>
                </a:cubicBezTo>
                <a:cubicBezTo>
                  <a:pt x="1698" y="2139"/>
                  <a:pt x="1701" y="2136"/>
                  <a:pt x="1701" y="2129"/>
                </a:cubicBezTo>
                <a:cubicBezTo>
                  <a:pt x="1701" y="2126"/>
                  <a:pt x="1701" y="2124"/>
                  <a:pt x="1701" y="2123"/>
                </a:cubicBezTo>
                <a:cubicBezTo>
                  <a:pt x="1700" y="2121"/>
                  <a:pt x="1700" y="2119"/>
                  <a:pt x="1700" y="2118"/>
                </a:cubicBezTo>
                <a:cubicBezTo>
                  <a:pt x="1700" y="2114"/>
                  <a:pt x="1702" y="2112"/>
                  <a:pt x="1705" y="2112"/>
                </a:cubicBezTo>
                <a:cubicBezTo>
                  <a:pt x="1705" y="2112"/>
                  <a:pt x="1705" y="2112"/>
                  <a:pt x="1707" y="2112"/>
                </a:cubicBezTo>
                <a:cubicBezTo>
                  <a:pt x="1707" y="2112"/>
                  <a:pt x="1707" y="2112"/>
                  <a:pt x="1707" y="2103"/>
                </a:cubicBezTo>
                <a:cubicBezTo>
                  <a:pt x="1707" y="2103"/>
                  <a:pt x="1707" y="2103"/>
                  <a:pt x="1703" y="2103"/>
                </a:cubicBezTo>
                <a:cubicBezTo>
                  <a:pt x="1694" y="2103"/>
                  <a:pt x="1689" y="2107"/>
                  <a:pt x="1689" y="2115"/>
                </a:cubicBezTo>
                <a:cubicBezTo>
                  <a:pt x="1689" y="2118"/>
                  <a:pt x="1689" y="2120"/>
                  <a:pt x="1689" y="2123"/>
                </a:cubicBezTo>
                <a:cubicBezTo>
                  <a:pt x="1689" y="2125"/>
                  <a:pt x="1690" y="2128"/>
                  <a:pt x="1690" y="2130"/>
                </a:cubicBezTo>
                <a:cubicBezTo>
                  <a:pt x="1690" y="2132"/>
                  <a:pt x="1689" y="2136"/>
                  <a:pt x="1683" y="2136"/>
                </a:cubicBezTo>
                <a:close/>
                <a:moveTo>
                  <a:pt x="1737" y="2144"/>
                </a:moveTo>
                <a:cubicBezTo>
                  <a:pt x="1737" y="2144"/>
                  <a:pt x="1737" y="2144"/>
                  <a:pt x="1737" y="2144"/>
                </a:cubicBezTo>
                <a:cubicBezTo>
                  <a:pt x="1737" y="2136"/>
                  <a:pt x="1737" y="2136"/>
                  <a:pt x="1737" y="2136"/>
                </a:cubicBezTo>
                <a:cubicBezTo>
                  <a:pt x="1731" y="2136"/>
                  <a:pt x="1731" y="2132"/>
                  <a:pt x="1731" y="2130"/>
                </a:cubicBezTo>
                <a:cubicBezTo>
                  <a:pt x="1731" y="2128"/>
                  <a:pt x="1731" y="2125"/>
                  <a:pt x="1731" y="2123"/>
                </a:cubicBezTo>
                <a:cubicBezTo>
                  <a:pt x="1732" y="2120"/>
                  <a:pt x="1732" y="2118"/>
                  <a:pt x="1732" y="2115"/>
                </a:cubicBezTo>
                <a:cubicBezTo>
                  <a:pt x="1732" y="2107"/>
                  <a:pt x="1726" y="2103"/>
                  <a:pt x="1717" y="2103"/>
                </a:cubicBezTo>
                <a:cubicBezTo>
                  <a:pt x="1717" y="2103"/>
                  <a:pt x="1717" y="2103"/>
                  <a:pt x="1713" y="2103"/>
                </a:cubicBezTo>
                <a:cubicBezTo>
                  <a:pt x="1713" y="2103"/>
                  <a:pt x="1713" y="2103"/>
                  <a:pt x="1713" y="2112"/>
                </a:cubicBezTo>
                <a:cubicBezTo>
                  <a:pt x="1713" y="2112"/>
                  <a:pt x="1713" y="2112"/>
                  <a:pt x="1715" y="2112"/>
                </a:cubicBezTo>
                <a:cubicBezTo>
                  <a:pt x="1719" y="2112"/>
                  <a:pt x="1720" y="2114"/>
                  <a:pt x="1720" y="2118"/>
                </a:cubicBezTo>
                <a:cubicBezTo>
                  <a:pt x="1720" y="2119"/>
                  <a:pt x="1720" y="2121"/>
                  <a:pt x="1720" y="2123"/>
                </a:cubicBezTo>
                <a:cubicBezTo>
                  <a:pt x="1719" y="2124"/>
                  <a:pt x="1719" y="2126"/>
                  <a:pt x="1719" y="2129"/>
                </a:cubicBezTo>
                <a:cubicBezTo>
                  <a:pt x="1719" y="2136"/>
                  <a:pt x="1722" y="2139"/>
                  <a:pt x="1728" y="2140"/>
                </a:cubicBezTo>
                <a:cubicBezTo>
                  <a:pt x="1728" y="2140"/>
                  <a:pt x="1728" y="2140"/>
                  <a:pt x="1728" y="2140"/>
                </a:cubicBezTo>
                <a:cubicBezTo>
                  <a:pt x="1722" y="2141"/>
                  <a:pt x="1719" y="2144"/>
                  <a:pt x="1719" y="2151"/>
                </a:cubicBezTo>
                <a:cubicBezTo>
                  <a:pt x="1719" y="2154"/>
                  <a:pt x="1719" y="2156"/>
                  <a:pt x="1720" y="2157"/>
                </a:cubicBezTo>
                <a:cubicBezTo>
                  <a:pt x="1720" y="2159"/>
                  <a:pt x="1720" y="2161"/>
                  <a:pt x="1720" y="2162"/>
                </a:cubicBezTo>
                <a:cubicBezTo>
                  <a:pt x="1720" y="2166"/>
                  <a:pt x="1719" y="2168"/>
                  <a:pt x="1715" y="2168"/>
                </a:cubicBezTo>
                <a:cubicBezTo>
                  <a:pt x="1715" y="2168"/>
                  <a:pt x="1715" y="2168"/>
                  <a:pt x="1713" y="2168"/>
                </a:cubicBezTo>
                <a:cubicBezTo>
                  <a:pt x="1713" y="2168"/>
                  <a:pt x="1713" y="2168"/>
                  <a:pt x="1713" y="2177"/>
                </a:cubicBezTo>
                <a:cubicBezTo>
                  <a:pt x="1713" y="2177"/>
                  <a:pt x="1713" y="2177"/>
                  <a:pt x="1717" y="2177"/>
                </a:cubicBezTo>
                <a:cubicBezTo>
                  <a:pt x="1726" y="2177"/>
                  <a:pt x="1732" y="2174"/>
                  <a:pt x="1732" y="2164"/>
                </a:cubicBezTo>
                <a:cubicBezTo>
                  <a:pt x="1732" y="2162"/>
                  <a:pt x="1732" y="2160"/>
                  <a:pt x="1731" y="2157"/>
                </a:cubicBezTo>
                <a:cubicBezTo>
                  <a:pt x="1731" y="2155"/>
                  <a:pt x="1731" y="2152"/>
                  <a:pt x="1731" y="2150"/>
                </a:cubicBezTo>
                <a:cubicBezTo>
                  <a:pt x="1731" y="2148"/>
                  <a:pt x="1731" y="2145"/>
                  <a:pt x="1737" y="2144"/>
                </a:cubicBezTo>
                <a:close/>
                <a:moveTo>
                  <a:pt x="1858" y="2177"/>
                </a:moveTo>
                <a:cubicBezTo>
                  <a:pt x="1850" y="2177"/>
                  <a:pt x="1844" y="2174"/>
                  <a:pt x="1839" y="2168"/>
                </a:cubicBezTo>
                <a:cubicBezTo>
                  <a:pt x="1836" y="2162"/>
                  <a:pt x="1833" y="2153"/>
                  <a:pt x="1833" y="2141"/>
                </a:cubicBezTo>
                <a:cubicBezTo>
                  <a:pt x="1833" y="2128"/>
                  <a:pt x="1836" y="2118"/>
                  <a:pt x="1840" y="2112"/>
                </a:cubicBezTo>
                <a:cubicBezTo>
                  <a:pt x="1845" y="2105"/>
                  <a:pt x="1851" y="2101"/>
                  <a:pt x="1860" y="2101"/>
                </a:cubicBezTo>
                <a:cubicBezTo>
                  <a:pt x="1876" y="2101"/>
                  <a:pt x="1884" y="2114"/>
                  <a:pt x="1884" y="2139"/>
                </a:cubicBezTo>
                <a:cubicBezTo>
                  <a:pt x="1884" y="2152"/>
                  <a:pt x="1882" y="2161"/>
                  <a:pt x="1877" y="2168"/>
                </a:cubicBezTo>
                <a:cubicBezTo>
                  <a:pt x="1873" y="2174"/>
                  <a:pt x="1866" y="2177"/>
                  <a:pt x="1858" y="2177"/>
                </a:cubicBezTo>
                <a:close/>
                <a:moveTo>
                  <a:pt x="1859" y="2111"/>
                </a:moveTo>
                <a:cubicBezTo>
                  <a:pt x="1850" y="2111"/>
                  <a:pt x="1845" y="2121"/>
                  <a:pt x="1845" y="2141"/>
                </a:cubicBezTo>
                <a:cubicBezTo>
                  <a:pt x="1845" y="2159"/>
                  <a:pt x="1850" y="2168"/>
                  <a:pt x="1859" y="2168"/>
                </a:cubicBezTo>
                <a:cubicBezTo>
                  <a:pt x="1867" y="2168"/>
                  <a:pt x="1872" y="2159"/>
                  <a:pt x="1872" y="2140"/>
                </a:cubicBezTo>
                <a:cubicBezTo>
                  <a:pt x="1872" y="2120"/>
                  <a:pt x="1867" y="2111"/>
                  <a:pt x="1859" y="2111"/>
                </a:cubicBezTo>
                <a:close/>
                <a:moveTo>
                  <a:pt x="1932" y="2104"/>
                </a:moveTo>
                <a:cubicBezTo>
                  <a:pt x="1932" y="2104"/>
                  <a:pt x="1932" y="2104"/>
                  <a:pt x="1932" y="2104"/>
                </a:cubicBezTo>
                <a:cubicBezTo>
                  <a:pt x="1927" y="2104"/>
                  <a:pt x="1927" y="2104"/>
                  <a:pt x="1927" y="2104"/>
                </a:cubicBezTo>
                <a:cubicBezTo>
                  <a:pt x="1924" y="2105"/>
                  <a:pt x="1923" y="2107"/>
                  <a:pt x="1921" y="2107"/>
                </a:cubicBezTo>
                <a:cubicBezTo>
                  <a:pt x="1919" y="2109"/>
                  <a:pt x="1917" y="2110"/>
                  <a:pt x="1916" y="2110"/>
                </a:cubicBezTo>
                <a:cubicBezTo>
                  <a:pt x="1913" y="2111"/>
                  <a:pt x="1912" y="2112"/>
                  <a:pt x="1910" y="2112"/>
                </a:cubicBezTo>
                <a:cubicBezTo>
                  <a:pt x="1908" y="2113"/>
                  <a:pt x="1907" y="2114"/>
                  <a:pt x="1904" y="2115"/>
                </a:cubicBezTo>
                <a:cubicBezTo>
                  <a:pt x="1904" y="2115"/>
                  <a:pt x="1904" y="2115"/>
                  <a:pt x="1904" y="2125"/>
                </a:cubicBezTo>
                <a:cubicBezTo>
                  <a:pt x="1907" y="2124"/>
                  <a:pt x="1910" y="2123"/>
                  <a:pt x="1913" y="2122"/>
                </a:cubicBezTo>
                <a:cubicBezTo>
                  <a:pt x="1916" y="2121"/>
                  <a:pt x="1918" y="2120"/>
                  <a:pt x="1920" y="2118"/>
                </a:cubicBezTo>
                <a:cubicBezTo>
                  <a:pt x="1920" y="2118"/>
                  <a:pt x="1920" y="2118"/>
                  <a:pt x="1920" y="2177"/>
                </a:cubicBezTo>
                <a:cubicBezTo>
                  <a:pt x="1920" y="2177"/>
                  <a:pt x="1920" y="2177"/>
                  <a:pt x="1932" y="2177"/>
                </a:cubicBezTo>
                <a:cubicBezTo>
                  <a:pt x="1932" y="2177"/>
                  <a:pt x="1932" y="2177"/>
                  <a:pt x="1932" y="2104"/>
                </a:cubicBezTo>
                <a:close/>
                <a:moveTo>
                  <a:pt x="128" y="2056"/>
                </a:moveTo>
                <a:cubicBezTo>
                  <a:pt x="128" y="2058"/>
                  <a:pt x="129" y="2059"/>
                  <a:pt x="130" y="2060"/>
                </a:cubicBezTo>
                <a:cubicBezTo>
                  <a:pt x="130" y="2062"/>
                  <a:pt x="130" y="2064"/>
                  <a:pt x="131" y="2065"/>
                </a:cubicBezTo>
                <a:cubicBezTo>
                  <a:pt x="131" y="2067"/>
                  <a:pt x="131" y="2069"/>
                  <a:pt x="131" y="2070"/>
                </a:cubicBezTo>
                <a:cubicBezTo>
                  <a:pt x="132" y="2073"/>
                  <a:pt x="131" y="2075"/>
                  <a:pt x="128" y="2075"/>
                </a:cubicBezTo>
                <a:cubicBezTo>
                  <a:pt x="125" y="2075"/>
                  <a:pt x="122" y="2075"/>
                  <a:pt x="119" y="2075"/>
                </a:cubicBezTo>
                <a:cubicBezTo>
                  <a:pt x="119" y="2075"/>
                  <a:pt x="118" y="2075"/>
                  <a:pt x="118" y="2075"/>
                </a:cubicBezTo>
                <a:cubicBezTo>
                  <a:pt x="116" y="2077"/>
                  <a:pt x="115" y="2078"/>
                  <a:pt x="114" y="2079"/>
                </a:cubicBezTo>
                <a:cubicBezTo>
                  <a:pt x="112" y="2082"/>
                  <a:pt x="108" y="2082"/>
                  <a:pt x="106" y="2080"/>
                </a:cubicBezTo>
                <a:cubicBezTo>
                  <a:pt x="104" y="2078"/>
                  <a:pt x="103" y="2075"/>
                  <a:pt x="101" y="2073"/>
                </a:cubicBezTo>
                <a:cubicBezTo>
                  <a:pt x="101" y="2071"/>
                  <a:pt x="101" y="2069"/>
                  <a:pt x="103" y="2068"/>
                </a:cubicBezTo>
                <a:cubicBezTo>
                  <a:pt x="101" y="2068"/>
                  <a:pt x="99" y="2068"/>
                  <a:pt x="97" y="2068"/>
                </a:cubicBezTo>
                <a:cubicBezTo>
                  <a:pt x="97" y="2070"/>
                  <a:pt x="95" y="2072"/>
                  <a:pt x="95" y="2074"/>
                </a:cubicBezTo>
                <a:cubicBezTo>
                  <a:pt x="95" y="2075"/>
                  <a:pt x="94" y="2075"/>
                  <a:pt x="94" y="2076"/>
                </a:cubicBezTo>
                <a:cubicBezTo>
                  <a:pt x="94" y="2079"/>
                  <a:pt x="93" y="2081"/>
                  <a:pt x="90" y="2080"/>
                </a:cubicBezTo>
                <a:cubicBezTo>
                  <a:pt x="87" y="2080"/>
                  <a:pt x="84" y="2079"/>
                  <a:pt x="81" y="2078"/>
                </a:cubicBezTo>
                <a:cubicBezTo>
                  <a:pt x="79" y="2077"/>
                  <a:pt x="79" y="2076"/>
                  <a:pt x="79" y="2074"/>
                </a:cubicBezTo>
                <a:cubicBezTo>
                  <a:pt x="79" y="2073"/>
                  <a:pt x="79" y="2072"/>
                  <a:pt x="80" y="2072"/>
                </a:cubicBezTo>
                <a:cubicBezTo>
                  <a:pt x="77" y="2071"/>
                  <a:pt x="75" y="2070"/>
                  <a:pt x="73" y="2069"/>
                </a:cubicBezTo>
                <a:cubicBezTo>
                  <a:pt x="72" y="2068"/>
                  <a:pt x="71" y="2066"/>
                  <a:pt x="70" y="2064"/>
                </a:cubicBezTo>
                <a:cubicBezTo>
                  <a:pt x="69" y="2062"/>
                  <a:pt x="69" y="2061"/>
                  <a:pt x="71" y="2059"/>
                </a:cubicBezTo>
                <a:cubicBezTo>
                  <a:pt x="74" y="2057"/>
                  <a:pt x="75" y="2054"/>
                  <a:pt x="74" y="2050"/>
                </a:cubicBezTo>
                <a:cubicBezTo>
                  <a:pt x="74" y="2048"/>
                  <a:pt x="74" y="2046"/>
                  <a:pt x="74" y="2044"/>
                </a:cubicBezTo>
                <a:cubicBezTo>
                  <a:pt x="73" y="2043"/>
                  <a:pt x="71" y="2043"/>
                  <a:pt x="70" y="2042"/>
                </a:cubicBezTo>
                <a:cubicBezTo>
                  <a:pt x="69" y="2040"/>
                  <a:pt x="68" y="2038"/>
                  <a:pt x="68" y="2036"/>
                </a:cubicBezTo>
                <a:cubicBezTo>
                  <a:pt x="68" y="2033"/>
                  <a:pt x="72" y="2031"/>
                  <a:pt x="74" y="2030"/>
                </a:cubicBezTo>
                <a:cubicBezTo>
                  <a:pt x="75" y="2031"/>
                  <a:pt x="75" y="2031"/>
                  <a:pt x="75" y="2032"/>
                </a:cubicBezTo>
                <a:cubicBezTo>
                  <a:pt x="75" y="2033"/>
                  <a:pt x="75" y="2034"/>
                  <a:pt x="75" y="2035"/>
                </a:cubicBezTo>
                <a:cubicBezTo>
                  <a:pt x="75" y="2035"/>
                  <a:pt x="74" y="2035"/>
                  <a:pt x="74" y="2035"/>
                </a:cubicBezTo>
                <a:cubicBezTo>
                  <a:pt x="74" y="2036"/>
                  <a:pt x="73" y="2037"/>
                  <a:pt x="72" y="2039"/>
                </a:cubicBezTo>
                <a:cubicBezTo>
                  <a:pt x="74" y="2039"/>
                  <a:pt x="74" y="2039"/>
                  <a:pt x="75" y="2039"/>
                </a:cubicBezTo>
                <a:cubicBezTo>
                  <a:pt x="76" y="2037"/>
                  <a:pt x="77" y="2037"/>
                  <a:pt x="77" y="2035"/>
                </a:cubicBezTo>
                <a:cubicBezTo>
                  <a:pt x="82" y="2029"/>
                  <a:pt x="88" y="2025"/>
                  <a:pt x="95" y="2023"/>
                </a:cubicBezTo>
                <a:cubicBezTo>
                  <a:pt x="99" y="2023"/>
                  <a:pt x="102" y="2022"/>
                  <a:pt x="104" y="2019"/>
                </a:cubicBezTo>
                <a:cubicBezTo>
                  <a:pt x="104" y="2018"/>
                  <a:pt x="105" y="2018"/>
                  <a:pt x="105" y="2018"/>
                </a:cubicBezTo>
                <a:cubicBezTo>
                  <a:pt x="108" y="2018"/>
                  <a:pt x="110" y="2015"/>
                  <a:pt x="112" y="2013"/>
                </a:cubicBezTo>
                <a:cubicBezTo>
                  <a:pt x="119" y="2006"/>
                  <a:pt x="131" y="2005"/>
                  <a:pt x="139" y="2012"/>
                </a:cubicBezTo>
                <a:cubicBezTo>
                  <a:pt x="141" y="2014"/>
                  <a:pt x="144" y="2016"/>
                  <a:pt x="146" y="2018"/>
                </a:cubicBezTo>
                <a:cubicBezTo>
                  <a:pt x="148" y="2019"/>
                  <a:pt x="149" y="2021"/>
                  <a:pt x="150" y="2023"/>
                </a:cubicBezTo>
                <a:cubicBezTo>
                  <a:pt x="151" y="2024"/>
                  <a:pt x="152" y="2024"/>
                  <a:pt x="153" y="2023"/>
                </a:cubicBezTo>
                <a:cubicBezTo>
                  <a:pt x="154" y="2023"/>
                  <a:pt x="154" y="2022"/>
                  <a:pt x="155" y="2021"/>
                </a:cubicBezTo>
                <a:cubicBezTo>
                  <a:pt x="157" y="2018"/>
                  <a:pt x="160" y="2018"/>
                  <a:pt x="161" y="2022"/>
                </a:cubicBezTo>
                <a:cubicBezTo>
                  <a:pt x="163" y="2025"/>
                  <a:pt x="163" y="2027"/>
                  <a:pt x="164" y="2031"/>
                </a:cubicBezTo>
                <a:cubicBezTo>
                  <a:pt x="164" y="2035"/>
                  <a:pt x="164" y="2039"/>
                  <a:pt x="163" y="2044"/>
                </a:cubicBezTo>
                <a:cubicBezTo>
                  <a:pt x="160" y="2050"/>
                  <a:pt x="155" y="2054"/>
                  <a:pt x="149" y="2054"/>
                </a:cubicBezTo>
                <a:cubicBezTo>
                  <a:pt x="148" y="2054"/>
                  <a:pt x="148" y="2054"/>
                  <a:pt x="147" y="2054"/>
                </a:cubicBezTo>
                <a:cubicBezTo>
                  <a:pt x="144" y="2053"/>
                  <a:pt x="143" y="2054"/>
                  <a:pt x="143" y="2056"/>
                </a:cubicBezTo>
                <a:cubicBezTo>
                  <a:pt x="141" y="2060"/>
                  <a:pt x="135" y="2062"/>
                  <a:pt x="132" y="2059"/>
                </a:cubicBezTo>
                <a:cubicBezTo>
                  <a:pt x="131" y="2058"/>
                  <a:pt x="130" y="2057"/>
                  <a:pt x="129" y="2056"/>
                </a:cubicBezTo>
                <a:cubicBezTo>
                  <a:pt x="128" y="2056"/>
                  <a:pt x="128" y="2056"/>
                  <a:pt x="128" y="2056"/>
                </a:cubicBezTo>
                <a:close/>
                <a:moveTo>
                  <a:pt x="123" y="2052"/>
                </a:moveTo>
                <a:cubicBezTo>
                  <a:pt x="126" y="2053"/>
                  <a:pt x="130" y="2054"/>
                  <a:pt x="132" y="2057"/>
                </a:cubicBezTo>
                <a:cubicBezTo>
                  <a:pt x="134" y="2059"/>
                  <a:pt x="136" y="2060"/>
                  <a:pt x="138" y="2059"/>
                </a:cubicBezTo>
                <a:cubicBezTo>
                  <a:pt x="141" y="2058"/>
                  <a:pt x="142" y="2056"/>
                  <a:pt x="142" y="2053"/>
                </a:cubicBezTo>
                <a:cubicBezTo>
                  <a:pt x="142" y="2053"/>
                  <a:pt x="141" y="2053"/>
                  <a:pt x="141" y="2054"/>
                </a:cubicBezTo>
                <a:cubicBezTo>
                  <a:pt x="141" y="2055"/>
                  <a:pt x="139" y="2056"/>
                  <a:pt x="139" y="2057"/>
                </a:cubicBezTo>
                <a:cubicBezTo>
                  <a:pt x="137" y="2058"/>
                  <a:pt x="136" y="2058"/>
                  <a:pt x="135" y="2058"/>
                </a:cubicBezTo>
                <a:cubicBezTo>
                  <a:pt x="135" y="2058"/>
                  <a:pt x="134" y="2056"/>
                  <a:pt x="134" y="2056"/>
                </a:cubicBezTo>
                <a:cubicBezTo>
                  <a:pt x="134" y="2053"/>
                  <a:pt x="135" y="2051"/>
                  <a:pt x="135" y="2049"/>
                </a:cubicBezTo>
                <a:cubicBezTo>
                  <a:pt x="138" y="2050"/>
                  <a:pt x="141" y="2051"/>
                  <a:pt x="145" y="2052"/>
                </a:cubicBezTo>
                <a:cubicBezTo>
                  <a:pt x="152" y="2053"/>
                  <a:pt x="158" y="2051"/>
                  <a:pt x="161" y="2043"/>
                </a:cubicBezTo>
                <a:cubicBezTo>
                  <a:pt x="163" y="2038"/>
                  <a:pt x="163" y="2033"/>
                  <a:pt x="162" y="2028"/>
                </a:cubicBezTo>
                <a:cubicBezTo>
                  <a:pt x="161" y="2026"/>
                  <a:pt x="161" y="2024"/>
                  <a:pt x="160" y="2022"/>
                </a:cubicBezTo>
                <a:cubicBezTo>
                  <a:pt x="159" y="2021"/>
                  <a:pt x="158" y="2020"/>
                  <a:pt x="157" y="2022"/>
                </a:cubicBezTo>
                <a:cubicBezTo>
                  <a:pt x="155" y="2024"/>
                  <a:pt x="154" y="2025"/>
                  <a:pt x="152" y="2026"/>
                </a:cubicBezTo>
                <a:cubicBezTo>
                  <a:pt x="151" y="2026"/>
                  <a:pt x="150" y="2027"/>
                  <a:pt x="150" y="2028"/>
                </a:cubicBezTo>
                <a:cubicBezTo>
                  <a:pt x="151" y="2031"/>
                  <a:pt x="150" y="2035"/>
                  <a:pt x="149" y="2038"/>
                </a:cubicBezTo>
                <a:cubicBezTo>
                  <a:pt x="149" y="2036"/>
                  <a:pt x="150" y="2034"/>
                  <a:pt x="150" y="2032"/>
                </a:cubicBezTo>
                <a:cubicBezTo>
                  <a:pt x="150" y="2031"/>
                  <a:pt x="149" y="2031"/>
                  <a:pt x="149" y="2031"/>
                </a:cubicBezTo>
                <a:cubicBezTo>
                  <a:pt x="148" y="2031"/>
                  <a:pt x="148" y="2031"/>
                  <a:pt x="148" y="2031"/>
                </a:cubicBezTo>
                <a:cubicBezTo>
                  <a:pt x="147" y="2033"/>
                  <a:pt x="146" y="2034"/>
                  <a:pt x="145" y="2035"/>
                </a:cubicBezTo>
                <a:cubicBezTo>
                  <a:pt x="145" y="2035"/>
                  <a:pt x="145" y="2035"/>
                  <a:pt x="145" y="2035"/>
                </a:cubicBezTo>
                <a:cubicBezTo>
                  <a:pt x="145" y="2034"/>
                  <a:pt x="146" y="2032"/>
                  <a:pt x="146" y="2030"/>
                </a:cubicBezTo>
                <a:cubicBezTo>
                  <a:pt x="145" y="2031"/>
                  <a:pt x="144" y="2031"/>
                  <a:pt x="144" y="2032"/>
                </a:cubicBezTo>
                <a:cubicBezTo>
                  <a:pt x="143" y="2032"/>
                  <a:pt x="143" y="2033"/>
                  <a:pt x="143" y="2034"/>
                </a:cubicBezTo>
                <a:cubicBezTo>
                  <a:pt x="143" y="2030"/>
                  <a:pt x="143" y="2030"/>
                  <a:pt x="149" y="2029"/>
                </a:cubicBezTo>
                <a:cubicBezTo>
                  <a:pt x="149" y="2029"/>
                  <a:pt x="148" y="2028"/>
                  <a:pt x="148" y="2028"/>
                </a:cubicBezTo>
                <a:cubicBezTo>
                  <a:pt x="145" y="2029"/>
                  <a:pt x="144" y="2027"/>
                  <a:pt x="144" y="2025"/>
                </a:cubicBezTo>
                <a:cubicBezTo>
                  <a:pt x="146" y="2024"/>
                  <a:pt x="147" y="2024"/>
                  <a:pt x="149" y="2024"/>
                </a:cubicBezTo>
                <a:cubicBezTo>
                  <a:pt x="147" y="2021"/>
                  <a:pt x="146" y="2018"/>
                  <a:pt x="143" y="2018"/>
                </a:cubicBezTo>
                <a:cubicBezTo>
                  <a:pt x="142" y="2018"/>
                  <a:pt x="142" y="2018"/>
                  <a:pt x="142" y="2017"/>
                </a:cubicBezTo>
                <a:cubicBezTo>
                  <a:pt x="139" y="2015"/>
                  <a:pt x="137" y="2013"/>
                  <a:pt x="134" y="2011"/>
                </a:cubicBezTo>
                <a:cubicBezTo>
                  <a:pt x="132" y="2010"/>
                  <a:pt x="129" y="2009"/>
                  <a:pt x="127" y="2009"/>
                </a:cubicBezTo>
                <a:cubicBezTo>
                  <a:pt x="124" y="2009"/>
                  <a:pt x="121" y="2010"/>
                  <a:pt x="117" y="2011"/>
                </a:cubicBezTo>
                <a:cubicBezTo>
                  <a:pt x="115" y="2012"/>
                  <a:pt x="112" y="2014"/>
                  <a:pt x="110" y="2017"/>
                </a:cubicBezTo>
                <a:cubicBezTo>
                  <a:pt x="112" y="2017"/>
                  <a:pt x="113" y="2017"/>
                  <a:pt x="114" y="2017"/>
                </a:cubicBezTo>
                <a:cubicBezTo>
                  <a:pt x="114" y="2018"/>
                  <a:pt x="113" y="2018"/>
                  <a:pt x="112" y="2018"/>
                </a:cubicBezTo>
                <a:cubicBezTo>
                  <a:pt x="110" y="2019"/>
                  <a:pt x="107" y="2018"/>
                  <a:pt x="105" y="2020"/>
                </a:cubicBezTo>
                <a:cubicBezTo>
                  <a:pt x="102" y="2024"/>
                  <a:pt x="98" y="2028"/>
                  <a:pt x="94" y="2032"/>
                </a:cubicBezTo>
                <a:cubicBezTo>
                  <a:pt x="93" y="2034"/>
                  <a:pt x="92" y="2037"/>
                  <a:pt x="91" y="2039"/>
                </a:cubicBezTo>
                <a:cubicBezTo>
                  <a:pt x="91" y="2039"/>
                  <a:pt x="91" y="2040"/>
                  <a:pt x="91" y="2041"/>
                </a:cubicBezTo>
                <a:cubicBezTo>
                  <a:pt x="92" y="2043"/>
                  <a:pt x="94" y="2045"/>
                  <a:pt x="95" y="2046"/>
                </a:cubicBezTo>
                <a:cubicBezTo>
                  <a:pt x="96" y="2045"/>
                  <a:pt x="97" y="2043"/>
                  <a:pt x="99" y="2042"/>
                </a:cubicBezTo>
                <a:cubicBezTo>
                  <a:pt x="98" y="2043"/>
                  <a:pt x="98" y="2045"/>
                  <a:pt x="97" y="2046"/>
                </a:cubicBezTo>
                <a:cubicBezTo>
                  <a:pt x="96" y="2047"/>
                  <a:pt x="95" y="2048"/>
                  <a:pt x="95" y="2050"/>
                </a:cubicBezTo>
                <a:cubicBezTo>
                  <a:pt x="95" y="2051"/>
                  <a:pt x="95" y="2052"/>
                  <a:pt x="95" y="2053"/>
                </a:cubicBezTo>
                <a:cubicBezTo>
                  <a:pt x="98" y="2056"/>
                  <a:pt x="101" y="2056"/>
                  <a:pt x="105" y="2054"/>
                </a:cubicBezTo>
                <a:cubicBezTo>
                  <a:pt x="107" y="2053"/>
                  <a:pt x="110" y="2052"/>
                  <a:pt x="113" y="2051"/>
                </a:cubicBezTo>
                <a:cubicBezTo>
                  <a:pt x="114" y="2050"/>
                  <a:pt x="115" y="2050"/>
                  <a:pt x="115" y="2048"/>
                </a:cubicBezTo>
                <a:cubicBezTo>
                  <a:pt x="115" y="2045"/>
                  <a:pt x="115" y="2041"/>
                  <a:pt x="115" y="2038"/>
                </a:cubicBezTo>
                <a:cubicBezTo>
                  <a:pt x="115" y="2035"/>
                  <a:pt x="115" y="2032"/>
                  <a:pt x="115" y="2029"/>
                </a:cubicBezTo>
                <a:cubicBezTo>
                  <a:pt x="116" y="2032"/>
                  <a:pt x="117" y="2035"/>
                  <a:pt x="117" y="2037"/>
                </a:cubicBezTo>
                <a:cubicBezTo>
                  <a:pt x="118" y="2042"/>
                  <a:pt x="118" y="2046"/>
                  <a:pt x="117" y="2050"/>
                </a:cubicBezTo>
                <a:cubicBezTo>
                  <a:pt x="116" y="2051"/>
                  <a:pt x="115" y="2052"/>
                  <a:pt x="115" y="2052"/>
                </a:cubicBezTo>
                <a:cubicBezTo>
                  <a:pt x="112" y="2052"/>
                  <a:pt x="108" y="2054"/>
                  <a:pt x="105" y="2056"/>
                </a:cubicBezTo>
                <a:cubicBezTo>
                  <a:pt x="100" y="2059"/>
                  <a:pt x="97" y="2057"/>
                  <a:pt x="93" y="2053"/>
                </a:cubicBezTo>
                <a:cubicBezTo>
                  <a:pt x="93" y="2053"/>
                  <a:pt x="93" y="2052"/>
                  <a:pt x="93" y="2051"/>
                </a:cubicBezTo>
                <a:cubicBezTo>
                  <a:pt x="94" y="2049"/>
                  <a:pt x="93" y="2047"/>
                  <a:pt x="92" y="2045"/>
                </a:cubicBezTo>
                <a:cubicBezTo>
                  <a:pt x="90" y="2043"/>
                  <a:pt x="88" y="2041"/>
                  <a:pt x="90" y="2038"/>
                </a:cubicBezTo>
                <a:cubicBezTo>
                  <a:pt x="90" y="2036"/>
                  <a:pt x="91" y="2034"/>
                  <a:pt x="92" y="2033"/>
                </a:cubicBezTo>
                <a:cubicBezTo>
                  <a:pt x="94" y="2030"/>
                  <a:pt x="96" y="2027"/>
                  <a:pt x="98" y="2025"/>
                </a:cubicBezTo>
                <a:cubicBezTo>
                  <a:pt x="98" y="2025"/>
                  <a:pt x="97" y="2025"/>
                  <a:pt x="97" y="2025"/>
                </a:cubicBezTo>
                <a:cubicBezTo>
                  <a:pt x="92" y="2026"/>
                  <a:pt x="88" y="2027"/>
                  <a:pt x="84" y="2031"/>
                </a:cubicBezTo>
                <a:cubicBezTo>
                  <a:pt x="79" y="2035"/>
                  <a:pt x="76" y="2040"/>
                  <a:pt x="76" y="2047"/>
                </a:cubicBezTo>
                <a:cubicBezTo>
                  <a:pt x="75" y="2054"/>
                  <a:pt x="78" y="2060"/>
                  <a:pt x="81" y="2065"/>
                </a:cubicBezTo>
                <a:cubicBezTo>
                  <a:pt x="82" y="2066"/>
                  <a:pt x="83" y="2068"/>
                  <a:pt x="82" y="2069"/>
                </a:cubicBezTo>
                <a:cubicBezTo>
                  <a:pt x="82" y="2071"/>
                  <a:pt x="82" y="2072"/>
                  <a:pt x="81" y="2073"/>
                </a:cubicBezTo>
                <a:cubicBezTo>
                  <a:pt x="81" y="2075"/>
                  <a:pt x="81" y="2076"/>
                  <a:pt x="82" y="2077"/>
                </a:cubicBezTo>
                <a:cubicBezTo>
                  <a:pt x="85" y="2077"/>
                  <a:pt x="88" y="2078"/>
                  <a:pt x="91" y="2078"/>
                </a:cubicBezTo>
                <a:cubicBezTo>
                  <a:pt x="92" y="2078"/>
                  <a:pt x="92" y="2077"/>
                  <a:pt x="92" y="2077"/>
                </a:cubicBezTo>
                <a:cubicBezTo>
                  <a:pt x="93" y="2076"/>
                  <a:pt x="93" y="2074"/>
                  <a:pt x="94" y="2073"/>
                </a:cubicBezTo>
                <a:cubicBezTo>
                  <a:pt x="95" y="2071"/>
                  <a:pt x="95" y="2068"/>
                  <a:pt x="95" y="2065"/>
                </a:cubicBezTo>
                <a:cubicBezTo>
                  <a:pt x="95" y="2065"/>
                  <a:pt x="95" y="2065"/>
                  <a:pt x="95" y="2064"/>
                </a:cubicBezTo>
                <a:cubicBezTo>
                  <a:pt x="95" y="2064"/>
                  <a:pt x="95" y="2064"/>
                  <a:pt x="95" y="2064"/>
                </a:cubicBezTo>
                <a:cubicBezTo>
                  <a:pt x="96" y="2066"/>
                  <a:pt x="97" y="2066"/>
                  <a:pt x="99" y="2066"/>
                </a:cubicBezTo>
                <a:cubicBezTo>
                  <a:pt x="100" y="2066"/>
                  <a:pt x="101" y="2066"/>
                  <a:pt x="102" y="2066"/>
                </a:cubicBezTo>
                <a:cubicBezTo>
                  <a:pt x="104" y="2066"/>
                  <a:pt x="108" y="2067"/>
                  <a:pt x="108" y="2063"/>
                </a:cubicBezTo>
                <a:cubicBezTo>
                  <a:pt x="108" y="2065"/>
                  <a:pt x="108" y="2067"/>
                  <a:pt x="108" y="2067"/>
                </a:cubicBezTo>
                <a:cubicBezTo>
                  <a:pt x="107" y="2068"/>
                  <a:pt x="106" y="2069"/>
                  <a:pt x="104" y="2069"/>
                </a:cubicBezTo>
                <a:cubicBezTo>
                  <a:pt x="103" y="2070"/>
                  <a:pt x="103" y="2072"/>
                  <a:pt x="103" y="2073"/>
                </a:cubicBezTo>
                <a:cubicBezTo>
                  <a:pt x="104" y="2075"/>
                  <a:pt x="106" y="2077"/>
                  <a:pt x="107" y="2079"/>
                </a:cubicBezTo>
                <a:cubicBezTo>
                  <a:pt x="109" y="2080"/>
                  <a:pt x="111" y="2080"/>
                  <a:pt x="112" y="2078"/>
                </a:cubicBezTo>
                <a:cubicBezTo>
                  <a:pt x="113" y="2077"/>
                  <a:pt x="114" y="2077"/>
                  <a:pt x="114" y="2076"/>
                </a:cubicBezTo>
                <a:cubicBezTo>
                  <a:pt x="116" y="2075"/>
                  <a:pt x="117" y="2073"/>
                  <a:pt x="119" y="2072"/>
                </a:cubicBezTo>
                <a:cubicBezTo>
                  <a:pt x="123" y="2068"/>
                  <a:pt x="125" y="2062"/>
                  <a:pt x="127" y="2056"/>
                </a:cubicBezTo>
                <a:cubicBezTo>
                  <a:pt x="127" y="2056"/>
                  <a:pt x="126" y="2055"/>
                  <a:pt x="126" y="2054"/>
                </a:cubicBezTo>
                <a:cubicBezTo>
                  <a:pt x="125" y="2053"/>
                  <a:pt x="124" y="2052"/>
                  <a:pt x="123" y="2052"/>
                </a:cubicBezTo>
                <a:close/>
                <a:moveTo>
                  <a:pt x="75" y="2058"/>
                </a:moveTo>
                <a:cubicBezTo>
                  <a:pt x="75" y="2059"/>
                  <a:pt x="73" y="2060"/>
                  <a:pt x="72" y="2061"/>
                </a:cubicBezTo>
                <a:cubicBezTo>
                  <a:pt x="72" y="2061"/>
                  <a:pt x="71" y="2062"/>
                  <a:pt x="71" y="2063"/>
                </a:cubicBezTo>
                <a:cubicBezTo>
                  <a:pt x="71" y="2065"/>
                  <a:pt x="75" y="2070"/>
                  <a:pt x="79" y="2069"/>
                </a:cubicBezTo>
                <a:cubicBezTo>
                  <a:pt x="80" y="2069"/>
                  <a:pt x="81" y="2068"/>
                  <a:pt x="80" y="2067"/>
                </a:cubicBezTo>
                <a:cubicBezTo>
                  <a:pt x="79" y="2064"/>
                  <a:pt x="77" y="2061"/>
                  <a:pt x="75" y="2058"/>
                </a:cubicBezTo>
                <a:close/>
                <a:moveTo>
                  <a:pt x="128" y="2060"/>
                </a:moveTo>
                <a:cubicBezTo>
                  <a:pt x="126" y="2065"/>
                  <a:pt x="123" y="2069"/>
                  <a:pt x="121" y="2073"/>
                </a:cubicBezTo>
                <a:cubicBezTo>
                  <a:pt x="124" y="2073"/>
                  <a:pt x="126" y="2074"/>
                  <a:pt x="129" y="2073"/>
                </a:cubicBezTo>
                <a:cubicBezTo>
                  <a:pt x="129" y="2073"/>
                  <a:pt x="130" y="2072"/>
                  <a:pt x="130" y="2072"/>
                </a:cubicBezTo>
                <a:cubicBezTo>
                  <a:pt x="130" y="2069"/>
                  <a:pt x="130" y="2067"/>
                  <a:pt x="129" y="2064"/>
                </a:cubicBezTo>
                <a:cubicBezTo>
                  <a:pt x="129" y="2063"/>
                  <a:pt x="128" y="2062"/>
                  <a:pt x="128" y="2060"/>
                </a:cubicBezTo>
                <a:close/>
                <a:moveTo>
                  <a:pt x="75" y="2040"/>
                </a:moveTo>
                <a:cubicBezTo>
                  <a:pt x="75" y="2040"/>
                  <a:pt x="74" y="2041"/>
                  <a:pt x="74" y="2041"/>
                </a:cubicBezTo>
                <a:cubicBezTo>
                  <a:pt x="73" y="2041"/>
                  <a:pt x="72" y="2041"/>
                  <a:pt x="72" y="2040"/>
                </a:cubicBezTo>
                <a:cubicBezTo>
                  <a:pt x="72" y="2040"/>
                  <a:pt x="71" y="2039"/>
                  <a:pt x="71" y="2038"/>
                </a:cubicBezTo>
                <a:cubicBezTo>
                  <a:pt x="72" y="2036"/>
                  <a:pt x="72" y="2034"/>
                  <a:pt x="73" y="2032"/>
                </a:cubicBezTo>
                <a:cubicBezTo>
                  <a:pt x="73" y="2032"/>
                  <a:pt x="73" y="2032"/>
                  <a:pt x="72" y="2032"/>
                </a:cubicBezTo>
                <a:cubicBezTo>
                  <a:pt x="72" y="2033"/>
                  <a:pt x="70" y="2034"/>
                  <a:pt x="70" y="2035"/>
                </a:cubicBezTo>
                <a:cubicBezTo>
                  <a:pt x="69" y="2036"/>
                  <a:pt x="70" y="2041"/>
                  <a:pt x="72" y="2042"/>
                </a:cubicBezTo>
                <a:cubicBezTo>
                  <a:pt x="74" y="2043"/>
                  <a:pt x="75" y="2042"/>
                  <a:pt x="75" y="2040"/>
                </a:cubicBezTo>
                <a:close/>
                <a:moveTo>
                  <a:pt x="76" y="2058"/>
                </a:moveTo>
                <a:cubicBezTo>
                  <a:pt x="75" y="2058"/>
                  <a:pt x="73" y="2059"/>
                  <a:pt x="72" y="2060"/>
                </a:cubicBezTo>
                <a:cubicBezTo>
                  <a:pt x="72" y="2061"/>
                  <a:pt x="71" y="2062"/>
                  <a:pt x="71" y="2062"/>
                </a:cubicBezTo>
                <a:cubicBezTo>
                  <a:pt x="71" y="2065"/>
                  <a:pt x="76" y="2070"/>
                  <a:pt x="79" y="2069"/>
                </a:cubicBezTo>
                <a:cubicBezTo>
                  <a:pt x="80" y="2069"/>
                  <a:pt x="81" y="2068"/>
                  <a:pt x="80" y="2066"/>
                </a:cubicBezTo>
                <a:cubicBezTo>
                  <a:pt x="79" y="2063"/>
                  <a:pt x="77" y="2060"/>
                  <a:pt x="76" y="2058"/>
                </a:cubicBezTo>
                <a:close/>
                <a:moveTo>
                  <a:pt x="128" y="2060"/>
                </a:moveTo>
                <a:cubicBezTo>
                  <a:pt x="126" y="2064"/>
                  <a:pt x="124" y="2069"/>
                  <a:pt x="121" y="2073"/>
                </a:cubicBezTo>
                <a:cubicBezTo>
                  <a:pt x="124" y="2073"/>
                  <a:pt x="126" y="2073"/>
                  <a:pt x="129" y="2073"/>
                </a:cubicBezTo>
                <a:cubicBezTo>
                  <a:pt x="129" y="2073"/>
                  <a:pt x="129" y="2072"/>
                  <a:pt x="129" y="2071"/>
                </a:cubicBezTo>
                <a:cubicBezTo>
                  <a:pt x="129" y="2069"/>
                  <a:pt x="129" y="2066"/>
                  <a:pt x="129" y="2064"/>
                </a:cubicBezTo>
                <a:cubicBezTo>
                  <a:pt x="129" y="2062"/>
                  <a:pt x="128" y="2061"/>
                  <a:pt x="128" y="2060"/>
                </a:cubicBezTo>
                <a:close/>
                <a:moveTo>
                  <a:pt x="76" y="2040"/>
                </a:moveTo>
                <a:cubicBezTo>
                  <a:pt x="75" y="2040"/>
                  <a:pt x="74" y="2040"/>
                  <a:pt x="74" y="2040"/>
                </a:cubicBezTo>
                <a:cubicBezTo>
                  <a:pt x="73" y="2040"/>
                  <a:pt x="72" y="2040"/>
                  <a:pt x="72" y="2040"/>
                </a:cubicBezTo>
                <a:cubicBezTo>
                  <a:pt x="72" y="2040"/>
                  <a:pt x="71" y="2039"/>
                  <a:pt x="71" y="2038"/>
                </a:cubicBezTo>
                <a:cubicBezTo>
                  <a:pt x="72" y="2036"/>
                  <a:pt x="73" y="2034"/>
                  <a:pt x="73" y="2032"/>
                </a:cubicBezTo>
                <a:cubicBezTo>
                  <a:pt x="73" y="2032"/>
                  <a:pt x="73" y="2032"/>
                  <a:pt x="73" y="2032"/>
                </a:cubicBezTo>
                <a:cubicBezTo>
                  <a:pt x="72" y="2033"/>
                  <a:pt x="71" y="2034"/>
                  <a:pt x="70" y="2035"/>
                </a:cubicBezTo>
                <a:cubicBezTo>
                  <a:pt x="69" y="2036"/>
                  <a:pt x="71" y="2041"/>
                  <a:pt x="72" y="2042"/>
                </a:cubicBezTo>
                <a:cubicBezTo>
                  <a:pt x="74" y="2043"/>
                  <a:pt x="76" y="2042"/>
                  <a:pt x="76" y="2040"/>
                </a:cubicBezTo>
                <a:close/>
                <a:moveTo>
                  <a:pt x="128" y="2031"/>
                </a:moveTo>
                <a:cubicBezTo>
                  <a:pt x="131" y="2028"/>
                  <a:pt x="131" y="2028"/>
                  <a:pt x="135" y="2026"/>
                </a:cubicBezTo>
                <a:cubicBezTo>
                  <a:pt x="135" y="2028"/>
                  <a:pt x="136" y="2030"/>
                  <a:pt x="138" y="2030"/>
                </a:cubicBezTo>
                <a:cubicBezTo>
                  <a:pt x="135" y="2031"/>
                  <a:pt x="133" y="2032"/>
                  <a:pt x="131" y="2034"/>
                </a:cubicBezTo>
                <a:cubicBezTo>
                  <a:pt x="130" y="2033"/>
                  <a:pt x="130" y="2032"/>
                  <a:pt x="129" y="2031"/>
                </a:cubicBezTo>
                <a:cubicBezTo>
                  <a:pt x="129" y="2031"/>
                  <a:pt x="128" y="2031"/>
                  <a:pt x="128" y="2031"/>
                </a:cubicBezTo>
                <a:close/>
                <a:moveTo>
                  <a:pt x="134" y="2031"/>
                </a:moveTo>
                <a:cubicBezTo>
                  <a:pt x="133" y="2030"/>
                  <a:pt x="132" y="2030"/>
                  <a:pt x="132" y="2030"/>
                </a:cubicBezTo>
                <a:cubicBezTo>
                  <a:pt x="131" y="2030"/>
                  <a:pt x="130" y="2031"/>
                  <a:pt x="130" y="2031"/>
                </a:cubicBezTo>
                <a:cubicBezTo>
                  <a:pt x="130" y="2032"/>
                  <a:pt x="131" y="2032"/>
                  <a:pt x="131" y="2032"/>
                </a:cubicBezTo>
                <a:cubicBezTo>
                  <a:pt x="132" y="2032"/>
                  <a:pt x="132" y="2032"/>
                  <a:pt x="134" y="2031"/>
                </a:cubicBezTo>
                <a:close/>
                <a:moveTo>
                  <a:pt x="115" y="2021"/>
                </a:moveTo>
                <a:cubicBezTo>
                  <a:pt x="108" y="2021"/>
                  <a:pt x="105" y="2023"/>
                  <a:pt x="104" y="2031"/>
                </a:cubicBezTo>
                <a:cubicBezTo>
                  <a:pt x="105" y="2029"/>
                  <a:pt x="106" y="2026"/>
                  <a:pt x="108" y="2024"/>
                </a:cubicBezTo>
                <a:cubicBezTo>
                  <a:pt x="108" y="2024"/>
                  <a:pt x="108" y="2024"/>
                  <a:pt x="108" y="2024"/>
                </a:cubicBezTo>
                <a:cubicBezTo>
                  <a:pt x="108" y="2025"/>
                  <a:pt x="108" y="2026"/>
                  <a:pt x="108" y="2027"/>
                </a:cubicBezTo>
                <a:cubicBezTo>
                  <a:pt x="109" y="2024"/>
                  <a:pt x="111" y="2022"/>
                  <a:pt x="115" y="2021"/>
                </a:cubicBezTo>
                <a:close/>
                <a:moveTo>
                  <a:pt x="158" y="2023"/>
                </a:moveTo>
                <a:cubicBezTo>
                  <a:pt x="156" y="2024"/>
                  <a:pt x="154" y="2026"/>
                  <a:pt x="153" y="2027"/>
                </a:cubicBezTo>
                <a:cubicBezTo>
                  <a:pt x="155" y="2027"/>
                  <a:pt x="157" y="2026"/>
                  <a:pt x="158" y="2023"/>
                </a:cubicBezTo>
                <a:close/>
                <a:moveTo>
                  <a:pt x="125" y="2025"/>
                </a:moveTo>
                <a:cubicBezTo>
                  <a:pt x="126" y="2024"/>
                  <a:pt x="127" y="2022"/>
                  <a:pt x="128" y="2021"/>
                </a:cubicBezTo>
                <a:cubicBezTo>
                  <a:pt x="125" y="2022"/>
                  <a:pt x="125" y="2023"/>
                  <a:pt x="125" y="2025"/>
                </a:cubicBezTo>
                <a:close/>
                <a:moveTo>
                  <a:pt x="135" y="2046"/>
                </a:moveTo>
                <a:cubicBezTo>
                  <a:pt x="133" y="2047"/>
                  <a:pt x="132" y="2048"/>
                  <a:pt x="132" y="2049"/>
                </a:cubicBezTo>
                <a:cubicBezTo>
                  <a:pt x="133" y="2048"/>
                  <a:pt x="134" y="2047"/>
                  <a:pt x="135" y="2046"/>
                </a:cubicBezTo>
                <a:close/>
                <a:moveTo>
                  <a:pt x="134" y="2031"/>
                </a:moveTo>
                <a:cubicBezTo>
                  <a:pt x="133" y="2031"/>
                  <a:pt x="132" y="2030"/>
                  <a:pt x="132" y="2030"/>
                </a:cubicBezTo>
                <a:cubicBezTo>
                  <a:pt x="131" y="2030"/>
                  <a:pt x="130" y="2031"/>
                  <a:pt x="130" y="2031"/>
                </a:cubicBezTo>
                <a:cubicBezTo>
                  <a:pt x="130" y="2032"/>
                  <a:pt x="131" y="2032"/>
                  <a:pt x="131" y="2033"/>
                </a:cubicBezTo>
                <a:cubicBezTo>
                  <a:pt x="132" y="2032"/>
                  <a:pt x="133" y="2032"/>
                  <a:pt x="134" y="2031"/>
                </a:cubicBezTo>
                <a:close/>
                <a:moveTo>
                  <a:pt x="1764" y="2177"/>
                </a:moveTo>
                <a:cubicBezTo>
                  <a:pt x="1767" y="2158"/>
                  <a:pt x="1767" y="2158"/>
                  <a:pt x="1767" y="2158"/>
                </a:cubicBezTo>
                <a:cubicBezTo>
                  <a:pt x="1758" y="2158"/>
                  <a:pt x="1758" y="2158"/>
                  <a:pt x="1758" y="2158"/>
                </a:cubicBezTo>
                <a:cubicBezTo>
                  <a:pt x="1758" y="2146"/>
                  <a:pt x="1758" y="2146"/>
                  <a:pt x="1758" y="2146"/>
                </a:cubicBezTo>
                <a:cubicBezTo>
                  <a:pt x="1769" y="2146"/>
                  <a:pt x="1769" y="2146"/>
                  <a:pt x="1769" y="2146"/>
                </a:cubicBezTo>
                <a:cubicBezTo>
                  <a:pt x="1770" y="2135"/>
                  <a:pt x="1770" y="2135"/>
                  <a:pt x="1770" y="2135"/>
                </a:cubicBezTo>
                <a:cubicBezTo>
                  <a:pt x="1761" y="2135"/>
                  <a:pt x="1761" y="2135"/>
                  <a:pt x="1761" y="2135"/>
                </a:cubicBezTo>
                <a:cubicBezTo>
                  <a:pt x="1761" y="2123"/>
                  <a:pt x="1761" y="2123"/>
                  <a:pt x="1761" y="2123"/>
                </a:cubicBezTo>
                <a:cubicBezTo>
                  <a:pt x="1772" y="2123"/>
                  <a:pt x="1772" y="2123"/>
                  <a:pt x="1772" y="2123"/>
                </a:cubicBezTo>
                <a:cubicBezTo>
                  <a:pt x="1775" y="2105"/>
                  <a:pt x="1775" y="2105"/>
                  <a:pt x="1775" y="2105"/>
                </a:cubicBezTo>
                <a:cubicBezTo>
                  <a:pt x="1786" y="2105"/>
                  <a:pt x="1786" y="2105"/>
                  <a:pt x="1786" y="2105"/>
                </a:cubicBezTo>
                <a:cubicBezTo>
                  <a:pt x="1783" y="2123"/>
                  <a:pt x="1783" y="2123"/>
                  <a:pt x="1783" y="2123"/>
                </a:cubicBezTo>
                <a:cubicBezTo>
                  <a:pt x="1793" y="2123"/>
                  <a:pt x="1793" y="2123"/>
                  <a:pt x="1793" y="2123"/>
                </a:cubicBezTo>
                <a:cubicBezTo>
                  <a:pt x="1796" y="2105"/>
                  <a:pt x="1796" y="2105"/>
                  <a:pt x="1796" y="2105"/>
                </a:cubicBezTo>
                <a:cubicBezTo>
                  <a:pt x="1807" y="2105"/>
                  <a:pt x="1807" y="2105"/>
                  <a:pt x="1807" y="2105"/>
                </a:cubicBezTo>
                <a:cubicBezTo>
                  <a:pt x="1804" y="2123"/>
                  <a:pt x="1804" y="2123"/>
                  <a:pt x="1804" y="2123"/>
                </a:cubicBezTo>
                <a:cubicBezTo>
                  <a:pt x="1813" y="2123"/>
                  <a:pt x="1813" y="2123"/>
                  <a:pt x="1813" y="2123"/>
                </a:cubicBezTo>
                <a:cubicBezTo>
                  <a:pt x="1813" y="2135"/>
                  <a:pt x="1813" y="2135"/>
                  <a:pt x="1813" y="2135"/>
                </a:cubicBezTo>
                <a:cubicBezTo>
                  <a:pt x="1803" y="2135"/>
                  <a:pt x="1803" y="2135"/>
                  <a:pt x="1803" y="2135"/>
                </a:cubicBezTo>
                <a:cubicBezTo>
                  <a:pt x="1801" y="2146"/>
                  <a:pt x="1801" y="2146"/>
                  <a:pt x="1801" y="2146"/>
                </a:cubicBezTo>
                <a:cubicBezTo>
                  <a:pt x="1810" y="2146"/>
                  <a:pt x="1810" y="2146"/>
                  <a:pt x="1810" y="2146"/>
                </a:cubicBezTo>
                <a:cubicBezTo>
                  <a:pt x="1810" y="2158"/>
                  <a:pt x="1810" y="2158"/>
                  <a:pt x="1810" y="2158"/>
                </a:cubicBezTo>
                <a:cubicBezTo>
                  <a:pt x="1799" y="2158"/>
                  <a:pt x="1799" y="2158"/>
                  <a:pt x="1799" y="2158"/>
                </a:cubicBezTo>
                <a:cubicBezTo>
                  <a:pt x="1796" y="2177"/>
                  <a:pt x="1796" y="2177"/>
                  <a:pt x="1796" y="2177"/>
                </a:cubicBezTo>
                <a:cubicBezTo>
                  <a:pt x="1785" y="2177"/>
                  <a:pt x="1785" y="2177"/>
                  <a:pt x="1785" y="2177"/>
                </a:cubicBezTo>
                <a:cubicBezTo>
                  <a:pt x="1788" y="2158"/>
                  <a:pt x="1788" y="2158"/>
                  <a:pt x="1788" y="2158"/>
                </a:cubicBezTo>
                <a:cubicBezTo>
                  <a:pt x="1778" y="2158"/>
                  <a:pt x="1778" y="2158"/>
                  <a:pt x="1778" y="2158"/>
                </a:cubicBezTo>
                <a:cubicBezTo>
                  <a:pt x="1775" y="2177"/>
                  <a:pt x="1775" y="2177"/>
                  <a:pt x="1775" y="2177"/>
                </a:cubicBezTo>
                <a:cubicBezTo>
                  <a:pt x="1764" y="2177"/>
                  <a:pt x="1764" y="2177"/>
                  <a:pt x="1764" y="2177"/>
                </a:cubicBezTo>
                <a:cubicBezTo>
                  <a:pt x="1764" y="2177"/>
                  <a:pt x="1764" y="2177"/>
                  <a:pt x="1764" y="2177"/>
                </a:cubicBezTo>
                <a:close/>
                <a:moveTo>
                  <a:pt x="1790" y="2146"/>
                </a:moveTo>
                <a:cubicBezTo>
                  <a:pt x="1791" y="2135"/>
                  <a:pt x="1791" y="2135"/>
                  <a:pt x="1791" y="2135"/>
                </a:cubicBezTo>
                <a:cubicBezTo>
                  <a:pt x="1782" y="2135"/>
                  <a:pt x="1782" y="2135"/>
                  <a:pt x="1782" y="2135"/>
                </a:cubicBezTo>
                <a:cubicBezTo>
                  <a:pt x="1780" y="2146"/>
                  <a:pt x="1780" y="2146"/>
                  <a:pt x="1780" y="2146"/>
                </a:cubicBezTo>
                <a:cubicBezTo>
                  <a:pt x="1790" y="2146"/>
                  <a:pt x="1790" y="2146"/>
                  <a:pt x="1790" y="2146"/>
                </a:cubicBezTo>
                <a:cubicBezTo>
                  <a:pt x="1790" y="2146"/>
                  <a:pt x="1790" y="2146"/>
                  <a:pt x="1790" y="2146"/>
                </a:cubicBezTo>
                <a:close/>
                <a:moveTo>
                  <a:pt x="649" y="2151"/>
                </a:moveTo>
                <a:cubicBezTo>
                  <a:pt x="649" y="2153"/>
                  <a:pt x="650" y="2154"/>
                  <a:pt x="650" y="2155"/>
                </a:cubicBezTo>
                <a:cubicBezTo>
                  <a:pt x="651" y="2157"/>
                  <a:pt x="651" y="2159"/>
                  <a:pt x="652" y="2161"/>
                </a:cubicBezTo>
                <a:cubicBezTo>
                  <a:pt x="652" y="2162"/>
                  <a:pt x="652" y="2164"/>
                  <a:pt x="652" y="2165"/>
                </a:cubicBezTo>
                <a:cubicBezTo>
                  <a:pt x="653" y="2168"/>
                  <a:pt x="652" y="2170"/>
                  <a:pt x="648" y="2170"/>
                </a:cubicBezTo>
                <a:cubicBezTo>
                  <a:pt x="646" y="2170"/>
                  <a:pt x="643" y="2170"/>
                  <a:pt x="640" y="2170"/>
                </a:cubicBezTo>
                <a:cubicBezTo>
                  <a:pt x="640" y="2170"/>
                  <a:pt x="639" y="2170"/>
                  <a:pt x="639" y="2170"/>
                </a:cubicBezTo>
                <a:cubicBezTo>
                  <a:pt x="637" y="2172"/>
                  <a:pt x="635" y="2173"/>
                  <a:pt x="634" y="2174"/>
                </a:cubicBezTo>
                <a:cubicBezTo>
                  <a:pt x="632" y="2177"/>
                  <a:pt x="629" y="2177"/>
                  <a:pt x="627" y="2175"/>
                </a:cubicBezTo>
                <a:cubicBezTo>
                  <a:pt x="625" y="2173"/>
                  <a:pt x="624" y="2170"/>
                  <a:pt x="622" y="2168"/>
                </a:cubicBezTo>
                <a:cubicBezTo>
                  <a:pt x="621" y="2166"/>
                  <a:pt x="622" y="2164"/>
                  <a:pt x="624" y="2163"/>
                </a:cubicBezTo>
                <a:cubicBezTo>
                  <a:pt x="621" y="2163"/>
                  <a:pt x="620" y="2163"/>
                  <a:pt x="618" y="2163"/>
                </a:cubicBezTo>
                <a:cubicBezTo>
                  <a:pt x="617" y="2165"/>
                  <a:pt x="616" y="2167"/>
                  <a:pt x="615" y="2169"/>
                </a:cubicBezTo>
                <a:cubicBezTo>
                  <a:pt x="615" y="2170"/>
                  <a:pt x="615" y="2170"/>
                  <a:pt x="615" y="2171"/>
                </a:cubicBezTo>
                <a:cubicBezTo>
                  <a:pt x="615" y="2174"/>
                  <a:pt x="614" y="2176"/>
                  <a:pt x="611" y="2175"/>
                </a:cubicBezTo>
                <a:cubicBezTo>
                  <a:pt x="608" y="2175"/>
                  <a:pt x="605" y="2174"/>
                  <a:pt x="602" y="2173"/>
                </a:cubicBezTo>
                <a:cubicBezTo>
                  <a:pt x="600" y="2172"/>
                  <a:pt x="599" y="2171"/>
                  <a:pt x="600" y="2169"/>
                </a:cubicBezTo>
                <a:cubicBezTo>
                  <a:pt x="600" y="2168"/>
                  <a:pt x="600" y="2167"/>
                  <a:pt x="601" y="2167"/>
                </a:cubicBezTo>
                <a:cubicBezTo>
                  <a:pt x="598" y="2166"/>
                  <a:pt x="596" y="2165"/>
                  <a:pt x="594" y="2164"/>
                </a:cubicBezTo>
                <a:cubicBezTo>
                  <a:pt x="593" y="2163"/>
                  <a:pt x="592" y="2161"/>
                  <a:pt x="591" y="2159"/>
                </a:cubicBezTo>
                <a:cubicBezTo>
                  <a:pt x="590" y="2157"/>
                  <a:pt x="590" y="2156"/>
                  <a:pt x="592" y="2154"/>
                </a:cubicBezTo>
                <a:cubicBezTo>
                  <a:pt x="595" y="2152"/>
                  <a:pt x="596" y="2149"/>
                  <a:pt x="595" y="2145"/>
                </a:cubicBezTo>
                <a:cubicBezTo>
                  <a:pt x="595" y="2143"/>
                  <a:pt x="595" y="2141"/>
                  <a:pt x="595" y="2139"/>
                </a:cubicBezTo>
                <a:cubicBezTo>
                  <a:pt x="594" y="2138"/>
                  <a:pt x="592" y="2138"/>
                  <a:pt x="591" y="2137"/>
                </a:cubicBezTo>
                <a:cubicBezTo>
                  <a:pt x="590" y="2135"/>
                  <a:pt x="589" y="2133"/>
                  <a:pt x="589" y="2131"/>
                </a:cubicBezTo>
                <a:cubicBezTo>
                  <a:pt x="589" y="2128"/>
                  <a:pt x="592" y="2126"/>
                  <a:pt x="595" y="2125"/>
                </a:cubicBezTo>
                <a:cubicBezTo>
                  <a:pt x="595" y="2126"/>
                  <a:pt x="595" y="2126"/>
                  <a:pt x="596" y="2127"/>
                </a:cubicBezTo>
                <a:cubicBezTo>
                  <a:pt x="596" y="2128"/>
                  <a:pt x="596" y="2129"/>
                  <a:pt x="596" y="2130"/>
                </a:cubicBezTo>
                <a:cubicBezTo>
                  <a:pt x="595" y="2130"/>
                  <a:pt x="595" y="2130"/>
                  <a:pt x="595" y="2130"/>
                </a:cubicBezTo>
                <a:cubicBezTo>
                  <a:pt x="594" y="2131"/>
                  <a:pt x="594" y="2132"/>
                  <a:pt x="593" y="2134"/>
                </a:cubicBezTo>
                <a:cubicBezTo>
                  <a:pt x="594" y="2134"/>
                  <a:pt x="595" y="2134"/>
                  <a:pt x="595" y="2134"/>
                </a:cubicBezTo>
                <a:cubicBezTo>
                  <a:pt x="597" y="2132"/>
                  <a:pt x="597" y="2132"/>
                  <a:pt x="598" y="2130"/>
                </a:cubicBezTo>
                <a:cubicBezTo>
                  <a:pt x="603" y="2124"/>
                  <a:pt x="608" y="2120"/>
                  <a:pt x="616" y="2118"/>
                </a:cubicBezTo>
                <a:cubicBezTo>
                  <a:pt x="619" y="2118"/>
                  <a:pt x="623" y="2117"/>
                  <a:pt x="625" y="2114"/>
                </a:cubicBezTo>
                <a:cubicBezTo>
                  <a:pt x="625" y="2113"/>
                  <a:pt x="626" y="2113"/>
                  <a:pt x="626" y="2113"/>
                </a:cubicBezTo>
                <a:cubicBezTo>
                  <a:pt x="629" y="2113"/>
                  <a:pt x="630" y="2110"/>
                  <a:pt x="632" y="2108"/>
                </a:cubicBezTo>
                <a:cubicBezTo>
                  <a:pt x="640" y="2101"/>
                  <a:pt x="652" y="2100"/>
                  <a:pt x="659" y="2107"/>
                </a:cubicBezTo>
                <a:cubicBezTo>
                  <a:pt x="662" y="2109"/>
                  <a:pt x="665" y="2111"/>
                  <a:pt x="667" y="2113"/>
                </a:cubicBezTo>
                <a:cubicBezTo>
                  <a:pt x="668" y="2114"/>
                  <a:pt x="670" y="2116"/>
                  <a:pt x="671" y="2118"/>
                </a:cubicBezTo>
                <a:cubicBezTo>
                  <a:pt x="672" y="2119"/>
                  <a:pt x="672" y="2119"/>
                  <a:pt x="674" y="2118"/>
                </a:cubicBezTo>
                <a:cubicBezTo>
                  <a:pt x="674" y="2118"/>
                  <a:pt x="675" y="2117"/>
                  <a:pt x="676" y="2116"/>
                </a:cubicBezTo>
                <a:cubicBezTo>
                  <a:pt x="678" y="2113"/>
                  <a:pt x="681" y="2113"/>
                  <a:pt x="682" y="2117"/>
                </a:cubicBezTo>
                <a:cubicBezTo>
                  <a:pt x="683" y="2120"/>
                  <a:pt x="684" y="2123"/>
                  <a:pt x="685" y="2126"/>
                </a:cubicBezTo>
                <a:cubicBezTo>
                  <a:pt x="685" y="2130"/>
                  <a:pt x="685" y="2134"/>
                  <a:pt x="683" y="2139"/>
                </a:cubicBezTo>
                <a:cubicBezTo>
                  <a:pt x="681" y="2145"/>
                  <a:pt x="676" y="2149"/>
                  <a:pt x="670" y="2149"/>
                </a:cubicBezTo>
                <a:cubicBezTo>
                  <a:pt x="669" y="2149"/>
                  <a:pt x="668" y="2149"/>
                  <a:pt x="668" y="2149"/>
                </a:cubicBezTo>
                <a:cubicBezTo>
                  <a:pt x="665" y="2148"/>
                  <a:pt x="664" y="2149"/>
                  <a:pt x="663" y="2151"/>
                </a:cubicBezTo>
                <a:cubicBezTo>
                  <a:pt x="662" y="2155"/>
                  <a:pt x="656" y="2157"/>
                  <a:pt x="653" y="2154"/>
                </a:cubicBezTo>
                <a:cubicBezTo>
                  <a:pt x="652" y="2153"/>
                  <a:pt x="651" y="2152"/>
                  <a:pt x="650" y="2151"/>
                </a:cubicBezTo>
                <a:cubicBezTo>
                  <a:pt x="649" y="2151"/>
                  <a:pt x="649" y="2151"/>
                  <a:pt x="649" y="2151"/>
                </a:cubicBezTo>
                <a:close/>
                <a:moveTo>
                  <a:pt x="643" y="2147"/>
                </a:moveTo>
                <a:cubicBezTo>
                  <a:pt x="647" y="2148"/>
                  <a:pt x="650" y="2149"/>
                  <a:pt x="653" y="2152"/>
                </a:cubicBezTo>
                <a:cubicBezTo>
                  <a:pt x="655" y="2154"/>
                  <a:pt x="657" y="2155"/>
                  <a:pt x="659" y="2154"/>
                </a:cubicBezTo>
                <a:cubicBezTo>
                  <a:pt x="661" y="2153"/>
                  <a:pt x="663" y="2151"/>
                  <a:pt x="663" y="2148"/>
                </a:cubicBezTo>
                <a:cubicBezTo>
                  <a:pt x="663" y="2148"/>
                  <a:pt x="662" y="2148"/>
                  <a:pt x="662" y="2149"/>
                </a:cubicBezTo>
                <a:cubicBezTo>
                  <a:pt x="661" y="2150"/>
                  <a:pt x="660" y="2151"/>
                  <a:pt x="659" y="2152"/>
                </a:cubicBezTo>
                <a:cubicBezTo>
                  <a:pt x="658" y="2153"/>
                  <a:pt x="657" y="2153"/>
                  <a:pt x="656" y="2153"/>
                </a:cubicBezTo>
                <a:cubicBezTo>
                  <a:pt x="655" y="2153"/>
                  <a:pt x="655" y="2151"/>
                  <a:pt x="655" y="2151"/>
                </a:cubicBezTo>
                <a:cubicBezTo>
                  <a:pt x="655" y="2148"/>
                  <a:pt x="655" y="2146"/>
                  <a:pt x="656" y="2144"/>
                </a:cubicBezTo>
                <a:cubicBezTo>
                  <a:pt x="659" y="2145"/>
                  <a:pt x="662" y="2146"/>
                  <a:pt x="666" y="2147"/>
                </a:cubicBezTo>
                <a:cubicBezTo>
                  <a:pt x="673" y="2148"/>
                  <a:pt x="679" y="2146"/>
                  <a:pt x="682" y="2138"/>
                </a:cubicBezTo>
                <a:cubicBezTo>
                  <a:pt x="684" y="2133"/>
                  <a:pt x="683" y="2128"/>
                  <a:pt x="683" y="2123"/>
                </a:cubicBezTo>
                <a:cubicBezTo>
                  <a:pt x="682" y="2121"/>
                  <a:pt x="681" y="2119"/>
                  <a:pt x="681" y="2117"/>
                </a:cubicBezTo>
                <a:cubicBezTo>
                  <a:pt x="680" y="2116"/>
                  <a:pt x="679" y="2115"/>
                  <a:pt x="677" y="2117"/>
                </a:cubicBezTo>
                <a:cubicBezTo>
                  <a:pt x="676" y="2119"/>
                  <a:pt x="674" y="2120"/>
                  <a:pt x="672" y="2121"/>
                </a:cubicBezTo>
                <a:cubicBezTo>
                  <a:pt x="672" y="2121"/>
                  <a:pt x="671" y="2122"/>
                  <a:pt x="671" y="2123"/>
                </a:cubicBezTo>
                <a:cubicBezTo>
                  <a:pt x="672" y="2126"/>
                  <a:pt x="671" y="2130"/>
                  <a:pt x="670" y="2133"/>
                </a:cubicBezTo>
                <a:cubicBezTo>
                  <a:pt x="670" y="2131"/>
                  <a:pt x="670" y="2129"/>
                  <a:pt x="670" y="2127"/>
                </a:cubicBezTo>
                <a:cubicBezTo>
                  <a:pt x="670" y="2126"/>
                  <a:pt x="670" y="2126"/>
                  <a:pt x="670" y="2126"/>
                </a:cubicBezTo>
                <a:cubicBezTo>
                  <a:pt x="669" y="2126"/>
                  <a:pt x="668" y="2126"/>
                  <a:pt x="668" y="2126"/>
                </a:cubicBezTo>
                <a:cubicBezTo>
                  <a:pt x="668" y="2128"/>
                  <a:pt x="667" y="2129"/>
                  <a:pt x="666" y="2130"/>
                </a:cubicBezTo>
                <a:cubicBezTo>
                  <a:pt x="666" y="2130"/>
                  <a:pt x="666" y="2130"/>
                  <a:pt x="666" y="2130"/>
                </a:cubicBezTo>
                <a:cubicBezTo>
                  <a:pt x="666" y="2129"/>
                  <a:pt x="666" y="2127"/>
                  <a:pt x="667" y="2125"/>
                </a:cubicBezTo>
                <a:cubicBezTo>
                  <a:pt x="666" y="2126"/>
                  <a:pt x="665" y="2126"/>
                  <a:pt x="665" y="2127"/>
                </a:cubicBezTo>
                <a:cubicBezTo>
                  <a:pt x="664" y="2127"/>
                  <a:pt x="664" y="2128"/>
                  <a:pt x="663" y="2129"/>
                </a:cubicBezTo>
                <a:cubicBezTo>
                  <a:pt x="664" y="2125"/>
                  <a:pt x="664" y="2125"/>
                  <a:pt x="670" y="2124"/>
                </a:cubicBezTo>
                <a:cubicBezTo>
                  <a:pt x="670" y="2124"/>
                  <a:pt x="669" y="2123"/>
                  <a:pt x="669" y="2123"/>
                </a:cubicBezTo>
                <a:cubicBezTo>
                  <a:pt x="666" y="2124"/>
                  <a:pt x="665" y="2122"/>
                  <a:pt x="665" y="2120"/>
                </a:cubicBezTo>
                <a:cubicBezTo>
                  <a:pt x="666" y="2119"/>
                  <a:pt x="668" y="2119"/>
                  <a:pt x="670" y="2119"/>
                </a:cubicBezTo>
                <a:cubicBezTo>
                  <a:pt x="668" y="2116"/>
                  <a:pt x="666" y="2113"/>
                  <a:pt x="663" y="2113"/>
                </a:cubicBezTo>
                <a:cubicBezTo>
                  <a:pt x="663" y="2113"/>
                  <a:pt x="663" y="2113"/>
                  <a:pt x="663" y="2112"/>
                </a:cubicBezTo>
                <a:cubicBezTo>
                  <a:pt x="660" y="2110"/>
                  <a:pt x="658" y="2108"/>
                  <a:pt x="655" y="2106"/>
                </a:cubicBezTo>
                <a:cubicBezTo>
                  <a:pt x="653" y="2105"/>
                  <a:pt x="650" y="2104"/>
                  <a:pt x="648" y="2104"/>
                </a:cubicBezTo>
                <a:cubicBezTo>
                  <a:pt x="645" y="2104"/>
                  <a:pt x="641" y="2106"/>
                  <a:pt x="638" y="2106"/>
                </a:cubicBezTo>
                <a:cubicBezTo>
                  <a:pt x="635" y="2107"/>
                  <a:pt x="633" y="2109"/>
                  <a:pt x="631" y="2112"/>
                </a:cubicBezTo>
                <a:cubicBezTo>
                  <a:pt x="633" y="2112"/>
                  <a:pt x="634" y="2112"/>
                  <a:pt x="635" y="2112"/>
                </a:cubicBezTo>
                <a:cubicBezTo>
                  <a:pt x="635" y="2113"/>
                  <a:pt x="634" y="2113"/>
                  <a:pt x="633" y="2113"/>
                </a:cubicBezTo>
                <a:cubicBezTo>
                  <a:pt x="631" y="2114"/>
                  <a:pt x="628" y="2113"/>
                  <a:pt x="626" y="2115"/>
                </a:cubicBezTo>
                <a:cubicBezTo>
                  <a:pt x="623" y="2119"/>
                  <a:pt x="619" y="2123"/>
                  <a:pt x="615" y="2127"/>
                </a:cubicBezTo>
                <a:cubicBezTo>
                  <a:pt x="614" y="2129"/>
                  <a:pt x="613" y="2132"/>
                  <a:pt x="612" y="2134"/>
                </a:cubicBezTo>
                <a:cubicBezTo>
                  <a:pt x="612" y="2134"/>
                  <a:pt x="612" y="2135"/>
                  <a:pt x="612" y="2136"/>
                </a:cubicBezTo>
                <a:cubicBezTo>
                  <a:pt x="613" y="2138"/>
                  <a:pt x="614" y="2140"/>
                  <a:pt x="616" y="2142"/>
                </a:cubicBezTo>
                <a:cubicBezTo>
                  <a:pt x="617" y="2140"/>
                  <a:pt x="618" y="2138"/>
                  <a:pt x="619" y="2137"/>
                </a:cubicBezTo>
                <a:cubicBezTo>
                  <a:pt x="619" y="2138"/>
                  <a:pt x="619" y="2140"/>
                  <a:pt x="618" y="2141"/>
                </a:cubicBezTo>
                <a:cubicBezTo>
                  <a:pt x="617" y="2142"/>
                  <a:pt x="616" y="2144"/>
                  <a:pt x="616" y="2145"/>
                </a:cubicBezTo>
                <a:cubicBezTo>
                  <a:pt x="615" y="2146"/>
                  <a:pt x="616" y="2147"/>
                  <a:pt x="616" y="2148"/>
                </a:cubicBezTo>
                <a:cubicBezTo>
                  <a:pt x="619" y="2151"/>
                  <a:pt x="622" y="2151"/>
                  <a:pt x="626" y="2149"/>
                </a:cubicBezTo>
                <a:cubicBezTo>
                  <a:pt x="628" y="2148"/>
                  <a:pt x="631" y="2147"/>
                  <a:pt x="634" y="2146"/>
                </a:cubicBezTo>
                <a:cubicBezTo>
                  <a:pt x="635" y="2145"/>
                  <a:pt x="636" y="2145"/>
                  <a:pt x="636" y="2143"/>
                </a:cubicBezTo>
                <a:cubicBezTo>
                  <a:pt x="636" y="2140"/>
                  <a:pt x="636" y="2136"/>
                  <a:pt x="636" y="2133"/>
                </a:cubicBezTo>
                <a:cubicBezTo>
                  <a:pt x="636" y="2130"/>
                  <a:pt x="636" y="2127"/>
                  <a:pt x="636" y="2124"/>
                </a:cubicBezTo>
                <a:cubicBezTo>
                  <a:pt x="637" y="2127"/>
                  <a:pt x="637" y="2130"/>
                  <a:pt x="638" y="2132"/>
                </a:cubicBezTo>
                <a:cubicBezTo>
                  <a:pt x="639" y="2137"/>
                  <a:pt x="639" y="2141"/>
                  <a:pt x="637" y="2145"/>
                </a:cubicBezTo>
                <a:cubicBezTo>
                  <a:pt x="637" y="2146"/>
                  <a:pt x="636" y="2147"/>
                  <a:pt x="636" y="2147"/>
                </a:cubicBezTo>
                <a:cubicBezTo>
                  <a:pt x="632" y="2147"/>
                  <a:pt x="629" y="2149"/>
                  <a:pt x="626" y="2151"/>
                </a:cubicBezTo>
                <a:cubicBezTo>
                  <a:pt x="621" y="2154"/>
                  <a:pt x="617" y="2152"/>
                  <a:pt x="614" y="2148"/>
                </a:cubicBezTo>
                <a:cubicBezTo>
                  <a:pt x="614" y="2148"/>
                  <a:pt x="614" y="2147"/>
                  <a:pt x="614" y="2146"/>
                </a:cubicBezTo>
                <a:cubicBezTo>
                  <a:pt x="615" y="2144"/>
                  <a:pt x="614" y="2142"/>
                  <a:pt x="612" y="2140"/>
                </a:cubicBezTo>
                <a:cubicBezTo>
                  <a:pt x="611" y="2138"/>
                  <a:pt x="609" y="2136"/>
                  <a:pt x="610" y="2133"/>
                </a:cubicBezTo>
                <a:cubicBezTo>
                  <a:pt x="611" y="2131"/>
                  <a:pt x="612" y="2129"/>
                  <a:pt x="613" y="2128"/>
                </a:cubicBezTo>
                <a:cubicBezTo>
                  <a:pt x="615" y="2125"/>
                  <a:pt x="617" y="2123"/>
                  <a:pt x="619" y="2120"/>
                </a:cubicBezTo>
                <a:cubicBezTo>
                  <a:pt x="619" y="2120"/>
                  <a:pt x="618" y="2120"/>
                  <a:pt x="618" y="2120"/>
                </a:cubicBezTo>
                <a:cubicBezTo>
                  <a:pt x="613" y="2121"/>
                  <a:pt x="608" y="2123"/>
                  <a:pt x="605" y="2126"/>
                </a:cubicBezTo>
                <a:cubicBezTo>
                  <a:pt x="600" y="2130"/>
                  <a:pt x="597" y="2135"/>
                  <a:pt x="597" y="2142"/>
                </a:cubicBezTo>
                <a:cubicBezTo>
                  <a:pt x="596" y="2149"/>
                  <a:pt x="599" y="2155"/>
                  <a:pt x="602" y="2161"/>
                </a:cubicBezTo>
                <a:cubicBezTo>
                  <a:pt x="603" y="2161"/>
                  <a:pt x="603" y="2163"/>
                  <a:pt x="603" y="2164"/>
                </a:cubicBezTo>
                <a:cubicBezTo>
                  <a:pt x="603" y="2166"/>
                  <a:pt x="603" y="2167"/>
                  <a:pt x="602" y="2168"/>
                </a:cubicBezTo>
                <a:cubicBezTo>
                  <a:pt x="601" y="2170"/>
                  <a:pt x="602" y="2171"/>
                  <a:pt x="603" y="2172"/>
                </a:cubicBezTo>
                <a:cubicBezTo>
                  <a:pt x="606" y="2172"/>
                  <a:pt x="609" y="2173"/>
                  <a:pt x="612" y="2173"/>
                </a:cubicBezTo>
                <a:cubicBezTo>
                  <a:pt x="612" y="2173"/>
                  <a:pt x="613" y="2172"/>
                  <a:pt x="613" y="2172"/>
                </a:cubicBezTo>
                <a:cubicBezTo>
                  <a:pt x="614" y="2171"/>
                  <a:pt x="614" y="2169"/>
                  <a:pt x="614" y="2168"/>
                </a:cubicBezTo>
                <a:cubicBezTo>
                  <a:pt x="616" y="2166"/>
                  <a:pt x="616" y="2163"/>
                  <a:pt x="616" y="2161"/>
                </a:cubicBezTo>
                <a:cubicBezTo>
                  <a:pt x="616" y="2160"/>
                  <a:pt x="616" y="2160"/>
                  <a:pt x="616" y="2159"/>
                </a:cubicBezTo>
                <a:cubicBezTo>
                  <a:pt x="616" y="2159"/>
                  <a:pt x="616" y="2159"/>
                  <a:pt x="616" y="2159"/>
                </a:cubicBezTo>
                <a:cubicBezTo>
                  <a:pt x="617" y="2161"/>
                  <a:pt x="618" y="2161"/>
                  <a:pt x="620" y="2161"/>
                </a:cubicBezTo>
                <a:cubicBezTo>
                  <a:pt x="621" y="2161"/>
                  <a:pt x="622" y="2161"/>
                  <a:pt x="623" y="2161"/>
                </a:cubicBezTo>
                <a:cubicBezTo>
                  <a:pt x="625" y="2161"/>
                  <a:pt x="628" y="2162"/>
                  <a:pt x="629" y="2158"/>
                </a:cubicBezTo>
                <a:cubicBezTo>
                  <a:pt x="629" y="2160"/>
                  <a:pt x="629" y="2162"/>
                  <a:pt x="629" y="2163"/>
                </a:cubicBezTo>
                <a:cubicBezTo>
                  <a:pt x="628" y="2163"/>
                  <a:pt x="626" y="2164"/>
                  <a:pt x="625" y="2164"/>
                </a:cubicBezTo>
                <a:cubicBezTo>
                  <a:pt x="624" y="2165"/>
                  <a:pt x="623" y="2167"/>
                  <a:pt x="624" y="2168"/>
                </a:cubicBezTo>
                <a:cubicBezTo>
                  <a:pt x="625" y="2170"/>
                  <a:pt x="626" y="2172"/>
                  <a:pt x="628" y="2174"/>
                </a:cubicBezTo>
                <a:cubicBezTo>
                  <a:pt x="630" y="2175"/>
                  <a:pt x="632" y="2175"/>
                  <a:pt x="633" y="2173"/>
                </a:cubicBezTo>
                <a:cubicBezTo>
                  <a:pt x="634" y="2172"/>
                  <a:pt x="634" y="2172"/>
                  <a:pt x="635" y="2171"/>
                </a:cubicBezTo>
                <a:cubicBezTo>
                  <a:pt x="637" y="2170"/>
                  <a:pt x="638" y="2168"/>
                  <a:pt x="640" y="2167"/>
                </a:cubicBezTo>
                <a:cubicBezTo>
                  <a:pt x="644" y="2163"/>
                  <a:pt x="646" y="2157"/>
                  <a:pt x="648" y="2151"/>
                </a:cubicBezTo>
                <a:cubicBezTo>
                  <a:pt x="648" y="2151"/>
                  <a:pt x="647" y="2150"/>
                  <a:pt x="646" y="2149"/>
                </a:cubicBezTo>
                <a:cubicBezTo>
                  <a:pt x="646" y="2148"/>
                  <a:pt x="645" y="2147"/>
                  <a:pt x="643" y="2147"/>
                </a:cubicBezTo>
                <a:close/>
                <a:moveTo>
                  <a:pt x="596" y="2153"/>
                </a:moveTo>
                <a:cubicBezTo>
                  <a:pt x="595" y="2154"/>
                  <a:pt x="594" y="2155"/>
                  <a:pt x="593" y="2156"/>
                </a:cubicBezTo>
                <a:cubicBezTo>
                  <a:pt x="592" y="2156"/>
                  <a:pt x="592" y="2157"/>
                  <a:pt x="592" y="2158"/>
                </a:cubicBezTo>
                <a:cubicBezTo>
                  <a:pt x="592" y="2161"/>
                  <a:pt x="596" y="2165"/>
                  <a:pt x="599" y="2164"/>
                </a:cubicBezTo>
                <a:cubicBezTo>
                  <a:pt x="601" y="2164"/>
                  <a:pt x="602" y="2163"/>
                  <a:pt x="601" y="2162"/>
                </a:cubicBezTo>
                <a:cubicBezTo>
                  <a:pt x="599" y="2159"/>
                  <a:pt x="598" y="2156"/>
                  <a:pt x="596" y="2153"/>
                </a:cubicBezTo>
                <a:close/>
                <a:moveTo>
                  <a:pt x="649" y="2155"/>
                </a:moveTo>
                <a:cubicBezTo>
                  <a:pt x="646" y="2160"/>
                  <a:pt x="644" y="2164"/>
                  <a:pt x="642" y="2168"/>
                </a:cubicBezTo>
                <a:cubicBezTo>
                  <a:pt x="645" y="2168"/>
                  <a:pt x="647" y="2169"/>
                  <a:pt x="650" y="2168"/>
                </a:cubicBezTo>
                <a:cubicBezTo>
                  <a:pt x="650" y="2168"/>
                  <a:pt x="650" y="2167"/>
                  <a:pt x="650" y="2167"/>
                </a:cubicBezTo>
                <a:cubicBezTo>
                  <a:pt x="650" y="2164"/>
                  <a:pt x="650" y="2162"/>
                  <a:pt x="650" y="2159"/>
                </a:cubicBezTo>
                <a:cubicBezTo>
                  <a:pt x="650" y="2158"/>
                  <a:pt x="649" y="2157"/>
                  <a:pt x="649" y="2155"/>
                </a:cubicBezTo>
                <a:close/>
                <a:moveTo>
                  <a:pt x="596" y="2135"/>
                </a:moveTo>
                <a:cubicBezTo>
                  <a:pt x="595" y="2135"/>
                  <a:pt x="595" y="2136"/>
                  <a:pt x="594" y="2136"/>
                </a:cubicBezTo>
                <a:cubicBezTo>
                  <a:pt x="594" y="2136"/>
                  <a:pt x="593" y="2136"/>
                  <a:pt x="593" y="2135"/>
                </a:cubicBezTo>
                <a:cubicBezTo>
                  <a:pt x="592" y="2135"/>
                  <a:pt x="592" y="2134"/>
                  <a:pt x="592" y="2133"/>
                </a:cubicBezTo>
                <a:cubicBezTo>
                  <a:pt x="593" y="2131"/>
                  <a:pt x="593" y="2129"/>
                  <a:pt x="594" y="2127"/>
                </a:cubicBezTo>
                <a:cubicBezTo>
                  <a:pt x="594" y="2127"/>
                  <a:pt x="594" y="2127"/>
                  <a:pt x="593" y="2127"/>
                </a:cubicBezTo>
                <a:cubicBezTo>
                  <a:pt x="592" y="2128"/>
                  <a:pt x="591" y="2129"/>
                  <a:pt x="590" y="2130"/>
                </a:cubicBezTo>
                <a:cubicBezTo>
                  <a:pt x="590" y="2131"/>
                  <a:pt x="591" y="2136"/>
                  <a:pt x="593" y="2137"/>
                </a:cubicBezTo>
                <a:cubicBezTo>
                  <a:pt x="594" y="2138"/>
                  <a:pt x="596" y="2137"/>
                  <a:pt x="596" y="2135"/>
                </a:cubicBezTo>
                <a:close/>
                <a:moveTo>
                  <a:pt x="596" y="2153"/>
                </a:moveTo>
                <a:cubicBezTo>
                  <a:pt x="595" y="2154"/>
                  <a:pt x="594" y="2155"/>
                  <a:pt x="592" y="2156"/>
                </a:cubicBezTo>
                <a:cubicBezTo>
                  <a:pt x="592" y="2156"/>
                  <a:pt x="592" y="2157"/>
                  <a:pt x="592" y="2158"/>
                </a:cubicBezTo>
                <a:cubicBezTo>
                  <a:pt x="592" y="2160"/>
                  <a:pt x="596" y="2165"/>
                  <a:pt x="599" y="2164"/>
                </a:cubicBezTo>
                <a:cubicBezTo>
                  <a:pt x="601" y="2164"/>
                  <a:pt x="602" y="2163"/>
                  <a:pt x="601" y="2162"/>
                </a:cubicBezTo>
                <a:cubicBezTo>
                  <a:pt x="599" y="2159"/>
                  <a:pt x="598" y="2156"/>
                  <a:pt x="596" y="2153"/>
                </a:cubicBezTo>
                <a:close/>
                <a:moveTo>
                  <a:pt x="649" y="2155"/>
                </a:moveTo>
                <a:cubicBezTo>
                  <a:pt x="646" y="2160"/>
                  <a:pt x="644" y="2164"/>
                  <a:pt x="642" y="2169"/>
                </a:cubicBezTo>
                <a:cubicBezTo>
                  <a:pt x="644" y="2169"/>
                  <a:pt x="647" y="2169"/>
                  <a:pt x="649" y="2169"/>
                </a:cubicBezTo>
                <a:cubicBezTo>
                  <a:pt x="650" y="2169"/>
                  <a:pt x="650" y="2167"/>
                  <a:pt x="650" y="2167"/>
                </a:cubicBezTo>
                <a:cubicBezTo>
                  <a:pt x="650" y="2164"/>
                  <a:pt x="650" y="2162"/>
                  <a:pt x="650" y="2159"/>
                </a:cubicBezTo>
                <a:cubicBezTo>
                  <a:pt x="649" y="2158"/>
                  <a:pt x="649" y="2157"/>
                  <a:pt x="649" y="2155"/>
                </a:cubicBezTo>
                <a:close/>
                <a:moveTo>
                  <a:pt x="596" y="2135"/>
                </a:moveTo>
                <a:cubicBezTo>
                  <a:pt x="595" y="2135"/>
                  <a:pt x="595" y="2135"/>
                  <a:pt x="594" y="2135"/>
                </a:cubicBezTo>
                <a:cubicBezTo>
                  <a:pt x="593" y="2135"/>
                  <a:pt x="593" y="2135"/>
                  <a:pt x="593" y="2135"/>
                </a:cubicBezTo>
                <a:cubicBezTo>
                  <a:pt x="592" y="2135"/>
                  <a:pt x="592" y="2134"/>
                  <a:pt x="592" y="2133"/>
                </a:cubicBezTo>
                <a:cubicBezTo>
                  <a:pt x="593" y="2131"/>
                  <a:pt x="593" y="2129"/>
                  <a:pt x="594" y="2127"/>
                </a:cubicBezTo>
                <a:cubicBezTo>
                  <a:pt x="593" y="2127"/>
                  <a:pt x="593" y="2127"/>
                  <a:pt x="593" y="2127"/>
                </a:cubicBezTo>
                <a:cubicBezTo>
                  <a:pt x="592" y="2128"/>
                  <a:pt x="591" y="2129"/>
                  <a:pt x="591" y="2130"/>
                </a:cubicBezTo>
                <a:cubicBezTo>
                  <a:pt x="590" y="2131"/>
                  <a:pt x="591" y="2136"/>
                  <a:pt x="593" y="2137"/>
                </a:cubicBezTo>
                <a:cubicBezTo>
                  <a:pt x="594" y="2138"/>
                  <a:pt x="596" y="2137"/>
                  <a:pt x="596" y="2135"/>
                </a:cubicBezTo>
                <a:close/>
                <a:moveTo>
                  <a:pt x="648" y="2126"/>
                </a:moveTo>
                <a:cubicBezTo>
                  <a:pt x="652" y="2123"/>
                  <a:pt x="652" y="2123"/>
                  <a:pt x="656" y="2122"/>
                </a:cubicBezTo>
                <a:cubicBezTo>
                  <a:pt x="656" y="2124"/>
                  <a:pt x="657" y="2125"/>
                  <a:pt x="658" y="2125"/>
                </a:cubicBezTo>
                <a:cubicBezTo>
                  <a:pt x="656" y="2126"/>
                  <a:pt x="654" y="2128"/>
                  <a:pt x="652" y="2129"/>
                </a:cubicBezTo>
                <a:cubicBezTo>
                  <a:pt x="651" y="2128"/>
                  <a:pt x="651" y="2127"/>
                  <a:pt x="650" y="2126"/>
                </a:cubicBezTo>
                <a:cubicBezTo>
                  <a:pt x="650" y="2126"/>
                  <a:pt x="649" y="2126"/>
                  <a:pt x="648" y="2126"/>
                </a:cubicBezTo>
                <a:close/>
                <a:moveTo>
                  <a:pt x="654" y="2126"/>
                </a:moveTo>
                <a:cubicBezTo>
                  <a:pt x="654" y="2126"/>
                  <a:pt x="653" y="2125"/>
                  <a:pt x="652" y="2125"/>
                </a:cubicBezTo>
                <a:cubicBezTo>
                  <a:pt x="652" y="2125"/>
                  <a:pt x="651" y="2126"/>
                  <a:pt x="651" y="2126"/>
                </a:cubicBezTo>
                <a:cubicBezTo>
                  <a:pt x="651" y="2127"/>
                  <a:pt x="652" y="2127"/>
                  <a:pt x="652" y="2128"/>
                </a:cubicBezTo>
                <a:cubicBezTo>
                  <a:pt x="653" y="2127"/>
                  <a:pt x="653" y="2127"/>
                  <a:pt x="654" y="2126"/>
                </a:cubicBezTo>
                <a:close/>
                <a:moveTo>
                  <a:pt x="635" y="2117"/>
                </a:moveTo>
                <a:cubicBezTo>
                  <a:pt x="629" y="2116"/>
                  <a:pt x="626" y="2118"/>
                  <a:pt x="625" y="2126"/>
                </a:cubicBezTo>
                <a:cubicBezTo>
                  <a:pt x="626" y="2124"/>
                  <a:pt x="627" y="2122"/>
                  <a:pt x="628" y="2119"/>
                </a:cubicBezTo>
                <a:cubicBezTo>
                  <a:pt x="629" y="2119"/>
                  <a:pt x="629" y="2119"/>
                  <a:pt x="629" y="2119"/>
                </a:cubicBezTo>
                <a:cubicBezTo>
                  <a:pt x="629" y="2121"/>
                  <a:pt x="629" y="2121"/>
                  <a:pt x="629" y="2122"/>
                </a:cubicBezTo>
                <a:cubicBezTo>
                  <a:pt x="630" y="2119"/>
                  <a:pt x="632" y="2117"/>
                  <a:pt x="635" y="2117"/>
                </a:cubicBezTo>
                <a:close/>
                <a:moveTo>
                  <a:pt x="679" y="2118"/>
                </a:moveTo>
                <a:cubicBezTo>
                  <a:pt x="677" y="2119"/>
                  <a:pt x="675" y="2121"/>
                  <a:pt x="674" y="2122"/>
                </a:cubicBezTo>
                <a:cubicBezTo>
                  <a:pt x="676" y="2122"/>
                  <a:pt x="678" y="2121"/>
                  <a:pt x="679" y="2118"/>
                </a:cubicBezTo>
                <a:close/>
                <a:moveTo>
                  <a:pt x="646" y="2120"/>
                </a:moveTo>
                <a:cubicBezTo>
                  <a:pt x="647" y="2119"/>
                  <a:pt x="648" y="2117"/>
                  <a:pt x="649" y="2116"/>
                </a:cubicBezTo>
                <a:cubicBezTo>
                  <a:pt x="646" y="2117"/>
                  <a:pt x="645" y="2118"/>
                  <a:pt x="646" y="2120"/>
                </a:cubicBezTo>
                <a:close/>
                <a:moveTo>
                  <a:pt x="656" y="2142"/>
                </a:moveTo>
                <a:cubicBezTo>
                  <a:pt x="654" y="2142"/>
                  <a:pt x="653" y="2143"/>
                  <a:pt x="653" y="2144"/>
                </a:cubicBezTo>
                <a:cubicBezTo>
                  <a:pt x="654" y="2143"/>
                  <a:pt x="655" y="2142"/>
                  <a:pt x="656" y="2142"/>
                </a:cubicBezTo>
                <a:close/>
                <a:moveTo>
                  <a:pt x="655" y="2126"/>
                </a:moveTo>
                <a:cubicBezTo>
                  <a:pt x="654" y="2126"/>
                  <a:pt x="653" y="2125"/>
                  <a:pt x="652" y="2125"/>
                </a:cubicBezTo>
                <a:cubicBezTo>
                  <a:pt x="652" y="2125"/>
                  <a:pt x="651" y="2126"/>
                  <a:pt x="651" y="2127"/>
                </a:cubicBezTo>
                <a:cubicBezTo>
                  <a:pt x="651" y="2127"/>
                  <a:pt x="652" y="2127"/>
                  <a:pt x="652" y="2128"/>
                </a:cubicBezTo>
                <a:cubicBezTo>
                  <a:pt x="653" y="2127"/>
                  <a:pt x="653" y="2127"/>
                  <a:pt x="655" y="2126"/>
                </a:cubicBezTo>
                <a:close/>
                <a:moveTo>
                  <a:pt x="1308" y="2104"/>
                </a:moveTo>
                <a:cubicBezTo>
                  <a:pt x="1308" y="2104"/>
                  <a:pt x="1308" y="2104"/>
                  <a:pt x="1308" y="2104"/>
                </a:cubicBezTo>
                <a:cubicBezTo>
                  <a:pt x="1303" y="2104"/>
                  <a:pt x="1303" y="2104"/>
                  <a:pt x="1303" y="2104"/>
                </a:cubicBezTo>
                <a:cubicBezTo>
                  <a:pt x="1301" y="2105"/>
                  <a:pt x="1300" y="2107"/>
                  <a:pt x="1297" y="2107"/>
                </a:cubicBezTo>
                <a:cubicBezTo>
                  <a:pt x="1296" y="2109"/>
                  <a:pt x="1295" y="2110"/>
                  <a:pt x="1292" y="2110"/>
                </a:cubicBezTo>
                <a:cubicBezTo>
                  <a:pt x="1291" y="2112"/>
                  <a:pt x="1289" y="2112"/>
                  <a:pt x="1287" y="2113"/>
                </a:cubicBezTo>
                <a:cubicBezTo>
                  <a:pt x="1285" y="2114"/>
                  <a:pt x="1284" y="2115"/>
                  <a:pt x="1281" y="2115"/>
                </a:cubicBezTo>
                <a:cubicBezTo>
                  <a:pt x="1281" y="2115"/>
                  <a:pt x="1281" y="2115"/>
                  <a:pt x="1281" y="2125"/>
                </a:cubicBezTo>
                <a:cubicBezTo>
                  <a:pt x="1284" y="2124"/>
                  <a:pt x="1287" y="2123"/>
                  <a:pt x="1290" y="2122"/>
                </a:cubicBezTo>
                <a:cubicBezTo>
                  <a:pt x="1292" y="2121"/>
                  <a:pt x="1295" y="2120"/>
                  <a:pt x="1297" y="2118"/>
                </a:cubicBezTo>
                <a:cubicBezTo>
                  <a:pt x="1297" y="2118"/>
                  <a:pt x="1297" y="2118"/>
                  <a:pt x="1297" y="2177"/>
                </a:cubicBezTo>
                <a:cubicBezTo>
                  <a:pt x="1297" y="2177"/>
                  <a:pt x="1297" y="2177"/>
                  <a:pt x="1308" y="2177"/>
                </a:cubicBezTo>
                <a:cubicBezTo>
                  <a:pt x="1308" y="2177"/>
                  <a:pt x="1308" y="2177"/>
                  <a:pt x="1308" y="2104"/>
                </a:cubicBezTo>
                <a:close/>
                <a:moveTo>
                  <a:pt x="1356" y="2104"/>
                </a:moveTo>
                <a:cubicBezTo>
                  <a:pt x="1356" y="2104"/>
                  <a:pt x="1356" y="2104"/>
                  <a:pt x="1356" y="2104"/>
                </a:cubicBezTo>
                <a:cubicBezTo>
                  <a:pt x="1351" y="2104"/>
                  <a:pt x="1351" y="2104"/>
                  <a:pt x="1351" y="2104"/>
                </a:cubicBezTo>
                <a:cubicBezTo>
                  <a:pt x="1349" y="2105"/>
                  <a:pt x="1347" y="2107"/>
                  <a:pt x="1345" y="2107"/>
                </a:cubicBezTo>
                <a:cubicBezTo>
                  <a:pt x="1344" y="2109"/>
                  <a:pt x="1341" y="2110"/>
                  <a:pt x="1340" y="2110"/>
                </a:cubicBezTo>
                <a:cubicBezTo>
                  <a:pt x="1338" y="2112"/>
                  <a:pt x="1336" y="2112"/>
                  <a:pt x="1335" y="2113"/>
                </a:cubicBezTo>
                <a:cubicBezTo>
                  <a:pt x="1333" y="2114"/>
                  <a:pt x="1331" y="2115"/>
                  <a:pt x="1329" y="2115"/>
                </a:cubicBezTo>
                <a:cubicBezTo>
                  <a:pt x="1329" y="2115"/>
                  <a:pt x="1329" y="2115"/>
                  <a:pt x="1329" y="2125"/>
                </a:cubicBezTo>
                <a:cubicBezTo>
                  <a:pt x="1332" y="2124"/>
                  <a:pt x="1335" y="2123"/>
                  <a:pt x="1337" y="2122"/>
                </a:cubicBezTo>
                <a:cubicBezTo>
                  <a:pt x="1340" y="2121"/>
                  <a:pt x="1342" y="2120"/>
                  <a:pt x="1344" y="2118"/>
                </a:cubicBezTo>
                <a:cubicBezTo>
                  <a:pt x="1344" y="2118"/>
                  <a:pt x="1344" y="2118"/>
                  <a:pt x="1344" y="2177"/>
                </a:cubicBezTo>
                <a:cubicBezTo>
                  <a:pt x="1344" y="2177"/>
                  <a:pt x="1344" y="2177"/>
                  <a:pt x="1356" y="2177"/>
                </a:cubicBezTo>
                <a:cubicBezTo>
                  <a:pt x="1356" y="2177"/>
                  <a:pt x="1356" y="2177"/>
                  <a:pt x="1356" y="2104"/>
                </a:cubicBezTo>
                <a:close/>
                <a:moveTo>
                  <a:pt x="1402" y="2104"/>
                </a:moveTo>
                <a:cubicBezTo>
                  <a:pt x="1402" y="2104"/>
                  <a:pt x="1402" y="2104"/>
                  <a:pt x="1402" y="2104"/>
                </a:cubicBezTo>
                <a:cubicBezTo>
                  <a:pt x="1398" y="2104"/>
                  <a:pt x="1398" y="2104"/>
                  <a:pt x="1398" y="2104"/>
                </a:cubicBezTo>
                <a:cubicBezTo>
                  <a:pt x="1396" y="2105"/>
                  <a:pt x="1394" y="2107"/>
                  <a:pt x="1392" y="2107"/>
                </a:cubicBezTo>
                <a:cubicBezTo>
                  <a:pt x="1391" y="2109"/>
                  <a:pt x="1389" y="2110"/>
                  <a:pt x="1387" y="2110"/>
                </a:cubicBezTo>
                <a:cubicBezTo>
                  <a:pt x="1385" y="2111"/>
                  <a:pt x="1384" y="2112"/>
                  <a:pt x="1382" y="2112"/>
                </a:cubicBezTo>
                <a:cubicBezTo>
                  <a:pt x="1380" y="2113"/>
                  <a:pt x="1378" y="2114"/>
                  <a:pt x="1376" y="2115"/>
                </a:cubicBezTo>
                <a:cubicBezTo>
                  <a:pt x="1376" y="2115"/>
                  <a:pt x="1376" y="2115"/>
                  <a:pt x="1376" y="2125"/>
                </a:cubicBezTo>
                <a:cubicBezTo>
                  <a:pt x="1379" y="2124"/>
                  <a:pt x="1382" y="2123"/>
                  <a:pt x="1384" y="2122"/>
                </a:cubicBezTo>
                <a:cubicBezTo>
                  <a:pt x="1387" y="2121"/>
                  <a:pt x="1389" y="2120"/>
                  <a:pt x="1391" y="2118"/>
                </a:cubicBezTo>
                <a:cubicBezTo>
                  <a:pt x="1391" y="2118"/>
                  <a:pt x="1391" y="2118"/>
                  <a:pt x="1391" y="2177"/>
                </a:cubicBezTo>
                <a:cubicBezTo>
                  <a:pt x="1391" y="2177"/>
                  <a:pt x="1391" y="2177"/>
                  <a:pt x="1402" y="2177"/>
                </a:cubicBezTo>
                <a:cubicBezTo>
                  <a:pt x="1402" y="2177"/>
                  <a:pt x="1402" y="2177"/>
                  <a:pt x="1402" y="2104"/>
                </a:cubicBezTo>
                <a:close/>
                <a:moveTo>
                  <a:pt x="1613" y="2009"/>
                </a:moveTo>
                <a:cubicBezTo>
                  <a:pt x="1613" y="2009"/>
                  <a:pt x="1613" y="2009"/>
                  <a:pt x="1613" y="2009"/>
                </a:cubicBezTo>
                <a:cubicBezTo>
                  <a:pt x="1608" y="2009"/>
                  <a:pt x="1608" y="2009"/>
                  <a:pt x="1608" y="2009"/>
                </a:cubicBezTo>
                <a:cubicBezTo>
                  <a:pt x="1606" y="2010"/>
                  <a:pt x="1604" y="2012"/>
                  <a:pt x="1602" y="2012"/>
                </a:cubicBezTo>
                <a:cubicBezTo>
                  <a:pt x="1601" y="2014"/>
                  <a:pt x="1599" y="2014"/>
                  <a:pt x="1597" y="2015"/>
                </a:cubicBezTo>
                <a:cubicBezTo>
                  <a:pt x="1595" y="2016"/>
                  <a:pt x="1594" y="2017"/>
                  <a:pt x="1592" y="2017"/>
                </a:cubicBezTo>
                <a:cubicBezTo>
                  <a:pt x="1590" y="2018"/>
                  <a:pt x="1588" y="2019"/>
                  <a:pt x="1586" y="2020"/>
                </a:cubicBezTo>
                <a:cubicBezTo>
                  <a:pt x="1586" y="2020"/>
                  <a:pt x="1586" y="2020"/>
                  <a:pt x="1586" y="2030"/>
                </a:cubicBezTo>
                <a:cubicBezTo>
                  <a:pt x="1589" y="2029"/>
                  <a:pt x="1592" y="2028"/>
                  <a:pt x="1594" y="2027"/>
                </a:cubicBezTo>
                <a:cubicBezTo>
                  <a:pt x="1597" y="2026"/>
                  <a:pt x="1599" y="2025"/>
                  <a:pt x="1602" y="2023"/>
                </a:cubicBezTo>
                <a:cubicBezTo>
                  <a:pt x="1602" y="2023"/>
                  <a:pt x="1602" y="2023"/>
                  <a:pt x="1602" y="2082"/>
                </a:cubicBezTo>
                <a:cubicBezTo>
                  <a:pt x="1602" y="2082"/>
                  <a:pt x="1602" y="2082"/>
                  <a:pt x="1613" y="2082"/>
                </a:cubicBezTo>
                <a:cubicBezTo>
                  <a:pt x="1613" y="2082"/>
                  <a:pt x="1613" y="2082"/>
                  <a:pt x="1613" y="2009"/>
                </a:cubicBezTo>
                <a:close/>
                <a:moveTo>
                  <a:pt x="1660" y="2009"/>
                </a:moveTo>
                <a:cubicBezTo>
                  <a:pt x="1660" y="2009"/>
                  <a:pt x="1660" y="2009"/>
                  <a:pt x="1660" y="2009"/>
                </a:cubicBezTo>
                <a:cubicBezTo>
                  <a:pt x="1655" y="2009"/>
                  <a:pt x="1655" y="2009"/>
                  <a:pt x="1655" y="2009"/>
                </a:cubicBezTo>
                <a:cubicBezTo>
                  <a:pt x="1652" y="2010"/>
                  <a:pt x="1651" y="2012"/>
                  <a:pt x="1649" y="2012"/>
                </a:cubicBezTo>
                <a:cubicBezTo>
                  <a:pt x="1647" y="2014"/>
                  <a:pt x="1645" y="2014"/>
                  <a:pt x="1644" y="2015"/>
                </a:cubicBezTo>
                <a:cubicBezTo>
                  <a:pt x="1642" y="2017"/>
                  <a:pt x="1640" y="2017"/>
                  <a:pt x="1639" y="2018"/>
                </a:cubicBezTo>
                <a:cubicBezTo>
                  <a:pt x="1636" y="2019"/>
                  <a:pt x="1635" y="2020"/>
                  <a:pt x="1633" y="2020"/>
                </a:cubicBezTo>
                <a:cubicBezTo>
                  <a:pt x="1633" y="2020"/>
                  <a:pt x="1633" y="2020"/>
                  <a:pt x="1633" y="2030"/>
                </a:cubicBezTo>
                <a:cubicBezTo>
                  <a:pt x="1636" y="2029"/>
                  <a:pt x="1639" y="2028"/>
                  <a:pt x="1641" y="2027"/>
                </a:cubicBezTo>
                <a:cubicBezTo>
                  <a:pt x="1644" y="2026"/>
                  <a:pt x="1646" y="2025"/>
                  <a:pt x="1648" y="2023"/>
                </a:cubicBezTo>
                <a:cubicBezTo>
                  <a:pt x="1648" y="2023"/>
                  <a:pt x="1648" y="2023"/>
                  <a:pt x="1648" y="2082"/>
                </a:cubicBezTo>
                <a:cubicBezTo>
                  <a:pt x="1648" y="2082"/>
                  <a:pt x="1648" y="2082"/>
                  <a:pt x="1660" y="2082"/>
                </a:cubicBezTo>
                <a:cubicBezTo>
                  <a:pt x="1660" y="2082"/>
                  <a:pt x="1660" y="2082"/>
                  <a:pt x="1660" y="2009"/>
                </a:cubicBezTo>
                <a:close/>
                <a:moveTo>
                  <a:pt x="1705" y="2009"/>
                </a:moveTo>
                <a:cubicBezTo>
                  <a:pt x="1705" y="2009"/>
                  <a:pt x="1705" y="2009"/>
                  <a:pt x="1705" y="2009"/>
                </a:cubicBezTo>
                <a:cubicBezTo>
                  <a:pt x="1701" y="2009"/>
                  <a:pt x="1701" y="2009"/>
                  <a:pt x="1701" y="2009"/>
                </a:cubicBezTo>
                <a:cubicBezTo>
                  <a:pt x="1699" y="2010"/>
                  <a:pt x="1697" y="2012"/>
                  <a:pt x="1695" y="2012"/>
                </a:cubicBezTo>
                <a:cubicBezTo>
                  <a:pt x="1694" y="2014"/>
                  <a:pt x="1692" y="2014"/>
                  <a:pt x="1690" y="2015"/>
                </a:cubicBezTo>
                <a:cubicBezTo>
                  <a:pt x="1688" y="2017"/>
                  <a:pt x="1687" y="2017"/>
                  <a:pt x="1684" y="2018"/>
                </a:cubicBezTo>
                <a:cubicBezTo>
                  <a:pt x="1683" y="2019"/>
                  <a:pt x="1681" y="2020"/>
                  <a:pt x="1679" y="2020"/>
                </a:cubicBezTo>
                <a:cubicBezTo>
                  <a:pt x="1679" y="2020"/>
                  <a:pt x="1679" y="2020"/>
                  <a:pt x="1679" y="2030"/>
                </a:cubicBezTo>
                <a:cubicBezTo>
                  <a:pt x="1682" y="2029"/>
                  <a:pt x="1685" y="2028"/>
                  <a:pt x="1687" y="2027"/>
                </a:cubicBezTo>
                <a:cubicBezTo>
                  <a:pt x="1689" y="2026"/>
                  <a:pt x="1692" y="2025"/>
                  <a:pt x="1694" y="2023"/>
                </a:cubicBezTo>
                <a:cubicBezTo>
                  <a:pt x="1694" y="2023"/>
                  <a:pt x="1694" y="2023"/>
                  <a:pt x="1694" y="2082"/>
                </a:cubicBezTo>
                <a:cubicBezTo>
                  <a:pt x="1694" y="2082"/>
                  <a:pt x="1694" y="2082"/>
                  <a:pt x="1705" y="2082"/>
                </a:cubicBezTo>
                <a:cubicBezTo>
                  <a:pt x="1705" y="2082"/>
                  <a:pt x="1705" y="2082"/>
                  <a:pt x="1705" y="2009"/>
                </a:cubicBezTo>
                <a:close/>
                <a:moveTo>
                  <a:pt x="1752" y="2009"/>
                </a:moveTo>
                <a:cubicBezTo>
                  <a:pt x="1752" y="2009"/>
                  <a:pt x="1752" y="2009"/>
                  <a:pt x="1752" y="2009"/>
                </a:cubicBezTo>
                <a:cubicBezTo>
                  <a:pt x="1747" y="2009"/>
                  <a:pt x="1747" y="2009"/>
                  <a:pt x="1747" y="2009"/>
                </a:cubicBezTo>
                <a:cubicBezTo>
                  <a:pt x="1745" y="2010"/>
                  <a:pt x="1743" y="2012"/>
                  <a:pt x="1741" y="2012"/>
                </a:cubicBezTo>
                <a:cubicBezTo>
                  <a:pt x="1740" y="2014"/>
                  <a:pt x="1738" y="2014"/>
                  <a:pt x="1736" y="2015"/>
                </a:cubicBezTo>
                <a:cubicBezTo>
                  <a:pt x="1735" y="2017"/>
                  <a:pt x="1732" y="2017"/>
                  <a:pt x="1731" y="2018"/>
                </a:cubicBezTo>
                <a:cubicBezTo>
                  <a:pt x="1729" y="2019"/>
                  <a:pt x="1727" y="2020"/>
                  <a:pt x="1725" y="2020"/>
                </a:cubicBezTo>
                <a:cubicBezTo>
                  <a:pt x="1725" y="2020"/>
                  <a:pt x="1725" y="2020"/>
                  <a:pt x="1725" y="2030"/>
                </a:cubicBezTo>
                <a:cubicBezTo>
                  <a:pt x="1728" y="2029"/>
                  <a:pt x="1731" y="2028"/>
                  <a:pt x="1733" y="2027"/>
                </a:cubicBezTo>
                <a:cubicBezTo>
                  <a:pt x="1736" y="2026"/>
                  <a:pt x="1738" y="2025"/>
                  <a:pt x="1741" y="2023"/>
                </a:cubicBezTo>
                <a:cubicBezTo>
                  <a:pt x="1741" y="2023"/>
                  <a:pt x="1741" y="2023"/>
                  <a:pt x="1741" y="2082"/>
                </a:cubicBezTo>
                <a:cubicBezTo>
                  <a:pt x="1741" y="2082"/>
                  <a:pt x="1741" y="2082"/>
                  <a:pt x="1752" y="2082"/>
                </a:cubicBezTo>
                <a:cubicBezTo>
                  <a:pt x="1752" y="2082"/>
                  <a:pt x="1752" y="2082"/>
                  <a:pt x="1752" y="2009"/>
                </a:cubicBezTo>
                <a:close/>
                <a:moveTo>
                  <a:pt x="1874" y="2009"/>
                </a:moveTo>
                <a:cubicBezTo>
                  <a:pt x="1874" y="2009"/>
                  <a:pt x="1874" y="2009"/>
                  <a:pt x="1874" y="2009"/>
                </a:cubicBezTo>
                <a:cubicBezTo>
                  <a:pt x="1869" y="2009"/>
                  <a:pt x="1869" y="2009"/>
                  <a:pt x="1869" y="2009"/>
                </a:cubicBezTo>
                <a:cubicBezTo>
                  <a:pt x="1866" y="2010"/>
                  <a:pt x="1865" y="2012"/>
                  <a:pt x="1863" y="2012"/>
                </a:cubicBezTo>
                <a:cubicBezTo>
                  <a:pt x="1861" y="2014"/>
                  <a:pt x="1860" y="2014"/>
                  <a:pt x="1858" y="2015"/>
                </a:cubicBezTo>
                <a:cubicBezTo>
                  <a:pt x="1856" y="2017"/>
                  <a:pt x="1854" y="2017"/>
                  <a:pt x="1852" y="2018"/>
                </a:cubicBezTo>
                <a:cubicBezTo>
                  <a:pt x="1850" y="2019"/>
                  <a:pt x="1849" y="2020"/>
                  <a:pt x="1846" y="2020"/>
                </a:cubicBezTo>
                <a:cubicBezTo>
                  <a:pt x="1846" y="2020"/>
                  <a:pt x="1846" y="2020"/>
                  <a:pt x="1846" y="2030"/>
                </a:cubicBezTo>
                <a:cubicBezTo>
                  <a:pt x="1849" y="2029"/>
                  <a:pt x="1852" y="2028"/>
                  <a:pt x="1855" y="2027"/>
                </a:cubicBezTo>
                <a:cubicBezTo>
                  <a:pt x="1858" y="2026"/>
                  <a:pt x="1860" y="2025"/>
                  <a:pt x="1862" y="2023"/>
                </a:cubicBezTo>
                <a:cubicBezTo>
                  <a:pt x="1862" y="2023"/>
                  <a:pt x="1862" y="2023"/>
                  <a:pt x="1862" y="2082"/>
                </a:cubicBezTo>
                <a:cubicBezTo>
                  <a:pt x="1862" y="2082"/>
                  <a:pt x="1862" y="2082"/>
                  <a:pt x="1874" y="2082"/>
                </a:cubicBezTo>
                <a:cubicBezTo>
                  <a:pt x="1874" y="2082"/>
                  <a:pt x="1874" y="2082"/>
                  <a:pt x="1874" y="2009"/>
                </a:cubicBezTo>
                <a:close/>
                <a:moveTo>
                  <a:pt x="1920" y="2009"/>
                </a:moveTo>
                <a:cubicBezTo>
                  <a:pt x="1920" y="2009"/>
                  <a:pt x="1920" y="2009"/>
                  <a:pt x="1920" y="2009"/>
                </a:cubicBezTo>
                <a:cubicBezTo>
                  <a:pt x="1915" y="2009"/>
                  <a:pt x="1915" y="2009"/>
                  <a:pt x="1915" y="2009"/>
                </a:cubicBezTo>
                <a:cubicBezTo>
                  <a:pt x="1913" y="2010"/>
                  <a:pt x="1912" y="2012"/>
                  <a:pt x="1909" y="2012"/>
                </a:cubicBezTo>
                <a:cubicBezTo>
                  <a:pt x="1908" y="2014"/>
                  <a:pt x="1906" y="2014"/>
                  <a:pt x="1904" y="2015"/>
                </a:cubicBezTo>
                <a:cubicBezTo>
                  <a:pt x="1903" y="2017"/>
                  <a:pt x="1901" y="2017"/>
                  <a:pt x="1899" y="2018"/>
                </a:cubicBezTo>
                <a:cubicBezTo>
                  <a:pt x="1897" y="2019"/>
                  <a:pt x="1896" y="2020"/>
                  <a:pt x="1893" y="2020"/>
                </a:cubicBezTo>
                <a:cubicBezTo>
                  <a:pt x="1893" y="2020"/>
                  <a:pt x="1893" y="2020"/>
                  <a:pt x="1893" y="2030"/>
                </a:cubicBezTo>
                <a:cubicBezTo>
                  <a:pt x="1896" y="2029"/>
                  <a:pt x="1899" y="2028"/>
                  <a:pt x="1901" y="2027"/>
                </a:cubicBezTo>
                <a:cubicBezTo>
                  <a:pt x="1904" y="2026"/>
                  <a:pt x="1907" y="2025"/>
                  <a:pt x="1909" y="2023"/>
                </a:cubicBezTo>
                <a:cubicBezTo>
                  <a:pt x="1909" y="2023"/>
                  <a:pt x="1909" y="2023"/>
                  <a:pt x="1909" y="2082"/>
                </a:cubicBezTo>
                <a:cubicBezTo>
                  <a:pt x="1909" y="2082"/>
                  <a:pt x="1909" y="2082"/>
                  <a:pt x="1920" y="2082"/>
                </a:cubicBezTo>
                <a:cubicBezTo>
                  <a:pt x="1920" y="2082"/>
                  <a:pt x="1920" y="2082"/>
                  <a:pt x="1920" y="2009"/>
                </a:cubicBezTo>
                <a:close/>
                <a:moveTo>
                  <a:pt x="1772" y="2041"/>
                </a:moveTo>
                <a:cubicBezTo>
                  <a:pt x="1772" y="2041"/>
                  <a:pt x="1772" y="2041"/>
                  <a:pt x="1772" y="2041"/>
                </a:cubicBezTo>
                <a:cubicBezTo>
                  <a:pt x="1772" y="2049"/>
                  <a:pt x="1772" y="2049"/>
                  <a:pt x="1772" y="2049"/>
                </a:cubicBezTo>
                <a:cubicBezTo>
                  <a:pt x="1778" y="2050"/>
                  <a:pt x="1779" y="2053"/>
                  <a:pt x="1779" y="2055"/>
                </a:cubicBezTo>
                <a:cubicBezTo>
                  <a:pt x="1779" y="2057"/>
                  <a:pt x="1779" y="2060"/>
                  <a:pt x="1779" y="2062"/>
                </a:cubicBezTo>
                <a:cubicBezTo>
                  <a:pt x="1778" y="2065"/>
                  <a:pt x="1778" y="2067"/>
                  <a:pt x="1778" y="2069"/>
                </a:cubicBezTo>
                <a:cubicBezTo>
                  <a:pt x="1778" y="2079"/>
                  <a:pt x="1784" y="2082"/>
                  <a:pt x="1792" y="2082"/>
                </a:cubicBezTo>
                <a:cubicBezTo>
                  <a:pt x="1792" y="2082"/>
                  <a:pt x="1792" y="2082"/>
                  <a:pt x="1796" y="2082"/>
                </a:cubicBezTo>
                <a:cubicBezTo>
                  <a:pt x="1796" y="2082"/>
                  <a:pt x="1796" y="2082"/>
                  <a:pt x="1796" y="2073"/>
                </a:cubicBezTo>
                <a:cubicBezTo>
                  <a:pt x="1796" y="2073"/>
                  <a:pt x="1796" y="2073"/>
                  <a:pt x="1795" y="2073"/>
                </a:cubicBezTo>
                <a:cubicBezTo>
                  <a:pt x="1791" y="2073"/>
                  <a:pt x="1790" y="2071"/>
                  <a:pt x="1790" y="2067"/>
                </a:cubicBezTo>
                <a:cubicBezTo>
                  <a:pt x="1790" y="2066"/>
                  <a:pt x="1790" y="2064"/>
                  <a:pt x="1790" y="2062"/>
                </a:cubicBezTo>
                <a:cubicBezTo>
                  <a:pt x="1790" y="2061"/>
                  <a:pt x="1790" y="2059"/>
                  <a:pt x="1790" y="2056"/>
                </a:cubicBezTo>
                <a:cubicBezTo>
                  <a:pt x="1790" y="2049"/>
                  <a:pt x="1788" y="2046"/>
                  <a:pt x="1782" y="2045"/>
                </a:cubicBezTo>
                <a:cubicBezTo>
                  <a:pt x="1782" y="2045"/>
                  <a:pt x="1782" y="2045"/>
                  <a:pt x="1782" y="2045"/>
                </a:cubicBezTo>
                <a:cubicBezTo>
                  <a:pt x="1788" y="2044"/>
                  <a:pt x="1790" y="2041"/>
                  <a:pt x="1790" y="2034"/>
                </a:cubicBezTo>
                <a:cubicBezTo>
                  <a:pt x="1790" y="2031"/>
                  <a:pt x="1790" y="2029"/>
                  <a:pt x="1790" y="2028"/>
                </a:cubicBezTo>
                <a:cubicBezTo>
                  <a:pt x="1790" y="2026"/>
                  <a:pt x="1790" y="2024"/>
                  <a:pt x="1790" y="2023"/>
                </a:cubicBezTo>
                <a:cubicBezTo>
                  <a:pt x="1790" y="2019"/>
                  <a:pt x="1791" y="2017"/>
                  <a:pt x="1795" y="2017"/>
                </a:cubicBezTo>
                <a:cubicBezTo>
                  <a:pt x="1795" y="2017"/>
                  <a:pt x="1795" y="2017"/>
                  <a:pt x="1796" y="2017"/>
                </a:cubicBezTo>
                <a:cubicBezTo>
                  <a:pt x="1796" y="2017"/>
                  <a:pt x="1796" y="2017"/>
                  <a:pt x="1796" y="2008"/>
                </a:cubicBezTo>
                <a:cubicBezTo>
                  <a:pt x="1796" y="2008"/>
                  <a:pt x="1796" y="2008"/>
                  <a:pt x="1792" y="2008"/>
                </a:cubicBezTo>
                <a:cubicBezTo>
                  <a:pt x="1783" y="2008"/>
                  <a:pt x="1778" y="2012"/>
                  <a:pt x="1778" y="2020"/>
                </a:cubicBezTo>
                <a:cubicBezTo>
                  <a:pt x="1778" y="2023"/>
                  <a:pt x="1778" y="2025"/>
                  <a:pt x="1778" y="2028"/>
                </a:cubicBezTo>
                <a:cubicBezTo>
                  <a:pt x="1779" y="2030"/>
                  <a:pt x="1779" y="2033"/>
                  <a:pt x="1779" y="2035"/>
                </a:cubicBezTo>
                <a:cubicBezTo>
                  <a:pt x="1779" y="2037"/>
                  <a:pt x="1778" y="2041"/>
                  <a:pt x="1772" y="2041"/>
                </a:cubicBezTo>
                <a:close/>
                <a:moveTo>
                  <a:pt x="1827" y="2049"/>
                </a:moveTo>
                <a:cubicBezTo>
                  <a:pt x="1827" y="2049"/>
                  <a:pt x="1827" y="2049"/>
                  <a:pt x="1827" y="2049"/>
                </a:cubicBezTo>
                <a:cubicBezTo>
                  <a:pt x="1827" y="2041"/>
                  <a:pt x="1827" y="2041"/>
                  <a:pt x="1827" y="2041"/>
                </a:cubicBezTo>
                <a:cubicBezTo>
                  <a:pt x="1820" y="2041"/>
                  <a:pt x="1820" y="2037"/>
                  <a:pt x="1820" y="2035"/>
                </a:cubicBezTo>
                <a:cubicBezTo>
                  <a:pt x="1820" y="2033"/>
                  <a:pt x="1820" y="2030"/>
                  <a:pt x="1820" y="2028"/>
                </a:cubicBezTo>
                <a:cubicBezTo>
                  <a:pt x="1821" y="2025"/>
                  <a:pt x="1821" y="2023"/>
                  <a:pt x="1821" y="2020"/>
                </a:cubicBezTo>
                <a:cubicBezTo>
                  <a:pt x="1821" y="2012"/>
                  <a:pt x="1816" y="2008"/>
                  <a:pt x="1806" y="2008"/>
                </a:cubicBezTo>
                <a:cubicBezTo>
                  <a:pt x="1806" y="2008"/>
                  <a:pt x="1806" y="2008"/>
                  <a:pt x="1803" y="2008"/>
                </a:cubicBezTo>
                <a:cubicBezTo>
                  <a:pt x="1803" y="2008"/>
                  <a:pt x="1803" y="2008"/>
                  <a:pt x="1803" y="2017"/>
                </a:cubicBezTo>
                <a:cubicBezTo>
                  <a:pt x="1803" y="2017"/>
                  <a:pt x="1803" y="2017"/>
                  <a:pt x="1804" y="2017"/>
                </a:cubicBezTo>
                <a:cubicBezTo>
                  <a:pt x="1808" y="2017"/>
                  <a:pt x="1809" y="2019"/>
                  <a:pt x="1809" y="2023"/>
                </a:cubicBezTo>
                <a:cubicBezTo>
                  <a:pt x="1809" y="2024"/>
                  <a:pt x="1809" y="2026"/>
                  <a:pt x="1809" y="2028"/>
                </a:cubicBezTo>
                <a:cubicBezTo>
                  <a:pt x="1809" y="2029"/>
                  <a:pt x="1809" y="2031"/>
                  <a:pt x="1809" y="2034"/>
                </a:cubicBezTo>
                <a:cubicBezTo>
                  <a:pt x="1809" y="2041"/>
                  <a:pt x="1811" y="2044"/>
                  <a:pt x="1817" y="2045"/>
                </a:cubicBezTo>
                <a:cubicBezTo>
                  <a:pt x="1817" y="2045"/>
                  <a:pt x="1817" y="2045"/>
                  <a:pt x="1817" y="2045"/>
                </a:cubicBezTo>
                <a:cubicBezTo>
                  <a:pt x="1811" y="2046"/>
                  <a:pt x="1809" y="2049"/>
                  <a:pt x="1809" y="2056"/>
                </a:cubicBezTo>
                <a:cubicBezTo>
                  <a:pt x="1809" y="2059"/>
                  <a:pt x="1809" y="2061"/>
                  <a:pt x="1809" y="2062"/>
                </a:cubicBezTo>
                <a:cubicBezTo>
                  <a:pt x="1809" y="2064"/>
                  <a:pt x="1809" y="2066"/>
                  <a:pt x="1809" y="2067"/>
                </a:cubicBezTo>
                <a:cubicBezTo>
                  <a:pt x="1809" y="2071"/>
                  <a:pt x="1808" y="2073"/>
                  <a:pt x="1804" y="2073"/>
                </a:cubicBezTo>
                <a:cubicBezTo>
                  <a:pt x="1804" y="2073"/>
                  <a:pt x="1804" y="2073"/>
                  <a:pt x="1803" y="2073"/>
                </a:cubicBezTo>
                <a:cubicBezTo>
                  <a:pt x="1803" y="2073"/>
                  <a:pt x="1803" y="2073"/>
                  <a:pt x="1803" y="2082"/>
                </a:cubicBezTo>
                <a:cubicBezTo>
                  <a:pt x="1803" y="2082"/>
                  <a:pt x="1803" y="2082"/>
                  <a:pt x="1806" y="2082"/>
                </a:cubicBezTo>
                <a:cubicBezTo>
                  <a:pt x="1815" y="2082"/>
                  <a:pt x="1821" y="2079"/>
                  <a:pt x="1821" y="2069"/>
                </a:cubicBezTo>
                <a:cubicBezTo>
                  <a:pt x="1821" y="2067"/>
                  <a:pt x="1821" y="2065"/>
                  <a:pt x="1820" y="2062"/>
                </a:cubicBezTo>
                <a:cubicBezTo>
                  <a:pt x="1820" y="2060"/>
                  <a:pt x="1820" y="2057"/>
                  <a:pt x="1820" y="2055"/>
                </a:cubicBezTo>
                <a:cubicBezTo>
                  <a:pt x="1820" y="2053"/>
                  <a:pt x="1820" y="2050"/>
                  <a:pt x="1827" y="2049"/>
                </a:cubicBezTo>
                <a:close/>
                <a:moveTo>
                  <a:pt x="1214" y="2082"/>
                </a:moveTo>
                <a:cubicBezTo>
                  <a:pt x="1207" y="2082"/>
                  <a:pt x="1200" y="2079"/>
                  <a:pt x="1196" y="2073"/>
                </a:cubicBezTo>
                <a:cubicBezTo>
                  <a:pt x="1192" y="2067"/>
                  <a:pt x="1190" y="2058"/>
                  <a:pt x="1190" y="2045"/>
                </a:cubicBezTo>
                <a:cubicBezTo>
                  <a:pt x="1190" y="2032"/>
                  <a:pt x="1192" y="2023"/>
                  <a:pt x="1196" y="2016"/>
                </a:cubicBezTo>
                <a:cubicBezTo>
                  <a:pt x="1201" y="2009"/>
                  <a:pt x="1207" y="2006"/>
                  <a:pt x="1216" y="2006"/>
                </a:cubicBezTo>
                <a:cubicBezTo>
                  <a:pt x="1232" y="2006"/>
                  <a:pt x="1240" y="2018"/>
                  <a:pt x="1240" y="2044"/>
                </a:cubicBezTo>
                <a:cubicBezTo>
                  <a:pt x="1240" y="2056"/>
                  <a:pt x="1238" y="2066"/>
                  <a:pt x="1233" y="2073"/>
                </a:cubicBezTo>
                <a:cubicBezTo>
                  <a:pt x="1228" y="2079"/>
                  <a:pt x="1222" y="2082"/>
                  <a:pt x="1214" y="2082"/>
                </a:cubicBezTo>
                <a:close/>
                <a:moveTo>
                  <a:pt x="1215" y="2015"/>
                </a:moveTo>
                <a:cubicBezTo>
                  <a:pt x="1206" y="2015"/>
                  <a:pt x="1201" y="2026"/>
                  <a:pt x="1201" y="2045"/>
                </a:cubicBezTo>
                <a:cubicBezTo>
                  <a:pt x="1201" y="2064"/>
                  <a:pt x="1206" y="2073"/>
                  <a:pt x="1215" y="2073"/>
                </a:cubicBezTo>
                <a:cubicBezTo>
                  <a:pt x="1223" y="2073"/>
                  <a:pt x="1228" y="2064"/>
                  <a:pt x="1228" y="2045"/>
                </a:cubicBezTo>
                <a:cubicBezTo>
                  <a:pt x="1228" y="2025"/>
                  <a:pt x="1223" y="2015"/>
                  <a:pt x="1215" y="2015"/>
                </a:cubicBezTo>
                <a:close/>
                <a:moveTo>
                  <a:pt x="1284" y="2082"/>
                </a:moveTo>
                <a:cubicBezTo>
                  <a:pt x="1277" y="2082"/>
                  <a:pt x="1270" y="2079"/>
                  <a:pt x="1266" y="2073"/>
                </a:cubicBezTo>
                <a:cubicBezTo>
                  <a:pt x="1262" y="2067"/>
                  <a:pt x="1260" y="2058"/>
                  <a:pt x="1260" y="2045"/>
                </a:cubicBezTo>
                <a:cubicBezTo>
                  <a:pt x="1260" y="2032"/>
                  <a:pt x="1262" y="2023"/>
                  <a:pt x="1266" y="2016"/>
                </a:cubicBezTo>
                <a:cubicBezTo>
                  <a:pt x="1271" y="2009"/>
                  <a:pt x="1277" y="2006"/>
                  <a:pt x="1286" y="2006"/>
                </a:cubicBezTo>
                <a:cubicBezTo>
                  <a:pt x="1302" y="2006"/>
                  <a:pt x="1310" y="2018"/>
                  <a:pt x="1310" y="2044"/>
                </a:cubicBezTo>
                <a:cubicBezTo>
                  <a:pt x="1310" y="2056"/>
                  <a:pt x="1308" y="2066"/>
                  <a:pt x="1304" y="2073"/>
                </a:cubicBezTo>
                <a:cubicBezTo>
                  <a:pt x="1299" y="2079"/>
                  <a:pt x="1293" y="2082"/>
                  <a:pt x="1284" y="2082"/>
                </a:cubicBezTo>
                <a:close/>
                <a:moveTo>
                  <a:pt x="1285" y="2015"/>
                </a:moveTo>
                <a:cubicBezTo>
                  <a:pt x="1277" y="2015"/>
                  <a:pt x="1272" y="2026"/>
                  <a:pt x="1272" y="2045"/>
                </a:cubicBezTo>
                <a:cubicBezTo>
                  <a:pt x="1272" y="2064"/>
                  <a:pt x="1276" y="2073"/>
                  <a:pt x="1285" y="2073"/>
                </a:cubicBezTo>
                <a:cubicBezTo>
                  <a:pt x="1293" y="2073"/>
                  <a:pt x="1298" y="2064"/>
                  <a:pt x="1298" y="2045"/>
                </a:cubicBezTo>
                <a:cubicBezTo>
                  <a:pt x="1298" y="2025"/>
                  <a:pt x="1293" y="2015"/>
                  <a:pt x="1285" y="2015"/>
                </a:cubicBezTo>
                <a:close/>
                <a:moveTo>
                  <a:pt x="1494" y="2082"/>
                </a:moveTo>
                <a:cubicBezTo>
                  <a:pt x="1486" y="2082"/>
                  <a:pt x="1481" y="2079"/>
                  <a:pt x="1476" y="2073"/>
                </a:cubicBezTo>
                <a:cubicBezTo>
                  <a:pt x="1472" y="2067"/>
                  <a:pt x="1470" y="2057"/>
                  <a:pt x="1470" y="2045"/>
                </a:cubicBezTo>
                <a:cubicBezTo>
                  <a:pt x="1470" y="2032"/>
                  <a:pt x="1472" y="2023"/>
                  <a:pt x="1476" y="2015"/>
                </a:cubicBezTo>
                <a:cubicBezTo>
                  <a:pt x="1481" y="2009"/>
                  <a:pt x="1487" y="2006"/>
                  <a:pt x="1496" y="2006"/>
                </a:cubicBezTo>
                <a:cubicBezTo>
                  <a:pt x="1512" y="2006"/>
                  <a:pt x="1520" y="2018"/>
                  <a:pt x="1520" y="2043"/>
                </a:cubicBezTo>
                <a:cubicBezTo>
                  <a:pt x="1520" y="2056"/>
                  <a:pt x="1518" y="2066"/>
                  <a:pt x="1513" y="2073"/>
                </a:cubicBezTo>
                <a:cubicBezTo>
                  <a:pt x="1508" y="2079"/>
                  <a:pt x="1502" y="2082"/>
                  <a:pt x="1494" y="2082"/>
                </a:cubicBezTo>
                <a:close/>
                <a:moveTo>
                  <a:pt x="1495" y="2015"/>
                </a:moveTo>
                <a:cubicBezTo>
                  <a:pt x="1486" y="2015"/>
                  <a:pt x="1482" y="2025"/>
                  <a:pt x="1482" y="2045"/>
                </a:cubicBezTo>
                <a:cubicBezTo>
                  <a:pt x="1482" y="2063"/>
                  <a:pt x="1486" y="2073"/>
                  <a:pt x="1495" y="2073"/>
                </a:cubicBezTo>
                <a:cubicBezTo>
                  <a:pt x="1503" y="2073"/>
                  <a:pt x="1508" y="2063"/>
                  <a:pt x="1508" y="2045"/>
                </a:cubicBezTo>
                <a:cubicBezTo>
                  <a:pt x="1508" y="2025"/>
                  <a:pt x="1504" y="2015"/>
                  <a:pt x="1495" y="2015"/>
                </a:cubicBezTo>
                <a:close/>
                <a:moveTo>
                  <a:pt x="1567" y="2009"/>
                </a:moveTo>
                <a:cubicBezTo>
                  <a:pt x="1567" y="2009"/>
                  <a:pt x="1567" y="2009"/>
                  <a:pt x="1567" y="2009"/>
                </a:cubicBezTo>
                <a:cubicBezTo>
                  <a:pt x="1561" y="2009"/>
                  <a:pt x="1561" y="2009"/>
                  <a:pt x="1561" y="2009"/>
                </a:cubicBezTo>
                <a:cubicBezTo>
                  <a:pt x="1559" y="2010"/>
                  <a:pt x="1558" y="2012"/>
                  <a:pt x="1556" y="2012"/>
                </a:cubicBezTo>
                <a:cubicBezTo>
                  <a:pt x="1554" y="2014"/>
                  <a:pt x="1552" y="2014"/>
                  <a:pt x="1551" y="2015"/>
                </a:cubicBezTo>
                <a:cubicBezTo>
                  <a:pt x="1549" y="2016"/>
                  <a:pt x="1547" y="2017"/>
                  <a:pt x="1546" y="2017"/>
                </a:cubicBezTo>
                <a:cubicBezTo>
                  <a:pt x="1543" y="2018"/>
                  <a:pt x="1542" y="2019"/>
                  <a:pt x="1540" y="2020"/>
                </a:cubicBezTo>
                <a:cubicBezTo>
                  <a:pt x="1540" y="2020"/>
                  <a:pt x="1540" y="2020"/>
                  <a:pt x="1540" y="2030"/>
                </a:cubicBezTo>
                <a:cubicBezTo>
                  <a:pt x="1543" y="2029"/>
                  <a:pt x="1546" y="2028"/>
                  <a:pt x="1548" y="2027"/>
                </a:cubicBezTo>
                <a:cubicBezTo>
                  <a:pt x="1551" y="2026"/>
                  <a:pt x="1553" y="2025"/>
                  <a:pt x="1555" y="2023"/>
                </a:cubicBezTo>
                <a:cubicBezTo>
                  <a:pt x="1555" y="2023"/>
                  <a:pt x="1555" y="2023"/>
                  <a:pt x="1555" y="2082"/>
                </a:cubicBezTo>
                <a:cubicBezTo>
                  <a:pt x="1555" y="2082"/>
                  <a:pt x="1555" y="2082"/>
                  <a:pt x="1567" y="2082"/>
                </a:cubicBezTo>
                <a:cubicBezTo>
                  <a:pt x="1567" y="2082"/>
                  <a:pt x="1567" y="2082"/>
                  <a:pt x="1567" y="2009"/>
                </a:cubicBezTo>
                <a:close/>
                <a:moveTo>
                  <a:pt x="1357" y="2009"/>
                </a:moveTo>
                <a:cubicBezTo>
                  <a:pt x="1357" y="2009"/>
                  <a:pt x="1357" y="2009"/>
                  <a:pt x="1357" y="2009"/>
                </a:cubicBezTo>
                <a:cubicBezTo>
                  <a:pt x="1352" y="2009"/>
                  <a:pt x="1352" y="2009"/>
                  <a:pt x="1352" y="2009"/>
                </a:cubicBezTo>
                <a:cubicBezTo>
                  <a:pt x="1350" y="2010"/>
                  <a:pt x="1349" y="2012"/>
                  <a:pt x="1346" y="2012"/>
                </a:cubicBezTo>
                <a:cubicBezTo>
                  <a:pt x="1345" y="2014"/>
                  <a:pt x="1343" y="2014"/>
                  <a:pt x="1341" y="2015"/>
                </a:cubicBezTo>
                <a:cubicBezTo>
                  <a:pt x="1340" y="2017"/>
                  <a:pt x="1338" y="2017"/>
                  <a:pt x="1336" y="2018"/>
                </a:cubicBezTo>
                <a:cubicBezTo>
                  <a:pt x="1334" y="2019"/>
                  <a:pt x="1333" y="2020"/>
                  <a:pt x="1330" y="2020"/>
                </a:cubicBezTo>
                <a:cubicBezTo>
                  <a:pt x="1330" y="2020"/>
                  <a:pt x="1330" y="2020"/>
                  <a:pt x="1330" y="2030"/>
                </a:cubicBezTo>
                <a:cubicBezTo>
                  <a:pt x="1333" y="2029"/>
                  <a:pt x="1336" y="2028"/>
                  <a:pt x="1339" y="2027"/>
                </a:cubicBezTo>
                <a:cubicBezTo>
                  <a:pt x="1341" y="2026"/>
                  <a:pt x="1343" y="2025"/>
                  <a:pt x="1346" y="2023"/>
                </a:cubicBezTo>
                <a:cubicBezTo>
                  <a:pt x="1346" y="2023"/>
                  <a:pt x="1346" y="2023"/>
                  <a:pt x="1346" y="2082"/>
                </a:cubicBezTo>
                <a:cubicBezTo>
                  <a:pt x="1346" y="2082"/>
                  <a:pt x="1346" y="2082"/>
                  <a:pt x="1357" y="2082"/>
                </a:cubicBezTo>
                <a:cubicBezTo>
                  <a:pt x="1357" y="2082"/>
                  <a:pt x="1357" y="2082"/>
                  <a:pt x="1357" y="2009"/>
                </a:cubicBezTo>
                <a:close/>
                <a:moveTo>
                  <a:pt x="1404" y="2009"/>
                </a:moveTo>
                <a:cubicBezTo>
                  <a:pt x="1404" y="2009"/>
                  <a:pt x="1404" y="2009"/>
                  <a:pt x="1404" y="2009"/>
                </a:cubicBezTo>
                <a:cubicBezTo>
                  <a:pt x="1399" y="2009"/>
                  <a:pt x="1399" y="2009"/>
                  <a:pt x="1399" y="2009"/>
                </a:cubicBezTo>
                <a:cubicBezTo>
                  <a:pt x="1397" y="2010"/>
                  <a:pt x="1395" y="2012"/>
                  <a:pt x="1393" y="2012"/>
                </a:cubicBezTo>
                <a:cubicBezTo>
                  <a:pt x="1392" y="2014"/>
                  <a:pt x="1390" y="2014"/>
                  <a:pt x="1388" y="2015"/>
                </a:cubicBezTo>
                <a:cubicBezTo>
                  <a:pt x="1387" y="2017"/>
                  <a:pt x="1384" y="2017"/>
                  <a:pt x="1383" y="2018"/>
                </a:cubicBezTo>
                <a:cubicBezTo>
                  <a:pt x="1381" y="2019"/>
                  <a:pt x="1379" y="2020"/>
                  <a:pt x="1377" y="2020"/>
                </a:cubicBezTo>
                <a:cubicBezTo>
                  <a:pt x="1377" y="2020"/>
                  <a:pt x="1377" y="2020"/>
                  <a:pt x="1377" y="2030"/>
                </a:cubicBezTo>
                <a:cubicBezTo>
                  <a:pt x="1380" y="2029"/>
                  <a:pt x="1383" y="2028"/>
                  <a:pt x="1385" y="2027"/>
                </a:cubicBezTo>
                <a:cubicBezTo>
                  <a:pt x="1388" y="2026"/>
                  <a:pt x="1390" y="2025"/>
                  <a:pt x="1393" y="2023"/>
                </a:cubicBezTo>
                <a:cubicBezTo>
                  <a:pt x="1393" y="2023"/>
                  <a:pt x="1393" y="2023"/>
                  <a:pt x="1393" y="2082"/>
                </a:cubicBezTo>
                <a:cubicBezTo>
                  <a:pt x="1393" y="2082"/>
                  <a:pt x="1393" y="2082"/>
                  <a:pt x="1404" y="2082"/>
                </a:cubicBezTo>
                <a:cubicBezTo>
                  <a:pt x="1404" y="2082"/>
                  <a:pt x="1404" y="2082"/>
                  <a:pt x="1404" y="2009"/>
                </a:cubicBezTo>
                <a:close/>
                <a:moveTo>
                  <a:pt x="1450" y="2009"/>
                </a:moveTo>
                <a:cubicBezTo>
                  <a:pt x="1450" y="2009"/>
                  <a:pt x="1450" y="2009"/>
                  <a:pt x="1450" y="2009"/>
                </a:cubicBezTo>
                <a:cubicBezTo>
                  <a:pt x="1446" y="2009"/>
                  <a:pt x="1446" y="2009"/>
                  <a:pt x="1446" y="2009"/>
                </a:cubicBezTo>
                <a:cubicBezTo>
                  <a:pt x="1443" y="2010"/>
                  <a:pt x="1442" y="2012"/>
                  <a:pt x="1440" y="2012"/>
                </a:cubicBezTo>
                <a:cubicBezTo>
                  <a:pt x="1438" y="2014"/>
                  <a:pt x="1436" y="2014"/>
                  <a:pt x="1435" y="2015"/>
                </a:cubicBezTo>
                <a:cubicBezTo>
                  <a:pt x="1433" y="2016"/>
                  <a:pt x="1431" y="2017"/>
                  <a:pt x="1429" y="2017"/>
                </a:cubicBezTo>
                <a:cubicBezTo>
                  <a:pt x="1428" y="2018"/>
                  <a:pt x="1425" y="2019"/>
                  <a:pt x="1424" y="2020"/>
                </a:cubicBezTo>
                <a:cubicBezTo>
                  <a:pt x="1424" y="2020"/>
                  <a:pt x="1424" y="2020"/>
                  <a:pt x="1424" y="2030"/>
                </a:cubicBezTo>
                <a:cubicBezTo>
                  <a:pt x="1427" y="2029"/>
                  <a:pt x="1430" y="2028"/>
                  <a:pt x="1432" y="2027"/>
                </a:cubicBezTo>
                <a:cubicBezTo>
                  <a:pt x="1434" y="2026"/>
                  <a:pt x="1437" y="2025"/>
                  <a:pt x="1438" y="2023"/>
                </a:cubicBezTo>
                <a:cubicBezTo>
                  <a:pt x="1438" y="2023"/>
                  <a:pt x="1438" y="2023"/>
                  <a:pt x="1438" y="2082"/>
                </a:cubicBezTo>
                <a:cubicBezTo>
                  <a:pt x="1438" y="2082"/>
                  <a:pt x="1438" y="2082"/>
                  <a:pt x="1450" y="2082"/>
                </a:cubicBezTo>
                <a:cubicBezTo>
                  <a:pt x="1450" y="2082"/>
                  <a:pt x="1450" y="2082"/>
                  <a:pt x="1450" y="2009"/>
                </a:cubicBezTo>
                <a:close/>
                <a:moveTo>
                  <a:pt x="208" y="2009"/>
                </a:moveTo>
                <a:cubicBezTo>
                  <a:pt x="208" y="2009"/>
                  <a:pt x="208" y="2009"/>
                  <a:pt x="208" y="2009"/>
                </a:cubicBezTo>
                <a:cubicBezTo>
                  <a:pt x="203" y="2009"/>
                  <a:pt x="203" y="2009"/>
                  <a:pt x="203" y="2009"/>
                </a:cubicBezTo>
                <a:cubicBezTo>
                  <a:pt x="200" y="2010"/>
                  <a:pt x="199" y="2012"/>
                  <a:pt x="197" y="2012"/>
                </a:cubicBezTo>
                <a:cubicBezTo>
                  <a:pt x="195" y="2014"/>
                  <a:pt x="193" y="2014"/>
                  <a:pt x="191" y="2015"/>
                </a:cubicBezTo>
                <a:cubicBezTo>
                  <a:pt x="190" y="2017"/>
                  <a:pt x="188" y="2017"/>
                  <a:pt x="186" y="2018"/>
                </a:cubicBezTo>
                <a:cubicBezTo>
                  <a:pt x="184" y="2019"/>
                  <a:pt x="183" y="2020"/>
                  <a:pt x="180" y="2020"/>
                </a:cubicBezTo>
                <a:cubicBezTo>
                  <a:pt x="180" y="2020"/>
                  <a:pt x="180" y="2020"/>
                  <a:pt x="180" y="2030"/>
                </a:cubicBezTo>
                <a:cubicBezTo>
                  <a:pt x="183" y="2029"/>
                  <a:pt x="186" y="2028"/>
                  <a:pt x="188" y="2027"/>
                </a:cubicBezTo>
                <a:cubicBezTo>
                  <a:pt x="191" y="2026"/>
                  <a:pt x="194" y="2025"/>
                  <a:pt x="196" y="2023"/>
                </a:cubicBezTo>
                <a:cubicBezTo>
                  <a:pt x="196" y="2023"/>
                  <a:pt x="196" y="2023"/>
                  <a:pt x="196" y="2082"/>
                </a:cubicBezTo>
                <a:cubicBezTo>
                  <a:pt x="196" y="2082"/>
                  <a:pt x="196" y="2082"/>
                  <a:pt x="208" y="2082"/>
                </a:cubicBezTo>
                <a:cubicBezTo>
                  <a:pt x="208" y="2082"/>
                  <a:pt x="208" y="2082"/>
                  <a:pt x="208" y="2009"/>
                </a:cubicBezTo>
                <a:close/>
                <a:moveTo>
                  <a:pt x="254" y="2009"/>
                </a:moveTo>
                <a:cubicBezTo>
                  <a:pt x="254" y="2009"/>
                  <a:pt x="254" y="2009"/>
                  <a:pt x="254" y="2009"/>
                </a:cubicBezTo>
                <a:cubicBezTo>
                  <a:pt x="249" y="2009"/>
                  <a:pt x="249" y="2009"/>
                  <a:pt x="249" y="2009"/>
                </a:cubicBezTo>
                <a:cubicBezTo>
                  <a:pt x="248" y="2010"/>
                  <a:pt x="246" y="2012"/>
                  <a:pt x="244" y="2012"/>
                </a:cubicBezTo>
                <a:cubicBezTo>
                  <a:pt x="242" y="2014"/>
                  <a:pt x="240" y="2014"/>
                  <a:pt x="238" y="2015"/>
                </a:cubicBezTo>
                <a:cubicBezTo>
                  <a:pt x="237" y="2017"/>
                  <a:pt x="235" y="2017"/>
                  <a:pt x="233" y="2018"/>
                </a:cubicBezTo>
                <a:cubicBezTo>
                  <a:pt x="231" y="2019"/>
                  <a:pt x="230" y="2020"/>
                  <a:pt x="227" y="2020"/>
                </a:cubicBezTo>
                <a:cubicBezTo>
                  <a:pt x="227" y="2020"/>
                  <a:pt x="227" y="2020"/>
                  <a:pt x="227" y="2030"/>
                </a:cubicBezTo>
                <a:cubicBezTo>
                  <a:pt x="230" y="2029"/>
                  <a:pt x="233" y="2028"/>
                  <a:pt x="236" y="2027"/>
                </a:cubicBezTo>
                <a:cubicBezTo>
                  <a:pt x="238" y="2026"/>
                  <a:pt x="240" y="2025"/>
                  <a:pt x="243" y="2023"/>
                </a:cubicBezTo>
                <a:cubicBezTo>
                  <a:pt x="243" y="2023"/>
                  <a:pt x="243" y="2023"/>
                  <a:pt x="243" y="2082"/>
                </a:cubicBezTo>
                <a:cubicBezTo>
                  <a:pt x="243" y="2082"/>
                  <a:pt x="243" y="2082"/>
                  <a:pt x="254" y="2082"/>
                </a:cubicBezTo>
                <a:cubicBezTo>
                  <a:pt x="254" y="2082"/>
                  <a:pt x="254" y="2082"/>
                  <a:pt x="254" y="2009"/>
                </a:cubicBezTo>
                <a:close/>
                <a:moveTo>
                  <a:pt x="300" y="2009"/>
                </a:moveTo>
                <a:cubicBezTo>
                  <a:pt x="300" y="2009"/>
                  <a:pt x="300" y="2009"/>
                  <a:pt x="300" y="2009"/>
                </a:cubicBezTo>
                <a:cubicBezTo>
                  <a:pt x="296" y="2009"/>
                  <a:pt x="296" y="2009"/>
                  <a:pt x="296" y="2009"/>
                </a:cubicBezTo>
                <a:cubicBezTo>
                  <a:pt x="293" y="2010"/>
                  <a:pt x="292" y="2012"/>
                  <a:pt x="290" y="2012"/>
                </a:cubicBezTo>
                <a:cubicBezTo>
                  <a:pt x="288" y="2014"/>
                  <a:pt x="286" y="2014"/>
                  <a:pt x="285" y="2015"/>
                </a:cubicBezTo>
                <a:cubicBezTo>
                  <a:pt x="283" y="2016"/>
                  <a:pt x="281" y="2017"/>
                  <a:pt x="279" y="2017"/>
                </a:cubicBezTo>
                <a:cubicBezTo>
                  <a:pt x="278" y="2018"/>
                  <a:pt x="275" y="2019"/>
                  <a:pt x="274" y="2020"/>
                </a:cubicBezTo>
                <a:cubicBezTo>
                  <a:pt x="274" y="2020"/>
                  <a:pt x="274" y="2020"/>
                  <a:pt x="274" y="2030"/>
                </a:cubicBezTo>
                <a:cubicBezTo>
                  <a:pt x="277" y="2029"/>
                  <a:pt x="280" y="2028"/>
                  <a:pt x="282" y="2027"/>
                </a:cubicBezTo>
                <a:cubicBezTo>
                  <a:pt x="284" y="2026"/>
                  <a:pt x="287" y="2025"/>
                  <a:pt x="288" y="2023"/>
                </a:cubicBezTo>
                <a:cubicBezTo>
                  <a:pt x="288" y="2023"/>
                  <a:pt x="288" y="2023"/>
                  <a:pt x="288" y="2082"/>
                </a:cubicBezTo>
                <a:cubicBezTo>
                  <a:pt x="288" y="2082"/>
                  <a:pt x="288" y="2082"/>
                  <a:pt x="300" y="2082"/>
                </a:cubicBezTo>
                <a:cubicBezTo>
                  <a:pt x="300" y="2082"/>
                  <a:pt x="300" y="2082"/>
                  <a:pt x="300" y="2009"/>
                </a:cubicBezTo>
                <a:close/>
                <a:moveTo>
                  <a:pt x="437" y="2041"/>
                </a:moveTo>
                <a:cubicBezTo>
                  <a:pt x="437" y="2041"/>
                  <a:pt x="437" y="2041"/>
                  <a:pt x="437" y="2041"/>
                </a:cubicBezTo>
                <a:cubicBezTo>
                  <a:pt x="436" y="2049"/>
                  <a:pt x="436" y="2049"/>
                  <a:pt x="436" y="2049"/>
                </a:cubicBezTo>
                <a:cubicBezTo>
                  <a:pt x="442" y="2050"/>
                  <a:pt x="443" y="2053"/>
                  <a:pt x="443" y="2055"/>
                </a:cubicBezTo>
                <a:cubicBezTo>
                  <a:pt x="443" y="2057"/>
                  <a:pt x="443" y="2060"/>
                  <a:pt x="443" y="2062"/>
                </a:cubicBezTo>
                <a:cubicBezTo>
                  <a:pt x="442" y="2065"/>
                  <a:pt x="442" y="2067"/>
                  <a:pt x="442" y="2069"/>
                </a:cubicBezTo>
                <a:cubicBezTo>
                  <a:pt x="442" y="2079"/>
                  <a:pt x="448" y="2082"/>
                  <a:pt x="456" y="2082"/>
                </a:cubicBezTo>
                <a:cubicBezTo>
                  <a:pt x="456" y="2082"/>
                  <a:pt x="456" y="2082"/>
                  <a:pt x="460" y="2082"/>
                </a:cubicBezTo>
                <a:cubicBezTo>
                  <a:pt x="460" y="2082"/>
                  <a:pt x="460" y="2082"/>
                  <a:pt x="460" y="2073"/>
                </a:cubicBezTo>
                <a:cubicBezTo>
                  <a:pt x="460" y="2073"/>
                  <a:pt x="460" y="2073"/>
                  <a:pt x="459" y="2073"/>
                </a:cubicBezTo>
                <a:cubicBezTo>
                  <a:pt x="455" y="2073"/>
                  <a:pt x="454" y="2071"/>
                  <a:pt x="454" y="2067"/>
                </a:cubicBezTo>
                <a:cubicBezTo>
                  <a:pt x="454" y="2066"/>
                  <a:pt x="454" y="2064"/>
                  <a:pt x="454" y="2062"/>
                </a:cubicBezTo>
                <a:cubicBezTo>
                  <a:pt x="454" y="2061"/>
                  <a:pt x="455" y="2059"/>
                  <a:pt x="455" y="2056"/>
                </a:cubicBezTo>
                <a:cubicBezTo>
                  <a:pt x="455" y="2049"/>
                  <a:pt x="452" y="2046"/>
                  <a:pt x="446" y="2045"/>
                </a:cubicBezTo>
                <a:cubicBezTo>
                  <a:pt x="446" y="2045"/>
                  <a:pt x="446" y="2045"/>
                  <a:pt x="446" y="2045"/>
                </a:cubicBezTo>
                <a:cubicBezTo>
                  <a:pt x="452" y="2044"/>
                  <a:pt x="455" y="2041"/>
                  <a:pt x="455" y="2034"/>
                </a:cubicBezTo>
                <a:cubicBezTo>
                  <a:pt x="455" y="2031"/>
                  <a:pt x="454" y="2029"/>
                  <a:pt x="454" y="2028"/>
                </a:cubicBezTo>
                <a:cubicBezTo>
                  <a:pt x="454" y="2026"/>
                  <a:pt x="454" y="2024"/>
                  <a:pt x="454" y="2023"/>
                </a:cubicBezTo>
                <a:cubicBezTo>
                  <a:pt x="454" y="2019"/>
                  <a:pt x="455" y="2017"/>
                  <a:pt x="459" y="2017"/>
                </a:cubicBezTo>
                <a:cubicBezTo>
                  <a:pt x="459" y="2017"/>
                  <a:pt x="459" y="2017"/>
                  <a:pt x="460" y="2017"/>
                </a:cubicBezTo>
                <a:cubicBezTo>
                  <a:pt x="460" y="2017"/>
                  <a:pt x="460" y="2017"/>
                  <a:pt x="460" y="2008"/>
                </a:cubicBezTo>
                <a:cubicBezTo>
                  <a:pt x="460" y="2008"/>
                  <a:pt x="460" y="2008"/>
                  <a:pt x="456" y="2008"/>
                </a:cubicBezTo>
                <a:cubicBezTo>
                  <a:pt x="448" y="2008"/>
                  <a:pt x="442" y="2012"/>
                  <a:pt x="442" y="2020"/>
                </a:cubicBezTo>
                <a:cubicBezTo>
                  <a:pt x="442" y="2023"/>
                  <a:pt x="442" y="2025"/>
                  <a:pt x="442" y="2028"/>
                </a:cubicBezTo>
                <a:cubicBezTo>
                  <a:pt x="443" y="2030"/>
                  <a:pt x="443" y="2033"/>
                  <a:pt x="443" y="2035"/>
                </a:cubicBezTo>
                <a:cubicBezTo>
                  <a:pt x="443" y="2037"/>
                  <a:pt x="442" y="2041"/>
                  <a:pt x="437" y="2041"/>
                </a:cubicBezTo>
                <a:close/>
                <a:moveTo>
                  <a:pt x="491" y="2049"/>
                </a:moveTo>
                <a:cubicBezTo>
                  <a:pt x="491" y="2049"/>
                  <a:pt x="491" y="2049"/>
                  <a:pt x="491" y="2049"/>
                </a:cubicBezTo>
                <a:cubicBezTo>
                  <a:pt x="491" y="2041"/>
                  <a:pt x="491" y="2041"/>
                  <a:pt x="491" y="2041"/>
                </a:cubicBezTo>
                <a:cubicBezTo>
                  <a:pt x="485" y="2041"/>
                  <a:pt x="485" y="2037"/>
                  <a:pt x="485" y="2035"/>
                </a:cubicBezTo>
                <a:cubicBezTo>
                  <a:pt x="485" y="2033"/>
                  <a:pt x="485" y="2030"/>
                  <a:pt x="485" y="2028"/>
                </a:cubicBezTo>
                <a:cubicBezTo>
                  <a:pt x="485" y="2025"/>
                  <a:pt x="485" y="2023"/>
                  <a:pt x="485" y="2020"/>
                </a:cubicBezTo>
                <a:cubicBezTo>
                  <a:pt x="485" y="2012"/>
                  <a:pt x="480" y="2008"/>
                  <a:pt x="471" y="2008"/>
                </a:cubicBezTo>
                <a:cubicBezTo>
                  <a:pt x="471" y="2008"/>
                  <a:pt x="471" y="2008"/>
                  <a:pt x="467" y="2008"/>
                </a:cubicBezTo>
                <a:cubicBezTo>
                  <a:pt x="467" y="2008"/>
                  <a:pt x="467" y="2008"/>
                  <a:pt x="467" y="2017"/>
                </a:cubicBezTo>
                <a:cubicBezTo>
                  <a:pt x="467" y="2017"/>
                  <a:pt x="467" y="2017"/>
                  <a:pt x="468" y="2017"/>
                </a:cubicBezTo>
                <a:cubicBezTo>
                  <a:pt x="472" y="2017"/>
                  <a:pt x="474" y="2019"/>
                  <a:pt x="474" y="2023"/>
                </a:cubicBezTo>
                <a:cubicBezTo>
                  <a:pt x="474" y="2024"/>
                  <a:pt x="473" y="2026"/>
                  <a:pt x="473" y="2028"/>
                </a:cubicBezTo>
                <a:cubicBezTo>
                  <a:pt x="473" y="2029"/>
                  <a:pt x="473" y="2031"/>
                  <a:pt x="473" y="2034"/>
                </a:cubicBezTo>
                <a:cubicBezTo>
                  <a:pt x="473" y="2041"/>
                  <a:pt x="476" y="2044"/>
                  <a:pt x="482" y="2045"/>
                </a:cubicBezTo>
                <a:cubicBezTo>
                  <a:pt x="482" y="2045"/>
                  <a:pt x="482" y="2045"/>
                  <a:pt x="482" y="2045"/>
                </a:cubicBezTo>
                <a:cubicBezTo>
                  <a:pt x="476" y="2046"/>
                  <a:pt x="473" y="2049"/>
                  <a:pt x="473" y="2056"/>
                </a:cubicBezTo>
                <a:cubicBezTo>
                  <a:pt x="473" y="2059"/>
                  <a:pt x="473" y="2061"/>
                  <a:pt x="473" y="2062"/>
                </a:cubicBezTo>
                <a:cubicBezTo>
                  <a:pt x="473" y="2064"/>
                  <a:pt x="474" y="2066"/>
                  <a:pt x="474" y="2067"/>
                </a:cubicBezTo>
                <a:cubicBezTo>
                  <a:pt x="474" y="2071"/>
                  <a:pt x="473" y="2073"/>
                  <a:pt x="468" y="2073"/>
                </a:cubicBezTo>
                <a:cubicBezTo>
                  <a:pt x="468" y="2073"/>
                  <a:pt x="468" y="2073"/>
                  <a:pt x="467" y="2073"/>
                </a:cubicBezTo>
                <a:cubicBezTo>
                  <a:pt x="467" y="2073"/>
                  <a:pt x="467" y="2073"/>
                  <a:pt x="467" y="2082"/>
                </a:cubicBezTo>
                <a:cubicBezTo>
                  <a:pt x="467" y="2082"/>
                  <a:pt x="467" y="2082"/>
                  <a:pt x="471" y="2082"/>
                </a:cubicBezTo>
                <a:cubicBezTo>
                  <a:pt x="480" y="2082"/>
                  <a:pt x="485" y="2079"/>
                  <a:pt x="485" y="2069"/>
                </a:cubicBezTo>
                <a:cubicBezTo>
                  <a:pt x="485" y="2067"/>
                  <a:pt x="485" y="2065"/>
                  <a:pt x="485" y="2062"/>
                </a:cubicBezTo>
                <a:cubicBezTo>
                  <a:pt x="485" y="2060"/>
                  <a:pt x="485" y="2057"/>
                  <a:pt x="485" y="2055"/>
                </a:cubicBezTo>
                <a:cubicBezTo>
                  <a:pt x="485" y="2053"/>
                  <a:pt x="485" y="2050"/>
                  <a:pt x="491" y="2049"/>
                </a:cubicBezTo>
                <a:close/>
                <a:moveTo>
                  <a:pt x="538" y="2009"/>
                </a:moveTo>
                <a:cubicBezTo>
                  <a:pt x="538" y="2009"/>
                  <a:pt x="538" y="2009"/>
                  <a:pt x="538" y="2009"/>
                </a:cubicBezTo>
                <a:cubicBezTo>
                  <a:pt x="533" y="2009"/>
                  <a:pt x="533" y="2009"/>
                  <a:pt x="533" y="2009"/>
                </a:cubicBezTo>
                <a:cubicBezTo>
                  <a:pt x="531" y="2010"/>
                  <a:pt x="529" y="2012"/>
                  <a:pt x="527" y="2012"/>
                </a:cubicBezTo>
                <a:cubicBezTo>
                  <a:pt x="526" y="2014"/>
                  <a:pt x="523" y="2014"/>
                  <a:pt x="522" y="2015"/>
                </a:cubicBezTo>
                <a:cubicBezTo>
                  <a:pt x="520" y="2016"/>
                  <a:pt x="518" y="2017"/>
                  <a:pt x="517" y="2017"/>
                </a:cubicBezTo>
                <a:cubicBezTo>
                  <a:pt x="515" y="2018"/>
                  <a:pt x="513" y="2019"/>
                  <a:pt x="511" y="2020"/>
                </a:cubicBezTo>
                <a:cubicBezTo>
                  <a:pt x="511" y="2020"/>
                  <a:pt x="511" y="2020"/>
                  <a:pt x="511" y="2030"/>
                </a:cubicBezTo>
                <a:cubicBezTo>
                  <a:pt x="514" y="2029"/>
                  <a:pt x="517" y="2028"/>
                  <a:pt x="519" y="2027"/>
                </a:cubicBezTo>
                <a:cubicBezTo>
                  <a:pt x="522" y="2026"/>
                  <a:pt x="524" y="2025"/>
                  <a:pt x="526" y="2023"/>
                </a:cubicBezTo>
                <a:cubicBezTo>
                  <a:pt x="526" y="2023"/>
                  <a:pt x="526" y="2023"/>
                  <a:pt x="526" y="2082"/>
                </a:cubicBezTo>
                <a:cubicBezTo>
                  <a:pt x="526" y="2082"/>
                  <a:pt x="526" y="2082"/>
                  <a:pt x="538" y="2082"/>
                </a:cubicBezTo>
                <a:cubicBezTo>
                  <a:pt x="538" y="2082"/>
                  <a:pt x="538" y="2082"/>
                  <a:pt x="538" y="2009"/>
                </a:cubicBezTo>
                <a:close/>
                <a:moveTo>
                  <a:pt x="584" y="2009"/>
                </a:moveTo>
                <a:cubicBezTo>
                  <a:pt x="584" y="2009"/>
                  <a:pt x="584" y="2009"/>
                  <a:pt x="584" y="2009"/>
                </a:cubicBezTo>
                <a:cubicBezTo>
                  <a:pt x="579" y="2009"/>
                  <a:pt x="579" y="2009"/>
                  <a:pt x="579" y="2009"/>
                </a:cubicBezTo>
                <a:cubicBezTo>
                  <a:pt x="577" y="2010"/>
                  <a:pt x="576" y="2012"/>
                  <a:pt x="574" y="2012"/>
                </a:cubicBezTo>
                <a:cubicBezTo>
                  <a:pt x="572" y="2014"/>
                  <a:pt x="570" y="2014"/>
                  <a:pt x="569" y="2015"/>
                </a:cubicBezTo>
                <a:cubicBezTo>
                  <a:pt x="567" y="2017"/>
                  <a:pt x="565" y="2017"/>
                  <a:pt x="563" y="2018"/>
                </a:cubicBezTo>
                <a:cubicBezTo>
                  <a:pt x="561" y="2019"/>
                  <a:pt x="560" y="2020"/>
                  <a:pt x="558" y="2020"/>
                </a:cubicBezTo>
                <a:cubicBezTo>
                  <a:pt x="558" y="2020"/>
                  <a:pt x="558" y="2020"/>
                  <a:pt x="558" y="2030"/>
                </a:cubicBezTo>
                <a:cubicBezTo>
                  <a:pt x="561" y="2029"/>
                  <a:pt x="563" y="2028"/>
                  <a:pt x="566" y="2027"/>
                </a:cubicBezTo>
                <a:cubicBezTo>
                  <a:pt x="569" y="2026"/>
                  <a:pt x="571" y="2025"/>
                  <a:pt x="573" y="2023"/>
                </a:cubicBezTo>
                <a:cubicBezTo>
                  <a:pt x="573" y="2023"/>
                  <a:pt x="573" y="2023"/>
                  <a:pt x="573" y="2082"/>
                </a:cubicBezTo>
                <a:cubicBezTo>
                  <a:pt x="573" y="2082"/>
                  <a:pt x="573" y="2082"/>
                  <a:pt x="584" y="2082"/>
                </a:cubicBezTo>
                <a:cubicBezTo>
                  <a:pt x="584" y="2082"/>
                  <a:pt x="584" y="2082"/>
                  <a:pt x="584" y="2009"/>
                </a:cubicBezTo>
                <a:close/>
                <a:moveTo>
                  <a:pt x="630" y="2009"/>
                </a:moveTo>
                <a:cubicBezTo>
                  <a:pt x="630" y="2009"/>
                  <a:pt x="630" y="2009"/>
                  <a:pt x="630" y="2009"/>
                </a:cubicBezTo>
                <a:cubicBezTo>
                  <a:pt x="626" y="2009"/>
                  <a:pt x="626" y="2009"/>
                  <a:pt x="626" y="2009"/>
                </a:cubicBezTo>
                <a:cubicBezTo>
                  <a:pt x="624" y="2010"/>
                  <a:pt x="622" y="2012"/>
                  <a:pt x="620" y="2012"/>
                </a:cubicBezTo>
                <a:cubicBezTo>
                  <a:pt x="619" y="2014"/>
                  <a:pt x="616" y="2014"/>
                  <a:pt x="615" y="2015"/>
                </a:cubicBezTo>
                <a:cubicBezTo>
                  <a:pt x="613" y="2017"/>
                  <a:pt x="611" y="2017"/>
                  <a:pt x="609" y="2018"/>
                </a:cubicBezTo>
                <a:cubicBezTo>
                  <a:pt x="608" y="2019"/>
                  <a:pt x="606" y="2020"/>
                  <a:pt x="604" y="2020"/>
                </a:cubicBezTo>
                <a:cubicBezTo>
                  <a:pt x="604" y="2020"/>
                  <a:pt x="604" y="2020"/>
                  <a:pt x="604" y="2030"/>
                </a:cubicBezTo>
                <a:cubicBezTo>
                  <a:pt x="607" y="2029"/>
                  <a:pt x="610" y="2028"/>
                  <a:pt x="612" y="2027"/>
                </a:cubicBezTo>
                <a:cubicBezTo>
                  <a:pt x="614" y="2026"/>
                  <a:pt x="617" y="2025"/>
                  <a:pt x="619" y="2023"/>
                </a:cubicBezTo>
                <a:cubicBezTo>
                  <a:pt x="619" y="2023"/>
                  <a:pt x="619" y="2023"/>
                  <a:pt x="619" y="2082"/>
                </a:cubicBezTo>
                <a:cubicBezTo>
                  <a:pt x="619" y="2082"/>
                  <a:pt x="619" y="2082"/>
                  <a:pt x="630" y="2082"/>
                </a:cubicBezTo>
                <a:cubicBezTo>
                  <a:pt x="630" y="2082"/>
                  <a:pt x="630" y="2082"/>
                  <a:pt x="630" y="2009"/>
                </a:cubicBezTo>
                <a:close/>
                <a:moveTo>
                  <a:pt x="380" y="2056"/>
                </a:moveTo>
                <a:cubicBezTo>
                  <a:pt x="380" y="2058"/>
                  <a:pt x="381" y="2059"/>
                  <a:pt x="382" y="2060"/>
                </a:cubicBezTo>
                <a:cubicBezTo>
                  <a:pt x="382" y="2062"/>
                  <a:pt x="382" y="2064"/>
                  <a:pt x="383" y="2065"/>
                </a:cubicBezTo>
                <a:cubicBezTo>
                  <a:pt x="383" y="2067"/>
                  <a:pt x="383" y="2069"/>
                  <a:pt x="383" y="2070"/>
                </a:cubicBezTo>
                <a:cubicBezTo>
                  <a:pt x="384" y="2073"/>
                  <a:pt x="383" y="2075"/>
                  <a:pt x="380" y="2075"/>
                </a:cubicBezTo>
                <a:cubicBezTo>
                  <a:pt x="377" y="2075"/>
                  <a:pt x="374" y="2075"/>
                  <a:pt x="371" y="2075"/>
                </a:cubicBezTo>
                <a:cubicBezTo>
                  <a:pt x="371" y="2075"/>
                  <a:pt x="370" y="2075"/>
                  <a:pt x="370" y="2075"/>
                </a:cubicBezTo>
                <a:cubicBezTo>
                  <a:pt x="368" y="2077"/>
                  <a:pt x="367" y="2078"/>
                  <a:pt x="366" y="2079"/>
                </a:cubicBezTo>
                <a:cubicBezTo>
                  <a:pt x="364" y="2082"/>
                  <a:pt x="360" y="2082"/>
                  <a:pt x="358" y="2080"/>
                </a:cubicBezTo>
                <a:cubicBezTo>
                  <a:pt x="356" y="2078"/>
                  <a:pt x="355" y="2075"/>
                  <a:pt x="353" y="2073"/>
                </a:cubicBezTo>
                <a:cubicBezTo>
                  <a:pt x="353" y="2071"/>
                  <a:pt x="353" y="2069"/>
                  <a:pt x="355" y="2068"/>
                </a:cubicBezTo>
                <a:cubicBezTo>
                  <a:pt x="353" y="2068"/>
                  <a:pt x="351" y="2068"/>
                  <a:pt x="349" y="2068"/>
                </a:cubicBezTo>
                <a:cubicBezTo>
                  <a:pt x="349" y="2070"/>
                  <a:pt x="347" y="2072"/>
                  <a:pt x="347" y="2074"/>
                </a:cubicBezTo>
                <a:cubicBezTo>
                  <a:pt x="347" y="2075"/>
                  <a:pt x="346" y="2075"/>
                  <a:pt x="346" y="2076"/>
                </a:cubicBezTo>
                <a:cubicBezTo>
                  <a:pt x="346" y="2079"/>
                  <a:pt x="345" y="2081"/>
                  <a:pt x="342" y="2080"/>
                </a:cubicBezTo>
                <a:cubicBezTo>
                  <a:pt x="339" y="2080"/>
                  <a:pt x="336" y="2079"/>
                  <a:pt x="333" y="2078"/>
                </a:cubicBezTo>
                <a:cubicBezTo>
                  <a:pt x="331" y="2077"/>
                  <a:pt x="331" y="2076"/>
                  <a:pt x="331" y="2074"/>
                </a:cubicBezTo>
                <a:cubicBezTo>
                  <a:pt x="331" y="2073"/>
                  <a:pt x="331" y="2072"/>
                  <a:pt x="332" y="2072"/>
                </a:cubicBezTo>
                <a:cubicBezTo>
                  <a:pt x="329" y="2071"/>
                  <a:pt x="327" y="2070"/>
                  <a:pt x="325" y="2069"/>
                </a:cubicBezTo>
                <a:cubicBezTo>
                  <a:pt x="324" y="2068"/>
                  <a:pt x="323" y="2066"/>
                  <a:pt x="322" y="2064"/>
                </a:cubicBezTo>
                <a:cubicBezTo>
                  <a:pt x="321" y="2062"/>
                  <a:pt x="321" y="2061"/>
                  <a:pt x="323" y="2059"/>
                </a:cubicBezTo>
                <a:cubicBezTo>
                  <a:pt x="326" y="2057"/>
                  <a:pt x="327" y="2054"/>
                  <a:pt x="326" y="2050"/>
                </a:cubicBezTo>
                <a:cubicBezTo>
                  <a:pt x="326" y="2048"/>
                  <a:pt x="326" y="2046"/>
                  <a:pt x="326" y="2044"/>
                </a:cubicBezTo>
                <a:cubicBezTo>
                  <a:pt x="325" y="2043"/>
                  <a:pt x="323" y="2043"/>
                  <a:pt x="322" y="2042"/>
                </a:cubicBezTo>
                <a:cubicBezTo>
                  <a:pt x="321" y="2040"/>
                  <a:pt x="320" y="2038"/>
                  <a:pt x="320" y="2036"/>
                </a:cubicBezTo>
                <a:cubicBezTo>
                  <a:pt x="320" y="2033"/>
                  <a:pt x="324" y="2031"/>
                  <a:pt x="326" y="2030"/>
                </a:cubicBezTo>
                <a:cubicBezTo>
                  <a:pt x="327" y="2031"/>
                  <a:pt x="327" y="2031"/>
                  <a:pt x="327" y="2032"/>
                </a:cubicBezTo>
                <a:cubicBezTo>
                  <a:pt x="327" y="2033"/>
                  <a:pt x="327" y="2034"/>
                  <a:pt x="327" y="2035"/>
                </a:cubicBezTo>
                <a:cubicBezTo>
                  <a:pt x="327" y="2035"/>
                  <a:pt x="326" y="2035"/>
                  <a:pt x="326" y="2035"/>
                </a:cubicBezTo>
                <a:cubicBezTo>
                  <a:pt x="326" y="2036"/>
                  <a:pt x="325" y="2037"/>
                  <a:pt x="324" y="2039"/>
                </a:cubicBezTo>
                <a:cubicBezTo>
                  <a:pt x="326" y="2039"/>
                  <a:pt x="326" y="2039"/>
                  <a:pt x="327" y="2039"/>
                </a:cubicBezTo>
                <a:cubicBezTo>
                  <a:pt x="328" y="2037"/>
                  <a:pt x="329" y="2037"/>
                  <a:pt x="329" y="2035"/>
                </a:cubicBezTo>
                <a:cubicBezTo>
                  <a:pt x="334" y="2029"/>
                  <a:pt x="340" y="2025"/>
                  <a:pt x="347" y="2023"/>
                </a:cubicBezTo>
                <a:cubicBezTo>
                  <a:pt x="351" y="2023"/>
                  <a:pt x="354" y="2022"/>
                  <a:pt x="356" y="2019"/>
                </a:cubicBezTo>
                <a:cubicBezTo>
                  <a:pt x="356" y="2018"/>
                  <a:pt x="357" y="2018"/>
                  <a:pt x="357" y="2018"/>
                </a:cubicBezTo>
                <a:cubicBezTo>
                  <a:pt x="360" y="2018"/>
                  <a:pt x="362" y="2015"/>
                  <a:pt x="364" y="2013"/>
                </a:cubicBezTo>
                <a:cubicBezTo>
                  <a:pt x="371" y="2006"/>
                  <a:pt x="383" y="2005"/>
                  <a:pt x="391" y="2012"/>
                </a:cubicBezTo>
                <a:cubicBezTo>
                  <a:pt x="393" y="2014"/>
                  <a:pt x="396" y="2016"/>
                  <a:pt x="398" y="2018"/>
                </a:cubicBezTo>
                <a:cubicBezTo>
                  <a:pt x="400" y="2019"/>
                  <a:pt x="401" y="2021"/>
                  <a:pt x="402" y="2023"/>
                </a:cubicBezTo>
                <a:cubicBezTo>
                  <a:pt x="403" y="2024"/>
                  <a:pt x="404" y="2024"/>
                  <a:pt x="405" y="2023"/>
                </a:cubicBezTo>
                <a:cubicBezTo>
                  <a:pt x="406" y="2023"/>
                  <a:pt x="406" y="2022"/>
                  <a:pt x="407" y="2021"/>
                </a:cubicBezTo>
                <a:cubicBezTo>
                  <a:pt x="409" y="2018"/>
                  <a:pt x="412" y="2018"/>
                  <a:pt x="413" y="2022"/>
                </a:cubicBezTo>
                <a:cubicBezTo>
                  <a:pt x="415" y="2025"/>
                  <a:pt x="415" y="2027"/>
                  <a:pt x="416" y="2031"/>
                </a:cubicBezTo>
                <a:cubicBezTo>
                  <a:pt x="416" y="2035"/>
                  <a:pt x="416" y="2039"/>
                  <a:pt x="415" y="2044"/>
                </a:cubicBezTo>
                <a:cubicBezTo>
                  <a:pt x="412" y="2050"/>
                  <a:pt x="407" y="2054"/>
                  <a:pt x="401" y="2054"/>
                </a:cubicBezTo>
                <a:cubicBezTo>
                  <a:pt x="400" y="2054"/>
                  <a:pt x="400" y="2054"/>
                  <a:pt x="399" y="2054"/>
                </a:cubicBezTo>
                <a:cubicBezTo>
                  <a:pt x="396" y="2053"/>
                  <a:pt x="395" y="2054"/>
                  <a:pt x="395" y="2056"/>
                </a:cubicBezTo>
                <a:cubicBezTo>
                  <a:pt x="393" y="2060"/>
                  <a:pt x="387" y="2062"/>
                  <a:pt x="384" y="2059"/>
                </a:cubicBezTo>
                <a:cubicBezTo>
                  <a:pt x="383" y="2058"/>
                  <a:pt x="382" y="2057"/>
                  <a:pt x="381" y="2056"/>
                </a:cubicBezTo>
                <a:cubicBezTo>
                  <a:pt x="380" y="2056"/>
                  <a:pt x="380" y="2056"/>
                  <a:pt x="380" y="2056"/>
                </a:cubicBezTo>
                <a:close/>
                <a:moveTo>
                  <a:pt x="375" y="2052"/>
                </a:moveTo>
                <a:cubicBezTo>
                  <a:pt x="378" y="2053"/>
                  <a:pt x="382" y="2054"/>
                  <a:pt x="384" y="2057"/>
                </a:cubicBezTo>
                <a:cubicBezTo>
                  <a:pt x="386" y="2059"/>
                  <a:pt x="388" y="2060"/>
                  <a:pt x="390" y="2059"/>
                </a:cubicBezTo>
                <a:cubicBezTo>
                  <a:pt x="393" y="2058"/>
                  <a:pt x="394" y="2056"/>
                  <a:pt x="394" y="2053"/>
                </a:cubicBezTo>
                <a:cubicBezTo>
                  <a:pt x="394" y="2053"/>
                  <a:pt x="393" y="2053"/>
                  <a:pt x="393" y="2054"/>
                </a:cubicBezTo>
                <a:cubicBezTo>
                  <a:pt x="393" y="2055"/>
                  <a:pt x="391" y="2056"/>
                  <a:pt x="391" y="2057"/>
                </a:cubicBezTo>
                <a:cubicBezTo>
                  <a:pt x="389" y="2058"/>
                  <a:pt x="388" y="2058"/>
                  <a:pt x="387" y="2058"/>
                </a:cubicBezTo>
                <a:cubicBezTo>
                  <a:pt x="387" y="2058"/>
                  <a:pt x="386" y="2056"/>
                  <a:pt x="386" y="2056"/>
                </a:cubicBezTo>
                <a:cubicBezTo>
                  <a:pt x="386" y="2053"/>
                  <a:pt x="387" y="2051"/>
                  <a:pt x="387" y="2049"/>
                </a:cubicBezTo>
                <a:cubicBezTo>
                  <a:pt x="390" y="2050"/>
                  <a:pt x="393" y="2051"/>
                  <a:pt x="397" y="2052"/>
                </a:cubicBezTo>
                <a:cubicBezTo>
                  <a:pt x="404" y="2053"/>
                  <a:pt x="410" y="2051"/>
                  <a:pt x="413" y="2043"/>
                </a:cubicBezTo>
                <a:cubicBezTo>
                  <a:pt x="415" y="2038"/>
                  <a:pt x="415" y="2033"/>
                  <a:pt x="414" y="2028"/>
                </a:cubicBezTo>
                <a:cubicBezTo>
                  <a:pt x="413" y="2026"/>
                  <a:pt x="413" y="2024"/>
                  <a:pt x="412" y="2022"/>
                </a:cubicBezTo>
                <a:cubicBezTo>
                  <a:pt x="411" y="2021"/>
                  <a:pt x="410" y="2020"/>
                  <a:pt x="409" y="2022"/>
                </a:cubicBezTo>
                <a:cubicBezTo>
                  <a:pt x="407" y="2024"/>
                  <a:pt x="406" y="2025"/>
                  <a:pt x="404" y="2026"/>
                </a:cubicBezTo>
                <a:cubicBezTo>
                  <a:pt x="403" y="2026"/>
                  <a:pt x="402" y="2027"/>
                  <a:pt x="402" y="2028"/>
                </a:cubicBezTo>
                <a:cubicBezTo>
                  <a:pt x="403" y="2031"/>
                  <a:pt x="402" y="2035"/>
                  <a:pt x="401" y="2038"/>
                </a:cubicBezTo>
                <a:cubicBezTo>
                  <a:pt x="401" y="2036"/>
                  <a:pt x="402" y="2034"/>
                  <a:pt x="402" y="2032"/>
                </a:cubicBezTo>
                <a:cubicBezTo>
                  <a:pt x="402" y="2031"/>
                  <a:pt x="401" y="2031"/>
                  <a:pt x="401" y="2031"/>
                </a:cubicBezTo>
                <a:cubicBezTo>
                  <a:pt x="400" y="2031"/>
                  <a:pt x="400" y="2031"/>
                  <a:pt x="400" y="2031"/>
                </a:cubicBezTo>
                <a:cubicBezTo>
                  <a:pt x="399" y="2033"/>
                  <a:pt x="398" y="2034"/>
                  <a:pt x="397" y="2035"/>
                </a:cubicBezTo>
                <a:cubicBezTo>
                  <a:pt x="397" y="2035"/>
                  <a:pt x="397" y="2035"/>
                  <a:pt x="397" y="2035"/>
                </a:cubicBezTo>
                <a:cubicBezTo>
                  <a:pt x="397" y="2034"/>
                  <a:pt x="398" y="2032"/>
                  <a:pt x="398" y="2030"/>
                </a:cubicBezTo>
                <a:cubicBezTo>
                  <a:pt x="397" y="2031"/>
                  <a:pt x="396" y="2031"/>
                  <a:pt x="396" y="2032"/>
                </a:cubicBezTo>
                <a:cubicBezTo>
                  <a:pt x="395" y="2032"/>
                  <a:pt x="395" y="2033"/>
                  <a:pt x="395" y="2034"/>
                </a:cubicBezTo>
                <a:cubicBezTo>
                  <a:pt x="395" y="2030"/>
                  <a:pt x="395" y="2030"/>
                  <a:pt x="401" y="2029"/>
                </a:cubicBezTo>
                <a:cubicBezTo>
                  <a:pt x="401" y="2029"/>
                  <a:pt x="400" y="2028"/>
                  <a:pt x="400" y="2028"/>
                </a:cubicBezTo>
                <a:cubicBezTo>
                  <a:pt x="397" y="2029"/>
                  <a:pt x="396" y="2027"/>
                  <a:pt x="396" y="2025"/>
                </a:cubicBezTo>
                <a:cubicBezTo>
                  <a:pt x="398" y="2024"/>
                  <a:pt x="399" y="2024"/>
                  <a:pt x="401" y="2024"/>
                </a:cubicBezTo>
                <a:cubicBezTo>
                  <a:pt x="399" y="2021"/>
                  <a:pt x="398" y="2018"/>
                  <a:pt x="395" y="2018"/>
                </a:cubicBezTo>
                <a:cubicBezTo>
                  <a:pt x="394" y="2018"/>
                  <a:pt x="394" y="2018"/>
                  <a:pt x="394" y="2017"/>
                </a:cubicBezTo>
                <a:cubicBezTo>
                  <a:pt x="391" y="2015"/>
                  <a:pt x="389" y="2013"/>
                  <a:pt x="386" y="2011"/>
                </a:cubicBezTo>
                <a:cubicBezTo>
                  <a:pt x="384" y="2010"/>
                  <a:pt x="381" y="2009"/>
                  <a:pt x="379" y="2009"/>
                </a:cubicBezTo>
                <a:cubicBezTo>
                  <a:pt x="376" y="2009"/>
                  <a:pt x="373" y="2010"/>
                  <a:pt x="369" y="2011"/>
                </a:cubicBezTo>
                <a:cubicBezTo>
                  <a:pt x="367" y="2012"/>
                  <a:pt x="364" y="2014"/>
                  <a:pt x="362" y="2017"/>
                </a:cubicBezTo>
                <a:cubicBezTo>
                  <a:pt x="364" y="2017"/>
                  <a:pt x="365" y="2017"/>
                  <a:pt x="366" y="2017"/>
                </a:cubicBezTo>
                <a:cubicBezTo>
                  <a:pt x="366" y="2018"/>
                  <a:pt x="365" y="2018"/>
                  <a:pt x="364" y="2018"/>
                </a:cubicBezTo>
                <a:cubicBezTo>
                  <a:pt x="362" y="2019"/>
                  <a:pt x="359" y="2018"/>
                  <a:pt x="357" y="2020"/>
                </a:cubicBezTo>
                <a:cubicBezTo>
                  <a:pt x="354" y="2024"/>
                  <a:pt x="350" y="2028"/>
                  <a:pt x="346" y="2032"/>
                </a:cubicBezTo>
                <a:cubicBezTo>
                  <a:pt x="345" y="2034"/>
                  <a:pt x="344" y="2037"/>
                  <a:pt x="343" y="2039"/>
                </a:cubicBezTo>
                <a:cubicBezTo>
                  <a:pt x="343" y="2039"/>
                  <a:pt x="343" y="2040"/>
                  <a:pt x="343" y="2041"/>
                </a:cubicBezTo>
                <a:cubicBezTo>
                  <a:pt x="344" y="2043"/>
                  <a:pt x="346" y="2045"/>
                  <a:pt x="347" y="2046"/>
                </a:cubicBezTo>
                <a:cubicBezTo>
                  <a:pt x="348" y="2045"/>
                  <a:pt x="349" y="2043"/>
                  <a:pt x="351" y="2042"/>
                </a:cubicBezTo>
                <a:cubicBezTo>
                  <a:pt x="350" y="2043"/>
                  <a:pt x="350" y="2045"/>
                  <a:pt x="349" y="2046"/>
                </a:cubicBezTo>
                <a:cubicBezTo>
                  <a:pt x="348" y="2047"/>
                  <a:pt x="347" y="2048"/>
                  <a:pt x="347" y="2050"/>
                </a:cubicBezTo>
                <a:cubicBezTo>
                  <a:pt x="347" y="2051"/>
                  <a:pt x="347" y="2052"/>
                  <a:pt x="347" y="2053"/>
                </a:cubicBezTo>
                <a:cubicBezTo>
                  <a:pt x="350" y="2056"/>
                  <a:pt x="353" y="2056"/>
                  <a:pt x="357" y="2054"/>
                </a:cubicBezTo>
                <a:cubicBezTo>
                  <a:pt x="359" y="2053"/>
                  <a:pt x="362" y="2052"/>
                  <a:pt x="365" y="2051"/>
                </a:cubicBezTo>
                <a:cubicBezTo>
                  <a:pt x="366" y="2050"/>
                  <a:pt x="367" y="2050"/>
                  <a:pt x="367" y="2048"/>
                </a:cubicBezTo>
                <a:cubicBezTo>
                  <a:pt x="367" y="2045"/>
                  <a:pt x="367" y="2041"/>
                  <a:pt x="367" y="2038"/>
                </a:cubicBezTo>
                <a:cubicBezTo>
                  <a:pt x="367" y="2035"/>
                  <a:pt x="367" y="2032"/>
                  <a:pt x="367" y="2029"/>
                </a:cubicBezTo>
                <a:cubicBezTo>
                  <a:pt x="368" y="2032"/>
                  <a:pt x="369" y="2035"/>
                  <a:pt x="369" y="2037"/>
                </a:cubicBezTo>
                <a:cubicBezTo>
                  <a:pt x="370" y="2042"/>
                  <a:pt x="370" y="2046"/>
                  <a:pt x="369" y="2050"/>
                </a:cubicBezTo>
                <a:cubicBezTo>
                  <a:pt x="368" y="2051"/>
                  <a:pt x="367" y="2052"/>
                  <a:pt x="367" y="2052"/>
                </a:cubicBezTo>
                <a:cubicBezTo>
                  <a:pt x="364" y="2052"/>
                  <a:pt x="360" y="2054"/>
                  <a:pt x="357" y="2056"/>
                </a:cubicBezTo>
                <a:cubicBezTo>
                  <a:pt x="352" y="2059"/>
                  <a:pt x="349" y="2057"/>
                  <a:pt x="345" y="2053"/>
                </a:cubicBezTo>
                <a:cubicBezTo>
                  <a:pt x="345" y="2053"/>
                  <a:pt x="345" y="2052"/>
                  <a:pt x="345" y="2051"/>
                </a:cubicBezTo>
                <a:cubicBezTo>
                  <a:pt x="346" y="2049"/>
                  <a:pt x="345" y="2047"/>
                  <a:pt x="344" y="2045"/>
                </a:cubicBezTo>
                <a:cubicBezTo>
                  <a:pt x="342" y="2043"/>
                  <a:pt x="340" y="2041"/>
                  <a:pt x="342" y="2038"/>
                </a:cubicBezTo>
                <a:cubicBezTo>
                  <a:pt x="342" y="2036"/>
                  <a:pt x="343" y="2034"/>
                  <a:pt x="344" y="2033"/>
                </a:cubicBezTo>
                <a:cubicBezTo>
                  <a:pt x="346" y="2030"/>
                  <a:pt x="348" y="2027"/>
                  <a:pt x="350" y="2025"/>
                </a:cubicBezTo>
                <a:cubicBezTo>
                  <a:pt x="350" y="2025"/>
                  <a:pt x="349" y="2025"/>
                  <a:pt x="349" y="2025"/>
                </a:cubicBezTo>
                <a:cubicBezTo>
                  <a:pt x="344" y="2026"/>
                  <a:pt x="340" y="2027"/>
                  <a:pt x="336" y="2031"/>
                </a:cubicBezTo>
                <a:cubicBezTo>
                  <a:pt x="331" y="2035"/>
                  <a:pt x="328" y="2040"/>
                  <a:pt x="328" y="2047"/>
                </a:cubicBezTo>
                <a:cubicBezTo>
                  <a:pt x="327" y="2054"/>
                  <a:pt x="330" y="2060"/>
                  <a:pt x="333" y="2065"/>
                </a:cubicBezTo>
                <a:cubicBezTo>
                  <a:pt x="334" y="2066"/>
                  <a:pt x="335" y="2068"/>
                  <a:pt x="334" y="2069"/>
                </a:cubicBezTo>
                <a:cubicBezTo>
                  <a:pt x="334" y="2071"/>
                  <a:pt x="334" y="2072"/>
                  <a:pt x="333" y="2073"/>
                </a:cubicBezTo>
                <a:cubicBezTo>
                  <a:pt x="333" y="2075"/>
                  <a:pt x="333" y="2076"/>
                  <a:pt x="334" y="2077"/>
                </a:cubicBezTo>
                <a:cubicBezTo>
                  <a:pt x="337" y="2077"/>
                  <a:pt x="340" y="2078"/>
                  <a:pt x="343" y="2078"/>
                </a:cubicBezTo>
                <a:cubicBezTo>
                  <a:pt x="344" y="2078"/>
                  <a:pt x="344" y="2077"/>
                  <a:pt x="344" y="2077"/>
                </a:cubicBezTo>
                <a:cubicBezTo>
                  <a:pt x="345" y="2076"/>
                  <a:pt x="345" y="2074"/>
                  <a:pt x="346" y="2073"/>
                </a:cubicBezTo>
                <a:cubicBezTo>
                  <a:pt x="347" y="2071"/>
                  <a:pt x="347" y="2068"/>
                  <a:pt x="347" y="2065"/>
                </a:cubicBezTo>
                <a:cubicBezTo>
                  <a:pt x="347" y="2065"/>
                  <a:pt x="347" y="2065"/>
                  <a:pt x="347" y="2064"/>
                </a:cubicBezTo>
                <a:cubicBezTo>
                  <a:pt x="347" y="2064"/>
                  <a:pt x="347" y="2064"/>
                  <a:pt x="347" y="2064"/>
                </a:cubicBezTo>
                <a:cubicBezTo>
                  <a:pt x="348" y="2066"/>
                  <a:pt x="349" y="2066"/>
                  <a:pt x="351" y="2066"/>
                </a:cubicBezTo>
                <a:cubicBezTo>
                  <a:pt x="352" y="2066"/>
                  <a:pt x="353" y="2066"/>
                  <a:pt x="354" y="2066"/>
                </a:cubicBezTo>
                <a:cubicBezTo>
                  <a:pt x="356" y="2066"/>
                  <a:pt x="360" y="2067"/>
                  <a:pt x="360" y="2063"/>
                </a:cubicBezTo>
                <a:cubicBezTo>
                  <a:pt x="360" y="2065"/>
                  <a:pt x="360" y="2067"/>
                  <a:pt x="360" y="2067"/>
                </a:cubicBezTo>
                <a:cubicBezTo>
                  <a:pt x="359" y="2068"/>
                  <a:pt x="358" y="2069"/>
                  <a:pt x="356" y="2069"/>
                </a:cubicBezTo>
                <a:cubicBezTo>
                  <a:pt x="355" y="2070"/>
                  <a:pt x="355" y="2072"/>
                  <a:pt x="355" y="2073"/>
                </a:cubicBezTo>
                <a:cubicBezTo>
                  <a:pt x="356" y="2075"/>
                  <a:pt x="358" y="2077"/>
                  <a:pt x="359" y="2079"/>
                </a:cubicBezTo>
                <a:cubicBezTo>
                  <a:pt x="361" y="2080"/>
                  <a:pt x="363" y="2080"/>
                  <a:pt x="364" y="2078"/>
                </a:cubicBezTo>
                <a:cubicBezTo>
                  <a:pt x="365" y="2077"/>
                  <a:pt x="366" y="2077"/>
                  <a:pt x="366" y="2076"/>
                </a:cubicBezTo>
                <a:cubicBezTo>
                  <a:pt x="368" y="2075"/>
                  <a:pt x="369" y="2073"/>
                  <a:pt x="371" y="2072"/>
                </a:cubicBezTo>
                <a:cubicBezTo>
                  <a:pt x="375" y="2068"/>
                  <a:pt x="377" y="2062"/>
                  <a:pt x="379" y="2056"/>
                </a:cubicBezTo>
                <a:cubicBezTo>
                  <a:pt x="379" y="2056"/>
                  <a:pt x="378" y="2055"/>
                  <a:pt x="378" y="2054"/>
                </a:cubicBezTo>
                <a:cubicBezTo>
                  <a:pt x="377" y="2053"/>
                  <a:pt x="376" y="2052"/>
                  <a:pt x="375" y="2052"/>
                </a:cubicBezTo>
                <a:close/>
                <a:moveTo>
                  <a:pt x="327" y="2058"/>
                </a:moveTo>
                <a:cubicBezTo>
                  <a:pt x="327" y="2059"/>
                  <a:pt x="325" y="2060"/>
                  <a:pt x="324" y="2061"/>
                </a:cubicBezTo>
                <a:cubicBezTo>
                  <a:pt x="324" y="2061"/>
                  <a:pt x="323" y="2062"/>
                  <a:pt x="323" y="2063"/>
                </a:cubicBezTo>
                <a:cubicBezTo>
                  <a:pt x="323" y="2065"/>
                  <a:pt x="327" y="2070"/>
                  <a:pt x="331" y="2069"/>
                </a:cubicBezTo>
                <a:cubicBezTo>
                  <a:pt x="332" y="2069"/>
                  <a:pt x="333" y="2068"/>
                  <a:pt x="332" y="2067"/>
                </a:cubicBezTo>
                <a:cubicBezTo>
                  <a:pt x="331" y="2064"/>
                  <a:pt x="329" y="2061"/>
                  <a:pt x="327" y="2058"/>
                </a:cubicBezTo>
                <a:close/>
                <a:moveTo>
                  <a:pt x="380" y="2060"/>
                </a:moveTo>
                <a:cubicBezTo>
                  <a:pt x="378" y="2065"/>
                  <a:pt x="375" y="2069"/>
                  <a:pt x="373" y="2073"/>
                </a:cubicBezTo>
                <a:cubicBezTo>
                  <a:pt x="376" y="2073"/>
                  <a:pt x="378" y="2074"/>
                  <a:pt x="381" y="2073"/>
                </a:cubicBezTo>
                <a:cubicBezTo>
                  <a:pt x="381" y="2073"/>
                  <a:pt x="382" y="2072"/>
                  <a:pt x="382" y="2072"/>
                </a:cubicBezTo>
                <a:cubicBezTo>
                  <a:pt x="382" y="2069"/>
                  <a:pt x="382" y="2067"/>
                  <a:pt x="381" y="2064"/>
                </a:cubicBezTo>
                <a:cubicBezTo>
                  <a:pt x="381" y="2063"/>
                  <a:pt x="380" y="2062"/>
                  <a:pt x="380" y="2060"/>
                </a:cubicBezTo>
                <a:close/>
                <a:moveTo>
                  <a:pt x="327" y="2040"/>
                </a:moveTo>
                <a:cubicBezTo>
                  <a:pt x="327" y="2040"/>
                  <a:pt x="326" y="2041"/>
                  <a:pt x="326" y="2041"/>
                </a:cubicBezTo>
                <a:cubicBezTo>
                  <a:pt x="325" y="2041"/>
                  <a:pt x="324" y="2041"/>
                  <a:pt x="324" y="2040"/>
                </a:cubicBezTo>
                <a:cubicBezTo>
                  <a:pt x="324" y="2040"/>
                  <a:pt x="323" y="2039"/>
                  <a:pt x="323" y="2038"/>
                </a:cubicBezTo>
                <a:cubicBezTo>
                  <a:pt x="324" y="2036"/>
                  <a:pt x="324" y="2034"/>
                  <a:pt x="325" y="2032"/>
                </a:cubicBezTo>
                <a:cubicBezTo>
                  <a:pt x="325" y="2032"/>
                  <a:pt x="325" y="2032"/>
                  <a:pt x="324" y="2032"/>
                </a:cubicBezTo>
                <a:cubicBezTo>
                  <a:pt x="324" y="2033"/>
                  <a:pt x="322" y="2034"/>
                  <a:pt x="322" y="2035"/>
                </a:cubicBezTo>
                <a:cubicBezTo>
                  <a:pt x="321" y="2036"/>
                  <a:pt x="322" y="2041"/>
                  <a:pt x="324" y="2042"/>
                </a:cubicBezTo>
                <a:cubicBezTo>
                  <a:pt x="326" y="2043"/>
                  <a:pt x="327" y="2042"/>
                  <a:pt x="327" y="2040"/>
                </a:cubicBezTo>
                <a:close/>
                <a:moveTo>
                  <a:pt x="327" y="2058"/>
                </a:moveTo>
                <a:cubicBezTo>
                  <a:pt x="327" y="2058"/>
                  <a:pt x="325" y="2059"/>
                  <a:pt x="324" y="2060"/>
                </a:cubicBezTo>
                <a:cubicBezTo>
                  <a:pt x="323" y="2061"/>
                  <a:pt x="323" y="2062"/>
                  <a:pt x="323" y="2062"/>
                </a:cubicBezTo>
                <a:cubicBezTo>
                  <a:pt x="323" y="2065"/>
                  <a:pt x="327" y="2070"/>
                  <a:pt x="331" y="2069"/>
                </a:cubicBezTo>
                <a:cubicBezTo>
                  <a:pt x="332" y="2069"/>
                  <a:pt x="333" y="2068"/>
                  <a:pt x="332" y="2066"/>
                </a:cubicBezTo>
                <a:cubicBezTo>
                  <a:pt x="331" y="2063"/>
                  <a:pt x="329" y="2060"/>
                  <a:pt x="327" y="2058"/>
                </a:cubicBezTo>
                <a:close/>
                <a:moveTo>
                  <a:pt x="380" y="2060"/>
                </a:moveTo>
                <a:cubicBezTo>
                  <a:pt x="378" y="2064"/>
                  <a:pt x="375" y="2069"/>
                  <a:pt x="373" y="2073"/>
                </a:cubicBezTo>
                <a:cubicBezTo>
                  <a:pt x="376" y="2073"/>
                  <a:pt x="378" y="2073"/>
                  <a:pt x="381" y="2073"/>
                </a:cubicBezTo>
                <a:cubicBezTo>
                  <a:pt x="381" y="2073"/>
                  <a:pt x="381" y="2072"/>
                  <a:pt x="381" y="2071"/>
                </a:cubicBezTo>
                <a:cubicBezTo>
                  <a:pt x="381" y="2069"/>
                  <a:pt x="381" y="2066"/>
                  <a:pt x="381" y="2064"/>
                </a:cubicBezTo>
                <a:cubicBezTo>
                  <a:pt x="381" y="2062"/>
                  <a:pt x="380" y="2061"/>
                  <a:pt x="380" y="2060"/>
                </a:cubicBezTo>
                <a:close/>
                <a:moveTo>
                  <a:pt x="327" y="2040"/>
                </a:moveTo>
                <a:cubicBezTo>
                  <a:pt x="326" y="2040"/>
                  <a:pt x="326" y="2040"/>
                  <a:pt x="325" y="2040"/>
                </a:cubicBezTo>
                <a:cubicBezTo>
                  <a:pt x="324" y="2040"/>
                  <a:pt x="324" y="2040"/>
                  <a:pt x="324" y="2040"/>
                </a:cubicBezTo>
                <a:cubicBezTo>
                  <a:pt x="323" y="2040"/>
                  <a:pt x="323" y="2039"/>
                  <a:pt x="323" y="2038"/>
                </a:cubicBezTo>
                <a:cubicBezTo>
                  <a:pt x="324" y="2036"/>
                  <a:pt x="324" y="2034"/>
                  <a:pt x="325" y="2032"/>
                </a:cubicBezTo>
                <a:cubicBezTo>
                  <a:pt x="324" y="2032"/>
                  <a:pt x="324" y="2032"/>
                  <a:pt x="324" y="2032"/>
                </a:cubicBezTo>
                <a:cubicBezTo>
                  <a:pt x="323" y="2033"/>
                  <a:pt x="322" y="2034"/>
                  <a:pt x="321" y="2035"/>
                </a:cubicBezTo>
                <a:cubicBezTo>
                  <a:pt x="320" y="2036"/>
                  <a:pt x="322" y="2041"/>
                  <a:pt x="324" y="2042"/>
                </a:cubicBezTo>
                <a:cubicBezTo>
                  <a:pt x="325" y="2043"/>
                  <a:pt x="327" y="2042"/>
                  <a:pt x="327" y="2040"/>
                </a:cubicBezTo>
                <a:close/>
                <a:moveTo>
                  <a:pt x="380" y="2031"/>
                </a:moveTo>
                <a:cubicBezTo>
                  <a:pt x="383" y="2028"/>
                  <a:pt x="383" y="2028"/>
                  <a:pt x="386" y="2026"/>
                </a:cubicBezTo>
                <a:cubicBezTo>
                  <a:pt x="386" y="2028"/>
                  <a:pt x="388" y="2030"/>
                  <a:pt x="389" y="2030"/>
                </a:cubicBezTo>
                <a:cubicBezTo>
                  <a:pt x="387" y="2031"/>
                  <a:pt x="385" y="2032"/>
                  <a:pt x="383" y="2034"/>
                </a:cubicBezTo>
                <a:cubicBezTo>
                  <a:pt x="382" y="2033"/>
                  <a:pt x="382" y="2032"/>
                  <a:pt x="381" y="2031"/>
                </a:cubicBezTo>
                <a:cubicBezTo>
                  <a:pt x="381" y="2031"/>
                  <a:pt x="380" y="2031"/>
                  <a:pt x="380" y="2031"/>
                </a:cubicBezTo>
                <a:close/>
                <a:moveTo>
                  <a:pt x="385" y="2031"/>
                </a:moveTo>
                <a:cubicBezTo>
                  <a:pt x="385" y="2030"/>
                  <a:pt x="384" y="2030"/>
                  <a:pt x="383" y="2030"/>
                </a:cubicBezTo>
                <a:cubicBezTo>
                  <a:pt x="383" y="2030"/>
                  <a:pt x="382" y="2031"/>
                  <a:pt x="382" y="2031"/>
                </a:cubicBezTo>
                <a:cubicBezTo>
                  <a:pt x="382" y="2032"/>
                  <a:pt x="383" y="2032"/>
                  <a:pt x="383" y="2032"/>
                </a:cubicBezTo>
                <a:cubicBezTo>
                  <a:pt x="384" y="2032"/>
                  <a:pt x="384" y="2032"/>
                  <a:pt x="385" y="2031"/>
                </a:cubicBezTo>
                <a:close/>
                <a:moveTo>
                  <a:pt x="367" y="2021"/>
                </a:moveTo>
                <a:cubicBezTo>
                  <a:pt x="360" y="2021"/>
                  <a:pt x="357" y="2023"/>
                  <a:pt x="356" y="2031"/>
                </a:cubicBezTo>
                <a:cubicBezTo>
                  <a:pt x="357" y="2029"/>
                  <a:pt x="358" y="2026"/>
                  <a:pt x="360" y="2024"/>
                </a:cubicBezTo>
                <a:cubicBezTo>
                  <a:pt x="360" y="2024"/>
                  <a:pt x="360" y="2024"/>
                  <a:pt x="360" y="2024"/>
                </a:cubicBezTo>
                <a:cubicBezTo>
                  <a:pt x="360" y="2025"/>
                  <a:pt x="360" y="2026"/>
                  <a:pt x="360" y="2027"/>
                </a:cubicBezTo>
                <a:cubicBezTo>
                  <a:pt x="361" y="2024"/>
                  <a:pt x="363" y="2022"/>
                  <a:pt x="367" y="2021"/>
                </a:cubicBezTo>
                <a:close/>
                <a:moveTo>
                  <a:pt x="410" y="2023"/>
                </a:moveTo>
                <a:cubicBezTo>
                  <a:pt x="408" y="2024"/>
                  <a:pt x="406" y="2026"/>
                  <a:pt x="404" y="2027"/>
                </a:cubicBezTo>
                <a:cubicBezTo>
                  <a:pt x="407" y="2027"/>
                  <a:pt x="409" y="2026"/>
                  <a:pt x="410" y="2023"/>
                </a:cubicBezTo>
                <a:close/>
                <a:moveTo>
                  <a:pt x="377" y="2025"/>
                </a:moveTo>
                <a:cubicBezTo>
                  <a:pt x="378" y="2024"/>
                  <a:pt x="379" y="2022"/>
                  <a:pt x="380" y="2021"/>
                </a:cubicBezTo>
                <a:cubicBezTo>
                  <a:pt x="377" y="2022"/>
                  <a:pt x="376" y="2023"/>
                  <a:pt x="377" y="2025"/>
                </a:cubicBezTo>
                <a:close/>
                <a:moveTo>
                  <a:pt x="387" y="2046"/>
                </a:moveTo>
                <a:cubicBezTo>
                  <a:pt x="385" y="2047"/>
                  <a:pt x="384" y="2048"/>
                  <a:pt x="384" y="2049"/>
                </a:cubicBezTo>
                <a:cubicBezTo>
                  <a:pt x="385" y="2048"/>
                  <a:pt x="386" y="2047"/>
                  <a:pt x="387" y="2046"/>
                </a:cubicBezTo>
                <a:close/>
                <a:moveTo>
                  <a:pt x="385" y="2031"/>
                </a:moveTo>
                <a:cubicBezTo>
                  <a:pt x="385" y="2031"/>
                  <a:pt x="384" y="2030"/>
                  <a:pt x="383" y="2030"/>
                </a:cubicBezTo>
                <a:cubicBezTo>
                  <a:pt x="383" y="2030"/>
                  <a:pt x="382" y="2031"/>
                  <a:pt x="382" y="2031"/>
                </a:cubicBezTo>
                <a:cubicBezTo>
                  <a:pt x="382" y="2032"/>
                  <a:pt x="383" y="2032"/>
                  <a:pt x="383" y="2033"/>
                </a:cubicBezTo>
                <a:cubicBezTo>
                  <a:pt x="384" y="2032"/>
                  <a:pt x="384" y="2032"/>
                  <a:pt x="385" y="2031"/>
                </a:cubicBezTo>
                <a:close/>
                <a:moveTo>
                  <a:pt x="676" y="2009"/>
                </a:moveTo>
                <a:cubicBezTo>
                  <a:pt x="676" y="2009"/>
                  <a:pt x="676" y="2009"/>
                  <a:pt x="676" y="2009"/>
                </a:cubicBezTo>
                <a:cubicBezTo>
                  <a:pt x="671" y="2009"/>
                  <a:pt x="671" y="2009"/>
                  <a:pt x="671" y="2009"/>
                </a:cubicBezTo>
                <a:cubicBezTo>
                  <a:pt x="669" y="2010"/>
                  <a:pt x="668" y="2012"/>
                  <a:pt x="666" y="2012"/>
                </a:cubicBezTo>
                <a:cubicBezTo>
                  <a:pt x="664" y="2014"/>
                  <a:pt x="662" y="2014"/>
                  <a:pt x="661" y="2015"/>
                </a:cubicBezTo>
                <a:cubicBezTo>
                  <a:pt x="658" y="2017"/>
                  <a:pt x="657" y="2017"/>
                  <a:pt x="655" y="2018"/>
                </a:cubicBezTo>
                <a:cubicBezTo>
                  <a:pt x="653" y="2019"/>
                  <a:pt x="651" y="2020"/>
                  <a:pt x="650" y="2020"/>
                </a:cubicBezTo>
                <a:cubicBezTo>
                  <a:pt x="650" y="2020"/>
                  <a:pt x="650" y="2020"/>
                  <a:pt x="650" y="2030"/>
                </a:cubicBezTo>
                <a:cubicBezTo>
                  <a:pt x="653" y="2029"/>
                  <a:pt x="656" y="2028"/>
                  <a:pt x="658" y="2027"/>
                </a:cubicBezTo>
                <a:cubicBezTo>
                  <a:pt x="660" y="2026"/>
                  <a:pt x="663" y="2025"/>
                  <a:pt x="664" y="2023"/>
                </a:cubicBezTo>
                <a:cubicBezTo>
                  <a:pt x="664" y="2023"/>
                  <a:pt x="664" y="2023"/>
                  <a:pt x="664" y="2082"/>
                </a:cubicBezTo>
                <a:cubicBezTo>
                  <a:pt x="664" y="2082"/>
                  <a:pt x="664" y="2082"/>
                  <a:pt x="676" y="2082"/>
                </a:cubicBezTo>
                <a:cubicBezTo>
                  <a:pt x="676" y="2082"/>
                  <a:pt x="676" y="2082"/>
                  <a:pt x="676" y="2009"/>
                </a:cubicBezTo>
                <a:close/>
                <a:moveTo>
                  <a:pt x="798" y="2009"/>
                </a:moveTo>
                <a:cubicBezTo>
                  <a:pt x="798" y="2009"/>
                  <a:pt x="798" y="2009"/>
                  <a:pt x="798" y="2009"/>
                </a:cubicBezTo>
                <a:cubicBezTo>
                  <a:pt x="792" y="2009"/>
                  <a:pt x="792" y="2009"/>
                  <a:pt x="792" y="2009"/>
                </a:cubicBezTo>
                <a:cubicBezTo>
                  <a:pt x="790" y="2010"/>
                  <a:pt x="789" y="2012"/>
                  <a:pt x="787" y="2012"/>
                </a:cubicBezTo>
                <a:cubicBezTo>
                  <a:pt x="785" y="2014"/>
                  <a:pt x="784" y="2014"/>
                  <a:pt x="781" y="2015"/>
                </a:cubicBezTo>
                <a:cubicBezTo>
                  <a:pt x="780" y="2017"/>
                  <a:pt x="778" y="2017"/>
                  <a:pt x="776" y="2018"/>
                </a:cubicBezTo>
                <a:cubicBezTo>
                  <a:pt x="774" y="2019"/>
                  <a:pt x="772" y="2020"/>
                  <a:pt x="770" y="2020"/>
                </a:cubicBezTo>
                <a:cubicBezTo>
                  <a:pt x="770" y="2020"/>
                  <a:pt x="770" y="2020"/>
                  <a:pt x="770" y="2030"/>
                </a:cubicBezTo>
                <a:cubicBezTo>
                  <a:pt x="773" y="2029"/>
                  <a:pt x="776" y="2028"/>
                  <a:pt x="779" y="2027"/>
                </a:cubicBezTo>
                <a:cubicBezTo>
                  <a:pt x="781" y="2026"/>
                  <a:pt x="784" y="2025"/>
                  <a:pt x="786" y="2023"/>
                </a:cubicBezTo>
                <a:cubicBezTo>
                  <a:pt x="786" y="2023"/>
                  <a:pt x="786" y="2023"/>
                  <a:pt x="786" y="2082"/>
                </a:cubicBezTo>
                <a:cubicBezTo>
                  <a:pt x="786" y="2082"/>
                  <a:pt x="786" y="2082"/>
                  <a:pt x="798" y="2082"/>
                </a:cubicBezTo>
                <a:cubicBezTo>
                  <a:pt x="798" y="2082"/>
                  <a:pt x="798" y="2082"/>
                  <a:pt x="798" y="2009"/>
                </a:cubicBezTo>
                <a:close/>
                <a:moveTo>
                  <a:pt x="844" y="2009"/>
                </a:moveTo>
                <a:cubicBezTo>
                  <a:pt x="844" y="2009"/>
                  <a:pt x="844" y="2009"/>
                  <a:pt x="844" y="2009"/>
                </a:cubicBezTo>
                <a:cubicBezTo>
                  <a:pt x="839" y="2009"/>
                  <a:pt x="839" y="2009"/>
                  <a:pt x="839" y="2009"/>
                </a:cubicBezTo>
                <a:cubicBezTo>
                  <a:pt x="837" y="2010"/>
                  <a:pt x="835" y="2012"/>
                  <a:pt x="833" y="2012"/>
                </a:cubicBezTo>
                <a:cubicBezTo>
                  <a:pt x="832" y="2014"/>
                  <a:pt x="830" y="2014"/>
                  <a:pt x="828" y="2015"/>
                </a:cubicBezTo>
                <a:cubicBezTo>
                  <a:pt x="827" y="2017"/>
                  <a:pt x="825" y="2017"/>
                  <a:pt x="823" y="2018"/>
                </a:cubicBezTo>
                <a:cubicBezTo>
                  <a:pt x="821" y="2019"/>
                  <a:pt x="819" y="2020"/>
                  <a:pt x="817" y="2020"/>
                </a:cubicBezTo>
                <a:cubicBezTo>
                  <a:pt x="817" y="2020"/>
                  <a:pt x="817" y="2020"/>
                  <a:pt x="817" y="2030"/>
                </a:cubicBezTo>
                <a:cubicBezTo>
                  <a:pt x="820" y="2029"/>
                  <a:pt x="823" y="2028"/>
                  <a:pt x="825" y="2027"/>
                </a:cubicBezTo>
                <a:cubicBezTo>
                  <a:pt x="828" y="2026"/>
                  <a:pt x="830" y="2025"/>
                  <a:pt x="833" y="2023"/>
                </a:cubicBezTo>
                <a:cubicBezTo>
                  <a:pt x="833" y="2023"/>
                  <a:pt x="833" y="2023"/>
                  <a:pt x="833" y="2082"/>
                </a:cubicBezTo>
                <a:cubicBezTo>
                  <a:pt x="833" y="2082"/>
                  <a:pt x="833" y="2082"/>
                  <a:pt x="844" y="2082"/>
                </a:cubicBezTo>
                <a:cubicBezTo>
                  <a:pt x="844" y="2082"/>
                  <a:pt x="844" y="2082"/>
                  <a:pt x="844" y="2009"/>
                </a:cubicBezTo>
                <a:close/>
                <a:moveTo>
                  <a:pt x="890" y="2009"/>
                </a:moveTo>
                <a:cubicBezTo>
                  <a:pt x="890" y="2009"/>
                  <a:pt x="890" y="2009"/>
                  <a:pt x="890" y="2009"/>
                </a:cubicBezTo>
                <a:cubicBezTo>
                  <a:pt x="886" y="2009"/>
                  <a:pt x="886" y="2009"/>
                  <a:pt x="886" y="2009"/>
                </a:cubicBezTo>
                <a:cubicBezTo>
                  <a:pt x="884" y="2010"/>
                  <a:pt x="882" y="2012"/>
                  <a:pt x="880" y="2012"/>
                </a:cubicBezTo>
                <a:cubicBezTo>
                  <a:pt x="879" y="2014"/>
                  <a:pt x="876" y="2014"/>
                  <a:pt x="875" y="2015"/>
                </a:cubicBezTo>
                <a:cubicBezTo>
                  <a:pt x="873" y="2016"/>
                  <a:pt x="871" y="2017"/>
                  <a:pt x="869" y="2017"/>
                </a:cubicBezTo>
                <a:cubicBezTo>
                  <a:pt x="868" y="2018"/>
                  <a:pt x="865" y="2019"/>
                  <a:pt x="864" y="2020"/>
                </a:cubicBezTo>
                <a:cubicBezTo>
                  <a:pt x="864" y="2020"/>
                  <a:pt x="864" y="2020"/>
                  <a:pt x="864" y="2030"/>
                </a:cubicBezTo>
                <a:cubicBezTo>
                  <a:pt x="867" y="2029"/>
                  <a:pt x="870" y="2028"/>
                  <a:pt x="872" y="2027"/>
                </a:cubicBezTo>
                <a:cubicBezTo>
                  <a:pt x="874" y="2026"/>
                  <a:pt x="877" y="2025"/>
                  <a:pt x="879" y="2023"/>
                </a:cubicBezTo>
                <a:cubicBezTo>
                  <a:pt x="879" y="2023"/>
                  <a:pt x="879" y="2023"/>
                  <a:pt x="879" y="2082"/>
                </a:cubicBezTo>
                <a:cubicBezTo>
                  <a:pt x="879" y="2082"/>
                  <a:pt x="879" y="2082"/>
                  <a:pt x="890" y="2082"/>
                </a:cubicBezTo>
                <a:cubicBezTo>
                  <a:pt x="890" y="2082"/>
                  <a:pt x="890" y="2082"/>
                  <a:pt x="890" y="2009"/>
                </a:cubicBezTo>
                <a:close/>
                <a:moveTo>
                  <a:pt x="696" y="2041"/>
                </a:moveTo>
                <a:cubicBezTo>
                  <a:pt x="696" y="2041"/>
                  <a:pt x="696" y="2041"/>
                  <a:pt x="696" y="2041"/>
                </a:cubicBezTo>
                <a:cubicBezTo>
                  <a:pt x="696" y="2049"/>
                  <a:pt x="696" y="2049"/>
                  <a:pt x="696" y="2049"/>
                </a:cubicBezTo>
                <a:cubicBezTo>
                  <a:pt x="702" y="2050"/>
                  <a:pt x="703" y="2053"/>
                  <a:pt x="703" y="2055"/>
                </a:cubicBezTo>
                <a:cubicBezTo>
                  <a:pt x="703" y="2057"/>
                  <a:pt x="702" y="2060"/>
                  <a:pt x="702" y="2062"/>
                </a:cubicBezTo>
                <a:cubicBezTo>
                  <a:pt x="702" y="2065"/>
                  <a:pt x="702" y="2067"/>
                  <a:pt x="702" y="2069"/>
                </a:cubicBezTo>
                <a:cubicBezTo>
                  <a:pt x="702" y="2079"/>
                  <a:pt x="708" y="2082"/>
                  <a:pt x="716" y="2082"/>
                </a:cubicBezTo>
                <a:cubicBezTo>
                  <a:pt x="716" y="2082"/>
                  <a:pt x="716" y="2082"/>
                  <a:pt x="720" y="2082"/>
                </a:cubicBezTo>
                <a:cubicBezTo>
                  <a:pt x="720" y="2082"/>
                  <a:pt x="720" y="2082"/>
                  <a:pt x="720" y="2073"/>
                </a:cubicBezTo>
                <a:cubicBezTo>
                  <a:pt x="720" y="2073"/>
                  <a:pt x="720" y="2073"/>
                  <a:pt x="718" y="2073"/>
                </a:cubicBezTo>
                <a:cubicBezTo>
                  <a:pt x="715" y="2073"/>
                  <a:pt x="714" y="2071"/>
                  <a:pt x="714" y="2067"/>
                </a:cubicBezTo>
                <a:cubicBezTo>
                  <a:pt x="714" y="2066"/>
                  <a:pt x="714" y="2064"/>
                  <a:pt x="714" y="2062"/>
                </a:cubicBezTo>
                <a:cubicBezTo>
                  <a:pt x="714" y="2061"/>
                  <a:pt x="714" y="2059"/>
                  <a:pt x="714" y="2056"/>
                </a:cubicBezTo>
                <a:cubicBezTo>
                  <a:pt x="714" y="2049"/>
                  <a:pt x="711" y="2046"/>
                  <a:pt x="706" y="2045"/>
                </a:cubicBezTo>
                <a:cubicBezTo>
                  <a:pt x="706" y="2045"/>
                  <a:pt x="706" y="2045"/>
                  <a:pt x="706" y="2045"/>
                </a:cubicBezTo>
                <a:cubicBezTo>
                  <a:pt x="711" y="2044"/>
                  <a:pt x="714" y="2041"/>
                  <a:pt x="714" y="2034"/>
                </a:cubicBezTo>
                <a:cubicBezTo>
                  <a:pt x="714" y="2031"/>
                  <a:pt x="714" y="2029"/>
                  <a:pt x="714" y="2028"/>
                </a:cubicBezTo>
                <a:cubicBezTo>
                  <a:pt x="714" y="2026"/>
                  <a:pt x="714" y="2024"/>
                  <a:pt x="714" y="2023"/>
                </a:cubicBezTo>
                <a:cubicBezTo>
                  <a:pt x="714" y="2019"/>
                  <a:pt x="715" y="2017"/>
                  <a:pt x="718" y="2017"/>
                </a:cubicBezTo>
                <a:cubicBezTo>
                  <a:pt x="718" y="2017"/>
                  <a:pt x="718" y="2017"/>
                  <a:pt x="720" y="2017"/>
                </a:cubicBezTo>
                <a:cubicBezTo>
                  <a:pt x="720" y="2017"/>
                  <a:pt x="720" y="2017"/>
                  <a:pt x="720" y="2008"/>
                </a:cubicBezTo>
                <a:cubicBezTo>
                  <a:pt x="720" y="2008"/>
                  <a:pt x="720" y="2008"/>
                  <a:pt x="716" y="2008"/>
                </a:cubicBezTo>
                <a:cubicBezTo>
                  <a:pt x="707" y="2008"/>
                  <a:pt x="702" y="2012"/>
                  <a:pt x="702" y="2020"/>
                </a:cubicBezTo>
                <a:cubicBezTo>
                  <a:pt x="702" y="2023"/>
                  <a:pt x="702" y="2025"/>
                  <a:pt x="702" y="2028"/>
                </a:cubicBezTo>
                <a:cubicBezTo>
                  <a:pt x="702" y="2030"/>
                  <a:pt x="703" y="2033"/>
                  <a:pt x="703" y="2035"/>
                </a:cubicBezTo>
                <a:cubicBezTo>
                  <a:pt x="703" y="2037"/>
                  <a:pt x="702" y="2041"/>
                  <a:pt x="696" y="2041"/>
                </a:cubicBezTo>
                <a:close/>
                <a:moveTo>
                  <a:pt x="751" y="2049"/>
                </a:moveTo>
                <a:cubicBezTo>
                  <a:pt x="751" y="2049"/>
                  <a:pt x="751" y="2049"/>
                  <a:pt x="751" y="2049"/>
                </a:cubicBezTo>
                <a:cubicBezTo>
                  <a:pt x="751" y="2041"/>
                  <a:pt x="751" y="2041"/>
                  <a:pt x="751" y="2041"/>
                </a:cubicBezTo>
                <a:cubicBezTo>
                  <a:pt x="744" y="2041"/>
                  <a:pt x="744" y="2037"/>
                  <a:pt x="744" y="2035"/>
                </a:cubicBezTo>
                <a:cubicBezTo>
                  <a:pt x="744" y="2033"/>
                  <a:pt x="744" y="2030"/>
                  <a:pt x="744" y="2028"/>
                </a:cubicBezTo>
                <a:cubicBezTo>
                  <a:pt x="745" y="2025"/>
                  <a:pt x="745" y="2023"/>
                  <a:pt x="745" y="2020"/>
                </a:cubicBezTo>
                <a:cubicBezTo>
                  <a:pt x="745" y="2012"/>
                  <a:pt x="739" y="2008"/>
                  <a:pt x="730" y="2008"/>
                </a:cubicBezTo>
                <a:cubicBezTo>
                  <a:pt x="730" y="2008"/>
                  <a:pt x="730" y="2008"/>
                  <a:pt x="727" y="2008"/>
                </a:cubicBezTo>
                <a:cubicBezTo>
                  <a:pt x="727" y="2008"/>
                  <a:pt x="727" y="2008"/>
                  <a:pt x="727" y="2017"/>
                </a:cubicBezTo>
                <a:cubicBezTo>
                  <a:pt x="727" y="2017"/>
                  <a:pt x="727" y="2017"/>
                  <a:pt x="728" y="2017"/>
                </a:cubicBezTo>
                <a:cubicBezTo>
                  <a:pt x="732" y="2017"/>
                  <a:pt x="733" y="2019"/>
                  <a:pt x="733" y="2023"/>
                </a:cubicBezTo>
                <a:cubicBezTo>
                  <a:pt x="733" y="2024"/>
                  <a:pt x="733" y="2026"/>
                  <a:pt x="733" y="2028"/>
                </a:cubicBezTo>
                <a:cubicBezTo>
                  <a:pt x="732" y="2029"/>
                  <a:pt x="732" y="2031"/>
                  <a:pt x="732" y="2034"/>
                </a:cubicBezTo>
                <a:cubicBezTo>
                  <a:pt x="732" y="2041"/>
                  <a:pt x="735" y="2044"/>
                  <a:pt x="741" y="2045"/>
                </a:cubicBezTo>
                <a:cubicBezTo>
                  <a:pt x="741" y="2045"/>
                  <a:pt x="741" y="2045"/>
                  <a:pt x="741" y="2045"/>
                </a:cubicBezTo>
                <a:cubicBezTo>
                  <a:pt x="735" y="2046"/>
                  <a:pt x="732" y="2049"/>
                  <a:pt x="732" y="2056"/>
                </a:cubicBezTo>
                <a:cubicBezTo>
                  <a:pt x="732" y="2059"/>
                  <a:pt x="732" y="2061"/>
                  <a:pt x="733" y="2062"/>
                </a:cubicBezTo>
                <a:cubicBezTo>
                  <a:pt x="733" y="2064"/>
                  <a:pt x="733" y="2066"/>
                  <a:pt x="733" y="2067"/>
                </a:cubicBezTo>
                <a:cubicBezTo>
                  <a:pt x="733" y="2071"/>
                  <a:pt x="732" y="2073"/>
                  <a:pt x="728" y="2073"/>
                </a:cubicBezTo>
                <a:cubicBezTo>
                  <a:pt x="728" y="2073"/>
                  <a:pt x="728" y="2073"/>
                  <a:pt x="727" y="2073"/>
                </a:cubicBezTo>
                <a:cubicBezTo>
                  <a:pt x="727" y="2073"/>
                  <a:pt x="727" y="2073"/>
                  <a:pt x="727" y="2082"/>
                </a:cubicBezTo>
                <a:cubicBezTo>
                  <a:pt x="727" y="2082"/>
                  <a:pt x="727" y="2082"/>
                  <a:pt x="730" y="2082"/>
                </a:cubicBezTo>
                <a:cubicBezTo>
                  <a:pt x="739" y="2082"/>
                  <a:pt x="745" y="2079"/>
                  <a:pt x="745" y="2069"/>
                </a:cubicBezTo>
                <a:cubicBezTo>
                  <a:pt x="745" y="2067"/>
                  <a:pt x="745" y="2065"/>
                  <a:pt x="744" y="2062"/>
                </a:cubicBezTo>
                <a:cubicBezTo>
                  <a:pt x="744" y="2060"/>
                  <a:pt x="744" y="2057"/>
                  <a:pt x="744" y="2055"/>
                </a:cubicBezTo>
                <a:cubicBezTo>
                  <a:pt x="744" y="2053"/>
                  <a:pt x="744" y="2050"/>
                  <a:pt x="751" y="2049"/>
                </a:cubicBezTo>
                <a:close/>
                <a:moveTo>
                  <a:pt x="934" y="2082"/>
                </a:moveTo>
                <a:cubicBezTo>
                  <a:pt x="927" y="2082"/>
                  <a:pt x="920" y="2079"/>
                  <a:pt x="916" y="2073"/>
                </a:cubicBezTo>
                <a:cubicBezTo>
                  <a:pt x="912" y="2067"/>
                  <a:pt x="910" y="2058"/>
                  <a:pt x="910" y="2045"/>
                </a:cubicBezTo>
                <a:cubicBezTo>
                  <a:pt x="910" y="2032"/>
                  <a:pt x="912" y="2023"/>
                  <a:pt x="917" y="2016"/>
                </a:cubicBezTo>
                <a:cubicBezTo>
                  <a:pt x="921" y="2009"/>
                  <a:pt x="927" y="2006"/>
                  <a:pt x="936" y="2006"/>
                </a:cubicBezTo>
                <a:cubicBezTo>
                  <a:pt x="952" y="2006"/>
                  <a:pt x="960" y="2018"/>
                  <a:pt x="960" y="2044"/>
                </a:cubicBezTo>
                <a:cubicBezTo>
                  <a:pt x="960" y="2056"/>
                  <a:pt x="958" y="2066"/>
                  <a:pt x="953" y="2073"/>
                </a:cubicBezTo>
                <a:cubicBezTo>
                  <a:pt x="949" y="2079"/>
                  <a:pt x="942" y="2082"/>
                  <a:pt x="934" y="2082"/>
                </a:cubicBezTo>
                <a:close/>
                <a:moveTo>
                  <a:pt x="935" y="2015"/>
                </a:moveTo>
                <a:cubicBezTo>
                  <a:pt x="926" y="2015"/>
                  <a:pt x="922" y="2026"/>
                  <a:pt x="922" y="2045"/>
                </a:cubicBezTo>
                <a:cubicBezTo>
                  <a:pt x="922" y="2064"/>
                  <a:pt x="926" y="2073"/>
                  <a:pt x="935" y="2073"/>
                </a:cubicBezTo>
                <a:cubicBezTo>
                  <a:pt x="944" y="2073"/>
                  <a:pt x="948" y="2064"/>
                  <a:pt x="948" y="2045"/>
                </a:cubicBezTo>
                <a:cubicBezTo>
                  <a:pt x="948" y="2025"/>
                  <a:pt x="944" y="2015"/>
                  <a:pt x="935" y="2015"/>
                </a:cubicBezTo>
                <a:close/>
                <a:moveTo>
                  <a:pt x="1004" y="2082"/>
                </a:moveTo>
                <a:cubicBezTo>
                  <a:pt x="997" y="2082"/>
                  <a:pt x="990" y="2079"/>
                  <a:pt x="987" y="2073"/>
                </a:cubicBezTo>
                <a:cubicBezTo>
                  <a:pt x="982" y="2067"/>
                  <a:pt x="980" y="2058"/>
                  <a:pt x="980" y="2045"/>
                </a:cubicBezTo>
                <a:cubicBezTo>
                  <a:pt x="980" y="2032"/>
                  <a:pt x="982" y="2023"/>
                  <a:pt x="987" y="2016"/>
                </a:cubicBezTo>
                <a:cubicBezTo>
                  <a:pt x="991" y="2009"/>
                  <a:pt x="998" y="2006"/>
                  <a:pt x="1006" y="2006"/>
                </a:cubicBezTo>
                <a:cubicBezTo>
                  <a:pt x="1022" y="2006"/>
                  <a:pt x="1030" y="2018"/>
                  <a:pt x="1030" y="2044"/>
                </a:cubicBezTo>
                <a:cubicBezTo>
                  <a:pt x="1030" y="2056"/>
                  <a:pt x="1028" y="2066"/>
                  <a:pt x="1024" y="2073"/>
                </a:cubicBezTo>
                <a:cubicBezTo>
                  <a:pt x="1019" y="2079"/>
                  <a:pt x="1013" y="2082"/>
                  <a:pt x="1004" y="2082"/>
                </a:cubicBezTo>
                <a:close/>
                <a:moveTo>
                  <a:pt x="1006" y="2015"/>
                </a:moveTo>
                <a:cubicBezTo>
                  <a:pt x="997" y="2015"/>
                  <a:pt x="992" y="2026"/>
                  <a:pt x="992" y="2045"/>
                </a:cubicBezTo>
                <a:cubicBezTo>
                  <a:pt x="992" y="2064"/>
                  <a:pt x="996" y="2073"/>
                  <a:pt x="1005" y="2073"/>
                </a:cubicBezTo>
                <a:cubicBezTo>
                  <a:pt x="1014" y="2073"/>
                  <a:pt x="1018" y="2064"/>
                  <a:pt x="1018" y="2045"/>
                </a:cubicBezTo>
                <a:cubicBezTo>
                  <a:pt x="1018" y="2025"/>
                  <a:pt x="1014" y="2015"/>
                  <a:pt x="1006" y="2015"/>
                </a:cubicBezTo>
                <a:close/>
                <a:moveTo>
                  <a:pt x="1077" y="2009"/>
                </a:moveTo>
                <a:cubicBezTo>
                  <a:pt x="1077" y="2009"/>
                  <a:pt x="1077" y="2009"/>
                  <a:pt x="1077" y="2009"/>
                </a:cubicBezTo>
                <a:cubicBezTo>
                  <a:pt x="1072" y="2009"/>
                  <a:pt x="1072" y="2009"/>
                  <a:pt x="1072" y="2009"/>
                </a:cubicBezTo>
                <a:cubicBezTo>
                  <a:pt x="1070" y="2010"/>
                  <a:pt x="1069" y="2012"/>
                  <a:pt x="1066" y="2012"/>
                </a:cubicBezTo>
                <a:cubicBezTo>
                  <a:pt x="1065" y="2014"/>
                  <a:pt x="1063" y="2014"/>
                  <a:pt x="1061" y="2015"/>
                </a:cubicBezTo>
                <a:cubicBezTo>
                  <a:pt x="1060" y="2017"/>
                  <a:pt x="1057" y="2017"/>
                  <a:pt x="1056" y="2018"/>
                </a:cubicBezTo>
                <a:cubicBezTo>
                  <a:pt x="1054" y="2019"/>
                  <a:pt x="1052" y="2020"/>
                  <a:pt x="1050" y="2020"/>
                </a:cubicBezTo>
                <a:cubicBezTo>
                  <a:pt x="1050" y="2020"/>
                  <a:pt x="1050" y="2020"/>
                  <a:pt x="1050" y="2030"/>
                </a:cubicBezTo>
                <a:cubicBezTo>
                  <a:pt x="1053" y="2029"/>
                  <a:pt x="1056" y="2028"/>
                  <a:pt x="1059" y="2027"/>
                </a:cubicBezTo>
                <a:cubicBezTo>
                  <a:pt x="1061" y="2026"/>
                  <a:pt x="1063" y="2025"/>
                  <a:pt x="1066" y="2023"/>
                </a:cubicBezTo>
                <a:cubicBezTo>
                  <a:pt x="1066" y="2023"/>
                  <a:pt x="1066" y="2023"/>
                  <a:pt x="1066" y="2082"/>
                </a:cubicBezTo>
                <a:cubicBezTo>
                  <a:pt x="1066" y="2082"/>
                  <a:pt x="1066" y="2082"/>
                  <a:pt x="1077" y="2082"/>
                </a:cubicBezTo>
                <a:cubicBezTo>
                  <a:pt x="1077" y="2082"/>
                  <a:pt x="1077" y="2082"/>
                  <a:pt x="1077" y="2009"/>
                </a:cubicBezTo>
                <a:close/>
                <a:moveTo>
                  <a:pt x="1124" y="2009"/>
                </a:moveTo>
                <a:cubicBezTo>
                  <a:pt x="1124" y="2009"/>
                  <a:pt x="1124" y="2009"/>
                  <a:pt x="1124" y="2009"/>
                </a:cubicBezTo>
                <a:cubicBezTo>
                  <a:pt x="1119" y="2009"/>
                  <a:pt x="1119" y="2009"/>
                  <a:pt x="1119" y="2009"/>
                </a:cubicBezTo>
                <a:cubicBezTo>
                  <a:pt x="1117" y="2010"/>
                  <a:pt x="1115" y="2012"/>
                  <a:pt x="1113" y="2012"/>
                </a:cubicBezTo>
                <a:cubicBezTo>
                  <a:pt x="1112" y="2014"/>
                  <a:pt x="1109" y="2014"/>
                  <a:pt x="1108" y="2015"/>
                </a:cubicBezTo>
                <a:cubicBezTo>
                  <a:pt x="1107" y="2017"/>
                  <a:pt x="1104" y="2017"/>
                  <a:pt x="1103" y="2018"/>
                </a:cubicBezTo>
                <a:cubicBezTo>
                  <a:pt x="1101" y="2019"/>
                  <a:pt x="1099" y="2020"/>
                  <a:pt x="1097" y="2020"/>
                </a:cubicBezTo>
                <a:cubicBezTo>
                  <a:pt x="1097" y="2020"/>
                  <a:pt x="1097" y="2020"/>
                  <a:pt x="1097" y="2030"/>
                </a:cubicBezTo>
                <a:cubicBezTo>
                  <a:pt x="1100" y="2029"/>
                  <a:pt x="1103" y="2028"/>
                  <a:pt x="1105" y="2027"/>
                </a:cubicBezTo>
                <a:cubicBezTo>
                  <a:pt x="1108" y="2026"/>
                  <a:pt x="1110" y="2025"/>
                  <a:pt x="1112" y="2023"/>
                </a:cubicBezTo>
                <a:cubicBezTo>
                  <a:pt x="1112" y="2023"/>
                  <a:pt x="1112" y="2023"/>
                  <a:pt x="1112" y="2082"/>
                </a:cubicBezTo>
                <a:cubicBezTo>
                  <a:pt x="1112" y="2082"/>
                  <a:pt x="1112" y="2082"/>
                  <a:pt x="1124" y="2082"/>
                </a:cubicBezTo>
                <a:cubicBezTo>
                  <a:pt x="1124" y="2082"/>
                  <a:pt x="1124" y="2082"/>
                  <a:pt x="1124" y="2009"/>
                </a:cubicBezTo>
                <a:close/>
                <a:moveTo>
                  <a:pt x="1170" y="2009"/>
                </a:moveTo>
                <a:cubicBezTo>
                  <a:pt x="1170" y="2009"/>
                  <a:pt x="1170" y="2009"/>
                  <a:pt x="1170" y="2009"/>
                </a:cubicBezTo>
                <a:cubicBezTo>
                  <a:pt x="1166" y="2009"/>
                  <a:pt x="1166" y="2009"/>
                  <a:pt x="1166" y="2009"/>
                </a:cubicBezTo>
                <a:cubicBezTo>
                  <a:pt x="1164" y="2010"/>
                  <a:pt x="1162" y="2012"/>
                  <a:pt x="1160" y="2012"/>
                </a:cubicBezTo>
                <a:cubicBezTo>
                  <a:pt x="1159" y="2014"/>
                  <a:pt x="1156" y="2014"/>
                  <a:pt x="1155" y="2015"/>
                </a:cubicBezTo>
                <a:cubicBezTo>
                  <a:pt x="1153" y="2016"/>
                  <a:pt x="1151" y="2017"/>
                  <a:pt x="1149" y="2017"/>
                </a:cubicBezTo>
                <a:cubicBezTo>
                  <a:pt x="1148" y="2018"/>
                  <a:pt x="1146" y="2019"/>
                  <a:pt x="1144" y="2020"/>
                </a:cubicBezTo>
                <a:cubicBezTo>
                  <a:pt x="1144" y="2020"/>
                  <a:pt x="1144" y="2020"/>
                  <a:pt x="1144" y="2030"/>
                </a:cubicBezTo>
                <a:cubicBezTo>
                  <a:pt x="1147" y="2029"/>
                  <a:pt x="1150" y="2028"/>
                  <a:pt x="1152" y="2027"/>
                </a:cubicBezTo>
                <a:cubicBezTo>
                  <a:pt x="1154" y="2026"/>
                  <a:pt x="1157" y="2025"/>
                  <a:pt x="1159" y="2023"/>
                </a:cubicBezTo>
                <a:cubicBezTo>
                  <a:pt x="1159" y="2023"/>
                  <a:pt x="1159" y="2023"/>
                  <a:pt x="1159" y="2082"/>
                </a:cubicBezTo>
                <a:cubicBezTo>
                  <a:pt x="1159" y="2082"/>
                  <a:pt x="1159" y="2082"/>
                  <a:pt x="1170" y="2082"/>
                </a:cubicBezTo>
                <a:cubicBezTo>
                  <a:pt x="1170" y="2082"/>
                  <a:pt x="1170" y="2082"/>
                  <a:pt x="1170" y="2009"/>
                </a:cubicBezTo>
                <a:close/>
                <a:moveTo>
                  <a:pt x="979" y="1973"/>
                </a:moveTo>
                <a:cubicBezTo>
                  <a:pt x="972" y="1973"/>
                  <a:pt x="965" y="1970"/>
                  <a:pt x="961" y="1964"/>
                </a:cubicBezTo>
                <a:cubicBezTo>
                  <a:pt x="957" y="1958"/>
                  <a:pt x="955" y="1949"/>
                  <a:pt x="955" y="1937"/>
                </a:cubicBezTo>
                <a:cubicBezTo>
                  <a:pt x="955" y="1924"/>
                  <a:pt x="957" y="1914"/>
                  <a:pt x="962" y="1908"/>
                </a:cubicBezTo>
                <a:cubicBezTo>
                  <a:pt x="966" y="1901"/>
                  <a:pt x="973" y="1897"/>
                  <a:pt x="981" y="1897"/>
                </a:cubicBezTo>
                <a:cubicBezTo>
                  <a:pt x="997" y="1897"/>
                  <a:pt x="1005" y="1910"/>
                  <a:pt x="1005" y="1935"/>
                </a:cubicBezTo>
                <a:cubicBezTo>
                  <a:pt x="1005" y="1948"/>
                  <a:pt x="1003" y="1957"/>
                  <a:pt x="998" y="1964"/>
                </a:cubicBezTo>
                <a:cubicBezTo>
                  <a:pt x="994" y="1970"/>
                  <a:pt x="987" y="1973"/>
                  <a:pt x="979" y="1973"/>
                </a:cubicBezTo>
                <a:close/>
                <a:moveTo>
                  <a:pt x="981" y="1907"/>
                </a:moveTo>
                <a:cubicBezTo>
                  <a:pt x="971" y="1907"/>
                  <a:pt x="967" y="1917"/>
                  <a:pt x="967" y="1937"/>
                </a:cubicBezTo>
                <a:cubicBezTo>
                  <a:pt x="967" y="1955"/>
                  <a:pt x="971" y="1964"/>
                  <a:pt x="980" y="1964"/>
                </a:cubicBezTo>
                <a:cubicBezTo>
                  <a:pt x="989" y="1964"/>
                  <a:pt x="993" y="1955"/>
                  <a:pt x="993" y="1936"/>
                </a:cubicBezTo>
                <a:cubicBezTo>
                  <a:pt x="993" y="1916"/>
                  <a:pt x="989" y="1907"/>
                  <a:pt x="981" y="1907"/>
                </a:cubicBezTo>
                <a:close/>
                <a:moveTo>
                  <a:pt x="1053" y="1900"/>
                </a:moveTo>
                <a:cubicBezTo>
                  <a:pt x="1053" y="1900"/>
                  <a:pt x="1053" y="1900"/>
                  <a:pt x="1053" y="1900"/>
                </a:cubicBezTo>
                <a:cubicBezTo>
                  <a:pt x="1048" y="1900"/>
                  <a:pt x="1048" y="1900"/>
                  <a:pt x="1048" y="1900"/>
                </a:cubicBezTo>
                <a:cubicBezTo>
                  <a:pt x="1046" y="1901"/>
                  <a:pt x="1044" y="1903"/>
                  <a:pt x="1042" y="1903"/>
                </a:cubicBezTo>
                <a:cubicBezTo>
                  <a:pt x="1041" y="1905"/>
                  <a:pt x="1038" y="1906"/>
                  <a:pt x="1037" y="1906"/>
                </a:cubicBezTo>
                <a:cubicBezTo>
                  <a:pt x="1035" y="1907"/>
                  <a:pt x="1033" y="1908"/>
                  <a:pt x="1032" y="1908"/>
                </a:cubicBezTo>
                <a:cubicBezTo>
                  <a:pt x="1030" y="1909"/>
                  <a:pt x="1028" y="1910"/>
                  <a:pt x="1026" y="1911"/>
                </a:cubicBezTo>
                <a:cubicBezTo>
                  <a:pt x="1026" y="1911"/>
                  <a:pt x="1026" y="1911"/>
                  <a:pt x="1026" y="1921"/>
                </a:cubicBezTo>
                <a:cubicBezTo>
                  <a:pt x="1029" y="1920"/>
                  <a:pt x="1032" y="1919"/>
                  <a:pt x="1034" y="1918"/>
                </a:cubicBezTo>
                <a:cubicBezTo>
                  <a:pt x="1037" y="1917"/>
                  <a:pt x="1039" y="1916"/>
                  <a:pt x="1041" y="1914"/>
                </a:cubicBezTo>
                <a:cubicBezTo>
                  <a:pt x="1041" y="1914"/>
                  <a:pt x="1041" y="1914"/>
                  <a:pt x="1041" y="1973"/>
                </a:cubicBezTo>
                <a:cubicBezTo>
                  <a:pt x="1041" y="1973"/>
                  <a:pt x="1041" y="1973"/>
                  <a:pt x="1053" y="1973"/>
                </a:cubicBezTo>
                <a:cubicBezTo>
                  <a:pt x="1053" y="1973"/>
                  <a:pt x="1053" y="1973"/>
                  <a:pt x="1053" y="1900"/>
                </a:cubicBezTo>
                <a:close/>
                <a:moveTo>
                  <a:pt x="1100" y="1900"/>
                </a:moveTo>
                <a:cubicBezTo>
                  <a:pt x="1100" y="1900"/>
                  <a:pt x="1100" y="1900"/>
                  <a:pt x="1100" y="1900"/>
                </a:cubicBezTo>
                <a:cubicBezTo>
                  <a:pt x="1095" y="1900"/>
                  <a:pt x="1095" y="1900"/>
                  <a:pt x="1095" y="1900"/>
                </a:cubicBezTo>
                <a:cubicBezTo>
                  <a:pt x="1093" y="1901"/>
                  <a:pt x="1091" y="1903"/>
                  <a:pt x="1089" y="1903"/>
                </a:cubicBezTo>
                <a:cubicBezTo>
                  <a:pt x="1088" y="1905"/>
                  <a:pt x="1086" y="1906"/>
                  <a:pt x="1084" y="1906"/>
                </a:cubicBezTo>
                <a:cubicBezTo>
                  <a:pt x="1083" y="1908"/>
                  <a:pt x="1081" y="1908"/>
                  <a:pt x="1079" y="1909"/>
                </a:cubicBezTo>
                <a:cubicBezTo>
                  <a:pt x="1077" y="1910"/>
                  <a:pt x="1076" y="1911"/>
                  <a:pt x="1074" y="1911"/>
                </a:cubicBezTo>
                <a:cubicBezTo>
                  <a:pt x="1074" y="1911"/>
                  <a:pt x="1074" y="1911"/>
                  <a:pt x="1074" y="1921"/>
                </a:cubicBezTo>
                <a:cubicBezTo>
                  <a:pt x="1076" y="1920"/>
                  <a:pt x="1079" y="1919"/>
                  <a:pt x="1081" y="1918"/>
                </a:cubicBezTo>
                <a:cubicBezTo>
                  <a:pt x="1084" y="1917"/>
                  <a:pt x="1086" y="1916"/>
                  <a:pt x="1089" y="1914"/>
                </a:cubicBezTo>
                <a:cubicBezTo>
                  <a:pt x="1089" y="1914"/>
                  <a:pt x="1089" y="1914"/>
                  <a:pt x="1089" y="1973"/>
                </a:cubicBezTo>
                <a:cubicBezTo>
                  <a:pt x="1089" y="1973"/>
                  <a:pt x="1089" y="1973"/>
                  <a:pt x="1100" y="1973"/>
                </a:cubicBezTo>
                <a:cubicBezTo>
                  <a:pt x="1100" y="1973"/>
                  <a:pt x="1100" y="1973"/>
                  <a:pt x="1100" y="1900"/>
                </a:cubicBezTo>
                <a:close/>
                <a:moveTo>
                  <a:pt x="1147" y="1900"/>
                </a:moveTo>
                <a:cubicBezTo>
                  <a:pt x="1147" y="1900"/>
                  <a:pt x="1147" y="1900"/>
                  <a:pt x="1147" y="1900"/>
                </a:cubicBezTo>
                <a:cubicBezTo>
                  <a:pt x="1142" y="1900"/>
                  <a:pt x="1142" y="1900"/>
                  <a:pt x="1142" y="1900"/>
                </a:cubicBezTo>
                <a:cubicBezTo>
                  <a:pt x="1140" y="1901"/>
                  <a:pt x="1139" y="1903"/>
                  <a:pt x="1136" y="1903"/>
                </a:cubicBezTo>
                <a:cubicBezTo>
                  <a:pt x="1135" y="1905"/>
                  <a:pt x="1133" y="1906"/>
                  <a:pt x="1131" y="1906"/>
                </a:cubicBezTo>
                <a:cubicBezTo>
                  <a:pt x="1129" y="1908"/>
                  <a:pt x="1128" y="1908"/>
                  <a:pt x="1126" y="1909"/>
                </a:cubicBezTo>
                <a:cubicBezTo>
                  <a:pt x="1124" y="1910"/>
                  <a:pt x="1122" y="1911"/>
                  <a:pt x="1121" y="1911"/>
                </a:cubicBezTo>
                <a:cubicBezTo>
                  <a:pt x="1121" y="1911"/>
                  <a:pt x="1121" y="1911"/>
                  <a:pt x="1121" y="1921"/>
                </a:cubicBezTo>
                <a:cubicBezTo>
                  <a:pt x="1124" y="1920"/>
                  <a:pt x="1126" y="1919"/>
                  <a:pt x="1129" y="1918"/>
                </a:cubicBezTo>
                <a:cubicBezTo>
                  <a:pt x="1131" y="1917"/>
                  <a:pt x="1134" y="1916"/>
                  <a:pt x="1135" y="1914"/>
                </a:cubicBezTo>
                <a:cubicBezTo>
                  <a:pt x="1135" y="1914"/>
                  <a:pt x="1135" y="1914"/>
                  <a:pt x="1135" y="1973"/>
                </a:cubicBezTo>
                <a:cubicBezTo>
                  <a:pt x="1135" y="1973"/>
                  <a:pt x="1135" y="1973"/>
                  <a:pt x="1147" y="1973"/>
                </a:cubicBezTo>
                <a:cubicBezTo>
                  <a:pt x="1147" y="1973"/>
                  <a:pt x="1147" y="1973"/>
                  <a:pt x="1147" y="1900"/>
                </a:cubicBezTo>
                <a:close/>
                <a:moveTo>
                  <a:pt x="1194" y="1900"/>
                </a:moveTo>
                <a:cubicBezTo>
                  <a:pt x="1194" y="1900"/>
                  <a:pt x="1194" y="1900"/>
                  <a:pt x="1194" y="1900"/>
                </a:cubicBezTo>
                <a:cubicBezTo>
                  <a:pt x="1189" y="1900"/>
                  <a:pt x="1189" y="1900"/>
                  <a:pt x="1189" y="1900"/>
                </a:cubicBezTo>
                <a:cubicBezTo>
                  <a:pt x="1187" y="1901"/>
                  <a:pt x="1185" y="1903"/>
                  <a:pt x="1183" y="1903"/>
                </a:cubicBezTo>
                <a:cubicBezTo>
                  <a:pt x="1182" y="1905"/>
                  <a:pt x="1180" y="1906"/>
                  <a:pt x="1178" y="1906"/>
                </a:cubicBezTo>
                <a:cubicBezTo>
                  <a:pt x="1177" y="1908"/>
                  <a:pt x="1174" y="1908"/>
                  <a:pt x="1173" y="1909"/>
                </a:cubicBezTo>
                <a:cubicBezTo>
                  <a:pt x="1171" y="1910"/>
                  <a:pt x="1169" y="1911"/>
                  <a:pt x="1167" y="1911"/>
                </a:cubicBezTo>
                <a:cubicBezTo>
                  <a:pt x="1167" y="1911"/>
                  <a:pt x="1167" y="1911"/>
                  <a:pt x="1167" y="1921"/>
                </a:cubicBezTo>
                <a:cubicBezTo>
                  <a:pt x="1170" y="1920"/>
                  <a:pt x="1173" y="1919"/>
                  <a:pt x="1175" y="1918"/>
                </a:cubicBezTo>
                <a:cubicBezTo>
                  <a:pt x="1178" y="1917"/>
                  <a:pt x="1180" y="1916"/>
                  <a:pt x="1182" y="1914"/>
                </a:cubicBezTo>
                <a:cubicBezTo>
                  <a:pt x="1182" y="1914"/>
                  <a:pt x="1182" y="1914"/>
                  <a:pt x="1182" y="1973"/>
                </a:cubicBezTo>
                <a:cubicBezTo>
                  <a:pt x="1182" y="1973"/>
                  <a:pt x="1182" y="1973"/>
                  <a:pt x="1194" y="1973"/>
                </a:cubicBezTo>
                <a:cubicBezTo>
                  <a:pt x="1194" y="1973"/>
                  <a:pt x="1194" y="1973"/>
                  <a:pt x="1194" y="1900"/>
                </a:cubicBezTo>
                <a:close/>
                <a:moveTo>
                  <a:pt x="1317" y="1900"/>
                </a:moveTo>
                <a:cubicBezTo>
                  <a:pt x="1317" y="1900"/>
                  <a:pt x="1317" y="1900"/>
                  <a:pt x="1317" y="1900"/>
                </a:cubicBezTo>
                <a:cubicBezTo>
                  <a:pt x="1312" y="1900"/>
                  <a:pt x="1312" y="1900"/>
                  <a:pt x="1312" y="1900"/>
                </a:cubicBezTo>
                <a:cubicBezTo>
                  <a:pt x="1310" y="1901"/>
                  <a:pt x="1309" y="1903"/>
                  <a:pt x="1306" y="1903"/>
                </a:cubicBezTo>
                <a:cubicBezTo>
                  <a:pt x="1305" y="1905"/>
                  <a:pt x="1303" y="1906"/>
                  <a:pt x="1301" y="1906"/>
                </a:cubicBezTo>
                <a:cubicBezTo>
                  <a:pt x="1300" y="1908"/>
                  <a:pt x="1297" y="1908"/>
                  <a:pt x="1296" y="1909"/>
                </a:cubicBezTo>
                <a:cubicBezTo>
                  <a:pt x="1294" y="1910"/>
                  <a:pt x="1292" y="1911"/>
                  <a:pt x="1290" y="1911"/>
                </a:cubicBezTo>
                <a:cubicBezTo>
                  <a:pt x="1290" y="1911"/>
                  <a:pt x="1290" y="1911"/>
                  <a:pt x="1290" y="1921"/>
                </a:cubicBezTo>
                <a:cubicBezTo>
                  <a:pt x="1293" y="1920"/>
                  <a:pt x="1296" y="1919"/>
                  <a:pt x="1299" y="1918"/>
                </a:cubicBezTo>
                <a:cubicBezTo>
                  <a:pt x="1301" y="1917"/>
                  <a:pt x="1303" y="1916"/>
                  <a:pt x="1306" y="1914"/>
                </a:cubicBezTo>
                <a:cubicBezTo>
                  <a:pt x="1306" y="1914"/>
                  <a:pt x="1306" y="1914"/>
                  <a:pt x="1306" y="1973"/>
                </a:cubicBezTo>
                <a:cubicBezTo>
                  <a:pt x="1306" y="1973"/>
                  <a:pt x="1306" y="1973"/>
                  <a:pt x="1317" y="1973"/>
                </a:cubicBezTo>
                <a:cubicBezTo>
                  <a:pt x="1317" y="1973"/>
                  <a:pt x="1317" y="1973"/>
                  <a:pt x="1317" y="1900"/>
                </a:cubicBezTo>
                <a:close/>
                <a:moveTo>
                  <a:pt x="1365" y="1900"/>
                </a:moveTo>
                <a:cubicBezTo>
                  <a:pt x="1365" y="1900"/>
                  <a:pt x="1365" y="1900"/>
                  <a:pt x="1365" y="1900"/>
                </a:cubicBezTo>
                <a:cubicBezTo>
                  <a:pt x="1360" y="1900"/>
                  <a:pt x="1360" y="1900"/>
                  <a:pt x="1360" y="1900"/>
                </a:cubicBezTo>
                <a:cubicBezTo>
                  <a:pt x="1358" y="1901"/>
                  <a:pt x="1356" y="1903"/>
                  <a:pt x="1354" y="1903"/>
                </a:cubicBezTo>
                <a:cubicBezTo>
                  <a:pt x="1353" y="1905"/>
                  <a:pt x="1350" y="1906"/>
                  <a:pt x="1349" y="1906"/>
                </a:cubicBezTo>
                <a:cubicBezTo>
                  <a:pt x="1348" y="1908"/>
                  <a:pt x="1345" y="1908"/>
                  <a:pt x="1344" y="1909"/>
                </a:cubicBezTo>
                <a:cubicBezTo>
                  <a:pt x="1342" y="1910"/>
                  <a:pt x="1340" y="1911"/>
                  <a:pt x="1338" y="1911"/>
                </a:cubicBezTo>
                <a:cubicBezTo>
                  <a:pt x="1338" y="1911"/>
                  <a:pt x="1338" y="1911"/>
                  <a:pt x="1338" y="1921"/>
                </a:cubicBezTo>
                <a:cubicBezTo>
                  <a:pt x="1341" y="1920"/>
                  <a:pt x="1344" y="1919"/>
                  <a:pt x="1346" y="1918"/>
                </a:cubicBezTo>
                <a:cubicBezTo>
                  <a:pt x="1349" y="1917"/>
                  <a:pt x="1351" y="1916"/>
                  <a:pt x="1353" y="1914"/>
                </a:cubicBezTo>
                <a:cubicBezTo>
                  <a:pt x="1353" y="1914"/>
                  <a:pt x="1353" y="1914"/>
                  <a:pt x="1353" y="1973"/>
                </a:cubicBezTo>
                <a:cubicBezTo>
                  <a:pt x="1353" y="1973"/>
                  <a:pt x="1353" y="1973"/>
                  <a:pt x="1365" y="1973"/>
                </a:cubicBezTo>
                <a:cubicBezTo>
                  <a:pt x="1365" y="1973"/>
                  <a:pt x="1365" y="1973"/>
                  <a:pt x="1365" y="1900"/>
                </a:cubicBezTo>
                <a:close/>
                <a:moveTo>
                  <a:pt x="1412" y="1900"/>
                </a:moveTo>
                <a:cubicBezTo>
                  <a:pt x="1412" y="1900"/>
                  <a:pt x="1412" y="1900"/>
                  <a:pt x="1412" y="1900"/>
                </a:cubicBezTo>
                <a:cubicBezTo>
                  <a:pt x="1407" y="1900"/>
                  <a:pt x="1407" y="1900"/>
                  <a:pt x="1407" y="1900"/>
                </a:cubicBezTo>
                <a:cubicBezTo>
                  <a:pt x="1406" y="1901"/>
                  <a:pt x="1404" y="1903"/>
                  <a:pt x="1402" y="1903"/>
                </a:cubicBezTo>
                <a:cubicBezTo>
                  <a:pt x="1400" y="1905"/>
                  <a:pt x="1399" y="1906"/>
                  <a:pt x="1397" y="1906"/>
                </a:cubicBezTo>
                <a:cubicBezTo>
                  <a:pt x="1395" y="1908"/>
                  <a:pt x="1393" y="1908"/>
                  <a:pt x="1391" y="1909"/>
                </a:cubicBezTo>
                <a:cubicBezTo>
                  <a:pt x="1389" y="1910"/>
                  <a:pt x="1388" y="1911"/>
                  <a:pt x="1386" y="1911"/>
                </a:cubicBezTo>
                <a:cubicBezTo>
                  <a:pt x="1386" y="1911"/>
                  <a:pt x="1386" y="1911"/>
                  <a:pt x="1386" y="1921"/>
                </a:cubicBezTo>
                <a:cubicBezTo>
                  <a:pt x="1389" y="1920"/>
                  <a:pt x="1391" y="1919"/>
                  <a:pt x="1394" y="1918"/>
                </a:cubicBezTo>
                <a:cubicBezTo>
                  <a:pt x="1397" y="1917"/>
                  <a:pt x="1399" y="1916"/>
                  <a:pt x="1401" y="1914"/>
                </a:cubicBezTo>
                <a:cubicBezTo>
                  <a:pt x="1401" y="1914"/>
                  <a:pt x="1401" y="1914"/>
                  <a:pt x="1401" y="1973"/>
                </a:cubicBezTo>
                <a:cubicBezTo>
                  <a:pt x="1401" y="1973"/>
                  <a:pt x="1401" y="1973"/>
                  <a:pt x="1412" y="1973"/>
                </a:cubicBezTo>
                <a:cubicBezTo>
                  <a:pt x="1412" y="1973"/>
                  <a:pt x="1412" y="1973"/>
                  <a:pt x="1412" y="1900"/>
                </a:cubicBezTo>
                <a:close/>
                <a:moveTo>
                  <a:pt x="1459" y="1900"/>
                </a:moveTo>
                <a:cubicBezTo>
                  <a:pt x="1459" y="1900"/>
                  <a:pt x="1459" y="1900"/>
                  <a:pt x="1459" y="1900"/>
                </a:cubicBezTo>
                <a:cubicBezTo>
                  <a:pt x="1455" y="1900"/>
                  <a:pt x="1455" y="1900"/>
                  <a:pt x="1455" y="1900"/>
                </a:cubicBezTo>
                <a:cubicBezTo>
                  <a:pt x="1453" y="1901"/>
                  <a:pt x="1451" y="1903"/>
                  <a:pt x="1449" y="1903"/>
                </a:cubicBezTo>
                <a:cubicBezTo>
                  <a:pt x="1448" y="1905"/>
                  <a:pt x="1445" y="1906"/>
                  <a:pt x="1444" y="1906"/>
                </a:cubicBezTo>
                <a:cubicBezTo>
                  <a:pt x="1442" y="1907"/>
                  <a:pt x="1440" y="1908"/>
                  <a:pt x="1438" y="1908"/>
                </a:cubicBezTo>
                <a:cubicBezTo>
                  <a:pt x="1437" y="1909"/>
                  <a:pt x="1435" y="1910"/>
                  <a:pt x="1433" y="1911"/>
                </a:cubicBezTo>
                <a:cubicBezTo>
                  <a:pt x="1433" y="1911"/>
                  <a:pt x="1433" y="1911"/>
                  <a:pt x="1433" y="1921"/>
                </a:cubicBezTo>
                <a:cubicBezTo>
                  <a:pt x="1436" y="1920"/>
                  <a:pt x="1439" y="1919"/>
                  <a:pt x="1441" y="1918"/>
                </a:cubicBezTo>
                <a:cubicBezTo>
                  <a:pt x="1443" y="1917"/>
                  <a:pt x="1446" y="1916"/>
                  <a:pt x="1448" y="1914"/>
                </a:cubicBezTo>
                <a:cubicBezTo>
                  <a:pt x="1448" y="1914"/>
                  <a:pt x="1448" y="1914"/>
                  <a:pt x="1448" y="1973"/>
                </a:cubicBezTo>
                <a:cubicBezTo>
                  <a:pt x="1448" y="1973"/>
                  <a:pt x="1448" y="1973"/>
                  <a:pt x="1459" y="1973"/>
                </a:cubicBezTo>
                <a:cubicBezTo>
                  <a:pt x="1459" y="1973"/>
                  <a:pt x="1459" y="1973"/>
                  <a:pt x="1459" y="1900"/>
                </a:cubicBezTo>
                <a:close/>
                <a:moveTo>
                  <a:pt x="1215" y="1932"/>
                </a:moveTo>
                <a:cubicBezTo>
                  <a:pt x="1215" y="1932"/>
                  <a:pt x="1215" y="1932"/>
                  <a:pt x="1215" y="1932"/>
                </a:cubicBezTo>
                <a:cubicBezTo>
                  <a:pt x="1215" y="1940"/>
                  <a:pt x="1215" y="1940"/>
                  <a:pt x="1215" y="1940"/>
                </a:cubicBezTo>
                <a:cubicBezTo>
                  <a:pt x="1221" y="1941"/>
                  <a:pt x="1222" y="1944"/>
                  <a:pt x="1222" y="1946"/>
                </a:cubicBezTo>
                <a:cubicBezTo>
                  <a:pt x="1222" y="1948"/>
                  <a:pt x="1221" y="1951"/>
                  <a:pt x="1221" y="1953"/>
                </a:cubicBezTo>
                <a:cubicBezTo>
                  <a:pt x="1221" y="1956"/>
                  <a:pt x="1221" y="1958"/>
                  <a:pt x="1221" y="1960"/>
                </a:cubicBezTo>
                <a:cubicBezTo>
                  <a:pt x="1221" y="1970"/>
                  <a:pt x="1227" y="1973"/>
                  <a:pt x="1235" y="1973"/>
                </a:cubicBezTo>
                <a:cubicBezTo>
                  <a:pt x="1235" y="1973"/>
                  <a:pt x="1235" y="1973"/>
                  <a:pt x="1239" y="1973"/>
                </a:cubicBezTo>
                <a:cubicBezTo>
                  <a:pt x="1239" y="1973"/>
                  <a:pt x="1239" y="1973"/>
                  <a:pt x="1239" y="1964"/>
                </a:cubicBezTo>
                <a:cubicBezTo>
                  <a:pt x="1239" y="1964"/>
                  <a:pt x="1239" y="1964"/>
                  <a:pt x="1237" y="1964"/>
                </a:cubicBezTo>
                <a:cubicBezTo>
                  <a:pt x="1234" y="1964"/>
                  <a:pt x="1232" y="1962"/>
                  <a:pt x="1232" y="1958"/>
                </a:cubicBezTo>
                <a:cubicBezTo>
                  <a:pt x="1232" y="1957"/>
                  <a:pt x="1232" y="1955"/>
                  <a:pt x="1233" y="1953"/>
                </a:cubicBezTo>
                <a:cubicBezTo>
                  <a:pt x="1233" y="1952"/>
                  <a:pt x="1233" y="1950"/>
                  <a:pt x="1233" y="1947"/>
                </a:cubicBezTo>
                <a:cubicBezTo>
                  <a:pt x="1233" y="1940"/>
                  <a:pt x="1230" y="1937"/>
                  <a:pt x="1225" y="1936"/>
                </a:cubicBezTo>
                <a:cubicBezTo>
                  <a:pt x="1225" y="1936"/>
                  <a:pt x="1225" y="1936"/>
                  <a:pt x="1225" y="1936"/>
                </a:cubicBezTo>
                <a:cubicBezTo>
                  <a:pt x="1230" y="1935"/>
                  <a:pt x="1233" y="1932"/>
                  <a:pt x="1233" y="1925"/>
                </a:cubicBezTo>
                <a:cubicBezTo>
                  <a:pt x="1233" y="1922"/>
                  <a:pt x="1233" y="1920"/>
                  <a:pt x="1233" y="1919"/>
                </a:cubicBezTo>
                <a:cubicBezTo>
                  <a:pt x="1232" y="1917"/>
                  <a:pt x="1232" y="1915"/>
                  <a:pt x="1232" y="1914"/>
                </a:cubicBezTo>
                <a:cubicBezTo>
                  <a:pt x="1232" y="1910"/>
                  <a:pt x="1234" y="1908"/>
                  <a:pt x="1237" y="1908"/>
                </a:cubicBezTo>
                <a:cubicBezTo>
                  <a:pt x="1237" y="1908"/>
                  <a:pt x="1237" y="1908"/>
                  <a:pt x="1239" y="1908"/>
                </a:cubicBezTo>
                <a:cubicBezTo>
                  <a:pt x="1239" y="1908"/>
                  <a:pt x="1239" y="1908"/>
                  <a:pt x="1239" y="1899"/>
                </a:cubicBezTo>
                <a:cubicBezTo>
                  <a:pt x="1239" y="1899"/>
                  <a:pt x="1239" y="1899"/>
                  <a:pt x="1235" y="1899"/>
                </a:cubicBezTo>
                <a:cubicBezTo>
                  <a:pt x="1226" y="1899"/>
                  <a:pt x="1221" y="1903"/>
                  <a:pt x="1221" y="1911"/>
                </a:cubicBezTo>
                <a:cubicBezTo>
                  <a:pt x="1221" y="1914"/>
                  <a:pt x="1221" y="1916"/>
                  <a:pt x="1221" y="1919"/>
                </a:cubicBezTo>
                <a:cubicBezTo>
                  <a:pt x="1221" y="1921"/>
                  <a:pt x="1222" y="1924"/>
                  <a:pt x="1222" y="1926"/>
                </a:cubicBezTo>
                <a:cubicBezTo>
                  <a:pt x="1222" y="1928"/>
                  <a:pt x="1221" y="1932"/>
                  <a:pt x="1215" y="1932"/>
                </a:cubicBezTo>
                <a:close/>
                <a:moveTo>
                  <a:pt x="1270" y="1940"/>
                </a:moveTo>
                <a:cubicBezTo>
                  <a:pt x="1270" y="1940"/>
                  <a:pt x="1270" y="1940"/>
                  <a:pt x="1270" y="1940"/>
                </a:cubicBezTo>
                <a:cubicBezTo>
                  <a:pt x="1270" y="1932"/>
                  <a:pt x="1270" y="1932"/>
                  <a:pt x="1270" y="1932"/>
                </a:cubicBezTo>
                <a:cubicBezTo>
                  <a:pt x="1264" y="1932"/>
                  <a:pt x="1263" y="1928"/>
                  <a:pt x="1263" y="1926"/>
                </a:cubicBezTo>
                <a:cubicBezTo>
                  <a:pt x="1263" y="1924"/>
                  <a:pt x="1263" y="1921"/>
                  <a:pt x="1264" y="1919"/>
                </a:cubicBezTo>
                <a:cubicBezTo>
                  <a:pt x="1264" y="1916"/>
                  <a:pt x="1264" y="1914"/>
                  <a:pt x="1264" y="1911"/>
                </a:cubicBezTo>
                <a:cubicBezTo>
                  <a:pt x="1264" y="1903"/>
                  <a:pt x="1259" y="1899"/>
                  <a:pt x="1249" y="1899"/>
                </a:cubicBezTo>
                <a:cubicBezTo>
                  <a:pt x="1249" y="1899"/>
                  <a:pt x="1249" y="1899"/>
                  <a:pt x="1245" y="1899"/>
                </a:cubicBezTo>
                <a:cubicBezTo>
                  <a:pt x="1245" y="1899"/>
                  <a:pt x="1245" y="1899"/>
                  <a:pt x="1245" y="1908"/>
                </a:cubicBezTo>
                <a:cubicBezTo>
                  <a:pt x="1245" y="1908"/>
                  <a:pt x="1245" y="1908"/>
                  <a:pt x="1247" y="1908"/>
                </a:cubicBezTo>
                <a:cubicBezTo>
                  <a:pt x="1251" y="1908"/>
                  <a:pt x="1252" y="1910"/>
                  <a:pt x="1252" y="1914"/>
                </a:cubicBezTo>
                <a:cubicBezTo>
                  <a:pt x="1252" y="1915"/>
                  <a:pt x="1252" y="1917"/>
                  <a:pt x="1252" y="1919"/>
                </a:cubicBezTo>
                <a:cubicBezTo>
                  <a:pt x="1251" y="1920"/>
                  <a:pt x="1251" y="1922"/>
                  <a:pt x="1251" y="1925"/>
                </a:cubicBezTo>
                <a:cubicBezTo>
                  <a:pt x="1251" y="1932"/>
                  <a:pt x="1254" y="1935"/>
                  <a:pt x="1260" y="1936"/>
                </a:cubicBezTo>
                <a:cubicBezTo>
                  <a:pt x="1260" y="1936"/>
                  <a:pt x="1260" y="1936"/>
                  <a:pt x="1260" y="1936"/>
                </a:cubicBezTo>
                <a:cubicBezTo>
                  <a:pt x="1254" y="1937"/>
                  <a:pt x="1251" y="1940"/>
                  <a:pt x="1251" y="1947"/>
                </a:cubicBezTo>
                <a:cubicBezTo>
                  <a:pt x="1251" y="1950"/>
                  <a:pt x="1251" y="1952"/>
                  <a:pt x="1252" y="1953"/>
                </a:cubicBezTo>
                <a:cubicBezTo>
                  <a:pt x="1252" y="1955"/>
                  <a:pt x="1252" y="1957"/>
                  <a:pt x="1252" y="1958"/>
                </a:cubicBezTo>
                <a:cubicBezTo>
                  <a:pt x="1252" y="1962"/>
                  <a:pt x="1251" y="1964"/>
                  <a:pt x="1247" y="1964"/>
                </a:cubicBezTo>
                <a:cubicBezTo>
                  <a:pt x="1247" y="1964"/>
                  <a:pt x="1247" y="1964"/>
                  <a:pt x="1245" y="1964"/>
                </a:cubicBezTo>
                <a:cubicBezTo>
                  <a:pt x="1245" y="1964"/>
                  <a:pt x="1245" y="1964"/>
                  <a:pt x="1245" y="1973"/>
                </a:cubicBezTo>
                <a:cubicBezTo>
                  <a:pt x="1245" y="1973"/>
                  <a:pt x="1245" y="1973"/>
                  <a:pt x="1249" y="1973"/>
                </a:cubicBezTo>
                <a:cubicBezTo>
                  <a:pt x="1258" y="1973"/>
                  <a:pt x="1264" y="1970"/>
                  <a:pt x="1264" y="1960"/>
                </a:cubicBezTo>
                <a:cubicBezTo>
                  <a:pt x="1264" y="1958"/>
                  <a:pt x="1264" y="1956"/>
                  <a:pt x="1264" y="1953"/>
                </a:cubicBezTo>
                <a:cubicBezTo>
                  <a:pt x="1263" y="1951"/>
                  <a:pt x="1263" y="1948"/>
                  <a:pt x="1263" y="1946"/>
                </a:cubicBezTo>
                <a:cubicBezTo>
                  <a:pt x="1263" y="1944"/>
                  <a:pt x="1264" y="1941"/>
                  <a:pt x="1270" y="1940"/>
                </a:cubicBezTo>
                <a:close/>
                <a:moveTo>
                  <a:pt x="1597" y="1932"/>
                </a:moveTo>
                <a:cubicBezTo>
                  <a:pt x="1597" y="1932"/>
                  <a:pt x="1597" y="1932"/>
                  <a:pt x="1597" y="1932"/>
                </a:cubicBezTo>
                <a:cubicBezTo>
                  <a:pt x="1597" y="1940"/>
                  <a:pt x="1597" y="1940"/>
                  <a:pt x="1597" y="1940"/>
                </a:cubicBezTo>
                <a:cubicBezTo>
                  <a:pt x="1603" y="1941"/>
                  <a:pt x="1604" y="1944"/>
                  <a:pt x="1604" y="1946"/>
                </a:cubicBezTo>
                <a:cubicBezTo>
                  <a:pt x="1604" y="1948"/>
                  <a:pt x="1603" y="1951"/>
                  <a:pt x="1603" y="1953"/>
                </a:cubicBezTo>
                <a:cubicBezTo>
                  <a:pt x="1603" y="1956"/>
                  <a:pt x="1603" y="1958"/>
                  <a:pt x="1603" y="1960"/>
                </a:cubicBezTo>
                <a:cubicBezTo>
                  <a:pt x="1603" y="1970"/>
                  <a:pt x="1609" y="1973"/>
                  <a:pt x="1617" y="1973"/>
                </a:cubicBezTo>
                <a:cubicBezTo>
                  <a:pt x="1617" y="1973"/>
                  <a:pt x="1617" y="1973"/>
                  <a:pt x="1621" y="1973"/>
                </a:cubicBezTo>
                <a:cubicBezTo>
                  <a:pt x="1621" y="1973"/>
                  <a:pt x="1621" y="1973"/>
                  <a:pt x="1621" y="1964"/>
                </a:cubicBezTo>
                <a:cubicBezTo>
                  <a:pt x="1621" y="1964"/>
                  <a:pt x="1621" y="1964"/>
                  <a:pt x="1619" y="1964"/>
                </a:cubicBezTo>
                <a:cubicBezTo>
                  <a:pt x="1616" y="1964"/>
                  <a:pt x="1615" y="1962"/>
                  <a:pt x="1615" y="1958"/>
                </a:cubicBezTo>
                <a:cubicBezTo>
                  <a:pt x="1615" y="1957"/>
                  <a:pt x="1615" y="1955"/>
                  <a:pt x="1615" y="1953"/>
                </a:cubicBezTo>
                <a:cubicBezTo>
                  <a:pt x="1615" y="1952"/>
                  <a:pt x="1615" y="1950"/>
                  <a:pt x="1615" y="1947"/>
                </a:cubicBezTo>
                <a:cubicBezTo>
                  <a:pt x="1615" y="1940"/>
                  <a:pt x="1612" y="1937"/>
                  <a:pt x="1607" y="1936"/>
                </a:cubicBezTo>
                <a:cubicBezTo>
                  <a:pt x="1607" y="1936"/>
                  <a:pt x="1607" y="1936"/>
                  <a:pt x="1607" y="1936"/>
                </a:cubicBezTo>
                <a:cubicBezTo>
                  <a:pt x="1612" y="1935"/>
                  <a:pt x="1615" y="1932"/>
                  <a:pt x="1615" y="1925"/>
                </a:cubicBezTo>
                <a:cubicBezTo>
                  <a:pt x="1615" y="1922"/>
                  <a:pt x="1615" y="1920"/>
                  <a:pt x="1615" y="1919"/>
                </a:cubicBezTo>
                <a:cubicBezTo>
                  <a:pt x="1615" y="1917"/>
                  <a:pt x="1615" y="1915"/>
                  <a:pt x="1615" y="1914"/>
                </a:cubicBezTo>
                <a:cubicBezTo>
                  <a:pt x="1615" y="1910"/>
                  <a:pt x="1616" y="1908"/>
                  <a:pt x="1619" y="1908"/>
                </a:cubicBezTo>
                <a:cubicBezTo>
                  <a:pt x="1619" y="1908"/>
                  <a:pt x="1619" y="1908"/>
                  <a:pt x="1621" y="1908"/>
                </a:cubicBezTo>
                <a:cubicBezTo>
                  <a:pt x="1621" y="1908"/>
                  <a:pt x="1621" y="1908"/>
                  <a:pt x="1621" y="1899"/>
                </a:cubicBezTo>
                <a:cubicBezTo>
                  <a:pt x="1621" y="1899"/>
                  <a:pt x="1621" y="1899"/>
                  <a:pt x="1617" y="1899"/>
                </a:cubicBezTo>
                <a:cubicBezTo>
                  <a:pt x="1608" y="1899"/>
                  <a:pt x="1603" y="1903"/>
                  <a:pt x="1603" y="1911"/>
                </a:cubicBezTo>
                <a:cubicBezTo>
                  <a:pt x="1603" y="1914"/>
                  <a:pt x="1603" y="1916"/>
                  <a:pt x="1603" y="1919"/>
                </a:cubicBezTo>
                <a:cubicBezTo>
                  <a:pt x="1603" y="1921"/>
                  <a:pt x="1604" y="1924"/>
                  <a:pt x="1604" y="1926"/>
                </a:cubicBezTo>
                <a:cubicBezTo>
                  <a:pt x="1604" y="1928"/>
                  <a:pt x="1603" y="1932"/>
                  <a:pt x="1597" y="1932"/>
                </a:cubicBezTo>
                <a:close/>
                <a:moveTo>
                  <a:pt x="1652" y="1940"/>
                </a:moveTo>
                <a:cubicBezTo>
                  <a:pt x="1652" y="1940"/>
                  <a:pt x="1652" y="1940"/>
                  <a:pt x="1652" y="1940"/>
                </a:cubicBezTo>
                <a:cubicBezTo>
                  <a:pt x="1652" y="1932"/>
                  <a:pt x="1652" y="1932"/>
                  <a:pt x="1652" y="1932"/>
                </a:cubicBezTo>
                <a:cubicBezTo>
                  <a:pt x="1646" y="1932"/>
                  <a:pt x="1645" y="1928"/>
                  <a:pt x="1645" y="1926"/>
                </a:cubicBezTo>
                <a:cubicBezTo>
                  <a:pt x="1645" y="1924"/>
                  <a:pt x="1645" y="1921"/>
                  <a:pt x="1646" y="1919"/>
                </a:cubicBezTo>
                <a:cubicBezTo>
                  <a:pt x="1646" y="1916"/>
                  <a:pt x="1646" y="1914"/>
                  <a:pt x="1646" y="1911"/>
                </a:cubicBezTo>
                <a:cubicBezTo>
                  <a:pt x="1646" y="1903"/>
                  <a:pt x="1641" y="1899"/>
                  <a:pt x="1631" y="1899"/>
                </a:cubicBezTo>
                <a:cubicBezTo>
                  <a:pt x="1631" y="1899"/>
                  <a:pt x="1631" y="1899"/>
                  <a:pt x="1628" y="1899"/>
                </a:cubicBezTo>
                <a:cubicBezTo>
                  <a:pt x="1628" y="1899"/>
                  <a:pt x="1628" y="1899"/>
                  <a:pt x="1628" y="1908"/>
                </a:cubicBezTo>
                <a:cubicBezTo>
                  <a:pt x="1628" y="1908"/>
                  <a:pt x="1628" y="1908"/>
                  <a:pt x="1629" y="1908"/>
                </a:cubicBezTo>
                <a:cubicBezTo>
                  <a:pt x="1633" y="1908"/>
                  <a:pt x="1634" y="1910"/>
                  <a:pt x="1634" y="1914"/>
                </a:cubicBezTo>
                <a:cubicBezTo>
                  <a:pt x="1634" y="1915"/>
                  <a:pt x="1634" y="1917"/>
                  <a:pt x="1634" y="1919"/>
                </a:cubicBezTo>
                <a:cubicBezTo>
                  <a:pt x="1634" y="1920"/>
                  <a:pt x="1634" y="1922"/>
                  <a:pt x="1634" y="1925"/>
                </a:cubicBezTo>
                <a:cubicBezTo>
                  <a:pt x="1634" y="1932"/>
                  <a:pt x="1636" y="1935"/>
                  <a:pt x="1642" y="1936"/>
                </a:cubicBezTo>
                <a:cubicBezTo>
                  <a:pt x="1642" y="1936"/>
                  <a:pt x="1642" y="1936"/>
                  <a:pt x="1642" y="1936"/>
                </a:cubicBezTo>
                <a:cubicBezTo>
                  <a:pt x="1636" y="1937"/>
                  <a:pt x="1634" y="1940"/>
                  <a:pt x="1634" y="1947"/>
                </a:cubicBezTo>
                <a:cubicBezTo>
                  <a:pt x="1634" y="1950"/>
                  <a:pt x="1634" y="1952"/>
                  <a:pt x="1634" y="1953"/>
                </a:cubicBezTo>
                <a:cubicBezTo>
                  <a:pt x="1634" y="1955"/>
                  <a:pt x="1634" y="1957"/>
                  <a:pt x="1634" y="1958"/>
                </a:cubicBezTo>
                <a:cubicBezTo>
                  <a:pt x="1634" y="1962"/>
                  <a:pt x="1633" y="1964"/>
                  <a:pt x="1629" y="1964"/>
                </a:cubicBezTo>
                <a:cubicBezTo>
                  <a:pt x="1629" y="1964"/>
                  <a:pt x="1629" y="1964"/>
                  <a:pt x="1628" y="1964"/>
                </a:cubicBezTo>
                <a:cubicBezTo>
                  <a:pt x="1628" y="1964"/>
                  <a:pt x="1628" y="1964"/>
                  <a:pt x="1628" y="1973"/>
                </a:cubicBezTo>
                <a:cubicBezTo>
                  <a:pt x="1628" y="1973"/>
                  <a:pt x="1628" y="1973"/>
                  <a:pt x="1631" y="1973"/>
                </a:cubicBezTo>
                <a:cubicBezTo>
                  <a:pt x="1640" y="1973"/>
                  <a:pt x="1646" y="1970"/>
                  <a:pt x="1646" y="1960"/>
                </a:cubicBezTo>
                <a:cubicBezTo>
                  <a:pt x="1646" y="1958"/>
                  <a:pt x="1646" y="1956"/>
                  <a:pt x="1646" y="1953"/>
                </a:cubicBezTo>
                <a:cubicBezTo>
                  <a:pt x="1645" y="1951"/>
                  <a:pt x="1645" y="1948"/>
                  <a:pt x="1645" y="1946"/>
                </a:cubicBezTo>
                <a:cubicBezTo>
                  <a:pt x="1645" y="1944"/>
                  <a:pt x="1646" y="1941"/>
                  <a:pt x="1652" y="1940"/>
                </a:cubicBezTo>
                <a:close/>
                <a:moveTo>
                  <a:pt x="1700" y="1900"/>
                </a:moveTo>
                <a:cubicBezTo>
                  <a:pt x="1700" y="1900"/>
                  <a:pt x="1700" y="1900"/>
                  <a:pt x="1700" y="1900"/>
                </a:cubicBezTo>
                <a:cubicBezTo>
                  <a:pt x="1694" y="1900"/>
                  <a:pt x="1694" y="1900"/>
                  <a:pt x="1694" y="1900"/>
                </a:cubicBezTo>
                <a:cubicBezTo>
                  <a:pt x="1692" y="1901"/>
                  <a:pt x="1691" y="1903"/>
                  <a:pt x="1688" y="1903"/>
                </a:cubicBezTo>
                <a:cubicBezTo>
                  <a:pt x="1687" y="1905"/>
                  <a:pt x="1685" y="1906"/>
                  <a:pt x="1683" y="1906"/>
                </a:cubicBezTo>
                <a:cubicBezTo>
                  <a:pt x="1681" y="1907"/>
                  <a:pt x="1680" y="1908"/>
                  <a:pt x="1678" y="1908"/>
                </a:cubicBezTo>
                <a:cubicBezTo>
                  <a:pt x="1676" y="1909"/>
                  <a:pt x="1674" y="1910"/>
                  <a:pt x="1672" y="1911"/>
                </a:cubicBezTo>
                <a:cubicBezTo>
                  <a:pt x="1672" y="1911"/>
                  <a:pt x="1672" y="1911"/>
                  <a:pt x="1672" y="1921"/>
                </a:cubicBezTo>
                <a:cubicBezTo>
                  <a:pt x="1675" y="1920"/>
                  <a:pt x="1678" y="1919"/>
                  <a:pt x="1680" y="1918"/>
                </a:cubicBezTo>
                <a:cubicBezTo>
                  <a:pt x="1683" y="1917"/>
                  <a:pt x="1685" y="1916"/>
                  <a:pt x="1688" y="1914"/>
                </a:cubicBezTo>
                <a:cubicBezTo>
                  <a:pt x="1688" y="1914"/>
                  <a:pt x="1688" y="1914"/>
                  <a:pt x="1688" y="1973"/>
                </a:cubicBezTo>
                <a:cubicBezTo>
                  <a:pt x="1688" y="1973"/>
                  <a:pt x="1688" y="1973"/>
                  <a:pt x="1700" y="1973"/>
                </a:cubicBezTo>
                <a:cubicBezTo>
                  <a:pt x="1700" y="1973"/>
                  <a:pt x="1700" y="1973"/>
                  <a:pt x="1700" y="1900"/>
                </a:cubicBezTo>
                <a:close/>
                <a:moveTo>
                  <a:pt x="1747" y="1900"/>
                </a:moveTo>
                <a:cubicBezTo>
                  <a:pt x="1747" y="1900"/>
                  <a:pt x="1747" y="1900"/>
                  <a:pt x="1747" y="1900"/>
                </a:cubicBezTo>
                <a:cubicBezTo>
                  <a:pt x="1742" y="1900"/>
                  <a:pt x="1742" y="1900"/>
                  <a:pt x="1742" y="1900"/>
                </a:cubicBezTo>
                <a:cubicBezTo>
                  <a:pt x="1739" y="1901"/>
                  <a:pt x="1738" y="1903"/>
                  <a:pt x="1736" y="1903"/>
                </a:cubicBezTo>
                <a:cubicBezTo>
                  <a:pt x="1734" y="1905"/>
                  <a:pt x="1732" y="1906"/>
                  <a:pt x="1731" y="1906"/>
                </a:cubicBezTo>
                <a:cubicBezTo>
                  <a:pt x="1729" y="1908"/>
                  <a:pt x="1727" y="1908"/>
                  <a:pt x="1726" y="1909"/>
                </a:cubicBezTo>
                <a:cubicBezTo>
                  <a:pt x="1724" y="1910"/>
                  <a:pt x="1722" y="1911"/>
                  <a:pt x="1720" y="1911"/>
                </a:cubicBezTo>
                <a:cubicBezTo>
                  <a:pt x="1720" y="1911"/>
                  <a:pt x="1720" y="1911"/>
                  <a:pt x="1720" y="1921"/>
                </a:cubicBezTo>
                <a:cubicBezTo>
                  <a:pt x="1723" y="1920"/>
                  <a:pt x="1726" y="1919"/>
                  <a:pt x="1728" y="1918"/>
                </a:cubicBezTo>
                <a:cubicBezTo>
                  <a:pt x="1731" y="1917"/>
                  <a:pt x="1733" y="1916"/>
                  <a:pt x="1735" y="1914"/>
                </a:cubicBezTo>
                <a:cubicBezTo>
                  <a:pt x="1735" y="1914"/>
                  <a:pt x="1735" y="1914"/>
                  <a:pt x="1735" y="1973"/>
                </a:cubicBezTo>
                <a:cubicBezTo>
                  <a:pt x="1735" y="1973"/>
                  <a:pt x="1735" y="1973"/>
                  <a:pt x="1747" y="1973"/>
                </a:cubicBezTo>
                <a:cubicBezTo>
                  <a:pt x="1747" y="1973"/>
                  <a:pt x="1747" y="1973"/>
                  <a:pt x="1747" y="1900"/>
                </a:cubicBezTo>
                <a:close/>
                <a:moveTo>
                  <a:pt x="1793" y="1900"/>
                </a:moveTo>
                <a:cubicBezTo>
                  <a:pt x="1793" y="1900"/>
                  <a:pt x="1793" y="1900"/>
                  <a:pt x="1793" y="1900"/>
                </a:cubicBezTo>
                <a:cubicBezTo>
                  <a:pt x="1789" y="1900"/>
                  <a:pt x="1789" y="1900"/>
                  <a:pt x="1789" y="1900"/>
                </a:cubicBezTo>
                <a:cubicBezTo>
                  <a:pt x="1787" y="1901"/>
                  <a:pt x="1785" y="1903"/>
                  <a:pt x="1783" y="1903"/>
                </a:cubicBezTo>
                <a:cubicBezTo>
                  <a:pt x="1782" y="1905"/>
                  <a:pt x="1779" y="1906"/>
                  <a:pt x="1778" y="1906"/>
                </a:cubicBezTo>
                <a:cubicBezTo>
                  <a:pt x="1776" y="1908"/>
                  <a:pt x="1774" y="1908"/>
                  <a:pt x="1772" y="1909"/>
                </a:cubicBezTo>
                <a:cubicBezTo>
                  <a:pt x="1771" y="1910"/>
                  <a:pt x="1769" y="1911"/>
                  <a:pt x="1767" y="1911"/>
                </a:cubicBezTo>
                <a:cubicBezTo>
                  <a:pt x="1767" y="1911"/>
                  <a:pt x="1767" y="1911"/>
                  <a:pt x="1767" y="1921"/>
                </a:cubicBezTo>
                <a:cubicBezTo>
                  <a:pt x="1770" y="1920"/>
                  <a:pt x="1773" y="1919"/>
                  <a:pt x="1775" y="1918"/>
                </a:cubicBezTo>
                <a:cubicBezTo>
                  <a:pt x="1777" y="1917"/>
                  <a:pt x="1780" y="1916"/>
                  <a:pt x="1782" y="1914"/>
                </a:cubicBezTo>
                <a:cubicBezTo>
                  <a:pt x="1782" y="1914"/>
                  <a:pt x="1782" y="1914"/>
                  <a:pt x="1782" y="1973"/>
                </a:cubicBezTo>
                <a:cubicBezTo>
                  <a:pt x="1782" y="1973"/>
                  <a:pt x="1782" y="1973"/>
                  <a:pt x="1793" y="1973"/>
                </a:cubicBezTo>
                <a:cubicBezTo>
                  <a:pt x="1793" y="1973"/>
                  <a:pt x="1793" y="1973"/>
                  <a:pt x="1793" y="1900"/>
                </a:cubicBezTo>
                <a:close/>
                <a:moveTo>
                  <a:pt x="1916" y="1900"/>
                </a:moveTo>
                <a:cubicBezTo>
                  <a:pt x="1916" y="1900"/>
                  <a:pt x="1916" y="1900"/>
                  <a:pt x="1916" y="1900"/>
                </a:cubicBezTo>
                <a:cubicBezTo>
                  <a:pt x="1911" y="1900"/>
                  <a:pt x="1911" y="1900"/>
                  <a:pt x="1911" y="1900"/>
                </a:cubicBezTo>
                <a:cubicBezTo>
                  <a:pt x="1909" y="1901"/>
                  <a:pt x="1908" y="1903"/>
                  <a:pt x="1905" y="1903"/>
                </a:cubicBezTo>
                <a:cubicBezTo>
                  <a:pt x="1904" y="1905"/>
                  <a:pt x="1902" y="1906"/>
                  <a:pt x="1900" y="1906"/>
                </a:cubicBezTo>
                <a:cubicBezTo>
                  <a:pt x="1899" y="1908"/>
                  <a:pt x="1897" y="1908"/>
                  <a:pt x="1895" y="1909"/>
                </a:cubicBezTo>
                <a:cubicBezTo>
                  <a:pt x="1893" y="1910"/>
                  <a:pt x="1891" y="1911"/>
                  <a:pt x="1889" y="1911"/>
                </a:cubicBezTo>
                <a:cubicBezTo>
                  <a:pt x="1889" y="1911"/>
                  <a:pt x="1889" y="1911"/>
                  <a:pt x="1889" y="1921"/>
                </a:cubicBezTo>
                <a:cubicBezTo>
                  <a:pt x="1892" y="1920"/>
                  <a:pt x="1895" y="1919"/>
                  <a:pt x="1898" y="1918"/>
                </a:cubicBezTo>
                <a:cubicBezTo>
                  <a:pt x="1900" y="1917"/>
                  <a:pt x="1902" y="1916"/>
                  <a:pt x="1905" y="1914"/>
                </a:cubicBezTo>
                <a:cubicBezTo>
                  <a:pt x="1905" y="1914"/>
                  <a:pt x="1905" y="1914"/>
                  <a:pt x="1905" y="1973"/>
                </a:cubicBezTo>
                <a:cubicBezTo>
                  <a:pt x="1905" y="1973"/>
                  <a:pt x="1905" y="1973"/>
                  <a:pt x="1916" y="1973"/>
                </a:cubicBezTo>
                <a:cubicBezTo>
                  <a:pt x="1916" y="1973"/>
                  <a:pt x="1916" y="1973"/>
                  <a:pt x="1916" y="1900"/>
                </a:cubicBezTo>
                <a:close/>
                <a:moveTo>
                  <a:pt x="1814" y="1932"/>
                </a:moveTo>
                <a:cubicBezTo>
                  <a:pt x="1814" y="1932"/>
                  <a:pt x="1814" y="1932"/>
                  <a:pt x="1814" y="1932"/>
                </a:cubicBezTo>
                <a:cubicBezTo>
                  <a:pt x="1814" y="1940"/>
                  <a:pt x="1814" y="1940"/>
                  <a:pt x="1814" y="1940"/>
                </a:cubicBezTo>
                <a:cubicBezTo>
                  <a:pt x="1820" y="1941"/>
                  <a:pt x="1821" y="1944"/>
                  <a:pt x="1821" y="1946"/>
                </a:cubicBezTo>
                <a:cubicBezTo>
                  <a:pt x="1821" y="1948"/>
                  <a:pt x="1820" y="1951"/>
                  <a:pt x="1820" y="1953"/>
                </a:cubicBezTo>
                <a:cubicBezTo>
                  <a:pt x="1820" y="1956"/>
                  <a:pt x="1820" y="1958"/>
                  <a:pt x="1820" y="1960"/>
                </a:cubicBezTo>
                <a:cubicBezTo>
                  <a:pt x="1820" y="1970"/>
                  <a:pt x="1826" y="1973"/>
                  <a:pt x="1834" y="1973"/>
                </a:cubicBezTo>
                <a:cubicBezTo>
                  <a:pt x="1834" y="1973"/>
                  <a:pt x="1834" y="1973"/>
                  <a:pt x="1838" y="1973"/>
                </a:cubicBezTo>
                <a:cubicBezTo>
                  <a:pt x="1838" y="1973"/>
                  <a:pt x="1838" y="1973"/>
                  <a:pt x="1838" y="1964"/>
                </a:cubicBezTo>
                <a:cubicBezTo>
                  <a:pt x="1838" y="1964"/>
                  <a:pt x="1838" y="1964"/>
                  <a:pt x="1836" y="1964"/>
                </a:cubicBezTo>
                <a:cubicBezTo>
                  <a:pt x="1833" y="1964"/>
                  <a:pt x="1831" y="1962"/>
                  <a:pt x="1831" y="1958"/>
                </a:cubicBezTo>
                <a:cubicBezTo>
                  <a:pt x="1831" y="1957"/>
                  <a:pt x="1831" y="1955"/>
                  <a:pt x="1832" y="1953"/>
                </a:cubicBezTo>
                <a:cubicBezTo>
                  <a:pt x="1832" y="1952"/>
                  <a:pt x="1832" y="1950"/>
                  <a:pt x="1832" y="1947"/>
                </a:cubicBezTo>
                <a:cubicBezTo>
                  <a:pt x="1832" y="1940"/>
                  <a:pt x="1829" y="1937"/>
                  <a:pt x="1824" y="1936"/>
                </a:cubicBezTo>
                <a:cubicBezTo>
                  <a:pt x="1824" y="1936"/>
                  <a:pt x="1824" y="1936"/>
                  <a:pt x="1824" y="1936"/>
                </a:cubicBezTo>
                <a:cubicBezTo>
                  <a:pt x="1829" y="1935"/>
                  <a:pt x="1832" y="1932"/>
                  <a:pt x="1832" y="1925"/>
                </a:cubicBezTo>
                <a:cubicBezTo>
                  <a:pt x="1832" y="1922"/>
                  <a:pt x="1832" y="1920"/>
                  <a:pt x="1832" y="1919"/>
                </a:cubicBezTo>
                <a:cubicBezTo>
                  <a:pt x="1831" y="1917"/>
                  <a:pt x="1831" y="1915"/>
                  <a:pt x="1831" y="1914"/>
                </a:cubicBezTo>
                <a:cubicBezTo>
                  <a:pt x="1831" y="1910"/>
                  <a:pt x="1833" y="1908"/>
                  <a:pt x="1836" y="1908"/>
                </a:cubicBezTo>
                <a:cubicBezTo>
                  <a:pt x="1836" y="1908"/>
                  <a:pt x="1836" y="1908"/>
                  <a:pt x="1838" y="1908"/>
                </a:cubicBezTo>
                <a:cubicBezTo>
                  <a:pt x="1838" y="1908"/>
                  <a:pt x="1838" y="1908"/>
                  <a:pt x="1838" y="1899"/>
                </a:cubicBezTo>
                <a:cubicBezTo>
                  <a:pt x="1838" y="1899"/>
                  <a:pt x="1838" y="1899"/>
                  <a:pt x="1834" y="1899"/>
                </a:cubicBezTo>
                <a:cubicBezTo>
                  <a:pt x="1825" y="1899"/>
                  <a:pt x="1820" y="1903"/>
                  <a:pt x="1820" y="1911"/>
                </a:cubicBezTo>
                <a:cubicBezTo>
                  <a:pt x="1820" y="1914"/>
                  <a:pt x="1820" y="1916"/>
                  <a:pt x="1820" y="1919"/>
                </a:cubicBezTo>
                <a:cubicBezTo>
                  <a:pt x="1820" y="1921"/>
                  <a:pt x="1821" y="1924"/>
                  <a:pt x="1821" y="1926"/>
                </a:cubicBezTo>
                <a:cubicBezTo>
                  <a:pt x="1821" y="1928"/>
                  <a:pt x="1820" y="1932"/>
                  <a:pt x="1814" y="1932"/>
                </a:cubicBezTo>
                <a:close/>
                <a:moveTo>
                  <a:pt x="1868" y="1940"/>
                </a:moveTo>
                <a:cubicBezTo>
                  <a:pt x="1868" y="1940"/>
                  <a:pt x="1868" y="1940"/>
                  <a:pt x="1868" y="1940"/>
                </a:cubicBezTo>
                <a:cubicBezTo>
                  <a:pt x="1868" y="1932"/>
                  <a:pt x="1868" y="1932"/>
                  <a:pt x="1868" y="1932"/>
                </a:cubicBezTo>
                <a:cubicBezTo>
                  <a:pt x="1862" y="1932"/>
                  <a:pt x="1862" y="1928"/>
                  <a:pt x="1862" y="1926"/>
                </a:cubicBezTo>
                <a:cubicBezTo>
                  <a:pt x="1862" y="1924"/>
                  <a:pt x="1862" y="1921"/>
                  <a:pt x="1862" y="1919"/>
                </a:cubicBezTo>
                <a:cubicBezTo>
                  <a:pt x="1863" y="1916"/>
                  <a:pt x="1863" y="1914"/>
                  <a:pt x="1863" y="1911"/>
                </a:cubicBezTo>
                <a:cubicBezTo>
                  <a:pt x="1863" y="1903"/>
                  <a:pt x="1857" y="1899"/>
                  <a:pt x="1848" y="1899"/>
                </a:cubicBezTo>
                <a:cubicBezTo>
                  <a:pt x="1848" y="1899"/>
                  <a:pt x="1848" y="1899"/>
                  <a:pt x="1844" y="1899"/>
                </a:cubicBezTo>
                <a:cubicBezTo>
                  <a:pt x="1844" y="1899"/>
                  <a:pt x="1844" y="1899"/>
                  <a:pt x="1844" y="1908"/>
                </a:cubicBezTo>
                <a:cubicBezTo>
                  <a:pt x="1844" y="1908"/>
                  <a:pt x="1844" y="1908"/>
                  <a:pt x="1846" y="1908"/>
                </a:cubicBezTo>
                <a:cubicBezTo>
                  <a:pt x="1850" y="1908"/>
                  <a:pt x="1851" y="1910"/>
                  <a:pt x="1851" y="1914"/>
                </a:cubicBezTo>
                <a:cubicBezTo>
                  <a:pt x="1851" y="1915"/>
                  <a:pt x="1851" y="1917"/>
                  <a:pt x="1851" y="1919"/>
                </a:cubicBezTo>
                <a:cubicBezTo>
                  <a:pt x="1850" y="1920"/>
                  <a:pt x="1850" y="1922"/>
                  <a:pt x="1850" y="1925"/>
                </a:cubicBezTo>
                <a:cubicBezTo>
                  <a:pt x="1850" y="1932"/>
                  <a:pt x="1853" y="1935"/>
                  <a:pt x="1859" y="1936"/>
                </a:cubicBezTo>
                <a:cubicBezTo>
                  <a:pt x="1859" y="1936"/>
                  <a:pt x="1859" y="1936"/>
                  <a:pt x="1859" y="1936"/>
                </a:cubicBezTo>
                <a:cubicBezTo>
                  <a:pt x="1853" y="1937"/>
                  <a:pt x="1850" y="1940"/>
                  <a:pt x="1850" y="1947"/>
                </a:cubicBezTo>
                <a:cubicBezTo>
                  <a:pt x="1850" y="1950"/>
                  <a:pt x="1850" y="1952"/>
                  <a:pt x="1851" y="1953"/>
                </a:cubicBezTo>
                <a:cubicBezTo>
                  <a:pt x="1851" y="1955"/>
                  <a:pt x="1851" y="1957"/>
                  <a:pt x="1851" y="1958"/>
                </a:cubicBezTo>
                <a:cubicBezTo>
                  <a:pt x="1851" y="1962"/>
                  <a:pt x="1850" y="1964"/>
                  <a:pt x="1846" y="1964"/>
                </a:cubicBezTo>
                <a:cubicBezTo>
                  <a:pt x="1846" y="1964"/>
                  <a:pt x="1846" y="1964"/>
                  <a:pt x="1844" y="1964"/>
                </a:cubicBezTo>
                <a:cubicBezTo>
                  <a:pt x="1844" y="1964"/>
                  <a:pt x="1844" y="1964"/>
                  <a:pt x="1844" y="1973"/>
                </a:cubicBezTo>
                <a:cubicBezTo>
                  <a:pt x="1844" y="1973"/>
                  <a:pt x="1844" y="1973"/>
                  <a:pt x="1848" y="1973"/>
                </a:cubicBezTo>
                <a:cubicBezTo>
                  <a:pt x="1857" y="1973"/>
                  <a:pt x="1863" y="1970"/>
                  <a:pt x="1863" y="1960"/>
                </a:cubicBezTo>
                <a:cubicBezTo>
                  <a:pt x="1863" y="1958"/>
                  <a:pt x="1863" y="1956"/>
                  <a:pt x="1862" y="1953"/>
                </a:cubicBezTo>
                <a:cubicBezTo>
                  <a:pt x="1862" y="1951"/>
                  <a:pt x="1862" y="1948"/>
                  <a:pt x="1862" y="1946"/>
                </a:cubicBezTo>
                <a:cubicBezTo>
                  <a:pt x="1862" y="1944"/>
                  <a:pt x="1862" y="1941"/>
                  <a:pt x="1868" y="1940"/>
                </a:cubicBezTo>
                <a:close/>
                <a:moveTo>
                  <a:pt x="1010" y="1851"/>
                </a:moveTo>
                <a:cubicBezTo>
                  <a:pt x="1010" y="1853"/>
                  <a:pt x="1011" y="1854"/>
                  <a:pt x="1011" y="1856"/>
                </a:cubicBezTo>
                <a:cubicBezTo>
                  <a:pt x="1012" y="1857"/>
                  <a:pt x="1012" y="1859"/>
                  <a:pt x="1013" y="1861"/>
                </a:cubicBezTo>
                <a:cubicBezTo>
                  <a:pt x="1013" y="1862"/>
                  <a:pt x="1013" y="1864"/>
                  <a:pt x="1013" y="1865"/>
                </a:cubicBezTo>
                <a:cubicBezTo>
                  <a:pt x="1014" y="1869"/>
                  <a:pt x="1013" y="1870"/>
                  <a:pt x="1009" y="1870"/>
                </a:cubicBezTo>
                <a:cubicBezTo>
                  <a:pt x="1007" y="1870"/>
                  <a:pt x="1004" y="1870"/>
                  <a:pt x="1001" y="1870"/>
                </a:cubicBezTo>
                <a:cubicBezTo>
                  <a:pt x="1001" y="1870"/>
                  <a:pt x="1000" y="1870"/>
                  <a:pt x="1000" y="1870"/>
                </a:cubicBezTo>
                <a:cubicBezTo>
                  <a:pt x="998" y="1872"/>
                  <a:pt x="996" y="1873"/>
                  <a:pt x="995" y="1874"/>
                </a:cubicBezTo>
                <a:cubicBezTo>
                  <a:pt x="993" y="1877"/>
                  <a:pt x="990" y="1877"/>
                  <a:pt x="988" y="1875"/>
                </a:cubicBezTo>
                <a:cubicBezTo>
                  <a:pt x="986" y="1873"/>
                  <a:pt x="985" y="1870"/>
                  <a:pt x="983" y="1868"/>
                </a:cubicBezTo>
                <a:cubicBezTo>
                  <a:pt x="982" y="1866"/>
                  <a:pt x="983" y="1865"/>
                  <a:pt x="985" y="1863"/>
                </a:cubicBezTo>
                <a:cubicBezTo>
                  <a:pt x="982" y="1863"/>
                  <a:pt x="981" y="1863"/>
                  <a:pt x="979" y="1863"/>
                </a:cubicBezTo>
                <a:cubicBezTo>
                  <a:pt x="978" y="1865"/>
                  <a:pt x="977" y="1867"/>
                  <a:pt x="976" y="1869"/>
                </a:cubicBezTo>
                <a:cubicBezTo>
                  <a:pt x="976" y="1870"/>
                  <a:pt x="976" y="1870"/>
                  <a:pt x="976" y="1871"/>
                </a:cubicBezTo>
                <a:cubicBezTo>
                  <a:pt x="976" y="1874"/>
                  <a:pt x="975" y="1876"/>
                  <a:pt x="972" y="1875"/>
                </a:cubicBezTo>
                <a:cubicBezTo>
                  <a:pt x="969" y="1875"/>
                  <a:pt x="966" y="1874"/>
                  <a:pt x="963" y="1873"/>
                </a:cubicBezTo>
                <a:cubicBezTo>
                  <a:pt x="961" y="1872"/>
                  <a:pt x="960" y="1871"/>
                  <a:pt x="961" y="1869"/>
                </a:cubicBezTo>
                <a:cubicBezTo>
                  <a:pt x="961" y="1868"/>
                  <a:pt x="961" y="1867"/>
                  <a:pt x="962" y="1867"/>
                </a:cubicBezTo>
                <a:cubicBezTo>
                  <a:pt x="959" y="1866"/>
                  <a:pt x="957" y="1865"/>
                  <a:pt x="955" y="1864"/>
                </a:cubicBezTo>
                <a:cubicBezTo>
                  <a:pt x="954" y="1863"/>
                  <a:pt x="953" y="1861"/>
                  <a:pt x="952" y="1859"/>
                </a:cubicBezTo>
                <a:cubicBezTo>
                  <a:pt x="951" y="1857"/>
                  <a:pt x="951" y="1856"/>
                  <a:pt x="953" y="1854"/>
                </a:cubicBezTo>
                <a:cubicBezTo>
                  <a:pt x="956" y="1852"/>
                  <a:pt x="957" y="1849"/>
                  <a:pt x="956" y="1845"/>
                </a:cubicBezTo>
                <a:cubicBezTo>
                  <a:pt x="956" y="1843"/>
                  <a:pt x="956" y="1841"/>
                  <a:pt x="956" y="1839"/>
                </a:cubicBezTo>
                <a:cubicBezTo>
                  <a:pt x="955" y="1839"/>
                  <a:pt x="953" y="1838"/>
                  <a:pt x="952" y="1837"/>
                </a:cubicBezTo>
                <a:cubicBezTo>
                  <a:pt x="951" y="1835"/>
                  <a:pt x="950" y="1833"/>
                  <a:pt x="950" y="1832"/>
                </a:cubicBezTo>
                <a:cubicBezTo>
                  <a:pt x="950" y="1829"/>
                  <a:pt x="953" y="1826"/>
                  <a:pt x="956" y="1825"/>
                </a:cubicBezTo>
                <a:cubicBezTo>
                  <a:pt x="956" y="1826"/>
                  <a:pt x="956" y="1827"/>
                  <a:pt x="957" y="1828"/>
                </a:cubicBezTo>
                <a:cubicBezTo>
                  <a:pt x="957" y="1829"/>
                  <a:pt x="957" y="1830"/>
                  <a:pt x="957" y="1831"/>
                </a:cubicBezTo>
                <a:cubicBezTo>
                  <a:pt x="956" y="1830"/>
                  <a:pt x="956" y="1830"/>
                  <a:pt x="956" y="1830"/>
                </a:cubicBezTo>
                <a:cubicBezTo>
                  <a:pt x="955" y="1832"/>
                  <a:pt x="955" y="1833"/>
                  <a:pt x="954" y="1835"/>
                </a:cubicBezTo>
                <a:cubicBezTo>
                  <a:pt x="955" y="1834"/>
                  <a:pt x="956" y="1834"/>
                  <a:pt x="956" y="1834"/>
                </a:cubicBezTo>
                <a:cubicBezTo>
                  <a:pt x="958" y="1833"/>
                  <a:pt x="958" y="1832"/>
                  <a:pt x="959" y="1831"/>
                </a:cubicBezTo>
                <a:cubicBezTo>
                  <a:pt x="964" y="1824"/>
                  <a:pt x="969" y="1820"/>
                  <a:pt x="977" y="1819"/>
                </a:cubicBezTo>
                <a:cubicBezTo>
                  <a:pt x="980" y="1818"/>
                  <a:pt x="984" y="1817"/>
                  <a:pt x="986" y="1814"/>
                </a:cubicBezTo>
                <a:cubicBezTo>
                  <a:pt x="986" y="1814"/>
                  <a:pt x="987" y="1813"/>
                  <a:pt x="987" y="1813"/>
                </a:cubicBezTo>
                <a:cubicBezTo>
                  <a:pt x="990" y="1813"/>
                  <a:pt x="991" y="1811"/>
                  <a:pt x="993" y="1809"/>
                </a:cubicBezTo>
                <a:cubicBezTo>
                  <a:pt x="1001" y="1801"/>
                  <a:pt x="1013" y="1801"/>
                  <a:pt x="1020" y="1808"/>
                </a:cubicBezTo>
                <a:cubicBezTo>
                  <a:pt x="1023" y="1809"/>
                  <a:pt x="1025" y="1811"/>
                  <a:pt x="1028" y="1813"/>
                </a:cubicBezTo>
                <a:cubicBezTo>
                  <a:pt x="1029" y="1815"/>
                  <a:pt x="1031" y="1816"/>
                  <a:pt x="1032" y="1818"/>
                </a:cubicBezTo>
                <a:cubicBezTo>
                  <a:pt x="1033" y="1820"/>
                  <a:pt x="1033" y="1820"/>
                  <a:pt x="1034" y="1819"/>
                </a:cubicBezTo>
                <a:cubicBezTo>
                  <a:pt x="1035" y="1818"/>
                  <a:pt x="1036" y="1817"/>
                  <a:pt x="1037" y="1817"/>
                </a:cubicBezTo>
                <a:cubicBezTo>
                  <a:pt x="1039" y="1814"/>
                  <a:pt x="1042" y="1814"/>
                  <a:pt x="1043" y="1817"/>
                </a:cubicBezTo>
                <a:cubicBezTo>
                  <a:pt x="1044" y="1820"/>
                  <a:pt x="1045" y="1823"/>
                  <a:pt x="1045" y="1826"/>
                </a:cubicBezTo>
                <a:cubicBezTo>
                  <a:pt x="1046" y="1830"/>
                  <a:pt x="1046" y="1835"/>
                  <a:pt x="1044" y="1839"/>
                </a:cubicBezTo>
                <a:cubicBezTo>
                  <a:pt x="1042" y="1845"/>
                  <a:pt x="1037" y="1849"/>
                  <a:pt x="1031" y="1849"/>
                </a:cubicBezTo>
                <a:cubicBezTo>
                  <a:pt x="1030" y="1849"/>
                  <a:pt x="1029" y="1849"/>
                  <a:pt x="1029" y="1849"/>
                </a:cubicBezTo>
                <a:cubicBezTo>
                  <a:pt x="1026" y="1848"/>
                  <a:pt x="1025" y="1849"/>
                  <a:pt x="1024" y="1851"/>
                </a:cubicBezTo>
                <a:cubicBezTo>
                  <a:pt x="1023" y="1856"/>
                  <a:pt x="1017" y="1857"/>
                  <a:pt x="1014" y="1854"/>
                </a:cubicBezTo>
                <a:cubicBezTo>
                  <a:pt x="1013" y="1853"/>
                  <a:pt x="1012" y="1852"/>
                  <a:pt x="1011" y="1851"/>
                </a:cubicBezTo>
                <a:cubicBezTo>
                  <a:pt x="1010" y="1851"/>
                  <a:pt x="1010" y="1851"/>
                  <a:pt x="1010" y="1851"/>
                </a:cubicBezTo>
                <a:close/>
                <a:moveTo>
                  <a:pt x="1004" y="1847"/>
                </a:moveTo>
                <a:cubicBezTo>
                  <a:pt x="1008" y="1848"/>
                  <a:pt x="1011" y="1850"/>
                  <a:pt x="1014" y="1852"/>
                </a:cubicBezTo>
                <a:cubicBezTo>
                  <a:pt x="1016" y="1854"/>
                  <a:pt x="1018" y="1855"/>
                  <a:pt x="1020" y="1854"/>
                </a:cubicBezTo>
                <a:cubicBezTo>
                  <a:pt x="1022" y="1853"/>
                  <a:pt x="1024" y="1851"/>
                  <a:pt x="1024" y="1848"/>
                </a:cubicBezTo>
                <a:cubicBezTo>
                  <a:pt x="1024" y="1848"/>
                  <a:pt x="1023" y="1848"/>
                  <a:pt x="1023" y="1849"/>
                </a:cubicBezTo>
                <a:cubicBezTo>
                  <a:pt x="1022" y="1850"/>
                  <a:pt x="1021" y="1851"/>
                  <a:pt x="1020" y="1852"/>
                </a:cubicBezTo>
                <a:cubicBezTo>
                  <a:pt x="1019" y="1854"/>
                  <a:pt x="1018" y="1853"/>
                  <a:pt x="1017" y="1853"/>
                </a:cubicBezTo>
                <a:cubicBezTo>
                  <a:pt x="1016" y="1853"/>
                  <a:pt x="1016" y="1852"/>
                  <a:pt x="1016" y="1851"/>
                </a:cubicBezTo>
                <a:cubicBezTo>
                  <a:pt x="1016" y="1848"/>
                  <a:pt x="1016" y="1846"/>
                  <a:pt x="1017" y="1845"/>
                </a:cubicBezTo>
                <a:cubicBezTo>
                  <a:pt x="1020" y="1845"/>
                  <a:pt x="1023" y="1846"/>
                  <a:pt x="1027" y="1847"/>
                </a:cubicBezTo>
                <a:cubicBezTo>
                  <a:pt x="1034" y="1848"/>
                  <a:pt x="1040" y="1846"/>
                  <a:pt x="1043" y="1838"/>
                </a:cubicBezTo>
                <a:cubicBezTo>
                  <a:pt x="1045" y="1833"/>
                  <a:pt x="1044" y="1828"/>
                  <a:pt x="1044" y="1823"/>
                </a:cubicBezTo>
                <a:cubicBezTo>
                  <a:pt x="1043" y="1821"/>
                  <a:pt x="1042" y="1820"/>
                  <a:pt x="1042" y="1818"/>
                </a:cubicBezTo>
                <a:cubicBezTo>
                  <a:pt x="1041" y="1816"/>
                  <a:pt x="1040" y="1816"/>
                  <a:pt x="1038" y="1817"/>
                </a:cubicBezTo>
                <a:cubicBezTo>
                  <a:pt x="1037" y="1819"/>
                  <a:pt x="1035" y="1821"/>
                  <a:pt x="1033" y="1821"/>
                </a:cubicBezTo>
                <a:cubicBezTo>
                  <a:pt x="1033" y="1822"/>
                  <a:pt x="1032" y="1822"/>
                  <a:pt x="1032" y="1824"/>
                </a:cubicBezTo>
                <a:cubicBezTo>
                  <a:pt x="1033" y="1827"/>
                  <a:pt x="1032" y="1830"/>
                  <a:pt x="1031" y="1833"/>
                </a:cubicBezTo>
                <a:cubicBezTo>
                  <a:pt x="1031" y="1831"/>
                  <a:pt x="1031" y="1829"/>
                  <a:pt x="1031" y="1828"/>
                </a:cubicBezTo>
                <a:cubicBezTo>
                  <a:pt x="1031" y="1827"/>
                  <a:pt x="1031" y="1826"/>
                  <a:pt x="1031" y="1826"/>
                </a:cubicBezTo>
                <a:cubicBezTo>
                  <a:pt x="1030" y="1826"/>
                  <a:pt x="1029" y="1826"/>
                  <a:pt x="1029" y="1827"/>
                </a:cubicBezTo>
                <a:cubicBezTo>
                  <a:pt x="1029" y="1828"/>
                  <a:pt x="1028" y="1830"/>
                  <a:pt x="1027" y="1831"/>
                </a:cubicBezTo>
                <a:cubicBezTo>
                  <a:pt x="1027" y="1831"/>
                  <a:pt x="1027" y="1831"/>
                  <a:pt x="1027" y="1831"/>
                </a:cubicBezTo>
                <a:cubicBezTo>
                  <a:pt x="1027" y="1829"/>
                  <a:pt x="1027" y="1828"/>
                  <a:pt x="1028" y="1825"/>
                </a:cubicBezTo>
                <a:cubicBezTo>
                  <a:pt x="1027" y="1826"/>
                  <a:pt x="1026" y="1826"/>
                  <a:pt x="1025" y="1827"/>
                </a:cubicBezTo>
                <a:cubicBezTo>
                  <a:pt x="1025" y="1828"/>
                  <a:pt x="1025" y="1828"/>
                  <a:pt x="1024" y="1829"/>
                </a:cubicBezTo>
                <a:cubicBezTo>
                  <a:pt x="1025" y="1826"/>
                  <a:pt x="1025" y="1826"/>
                  <a:pt x="1031" y="1824"/>
                </a:cubicBezTo>
                <a:cubicBezTo>
                  <a:pt x="1031" y="1824"/>
                  <a:pt x="1030" y="1823"/>
                  <a:pt x="1030" y="1823"/>
                </a:cubicBezTo>
                <a:cubicBezTo>
                  <a:pt x="1027" y="1824"/>
                  <a:pt x="1026" y="1822"/>
                  <a:pt x="1026" y="1820"/>
                </a:cubicBezTo>
                <a:cubicBezTo>
                  <a:pt x="1027" y="1820"/>
                  <a:pt x="1029" y="1819"/>
                  <a:pt x="1031" y="1819"/>
                </a:cubicBezTo>
                <a:cubicBezTo>
                  <a:pt x="1029" y="1817"/>
                  <a:pt x="1027" y="1814"/>
                  <a:pt x="1024" y="1813"/>
                </a:cubicBezTo>
                <a:cubicBezTo>
                  <a:pt x="1024" y="1813"/>
                  <a:pt x="1024" y="1813"/>
                  <a:pt x="1024" y="1813"/>
                </a:cubicBezTo>
                <a:cubicBezTo>
                  <a:pt x="1021" y="1811"/>
                  <a:pt x="1019" y="1808"/>
                  <a:pt x="1016" y="1806"/>
                </a:cubicBezTo>
                <a:cubicBezTo>
                  <a:pt x="1014" y="1805"/>
                  <a:pt x="1011" y="1804"/>
                  <a:pt x="1009" y="1804"/>
                </a:cubicBezTo>
                <a:cubicBezTo>
                  <a:pt x="1005" y="1805"/>
                  <a:pt x="1002" y="1806"/>
                  <a:pt x="999" y="1807"/>
                </a:cubicBezTo>
                <a:cubicBezTo>
                  <a:pt x="996" y="1808"/>
                  <a:pt x="994" y="1809"/>
                  <a:pt x="992" y="1813"/>
                </a:cubicBezTo>
                <a:cubicBezTo>
                  <a:pt x="994" y="1813"/>
                  <a:pt x="995" y="1813"/>
                  <a:pt x="996" y="1813"/>
                </a:cubicBezTo>
                <a:cubicBezTo>
                  <a:pt x="996" y="1813"/>
                  <a:pt x="995" y="1813"/>
                  <a:pt x="994" y="1813"/>
                </a:cubicBezTo>
                <a:cubicBezTo>
                  <a:pt x="992" y="1814"/>
                  <a:pt x="989" y="1813"/>
                  <a:pt x="987" y="1816"/>
                </a:cubicBezTo>
                <a:cubicBezTo>
                  <a:pt x="984" y="1820"/>
                  <a:pt x="980" y="1823"/>
                  <a:pt x="976" y="1828"/>
                </a:cubicBezTo>
                <a:cubicBezTo>
                  <a:pt x="974" y="1830"/>
                  <a:pt x="974" y="1832"/>
                  <a:pt x="973" y="1834"/>
                </a:cubicBezTo>
                <a:cubicBezTo>
                  <a:pt x="973" y="1835"/>
                  <a:pt x="973" y="1835"/>
                  <a:pt x="973" y="1836"/>
                </a:cubicBezTo>
                <a:cubicBezTo>
                  <a:pt x="974" y="1838"/>
                  <a:pt x="975" y="1840"/>
                  <a:pt x="977" y="1842"/>
                </a:cubicBezTo>
                <a:cubicBezTo>
                  <a:pt x="978" y="1840"/>
                  <a:pt x="979" y="1839"/>
                  <a:pt x="980" y="1837"/>
                </a:cubicBezTo>
                <a:cubicBezTo>
                  <a:pt x="980" y="1839"/>
                  <a:pt x="980" y="1840"/>
                  <a:pt x="979" y="1841"/>
                </a:cubicBezTo>
                <a:cubicBezTo>
                  <a:pt x="978" y="1843"/>
                  <a:pt x="977" y="1844"/>
                  <a:pt x="977" y="1845"/>
                </a:cubicBezTo>
                <a:cubicBezTo>
                  <a:pt x="976" y="1846"/>
                  <a:pt x="977" y="1847"/>
                  <a:pt x="977" y="1848"/>
                </a:cubicBezTo>
                <a:cubicBezTo>
                  <a:pt x="980" y="1852"/>
                  <a:pt x="983" y="1852"/>
                  <a:pt x="987" y="1850"/>
                </a:cubicBezTo>
                <a:cubicBezTo>
                  <a:pt x="989" y="1848"/>
                  <a:pt x="992" y="1847"/>
                  <a:pt x="994" y="1846"/>
                </a:cubicBezTo>
                <a:cubicBezTo>
                  <a:pt x="996" y="1846"/>
                  <a:pt x="997" y="1845"/>
                  <a:pt x="997" y="1843"/>
                </a:cubicBezTo>
                <a:cubicBezTo>
                  <a:pt x="997" y="1840"/>
                  <a:pt x="997" y="1837"/>
                  <a:pt x="997" y="1833"/>
                </a:cubicBezTo>
                <a:cubicBezTo>
                  <a:pt x="997" y="1830"/>
                  <a:pt x="997" y="1828"/>
                  <a:pt x="997" y="1824"/>
                </a:cubicBezTo>
                <a:cubicBezTo>
                  <a:pt x="998" y="1827"/>
                  <a:pt x="998" y="1830"/>
                  <a:pt x="999" y="1832"/>
                </a:cubicBezTo>
                <a:cubicBezTo>
                  <a:pt x="1000" y="1837"/>
                  <a:pt x="1000" y="1841"/>
                  <a:pt x="998" y="1846"/>
                </a:cubicBezTo>
                <a:cubicBezTo>
                  <a:pt x="998" y="1846"/>
                  <a:pt x="997" y="1847"/>
                  <a:pt x="997" y="1847"/>
                </a:cubicBezTo>
                <a:cubicBezTo>
                  <a:pt x="993" y="1848"/>
                  <a:pt x="990" y="1850"/>
                  <a:pt x="987" y="1851"/>
                </a:cubicBezTo>
                <a:cubicBezTo>
                  <a:pt x="982" y="1854"/>
                  <a:pt x="978" y="1852"/>
                  <a:pt x="975" y="1848"/>
                </a:cubicBezTo>
                <a:cubicBezTo>
                  <a:pt x="974" y="1848"/>
                  <a:pt x="974" y="1847"/>
                  <a:pt x="975" y="1846"/>
                </a:cubicBezTo>
                <a:cubicBezTo>
                  <a:pt x="976" y="1844"/>
                  <a:pt x="975" y="1842"/>
                  <a:pt x="973" y="1840"/>
                </a:cubicBezTo>
                <a:cubicBezTo>
                  <a:pt x="972" y="1838"/>
                  <a:pt x="970" y="1836"/>
                  <a:pt x="971" y="1833"/>
                </a:cubicBezTo>
                <a:cubicBezTo>
                  <a:pt x="972" y="1831"/>
                  <a:pt x="973" y="1830"/>
                  <a:pt x="974" y="1828"/>
                </a:cubicBezTo>
                <a:cubicBezTo>
                  <a:pt x="976" y="1825"/>
                  <a:pt x="978" y="1823"/>
                  <a:pt x="980" y="1820"/>
                </a:cubicBezTo>
                <a:cubicBezTo>
                  <a:pt x="980" y="1820"/>
                  <a:pt x="979" y="1820"/>
                  <a:pt x="979" y="1820"/>
                </a:cubicBezTo>
                <a:cubicBezTo>
                  <a:pt x="974" y="1821"/>
                  <a:pt x="969" y="1823"/>
                  <a:pt x="965" y="1826"/>
                </a:cubicBezTo>
                <a:cubicBezTo>
                  <a:pt x="961" y="1830"/>
                  <a:pt x="958" y="1835"/>
                  <a:pt x="958" y="1842"/>
                </a:cubicBezTo>
                <a:cubicBezTo>
                  <a:pt x="957" y="1849"/>
                  <a:pt x="960" y="1855"/>
                  <a:pt x="963" y="1861"/>
                </a:cubicBezTo>
                <a:cubicBezTo>
                  <a:pt x="964" y="1861"/>
                  <a:pt x="964" y="1863"/>
                  <a:pt x="964" y="1864"/>
                </a:cubicBezTo>
                <a:cubicBezTo>
                  <a:pt x="964" y="1866"/>
                  <a:pt x="964" y="1867"/>
                  <a:pt x="963" y="1869"/>
                </a:cubicBezTo>
                <a:cubicBezTo>
                  <a:pt x="962" y="1870"/>
                  <a:pt x="963" y="1871"/>
                  <a:pt x="964" y="1872"/>
                </a:cubicBezTo>
                <a:cubicBezTo>
                  <a:pt x="967" y="1872"/>
                  <a:pt x="970" y="1873"/>
                  <a:pt x="973" y="1873"/>
                </a:cubicBezTo>
                <a:cubicBezTo>
                  <a:pt x="973" y="1873"/>
                  <a:pt x="974" y="1872"/>
                  <a:pt x="974" y="1872"/>
                </a:cubicBezTo>
                <a:cubicBezTo>
                  <a:pt x="974" y="1871"/>
                  <a:pt x="974" y="1869"/>
                  <a:pt x="975" y="1869"/>
                </a:cubicBezTo>
                <a:cubicBezTo>
                  <a:pt x="977" y="1866"/>
                  <a:pt x="977" y="1863"/>
                  <a:pt x="977" y="1861"/>
                </a:cubicBezTo>
                <a:cubicBezTo>
                  <a:pt x="977" y="1860"/>
                  <a:pt x="977" y="1860"/>
                  <a:pt x="977" y="1859"/>
                </a:cubicBezTo>
                <a:cubicBezTo>
                  <a:pt x="977" y="1859"/>
                  <a:pt x="977" y="1859"/>
                  <a:pt x="977" y="1859"/>
                </a:cubicBezTo>
                <a:cubicBezTo>
                  <a:pt x="978" y="1861"/>
                  <a:pt x="979" y="1861"/>
                  <a:pt x="981" y="1861"/>
                </a:cubicBezTo>
                <a:cubicBezTo>
                  <a:pt x="982" y="1861"/>
                  <a:pt x="983" y="1861"/>
                  <a:pt x="984" y="1861"/>
                </a:cubicBezTo>
                <a:cubicBezTo>
                  <a:pt x="986" y="1861"/>
                  <a:pt x="989" y="1862"/>
                  <a:pt x="990" y="1858"/>
                </a:cubicBezTo>
                <a:cubicBezTo>
                  <a:pt x="990" y="1860"/>
                  <a:pt x="990" y="1862"/>
                  <a:pt x="990" y="1863"/>
                </a:cubicBezTo>
                <a:cubicBezTo>
                  <a:pt x="989" y="1863"/>
                  <a:pt x="987" y="1864"/>
                  <a:pt x="986" y="1865"/>
                </a:cubicBezTo>
                <a:cubicBezTo>
                  <a:pt x="985" y="1865"/>
                  <a:pt x="984" y="1867"/>
                  <a:pt x="985" y="1868"/>
                </a:cubicBezTo>
                <a:cubicBezTo>
                  <a:pt x="986" y="1870"/>
                  <a:pt x="987" y="1872"/>
                  <a:pt x="989" y="1874"/>
                </a:cubicBezTo>
                <a:cubicBezTo>
                  <a:pt x="991" y="1875"/>
                  <a:pt x="993" y="1875"/>
                  <a:pt x="994" y="1873"/>
                </a:cubicBezTo>
                <a:cubicBezTo>
                  <a:pt x="994" y="1872"/>
                  <a:pt x="995" y="1872"/>
                  <a:pt x="996" y="1871"/>
                </a:cubicBezTo>
                <a:cubicBezTo>
                  <a:pt x="998" y="1870"/>
                  <a:pt x="999" y="1869"/>
                  <a:pt x="1001" y="1867"/>
                </a:cubicBezTo>
                <a:cubicBezTo>
                  <a:pt x="1005" y="1863"/>
                  <a:pt x="1007" y="1857"/>
                  <a:pt x="1009" y="1851"/>
                </a:cubicBezTo>
                <a:cubicBezTo>
                  <a:pt x="1009" y="1851"/>
                  <a:pt x="1008" y="1850"/>
                  <a:pt x="1007" y="1850"/>
                </a:cubicBezTo>
                <a:cubicBezTo>
                  <a:pt x="1007" y="1848"/>
                  <a:pt x="1005" y="1848"/>
                  <a:pt x="1004" y="1847"/>
                </a:cubicBezTo>
                <a:close/>
                <a:moveTo>
                  <a:pt x="957" y="1853"/>
                </a:moveTo>
                <a:cubicBezTo>
                  <a:pt x="956" y="1854"/>
                  <a:pt x="955" y="1855"/>
                  <a:pt x="954" y="1856"/>
                </a:cubicBezTo>
                <a:cubicBezTo>
                  <a:pt x="953" y="1856"/>
                  <a:pt x="953" y="1857"/>
                  <a:pt x="953" y="1858"/>
                </a:cubicBezTo>
                <a:cubicBezTo>
                  <a:pt x="953" y="1861"/>
                  <a:pt x="957" y="1865"/>
                  <a:pt x="960" y="1865"/>
                </a:cubicBezTo>
                <a:cubicBezTo>
                  <a:pt x="962" y="1865"/>
                  <a:pt x="963" y="1863"/>
                  <a:pt x="962" y="1862"/>
                </a:cubicBezTo>
                <a:cubicBezTo>
                  <a:pt x="960" y="1859"/>
                  <a:pt x="959" y="1856"/>
                  <a:pt x="957" y="1853"/>
                </a:cubicBezTo>
                <a:close/>
                <a:moveTo>
                  <a:pt x="1010" y="1855"/>
                </a:moveTo>
                <a:cubicBezTo>
                  <a:pt x="1007" y="1860"/>
                  <a:pt x="1005" y="1864"/>
                  <a:pt x="1003" y="1869"/>
                </a:cubicBezTo>
                <a:cubicBezTo>
                  <a:pt x="1005" y="1869"/>
                  <a:pt x="1008" y="1869"/>
                  <a:pt x="1011" y="1869"/>
                </a:cubicBezTo>
                <a:cubicBezTo>
                  <a:pt x="1011" y="1869"/>
                  <a:pt x="1011" y="1867"/>
                  <a:pt x="1011" y="1867"/>
                </a:cubicBezTo>
                <a:cubicBezTo>
                  <a:pt x="1011" y="1864"/>
                  <a:pt x="1011" y="1862"/>
                  <a:pt x="1011" y="1859"/>
                </a:cubicBezTo>
                <a:cubicBezTo>
                  <a:pt x="1011"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2"/>
                  <a:pt x="954" y="1830"/>
                  <a:pt x="955" y="1828"/>
                </a:cubicBezTo>
                <a:cubicBezTo>
                  <a:pt x="954" y="1828"/>
                  <a:pt x="954" y="1828"/>
                  <a:pt x="954" y="1828"/>
                </a:cubicBezTo>
                <a:cubicBezTo>
                  <a:pt x="953" y="1828"/>
                  <a:pt x="952" y="1829"/>
                  <a:pt x="951" y="1830"/>
                </a:cubicBezTo>
                <a:cubicBezTo>
                  <a:pt x="951" y="1832"/>
                  <a:pt x="952" y="1837"/>
                  <a:pt x="954" y="1837"/>
                </a:cubicBezTo>
                <a:cubicBezTo>
                  <a:pt x="955" y="1838"/>
                  <a:pt x="957" y="1837"/>
                  <a:pt x="957" y="1835"/>
                </a:cubicBezTo>
                <a:close/>
                <a:moveTo>
                  <a:pt x="957" y="1853"/>
                </a:moveTo>
                <a:cubicBezTo>
                  <a:pt x="956" y="1854"/>
                  <a:pt x="955" y="1855"/>
                  <a:pt x="953" y="1856"/>
                </a:cubicBezTo>
                <a:cubicBezTo>
                  <a:pt x="953" y="1856"/>
                  <a:pt x="953" y="1857"/>
                  <a:pt x="953" y="1858"/>
                </a:cubicBezTo>
                <a:cubicBezTo>
                  <a:pt x="953" y="1861"/>
                  <a:pt x="957" y="1865"/>
                  <a:pt x="960" y="1865"/>
                </a:cubicBezTo>
                <a:cubicBezTo>
                  <a:pt x="962" y="1865"/>
                  <a:pt x="963" y="1864"/>
                  <a:pt x="962" y="1862"/>
                </a:cubicBezTo>
                <a:cubicBezTo>
                  <a:pt x="960" y="1859"/>
                  <a:pt x="959" y="1856"/>
                  <a:pt x="957" y="1853"/>
                </a:cubicBezTo>
                <a:close/>
                <a:moveTo>
                  <a:pt x="1010" y="1855"/>
                </a:moveTo>
                <a:cubicBezTo>
                  <a:pt x="1007" y="1860"/>
                  <a:pt x="1005" y="1864"/>
                  <a:pt x="1003" y="1869"/>
                </a:cubicBezTo>
                <a:cubicBezTo>
                  <a:pt x="1005" y="1869"/>
                  <a:pt x="1008" y="1869"/>
                  <a:pt x="1010" y="1869"/>
                </a:cubicBezTo>
                <a:cubicBezTo>
                  <a:pt x="1011" y="1869"/>
                  <a:pt x="1011" y="1867"/>
                  <a:pt x="1011" y="1867"/>
                </a:cubicBezTo>
                <a:cubicBezTo>
                  <a:pt x="1011" y="1864"/>
                  <a:pt x="1011" y="1862"/>
                  <a:pt x="1011" y="1859"/>
                </a:cubicBezTo>
                <a:cubicBezTo>
                  <a:pt x="1010"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1"/>
                  <a:pt x="954" y="1829"/>
                  <a:pt x="955" y="1827"/>
                </a:cubicBezTo>
                <a:cubicBezTo>
                  <a:pt x="954" y="1827"/>
                  <a:pt x="954" y="1827"/>
                  <a:pt x="954" y="1827"/>
                </a:cubicBezTo>
                <a:cubicBezTo>
                  <a:pt x="953" y="1828"/>
                  <a:pt x="952" y="1829"/>
                  <a:pt x="951" y="1830"/>
                </a:cubicBezTo>
                <a:cubicBezTo>
                  <a:pt x="951" y="1831"/>
                  <a:pt x="952" y="1837"/>
                  <a:pt x="954" y="1837"/>
                </a:cubicBezTo>
                <a:cubicBezTo>
                  <a:pt x="955" y="1838"/>
                  <a:pt x="957" y="1837"/>
                  <a:pt x="957" y="1835"/>
                </a:cubicBezTo>
                <a:close/>
                <a:moveTo>
                  <a:pt x="1009" y="1827"/>
                </a:moveTo>
                <a:cubicBezTo>
                  <a:pt x="1013" y="1823"/>
                  <a:pt x="1013" y="1823"/>
                  <a:pt x="1017" y="1822"/>
                </a:cubicBezTo>
                <a:cubicBezTo>
                  <a:pt x="1017" y="1824"/>
                  <a:pt x="1018" y="1825"/>
                  <a:pt x="1019" y="1825"/>
                </a:cubicBezTo>
                <a:cubicBezTo>
                  <a:pt x="1017" y="1826"/>
                  <a:pt x="1015" y="1828"/>
                  <a:pt x="1013" y="1829"/>
                </a:cubicBezTo>
                <a:cubicBezTo>
                  <a:pt x="1012" y="1828"/>
                  <a:pt x="1012" y="1828"/>
                  <a:pt x="1011" y="1826"/>
                </a:cubicBezTo>
                <a:cubicBezTo>
                  <a:pt x="1011" y="1826"/>
                  <a:pt x="1010" y="1826"/>
                  <a:pt x="1009" y="1827"/>
                </a:cubicBezTo>
                <a:close/>
                <a:moveTo>
                  <a:pt x="1015" y="1826"/>
                </a:moveTo>
                <a:cubicBezTo>
                  <a:pt x="1015" y="1826"/>
                  <a:pt x="1014" y="1826"/>
                  <a:pt x="1013" y="1826"/>
                </a:cubicBezTo>
                <a:cubicBezTo>
                  <a:pt x="1013" y="1826"/>
                  <a:pt x="1012" y="1826"/>
                  <a:pt x="1012" y="1827"/>
                </a:cubicBezTo>
                <a:cubicBezTo>
                  <a:pt x="1012" y="1827"/>
                  <a:pt x="1013" y="1828"/>
                  <a:pt x="1013" y="1828"/>
                </a:cubicBezTo>
                <a:cubicBezTo>
                  <a:pt x="1014" y="1828"/>
                  <a:pt x="1014" y="1827"/>
                  <a:pt x="1015" y="1826"/>
                </a:cubicBezTo>
                <a:close/>
                <a:moveTo>
                  <a:pt x="996" y="1817"/>
                </a:moveTo>
                <a:cubicBezTo>
                  <a:pt x="990" y="1816"/>
                  <a:pt x="987" y="1819"/>
                  <a:pt x="986" y="1826"/>
                </a:cubicBezTo>
                <a:cubicBezTo>
                  <a:pt x="987" y="1824"/>
                  <a:pt x="988" y="1822"/>
                  <a:pt x="989" y="1820"/>
                </a:cubicBezTo>
                <a:cubicBezTo>
                  <a:pt x="990" y="1820"/>
                  <a:pt x="990" y="1820"/>
                  <a:pt x="990" y="1820"/>
                </a:cubicBezTo>
                <a:cubicBezTo>
                  <a:pt x="990" y="1821"/>
                  <a:pt x="990" y="1822"/>
                  <a:pt x="990" y="1822"/>
                </a:cubicBezTo>
                <a:cubicBezTo>
                  <a:pt x="991" y="1819"/>
                  <a:pt x="993" y="1817"/>
                  <a:pt x="996" y="1817"/>
                </a:cubicBezTo>
                <a:close/>
                <a:moveTo>
                  <a:pt x="1040" y="1818"/>
                </a:moveTo>
                <a:cubicBezTo>
                  <a:pt x="1038" y="1819"/>
                  <a:pt x="1036" y="1821"/>
                  <a:pt x="1035" y="1822"/>
                </a:cubicBezTo>
                <a:cubicBezTo>
                  <a:pt x="1037" y="1823"/>
                  <a:pt x="1039" y="1821"/>
                  <a:pt x="1040" y="1818"/>
                </a:cubicBezTo>
                <a:close/>
                <a:moveTo>
                  <a:pt x="1007" y="1821"/>
                </a:moveTo>
                <a:cubicBezTo>
                  <a:pt x="1008" y="1819"/>
                  <a:pt x="1009" y="1818"/>
                  <a:pt x="1010" y="1817"/>
                </a:cubicBezTo>
                <a:cubicBezTo>
                  <a:pt x="1007" y="1818"/>
                  <a:pt x="1006" y="1819"/>
                  <a:pt x="1007" y="1821"/>
                </a:cubicBezTo>
                <a:close/>
                <a:moveTo>
                  <a:pt x="1016" y="1842"/>
                </a:moveTo>
                <a:cubicBezTo>
                  <a:pt x="1015" y="1842"/>
                  <a:pt x="1014" y="1843"/>
                  <a:pt x="1014" y="1844"/>
                </a:cubicBezTo>
                <a:cubicBezTo>
                  <a:pt x="1014" y="1843"/>
                  <a:pt x="1016" y="1842"/>
                  <a:pt x="1016" y="1842"/>
                </a:cubicBezTo>
                <a:close/>
                <a:moveTo>
                  <a:pt x="1016" y="1826"/>
                </a:moveTo>
                <a:cubicBezTo>
                  <a:pt x="1015" y="1826"/>
                  <a:pt x="1014" y="1825"/>
                  <a:pt x="1013" y="1825"/>
                </a:cubicBezTo>
                <a:cubicBezTo>
                  <a:pt x="1013" y="1825"/>
                  <a:pt x="1012" y="1826"/>
                  <a:pt x="1012" y="1827"/>
                </a:cubicBezTo>
                <a:cubicBezTo>
                  <a:pt x="1012" y="1827"/>
                  <a:pt x="1013" y="1828"/>
                  <a:pt x="1013" y="1828"/>
                </a:cubicBezTo>
                <a:cubicBezTo>
                  <a:pt x="1014" y="1828"/>
                  <a:pt x="1014" y="1827"/>
                  <a:pt x="1016" y="1826"/>
                </a:cubicBezTo>
                <a:close/>
                <a:moveTo>
                  <a:pt x="1540" y="1947"/>
                </a:moveTo>
                <a:cubicBezTo>
                  <a:pt x="1540" y="1949"/>
                  <a:pt x="1541" y="1950"/>
                  <a:pt x="1541" y="1951"/>
                </a:cubicBezTo>
                <a:cubicBezTo>
                  <a:pt x="1542" y="1953"/>
                  <a:pt x="1542" y="1955"/>
                  <a:pt x="1542" y="1957"/>
                </a:cubicBezTo>
                <a:cubicBezTo>
                  <a:pt x="1542" y="1958"/>
                  <a:pt x="1543" y="1960"/>
                  <a:pt x="1543" y="1961"/>
                </a:cubicBezTo>
                <a:cubicBezTo>
                  <a:pt x="1544" y="1964"/>
                  <a:pt x="1542" y="1966"/>
                  <a:pt x="1539" y="1966"/>
                </a:cubicBezTo>
                <a:cubicBezTo>
                  <a:pt x="1537" y="1966"/>
                  <a:pt x="1534" y="1966"/>
                  <a:pt x="1531" y="1966"/>
                </a:cubicBezTo>
                <a:cubicBezTo>
                  <a:pt x="1531" y="1966"/>
                  <a:pt x="1530" y="1966"/>
                  <a:pt x="1530" y="1966"/>
                </a:cubicBezTo>
                <a:cubicBezTo>
                  <a:pt x="1528" y="1968"/>
                  <a:pt x="1526" y="1969"/>
                  <a:pt x="1525" y="1970"/>
                </a:cubicBezTo>
                <a:cubicBezTo>
                  <a:pt x="1523" y="1973"/>
                  <a:pt x="1520" y="1973"/>
                  <a:pt x="1518" y="1971"/>
                </a:cubicBezTo>
                <a:cubicBezTo>
                  <a:pt x="1516" y="1969"/>
                  <a:pt x="1515" y="1966"/>
                  <a:pt x="1513" y="1964"/>
                </a:cubicBezTo>
                <a:cubicBezTo>
                  <a:pt x="1512" y="1962"/>
                  <a:pt x="1513" y="1960"/>
                  <a:pt x="1515" y="1959"/>
                </a:cubicBezTo>
                <a:cubicBezTo>
                  <a:pt x="1512" y="1959"/>
                  <a:pt x="1511" y="1959"/>
                  <a:pt x="1509" y="1959"/>
                </a:cubicBezTo>
                <a:cubicBezTo>
                  <a:pt x="1508" y="1961"/>
                  <a:pt x="1507" y="1963"/>
                  <a:pt x="1506" y="1965"/>
                </a:cubicBezTo>
                <a:cubicBezTo>
                  <a:pt x="1506" y="1966"/>
                  <a:pt x="1506" y="1966"/>
                  <a:pt x="1506" y="1967"/>
                </a:cubicBezTo>
                <a:cubicBezTo>
                  <a:pt x="1506" y="1970"/>
                  <a:pt x="1505" y="1972"/>
                  <a:pt x="1502" y="1971"/>
                </a:cubicBezTo>
                <a:cubicBezTo>
                  <a:pt x="1499" y="1971"/>
                  <a:pt x="1496" y="1970"/>
                  <a:pt x="1493" y="1969"/>
                </a:cubicBezTo>
                <a:cubicBezTo>
                  <a:pt x="1491" y="1968"/>
                  <a:pt x="1490" y="1967"/>
                  <a:pt x="1491" y="1965"/>
                </a:cubicBezTo>
                <a:cubicBezTo>
                  <a:pt x="1491" y="1964"/>
                  <a:pt x="1491" y="1963"/>
                  <a:pt x="1491" y="1963"/>
                </a:cubicBezTo>
                <a:cubicBezTo>
                  <a:pt x="1489" y="1962"/>
                  <a:pt x="1487" y="1961"/>
                  <a:pt x="1485" y="1960"/>
                </a:cubicBezTo>
                <a:cubicBezTo>
                  <a:pt x="1484" y="1959"/>
                  <a:pt x="1482" y="1957"/>
                  <a:pt x="1482" y="1955"/>
                </a:cubicBezTo>
                <a:cubicBezTo>
                  <a:pt x="1481" y="1953"/>
                  <a:pt x="1481" y="1952"/>
                  <a:pt x="1483" y="1950"/>
                </a:cubicBezTo>
                <a:cubicBezTo>
                  <a:pt x="1486" y="1948"/>
                  <a:pt x="1487" y="1945"/>
                  <a:pt x="1486" y="1941"/>
                </a:cubicBezTo>
                <a:cubicBezTo>
                  <a:pt x="1486" y="1939"/>
                  <a:pt x="1486" y="1937"/>
                  <a:pt x="1486" y="1935"/>
                </a:cubicBezTo>
                <a:cubicBezTo>
                  <a:pt x="1485" y="1934"/>
                  <a:pt x="1483" y="1934"/>
                  <a:pt x="1482" y="1933"/>
                </a:cubicBezTo>
                <a:cubicBezTo>
                  <a:pt x="1481" y="1931"/>
                  <a:pt x="1480" y="1929"/>
                  <a:pt x="1480" y="1927"/>
                </a:cubicBezTo>
                <a:cubicBezTo>
                  <a:pt x="1480" y="1924"/>
                  <a:pt x="1483" y="1922"/>
                  <a:pt x="1486" y="1921"/>
                </a:cubicBezTo>
                <a:cubicBezTo>
                  <a:pt x="1486" y="1922"/>
                  <a:pt x="1486" y="1922"/>
                  <a:pt x="1487" y="1923"/>
                </a:cubicBezTo>
                <a:cubicBezTo>
                  <a:pt x="1487" y="1924"/>
                  <a:pt x="1487" y="1925"/>
                  <a:pt x="1487" y="1926"/>
                </a:cubicBezTo>
                <a:cubicBezTo>
                  <a:pt x="1486" y="1926"/>
                  <a:pt x="1486" y="1926"/>
                  <a:pt x="1486" y="1926"/>
                </a:cubicBezTo>
                <a:cubicBezTo>
                  <a:pt x="1485" y="1927"/>
                  <a:pt x="1485" y="1928"/>
                  <a:pt x="1484" y="1930"/>
                </a:cubicBezTo>
                <a:cubicBezTo>
                  <a:pt x="1485" y="1930"/>
                  <a:pt x="1486" y="1930"/>
                  <a:pt x="1486" y="1930"/>
                </a:cubicBezTo>
                <a:cubicBezTo>
                  <a:pt x="1488" y="1928"/>
                  <a:pt x="1488" y="1928"/>
                  <a:pt x="1489" y="1926"/>
                </a:cubicBezTo>
                <a:cubicBezTo>
                  <a:pt x="1493" y="1920"/>
                  <a:pt x="1499" y="1916"/>
                  <a:pt x="1507" y="1914"/>
                </a:cubicBezTo>
                <a:cubicBezTo>
                  <a:pt x="1510" y="1914"/>
                  <a:pt x="1513" y="1913"/>
                  <a:pt x="1516" y="1910"/>
                </a:cubicBezTo>
                <a:cubicBezTo>
                  <a:pt x="1516" y="1909"/>
                  <a:pt x="1517" y="1909"/>
                  <a:pt x="1517" y="1909"/>
                </a:cubicBezTo>
                <a:cubicBezTo>
                  <a:pt x="1520" y="1909"/>
                  <a:pt x="1521" y="1906"/>
                  <a:pt x="1523" y="1904"/>
                </a:cubicBezTo>
                <a:cubicBezTo>
                  <a:pt x="1531" y="1897"/>
                  <a:pt x="1542" y="1896"/>
                  <a:pt x="1550" y="1903"/>
                </a:cubicBezTo>
                <a:cubicBezTo>
                  <a:pt x="1553" y="1905"/>
                  <a:pt x="1555" y="1907"/>
                  <a:pt x="1558" y="1909"/>
                </a:cubicBezTo>
                <a:cubicBezTo>
                  <a:pt x="1559" y="1910"/>
                  <a:pt x="1560" y="1912"/>
                  <a:pt x="1562" y="1914"/>
                </a:cubicBezTo>
                <a:cubicBezTo>
                  <a:pt x="1562" y="1915"/>
                  <a:pt x="1563" y="1915"/>
                  <a:pt x="1564" y="1914"/>
                </a:cubicBezTo>
                <a:cubicBezTo>
                  <a:pt x="1565" y="1914"/>
                  <a:pt x="1566" y="1913"/>
                  <a:pt x="1567" y="1912"/>
                </a:cubicBezTo>
                <a:cubicBezTo>
                  <a:pt x="1569" y="1909"/>
                  <a:pt x="1572" y="1909"/>
                  <a:pt x="1573" y="1913"/>
                </a:cubicBezTo>
                <a:cubicBezTo>
                  <a:pt x="1574" y="1916"/>
                  <a:pt x="1575" y="1919"/>
                  <a:pt x="1575" y="1922"/>
                </a:cubicBezTo>
                <a:cubicBezTo>
                  <a:pt x="1576" y="1926"/>
                  <a:pt x="1576" y="1930"/>
                  <a:pt x="1574" y="1935"/>
                </a:cubicBezTo>
                <a:cubicBezTo>
                  <a:pt x="1572" y="1941"/>
                  <a:pt x="1567" y="1945"/>
                  <a:pt x="1560" y="1945"/>
                </a:cubicBezTo>
                <a:cubicBezTo>
                  <a:pt x="1560" y="1945"/>
                  <a:pt x="1559" y="1945"/>
                  <a:pt x="1559" y="1945"/>
                </a:cubicBezTo>
                <a:cubicBezTo>
                  <a:pt x="1556" y="1944"/>
                  <a:pt x="1555" y="1945"/>
                  <a:pt x="1554" y="1947"/>
                </a:cubicBezTo>
                <a:cubicBezTo>
                  <a:pt x="1553" y="1951"/>
                  <a:pt x="1547" y="1953"/>
                  <a:pt x="1544" y="1950"/>
                </a:cubicBezTo>
                <a:cubicBezTo>
                  <a:pt x="1542" y="1949"/>
                  <a:pt x="1542" y="1948"/>
                  <a:pt x="1540" y="1947"/>
                </a:cubicBezTo>
                <a:cubicBezTo>
                  <a:pt x="1540" y="1947"/>
                  <a:pt x="1540" y="1947"/>
                  <a:pt x="1540" y="1947"/>
                </a:cubicBezTo>
                <a:close/>
                <a:moveTo>
                  <a:pt x="1534" y="1943"/>
                </a:moveTo>
                <a:cubicBezTo>
                  <a:pt x="1538" y="1944"/>
                  <a:pt x="1541" y="1945"/>
                  <a:pt x="1544" y="1948"/>
                </a:cubicBezTo>
                <a:cubicBezTo>
                  <a:pt x="1546" y="1950"/>
                  <a:pt x="1548" y="1951"/>
                  <a:pt x="1550" y="1950"/>
                </a:cubicBezTo>
                <a:cubicBezTo>
                  <a:pt x="1552" y="1949"/>
                  <a:pt x="1554" y="1947"/>
                  <a:pt x="1554" y="1944"/>
                </a:cubicBezTo>
                <a:cubicBezTo>
                  <a:pt x="1553" y="1944"/>
                  <a:pt x="1553" y="1944"/>
                  <a:pt x="1553" y="1945"/>
                </a:cubicBezTo>
                <a:cubicBezTo>
                  <a:pt x="1552" y="1946"/>
                  <a:pt x="1551" y="1947"/>
                  <a:pt x="1550" y="1948"/>
                </a:cubicBezTo>
                <a:cubicBezTo>
                  <a:pt x="1549" y="1949"/>
                  <a:pt x="1548" y="1949"/>
                  <a:pt x="1547" y="1949"/>
                </a:cubicBezTo>
                <a:cubicBezTo>
                  <a:pt x="1546" y="1949"/>
                  <a:pt x="1546" y="1947"/>
                  <a:pt x="1546" y="1947"/>
                </a:cubicBezTo>
                <a:cubicBezTo>
                  <a:pt x="1546" y="1944"/>
                  <a:pt x="1546" y="1942"/>
                  <a:pt x="1547" y="1940"/>
                </a:cubicBezTo>
                <a:cubicBezTo>
                  <a:pt x="1550" y="1941"/>
                  <a:pt x="1553" y="1942"/>
                  <a:pt x="1557" y="1943"/>
                </a:cubicBezTo>
                <a:cubicBezTo>
                  <a:pt x="1564" y="1944"/>
                  <a:pt x="1570" y="1942"/>
                  <a:pt x="1573" y="1934"/>
                </a:cubicBezTo>
                <a:cubicBezTo>
                  <a:pt x="1575" y="1929"/>
                  <a:pt x="1574" y="1924"/>
                  <a:pt x="1573" y="1919"/>
                </a:cubicBezTo>
                <a:cubicBezTo>
                  <a:pt x="1573" y="1917"/>
                  <a:pt x="1572" y="1915"/>
                  <a:pt x="1571" y="1913"/>
                </a:cubicBezTo>
                <a:cubicBezTo>
                  <a:pt x="1571" y="1912"/>
                  <a:pt x="1570" y="1911"/>
                  <a:pt x="1568" y="1913"/>
                </a:cubicBezTo>
                <a:cubicBezTo>
                  <a:pt x="1567" y="1915"/>
                  <a:pt x="1565" y="1916"/>
                  <a:pt x="1563" y="1917"/>
                </a:cubicBezTo>
                <a:cubicBezTo>
                  <a:pt x="1562" y="1917"/>
                  <a:pt x="1562" y="1918"/>
                  <a:pt x="1562" y="1919"/>
                </a:cubicBezTo>
                <a:cubicBezTo>
                  <a:pt x="1563" y="1922"/>
                  <a:pt x="1562" y="1926"/>
                  <a:pt x="1561" y="1929"/>
                </a:cubicBezTo>
                <a:cubicBezTo>
                  <a:pt x="1561" y="1927"/>
                  <a:pt x="1561" y="1925"/>
                  <a:pt x="1561" y="1923"/>
                </a:cubicBezTo>
                <a:cubicBezTo>
                  <a:pt x="1561" y="1922"/>
                  <a:pt x="1561" y="1922"/>
                  <a:pt x="1560" y="1922"/>
                </a:cubicBezTo>
                <a:cubicBezTo>
                  <a:pt x="1560" y="1922"/>
                  <a:pt x="1559" y="1922"/>
                  <a:pt x="1559" y="1922"/>
                </a:cubicBezTo>
                <a:cubicBezTo>
                  <a:pt x="1559" y="1924"/>
                  <a:pt x="1558" y="1925"/>
                  <a:pt x="1557" y="1926"/>
                </a:cubicBezTo>
                <a:cubicBezTo>
                  <a:pt x="1557" y="1926"/>
                  <a:pt x="1557" y="1926"/>
                  <a:pt x="1557" y="1926"/>
                </a:cubicBezTo>
                <a:cubicBezTo>
                  <a:pt x="1557" y="1925"/>
                  <a:pt x="1557" y="1923"/>
                  <a:pt x="1558" y="1921"/>
                </a:cubicBezTo>
                <a:cubicBezTo>
                  <a:pt x="1557" y="1922"/>
                  <a:pt x="1556" y="1922"/>
                  <a:pt x="1555" y="1923"/>
                </a:cubicBezTo>
                <a:cubicBezTo>
                  <a:pt x="1555" y="1923"/>
                  <a:pt x="1555" y="1924"/>
                  <a:pt x="1554" y="1925"/>
                </a:cubicBezTo>
                <a:cubicBezTo>
                  <a:pt x="1555" y="1921"/>
                  <a:pt x="1555" y="1921"/>
                  <a:pt x="1561" y="1920"/>
                </a:cubicBezTo>
                <a:cubicBezTo>
                  <a:pt x="1560" y="1920"/>
                  <a:pt x="1560" y="1919"/>
                  <a:pt x="1560" y="1919"/>
                </a:cubicBezTo>
                <a:cubicBezTo>
                  <a:pt x="1557" y="1920"/>
                  <a:pt x="1556" y="1918"/>
                  <a:pt x="1556" y="1916"/>
                </a:cubicBezTo>
                <a:cubicBezTo>
                  <a:pt x="1557" y="1915"/>
                  <a:pt x="1559" y="1915"/>
                  <a:pt x="1560" y="1915"/>
                </a:cubicBezTo>
                <a:cubicBezTo>
                  <a:pt x="1559" y="1912"/>
                  <a:pt x="1557" y="1909"/>
                  <a:pt x="1554" y="1909"/>
                </a:cubicBezTo>
                <a:cubicBezTo>
                  <a:pt x="1554" y="1909"/>
                  <a:pt x="1553" y="1909"/>
                  <a:pt x="1553" y="1908"/>
                </a:cubicBezTo>
                <a:cubicBezTo>
                  <a:pt x="1551" y="1906"/>
                  <a:pt x="1549" y="1904"/>
                  <a:pt x="1546" y="1902"/>
                </a:cubicBezTo>
                <a:cubicBezTo>
                  <a:pt x="1544" y="1901"/>
                  <a:pt x="1541" y="1900"/>
                  <a:pt x="1539" y="1900"/>
                </a:cubicBezTo>
                <a:cubicBezTo>
                  <a:pt x="1535" y="1900"/>
                  <a:pt x="1532" y="1902"/>
                  <a:pt x="1529" y="1902"/>
                </a:cubicBezTo>
                <a:cubicBezTo>
                  <a:pt x="1526" y="1903"/>
                  <a:pt x="1524" y="1905"/>
                  <a:pt x="1522" y="1908"/>
                </a:cubicBezTo>
                <a:cubicBezTo>
                  <a:pt x="1524" y="1908"/>
                  <a:pt x="1525" y="1908"/>
                  <a:pt x="1526" y="1908"/>
                </a:cubicBezTo>
                <a:cubicBezTo>
                  <a:pt x="1526" y="1909"/>
                  <a:pt x="1525" y="1909"/>
                  <a:pt x="1524" y="1909"/>
                </a:cubicBezTo>
                <a:cubicBezTo>
                  <a:pt x="1522" y="1910"/>
                  <a:pt x="1519" y="1909"/>
                  <a:pt x="1517" y="1911"/>
                </a:cubicBezTo>
                <a:cubicBezTo>
                  <a:pt x="1513" y="1915"/>
                  <a:pt x="1510" y="1919"/>
                  <a:pt x="1506" y="1923"/>
                </a:cubicBezTo>
                <a:cubicBezTo>
                  <a:pt x="1504" y="1925"/>
                  <a:pt x="1504" y="1928"/>
                  <a:pt x="1502" y="1930"/>
                </a:cubicBezTo>
                <a:cubicBezTo>
                  <a:pt x="1502" y="1930"/>
                  <a:pt x="1502" y="1931"/>
                  <a:pt x="1503" y="1932"/>
                </a:cubicBezTo>
                <a:cubicBezTo>
                  <a:pt x="1504" y="1934"/>
                  <a:pt x="1505" y="1936"/>
                  <a:pt x="1507" y="1938"/>
                </a:cubicBezTo>
                <a:cubicBezTo>
                  <a:pt x="1508" y="1936"/>
                  <a:pt x="1509" y="1934"/>
                  <a:pt x="1510" y="1933"/>
                </a:cubicBezTo>
                <a:cubicBezTo>
                  <a:pt x="1510" y="1934"/>
                  <a:pt x="1510" y="1936"/>
                  <a:pt x="1509" y="1937"/>
                </a:cubicBezTo>
                <a:cubicBezTo>
                  <a:pt x="1508" y="1938"/>
                  <a:pt x="1507" y="1940"/>
                  <a:pt x="1507" y="1941"/>
                </a:cubicBezTo>
                <a:cubicBezTo>
                  <a:pt x="1506" y="1942"/>
                  <a:pt x="1507" y="1943"/>
                  <a:pt x="1507" y="1944"/>
                </a:cubicBezTo>
                <a:cubicBezTo>
                  <a:pt x="1510" y="1947"/>
                  <a:pt x="1513" y="1947"/>
                  <a:pt x="1517" y="1945"/>
                </a:cubicBezTo>
                <a:cubicBezTo>
                  <a:pt x="1519" y="1944"/>
                  <a:pt x="1522" y="1943"/>
                  <a:pt x="1524" y="1942"/>
                </a:cubicBezTo>
                <a:cubicBezTo>
                  <a:pt x="1526" y="1941"/>
                  <a:pt x="1527" y="1941"/>
                  <a:pt x="1527" y="1939"/>
                </a:cubicBezTo>
                <a:cubicBezTo>
                  <a:pt x="1527" y="1936"/>
                  <a:pt x="1527" y="1932"/>
                  <a:pt x="1527" y="1929"/>
                </a:cubicBezTo>
                <a:cubicBezTo>
                  <a:pt x="1527" y="1926"/>
                  <a:pt x="1527" y="1923"/>
                  <a:pt x="1527" y="1920"/>
                </a:cubicBezTo>
                <a:cubicBezTo>
                  <a:pt x="1528" y="1923"/>
                  <a:pt x="1528" y="1926"/>
                  <a:pt x="1529" y="1928"/>
                </a:cubicBezTo>
                <a:cubicBezTo>
                  <a:pt x="1530" y="1933"/>
                  <a:pt x="1530" y="1937"/>
                  <a:pt x="1528" y="1941"/>
                </a:cubicBezTo>
                <a:cubicBezTo>
                  <a:pt x="1528" y="1942"/>
                  <a:pt x="1527" y="1943"/>
                  <a:pt x="1527" y="1943"/>
                </a:cubicBezTo>
                <a:cubicBezTo>
                  <a:pt x="1523" y="1943"/>
                  <a:pt x="1520" y="1945"/>
                  <a:pt x="1517" y="1947"/>
                </a:cubicBezTo>
                <a:cubicBezTo>
                  <a:pt x="1512" y="1950"/>
                  <a:pt x="1508" y="1948"/>
                  <a:pt x="1505" y="1944"/>
                </a:cubicBezTo>
                <a:cubicBezTo>
                  <a:pt x="1504" y="1944"/>
                  <a:pt x="1504" y="1943"/>
                  <a:pt x="1505" y="1942"/>
                </a:cubicBezTo>
                <a:cubicBezTo>
                  <a:pt x="1506" y="1940"/>
                  <a:pt x="1505" y="1938"/>
                  <a:pt x="1503" y="1936"/>
                </a:cubicBezTo>
                <a:cubicBezTo>
                  <a:pt x="1502" y="1934"/>
                  <a:pt x="1500" y="1932"/>
                  <a:pt x="1501" y="1929"/>
                </a:cubicBezTo>
                <a:cubicBezTo>
                  <a:pt x="1502" y="1927"/>
                  <a:pt x="1503" y="1925"/>
                  <a:pt x="1504" y="1924"/>
                </a:cubicBezTo>
                <a:cubicBezTo>
                  <a:pt x="1506" y="1921"/>
                  <a:pt x="1508" y="1919"/>
                  <a:pt x="1510" y="1916"/>
                </a:cubicBezTo>
                <a:cubicBezTo>
                  <a:pt x="1510" y="1916"/>
                  <a:pt x="1509" y="1916"/>
                  <a:pt x="1509" y="1916"/>
                </a:cubicBezTo>
                <a:cubicBezTo>
                  <a:pt x="1504" y="1917"/>
                  <a:pt x="1499" y="1919"/>
                  <a:pt x="1495" y="1922"/>
                </a:cubicBezTo>
                <a:cubicBezTo>
                  <a:pt x="1491" y="1926"/>
                  <a:pt x="1488" y="1931"/>
                  <a:pt x="1488" y="1938"/>
                </a:cubicBezTo>
                <a:cubicBezTo>
                  <a:pt x="1487" y="1945"/>
                  <a:pt x="1489" y="1951"/>
                  <a:pt x="1493" y="1957"/>
                </a:cubicBezTo>
                <a:cubicBezTo>
                  <a:pt x="1493" y="1957"/>
                  <a:pt x="1494" y="1959"/>
                  <a:pt x="1494" y="1960"/>
                </a:cubicBezTo>
                <a:cubicBezTo>
                  <a:pt x="1494" y="1962"/>
                  <a:pt x="1493" y="1963"/>
                  <a:pt x="1493" y="1964"/>
                </a:cubicBezTo>
                <a:cubicBezTo>
                  <a:pt x="1492" y="1966"/>
                  <a:pt x="1493" y="1967"/>
                  <a:pt x="1494" y="1968"/>
                </a:cubicBezTo>
                <a:cubicBezTo>
                  <a:pt x="1497" y="1968"/>
                  <a:pt x="1500" y="1969"/>
                  <a:pt x="1502" y="1969"/>
                </a:cubicBezTo>
                <a:cubicBezTo>
                  <a:pt x="1503" y="1969"/>
                  <a:pt x="1504" y="1968"/>
                  <a:pt x="1504" y="1968"/>
                </a:cubicBezTo>
                <a:cubicBezTo>
                  <a:pt x="1504" y="1967"/>
                  <a:pt x="1504" y="1965"/>
                  <a:pt x="1505" y="1964"/>
                </a:cubicBezTo>
                <a:cubicBezTo>
                  <a:pt x="1507" y="1962"/>
                  <a:pt x="1507" y="1959"/>
                  <a:pt x="1507" y="1957"/>
                </a:cubicBezTo>
                <a:cubicBezTo>
                  <a:pt x="1507" y="1956"/>
                  <a:pt x="1507" y="1956"/>
                  <a:pt x="1507" y="1955"/>
                </a:cubicBezTo>
                <a:cubicBezTo>
                  <a:pt x="1507" y="1955"/>
                  <a:pt x="1507" y="1955"/>
                  <a:pt x="1507" y="1955"/>
                </a:cubicBezTo>
                <a:cubicBezTo>
                  <a:pt x="1508" y="1957"/>
                  <a:pt x="1509" y="1957"/>
                  <a:pt x="1511" y="1957"/>
                </a:cubicBezTo>
                <a:cubicBezTo>
                  <a:pt x="1512" y="1957"/>
                  <a:pt x="1513" y="1957"/>
                  <a:pt x="1514" y="1957"/>
                </a:cubicBezTo>
                <a:cubicBezTo>
                  <a:pt x="1516" y="1957"/>
                  <a:pt x="1519" y="1958"/>
                  <a:pt x="1520" y="1954"/>
                </a:cubicBezTo>
                <a:cubicBezTo>
                  <a:pt x="1520" y="1956"/>
                  <a:pt x="1520" y="1958"/>
                  <a:pt x="1520" y="1959"/>
                </a:cubicBezTo>
                <a:cubicBezTo>
                  <a:pt x="1519" y="1959"/>
                  <a:pt x="1517" y="1960"/>
                  <a:pt x="1516" y="1960"/>
                </a:cubicBezTo>
                <a:cubicBezTo>
                  <a:pt x="1515" y="1961"/>
                  <a:pt x="1514" y="1963"/>
                  <a:pt x="1515" y="1964"/>
                </a:cubicBezTo>
                <a:cubicBezTo>
                  <a:pt x="1516" y="1966"/>
                  <a:pt x="1517" y="1968"/>
                  <a:pt x="1519" y="1970"/>
                </a:cubicBezTo>
                <a:cubicBezTo>
                  <a:pt x="1520" y="1971"/>
                  <a:pt x="1522" y="1971"/>
                  <a:pt x="1524" y="1969"/>
                </a:cubicBezTo>
                <a:cubicBezTo>
                  <a:pt x="1524" y="1968"/>
                  <a:pt x="1525" y="1968"/>
                  <a:pt x="1526" y="1967"/>
                </a:cubicBezTo>
                <a:cubicBezTo>
                  <a:pt x="1528" y="1966"/>
                  <a:pt x="1529" y="1964"/>
                  <a:pt x="1531" y="1963"/>
                </a:cubicBezTo>
                <a:cubicBezTo>
                  <a:pt x="1535" y="1959"/>
                  <a:pt x="1537" y="1953"/>
                  <a:pt x="1539" y="1947"/>
                </a:cubicBezTo>
                <a:cubicBezTo>
                  <a:pt x="1539" y="1947"/>
                  <a:pt x="1538" y="1946"/>
                  <a:pt x="1537" y="1945"/>
                </a:cubicBezTo>
                <a:cubicBezTo>
                  <a:pt x="1537" y="1944"/>
                  <a:pt x="1535" y="1943"/>
                  <a:pt x="1534" y="1943"/>
                </a:cubicBezTo>
                <a:close/>
                <a:moveTo>
                  <a:pt x="1487" y="1949"/>
                </a:moveTo>
                <a:cubicBezTo>
                  <a:pt x="1486" y="1950"/>
                  <a:pt x="1485" y="1951"/>
                  <a:pt x="1484" y="1952"/>
                </a:cubicBezTo>
                <a:cubicBezTo>
                  <a:pt x="1483" y="1952"/>
                  <a:pt x="1483" y="1953"/>
                  <a:pt x="1483" y="1954"/>
                </a:cubicBezTo>
                <a:cubicBezTo>
                  <a:pt x="1483" y="1957"/>
                  <a:pt x="1487" y="1961"/>
                  <a:pt x="1490" y="1960"/>
                </a:cubicBezTo>
                <a:cubicBezTo>
                  <a:pt x="1492" y="1960"/>
                  <a:pt x="1493" y="1959"/>
                  <a:pt x="1492" y="1958"/>
                </a:cubicBezTo>
                <a:cubicBezTo>
                  <a:pt x="1490" y="1955"/>
                  <a:pt x="1489" y="1952"/>
                  <a:pt x="1487" y="1949"/>
                </a:cubicBezTo>
                <a:close/>
                <a:moveTo>
                  <a:pt x="1540" y="1951"/>
                </a:moveTo>
                <a:cubicBezTo>
                  <a:pt x="1537" y="1956"/>
                  <a:pt x="1535" y="1960"/>
                  <a:pt x="1533" y="1964"/>
                </a:cubicBezTo>
                <a:cubicBezTo>
                  <a:pt x="1535" y="1964"/>
                  <a:pt x="1538" y="1965"/>
                  <a:pt x="1540" y="1964"/>
                </a:cubicBezTo>
                <a:cubicBezTo>
                  <a:pt x="1541" y="1964"/>
                  <a:pt x="1541" y="1963"/>
                  <a:pt x="1541" y="1963"/>
                </a:cubicBezTo>
                <a:cubicBezTo>
                  <a:pt x="1541" y="1960"/>
                  <a:pt x="1541" y="1958"/>
                  <a:pt x="1541" y="1955"/>
                </a:cubicBezTo>
                <a:cubicBezTo>
                  <a:pt x="1540" y="1954"/>
                  <a:pt x="1540" y="1953"/>
                  <a:pt x="1540" y="1951"/>
                </a:cubicBezTo>
                <a:close/>
                <a:moveTo>
                  <a:pt x="1487" y="1931"/>
                </a:moveTo>
                <a:cubicBezTo>
                  <a:pt x="1486" y="1931"/>
                  <a:pt x="1486"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0" y="1927"/>
                  <a:pt x="1482" y="1932"/>
                  <a:pt x="1484" y="1933"/>
                </a:cubicBezTo>
                <a:cubicBezTo>
                  <a:pt x="1485" y="1934"/>
                  <a:pt x="1487" y="1933"/>
                  <a:pt x="1487" y="1931"/>
                </a:cubicBezTo>
                <a:close/>
                <a:moveTo>
                  <a:pt x="1487" y="1949"/>
                </a:moveTo>
                <a:cubicBezTo>
                  <a:pt x="1486" y="1950"/>
                  <a:pt x="1485" y="1951"/>
                  <a:pt x="1483" y="1952"/>
                </a:cubicBezTo>
                <a:cubicBezTo>
                  <a:pt x="1483" y="1952"/>
                  <a:pt x="1483" y="1953"/>
                  <a:pt x="1483" y="1954"/>
                </a:cubicBezTo>
                <a:cubicBezTo>
                  <a:pt x="1483" y="1957"/>
                  <a:pt x="1487" y="1961"/>
                  <a:pt x="1490" y="1961"/>
                </a:cubicBezTo>
                <a:cubicBezTo>
                  <a:pt x="1492" y="1961"/>
                  <a:pt x="1493" y="1960"/>
                  <a:pt x="1492" y="1958"/>
                </a:cubicBezTo>
                <a:cubicBezTo>
                  <a:pt x="1490" y="1955"/>
                  <a:pt x="1489" y="1952"/>
                  <a:pt x="1487" y="1949"/>
                </a:cubicBezTo>
                <a:close/>
                <a:moveTo>
                  <a:pt x="1540" y="1951"/>
                </a:moveTo>
                <a:cubicBezTo>
                  <a:pt x="1537" y="1956"/>
                  <a:pt x="1535" y="1960"/>
                  <a:pt x="1532" y="1965"/>
                </a:cubicBezTo>
                <a:cubicBezTo>
                  <a:pt x="1535" y="1965"/>
                  <a:pt x="1538" y="1965"/>
                  <a:pt x="1540" y="1965"/>
                </a:cubicBezTo>
                <a:cubicBezTo>
                  <a:pt x="1541" y="1965"/>
                  <a:pt x="1541" y="1963"/>
                  <a:pt x="1541" y="1963"/>
                </a:cubicBezTo>
                <a:cubicBezTo>
                  <a:pt x="1541" y="1960"/>
                  <a:pt x="1541" y="1958"/>
                  <a:pt x="1541" y="1955"/>
                </a:cubicBezTo>
                <a:cubicBezTo>
                  <a:pt x="1540" y="1954"/>
                  <a:pt x="1540" y="1953"/>
                  <a:pt x="1540" y="1951"/>
                </a:cubicBezTo>
                <a:close/>
                <a:moveTo>
                  <a:pt x="1487" y="1931"/>
                </a:moveTo>
                <a:cubicBezTo>
                  <a:pt x="1486" y="1931"/>
                  <a:pt x="1485"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1" y="1927"/>
                  <a:pt x="1482" y="1933"/>
                  <a:pt x="1484" y="1933"/>
                </a:cubicBezTo>
                <a:cubicBezTo>
                  <a:pt x="1485" y="1934"/>
                  <a:pt x="1487" y="1933"/>
                  <a:pt x="1487" y="1931"/>
                </a:cubicBezTo>
                <a:close/>
                <a:moveTo>
                  <a:pt x="1539" y="1923"/>
                </a:moveTo>
                <a:cubicBezTo>
                  <a:pt x="1542" y="1919"/>
                  <a:pt x="1542" y="1919"/>
                  <a:pt x="1546" y="1918"/>
                </a:cubicBezTo>
                <a:cubicBezTo>
                  <a:pt x="1546" y="1920"/>
                  <a:pt x="1548" y="1921"/>
                  <a:pt x="1549" y="1921"/>
                </a:cubicBezTo>
                <a:cubicBezTo>
                  <a:pt x="1547" y="1922"/>
                  <a:pt x="1545" y="1924"/>
                  <a:pt x="1543" y="1925"/>
                </a:cubicBezTo>
                <a:cubicBezTo>
                  <a:pt x="1542" y="1924"/>
                  <a:pt x="1542" y="1924"/>
                  <a:pt x="1541" y="1922"/>
                </a:cubicBezTo>
                <a:cubicBezTo>
                  <a:pt x="1540" y="1922"/>
                  <a:pt x="1540" y="1922"/>
                  <a:pt x="1539" y="1923"/>
                </a:cubicBezTo>
                <a:close/>
                <a:moveTo>
                  <a:pt x="1545" y="1922"/>
                </a:moveTo>
                <a:cubicBezTo>
                  <a:pt x="1544" y="1922"/>
                  <a:pt x="1544" y="1922"/>
                  <a:pt x="1543" y="1922"/>
                </a:cubicBezTo>
                <a:cubicBezTo>
                  <a:pt x="1543" y="1922"/>
                  <a:pt x="1542" y="1922"/>
                  <a:pt x="1542" y="1923"/>
                </a:cubicBezTo>
                <a:cubicBezTo>
                  <a:pt x="1542" y="1923"/>
                  <a:pt x="1542" y="1924"/>
                  <a:pt x="1543" y="1924"/>
                </a:cubicBezTo>
                <a:cubicBezTo>
                  <a:pt x="1544" y="1924"/>
                  <a:pt x="1544" y="1923"/>
                  <a:pt x="1545" y="1922"/>
                </a:cubicBezTo>
                <a:close/>
                <a:moveTo>
                  <a:pt x="1526" y="1913"/>
                </a:moveTo>
                <a:cubicBezTo>
                  <a:pt x="1520" y="1912"/>
                  <a:pt x="1517" y="1915"/>
                  <a:pt x="1516" y="1922"/>
                </a:cubicBezTo>
                <a:cubicBezTo>
                  <a:pt x="1517" y="1920"/>
                  <a:pt x="1518" y="1918"/>
                  <a:pt x="1519" y="1916"/>
                </a:cubicBezTo>
                <a:cubicBezTo>
                  <a:pt x="1520" y="1916"/>
                  <a:pt x="1520" y="1916"/>
                  <a:pt x="1520" y="1916"/>
                </a:cubicBezTo>
                <a:cubicBezTo>
                  <a:pt x="1520" y="1917"/>
                  <a:pt x="1520" y="1918"/>
                  <a:pt x="1520" y="1918"/>
                </a:cubicBezTo>
                <a:cubicBezTo>
                  <a:pt x="1521" y="1915"/>
                  <a:pt x="1523" y="1913"/>
                  <a:pt x="1526" y="1913"/>
                </a:cubicBezTo>
                <a:close/>
                <a:moveTo>
                  <a:pt x="1570" y="1914"/>
                </a:moveTo>
                <a:cubicBezTo>
                  <a:pt x="1568" y="1915"/>
                  <a:pt x="1566" y="1917"/>
                  <a:pt x="1565" y="1918"/>
                </a:cubicBezTo>
                <a:cubicBezTo>
                  <a:pt x="1567" y="1919"/>
                  <a:pt x="1569" y="1917"/>
                  <a:pt x="1570" y="1914"/>
                </a:cubicBezTo>
                <a:close/>
                <a:moveTo>
                  <a:pt x="1537" y="1917"/>
                </a:moveTo>
                <a:cubicBezTo>
                  <a:pt x="1538" y="1915"/>
                  <a:pt x="1539" y="1914"/>
                  <a:pt x="1540" y="1913"/>
                </a:cubicBezTo>
                <a:cubicBezTo>
                  <a:pt x="1537" y="1914"/>
                  <a:pt x="1536" y="1915"/>
                  <a:pt x="1537" y="1917"/>
                </a:cubicBezTo>
                <a:close/>
                <a:moveTo>
                  <a:pt x="1546" y="1938"/>
                </a:moveTo>
                <a:cubicBezTo>
                  <a:pt x="1545" y="1938"/>
                  <a:pt x="1544" y="1939"/>
                  <a:pt x="1544" y="1940"/>
                </a:cubicBezTo>
                <a:cubicBezTo>
                  <a:pt x="1544" y="1939"/>
                  <a:pt x="1546" y="1938"/>
                  <a:pt x="1546" y="1938"/>
                </a:cubicBezTo>
                <a:close/>
                <a:moveTo>
                  <a:pt x="1545" y="1922"/>
                </a:moveTo>
                <a:cubicBezTo>
                  <a:pt x="1545" y="1922"/>
                  <a:pt x="1544" y="1921"/>
                  <a:pt x="1543" y="1921"/>
                </a:cubicBezTo>
                <a:cubicBezTo>
                  <a:pt x="1543" y="1921"/>
                  <a:pt x="1542" y="1922"/>
                  <a:pt x="1542" y="1923"/>
                </a:cubicBezTo>
                <a:cubicBezTo>
                  <a:pt x="1542" y="1923"/>
                  <a:pt x="1543" y="1923"/>
                  <a:pt x="1543" y="1924"/>
                </a:cubicBezTo>
                <a:cubicBezTo>
                  <a:pt x="1544" y="1923"/>
                  <a:pt x="1544" y="1923"/>
                  <a:pt x="1545" y="1922"/>
                </a:cubicBezTo>
                <a:close/>
                <a:moveTo>
                  <a:pt x="1093" y="1804"/>
                </a:moveTo>
                <a:cubicBezTo>
                  <a:pt x="1093" y="1804"/>
                  <a:pt x="1093" y="1804"/>
                  <a:pt x="1093" y="1804"/>
                </a:cubicBezTo>
                <a:cubicBezTo>
                  <a:pt x="1088" y="1804"/>
                  <a:pt x="1088" y="1804"/>
                  <a:pt x="1088" y="1804"/>
                </a:cubicBezTo>
                <a:cubicBezTo>
                  <a:pt x="1086" y="1806"/>
                  <a:pt x="1085" y="1807"/>
                  <a:pt x="1082" y="1808"/>
                </a:cubicBezTo>
                <a:cubicBezTo>
                  <a:pt x="1081" y="1809"/>
                  <a:pt x="1079" y="1810"/>
                  <a:pt x="1077" y="1811"/>
                </a:cubicBezTo>
                <a:cubicBezTo>
                  <a:pt x="1076" y="1812"/>
                  <a:pt x="1074" y="1813"/>
                  <a:pt x="1072" y="1814"/>
                </a:cubicBezTo>
                <a:cubicBezTo>
                  <a:pt x="1070" y="1814"/>
                  <a:pt x="1069" y="1815"/>
                  <a:pt x="1066" y="1815"/>
                </a:cubicBezTo>
                <a:cubicBezTo>
                  <a:pt x="1066" y="1815"/>
                  <a:pt x="1066" y="1815"/>
                  <a:pt x="1066" y="1825"/>
                </a:cubicBezTo>
                <a:cubicBezTo>
                  <a:pt x="1069" y="1824"/>
                  <a:pt x="1072" y="1824"/>
                  <a:pt x="1074" y="1822"/>
                </a:cubicBezTo>
                <a:cubicBezTo>
                  <a:pt x="1077" y="1822"/>
                  <a:pt x="1079" y="1820"/>
                  <a:pt x="1082" y="1819"/>
                </a:cubicBezTo>
                <a:cubicBezTo>
                  <a:pt x="1082" y="1819"/>
                  <a:pt x="1082" y="1819"/>
                  <a:pt x="1082" y="1877"/>
                </a:cubicBezTo>
                <a:cubicBezTo>
                  <a:pt x="1082" y="1877"/>
                  <a:pt x="1082" y="1877"/>
                  <a:pt x="1093" y="1877"/>
                </a:cubicBezTo>
                <a:cubicBezTo>
                  <a:pt x="1093" y="1877"/>
                  <a:pt x="1093" y="1877"/>
                  <a:pt x="1093" y="1804"/>
                </a:cubicBezTo>
                <a:close/>
                <a:moveTo>
                  <a:pt x="1140" y="1804"/>
                </a:moveTo>
                <a:cubicBezTo>
                  <a:pt x="1140" y="1804"/>
                  <a:pt x="1140" y="1804"/>
                  <a:pt x="1140" y="1804"/>
                </a:cubicBezTo>
                <a:cubicBezTo>
                  <a:pt x="1135" y="1804"/>
                  <a:pt x="1135" y="1804"/>
                  <a:pt x="1135" y="1804"/>
                </a:cubicBezTo>
                <a:cubicBezTo>
                  <a:pt x="1134" y="1806"/>
                  <a:pt x="1131" y="1807"/>
                  <a:pt x="1130" y="1808"/>
                </a:cubicBezTo>
                <a:cubicBezTo>
                  <a:pt x="1128" y="1809"/>
                  <a:pt x="1126" y="1810"/>
                  <a:pt x="1124" y="1811"/>
                </a:cubicBezTo>
                <a:cubicBezTo>
                  <a:pt x="1123" y="1812"/>
                  <a:pt x="1120" y="1813"/>
                  <a:pt x="1119" y="1814"/>
                </a:cubicBezTo>
                <a:cubicBezTo>
                  <a:pt x="1117" y="1814"/>
                  <a:pt x="1115" y="1815"/>
                  <a:pt x="1113" y="1815"/>
                </a:cubicBezTo>
                <a:cubicBezTo>
                  <a:pt x="1113" y="1815"/>
                  <a:pt x="1113" y="1815"/>
                  <a:pt x="1113" y="1825"/>
                </a:cubicBezTo>
                <a:cubicBezTo>
                  <a:pt x="1116" y="1824"/>
                  <a:pt x="1119" y="1824"/>
                  <a:pt x="1122" y="1822"/>
                </a:cubicBezTo>
                <a:cubicBezTo>
                  <a:pt x="1124" y="1822"/>
                  <a:pt x="1126" y="1820"/>
                  <a:pt x="1129" y="1819"/>
                </a:cubicBezTo>
                <a:cubicBezTo>
                  <a:pt x="1129" y="1819"/>
                  <a:pt x="1129" y="1819"/>
                  <a:pt x="1129" y="1877"/>
                </a:cubicBezTo>
                <a:cubicBezTo>
                  <a:pt x="1129" y="1877"/>
                  <a:pt x="1129" y="1877"/>
                  <a:pt x="1140" y="1877"/>
                </a:cubicBezTo>
                <a:cubicBezTo>
                  <a:pt x="1140" y="1877"/>
                  <a:pt x="1140" y="1877"/>
                  <a:pt x="1140" y="1804"/>
                </a:cubicBezTo>
                <a:close/>
                <a:moveTo>
                  <a:pt x="1186" y="1804"/>
                </a:moveTo>
                <a:cubicBezTo>
                  <a:pt x="1186" y="1804"/>
                  <a:pt x="1186" y="1804"/>
                  <a:pt x="1186" y="1804"/>
                </a:cubicBezTo>
                <a:cubicBezTo>
                  <a:pt x="1182" y="1804"/>
                  <a:pt x="1182" y="1804"/>
                  <a:pt x="1182" y="1804"/>
                </a:cubicBezTo>
                <a:cubicBezTo>
                  <a:pt x="1179" y="1806"/>
                  <a:pt x="1178" y="1807"/>
                  <a:pt x="1176" y="1808"/>
                </a:cubicBezTo>
                <a:cubicBezTo>
                  <a:pt x="1174" y="1809"/>
                  <a:pt x="1172" y="1810"/>
                  <a:pt x="1171" y="1811"/>
                </a:cubicBezTo>
                <a:cubicBezTo>
                  <a:pt x="1169" y="1811"/>
                  <a:pt x="1167" y="1812"/>
                  <a:pt x="1165" y="1813"/>
                </a:cubicBezTo>
                <a:cubicBezTo>
                  <a:pt x="1164" y="1814"/>
                  <a:pt x="1161" y="1814"/>
                  <a:pt x="1160" y="1815"/>
                </a:cubicBezTo>
                <a:cubicBezTo>
                  <a:pt x="1160" y="1815"/>
                  <a:pt x="1160" y="1815"/>
                  <a:pt x="1160" y="1825"/>
                </a:cubicBezTo>
                <a:cubicBezTo>
                  <a:pt x="1163" y="1824"/>
                  <a:pt x="1166" y="1823"/>
                  <a:pt x="1168" y="1822"/>
                </a:cubicBezTo>
                <a:cubicBezTo>
                  <a:pt x="1170" y="1822"/>
                  <a:pt x="1173" y="1820"/>
                  <a:pt x="1174" y="1819"/>
                </a:cubicBezTo>
                <a:cubicBezTo>
                  <a:pt x="1174" y="1819"/>
                  <a:pt x="1174" y="1819"/>
                  <a:pt x="1174" y="1877"/>
                </a:cubicBezTo>
                <a:cubicBezTo>
                  <a:pt x="1174" y="1877"/>
                  <a:pt x="1174" y="1877"/>
                  <a:pt x="1186" y="1877"/>
                </a:cubicBezTo>
                <a:cubicBezTo>
                  <a:pt x="1186" y="1877"/>
                  <a:pt x="1186" y="1877"/>
                  <a:pt x="1186" y="1804"/>
                </a:cubicBezTo>
                <a:close/>
                <a:moveTo>
                  <a:pt x="1323" y="1836"/>
                </a:moveTo>
                <a:cubicBezTo>
                  <a:pt x="1323" y="1836"/>
                  <a:pt x="1323" y="1836"/>
                  <a:pt x="1323" y="1836"/>
                </a:cubicBezTo>
                <a:cubicBezTo>
                  <a:pt x="1322" y="1844"/>
                  <a:pt x="1322" y="1844"/>
                  <a:pt x="1322" y="1844"/>
                </a:cubicBezTo>
                <a:cubicBezTo>
                  <a:pt x="1329" y="1845"/>
                  <a:pt x="1329" y="1848"/>
                  <a:pt x="1329" y="1850"/>
                </a:cubicBezTo>
                <a:cubicBezTo>
                  <a:pt x="1329" y="1853"/>
                  <a:pt x="1329" y="1855"/>
                  <a:pt x="1329" y="1857"/>
                </a:cubicBezTo>
                <a:cubicBezTo>
                  <a:pt x="1329" y="1860"/>
                  <a:pt x="1328" y="1862"/>
                  <a:pt x="1328" y="1865"/>
                </a:cubicBezTo>
                <a:cubicBezTo>
                  <a:pt x="1328" y="1874"/>
                  <a:pt x="1334" y="1877"/>
                  <a:pt x="1343" y="1877"/>
                </a:cubicBezTo>
                <a:cubicBezTo>
                  <a:pt x="1343" y="1877"/>
                  <a:pt x="1343" y="1877"/>
                  <a:pt x="1347" y="1877"/>
                </a:cubicBezTo>
                <a:cubicBezTo>
                  <a:pt x="1347" y="1877"/>
                  <a:pt x="1347" y="1877"/>
                  <a:pt x="1347" y="1868"/>
                </a:cubicBezTo>
                <a:cubicBezTo>
                  <a:pt x="1347" y="1868"/>
                  <a:pt x="1347" y="1868"/>
                  <a:pt x="1345" y="1868"/>
                </a:cubicBezTo>
                <a:cubicBezTo>
                  <a:pt x="1341" y="1868"/>
                  <a:pt x="1340" y="1866"/>
                  <a:pt x="1340" y="1862"/>
                </a:cubicBezTo>
                <a:cubicBezTo>
                  <a:pt x="1340" y="1861"/>
                  <a:pt x="1340" y="1859"/>
                  <a:pt x="1341" y="1857"/>
                </a:cubicBezTo>
                <a:cubicBezTo>
                  <a:pt x="1341" y="1856"/>
                  <a:pt x="1341" y="1854"/>
                  <a:pt x="1341" y="1852"/>
                </a:cubicBezTo>
                <a:cubicBezTo>
                  <a:pt x="1341" y="1844"/>
                  <a:pt x="1338" y="1842"/>
                  <a:pt x="1332" y="1840"/>
                </a:cubicBezTo>
                <a:cubicBezTo>
                  <a:pt x="1332" y="1840"/>
                  <a:pt x="1332" y="1840"/>
                  <a:pt x="1332" y="1840"/>
                </a:cubicBezTo>
                <a:cubicBezTo>
                  <a:pt x="1338" y="1839"/>
                  <a:pt x="1341" y="1837"/>
                  <a:pt x="1341" y="1829"/>
                </a:cubicBezTo>
                <a:cubicBezTo>
                  <a:pt x="1341" y="1827"/>
                  <a:pt x="1341" y="1825"/>
                  <a:pt x="1341" y="1823"/>
                </a:cubicBezTo>
                <a:cubicBezTo>
                  <a:pt x="1340" y="1821"/>
                  <a:pt x="1340" y="1820"/>
                  <a:pt x="1340" y="1818"/>
                </a:cubicBezTo>
                <a:cubicBezTo>
                  <a:pt x="1340" y="1815"/>
                  <a:pt x="1341" y="1813"/>
                  <a:pt x="1345" y="1813"/>
                </a:cubicBezTo>
                <a:cubicBezTo>
                  <a:pt x="1345" y="1813"/>
                  <a:pt x="1345" y="1813"/>
                  <a:pt x="1347" y="1813"/>
                </a:cubicBezTo>
                <a:cubicBezTo>
                  <a:pt x="1347" y="1813"/>
                  <a:pt x="1347" y="1813"/>
                  <a:pt x="1347" y="1803"/>
                </a:cubicBezTo>
                <a:cubicBezTo>
                  <a:pt x="1347" y="1803"/>
                  <a:pt x="1347" y="1803"/>
                  <a:pt x="1343" y="1803"/>
                </a:cubicBezTo>
                <a:cubicBezTo>
                  <a:pt x="1334" y="1803"/>
                  <a:pt x="1328" y="1807"/>
                  <a:pt x="1328" y="1816"/>
                </a:cubicBezTo>
                <a:cubicBezTo>
                  <a:pt x="1328" y="1818"/>
                  <a:pt x="1329" y="1821"/>
                  <a:pt x="1329" y="1823"/>
                </a:cubicBezTo>
                <a:cubicBezTo>
                  <a:pt x="1329" y="1826"/>
                  <a:pt x="1329" y="1828"/>
                  <a:pt x="1329" y="1830"/>
                </a:cubicBezTo>
                <a:cubicBezTo>
                  <a:pt x="1329" y="1833"/>
                  <a:pt x="1329" y="1836"/>
                  <a:pt x="1323" y="1836"/>
                </a:cubicBezTo>
                <a:close/>
                <a:moveTo>
                  <a:pt x="1377" y="1844"/>
                </a:moveTo>
                <a:cubicBezTo>
                  <a:pt x="1377" y="1844"/>
                  <a:pt x="1377" y="1844"/>
                  <a:pt x="1377" y="1844"/>
                </a:cubicBezTo>
                <a:cubicBezTo>
                  <a:pt x="1377" y="1836"/>
                  <a:pt x="1377" y="1836"/>
                  <a:pt x="1377" y="1836"/>
                </a:cubicBezTo>
                <a:cubicBezTo>
                  <a:pt x="1371" y="1836"/>
                  <a:pt x="1371" y="1833"/>
                  <a:pt x="1371" y="1830"/>
                </a:cubicBezTo>
                <a:cubicBezTo>
                  <a:pt x="1371" y="1828"/>
                  <a:pt x="1371" y="1826"/>
                  <a:pt x="1371" y="1823"/>
                </a:cubicBezTo>
                <a:cubicBezTo>
                  <a:pt x="1372" y="1821"/>
                  <a:pt x="1372" y="1818"/>
                  <a:pt x="1372" y="1816"/>
                </a:cubicBezTo>
                <a:cubicBezTo>
                  <a:pt x="1372" y="1807"/>
                  <a:pt x="1366" y="1803"/>
                  <a:pt x="1357" y="1803"/>
                </a:cubicBezTo>
                <a:cubicBezTo>
                  <a:pt x="1357" y="1803"/>
                  <a:pt x="1357" y="1803"/>
                  <a:pt x="1353" y="1803"/>
                </a:cubicBezTo>
                <a:cubicBezTo>
                  <a:pt x="1353" y="1803"/>
                  <a:pt x="1353" y="1803"/>
                  <a:pt x="1353" y="1813"/>
                </a:cubicBezTo>
                <a:cubicBezTo>
                  <a:pt x="1353" y="1813"/>
                  <a:pt x="1353" y="1813"/>
                  <a:pt x="1355" y="1813"/>
                </a:cubicBezTo>
                <a:cubicBezTo>
                  <a:pt x="1359" y="1813"/>
                  <a:pt x="1360" y="1815"/>
                  <a:pt x="1360" y="1818"/>
                </a:cubicBezTo>
                <a:cubicBezTo>
                  <a:pt x="1360" y="1820"/>
                  <a:pt x="1360" y="1821"/>
                  <a:pt x="1360" y="1823"/>
                </a:cubicBezTo>
                <a:cubicBezTo>
                  <a:pt x="1359" y="1825"/>
                  <a:pt x="1359" y="1827"/>
                  <a:pt x="1359" y="1829"/>
                </a:cubicBezTo>
                <a:cubicBezTo>
                  <a:pt x="1359" y="1837"/>
                  <a:pt x="1362" y="1839"/>
                  <a:pt x="1368" y="1840"/>
                </a:cubicBezTo>
                <a:cubicBezTo>
                  <a:pt x="1368" y="1840"/>
                  <a:pt x="1368" y="1840"/>
                  <a:pt x="1368" y="1840"/>
                </a:cubicBezTo>
                <a:cubicBezTo>
                  <a:pt x="1362" y="1842"/>
                  <a:pt x="1359" y="1844"/>
                  <a:pt x="1359" y="1852"/>
                </a:cubicBezTo>
                <a:cubicBezTo>
                  <a:pt x="1359" y="1854"/>
                  <a:pt x="1359" y="1856"/>
                  <a:pt x="1360" y="1857"/>
                </a:cubicBezTo>
                <a:cubicBezTo>
                  <a:pt x="1360" y="1859"/>
                  <a:pt x="1360" y="1861"/>
                  <a:pt x="1360" y="1862"/>
                </a:cubicBezTo>
                <a:cubicBezTo>
                  <a:pt x="1360" y="1866"/>
                  <a:pt x="1359" y="1868"/>
                  <a:pt x="1355" y="1868"/>
                </a:cubicBezTo>
                <a:cubicBezTo>
                  <a:pt x="1355" y="1868"/>
                  <a:pt x="1355" y="1868"/>
                  <a:pt x="1353" y="1868"/>
                </a:cubicBezTo>
                <a:cubicBezTo>
                  <a:pt x="1353" y="1868"/>
                  <a:pt x="1353" y="1868"/>
                  <a:pt x="1353" y="1877"/>
                </a:cubicBezTo>
                <a:cubicBezTo>
                  <a:pt x="1353" y="1877"/>
                  <a:pt x="1353" y="1877"/>
                  <a:pt x="1357" y="1877"/>
                </a:cubicBezTo>
                <a:cubicBezTo>
                  <a:pt x="1366" y="1877"/>
                  <a:pt x="1372" y="1874"/>
                  <a:pt x="1372" y="1865"/>
                </a:cubicBezTo>
                <a:cubicBezTo>
                  <a:pt x="1372" y="1862"/>
                  <a:pt x="1372" y="1860"/>
                  <a:pt x="1371" y="1857"/>
                </a:cubicBezTo>
                <a:cubicBezTo>
                  <a:pt x="1371" y="1855"/>
                  <a:pt x="1371" y="1853"/>
                  <a:pt x="1371" y="1850"/>
                </a:cubicBezTo>
                <a:cubicBezTo>
                  <a:pt x="1371" y="1848"/>
                  <a:pt x="1371" y="1845"/>
                  <a:pt x="1377" y="1844"/>
                </a:cubicBezTo>
                <a:close/>
                <a:moveTo>
                  <a:pt x="1424" y="1804"/>
                </a:moveTo>
                <a:cubicBezTo>
                  <a:pt x="1424" y="1804"/>
                  <a:pt x="1424" y="1804"/>
                  <a:pt x="1424" y="1804"/>
                </a:cubicBezTo>
                <a:cubicBezTo>
                  <a:pt x="1419" y="1804"/>
                  <a:pt x="1419" y="1804"/>
                  <a:pt x="1419" y="1804"/>
                </a:cubicBezTo>
                <a:cubicBezTo>
                  <a:pt x="1417" y="1806"/>
                  <a:pt x="1416" y="1807"/>
                  <a:pt x="1413" y="1808"/>
                </a:cubicBezTo>
                <a:cubicBezTo>
                  <a:pt x="1412" y="1809"/>
                  <a:pt x="1410" y="1810"/>
                  <a:pt x="1408" y="1811"/>
                </a:cubicBezTo>
                <a:cubicBezTo>
                  <a:pt x="1406" y="1811"/>
                  <a:pt x="1405" y="1812"/>
                  <a:pt x="1403" y="1813"/>
                </a:cubicBezTo>
                <a:cubicBezTo>
                  <a:pt x="1401" y="1814"/>
                  <a:pt x="1399" y="1814"/>
                  <a:pt x="1397" y="1815"/>
                </a:cubicBezTo>
                <a:cubicBezTo>
                  <a:pt x="1397" y="1815"/>
                  <a:pt x="1397" y="1815"/>
                  <a:pt x="1397" y="1825"/>
                </a:cubicBezTo>
                <a:cubicBezTo>
                  <a:pt x="1400" y="1824"/>
                  <a:pt x="1403" y="1823"/>
                  <a:pt x="1405" y="1822"/>
                </a:cubicBezTo>
                <a:cubicBezTo>
                  <a:pt x="1408" y="1822"/>
                  <a:pt x="1410" y="1820"/>
                  <a:pt x="1413" y="1819"/>
                </a:cubicBezTo>
                <a:cubicBezTo>
                  <a:pt x="1413" y="1819"/>
                  <a:pt x="1413" y="1819"/>
                  <a:pt x="1413" y="1877"/>
                </a:cubicBezTo>
                <a:cubicBezTo>
                  <a:pt x="1413" y="1877"/>
                  <a:pt x="1413" y="1877"/>
                  <a:pt x="1424" y="1877"/>
                </a:cubicBezTo>
                <a:cubicBezTo>
                  <a:pt x="1424" y="1877"/>
                  <a:pt x="1424" y="1877"/>
                  <a:pt x="1424" y="1804"/>
                </a:cubicBezTo>
                <a:close/>
                <a:moveTo>
                  <a:pt x="1471" y="1804"/>
                </a:moveTo>
                <a:cubicBezTo>
                  <a:pt x="1471" y="1804"/>
                  <a:pt x="1471" y="1804"/>
                  <a:pt x="1471" y="1804"/>
                </a:cubicBezTo>
                <a:cubicBezTo>
                  <a:pt x="1466" y="1804"/>
                  <a:pt x="1466" y="1804"/>
                  <a:pt x="1466" y="1804"/>
                </a:cubicBezTo>
                <a:cubicBezTo>
                  <a:pt x="1463" y="1806"/>
                  <a:pt x="1462" y="1807"/>
                  <a:pt x="1460" y="1808"/>
                </a:cubicBezTo>
                <a:cubicBezTo>
                  <a:pt x="1458" y="1809"/>
                  <a:pt x="1456" y="1810"/>
                  <a:pt x="1455" y="1811"/>
                </a:cubicBezTo>
                <a:cubicBezTo>
                  <a:pt x="1453" y="1812"/>
                  <a:pt x="1451" y="1813"/>
                  <a:pt x="1450" y="1814"/>
                </a:cubicBezTo>
                <a:cubicBezTo>
                  <a:pt x="1448" y="1814"/>
                  <a:pt x="1446" y="1815"/>
                  <a:pt x="1444" y="1815"/>
                </a:cubicBezTo>
                <a:cubicBezTo>
                  <a:pt x="1444" y="1815"/>
                  <a:pt x="1444" y="1815"/>
                  <a:pt x="1444" y="1825"/>
                </a:cubicBezTo>
                <a:cubicBezTo>
                  <a:pt x="1447" y="1824"/>
                  <a:pt x="1450" y="1824"/>
                  <a:pt x="1452" y="1822"/>
                </a:cubicBezTo>
                <a:cubicBezTo>
                  <a:pt x="1455" y="1822"/>
                  <a:pt x="1457" y="1820"/>
                  <a:pt x="1459" y="1819"/>
                </a:cubicBezTo>
                <a:cubicBezTo>
                  <a:pt x="1459" y="1819"/>
                  <a:pt x="1459" y="1819"/>
                  <a:pt x="1459" y="1877"/>
                </a:cubicBezTo>
                <a:cubicBezTo>
                  <a:pt x="1459" y="1877"/>
                  <a:pt x="1459" y="1877"/>
                  <a:pt x="1471" y="1877"/>
                </a:cubicBezTo>
                <a:cubicBezTo>
                  <a:pt x="1471" y="1877"/>
                  <a:pt x="1471" y="1877"/>
                  <a:pt x="1471" y="1804"/>
                </a:cubicBezTo>
                <a:close/>
                <a:moveTo>
                  <a:pt x="1517" y="1804"/>
                </a:moveTo>
                <a:cubicBezTo>
                  <a:pt x="1517" y="1804"/>
                  <a:pt x="1517" y="1804"/>
                  <a:pt x="1517" y="1804"/>
                </a:cubicBezTo>
                <a:cubicBezTo>
                  <a:pt x="1512" y="1804"/>
                  <a:pt x="1512" y="1804"/>
                  <a:pt x="1512" y="1804"/>
                </a:cubicBezTo>
                <a:cubicBezTo>
                  <a:pt x="1510" y="1806"/>
                  <a:pt x="1509" y="1807"/>
                  <a:pt x="1507" y="1808"/>
                </a:cubicBezTo>
                <a:cubicBezTo>
                  <a:pt x="1505" y="1809"/>
                  <a:pt x="1503" y="1810"/>
                  <a:pt x="1502" y="1811"/>
                </a:cubicBezTo>
                <a:cubicBezTo>
                  <a:pt x="1499" y="1812"/>
                  <a:pt x="1498" y="1813"/>
                  <a:pt x="1496" y="1814"/>
                </a:cubicBezTo>
                <a:cubicBezTo>
                  <a:pt x="1494" y="1814"/>
                  <a:pt x="1492" y="1815"/>
                  <a:pt x="1491" y="1815"/>
                </a:cubicBezTo>
                <a:cubicBezTo>
                  <a:pt x="1491" y="1815"/>
                  <a:pt x="1491" y="1815"/>
                  <a:pt x="1491" y="1825"/>
                </a:cubicBezTo>
                <a:cubicBezTo>
                  <a:pt x="1494" y="1824"/>
                  <a:pt x="1496" y="1824"/>
                  <a:pt x="1499" y="1822"/>
                </a:cubicBezTo>
                <a:cubicBezTo>
                  <a:pt x="1501" y="1822"/>
                  <a:pt x="1504" y="1820"/>
                  <a:pt x="1505" y="1819"/>
                </a:cubicBezTo>
                <a:cubicBezTo>
                  <a:pt x="1505" y="1819"/>
                  <a:pt x="1505" y="1819"/>
                  <a:pt x="1505" y="1877"/>
                </a:cubicBezTo>
                <a:cubicBezTo>
                  <a:pt x="1505" y="1877"/>
                  <a:pt x="1505" y="1877"/>
                  <a:pt x="1517" y="1877"/>
                </a:cubicBezTo>
                <a:cubicBezTo>
                  <a:pt x="1517" y="1877"/>
                  <a:pt x="1517" y="1877"/>
                  <a:pt x="1517" y="1804"/>
                </a:cubicBezTo>
                <a:close/>
                <a:moveTo>
                  <a:pt x="1266" y="1851"/>
                </a:moveTo>
                <a:cubicBezTo>
                  <a:pt x="1266" y="1853"/>
                  <a:pt x="1267" y="1854"/>
                  <a:pt x="1268" y="1856"/>
                </a:cubicBezTo>
                <a:cubicBezTo>
                  <a:pt x="1268" y="1857"/>
                  <a:pt x="1268" y="1859"/>
                  <a:pt x="1269" y="1861"/>
                </a:cubicBezTo>
                <a:cubicBezTo>
                  <a:pt x="1269" y="1862"/>
                  <a:pt x="1269" y="1864"/>
                  <a:pt x="1269" y="1865"/>
                </a:cubicBezTo>
                <a:cubicBezTo>
                  <a:pt x="1270" y="1869"/>
                  <a:pt x="1269" y="1870"/>
                  <a:pt x="1266" y="1870"/>
                </a:cubicBezTo>
                <a:cubicBezTo>
                  <a:pt x="1263" y="1870"/>
                  <a:pt x="1260" y="1870"/>
                  <a:pt x="1257" y="1870"/>
                </a:cubicBezTo>
                <a:cubicBezTo>
                  <a:pt x="1257" y="1870"/>
                  <a:pt x="1256" y="1870"/>
                  <a:pt x="1256" y="1870"/>
                </a:cubicBezTo>
                <a:cubicBezTo>
                  <a:pt x="1254" y="1872"/>
                  <a:pt x="1253" y="1873"/>
                  <a:pt x="1252" y="1874"/>
                </a:cubicBezTo>
                <a:cubicBezTo>
                  <a:pt x="1250" y="1877"/>
                  <a:pt x="1246" y="1877"/>
                  <a:pt x="1244" y="1875"/>
                </a:cubicBezTo>
                <a:cubicBezTo>
                  <a:pt x="1242" y="1873"/>
                  <a:pt x="1241" y="1870"/>
                  <a:pt x="1239" y="1868"/>
                </a:cubicBezTo>
                <a:cubicBezTo>
                  <a:pt x="1239" y="1866"/>
                  <a:pt x="1239" y="1865"/>
                  <a:pt x="1241" y="1863"/>
                </a:cubicBezTo>
                <a:cubicBezTo>
                  <a:pt x="1239" y="1863"/>
                  <a:pt x="1237" y="1863"/>
                  <a:pt x="1236" y="1863"/>
                </a:cubicBezTo>
                <a:cubicBezTo>
                  <a:pt x="1235" y="1865"/>
                  <a:pt x="1234" y="1867"/>
                  <a:pt x="1233" y="1869"/>
                </a:cubicBezTo>
                <a:cubicBezTo>
                  <a:pt x="1233" y="1870"/>
                  <a:pt x="1232" y="1870"/>
                  <a:pt x="1232" y="1871"/>
                </a:cubicBezTo>
                <a:cubicBezTo>
                  <a:pt x="1232" y="1874"/>
                  <a:pt x="1231" y="1876"/>
                  <a:pt x="1228" y="1875"/>
                </a:cubicBezTo>
                <a:cubicBezTo>
                  <a:pt x="1225" y="1875"/>
                  <a:pt x="1222" y="1874"/>
                  <a:pt x="1219" y="1873"/>
                </a:cubicBezTo>
                <a:cubicBezTo>
                  <a:pt x="1217" y="1872"/>
                  <a:pt x="1217" y="1871"/>
                  <a:pt x="1217" y="1869"/>
                </a:cubicBezTo>
                <a:cubicBezTo>
                  <a:pt x="1217" y="1868"/>
                  <a:pt x="1217" y="1867"/>
                  <a:pt x="1218" y="1867"/>
                </a:cubicBezTo>
                <a:cubicBezTo>
                  <a:pt x="1216" y="1866"/>
                  <a:pt x="1213" y="1865"/>
                  <a:pt x="1211" y="1864"/>
                </a:cubicBezTo>
                <a:cubicBezTo>
                  <a:pt x="1210" y="1863"/>
                  <a:pt x="1209" y="1861"/>
                  <a:pt x="1208" y="1859"/>
                </a:cubicBezTo>
                <a:cubicBezTo>
                  <a:pt x="1207" y="1857"/>
                  <a:pt x="1207" y="1856"/>
                  <a:pt x="1209" y="1854"/>
                </a:cubicBezTo>
                <a:cubicBezTo>
                  <a:pt x="1212" y="1852"/>
                  <a:pt x="1213" y="1849"/>
                  <a:pt x="1212" y="1845"/>
                </a:cubicBezTo>
                <a:cubicBezTo>
                  <a:pt x="1212" y="1843"/>
                  <a:pt x="1212" y="1841"/>
                  <a:pt x="1212" y="1839"/>
                </a:cubicBezTo>
                <a:cubicBezTo>
                  <a:pt x="1211" y="1839"/>
                  <a:pt x="1209" y="1838"/>
                  <a:pt x="1208" y="1837"/>
                </a:cubicBezTo>
                <a:cubicBezTo>
                  <a:pt x="1207" y="1835"/>
                  <a:pt x="1206" y="1833"/>
                  <a:pt x="1206" y="1832"/>
                </a:cubicBezTo>
                <a:cubicBezTo>
                  <a:pt x="1206" y="1829"/>
                  <a:pt x="1210" y="1826"/>
                  <a:pt x="1212" y="1825"/>
                </a:cubicBezTo>
                <a:cubicBezTo>
                  <a:pt x="1213" y="1826"/>
                  <a:pt x="1213" y="1827"/>
                  <a:pt x="1213" y="1828"/>
                </a:cubicBezTo>
                <a:cubicBezTo>
                  <a:pt x="1213" y="1829"/>
                  <a:pt x="1213" y="1830"/>
                  <a:pt x="1214" y="1831"/>
                </a:cubicBezTo>
                <a:cubicBezTo>
                  <a:pt x="1213" y="1830"/>
                  <a:pt x="1212" y="1830"/>
                  <a:pt x="1212" y="1830"/>
                </a:cubicBezTo>
                <a:cubicBezTo>
                  <a:pt x="1212" y="1832"/>
                  <a:pt x="1211" y="1833"/>
                  <a:pt x="1210" y="1835"/>
                </a:cubicBezTo>
                <a:cubicBezTo>
                  <a:pt x="1212" y="1834"/>
                  <a:pt x="1212" y="1834"/>
                  <a:pt x="1213" y="1834"/>
                </a:cubicBezTo>
                <a:cubicBezTo>
                  <a:pt x="1214" y="1833"/>
                  <a:pt x="1215" y="1832"/>
                  <a:pt x="1216" y="1831"/>
                </a:cubicBezTo>
                <a:cubicBezTo>
                  <a:pt x="1220" y="1824"/>
                  <a:pt x="1226" y="1820"/>
                  <a:pt x="1234" y="1819"/>
                </a:cubicBezTo>
                <a:cubicBezTo>
                  <a:pt x="1237" y="1818"/>
                  <a:pt x="1240" y="1817"/>
                  <a:pt x="1242" y="1814"/>
                </a:cubicBezTo>
                <a:cubicBezTo>
                  <a:pt x="1242" y="1814"/>
                  <a:pt x="1243" y="1813"/>
                  <a:pt x="1243" y="1813"/>
                </a:cubicBezTo>
                <a:cubicBezTo>
                  <a:pt x="1246" y="1813"/>
                  <a:pt x="1248" y="1811"/>
                  <a:pt x="1250" y="1809"/>
                </a:cubicBezTo>
                <a:cubicBezTo>
                  <a:pt x="1257" y="1801"/>
                  <a:pt x="1269" y="1801"/>
                  <a:pt x="1277" y="1808"/>
                </a:cubicBezTo>
                <a:cubicBezTo>
                  <a:pt x="1279" y="1809"/>
                  <a:pt x="1282" y="1811"/>
                  <a:pt x="1284" y="1813"/>
                </a:cubicBezTo>
                <a:cubicBezTo>
                  <a:pt x="1286" y="1815"/>
                  <a:pt x="1287" y="1816"/>
                  <a:pt x="1288" y="1818"/>
                </a:cubicBezTo>
                <a:cubicBezTo>
                  <a:pt x="1289" y="1820"/>
                  <a:pt x="1290" y="1820"/>
                  <a:pt x="1291" y="1819"/>
                </a:cubicBezTo>
                <a:cubicBezTo>
                  <a:pt x="1292" y="1818"/>
                  <a:pt x="1292" y="1817"/>
                  <a:pt x="1293" y="1817"/>
                </a:cubicBezTo>
                <a:cubicBezTo>
                  <a:pt x="1295" y="1814"/>
                  <a:pt x="1298" y="1814"/>
                  <a:pt x="1299" y="1817"/>
                </a:cubicBezTo>
                <a:cubicBezTo>
                  <a:pt x="1301" y="1820"/>
                  <a:pt x="1301" y="1823"/>
                  <a:pt x="1302" y="1826"/>
                </a:cubicBezTo>
                <a:cubicBezTo>
                  <a:pt x="1303" y="1830"/>
                  <a:pt x="1302" y="1835"/>
                  <a:pt x="1301" y="1839"/>
                </a:cubicBezTo>
                <a:cubicBezTo>
                  <a:pt x="1298" y="1845"/>
                  <a:pt x="1294" y="1849"/>
                  <a:pt x="1287" y="1849"/>
                </a:cubicBezTo>
                <a:cubicBezTo>
                  <a:pt x="1286" y="1849"/>
                  <a:pt x="1286" y="1849"/>
                  <a:pt x="1285" y="1849"/>
                </a:cubicBezTo>
                <a:cubicBezTo>
                  <a:pt x="1283" y="1848"/>
                  <a:pt x="1281" y="1849"/>
                  <a:pt x="1281" y="1851"/>
                </a:cubicBezTo>
                <a:cubicBezTo>
                  <a:pt x="1279" y="1856"/>
                  <a:pt x="1274" y="1857"/>
                  <a:pt x="1270" y="1854"/>
                </a:cubicBezTo>
                <a:cubicBezTo>
                  <a:pt x="1269" y="1853"/>
                  <a:pt x="1268" y="1852"/>
                  <a:pt x="1267" y="1851"/>
                </a:cubicBezTo>
                <a:cubicBezTo>
                  <a:pt x="1266" y="1851"/>
                  <a:pt x="1266" y="1851"/>
                  <a:pt x="1266" y="1851"/>
                </a:cubicBezTo>
                <a:close/>
                <a:moveTo>
                  <a:pt x="1261" y="1847"/>
                </a:moveTo>
                <a:cubicBezTo>
                  <a:pt x="1264" y="1848"/>
                  <a:pt x="1268" y="1850"/>
                  <a:pt x="1270" y="1852"/>
                </a:cubicBezTo>
                <a:cubicBezTo>
                  <a:pt x="1272" y="1854"/>
                  <a:pt x="1274" y="1855"/>
                  <a:pt x="1276" y="1854"/>
                </a:cubicBezTo>
                <a:cubicBezTo>
                  <a:pt x="1279" y="1853"/>
                  <a:pt x="1280" y="1851"/>
                  <a:pt x="1280" y="1848"/>
                </a:cubicBezTo>
                <a:cubicBezTo>
                  <a:pt x="1280" y="1848"/>
                  <a:pt x="1279" y="1848"/>
                  <a:pt x="1279" y="1849"/>
                </a:cubicBezTo>
                <a:cubicBezTo>
                  <a:pt x="1279" y="1850"/>
                  <a:pt x="1277" y="1851"/>
                  <a:pt x="1277" y="1852"/>
                </a:cubicBezTo>
                <a:cubicBezTo>
                  <a:pt x="1276" y="1854"/>
                  <a:pt x="1274" y="1853"/>
                  <a:pt x="1274" y="1853"/>
                </a:cubicBezTo>
                <a:cubicBezTo>
                  <a:pt x="1273" y="1853"/>
                  <a:pt x="1272" y="1852"/>
                  <a:pt x="1272" y="1851"/>
                </a:cubicBezTo>
                <a:cubicBezTo>
                  <a:pt x="1272" y="1848"/>
                  <a:pt x="1273" y="1846"/>
                  <a:pt x="1273" y="1845"/>
                </a:cubicBezTo>
                <a:cubicBezTo>
                  <a:pt x="1276" y="1845"/>
                  <a:pt x="1279" y="1846"/>
                  <a:pt x="1283" y="1847"/>
                </a:cubicBezTo>
                <a:cubicBezTo>
                  <a:pt x="1290" y="1848"/>
                  <a:pt x="1296" y="1846"/>
                  <a:pt x="1299" y="1838"/>
                </a:cubicBezTo>
                <a:cubicBezTo>
                  <a:pt x="1301" y="1833"/>
                  <a:pt x="1301" y="1828"/>
                  <a:pt x="1300" y="1823"/>
                </a:cubicBezTo>
                <a:cubicBezTo>
                  <a:pt x="1299" y="1821"/>
                  <a:pt x="1299" y="1820"/>
                  <a:pt x="1298" y="1818"/>
                </a:cubicBezTo>
                <a:cubicBezTo>
                  <a:pt x="1297" y="1816"/>
                  <a:pt x="1296" y="1816"/>
                  <a:pt x="1295" y="1817"/>
                </a:cubicBezTo>
                <a:cubicBezTo>
                  <a:pt x="1293" y="1819"/>
                  <a:pt x="1292" y="1821"/>
                  <a:pt x="1290" y="1821"/>
                </a:cubicBezTo>
                <a:cubicBezTo>
                  <a:pt x="1289" y="1822"/>
                  <a:pt x="1288" y="1822"/>
                  <a:pt x="1288" y="1824"/>
                </a:cubicBezTo>
                <a:cubicBezTo>
                  <a:pt x="1289" y="1827"/>
                  <a:pt x="1288" y="1830"/>
                  <a:pt x="1287" y="1833"/>
                </a:cubicBezTo>
                <a:cubicBezTo>
                  <a:pt x="1287" y="1831"/>
                  <a:pt x="1288" y="1829"/>
                  <a:pt x="1288" y="1828"/>
                </a:cubicBezTo>
                <a:cubicBezTo>
                  <a:pt x="1288" y="1827"/>
                  <a:pt x="1287" y="1826"/>
                  <a:pt x="1287" y="1826"/>
                </a:cubicBezTo>
                <a:cubicBezTo>
                  <a:pt x="1286" y="1826"/>
                  <a:pt x="1286" y="1826"/>
                  <a:pt x="1286" y="1827"/>
                </a:cubicBezTo>
                <a:cubicBezTo>
                  <a:pt x="1285" y="1828"/>
                  <a:pt x="1284" y="1830"/>
                  <a:pt x="1283" y="1831"/>
                </a:cubicBezTo>
                <a:cubicBezTo>
                  <a:pt x="1283" y="1831"/>
                  <a:pt x="1283" y="1831"/>
                  <a:pt x="1283" y="1831"/>
                </a:cubicBezTo>
                <a:cubicBezTo>
                  <a:pt x="1283" y="1829"/>
                  <a:pt x="1284" y="1828"/>
                  <a:pt x="1284" y="1825"/>
                </a:cubicBezTo>
                <a:cubicBezTo>
                  <a:pt x="1283" y="1826"/>
                  <a:pt x="1283" y="1826"/>
                  <a:pt x="1282" y="1827"/>
                </a:cubicBezTo>
                <a:cubicBezTo>
                  <a:pt x="1281" y="1828"/>
                  <a:pt x="1281" y="1828"/>
                  <a:pt x="1281" y="1829"/>
                </a:cubicBezTo>
                <a:cubicBezTo>
                  <a:pt x="1281" y="1826"/>
                  <a:pt x="1281" y="1826"/>
                  <a:pt x="1287" y="1824"/>
                </a:cubicBezTo>
                <a:cubicBezTo>
                  <a:pt x="1287" y="1824"/>
                  <a:pt x="1286" y="1823"/>
                  <a:pt x="1286" y="1823"/>
                </a:cubicBezTo>
                <a:cubicBezTo>
                  <a:pt x="1283" y="1824"/>
                  <a:pt x="1283" y="1822"/>
                  <a:pt x="1282" y="1820"/>
                </a:cubicBezTo>
                <a:cubicBezTo>
                  <a:pt x="1284" y="1820"/>
                  <a:pt x="1285" y="1819"/>
                  <a:pt x="1287" y="1819"/>
                </a:cubicBezTo>
                <a:cubicBezTo>
                  <a:pt x="1285" y="1817"/>
                  <a:pt x="1284" y="1814"/>
                  <a:pt x="1281" y="1813"/>
                </a:cubicBezTo>
                <a:cubicBezTo>
                  <a:pt x="1280" y="1813"/>
                  <a:pt x="1280" y="1813"/>
                  <a:pt x="1280" y="1813"/>
                </a:cubicBezTo>
                <a:cubicBezTo>
                  <a:pt x="1277" y="1811"/>
                  <a:pt x="1275" y="1808"/>
                  <a:pt x="1272" y="1806"/>
                </a:cubicBezTo>
                <a:cubicBezTo>
                  <a:pt x="1270" y="1805"/>
                  <a:pt x="1267" y="1804"/>
                  <a:pt x="1265" y="1804"/>
                </a:cubicBezTo>
                <a:cubicBezTo>
                  <a:pt x="1262" y="1805"/>
                  <a:pt x="1259" y="1806"/>
                  <a:pt x="1256" y="1807"/>
                </a:cubicBezTo>
                <a:cubicBezTo>
                  <a:pt x="1253" y="1808"/>
                  <a:pt x="1250" y="1809"/>
                  <a:pt x="1248" y="1813"/>
                </a:cubicBezTo>
                <a:cubicBezTo>
                  <a:pt x="1250" y="1813"/>
                  <a:pt x="1251" y="1813"/>
                  <a:pt x="1252" y="1813"/>
                </a:cubicBezTo>
                <a:cubicBezTo>
                  <a:pt x="1252" y="1813"/>
                  <a:pt x="1251" y="1813"/>
                  <a:pt x="1250" y="1813"/>
                </a:cubicBezTo>
                <a:cubicBezTo>
                  <a:pt x="1248" y="1814"/>
                  <a:pt x="1245" y="1813"/>
                  <a:pt x="1243" y="1816"/>
                </a:cubicBezTo>
                <a:cubicBezTo>
                  <a:pt x="1240" y="1820"/>
                  <a:pt x="1236" y="1823"/>
                  <a:pt x="1232" y="1828"/>
                </a:cubicBezTo>
                <a:cubicBezTo>
                  <a:pt x="1231" y="1830"/>
                  <a:pt x="1230" y="1832"/>
                  <a:pt x="1229" y="1834"/>
                </a:cubicBezTo>
                <a:cubicBezTo>
                  <a:pt x="1229" y="1835"/>
                  <a:pt x="1229" y="1835"/>
                  <a:pt x="1229" y="1836"/>
                </a:cubicBezTo>
                <a:cubicBezTo>
                  <a:pt x="1230" y="1838"/>
                  <a:pt x="1232" y="1840"/>
                  <a:pt x="1233" y="1842"/>
                </a:cubicBezTo>
                <a:cubicBezTo>
                  <a:pt x="1234" y="1840"/>
                  <a:pt x="1236" y="1839"/>
                  <a:pt x="1237" y="1837"/>
                </a:cubicBezTo>
                <a:cubicBezTo>
                  <a:pt x="1236" y="1839"/>
                  <a:pt x="1236" y="1840"/>
                  <a:pt x="1235" y="1841"/>
                </a:cubicBezTo>
                <a:cubicBezTo>
                  <a:pt x="1234" y="1843"/>
                  <a:pt x="1234" y="1844"/>
                  <a:pt x="1233" y="1845"/>
                </a:cubicBezTo>
                <a:cubicBezTo>
                  <a:pt x="1233" y="1846"/>
                  <a:pt x="1233" y="1847"/>
                  <a:pt x="1234" y="1848"/>
                </a:cubicBezTo>
                <a:cubicBezTo>
                  <a:pt x="1236" y="1852"/>
                  <a:pt x="1239" y="1852"/>
                  <a:pt x="1243" y="1850"/>
                </a:cubicBezTo>
                <a:cubicBezTo>
                  <a:pt x="1245" y="1848"/>
                  <a:pt x="1248" y="1847"/>
                  <a:pt x="1251" y="1846"/>
                </a:cubicBezTo>
                <a:cubicBezTo>
                  <a:pt x="1252" y="1846"/>
                  <a:pt x="1254" y="1845"/>
                  <a:pt x="1254" y="1843"/>
                </a:cubicBezTo>
                <a:cubicBezTo>
                  <a:pt x="1254" y="1840"/>
                  <a:pt x="1254" y="1837"/>
                  <a:pt x="1254" y="1833"/>
                </a:cubicBezTo>
                <a:cubicBezTo>
                  <a:pt x="1254" y="1830"/>
                  <a:pt x="1254" y="1828"/>
                  <a:pt x="1254" y="1824"/>
                </a:cubicBezTo>
                <a:cubicBezTo>
                  <a:pt x="1254" y="1827"/>
                  <a:pt x="1255" y="1830"/>
                  <a:pt x="1255" y="1832"/>
                </a:cubicBezTo>
                <a:cubicBezTo>
                  <a:pt x="1256" y="1837"/>
                  <a:pt x="1256" y="1841"/>
                  <a:pt x="1255" y="1846"/>
                </a:cubicBezTo>
                <a:cubicBezTo>
                  <a:pt x="1254" y="1846"/>
                  <a:pt x="1254" y="1847"/>
                  <a:pt x="1253" y="1847"/>
                </a:cubicBezTo>
                <a:cubicBezTo>
                  <a:pt x="1250" y="1848"/>
                  <a:pt x="1246" y="1850"/>
                  <a:pt x="1243" y="1851"/>
                </a:cubicBezTo>
                <a:cubicBezTo>
                  <a:pt x="1238" y="1854"/>
                  <a:pt x="1235" y="1852"/>
                  <a:pt x="1231" y="1848"/>
                </a:cubicBezTo>
                <a:cubicBezTo>
                  <a:pt x="1231" y="1848"/>
                  <a:pt x="1231" y="1847"/>
                  <a:pt x="1231" y="1846"/>
                </a:cubicBezTo>
                <a:cubicBezTo>
                  <a:pt x="1232" y="1844"/>
                  <a:pt x="1231" y="1842"/>
                  <a:pt x="1230" y="1840"/>
                </a:cubicBezTo>
                <a:cubicBezTo>
                  <a:pt x="1228" y="1838"/>
                  <a:pt x="1226" y="1836"/>
                  <a:pt x="1228" y="1833"/>
                </a:cubicBezTo>
                <a:cubicBezTo>
                  <a:pt x="1228" y="1831"/>
                  <a:pt x="1229" y="1830"/>
                  <a:pt x="1230" y="1828"/>
                </a:cubicBezTo>
                <a:cubicBezTo>
                  <a:pt x="1232" y="1825"/>
                  <a:pt x="1234" y="1823"/>
                  <a:pt x="1236" y="1820"/>
                </a:cubicBezTo>
                <a:cubicBezTo>
                  <a:pt x="1236" y="1820"/>
                  <a:pt x="1235" y="1820"/>
                  <a:pt x="1235" y="1820"/>
                </a:cubicBezTo>
                <a:cubicBezTo>
                  <a:pt x="1230" y="1821"/>
                  <a:pt x="1226" y="1823"/>
                  <a:pt x="1222" y="1826"/>
                </a:cubicBezTo>
                <a:cubicBezTo>
                  <a:pt x="1217" y="1830"/>
                  <a:pt x="1214" y="1835"/>
                  <a:pt x="1214" y="1842"/>
                </a:cubicBezTo>
                <a:cubicBezTo>
                  <a:pt x="1214" y="1849"/>
                  <a:pt x="1216" y="1855"/>
                  <a:pt x="1219" y="1861"/>
                </a:cubicBezTo>
                <a:cubicBezTo>
                  <a:pt x="1220" y="1861"/>
                  <a:pt x="1221" y="1863"/>
                  <a:pt x="1220" y="1864"/>
                </a:cubicBezTo>
                <a:cubicBezTo>
                  <a:pt x="1220" y="1866"/>
                  <a:pt x="1220" y="1867"/>
                  <a:pt x="1219" y="1869"/>
                </a:cubicBezTo>
                <a:cubicBezTo>
                  <a:pt x="1219" y="1870"/>
                  <a:pt x="1219" y="1871"/>
                  <a:pt x="1220" y="1872"/>
                </a:cubicBezTo>
                <a:cubicBezTo>
                  <a:pt x="1223" y="1872"/>
                  <a:pt x="1226" y="1873"/>
                  <a:pt x="1229" y="1873"/>
                </a:cubicBezTo>
                <a:cubicBezTo>
                  <a:pt x="1230" y="1873"/>
                  <a:pt x="1230" y="1872"/>
                  <a:pt x="1230" y="1872"/>
                </a:cubicBezTo>
                <a:cubicBezTo>
                  <a:pt x="1231" y="1871"/>
                  <a:pt x="1231" y="1869"/>
                  <a:pt x="1232" y="1869"/>
                </a:cubicBezTo>
                <a:cubicBezTo>
                  <a:pt x="1234" y="1866"/>
                  <a:pt x="1234" y="1863"/>
                  <a:pt x="1234" y="1861"/>
                </a:cubicBezTo>
                <a:cubicBezTo>
                  <a:pt x="1234" y="1860"/>
                  <a:pt x="1234" y="1860"/>
                  <a:pt x="1234" y="1859"/>
                </a:cubicBezTo>
                <a:cubicBezTo>
                  <a:pt x="1234" y="1859"/>
                  <a:pt x="1234" y="1859"/>
                  <a:pt x="1234" y="1859"/>
                </a:cubicBezTo>
                <a:cubicBezTo>
                  <a:pt x="1234" y="1861"/>
                  <a:pt x="1236" y="1861"/>
                  <a:pt x="1237" y="1861"/>
                </a:cubicBezTo>
                <a:cubicBezTo>
                  <a:pt x="1238" y="1861"/>
                  <a:pt x="1239" y="1861"/>
                  <a:pt x="1240" y="1861"/>
                </a:cubicBezTo>
                <a:cubicBezTo>
                  <a:pt x="1243" y="1861"/>
                  <a:pt x="1246" y="1862"/>
                  <a:pt x="1246" y="1858"/>
                </a:cubicBezTo>
                <a:cubicBezTo>
                  <a:pt x="1246" y="1860"/>
                  <a:pt x="1246" y="1862"/>
                  <a:pt x="1246" y="1863"/>
                </a:cubicBezTo>
                <a:cubicBezTo>
                  <a:pt x="1245" y="1863"/>
                  <a:pt x="1244" y="1864"/>
                  <a:pt x="1243" y="1865"/>
                </a:cubicBezTo>
                <a:cubicBezTo>
                  <a:pt x="1241" y="1865"/>
                  <a:pt x="1241" y="1867"/>
                  <a:pt x="1241" y="1868"/>
                </a:cubicBezTo>
                <a:cubicBezTo>
                  <a:pt x="1243" y="1870"/>
                  <a:pt x="1244" y="1872"/>
                  <a:pt x="1245" y="1874"/>
                </a:cubicBezTo>
                <a:cubicBezTo>
                  <a:pt x="1247" y="1875"/>
                  <a:pt x="1249" y="1875"/>
                  <a:pt x="1250" y="1873"/>
                </a:cubicBezTo>
                <a:cubicBezTo>
                  <a:pt x="1251" y="1872"/>
                  <a:pt x="1252" y="1872"/>
                  <a:pt x="1252" y="1871"/>
                </a:cubicBezTo>
                <a:cubicBezTo>
                  <a:pt x="1254" y="1870"/>
                  <a:pt x="1256" y="1869"/>
                  <a:pt x="1257" y="1867"/>
                </a:cubicBezTo>
                <a:cubicBezTo>
                  <a:pt x="1261" y="1863"/>
                  <a:pt x="1263" y="1857"/>
                  <a:pt x="1265" y="1851"/>
                </a:cubicBezTo>
                <a:cubicBezTo>
                  <a:pt x="1265" y="1851"/>
                  <a:pt x="1264" y="1850"/>
                  <a:pt x="1264" y="1850"/>
                </a:cubicBezTo>
                <a:cubicBezTo>
                  <a:pt x="1263" y="1848"/>
                  <a:pt x="1262" y="1848"/>
                  <a:pt x="1261" y="1847"/>
                </a:cubicBezTo>
                <a:close/>
                <a:moveTo>
                  <a:pt x="1214" y="1853"/>
                </a:moveTo>
                <a:cubicBezTo>
                  <a:pt x="1213" y="1854"/>
                  <a:pt x="1211" y="1855"/>
                  <a:pt x="1210" y="1856"/>
                </a:cubicBezTo>
                <a:cubicBezTo>
                  <a:pt x="1210" y="1856"/>
                  <a:pt x="1209" y="1857"/>
                  <a:pt x="1209" y="1858"/>
                </a:cubicBezTo>
                <a:cubicBezTo>
                  <a:pt x="1209" y="1861"/>
                  <a:pt x="1214" y="1865"/>
                  <a:pt x="1217" y="1865"/>
                </a:cubicBezTo>
                <a:cubicBezTo>
                  <a:pt x="1218" y="1865"/>
                  <a:pt x="1219" y="1863"/>
                  <a:pt x="1218" y="1862"/>
                </a:cubicBezTo>
                <a:cubicBezTo>
                  <a:pt x="1217" y="1859"/>
                  <a:pt x="1215" y="1856"/>
                  <a:pt x="1214"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4" y="1835"/>
                </a:moveTo>
                <a:cubicBezTo>
                  <a:pt x="1213" y="1835"/>
                  <a:pt x="1212" y="1836"/>
                  <a:pt x="1212" y="1836"/>
                </a:cubicBezTo>
                <a:cubicBezTo>
                  <a:pt x="1211" y="1836"/>
                  <a:pt x="1210" y="1836"/>
                  <a:pt x="1210" y="1835"/>
                </a:cubicBezTo>
                <a:cubicBezTo>
                  <a:pt x="1210" y="1835"/>
                  <a:pt x="1209" y="1834"/>
                  <a:pt x="1209" y="1833"/>
                </a:cubicBezTo>
                <a:cubicBezTo>
                  <a:pt x="1210" y="1832"/>
                  <a:pt x="1210" y="1830"/>
                  <a:pt x="1211" y="1828"/>
                </a:cubicBezTo>
                <a:cubicBezTo>
                  <a:pt x="1211" y="1828"/>
                  <a:pt x="1211" y="1828"/>
                  <a:pt x="1210" y="1828"/>
                </a:cubicBezTo>
                <a:cubicBezTo>
                  <a:pt x="1210" y="1828"/>
                  <a:pt x="1208" y="1829"/>
                  <a:pt x="1208" y="1830"/>
                </a:cubicBezTo>
                <a:cubicBezTo>
                  <a:pt x="1207" y="1832"/>
                  <a:pt x="1208" y="1837"/>
                  <a:pt x="1210" y="1837"/>
                </a:cubicBezTo>
                <a:cubicBezTo>
                  <a:pt x="1212" y="1838"/>
                  <a:pt x="1214" y="1837"/>
                  <a:pt x="1214" y="1835"/>
                </a:cubicBezTo>
                <a:close/>
                <a:moveTo>
                  <a:pt x="1213" y="1853"/>
                </a:moveTo>
                <a:cubicBezTo>
                  <a:pt x="1213" y="1854"/>
                  <a:pt x="1211" y="1855"/>
                  <a:pt x="1210" y="1856"/>
                </a:cubicBezTo>
                <a:cubicBezTo>
                  <a:pt x="1209" y="1856"/>
                  <a:pt x="1209" y="1857"/>
                  <a:pt x="1209" y="1858"/>
                </a:cubicBezTo>
                <a:cubicBezTo>
                  <a:pt x="1209" y="1861"/>
                  <a:pt x="1213" y="1865"/>
                  <a:pt x="1217" y="1865"/>
                </a:cubicBezTo>
                <a:cubicBezTo>
                  <a:pt x="1218" y="1865"/>
                  <a:pt x="1219" y="1864"/>
                  <a:pt x="1218" y="1862"/>
                </a:cubicBezTo>
                <a:cubicBezTo>
                  <a:pt x="1217" y="1859"/>
                  <a:pt x="1215" y="1856"/>
                  <a:pt x="1213"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3" y="1835"/>
                </a:moveTo>
                <a:cubicBezTo>
                  <a:pt x="1213" y="1835"/>
                  <a:pt x="1212" y="1836"/>
                  <a:pt x="1211" y="1836"/>
                </a:cubicBezTo>
                <a:cubicBezTo>
                  <a:pt x="1211" y="1836"/>
                  <a:pt x="1210" y="1836"/>
                  <a:pt x="1210" y="1835"/>
                </a:cubicBezTo>
                <a:cubicBezTo>
                  <a:pt x="1209" y="1835"/>
                  <a:pt x="1209" y="1834"/>
                  <a:pt x="1209" y="1833"/>
                </a:cubicBezTo>
                <a:cubicBezTo>
                  <a:pt x="1210" y="1831"/>
                  <a:pt x="1210" y="1829"/>
                  <a:pt x="1211" y="1827"/>
                </a:cubicBezTo>
                <a:cubicBezTo>
                  <a:pt x="1211" y="1827"/>
                  <a:pt x="1211" y="1827"/>
                  <a:pt x="1210" y="1827"/>
                </a:cubicBezTo>
                <a:cubicBezTo>
                  <a:pt x="1209" y="1828"/>
                  <a:pt x="1208" y="1829"/>
                  <a:pt x="1207" y="1830"/>
                </a:cubicBezTo>
                <a:cubicBezTo>
                  <a:pt x="1207" y="1831"/>
                  <a:pt x="1208" y="1837"/>
                  <a:pt x="1210" y="1837"/>
                </a:cubicBezTo>
                <a:cubicBezTo>
                  <a:pt x="1211" y="1838"/>
                  <a:pt x="1213" y="1837"/>
                  <a:pt x="1213" y="1835"/>
                </a:cubicBezTo>
                <a:close/>
                <a:moveTo>
                  <a:pt x="1266" y="1827"/>
                </a:moveTo>
                <a:cubicBezTo>
                  <a:pt x="1269" y="1823"/>
                  <a:pt x="1269" y="1823"/>
                  <a:pt x="1273" y="1822"/>
                </a:cubicBezTo>
                <a:cubicBezTo>
                  <a:pt x="1273" y="1824"/>
                  <a:pt x="1274" y="1825"/>
                  <a:pt x="1275" y="1825"/>
                </a:cubicBezTo>
                <a:cubicBezTo>
                  <a:pt x="1273" y="1826"/>
                  <a:pt x="1271" y="1828"/>
                  <a:pt x="1269" y="1829"/>
                </a:cubicBezTo>
                <a:cubicBezTo>
                  <a:pt x="1268" y="1828"/>
                  <a:pt x="1268" y="1828"/>
                  <a:pt x="1267" y="1826"/>
                </a:cubicBezTo>
                <a:cubicBezTo>
                  <a:pt x="1267" y="1826"/>
                  <a:pt x="1266" y="1826"/>
                  <a:pt x="1266" y="1827"/>
                </a:cubicBezTo>
                <a:close/>
                <a:moveTo>
                  <a:pt x="1271" y="1826"/>
                </a:moveTo>
                <a:cubicBezTo>
                  <a:pt x="1271" y="1826"/>
                  <a:pt x="1270" y="1826"/>
                  <a:pt x="1269" y="1826"/>
                </a:cubicBezTo>
                <a:cubicBezTo>
                  <a:pt x="1269" y="1826"/>
                  <a:pt x="1268" y="1826"/>
                  <a:pt x="1268" y="1827"/>
                </a:cubicBezTo>
                <a:cubicBezTo>
                  <a:pt x="1268" y="1827"/>
                  <a:pt x="1269" y="1828"/>
                  <a:pt x="1269" y="1828"/>
                </a:cubicBezTo>
                <a:cubicBezTo>
                  <a:pt x="1270" y="1828"/>
                  <a:pt x="1270" y="1827"/>
                  <a:pt x="1271" y="1826"/>
                </a:cubicBezTo>
                <a:close/>
                <a:moveTo>
                  <a:pt x="1253" y="1817"/>
                </a:moveTo>
                <a:cubicBezTo>
                  <a:pt x="1246" y="1816"/>
                  <a:pt x="1243" y="1819"/>
                  <a:pt x="1242" y="1826"/>
                </a:cubicBezTo>
                <a:cubicBezTo>
                  <a:pt x="1243" y="1824"/>
                  <a:pt x="1244" y="1822"/>
                  <a:pt x="1246" y="1820"/>
                </a:cubicBezTo>
                <a:cubicBezTo>
                  <a:pt x="1246" y="1820"/>
                  <a:pt x="1246" y="1820"/>
                  <a:pt x="1246" y="1820"/>
                </a:cubicBezTo>
                <a:cubicBezTo>
                  <a:pt x="1246" y="1821"/>
                  <a:pt x="1246" y="1822"/>
                  <a:pt x="1246" y="1822"/>
                </a:cubicBezTo>
                <a:cubicBezTo>
                  <a:pt x="1248" y="1819"/>
                  <a:pt x="1249" y="1817"/>
                  <a:pt x="1253" y="1817"/>
                </a:cubicBezTo>
                <a:close/>
                <a:moveTo>
                  <a:pt x="1296" y="1818"/>
                </a:moveTo>
                <a:cubicBezTo>
                  <a:pt x="1294" y="1819"/>
                  <a:pt x="1292" y="1821"/>
                  <a:pt x="1291" y="1822"/>
                </a:cubicBezTo>
                <a:cubicBezTo>
                  <a:pt x="1293" y="1823"/>
                  <a:pt x="1295" y="1821"/>
                  <a:pt x="1296" y="1818"/>
                </a:cubicBezTo>
                <a:close/>
                <a:moveTo>
                  <a:pt x="1263" y="1821"/>
                </a:moveTo>
                <a:cubicBezTo>
                  <a:pt x="1264" y="1819"/>
                  <a:pt x="1265" y="1818"/>
                  <a:pt x="1267" y="1817"/>
                </a:cubicBezTo>
                <a:cubicBezTo>
                  <a:pt x="1263" y="1818"/>
                  <a:pt x="1262" y="1819"/>
                  <a:pt x="1263" y="1821"/>
                </a:cubicBezTo>
                <a:close/>
                <a:moveTo>
                  <a:pt x="1273" y="1842"/>
                </a:moveTo>
                <a:cubicBezTo>
                  <a:pt x="1271" y="1842"/>
                  <a:pt x="1270" y="1843"/>
                  <a:pt x="1270" y="1844"/>
                </a:cubicBezTo>
                <a:cubicBezTo>
                  <a:pt x="1271" y="1843"/>
                  <a:pt x="1272" y="1842"/>
                  <a:pt x="1273" y="1842"/>
                </a:cubicBezTo>
                <a:close/>
                <a:moveTo>
                  <a:pt x="1271" y="1826"/>
                </a:moveTo>
                <a:cubicBezTo>
                  <a:pt x="1271" y="1826"/>
                  <a:pt x="1270" y="1825"/>
                  <a:pt x="1270" y="1825"/>
                </a:cubicBezTo>
                <a:cubicBezTo>
                  <a:pt x="1269" y="1825"/>
                  <a:pt x="1268" y="1826"/>
                  <a:pt x="1268" y="1827"/>
                </a:cubicBezTo>
                <a:cubicBezTo>
                  <a:pt x="1268" y="1827"/>
                  <a:pt x="1269" y="1828"/>
                  <a:pt x="1269" y="1828"/>
                </a:cubicBezTo>
                <a:cubicBezTo>
                  <a:pt x="1270" y="1828"/>
                  <a:pt x="1270" y="1827"/>
                  <a:pt x="1271" y="1826"/>
                </a:cubicBezTo>
                <a:close/>
                <a:moveTo>
                  <a:pt x="1562" y="1804"/>
                </a:moveTo>
                <a:cubicBezTo>
                  <a:pt x="1562" y="1804"/>
                  <a:pt x="1562" y="1804"/>
                  <a:pt x="1562" y="1804"/>
                </a:cubicBezTo>
                <a:cubicBezTo>
                  <a:pt x="1558" y="1804"/>
                  <a:pt x="1558" y="1804"/>
                  <a:pt x="1558" y="1804"/>
                </a:cubicBezTo>
                <a:cubicBezTo>
                  <a:pt x="1556" y="1806"/>
                  <a:pt x="1554" y="1807"/>
                  <a:pt x="1552" y="1808"/>
                </a:cubicBezTo>
                <a:cubicBezTo>
                  <a:pt x="1551" y="1809"/>
                  <a:pt x="1549" y="1810"/>
                  <a:pt x="1547" y="1811"/>
                </a:cubicBezTo>
                <a:cubicBezTo>
                  <a:pt x="1545" y="1812"/>
                  <a:pt x="1544" y="1813"/>
                  <a:pt x="1541" y="1814"/>
                </a:cubicBezTo>
                <a:cubicBezTo>
                  <a:pt x="1540" y="1814"/>
                  <a:pt x="1538" y="1815"/>
                  <a:pt x="1536" y="1815"/>
                </a:cubicBezTo>
                <a:cubicBezTo>
                  <a:pt x="1536" y="1815"/>
                  <a:pt x="1536" y="1815"/>
                  <a:pt x="1536" y="1825"/>
                </a:cubicBezTo>
                <a:cubicBezTo>
                  <a:pt x="1539" y="1824"/>
                  <a:pt x="1542" y="1824"/>
                  <a:pt x="1544" y="1822"/>
                </a:cubicBezTo>
                <a:cubicBezTo>
                  <a:pt x="1546" y="1822"/>
                  <a:pt x="1549" y="1820"/>
                  <a:pt x="1551" y="1819"/>
                </a:cubicBezTo>
                <a:cubicBezTo>
                  <a:pt x="1551" y="1819"/>
                  <a:pt x="1551" y="1819"/>
                  <a:pt x="1551" y="1877"/>
                </a:cubicBezTo>
                <a:cubicBezTo>
                  <a:pt x="1551" y="1877"/>
                  <a:pt x="1551" y="1877"/>
                  <a:pt x="1562" y="1877"/>
                </a:cubicBezTo>
                <a:cubicBezTo>
                  <a:pt x="1562" y="1877"/>
                  <a:pt x="1562" y="1877"/>
                  <a:pt x="1562" y="1804"/>
                </a:cubicBezTo>
                <a:close/>
                <a:moveTo>
                  <a:pt x="1684" y="1804"/>
                </a:moveTo>
                <a:cubicBezTo>
                  <a:pt x="1684" y="1804"/>
                  <a:pt x="1684" y="1804"/>
                  <a:pt x="1684" y="1804"/>
                </a:cubicBezTo>
                <a:cubicBezTo>
                  <a:pt x="1679" y="1804"/>
                  <a:pt x="1679" y="1804"/>
                  <a:pt x="1679" y="1804"/>
                </a:cubicBezTo>
                <a:cubicBezTo>
                  <a:pt x="1677" y="1806"/>
                  <a:pt x="1675" y="1807"/>
                  <a:pt x="1673" y="1808"/>
                </a:cubicBezTo>
                <a:cubicBezTo>
                  <a:pt x="1672" y="1809"/>
                  <a:pt x="1670" y="1810"/>
                  <a:pt x="1668" y="1811"/>
                </a:cubicBezTo>
                <a:cubicBezTo>
                  <a:pt x="1667" y="1812"/>
                  <a:pt x="1665" y="1813"/>
                  <a:pt x="1663" y="1814"/>
                </a:cubicBezTo>
                <a:cubicBezTo>
                  <a:pt x="1661" y="1814"/>
                  <a:pt x="1659" y="1815"/>
                  <a:pt x="1657" y="1815"/>
                </a:cubicBezTo>
                <a:cubicBezTo>
                  <a:pt x="1657" y="1815"/>
                  <a:pt x="1657" y="1815"/>
                  <a:pt x="1657" y="1825"/>
                </a:cubicBezTo>
                <a:cubicBezTo>
                  <a:pt x="1660" y="1824"/>
                  <a:pt x="1663" y="1824"/>
                  <a:pt x="1666" y="1822"/>
                </a:cubicBezTo>
                <a:cubicBezTo>
                  <a:pt x="1668" y="1822"/>
                  <a:pt x="1670" y="1820"/>
                  <a:pt x="1673" y="1819"/>
                </a:cubicBezTo>
                <a:cubicBezTo>
                  <a:pt x="1673" y="1819"/>
                  <a:pt x="1673" y="1819"/>
                  <a:pt x="1673" y="1877"/>
                </a:cubicBezTo>
                <a:cubicBezTo>
                  <a:pt x="1673" y="1877"/>
                  <a:pt x="1673" y="1877"/>
                  <a:pt x="1684" y="1877"/>
                </a:cubicBezTo>
                <a:cubicBezTo>
                  <a:pt x="1684" y="1877"/>
                  <a:pt x="1684" y="1877"/>
                  <a:pt x="1684" y="1804"/>
                </a:cubicBezTo>
                <a:close/>
                <a:moveTo>
                  <a:pt x="1731" y="1804"/>
                </a:moveTo>
                <a:cubicBezTo>
                  <a:pt x="1731" y="1804"/>
                  <a:pt x="1731" y="1804"/>
                  <a:pt x="1731" y="1804"/>
                </a:cubicBezTo>
                <a:cubicBezTo>
                  <a:pt x="1726" y="1804"/>
                  <a:pt x="1726" y="1804"/>
                  <a:pt x="1726" y="1804"/>
                </a:cubicBezTo>
                <a:cubicBezTo>
                  <a:pt x="1724" y="1806"/>
                  <a:pt x="1722" y="1807"/>
                  <a:pt x="1720" y="1808"/>
                </a:cubicBezTo>
                <a:cubicBezTo>
                  <a:pt x="1719" y="1809"/>
                  <a:pt x="1717" y="1810"/>
                  <a:pt x="1715" y="1811"/>
                </a:cubicBezTo>
                <a:cubicBezTo>
                  <a:pt x="1714" y="1812"/>
                  <a:pt x="1712" y="1813"/>
                  <a:pt x="1710" y="1814"/>
                </a:cubicBezTo>
                <a:cubicBezTo>
                  <a:pt x="1708" y="1814"/>
                  <a:pt x="1707" y="1815"/>
                  <a:pt x="1704" y="1815"/>
                </a:cubicBezTo>
                <a:cubicBezTo>
                  <a:pt x="1704" y="1815"/>
                  <a:pt x="1704" y="1815"/>
                  <a:pt x="1704" y="1825"/>
                </a:cubicBezTo>
                <a:cubicBezTo>
                  <a:pt x="1707" y="1824"/>
                  <a:pt x="1710" y="1824"/>
                  <a:pt x="1712" y="1822"/>
                </a:cubicBezTo>
                <a:cubicBezTo>
                  <a:pt x="1715" y="1822"/>
                  <a:pt x="1717" y="1820"/>
                  <a:pt x="1720" y="1819"/>
                </a:cubicBezTo>
                <a:cubicBezTo>
                  <a:pt x="1720" y="1819"/>
                  <a:pt x="1720" y="1819"/>
                  <a:pt x="1720" y="1877"/>
                </a:cubicBezTo>
                <a:cubicBezTo>
                  <a:pt x="1720" y="1877"/>
                  <a:pt x="1720" y="1877"/>
                  <a:pt x="1731" y="1877"/>
                </a:cubicBezTo>
                <a:cubicBezTo>
                  <a:pt x="1731" y="1877"/>
                  <a:pt x="1731" y="1877"/>
                  <a:pt x="1731" y="1804"/>
                </a:cubicBezTo>
                <a:close/>
                <a:moveTo>
                  <a:pt x="1777" y="1804"/>
                </a:moveTo>
                <a:cubicBezTo>
                  <a:pt x="1777" y="1804"/>
                  <a:pt x="1777" y="1804"/>
                  <a:pt x="1777" y="1804"/>
                </a:cubicBezTo>
                <a:cubicBezTo>
                  <a:pt x="1773" y="1804"/>
                  <a:pt x="1773" y="1804"/>
                  <a:pt x="1773" y="1804"/>
                </a:cubicBezTo>
                <a:cubicBezTo>
                  <a:pt x="1771" y="1806"/>
                  <a:pt x="1769" y="1807"/>
                  <a:pt x="1767" y="1808"/>
                </a:cubicBezTo>
                <a:cubicBezTo>
                  <a:pt x="1766" y="1809"/>
                  <a:pt x="1763" y="1810"/>
                  <a:pt x="1762" y="1811"/>
                </a:cubicBezTo>
                <a:cubicBezTo>
                  <a:pt x="1760" y="1811"/>
                  <a:pt x="1758" y="1812"/>
                  <a:pt x="1756" y="1813"/>
                </a:cubicBezTo>
                <a:cubicBezTo>
                  <a:pt x="1755" y="1814"/>
                  <a:pt x="1752" y="1814"/>
                  <a:pt x="1751" y="1815"/>
                </a:cubicBezTo>
                <a:cubicBezTo>
                  <a:pt x="1751" y="1815"/>
                  <a:pt x="1751" y="1815"/>
                  <a:pt x="1751" y="1825"/>
                </a:cubicBezTo>
                <a:cubicBezTo>
                  <a:pt x="1754" y="1824"/>
                  <a:pt x="1757" y="1823"/>
                  <a:pt x="1759" y="1822"/>
                </a:cubicBezTo>
                <a:cubicBezTo>
                  <a:pt x="1761" y="1822"/>
                  <a:pt x="1764" y="1820"/>
                  <a:pt x="1766" y="1819"/>
                </a:cubicBezTo>
                <a:cubicBezTo>
                  <a:pt x="1766" y="1819"/>
                  <a:pt x="1766" y="1819"/>
                  <a:pt x="1766" y="1877"/>
                </a:cubicBezTo>
                <a:cubicBezTo>
                  <a:pt x="1766" y="1877"/>
                  <a:pt x="1766" y="1877"/>
                  <a:pt x="1777" y="1877"/>
                </a:cubicBezTo>
                <a:cubicBezTo>
                  <a:pt x="1777" y="1877"/>
                  <a:pt x="1777" y="1877"/>
                  <a:pt x="1777" y="1804"/>
                </a:cubicBezTo>
                <a:close/>
                <a:moveTo>
                  <a:pt x="1583" y="1836"/>
                </a:moveTo>
                <a:cubicBezTo>
                  <a:pt x="1583" y="1836"/>
                  <a:pt x="1583" y="1836"/>
                  <a:pt x="1583" y="1836"/>
                </a:cubicBezTo>
                <a:cubicBezTo>
                  <a:pt x="1582" y="1844"/>
                  <a:pt x="1582" y="1844"/>
                  <a:pt x="1582" y="1844"/>
                </a:cubicBezTo>
                <a:cubicBezTo>
                  <a:pt x="1589" y="1845"/>
                  <a:pt x="1589" y="1848"/>
                  <a:pt x="1589" y="1850"/>
                </a:cubicBezTo>
                <a:cubicBezTo>
                  <a:pt x="1589" y="1853"/>
                  <a:pt x="1589" y="1855"/>
                  <a:pt x="1589" y="1857"/>
                </a:cubicBezTo>
                <a:cubicBezTo>
                  <a:pt x="1589" y="1860"/>
                  <a:pt x="1588" y="1862"/>
                  <a:pt x="1588" y="1865"/>
                </a:cubicBezTo>
                <a:cubicBezTo>
                  <a:pt x="1588" y="1874"/>
                  <a:pt x="1594" y="1877"/>
                  <a:pt x="1603" y="1877"/>
                </a:cubicBezTo>
                <a:cubicBezTo>
                  <a:pt x="1603" y="1877"/>
                  <a:pt x="1603" y="1877"/>
                  <a:pt x="1606" y="1877"/>
                </a:cubicBezTo>
                <a:cubicBezTo>
                  <a:pt x="1606" y="1877"/>
                  <a:pt x="1606" y="1877"/>
                  <a:pt x="1606" y="1868"/>
                </a:cubicBezTo>
                <a:cubicBezTo>
                  <a:pt x="1606" y="1868"/>
                  <a:pt x="1606" y="1868"/>
                  <a:pt x="1605" y="1868"/>
                </a:cubicBezTo>
                <a:cubicBezTo>
                  <a:pt x="1601" y="1868"/>
                  <a:pt x="1600" y="1866"/>
                  <a:pt x="1600" y="1862"/>
                </a:cubicBezTo>
                <a:cubicBezTo>
                  <a:pt x="1600" y="1861"/>
                  <a:pt x="1600" y="1859"/>
                  <a:pt x="1601" y="1857"/>
                </a:cubicBezTo>
                <a:cubicBezTo>
                  <a:pt x="1601" y="1856"/>
                  <a:pt x="1601" y="1854"/>
                  <a:pt x="1601" y="1852"/>
                </a:cubicBezTo>
                <a:cubicBezTo>
                  <a:pt x="1601" y="1844"/>
                  <a:pt x="1598" y="1842"/>
                  <a:pt x="1592" y="1840"/>
                </a:cubicBezTo>
                <a:cubicBezTo>
                  <a:pt x="1592" y="1840"/>
                  <a:pt x="1592" y="1840"/>
                  <a:pt x="1592" y="1840"/>
                </a:cubicBezTo>
                <a:cubicBezTo>
                  <a:pt x="1598" y="1839"/>
                  <a:pt x="1601" y="1837"/>
                  <a:pt x="1601" y="1829"/>
                </a:cubicBezTo>
                <a:cubicBezTo>
                  <a:pt x="1601" y="1827"/>
                  <a:pt x="1601" y="1825"/>
                  <a:pt x="1601" y="1823"/>
                </a:cubicBezTo>
                <a:cubicBezTo>
                  <a:pt x="1600" y="1821"/>
                  <a:pt x="1600" y="1820"/>
                  <a:pt x="1600" y="1818"/>
                </a:cubicBezTo>
                <a:cubicBezTo>
                  <a:pt x="1600" y="1815"/>
                  <a:pt x="1601" y="1813"/>
                  <a:pt x="1605" y="1813"/>
                </a:cubicBezTo>
                <a:cubicBezTo>
                  <a:pt x="1605" y="1813"/>
                  <a:pt x="1605" y="1813"/>
                  <a:pt x="1606" y="1813"/>
                </a:cubicBezTo>
                <a:cubicBezTo>
                  <a:pt x="1606" y="1813"/>
                  <a:pt x="1606" y="1813"/>
                  <a:pt x="1606" y="1803"/>
                </a:cubicBezTo>
                <a:cubicBezTo>
                  <a:pt x="1606" y="1803"/>
                  <a:pt x="1606" y="1803"/>
                  <a:pt x="1603" y="1803"/>
                </a:cubicBezTo>
                <a:cubicBezTo>
                  <a:pt x="1594" y="1803"/>
                  <a:pt x="1588" y="1807"/>
                  <a:pt x="1588" y="1816"/>
                </a:cubicBezTo>
                <a:cubicBezTo>
                  <a:pt x="1588" y="1818"/>
                  <a:pt x="1589" y="1821"/>
                  <a:pt x="1589" y="1823"/>
                </a:cubicBezTo>
                <a:cubicBezTo>
                  <a:pt x="1589" y="1826"/>
                  <a:pt x="1589" y="1828"/>
                  <a:pt x="1589" y="1830"/>
                </a:cubicBezTo>
                <a:cubicBezTo>
                  <a:pt x="1589" y="1833"/>
                  <a:pt x="1589" y="1836"/>
                  <a:pt x="1583" y="1836"/>
                </a:cubicBezTo>
                <a:close/>
                <a:moveTo>
                  <a:pt x="1637" y="1844"/>
                </a:moveTo>
                <a:cubicBezTo>
                  <a:pt x="1637" y="1844"/>
                  <a:pt x="1637" y="1844"/>
                  <a:pt x="1637" y="1844"/>
                </a:cubicBezTo>
                <a:cubicBezTo>
                  <a:pt x="1637" y="1836"/>
                  <a:pt x="1637" y="1836"/>
                  <a:pt x="1637" y="1836"/>
                </a:cubicBezTo>
                <a:cubicBezTo>
                  <a:pt x="1631" y="1836"/>
                  <a:pt x="1630" y="1833"/>
                  <a:pt x="1630" y="1830"/>
                </a:cubicBezTo>
                <a:cubicBezTo>
                  <a:pt x="1630" y="1828"/>
                  <a:pt x="1630" y="1826"/>
                  <a:pt x="1631" y="1823"/>
                </a:cubicBezTo>
                <a:cubicBezTo>
                  <a:pt x="1631" y="1821"/>
                  <a:pt x="1631" y="1818"/>
                  <a:pt x="1631" y="1816"/>
                </a:cubicBezTo>
                <a:cubicBezTo>
                  <a:pt x="1631" y="1807"/>
                  <a:pt x="1626" y="1803"/>
                  <a:pt x="1617" y="1803"/>
                </a:cubicBezTo>
                <a:cubicBezTo>
                  <a:pt x="1617" y="1803"/>
                  <a:pt x="1617" y="1803"/>
                  <a:pt x="1613" y="1803"/>
                </a:cubicBezTo>
                <a:cubicBezTo>
                  <a:pt x="1613" y="1803"/>
                  <a:pt x="1613" y="1803"/>
                  <a:pt x="1613" y="1813"/>
                </a:cubicBezTo>
                <a:cubicBezTo>
                  <a:pt x="1613" y="1813"/>
                  <a:pt x="1613" y="1813"/>
                  <a:pt x="1615" y="1813"/>
                </a:cubicBezTo>
                <a:cubicBezTo>
                  <a:pt x="1618" y="1813"/>
                  <a:pt x="1620" y="1815"/>
                  <a:pt x="1620" y="1818"/>
                </a:cubicBezTo>
                <a:cubicBezTo>
                  <a:pt x="1620" y="1820"/>
                  <a:pt x="1619" y="1821"/>
                  <a:pt x="1619" y="1823"/>
                </a:cubicBezTo>
                <a:cubicBezTo>
                  <a:pt x="1619" y="1825"/>
                  <a:pt x="1619" y="1827"/>
                  <a:pt x="1619" y="1829"/>
                </a:cubicBezTo>
                <a:cubicBezTo>
                  <a:pt x="1619" y="1837"/>
                  <a:pt x="1622" y="1839"/>
                  <a:pt x="1628" y="1840"/>
                </a:cubicBezTo>
                <a:cubicBezTo>
                  <a:pt x="1628" y="1840"/>
                  <a:pt x="1628" y="1840"/>
                  <a:pt x="1628" y="1840"/>
                </a:cubicBezTo>
                <a:cubicBezTo>
                  <a:pt x="1622" y="1842"/>
                  <a:pt x="1619" y="1844"/>
                  <a:pt x="1619" y="1852"/>
                </a:cubicBezTo>
                <a:cubicBezTo>
                  <a:pt x="1619" y="1854"/>
                  <a:pt x="1619" y="1856"/>
                  <a:pt x="1619" y="1857"/>
                </a:cubicBezTo>
                <a:cubicBezTo>
                  <a:pt x="1619" y="1859"/>
                  <a:pt x="1620" y="1861"/>
                  <a:pt x="1620" y="1862"/>
                </a:cubicBezTo>
                <a:cubicBezTo>
                  <a:pt x="1620" y="1866"/>
                  <a:pt x="1619" y="1868"/>
                  <a:pt x="1615" y="1868"/>
                </a:cubicBezTo>
                <a:cubicBezTo>
                  <a:pt x="1615" y="1868"/>
                  <a:pt x="1615" y="1868"/>
                  <a:pt x="1613" y="1868"/>
                </a:cubicBezTo>
                <a:cubicBezTo>
                  <a:pt x="1613" y="1868"/>
                  <a:pt x="1613" y="1868"/>
                  <a:pt x="1613" y="1877"/>
                </a:cubicBezTo>
                <a:cubicBezTo>
                  <a:pt x="1613" y="1877"/>
                  <a:pt x="1613" y="1877"/>
                  <a:pt x="1617" y="1877"/>
                </a:cubicBezTo>
                <a:cubicBezTo>
                  <a:pt x="1626" y="1877"/>
                  <a:pt x="1631" y="1874"/>
                  <a:pt x="1631" y="1865"/>
                </a:cubicBezTo>
                <a:cubicBezTo>
                  <a:pt x="1631" y="1862"/>
                  <a:pt x="1631" y="1860"/>
                  <a:pt x="1631" y="1857"/>
                </a:cubicBezTo>
                <a:cubicBezTo>
                  <a:pt x="1630" y="1855"/>
                  <a:pt x="1630" y="1853"/>
                  <a:pt x="1630" y="1850"/>
                </a:cubicBezTo>
                <a:cubicBezTo>
                  <a:pt x="1630" y="1848"/>
                  <a:pt x="1631" y="1845"/>
                  <a:pt x="1637" y="1844"/>
                </a:cubicBezTo>
                <a:close/>
                <a:moveTo>
                  <a:pt x="1821" y="1877"/>
                </a:moveTo>
                <a:cubicBezTo>
                  <a:pt x="1814" y="1877"/>
                  <a:pt x="1807" y="1874"/>
                  <a:pt x="1803" y="1868"/>
                </a:cubicBezTo>
                <a:cubicBezTo>
                  <a:pt x="1799" y="1862"/>
                  <a:pt x="1797" y="1853"/>
                  <a:pt x="1797" y="1841"/>
                </a:cubicBezTo>
                <a:cubicBezTo>
                  <a:pt x="1797" y="1828"/>
                  <a:pt x="1799" y="1818"/>
                  <a:pt x="1804" y="1812"/>
                </a:cubicBezTo>
                <a:cubicBezTo>
                  <a:pt x="1808" y="1805"/>
                  <a:pt x="1815" y="1801"/>
                  <a:pt x="1823" y="1801"/>
                </a:cubicBezTo>
                <a:cubicBezTo>
                  <a:pt x="1839" y="1801"/>
                  <a:pt x="1847" y="1814"/>
                  <a:pt x="1847" y="1839"/>
                </a:cubicBezTo>
                <a:cubicBezTo>
                  <a:pt x="1847" y="1852"/>
                  <a:pt x="1845" y="1861"/>
                  <a:pt x="1840" y="1868"/>
                </a:cubicBezTo>
                <a:cubicBezTo>
                  <a:pt x="1836" y="1874"/>
                  <a:pt x="1829" y="1877"/>
                  <a:pt x="1821" y="1877"/>
                </a:cubicBezTo>
                <a:close/>
                <a:moveTo>
                  <a:pt x="1823" y="1811"/>
                </a:moveTo>
                <a:cubicBezTo>
                  <a:pt x="1813" y="1811"/>
                  <a:pt x="1809" y="1821"/>
                  <a:pt x="1809" y="1841"/>
                </a:cubicBezTo>
                <a:cubicBezTo>
                  <a:pt x="1809" y="1859"/>
                  <a:pt x="1813" y="1868"/>
                  <a:pt x="1822" y="1868"/>
                </a:cubicBezTo>
                <a:cubicBezTo>
                  <a:pt x="1831" y="1868"/>
                  <a:pt x="1835" y="1859"/>
                  <a:pt x="1835" y="1840"/>
                </a:cubicBezTo>
                <a:cubicBezTo>
                  <a:pt x="1835" y="1820"/>
                  <a:pt x="1831" y="1811"/>
                  <a:pt x="1823" y="1811"/>
                </a:cubicBezTo>
                <a:close/>
                <a:moveTo>
                  <a:pt x="1891" y="1877"/>
                </a:moveTo>
                <a:cubicBezTo>
                  <a:pt x="1884" y="1877"/>
                  <a:pt x="1877" y="1874"/>
                  <a:pt x="1874" y="1868"/>
                </a:cubicBezTo>
                <a:cubicBezTo>
                  <a:pt x="1869" y="1862"/>
                  <a:pt x="1867" y="1853"/>
                  <a:pt x="1867" y="1841"/>
                </a:cubicBezTo>
                <a:cubicBezTo>
                  <a:pt x="1867" y="1828"/>
                  <a:pt x="1869" y="1818"/>
                  <a:pt x="1874" y="1812"/>
                </a:cubicBezTo>
                <a:cubicBezTo>
                  <a:pt x="1878" y="1805"/>
                  <a:pt x="1885" y="1801"/>
                  <a:pt x="1894" y="1801"/>
                </a:cubicBezTo>
                <a:cubicBezTo>
                  <a:pt x="1910" y="1801"/>
                  <a:pt x="1918" y="1814"/>
                  <a:pt x="1918" y="1839"/>
                </a:cubicBezTo>
                <a:cubicBezTo>
                  <a:pt x="1918" y="1852"/>
                  <a:pt x="1916" y="1861"/>
                  <a:pt x="1911" y="1868"/>
                </a:cubicBezTo>
                <a:cubicBezTo>
                  <a:pt x="1906" y="1874"/>
                  <a:pt x="1900" y="1877"/>
                  <a:pt x="1891" y="1877"/>
                </a:cubicBezTo>
                <a:close/>
                <a:moveTo>
                  <a:pt x="1893" y="1811"/>
                </a:moveTo>
                <a:cubicBezTo>
                  <a:pt x="1884" y="1811"/>
                  <a:pt x="1879" y="1821"/>
                  <a:pt x="1879" y="1841"/>
                </a:cubicBezTo>
                <a:cubicBezTo>
                  <a:pt x="1879" y="1859"/>
                  <a:pt x="1883" y="1868"/>
                  <a:pt x="1892" y="1868"/>
                </a:cubicBezTo>
                <a:cubicBezTo>
                  <a:pt x="1901" y="1868"/>
                  <a:pt x="1905" y="1859"/>
                  <a:pt x="1905" y="1840"/>
                </a:cubicBezTo>
                <a:cubicBezTo>
                  <a:pt x="1905" y="1820"/>
                  <a:pt x="1901" y="1811"/>
                  <a:pt x="1893" y="1811"/>
                </a:cubicBezTo>
                <a:close/>
                <a:moveTo>
                  <a:pt x="37" y="1900"/>
                </a:moveTo>
                <a:cubicBezTo>
                  <a:pt x="37" y="1900"/>
                  <a:pt x="37" y="1900"/>
                  <a:pt x="37" y="1900"/>
                </a:cubicBezTo>
                <a:cubicBezTo>
                  <a:pt x="32" y="1900"/>
                  <a:pt x="32" y="1900"/>
                  <a:pt x="32" y="1900"/>
                </a:cubicBezTo>
                <a:cubicBezTo>
                  <a:pt x="29" y="1901"/>
                  <a:pt x="28" y="1903"/>
                  <a:pt x="26" y="1903"/>
                </a:cubicBezTo>
                <a:cubicBezTo>
                  <a:pt x="24" y="1905"/>
                  <a:pt x="23" y="1906"/>
                  <a:pt x="21" y="1906"/>
                </a:cubicBezTo>
                <a:cubicBezTo>
                  <a:pt x="19" y="1908"/>
                  <a:pt x="17" y="1908"/>
                  <a:pt x="15" y="1909"/>
                </a:cubicBezTo>
                <a:cubicBezTo>
                  <a:pt x="13" y="1910"/>
                  <a:pt x="12" y="1911"/>
                  <a:pt x="9" y="1911"/>
                </a:cubicBezTo>
                <a:cubicBezTo>
                  <a:pt x="9" y="1911"/>
                  <a:pt x="9" y="1911"/>
                  <a:pt x="9" y="1921"/>
                </a:cubicBezTo>
                <a:cubicBezTo>
                  <a:pt x="12" y="1920"/>
                  <a:pt x="15" y="1919"/>
                  <a:pt x="18" y="1918"/>
                </a:cubicBezTo>
                <a:cubicBezTo>
                  <a:pt x="21" y="1917"/>
                  <a:pt x="23" y="1916"/>
                  <a:pt x="25" y="1914"/>
                </a:cubicBezTo>
                <a:cubicBezTo>
                  <a:pt x="25" y="1914"/>
                  <a:pt x="25" y="1914"/>
                  <a:pt x="25" y="1973"/>
                </a:cubicBezTo>
                <a:cubicBezTo>
                  <a:pt x="25" y="1973"/>
                  <a:pt x="25" y="1973"/>
                  <a:pt x="37" y="1973"/>
                </a:cubicBezTo>
                <a:cubicBezTo>
                  <a:pt x="37" y="1973"/>
                  <a:pt x="37" y="1973"/>
                  <a:pt x="37" y="1900"/>
                </a:cubicBezTo>
                <a:close/>
                <a:moveTo>
                  <a:pt x="84" y="1900"/>
                </a:moveTo>
                <a:cubicBezTo>
                  <a:pt x="84" y="1900"/>
                  <a:pt x="84" y="1900"/>
                  <a:pt x="84" y="1900"/>
                </a:cubicBezTo>
                <a:cubicBezTo>
                  <a:pt x="79" y="1900"/>
                  <a:pt x="79" y="1900"/>
                  <a:pt x="79" y="1900"/>
                </a:cubicBezTo>
                <a:cubicBezTo>
                  <a:pt x="77" y="1901"/>
                  <a:pt x="76" y="1903"/>
                  <a:pt x="73" y="1903"/>
                </a:cubicBezTo>
                <a:cubicBezTo>
                  <a:pt x="72" y="1905"/>
                  <a:pt x="70" y="1906"/>
                  <a:pt x="68" y="1906"/>
                </a:cubicBezTo>
                <a:cubicBezTo>
                  <a:pt x="67" y="1908"/>
                  <a:pt x="65" y="1908"/>
                  <a:pt x="63" y="1909"/>
                </a:cubicBezTo>
                <a:cubicBezTo>
                  <a:pt x="61" y="1910"/>
                  <a:pt x="60" y="1911"/>
                  <a:pt x="57" y="1911"/>
                </a:cubicBezTo>
                <a:cubicBezTo>
                  <a:pt x="57" y="1911"/>
                  <a:pt x="57" y="1911"/>
                  <a:pt x="57" y="1921"/>
                </a:cubicBezTo>
                <a:cubicBezTo>
                  <a:pt x="60" y="1920"/>
                  <a:pt x="63" y="1919"/>
                  <a:pt x="65" y="1918"/>
                </a:cubicBezTo>
                <a:cubicBezTo>
                  <a:pt x="68" y="1917"/>
                  <a:pt x="71" y="1916"/>
                  <a:pt x="73" y="1914"/>
                </a:cubicBezTo>
                <a:cubicBezTo>
                  <a:pt x="73" y="1914"/>
                  <a:pt x="73" y="1914"/>
                  <a:pt x="73" y="1973"/>
                </a:cubicBezTo>
                <a:cubicBezTo>
                  <a:pt x="73" y="1973"/>
                  <a:pt x="73" y="1973"/>
                  <a:pt x="84" y="1973"/>
                </a:cubicBezTo>
                <a:cubicBezTo>
                  <a:pt x="84" y="1973"/>
                  <a:pt x="84" y="1973"/>
                  <a:pt x="84" y="1900"/>
                </a:cubicBezTo>
                <a:close/>
                <a:moveTo>
                  <a:pt x="131" y="1900"/>
                </a:moveTo>
                <a:cubicBezTo>
                  <a:pt x="131" y="1900"/>
                  <a:pt x="131" y="1900"/>
                  <a:pt x="131" y="1900"/>
                </a:cubicBezTo>
                <a:cubicBezTo>
                  <a:pt x="127" y="1900"/>
                  <a:pt x="127" y="1900"/>
                  <a:pt x="127" y="1900"/>
                </a:cubicBezTo>
                <a:cubicBezTo>
                  <a:pt x="124" y="1901"/>
                  <a:pt x="123" y="1903"/>
                  <a:pt x="121" y="1903"/>
                </a:cubicBezTo>
                <a:cubicBezTo>
                  <a:pt x="119" y="1905"/>
                  <a:pt x="117" y="1906"/>
                  <a:pt x="116" y="1906"/>
                </a:cubicBezTo>
                <a:cubicBezTo>
                  <a:pt x="114" y="1907"/>
                  <a:pt x="112" y="1908"/>
                  <a:pt x="110" y="1908"/>
                </a:cubicBezTo>
                <a:cubicBezTo>
                  <a:pt x="109" y="1909"/>
                  <a:pt x="106" y="1910"/>
                  <a:pt x="105" y="1911"/>
                </a:cubicBezTo>
                <a:cubicBezTo>
                  <a:pt x="105" y="1911"/>
                  <a:pt x="105" y="1911"/>
                  <a:pt x="105" y="1921"/>
                </a:cubicBezTo>
                <a:cubicBezTo>
                  <a:pt x="108" y="1920"/>
                  <a:pt x="111" y="1919"/>
                  <a:pt x="113" y="1918"/>
                </a:cubicBezTo>
                <a:cubicBezTo>
                  <a:pt x="115" y="1917"/>
                  <a:pt x="118" y="1916"/>
                  <a:pt x="119" y="1914"/>
                </a:cubicBezTo>
                <a:cubicBezTo>
                  <a:pt x="119" y="1914"/>
                  <a:pt x="119" y="1914"/>
                  <a:pt x="119" y="1973"/>
                </a:cubicBezTo>
                <a:cubicBezTo>
                  <a:pt x="119" y="1973"/>
                  <a:pt x="119" y="1973"/>
                  <a:pt x="131" y="1973"/>
                </a:cubicBezTo>
                <a:cubicBezTo>
                  <a:pt x="131" y="1973"/>
                  <a:pt x="131" y="1973"/>
                  <a:pt x="131" y="1900"/>
                </a:cubicBezTo>
                <a:close/>
                <a:moveTo>
                  <a:pt x="176" y="1973"/>
                </a:moveTo>
                <a:cubicBezTo>
                  <a:pt x="168" y="1973"/>
                  <a:pt x="162" y="1970"/>
                  <a:pt x="157" y="1964"/>
                </a:cubicBezTo>
                <a:cubicBezTo>
                  <a:pt x="154" y="1958"/>
                  <a:pt x="152" y="1949"/>
                  <a:pt x="152" y="1937"/>
                </a:cubicBezTo>
                <a:cubicBezTo>
                  <a:pt x="152" y="1924"/>
                  <a:pt x="154" y="1914"/>
                  <a:pt x="158" y="1908"/>
                </a:cubicBezTo>
                <a:cubicBezTo>
                  <a:pt x="162" y="1901"/>
                  <a:pt x="169" y="1897"/>
                  <a:pt x="178" y="1897"/>
                </a:cubicBezTo>
                <a:cubicBezTo>
                  <a:pt x="194" y="1897"/>
                  <a:pt x="202" y="1910"/>
                  <a:pt x="202" y="1935"/>
                </a:cubicBezTo>
                <a:cubicBezTo>
                  <a:pt x="202" y="1948"/>
                  <a:pt x="200" y="1957"/>
                  <a:pt x="195" y="1964"/>
                </a:cubicBezTo>
                <a:cubicBezTo>
                  <a:pt x="190" y="1970"/>
                  <a:pt x="184" y="1973"/>
                  <a:pt x="176" y="1973"/>
                </a:cubicBezTo>
                <a:close/>
                <a:moveTo>
                  <a:pt x="177" y="1907"/>
                </a:moveTo>
                <a:cubicBezTo>
                  <a:pt x="168" y="1907"/>
                  <a:pt x="163" y="1917"/>
                  <a:pt x="163" y="1937"/>
                </a:cubicBezTo>
                <a:cubicBezTo>
                  <a:pt x="163" y="1955"/>
                  <a:pt x="168" y="1964"/>
                  <a:pt x="176" y="1964"/>
                </a:cubicBezTo>
                <a:cubicBezTo>
                  <a:pt x="185" y="1964"/>
                  <a:pt x="190" y="1955"/>
                  <a:pt x="190" y="1936"/>
                </a:cubicBezTo>
                <a:cubicBezTo>
                  <a:pt x="190" y="1916"/>
                  <a:pt x="185" y="1907"/>
                  <a:pt x="177" y="1907"/>
                </a:cubicBezTo>
                <a:close/>
                <a:moveTo>
                  <a:pt x="247" y="1973"/>
                </a:moveTo>
                <a:cubicBezTo>
                  <a:pt x="239" y="1973"/>
                  <a:pt x="233" y="1970"/>
                  <a:pt x="229" y="1964"/>
                </a:cubicBezTo>
                <a:cubicBezTo>
                  <a:pt x="225" y="1958"/>
                  <a:pt x="223" y="1949"/>
                  <a:pt x="223" y="1937"/>
                </a:cubicBezTo>
                <a:cubicBezTo>
                  <a:pt x="223" y="1924"/>
                  <a:pt x="225" y="1914"/>
                  <a:pt x="229" y="1908"/>
                </a:cubicBezTo>
                <a:cubicBezTo>
                  <a:pt x="234" y="1901"/>
                  <a:pt x="240" y="1897"/>
                  <a:pt x="249" y="1897"/>
                </a:cubicBezTo>
                <a:cubicBezTo>
                  <a:pt x="265" y="1897"/>
                  <a:pt x="273" y="1910"/>
                  <a:pt x="273" y="1935"/>
                </a:cubicBezTo>
                <a:cubicBezTo>
                  <a:pt x="273" y="1948"/>
                  <a:pt x="271" y="1957"/>
                  <a:pt x="266" y="1964"/>
                </a:cubicBezTo>
                <a:cubicBezTo>
                  <a:pt x="261" y="1970"/>
                  <a:pt x="255" y="1973"/>
                  <a:pt x="247" y="1973"/>
                </a:cubicBezTo>
                <a:close/>
                <a:moveTo>
                  <a:pt x="248" y="1907"/>
                </a:moveTo>
                <a:cubicBezTo>
                  <a:pt x="239" y="1907"/>
                  <a:pt x="234" y="1917"/>
                  <a:pt x="234" y="1937"/>
                </a:cubicBezTo>
                <a:cubicBezTo>
                  <a:pt x="234" y="1955"/>
                  <a:pt x="239" y="1964"/>
                  <a:pt x="247" y="1964"/>
                </a:cubicBezTo>
                <a:cubicBezTo>
                  <a:pt x="256" y="1964"/>
                  <a:pt x="261" y="1955"/>
                  <a:pt x="261" y="1936"/>
                </a:cubicBezTo>
                <a:cubicBezTo>
                  <a:pt x="261" y="1916"/>
                  <a:pt x="256" y="1907"/>
                  <a:pt x="248" y="1907"/>
                </a:cubicBezTo>
                <a:close/>
                <a:moveTo>
                  <a:pt x="459" y="1973"/>
                </a:moveTo>
                <a:cubicBezTo>
                  <a:pt x="452" y="1973"/>
                  <a:pt x="446" y="1970"/>
                  <a:pt x="442" y="1964"/>
                </a:cubicBezTo>
                <a:cubicBezTo>
                  <a:pt x="437" y="1958"/>
                  <a:pt x="435" y="1948"/>
                  <a:pt x="435" y="1937"/>
                </a:cubicBezTo>
                <a:cubicBezTo>
                  <a:pt x="435" y="1924"/>
                  <a:pt x="437" y="1914"/>
                  <a:pt x="442" y="1907"/>
                </a:cubicBezTo>
                <a:cubicBezTo>
                  <a:pt x="446" y="1900"/>
                  <a:pt x="453" y="1897"/>
                  <a:pt x="462" y="1897"/>
                </a:cubicBezTo>
                <a:cubicBezTo>
                  <a:pt x="478" y="1897"/>
                  <a:pt x="486" y="1910"/>
                  <a:pt x="486" y="1935"/>
                </a:cubicBezTo>
                <a:cubicBezTo>
                  <a:pt x="486" y="1948"/>
                  <a:pt x="483" y="1957"/>
                  <a:pt x="479" y="1964"/>
                </a:cubicBezTo>
                <a:cubicBezTo>
                  <a:pt x="474" y="1970"/>
                  <a:pt x="468" y="1973"/>
                  <a:pt x="459" y="1973"/>
                </a:cubicBezTo>
                <a:close/>
                <a:moveTo>
                  <a:pt x="461" y="1907"/>
                </a:moveTo>
                <a:cubicBezTo>
                  <a:pt x="452" y="1907"/>
                  <a:pt x="448" y="1916"/>
                  <a:pt x="448" y="1936"/>
                </a:cubicBezTo>
                <a:cubicBezTo>
                  <a:pt x="448" y="1954"/>
                  <a:pt x="452" y="1964"/>
                  <a:pt x="461" y="1964"/>
                </a:cubicBezTo>
                <a:cubicBezTo>
                  <a:pt x="469" y="1964"/>
                  <a:pt x="473" y="1954"/>
                  <a:pt x="473" y="1936"/>
                </a:cubicBezTo>
                <a:cubicBezTo>
                  <a:pt x="473" y="1916"/>
                  <a:pt x="470" y="1907"/>
                  <a:pt x="461" y="1907"/>
                </a:cubicBezTo>
                <a:close/>
                <a:moveTo>
                  <a:pt x="577" y="1973"/>
                </a:moveTo>
                <a:cubicBezTo>
                  <a:pt x="570" y="1973"/>
                  <a:pt x="564" y="1970"/>
                  <a:pt x="560" y="1964"/>
                </a:cubicBezTo>
                <a:cubicBezTo>
                  <a:pt x="555" y="1958"/>
                  <a:pt x="553" y="1948"/>
                  <a:pt x="553" y="1937"/>
                </a:cubicBezTo>
                <a:cubicBezTo>
                  <a:pt x="553" y="1924"/>
                  <a:pt x="555" y="1914"/>
                  <a:pt x="560" y="1907"/>
                </a:cubicBezTo>
                <a:cubicBezTo>
                  <a:pt x="564" y="1900"/>
                  <a:pt x="571" y="1897"/>
                  <a:pt x="580" y="1897"/>
                </a:cubicBezTo>
                <a:cubicBezTo>
                  <a:pt x="596" y="1897"/>
                  <a:pt x="604" y="1910"/>
                  <a:pt x="604" y="1935"/>
                </a:cubicBezTo>
                <a:cubicBezTo>
                  <a:pt x="604" y="1948"/>
                  <a:pt x="602" y="1957"/>
                  <a:pt x="597" y="1964"/>
                </a:cubicBezTo>
                <a:cubicBezTo>
                  <a:pt x="592" y="1970"/>
                  <a:pt x="586" y="1973"/>
                  <a:pt x="577" y="1973"/>
                </a:cubicBezTo>
                <a:close/>
                <a:moveTo>
                  <a:pt x="579" y="1907"/>
                </a:moveTo>
                <a:cubicBezTo>
                  <a:pt x="570" y="1907"/>
                  <a:pt x="566" y="1916"/>
                  <a:pt x="566" y="1936"/>
                </a:cubicBezTo>
                <a:cubicBezTo>
                  <a:pt x="566" y="1954"/>
                  <a:pt x="570" y="1964"/>
                  <a:pt x="579" y="1964"/>
                </a:cubicBezTo>
                <a:cubicBezTo>
                  <a:pt x="587" y="1964"/>
                  <a:pt x="591" y="1954"/>
                  <a:pt x="591" y="1936"/>
                </a:cubicBezTo>
                <a:cubicBezTo>
                  <a:pt x="591" y="1916"/>
                  <a:pt x="588" y="1907"/>
                  <a:pt x="579" y="1907"/>
                </a:cubicBezTo>
                <a:close/>
                <a:moveTo>
                  <a:pt x="533" y="1900"/>
                </a:moveTo>
                <a:cubicBezTo>
                  <a:pt x="533" y="1900"/>
                  <a:pt x="533" y="1900"/>
                  <a:pt x="533" y="1900"/>
                </a:cubicBezTo>
                <a:cubicBezTo>
                  <a:pt x="528" y="1900"/>
                  <a:pt x="528" y="1900"/>
                  <a:pt x="528" y="1900"/>
                </a:cubicBezTo>
                <a:cubicBezTo>
                  <a:pt x="526" y="1901"/>
                  <a:pt x="524" y="1903"/>
                  <a:pt x="522" y="1903"/>
                </a:cubicBezTo>
                <a:cubicBezTo>
                  <a:pt x="521" y="1905"/>
                  <a:pt x="518" y="1906"/>
                  <a:pt x="517" y="1906"/>
                </a:cubicBezTo>
                <a:cubicBezTo>
                  <a:pt x="516" y="1907"/>
                  <a:pt x="513" y="1908"/>
                  <a:pt x="512" y="1908"/>
                </a:cubicBezTo>
                <a:cubicBezTo>
                  <a:pt x="510" y="1909"/>
                  <a:pt x="508" y="1910"/>
                  <a:pt x="506" y="1911"/>
                </a:cubicBezTo>
                <a:cubicBezTo>
                  <a:pt x="506" y="1911"/>
                  <a:pt x="506" y="1911"/>
                  <a:pt x="506" y="1921"/>
                </a:cubicBezTo>
                <a:cubicBezTo>
                  <a:pt x="509" y="1920"/>
                  <a:pt x="512" y="1919"/>
                  <a:pt x="514" y="1918"/>
                </a:cubicBezTo>
                <a:cubicBezTo>
                  <a:pt x="517" y="1917"/>
                  <a:pt x="519" y="1916"/>
                  <a:pt x="521" y="1914"/>
                </a:cubicBezTo>
                <a:cubicBezTo>
                  <a:pt x="521" y="1914"/>
                  <a:pt x="521" y="1914"/>
                  <a:pt x="521" y="1973"/>
                </a:cubicBezTo>
                <a:cubicBezTo>
                  <a:pt x="521" y="1973"/>
                  <a:pt x="521" y="1973"/>
                  <a:pt x="533" y="1973"/>
                </a:cubicBezTo>
                <a:cubicBezTo>
                  <a:pt x="533" y="1973"/>
                  <a:pt x="533" y="1973"/>
                  <a:pt x="533" y="1900"/>
                </a:cubicBezTo>
                <a:close/>
                <a:moveTo>
                  <a:pt x="648" y="1973"/>
                </a:moveTo>
                <a:cubicBezTo>
                  <a:pt x="641" y="1973"/>
                  <a:pt x="635" y="1970"/>
                  <a:pt x="631" y="1964"/>
                </a:cubicBezTo>
                <a:cubicBezTo>
                  <a:pt x="627" y="1958"/>
                  <a:pt x="624" y="1949"/>
                  <a:pt x="624" y="1937"/>
                </a:cubicBezTo>
                <a:cubicBezTo>
                  <a:pt x="624" y="1924"/>
                  <a:pt x="627" y="1914"/>
                  <a:pt x="631" y="1908"/>
                </a:cubicBezTo>
                <a:cubicBezTo>
                  <a:pt x="635" y="1901"/>
                  <a:pt x="642" y="1897"/>
                  <a:pt x="651" y="1897"/>
                </a:cubicBezTo>
                <a:cubicBezTo>
                  <a:pt x="667" y="1897"/>
                  <a:pt x="675" y="1910"/>
                  <a:pt x="675" y="1935"/>
                </a:cubicBezTo>
                <a:cubicBezTo>
                  <a:pt x="675" y="1948"/>
                  <a:pt x="673" y="1957"/>
                  <a:pt x="668" y="1964"/>
                </a:cubicBezTo>
                <a:cubicBezTo>
                  <a:pt x="663" y="1970"/>
                  <a:pt x="657" y="1973"/>
                  <a:pt x="648" y="1973"/>
                </a:cubicBezTo>
                <a:close/>
                <a:moveTo>
                  <a:pt x="650" y="1907"/>
                </a:moveTo>
                <a:cubicBezTo>
                  <a:pt x="641" y="1907"/>
                  <a:pt x="636" y="1917"/>
                  <a:pt x="636" y="1937"/>
                </a:cubicBezTo>
                <a:cubicBezTo>
                  <a:pt x="636" y="1955"/>
                  <a:pt x="640" y="1964"/>
                  <a:pt x="649" y="1964"/>
                </a:cubicBezTo>
                <a:cubicBezTo>
                  <a:pt x="658" y="1964"/>
                  <a:pt x="662" y="1955"/>
                  <a:pt x="662" y="1936"/>
                </a:cubicBezTo>
                <a:cubicBezTo>
                  <a:pt x="662" y="1916"/>
                  <a:pt x="658" y="1907"/>
                  <a:pt x="650" y="1907"/>
                </a:cubicBezTo>
                <a:close/>
                <a:moveTo>
                  <a:pt x="696" y="1932"/>
                </a:moveTo>
                <a:cubicBezTo>
                  <a:pt x="696" y="1932"/>
                  <a:pt x="696" y="1932"/>
                  <a:pt x="696" y="1932"/>
                </a:cubicBezTo>
                <a:cubicBezTo>
                  <a:pt x="695" y="1940"/>
                  <a:pt x="695" y="1940"/>
                  <a:pt x="695" y="1940"/>
                </a:cubicBezTo>
                <a:cubicBezTo>
                  <a:pt x="702" y="1941"/>
                  <a:pt x="702" y="1944"/>
                  <a:pt x="702" y="1946"/>
                </a:cubicBezTo>
                <a:cubicBezTo>
                  <a:pt x="702" y="1948"/>
                  <a:pt x="702" y="1951"/>
                  <a:pt x="702" y="1953"/>
                </a:cubicBezTo>
                <a:cubicBezTo>
                  <a:pt x="702" y="1956"/>
                  <a:pt x="701" y="1958"/>
                  <a:pt x="701" y="1960"/>
                </a:cubicBezTo>
                <a:cubicBezTo>
                  <a:pt x="701" y="1970"/>
                  <a:pt x="707" y="1973"/>
                  <a:pt x="716" y="1973"/>
                </a:cubicBezTo>
                <a:cubicBezTo>
                  <a:pt x="716" y="1973"/>
                  <a:pt x="716" y="1973"/>
                  <a:pt x="719" y="1973"/>
                </a:cubicBezTo>
                <a:cubicBezTo>
                  <a:pt x="719" y="1973"/>
                  <a:pt x="719" y="1973"/>
                  <a:pt x="719" y="1964"/>
                </a:cubicBezTo>
                <a:cubicBezTo>
                  <a:pt x="719" y="1964"/>
                  <a:pt x="719" y="1964"/>
                  <a:pt x="718" y="1964"/>
                </a:cubicBezTo>
                <a:cubicBezTo>
                  <a:pt x="714" y="1964"/>
                  <a:pt x="713" y="1962"/>
                  <a:pt x="713" y="1958"/>
                </a:cubicBezTo>
                <a:cubicBezTo>
                  <a:pt x="713" y="1957"/>
                  <a:pt x="713" y="1955"/>
                  <a:pt x="713" y="1953"/>
                </a:cubicBezTo>
                <a:cubicBezTo>
                  <a:pt x="713" y="1952"/>
                  <a:pt x="714" y="1950"/>
                  <a:pt x="714" y="1947"/>
                </a:cubicBezTo>
                <a:cubicBezTo>
                  <a:pt x="714" y="1940"/>
                  <a:pt x="711" y="1937"/>
                  <a:pt x="705" y="1936"/>
                </a:cubicBezTo>
                <a:cubicBezTo>
                  <a:pt x="705" y="1936"/>
                  <a:pt x="705" y="1936"/>
                  <a:pt x="705" y="1936"/>
                </a:cubicBezTo>
                <a:cubicBezTo>
                  <a:pt x="711" y="1935"/>
                  <a:pt x="714" y="1932"/>
                  <a:pt x="714" y="1925"/>
                </a:cubicBezTo>
                <a:cubicBezTo>
                  <a:pt x="714" y="1922"/>
                  <a:pt x="713" y="1920"/>
                  <a:pt x="713" y="1919"/>
                </a:cubicBezTo>
                <a:cubicBezTo>
                  <a:pt x="713" y="1917"/>
                  <a:pt x="713" y="1915"/>
                  <a:pt x="713" y="1914"/>
                </a:cubicBezTo>
                <a:cubicBezTo>
                  <a:pt x="713" y="1910"/>
                  <a:pt x="714" y="1908"/>
                  <a:pt x="718" y="1908"/>
                </a:cubicBezTo>
                <a:cubicBezTo>
                  <a:pt x="718" y="1908"/>
                  <a:pt x="718" y="1908"/>
                  <a:pt x="719" y="1908"/>
                </a:cubicBezTo>
                <a:cubicBezTo>
                  <a:pt x="719" y="1908"/>
                  <a:pt x="719" y="1908"/>
                  <a:pt x="719" y="1899"/>
                </a:cubicBezTo>
                <a:cubicBezTo>
                  <a:pt x="719" y="1899"/>
                  <a:pt x="719" y="1899"/>
                  <a:pt x="716" y="1899"/>
                </a:cubicBezTo>
                <a:cubicBezTo>
                  <a:pt x="707" y="1899"/>
                  <a:pt x="701" y="1903"/>
                  <a:pt x="701" y="1911"/>
                </a:cubicBezTo>
                <a:cubicBezTo>
                  <a:pt x="701" y="1914"/>
                  <a:pt x="702" y="1916"/>
                  <a:pt x="702" y="1919"/>
                </a:cubicBezTo>
                <a:cubicBezTo>
                  <a:pt x="702" y="1921"/>
                  <a:pt x="702" y="1924"/>
                  <a:pt x="702" y="1926"/>
                </a:cubicBezTo>
                <a:cubicBezTo>
                  <a:pt x="702" y="1928"/>
                  <a:pt x="702" y="1932"/>
                  <a:pt x="696" y="1932"/>
                </a:cubicBezTo>
                <a:close/>
                <a:moveTo>
                  <a:pt x="751" y="1940"/>
                </a:moveTo>
                <a:cubicBezTo>
                  <a:pt x="751" y="1940"/>
                  <a:pt x="751" y="1940"/>
                  <a:pt x="751" y="1940"/>
                </a:cubicBezTo>
                <a:cubicBezTo>
                  <a:pt x="751" y="1932"/>
                  <a:pt x="751" y="1932"/>
                  <a:pt x="751" y="1932"/>
                </a:cubicBezTo>
                <a:cubicBezTo>
                  <a:pt x="744" y="1932"/>
                  <a:pt x="744" y="1928"/>
                  <a:pt x="744" y="1926"/>
                </a:cubicBezTo>
                <a:cubicBezTo>
                  <a:pt x="744" y="1924"/>
                  <a:pt x="744" y="1921"/>
                  <a:pt x="744" y="1919"/>
                </a:cubicBezTo>
                <a:cubicBezTo>
                  <a:pt x="745" y="1916"/>
                  <a:pt x="745" y="1914"/>
                  <a:pt x="745" y="1911"/>
                </a:cubicBezTo>
                <a:cubicBezTo>
                  <a:pt x="745" y="1903"/>
                  <a:pt x="739" y="1899"/>
                  <a:pt x="730" y="1899"/>
                </a:cubicBezTo>
                <a:cubicBezTo>
                  <a:pt x="730" y="1899"/>
                  <a:pt x="730" y="1899"/>
                  <a:pt x="726" y="1899"/>
                </a:cubicBezTo>
                <a:cubicBezTo>
                  <a:pt x="726" y="1899"/>
                  <a:pt x="726" y="1899"/>
                  <a:pt x="726" y="1908"/>
                </a:cubicBezTo>
                <a:cubicBezTo>
                  <a:pt x="726" y="1908"/>
                  <a:pt x="726" y="1908"/>
                  <a:pt x="728" y="1908"/>
                </a:cubicBezTo>
                <a:cubicBezTo>
                  <a:pt x="731" y="1908"/>
                  <a:pt x="733" y="1910"/>
                  <a:pt x="733" y="1914"/>
                </a:cubicBezTo>
                <a:cubicBezTo>
                  <a:pt x="733" y="1915"/>
                  <a:pt x="732" y="1917"/>
                  <a:pt x="732" y="1919"/>
                </a:cubicBezTo>
                <a:cubicBezTo>
                  <a:pt x="732" y="1920"/>
                  <a:pt x="732" y="1922"/>
                  <a:pt x="732" y="1925"/>
                </a:cubicBezTo>
                <a:cubicBezTo>
                  <a:pt x="732" y="1932"/>
                  <a:pt x="735" y="1935"/>
                  <a:pt x="741" y="1936"/>
                </a:cubicBezTo>
                <a:cubicBezTo>
                  <a:pt x="741" y="1936"/>
                  <a:pt x="741" y="1936"/>
                  <a:pt x="741" y="1936"/>
                </a:cubicBezTo>
                <a:cubicBezTo>
                  <a:pt x="735" y="1937"/>
                  <a:pt x="732" y="1940"/>
                  <a:pt x="732" y="1947"/>
                </a:cubicBezTo>
                <a:cubicBezTo>
                  <a:pt x="732" y="1950"/>
                  <a:pt x="732" y="1952"/>
                  <a:pt x="732" y="1953"/>
                </a:cubicBezTo>
                <a:cubicBezTo>
                  <a:pt x="732" y="1955"/>
                  <a:pt x="733" y="1957"/>
                  <a:pt x="733" y="1958"/>
                </a:cubicBezTo>
                <a:cubicBezTo>
                  <a:pt x="733" y="1962"/>
                  <a:pt x="732" y="1964"/>
                  <a:pt x="728" y="1964"/>
                </a:cubicBezTo>
                <a:cubicBezTo>
                  <a:pt x="728" y="1964"/>
                  <a:pt x="728" y="1964"/>
                  <a:pt x="726" y="1964"/>
                </a:cubicBezTo>
                <a:cubicBezTo>
                  <a:pt x="726" y="1964"/>
                  <a:pt x="726" y="1964"/>
                  <a:pt x="726" y="1973"/>
                </a:cubicBezTo>
                <a:cubicBezTo>
                  <a:pt x="726" y="1973"/>
                  <a:pt x="726" y="1973"/>
                  <a:pt x="730" y="1973"/>
                </a:cubicBezTo>
                <a:cubicBezTo>
                  <a:pt x="739" y="1973"/>
                  <a:pt x="745" y="1970"/>
                  <a:pt x="745" y="1960"/>
                </a:cubicBezTo>
                <a:cubicBezTo>
                  <a:pt x="745" y="1958"/>
                  <a:pt x="745" y="1956"/>
                  <a:pt x="744" y="1953"/>
                </a:cubicBezTo>
                <a:cubicBezTo>
                  <a:pt x="744" y="1951"/>
                  <a:pt x="744" y="1948"/>
                  <a:pt x="744" y="1946"/>
                </a:cubicBezTo>
                <a:cubicBezTo>
                  <a:pt x="744" y="1944"/>
                  <a:pt x="744" y="1941"/>
                  <a:pt x="751" y="1940"/>
                </a:cubicBezTo>
                <a:close/>
                <a:moveTo>
                  <a:pt x="871" y="1973"/>
                </a:moveTo>
                <a:cubicBezTo>
                  <a:pt x="863" y="1973"/>
                  <a:pt x="857" y="1970"/>
                  <a:pt x="852" y="1964"/>
                </a:cubicBezTo>
                <a:cubicBezTo>
                  <a:pt x="849" y="1958"/>
                  <a:pt x="847" y="1949"/>
                  <a:pt x="847" y="1937"/>
                </a:cubicBezTo>
                <a:cubicBezTo>
                  <a:pt x="847" y="1924"/>
                  <a:pt x="849" y="1914"/>
                  <a:pt x="853" y="1908"/>
                </a:cubicBezTo>
                <a:cubicBezTo>
                  <a:pt x="858" y="1901"/>
                  <a:pt x="864" y="1897"/>
                  <a:pt x="873" y="1897"/>
                </a:cubicBezTo>
                <a:cubicBezTo>
                  <a:pt x="889" y="1897"/>
                  <a:pt x="897" y="1910"/>
                  <a:pt x="897" y="1935"/>
                </a:cubicBezTo>
                <a:cubicBezTo>
                  <a:pt x="897" y="1948"/>
                  <a:pt x="895" y="1957"/>
                  <a:pt x="890" y="1964"/>
                </a:cubicBezTo>
                <a:cubicBezTo>
                  <a:pt x="885" y="1970"/>
                  <a:pt x="879" y="1973"/>
                  <a:pt x="871" y="1973"/>
                </a:cubicBezTo>
                <a:close/>
                <a:moveTo>
                  <a:pt x="872" y="1907"/>
                </a:moveTo>
                <a:cubicBezTo>
                  <a:pt x="863" y="1907"/>
                  <a:pt x="858" y="1917"/>
                  <a:pt x="858" y="1937"/>
                </a:cubicBezTo>
                <a:cubicBezTo>
                  <a:pt x="858" y="1955"/>
                  <a:pt x="863" y="1964"/>
                  <a:pt x="871" y="1964"/>
                </a:cubicBezTo>
                <a:cubicBezTo>
                  <a:pt x="880" y="1964"/>
                  <a:pt x="885" y="1955"/>
                  <a:pt x="885" y="1936"/>
                </a:cubicBezTo>
                <a:cubicBezTo>
                  <a:pt x="885" y="1916"/>
                  <a:pt x="880" y="1907"/>
                  <a:pt x="872" y="1907"/>
                </a:cubicBezTo>
                <a:close/>
                <a:moveTo>
                  <a:pt x="944" y="1900"/>
                </a:moveTo>
                <a:cubicBezTo>
                  <a:pt x="944" y="1900"/>
                  <a:pt x="944" y="1900"/>
                  <a:pt x="944" y="1900"/>
                </a:cubicBezTo>
                <a:cubicBezTo>
                  <a:pt x="939" y="1900"/>
                  <a:pt x="939" y="1900"/>
                  <a:pt x="939" y="1900"/>
                </a:cubicBezTo>
                <a:cubicBezTo>
                  <a:pt x="937" y="1901"/>
                  <a:pt x="936" y="1903"/>
                  <a:pt x="934" y="1903"/>
                </a:cubicBezTo>
                <a:cubicBezTo>
                  <a:pt x="932" y="1905"/>
                  <a:pt x="930" y="1906"/>
                  <a:pt x="929" y="1906"/>
                </a:cubicBezTo>
                <a:cubicBezTo>
                  <a:pt x="926" y="1907"/>
                  <a:pt x="925" y="1908"/>
                  <a:pt x="923" y="1908"/>
                </a:cubicBezTo>
                <a:cubicBezTo>
                  <a:pt x="921" y="1909"/>
                  <a:pt x="920" y="1910"/>
                  <a:pt x="918" y="1911"/>
                </a:cubicBezTo>
                <a:cubicBezTo>
                  <a:pt x="918" y="1911"/>
                  <a:pt x="918" y="1911"/>
                  <a:pt x="918" y="1921"/>
                </a:cubicBezTo>
                <a:cubicBezTo>
                  <a:pt x="921" y="1920"/>
                  <a:pt x="923" y="1919"/>
                  <a:pt x="926" y="1918"/>
                </a:cubicBezTo>
                <a:cubicBezTo>
                  <a:pt x="929" y="1917"/>
                  <a:pt x="931" y="1916"/>
                  <a:pt x="933" y="1914"/>
                </a:cubicBezTo>
                <a:cubicBezTo>
                  <a:pt x="933" y="1914"/>
                  <a:pt x="933" y="1914"/>
                  <a:pt x="933" y="1973"/>
                </a:cubicBezTo>
                <a:cubicBezTo>
                  <a:pt x="933" y="1973"/>
                  <a:pt x="933" y="1973"/>
                  <a:pt x="944" y="1973"/>
                </a:cubicBezTo>
                <a:cubicBezTo>
                  <a:pt x="944" y="1973"/>
                  <a:pt x="944" y="1973"/>
                  <a:pt x="944" y="1900"/>
                </a:cubicBezTo>
                <a:close/>
                <a:moveTo>
                  <a:pt x="777" y="1973"/>
                </a:moveTo>
                <a:cubicBezTo>
                  <a:pt x="780" y="1954"/>
                  <a:pt x="780" y="1954"/>
                  <a:pt x="780" y="1954"/>
                </a:cubicBezTo>
                <a:cubicBezTo>
                  <a:pt x="771" y="1954"/>
                  <a:pt x="771" y="1954"/>
                  <a:pt x="771" y="1954"/>
                </a:cubicBezTo>
                <a:cubicBezTo>
                  <a:pt x="771" y="1942"/>
                  <a:pt x="771" y="1942"/>
                  <a:pt x="771" y="1942"/>
                </a:cubicBezTo>
                <a:cubicBezTo>
                  <a:pt x="782" y="1942"/>
                  <a:pt x="782" y="1942"/>
                  <a:pt x="782" y="1942"/>
                </a:cubicBezTo>
                <a:cubicBezTo>
                  <a:pt x="783" y="1931"/>
                  <a:pt x="783" y="1931"/>
                  <a:pt x="783" y="1931"/>
                </a:cubicBezTo>
                <a:cubicBezTo>
                  <a:pt x="774" y="1931"/>
                  <a:pt x="774" y="1931"/>
                  <a:pt x="774" y="1931"/>
                </a:cubicBezTo>
                <a:cubicBezTo>
                  <a:pt x="774" y="1919"/>
                  <a:pt x="774" y="1919"/>
                  <a:pt x="774" y="1919"/>
                </a:cubicBezTo>
                <a:cubicBezTo>
                  <a:pt x="785" y="1919"/>
                  <a:pt x="785" y="1919"/>
                  <a:pt x="785" y="1919"/>
                </a:cubicBezTo>
                <a:cubicBezTo>
                  <a:pt x="788" y="1901"/>
                  <a:pt x="788" y="1901"/>
                  <a:pt x="788" y="1901"/>
                </a:cubicBezTo>
                <a:cubicBezTo>
                  <a:pt x="799" y="1901"/>
                  <a:pt x="799" y="1901"/>
                  <a:pt x="799" y="1901"/>
                </a:cubicBezTo>
                <a:cubicBezTo>
                  <a:pt x="796" y="1919"/>
                  <a:pt x="796" y="1919"/>
                  <a:pt x="796" y="1919"/>
                </a:cubicBezTo>
                <a:cubicBezTo>
                  <a:pt x="806" y="1919"/>
                  <a:pt x="806" y="1919"/>
                  <a:pt x="806" y="1919"/>
                </a:cubicBezTo>
                <a:cubicBezTo>
                  <a:pt x="809" y="1901"/>
                  <a:pt x="809" y="1901"/>
                  <a:pt x="809" y="1901"/>
                </a:cubicBezTo>
                <a:cubicBezTo>
                  <a:pt x="820" y="1901"/>
                  <a:pt x="820" y="1901"/>
                  <a:pt x="820" y="1901"/>
                </a:cubicBezTo>
                <a:cubicBezTo>
                  <a:pt x="817" y="1919"/>
                  <a:pt x="817" y="1919"/>
                  <a:pt x="817" y="1919"/>
                </a:cubicBezTo>
                <a:cubicBezTo>
                  <a:pt x="826" y="1919"/>
                  <a:pt x="826" y="1919"/>
                  <a:pt x="826" y="1919"/>
                </a:cubicBezTo>
                <a:cubicBezTo>
                  <a:pt x="826" y="1931"/>
                  <a:pt x="826" y="1931"/>
                  <a:pt x="826" y="1931"/>
                </a:cubicBezTo>
                <a:cubicBezTo>
                  <a:pt x="815" y="1931"/>
                  <a:pt x="815" y="1931"/>
                  <a:pt x="815" y="1931"/>
                </a:cubicBezTo>
                <a:cubicBezTo>
                  <a:pt x="813" y="1942"/>
                  <a:pt x="813" y="1942"/>
                  <a:pt x="813" y="1942"/>
                </a:cubicBezTo>
                <a:cubicBezTo>
                  <a:pt x="823" y="1942"/>
                  <a:pt x="823" y="1942"/>
                  <a:pt x="823" y="1942"/>
                </a:cubicBezTo>
                <a:cubicBezTo>
                  <a:pt x="823" y="1954"/>
                  <a:pt x="823" y="1954"/>
                  <a:pt x="823" y="1954"/>
                </a:cubicBezTo>
                <a:cubicBezTo>
                  <a:pt x="812" y="1954"/>
                  <a:pt x="812" y="1954"/>
                  <a:pt x="812" y="1954"/>
                </a:cubicBezTo>
                <a:cubicBezTo>
                  <a:pt x="809" y="1973"/>
                  <a:pt x="809" y="1973"/>
                  <a:pt x="809" y="1973"/>
                </a:cubicBezTo>
                <a:cubicBezTo>
                  <a:pt x="798" y="1973"/>
                  <a:pt x="798" y="1973"/>
                  <a:pt x="798" y="1973"/>
                </a:cubicBezTo>
                <a:cubicBezTo>
                  <a:pt x="801" y="1954"/>
                  <a:pt x="801" y="1954"/>
                  <a:pt x="801" y="1954"/>
                </a:cubicBezTo>
                <a:cubicBezTo>
                  <a:pt x="791" y="1954"/>
                  <a:pt x="791" y="1954"/>
                  <a:pt x="791" y="1954"/>
                </a:cubicBezTo>
                <a:cubicBezTo>
                  <a:pt x="788" y="1973"/>
                  <a:pt x="788" y="1973"/>
                  <a:pt x="788" y="1973"/>
                </a:cubicBezTo>
                <a:cubicBezTo>
                  <a:pt x="777" y="1973"/>
                  <a:pt x="777" y="1973"/>
                  <a:pt x="777" y="1973"/>
                </a:cubicBezTo>
                <a:cubicBezTo>
                  <a:pt x="777" y="1973"/>
                  <a:pt x="777" y="1973"/>
                  <a:pt x="777" y="1973"/>
                </a:cubicBezTo>
                <a:close/>
                <a:moveTo>
                  <a:pt x="802" y="1942"/>
                </a:moveTo>
                <a:cubicBezTo>
                  <a:pt x="804" y="1931"/>
                  <a:pt x="804" y="1931"/>
                  <a:pt x="804" y="1931"/>
                </a:cubicBezTo>
                <a:cubicBezTo>
                  <a:pt x="794" y="1931"/>
                  <a:pt x="794" y="1931"/>
                  <a:pt x="794" y="1931"/>
                </a:cubicBezTo>
                <a:cubicBezTo>
                  <a:pt x="793" y="1942"/>
                  <a:pt x="793" y="1942"/>
                  <a:pt x="793" y="1942"/>
                </a:cubicBezTo>
                <a:cubicBezTo>
                  <a:pt x="802" y="1942"/>
                  <a:pt x="802" y="1942"/>
                  <a:pt x="802" y="1942"/>
                </a:cubicBezTo>
                <a:cubicBezTo>
                  <a:pt x="802" y="1942"/>
                  <a:pt x="802" y="1942"/>
                  <a:pt x="802" y="1942"/>
                </a:cubicBezTo>
                <a:close/>
                <a:moveTo>
                  <a:pt x="320" y="1900"/>
                </a:moveTo>
                <a:cubicBezTo>
                  <a:pt x="320" y="1900"/>
                  <a:pt x="320" y="1900"/>
                  <a:pt x="320" y="1900"/>
                </a:cubicBezTo>
                <a:cubicBezTo>
                  <a:pt x="315" y="1900"/>
                  <a:pt x="315" y="1900"/>
                  <a:pt x="315" y="1900"/>
                </a:cubicBezTo>
                <a:cubicBezTo>
                  <a:pt x="313" y="1901"/>
                  <a:pt x="312" y="1903"/>
                  <a:pt x="310" y="1903"/>
                </a:cubicBezTo>
                <a:cubicBezTo>
                  <a:pt x="308" y="1905"/>
                  <a:pt x="307" y="1906"/>
                  <a:pt x="305" y="1906"/>
                </a:cubicBezTo>
                <a:cubicBezTo>
                  <a:pt x="303" y="1908"/>
                  <a:pt x="301" y="1908"/>
                  <a:pt x="299" y="1909"/>
                </a:cubicBezTo>
                <a:cubicBezTo>
                  <a:pt x="297" y="1910"/>
                  <a:pt x="296" y="1911"/>
                  <a:pt x="294" y="1911"/>
                </a:cubicBezTo>
                <a:cubicBezTo>
                  <a:pt x="294" y="1911"/>
                  <a:pt x="294" y="1911"/>
                  <a:pt x="294" y="1921"/>
                </a:cubicBezTo>
                <a:cubicBezTo>
                  <a:pt x="297" y="1920"/>
                  <a:pt x="299" y="1919"/>
                  <a:pt x="302" y="1918"/>
                </a:cubicBezTo>
                <a:cubicBezTo>
                  <a:pt x="305" y="1917"/>
                  <a:pt x="307" y="1916"/>
                  <a:pt x="309" y="1914"/>
                </a:cubicBezTo>
                <a:cubicBezTo>
                  <a:pt x="309" y="1914"/>
                  <a:pt x="309" y="1914"/>
                  <a:pt x="309" y="1973"/>
                </a:cubicBezTo>
                <a:cubicBezTo>
                  <a:pt x="309" y="1973"/>
                  <a:pt x="309" y="1973"/>
                  <a:pt x="320" y="1973"/>
                </a:cubicBezTo>
                <a:cubicBezTo>
                  <a:pt x="320" y="1973"/>
                  <a:pt x="320" y="1973"/>
                  <a:pt x="320" y="1900"/>
                </a:cubicBezTo>
                <a:close/>
                <a:moveTo>
                  <a:pt x="368" y="1900"/>
                </a:moveTo>
                <a:cubicBezTo>
                  <a:pt x="368" y="1900"/>
                  <a:pt x="368" y="1900"/>
                  <a:pt x="368" y="1900"/>
                </a:cubicBezTo>
                <a:cubicBezTo>
                  <a:pt x="363" y="1900"/>
                  <a:pt x="363" y="1900"/>
                  <a:pt x="363" y="1900"/>
                </a:cubicBezTo>
                <a:cubicBezTo>
                  <a:pt x="361" y="1901"/>
                  <a:pt x="359" y="1903"/>
                  <a:pt x="357" y="1903"/>
                </a:cubicBezTo>
                <a:cubicBezTo>
                  <a:pt x="356" y="1905"/>
                  <a:pt x="353" y="1906"/>
                  <a:pt x="352" y="1906"/>
                </a:cubicBezTo>
                <a:cubicBezTo>
                  <a:pt x="351" y="1908"/>
                  <a:pt x="348" y="1908"/>
                  <a:pt x="347" y="1909"/>
                </a:cubicBezTo>
                <a:cubicBezTo>
                  <a:pt x="345" y="1910"/>
                  <a:pt x="343" y="1911"/>
                  <a:pt x="341" y="1911"/>
                </a:cubicBezTo>
                <a:cubicBezTo>
                  <a:pt x="341" y="1911"/>
                  <a:pt x="341" y="1911"/>
                  <a:pt x="341" y="1921"/>
                </a:cubicBezTo>
                <a:cubicBezTo>
                  <a:pt x="344" y="1920"/>
                  <a:pt x="347" y="1919"/>
                  <a:pt x="349" y="1918"/>
                </a:cubicBezTo>
                <a:cubicBezTo>
                  <a:pt x="352" y="1917"/>
                  <a:pt x="354" y="1916"/>
                  <a:pt x="356" y="1914"/>
                </a:cubicBezTo>
                <a:cubicBezTo>
                  <a:pt x="356" y="1914"/>
                  <a:pt x="356" y="1914"/>
                  <a:pt x="356" y="1973"/>
                </a:cubicBezTo>
                <a:cubicBezTo>
                  <a:pt x="356" y="1973"/>
                  <a:pt x="356" y="1973"/>
                  <a:pt x="368" y="1973"/>
                </a:cubicBezTo>
                <a:cubicBezTo>
                  <a:pt x="368" y="1973"/>
                  <a:pt x="368" y="1973"/>
                  <a:pt x="368" y="1900"/>
                </a:cubicBezTo>
                <a:close/>
                <a:moveTo>
                  <a:pt x="415" y="1900"/>
                </a:moveTo>
                <a:cubicBezTo>
                  <a:pt x="415" y="1900"/>
                  <a:pt x="415" y="1900"/>
                  <a:pt x="415" y="1900"/>
                </a:cubicBezTo>
                <a:cubicBezTo>
                  <a:pt x="410" y="1900"/>
                  <a:pt x="410" y="1900"/>
                  <a:pt x="410" y="1900"/>
                </a:cubicBezTo>
                <a:cubicBezTo>
                  <a:pt x="408" y="1901"/>
                  <a:pt x="407" y="1903"/>
                  <a:pt x="404" y="1903"/>
                </a:cubicBezTo>
                <a:cubicBezTo>
                  <a:pt x="403" y="1905"/>
                  <a:pt x="401" y="1906"/>
                  <a:pt x="399" y="1906"/>
                </a:cubicBezTo>
                <a:cubicBezTo>
                  <a:pt x="397" y="1907"/>
                  <a:pt x="396" y="1908"/>
                  <a:pt x="394" y="1908"/>
                </a:cubicBezTo>
                <a:cubicBezTo>
                  <a:pt x="392" y="1909"/>
                  <a:pt x="390" y="1910"/>
                  <a:pt x="389" y="1911"/>
                </a:cubicBezTo>
                <a:cubicBezTo>
                  <a:pt x="389" y="1911"/>
                  <a:pt x="389" y="1911"/>
                  <a:pt x="389" y="1921"/>
                </a:cubicBezTo>
                <a:cubicBezTo>
                  <a:pt x="392" y="1920"/>
                  <a:pt x="394" y="1919"/>
                  <a:pt x="397" y="1918"/>
                </a:cubicBezTo>
                <a:cubicBezTo>
                  <a:pt x="399" y="1917"/>
                  <a:pt x="402" y="1916"/>
                  <a:pt x="403" y="1914"/>
                </a:cubicBezTo>
                <a:cubicBezTo>
                  <a:pt x="403" y="1914"/>
                  <a:pt x="403" y="1914"/>
                  <a:pt x="403" y="1973"/>
                </a:cubicBezTo>
                <a:cubicBezTo>
                  <a:pt x="403" y="1973"/>
                  <a:pt x="403" y="1973"/>
                  <a:pt x="415" y="1973"/>
                </a:cubicBezTo>
                <a:cubicBezTo>
                  <a:pt x="415" y="1973"/>
                  <a:pt x="415" y="1973"/>
                  <a:pt x="415" y="1900"/>
                </a:cubicBezTo>
                <a:close/>
                <a:moveTo>
                  <a:pt x="622" y="1804"/>
                </a:moveTo>
                <a:cubicBezTo>
                  <a:pt x="622" y="1804"/>
                  <a:pt x="622" y="1804"/>
                  <a:pt x="622" y="1804"/>
                </a:cubicBezTo>
                <a:cubicBezTo>
                  <a:pt x="617" y="1804"/>
                  <a:pt x="617" y="1804"/>
                  <a:pt x="617" y="1804"/>
                </a:cubicBezTo>
                <a:cubicBezTo>
                  <a:pt x="615" y="1806"/>
                  <a:pt x="613" y="1807"/>
                  <a:pt x="611" y="1808"/>
                </a:cubicBezTo>
                <a:cubicBezTo>
                  <a:pt x="610" y="1809"/>
                  <a:pt x="607" y="1810"/>
                  <a:pt x="606" y="1811"/>
                </a:cubicBezTo>
                <a:cubicBezTo>
                  <a:pt x="604" y="1811"/>
                  <a:pt x="602" y="1812"/>
                  <a:pt x="601" y="1813"/>
                </a:cubicBezTo>
                <a:cubicBezTo>
                  <a:pt x="599" y="1814"/>
                  <a:pt x="597" y="1814"/>
                  <a:pt x="595" y="1815"/>
                </a:cubicBezTo>
                <a:cubicBezTo>
                  <a:pt x="595" y="1815"/>
                  <a:pt x="595" y="1815"/>
                  <a:pt x="595" y="1825"/>
                </a:cubicBezTo>
                <a:cubicBezTo>
                  <a:pt x="598" y="1824"/>
                  <a:pt x="601" y="1823"/>
                  <a:pt x="603" y="1822"/>
                </a:cubicBezTo>
                <a:cubicBezTo>
                  <a:pt x="606" y="1822"/>
                  <a:pt x="608" y="1820"/>
                  <a:pt x="610" y="1819"/>
                </a:cubicBezTo>
                <a:cubicBezTo>
                  <a:pt x="610" y="1819"/>
                  <a:pt x="610" y="1819"/>
                  <a:pt x="610" y="1877"/>
                </a:cubicBezTo>
                <a:cubicBezTo>
                  <a:pt x="610" y="1877"/>
                  <a:pt x="610" y="1877"/>
                  <a:pt x="622" y="1877"/>
                </a:cubicBezTo>
                <a:cubicBezTo>
                  <a:pt x="622" y="1877"/>
                  <a:pt x="622" y="1877"/>
                  <a:pt x="622" y="1804"/>
                </a:cubicBezTo>
                <a:close/>
                <a:moveTo>
                  <a:pt x="668" y="1804"/>
                </a:moveTo>
                <a:cubicBezTo>
                  <a:pt x="668" y="1804"/>
                  <a:pt x="668" y="1804"/>
                  <a:pt x="668" y="1804"/>
                </a:cubicBezTo>
                <a:cubicBezTo>
                  <a:pt x="663" y="1804"/>
                  <a:pt x="663" y="1804"/>
                  <a:pt x="663" y="1804"/>
                </a:cubicBezTo>
                <a:cubicBezTo>
                  <a:pt x="661" y="1806"/>
                  <a:pt x="660" y="1807"/>
                  <a:pt x="658" y="1808"/>
                </a:cubicBezTo>
                <a:cubicBezTo>
                  <a:pt x="656" y="1809"/>
                  <a:pt x="654" y="1810"/>
                  <a:pt x="653" y="1811"/>
                </a:cubicBezTo>
                <a:cubicBezTo>
                  <a:pt x="651" y="1812"/>
                  <a:pt x="649" y="1813"/>
                  <a:pt x="647" y="1814"/>
                </a:cubicBezTo>
                <a:cubicBezTo>
                  <a:pt x="645" y="1814"/>
                  <a:pt x="644" y="1815"/>
                  <a:pt x="642" y="1815"/>
                </a:cubicBezTo>
                <a:cubicBezTo>
                  <a:pt x="642" y="1815"/>
                  <a:pt x="642" y="1815"/>
                  <a:pt x="642" y="1825"/>
                </a:cubicBezTo>
                <a:cubicBezTo>
                  <a:pt x="645" y="1824"/>
                  <a:pt x="647" y="1824"/>
                  <a:pt x="650" y="1822"/>
                </a:cubicBezTo>
                <a:cubicBezTo>
                  <a:pt x="653" y="1822"/>
                  <a:pt x="655" y="1820"/>
                  <a:pt x="657" y="1819"/>
                </a:cubicBezTo>
                <a:cubicBezTo>
                  <a:pt x="657" y="1819"/>
                  <a:pt x="657" y="1819"/>
                  <a:pt x="657" y="1877"/>
                </a:cubicBezTo>
                <a:cubicBezTo>
                  <a:pt x="657" y="1877"/>
                  <a:pt x="657" y="1877"/>
                  <a:pt x="668" y="1877"/>
                </a:cubicBezTo>
                <a:cubicBezTo>
                  <a:pt x="668" y="1877"/>
                  <a:pt x="668" y="1877"/>
                  <a:pt x="668" y="1804"/>
                </a:cubicBezTo>
                <a:close/>
                <a:moveTo>
                  <a:pt x="714" y="1804"/>
                </a:moveTo>
                <a:cubicBezTo>
                  <a:pt x="714" y="1804"/>
                  <a:pt x="714" y="1804"/>
                  <a:pt x="714" y="1804"/>
                </a:cubicBezTo>
                <a:cubicBezTo>
                  <a:pt x="710" y="1804"/>
                  <a:pt x="710" y="1804"/>
                  <a:pt x="710" y="1804"/>
                </a:cubicBezTo>
                <a:cubicBezTo>
                  <a:pt x="708" y="1806"/>
                  <a:pt x="706" y="1807"/>
                  <a:pt x="704" y="1808"/>
                </a:cubicBezTo>
                <a:cubicBezTo>
                  <a:pt x="703" y="1809"/>
                  <a:pt x="700" y="1810"/>
                  <a:pt x="699" y="1811"/>
                </a:cubicBezTo>
                <a:cubicBezTo>
                  <a:pt x="697" y="1812"/>
                  <a:pt x="695" y="1813"/>
                  <a:pt x="693" y="1814"/>
                </a:cubicBezTo>
                <a:cubicBezTo>
                  <a:pt x="692" y="1814"/>
                  <a:pt x="690" y="1815"/>
                  <a:pt x="688" y="1815"/>
                </a:cubicBezTo>
                <a:cubicBezTo>
                  <a:pt x="688" y="1815"/>
                  <a:pt x="688" y="1815"/>
                  <a:pt x="688" y="1825"/>
                </a:cubicBezTo>
                <a:cubicBezTo>
                  <a:pt x="691" y="1824"/>
                  <a:pt x="694" y="1824"/>
                  <a:pt x="696" y="1822"/>
                </a:cubicBezTo>
                <a:cubicBezTo>
                  <a:pt x="698" y="1822"/>
                  <a:pt x="701" y="1820"/>
                  <a:pt x="703" y="1819"/>
                </a:cubicBezTo>
                <a:cubicBezTo>
                  <a:pt x="703" y="1819"/>
                  <a:pt x="703" y="1819"/>
                  <a:pt x="703" y="1877"/>
                </a:cubicBezTo>
                <a:cubicBezTo>
                  <a:pt x="703" y="1877"/>
                  <a:pt x="703" y="1877"/>
                  <a:pt x="714" y="1877"/>
                </a:cubicBezTo>
                <a:cubicBezTo>
                  <a:pt x="714" y="1877"/>
                  <a:pt x="714" y="1877"/>
                  <a:pt x="714" y="1804"/>
                </a:cubicBezTo>
                <a:close/>
                <a:moveTo>
                  <a:pt x="761" y="1804"/>
                </a:moveTo>
                <a:cubicBezTo>
                  <a:pt x="761" y="1804"/>
                  <a:pt x="761" y="1804"/>
                  <a:pt x="761" y="1804"/>
                </a:cubicBezTo>
                <a:cubicBezTo>
                  <a:pt x="756" y="1804"/>
                  <a:pt x="756" y="1804"/>
                  <a:pt x="756" y="1804"/>
                </a:cubicBezTo>
                <a:cubicBezTo>
                  <a:pt x="754" y="1806"/>
                  <a:pt x="752" y="1807"/>
                  <a:pt x="750" y="1808"/>
                </a:cubicBezTo>
                <a:cubicBezTo>
                  <a:pt x="749" y="1809"/>
                  <a:pt x="747" y="1810"/>
                  <a:pt x="745" y="1811"/>
                </a:cubicBezTo>
                <a:cubicBezTo>
                  <a:pt x="744" y="1812"/>
                  <a:pt x="742" y="1813"/>
                  <a:pt x="740" y="1814"/>
                </a:cubicBezTo>
                <a:cubicBezTo>
                  <a:pt x="738" y="1814"/>
                  <a:pt x="736" y="1815"/>
                  <a:pt x="734" y="1815"/>
                </a:cubicBezTo>
                <a:cubicBezTo>
                  <a:pt x="734" y="1815"/>
                  <a:pt x="734" y="1815"/>
                  <a:pt x="734" y="1825"/>
                </a:cubicBezTo>
                <a:cubicBezTo>
                  <a:pt x="737" y="1824"/>
                  <a:pt x="740" y="1824"/>
                  <a:pt x="742" y="1822"/>
                </a:cubicBezTo>
                <a:cubicBezTo>
                  <a:pt x="745" y="1822"/>
                  <a:pt x="747" y="1820"/>
                  <a:pt x="750" y="1819"/>
                </a:cubicBezTo>
                <a:cubicBezTo>
                  <a:pt x="750" y="1819"/>
                  <a:pt x="750" y="1819"/>
                  <a:pt x="750" y="1877"/>
                </a:cubicBezTo>
                <a:cubicBezTo>
                  <a:pt x="750" y="1877"/>
                  <a:pt x="750" y="1877"/>
                  <a:pt x="761" y="1877"/>
                </a:cubicBezTo>
                <a:cubicBezTo>
                  <a:pt x="761" y="1877"/>
                  <a:pt x="761" y="1877"/>
                  <a:pt x="761" y="1804"/>
                </a:cubicBezTo>
                <a:close/>
                <a:moveTo>
                  <a:pt x="883" y="1804"/>
                </a:moveTo>
                <a:cubicBezTo>
                  <a:pt x="883" y="1804"/>
                  <a:pt x="883" y="1804"/>
                  <a:pt x="883" y="1804"/>
                </a:cubicBezTo>
                <a:cubicBezTo>
                  <a:pt x="878" y="1804"/>
                  <a:pt x="878" y="1804"/>
                  <a:pt x="878" y="1804"/>
                </a:cubicBezTo>
                <a:cubicBezTo>
                  <a:pt x="876" y="1806"/>
                  <a:pt x="874" y="1807"/>
                  <a:pt x="872" y="1808"/>
                </a:cubicBezTo>
                <a:cubicBezTo>
                  <a:pt x="870" y="1809"/>
                  <a:pt x="869" y="1810"/>
                  <a:pt x="867" y="1811"/>
                </a:cubicBezTo>
                <a:cubicBezTo>
                  <a:pt x="865" y="1812"/>
                  <a:pt x="863" y="1813"/>
                  <a:pt x="862" y="1814"/>
                </a:cubicBezTo>
                <a:cubicBezTo>
                  <a:pt x="859" y="1814"/>
                  <a:pt x="858" y="1815"/>
                  <a:pt x="856" y="1815"/>
                </a:cubicBezTo>
                <a:cubicBezTo>
                  <a:pt x="856" y="1815"/>
                  <a:pt x="856" y="1815"/>
                  <a:pt x="856" y="1825"/>
                </a:cubicBezTo>
                <a:cubicBezTo>
                  <a:pt x="859" y="1824"/>
                  <a:pt x="862" y="1824"/>
                  <a:pt x="865" y="1822"/>
                </a:cubicBezTo>
                <a:cubicBezTo>
                  <a:pt x="867" y="1822"/>
                  <a:pt x="869" y="1820"/>
                  <a:pt x="871" y="1819"/>
                </a:cubicBezTo>
                <a:cubicBezTo>
                  <a:pt x="871" y="1819"/>
                  <a:pt x="871" y="1819"/>
                  <a:pt x="871" y="1877"/>
                </a:cubicBezTo>
                <a:cubicBezTo>
                  <a:pt x="871" y="1877"/>
                  <a:pt x="871" y="1877"/>
                  <a:pt x="883" y="1877"/>
                </a:cubicBezTo>
                <a:cubicBezTo>
                  <a:pt x="883" y="1877"/>
                  <a:pt x="883" y="1877"/>
                  <a:pt x="883" y="1804"/>
                </a:cubicBezTo>
                <a:close/>
                <a:moveTo>
                  <a:pt x="930" y="1804"/>
                </a:moveTo>
                <a:cubicBezTo>
                  <a:pt x="930" y="1804"/>
                  <a:pt x="930" y="1804"/>
                  <a:pt x="930" y="1804"/>
                </a:cubicBezTo>
                <a:cubicBezTo>
                  <a:pt x="925" y="1804"/>
                  <a:pt x="925" y="1804"/>
                  <a:pt x="925" y="1804"/>
                </a:cubicBezTo>
                <a:cubicBezTo>
                  <a:pt x="922" y="1806"/>
                  <a:pt x="921" y="1807"/>
                  <a:pt x="919" y="1808"/>
                </a:cubicBezTo>
                <a:cubicBezTo>
                  <a:pt x="917" y="1809"/>
                  <a:pt x="915" y="1810"/>
                  <a:pt x="914" y="1811"/>
                </a:cubicBezTo>
                <a:cubicBezTo>
                  <a:pt x="912" y="1812"/>
                  <a:pt x="910" y="1813"/>
                  <a:pt x="909" y="1814"/>
                </a:cubicBezTo>
                <a:cubicBezTo>
                  <a:pt x="906" y="1814"/>
                  <a:pt x="905" y="1815"/>
                  <a:pt x="903" y="1815"/>
                </a:cubicBezTo>
                <a:cubicBezTo>
                  <a:pt x="903" y="1815"/>
                  <a:pt x="903" y="1815"/>
                  <a:pt x="903" y="1825"/>
                </a:cubicBezTo>
                <a:cubicBezTo>
                  <a:pt x="906" y="1824"/>
                  <a:pt x="909" y="1824"/>
                  <a:pt x="911" y="1822"/>
                </a:cubicBezTo>
                <a:cubicBezTo>
                  <a:pt x="914" y="1822"/>
                  <a:pt x="916" y="1820"/>
                  <a:pt x="918" y="1819"/>
                </a:cubicBezTo>
                <a:cubicBezTo>
                  <a:pt x="918" y="1819"/>
                  <a:pt x="918" y="1819"/>
                  <a:pt x="918" y="1877"/>
                </a:cubicBezTo>
                <a:cubicBezTo>
                  <a:pt x="918" y="1877"/>
                  <a:pt x="918" y="1877"/>
                  <a:pt x="930" y="1877"/>
                </a:cubicBezTo>
                <a:cubicBezTo>
                  <a:pt x="930" y="1877"/>
                  <a:pt x="930" y="1877"/>
                  <a:pt x="930" y="1804"/>
                </a:cubicBezTo>
                <a:close/>
                <a:moveTo>
                  <a:pt x="781" y="1836"/>
                </a:moveTo>
                <a:cubicBezTo>
                  <a:pt x="781" y="1836"/>
                  <a:pt x="781" y="1836"/>
                  <a:pt x="781" y="1836"/>
                </a:cubicBezTo>
                <a:cubicBezTo>
                  <a:pt x="781" y="1844"/>
                  <a:pt x="781" y="1844"/>
                  <a:pt x="781" y="1844"/>
                </a:cubicBezTo>
                <a:cubicBezTo>
                  <a:pt x="787" y="1845"/>
                  <a:pt x="788" y="1848"/>
                  <a:pt x="788" y="1850"/>
                </a:cubicBezTo>
                <a:cubicBezTo>
                  <a:pt x="788" y="1853"/>
                  <a:pt x="788" y="1855"/>
                  <a:pt x="788" y="1857"/>
                </a:cubicBezTo>
                <a:cubicBezTo>
                  <a:pt x="787" y="1860"/>
                  <a:pt x="787" y="1862"/>
                  <a:pt x="787" y="1865"/>
                </a:cubicBezTo>
                <a:cubicBezTo>
                  <a:pt x="787" y="1874"/>
                  <a:pt x="793" y="1877"/>
                  <a:pt x="802" y="1877"/>
                </a:cubicBezTo>
                <a:cubicBezTo>
                  <a:pt x="802" y="1877"/>
                  <a:pt x="802" y="1877"/>
                  <a:pt x="805" y="1877"/>
                </a:cubicBezTo>
                <a:cubicBezTo>
                  <a:pt x="805" y="1877"/>
                  <a:pt x="805" y="1877"/>
                  <a:pt x="805" y="1868"/>
                </a:cubicBezTo>
                <a:cubicBezTo>
                  <a:pt x="805" y="1868"/>
                  <a:pt x="805" y="1868"/>
                  <a:pt x="804" y="1868"/>
                </a:cubicBezTo>
                <a:cubicBezTo>
                  <a:pt x="800" y="1868"/>
                  <a:pt x="799" y="1866"/>
                  <a:pt x="799" y="1862"/>
                </a:cubicBezTo>
                <a:cubicBezTo>
                  <a:pt x="799" y="1861"/>
                  <a:pt x="799" y="1859"/>
                  <a:pt x="799" y="1857"/>
                </a:cubicBezTo>
                <a:cubicBezTo>
                  <a:pt x="799" y="1856"/>
                  <a:pt x="800" y="1854"/>
                  <a:pt x="800" y="1852"/>
                </a:cubicBezTo>
                <a:cubicBezTo>
                  <a:pt x="800" y="1844"/>
                  <a:pt x="797" y="1842"/>
                  <a:pt x="791" y="1840"/>
                </a:cubicBezTo>
                <a:cubicBezTo>
                  <a:pt x="791" y="1840"/>
                  <a:pt x="791" y="1840"/>
                  <a:pt x="791" y="1840"/>
                </a:cubicBezTo>
                <a:cubicBezTo>
                  <a:pt x="797" y="1839"/>
                  <a:pt x="800" y="1837"/>
                  <a:pt x="800" y="1829"/>
                </a:cubicBezTo>
                <a:cubicBezTo>
                  <a:pt x="800" y="1827"/>
                  <a:pt x="799" y="1825"/>
                  <a:pt x="799" y="1823"/>
                </a:cubicBezTo>
                <a:cubicBezTo>
                  <a:pt x="799" y="1821"/>
                  <a:pt x="799" y="1820"/>
                  <a:pt x="799" y="1818"/>
                </a:cubicBezTo>
                <a:cubicBezTo>
                  <a:pt x="799" y="1815"/>
                  <a:pt x="800" y="1813"/>
                  <a:pt x="804" y="1813"/>
                </a:cubicBezTo>
                <a:cubicBezTo>
                  <a:pt x="804" y="1813"/>
                  <a:pt x="804" y="1813"/>
                  <a:pt x="805" y="1813"/>
                </a:cubicBezTo>
                <a:cubicBezTo>
                  <a:pt x="805" y="1813"/>
                  <a:pt x="805" y="1813"/>
                  <a:pt x="805" y="1803"/>
                </a:cubicBezTo>
                <a:cubicBezTo>
                  <a:pt x="805" y="1803"/>
                  <a:pt x="805" y="1803"/>
                  <a:pt x="802" y="1803"/>
                </a:cubicBezTo>
                <a:cubicBezTo>
                  <a:pt x="792" y="1803"/>
                  <a:pt x="787" y="1807"/>
                  <a:pt x="787" y="1816"/>
                </a:cubicBezTo>
                <a:cubicBezTo>
                  <a:pt x="787" y="1818"/>
                  <a:pt x="787" y="1821"/>
                  <a:pt x="787" y="1823"/>
                </a:cubicBezTo>
                <a:cubicBezTo>
                  <a:pt x="788" y="1826"/>
                  <a:pt x="788" y="1828"/>
                  <a:pt x="788" y="1830"/>
                </a:cubicBezTo>
                <a:cubicBezTo>
                  <a:pt x="788" y="1833"/>
                  <a:pt x="787" y="1836"/>
                  <a:pt x="781" y="1836"/>
                </a:cubicBezTo>
                <a:close/>
                <a:moveTo>
                  <a:pt x="836" y="1844"/>
                </a:moveTo>
                <a:cubicBezTo>
                  <a:pt x="836" y="1844"/>
                  <a:pt x="836" y="1844"/>
                  <a:pt x="836" y="1844"/>
                </a:cubicBezTo>
                <a:cubicBezTo>
                  <a:pt x="836" y="1836"/>
                  <a:pt x="836" y="1836"/>
                  <a:pt x="836" y="1836"/>
                </a:cubicBezTo>
                <a:cubicBezTo>
                  <a:pt x="830" y="1836"/>
                  <a:pt x="829" y="1833"/>
                  <a:pt x="829" y="1830"/>
                </a:cubicBezTo>
                <a:cubicBezTo>
                  <a:pt x="829" y="1828"/>
                  <a:pt x="829" y="1826"/>
                  <a:pt x="830" y="1823"/>
                </a:cubicBezTo>
                <a:cubicBezTo>
                  <a:pt x="830" y="1821"/>
                  <a:pt x="830" y="1818"/>
                  <a:pt x="830" y="1816"/>
                </a:cubicBezTo>
                <a:cubicBezTo>
                  <a:pt x="830" y="1807"/>
                  <a:pt x="825" y="1803"/>
                  <a:pt x="816" y="1803"/>
                </a:cubicBezTo>
                <a:cubicBezTo>
                  <a:pt x="816" y="1803"/>
                  <a:pt x="816" y="1803"/>
                  <a:pt x="812" y="1803"/>
                </a:cubicBezTo>
                <a:cubicBezTo>
                  <a:pt x="812" y="1803"/>
                  <a:pt x="812" y="1803"/>
                  <a:pt x="812" y="1813"/>
                </a:cubicBezTo>
                <a:cubicBezTo>
                  <a:pt x="812" y="1813"/>
                  <a:pt x="812" y="1813"/>
                  <a:pt x="813" y="1813"/>
                </a:cubicBezTo>
                <a:cubicBezTo>
                  <a:pt x="817" y="1813"/>
                  <a:pt x="819" y="1815"/>
                  <a:pt x="819" y="1818"/>
                </a:cubicBezTo>
                <a:cubicBezTo>
                  <a:pt x="819" y="1820"/>
                  <a:pt x="818" y="1821"/>
                  <a:pt x="818" y="1823"/>
                </a:cubicBezTo>
                <a:cubicBezTo>
                  <a:pt x="818" y="1825"/>
                  <a:pt x="818" y="1827"/>
                  <a:pt x="818" y="1829"/>
                </a:cubicBezTo>
                <a:cubicBezTo>
                  <a:pt x="818" y="1837"/>
                  <a:pt x="821" y="1839"/>
                  <a:pt x="826" y="1840"/>
                </a:cubicBezTo>
                <a:cubicBezTo>
                  <a:pt x="826" y="1840"/>
                  <a:pt x="826" y="1840"/>
                  <a:pt x="826" y="1840"/>
                </a:cubicBezTo>
                <a:cubicBezTo>
                  <a:pt x="821" y="1842"/>
                  <a:pt x="818" y="1844"/>
                  <a:pt x="818" y="1852"/>
                </a:cubicBezTo>
                <a:cubicBezTo>
                  <a:pt x="818" y="1854"/>
                  <a:pt x="818" y="1856"/>
                  <a:pt x="818" y="1857"/>
                </a:cubicBezTo>
                <a:cubicBezTo>
                  <a:pt x="818" y="1859"/>
                  <a:pt x="819" y="1861"/>
                  <a:pt x="819" y="1862"/>
                </a:cubicBezTo>
                <a:cubicBezTo>
                  <a:pt x="819" y="1866"/>
                  <a:pt x="818" y="1868"/>
                  <a:pt x="813" y="1868"/>
                </a:cubicBezTo>
                <a:cubicBezTo>
                  <a:pt x="813" y="1868"/>
                  <a:pt x="813" y="1868"/>
                  <a:pt x="812" y="1868"/>
                </a:cubicBezTo>
                <a:cubicBezTo>
                  <a:pt x="812" y="1868"/>
                  <a:pt x="812" y="1868"/>
                  <a:pt x="812" y="1877"/>
                </a:cubicBezTo>
                <a:cubicBezTo>
                  <a:pt x="812" y="1877"/>
                  <a:pt x="812" y="1877"/>
                  <a:pt x="816" y="1877"/>
                </a:cubicBezTo>
                <a:cubicBezTo>
                  <a:pt x="825" y="1877"/>
                  <a:pt x="830" y="1874"/>
                  <a:pt x="830" y="1865"/>
                </a:cubicBezTo>
                <a:cubicBezTo>
                  <a:pt x="830" y="1862"/>
                  <a:pt x="830" y="1860"/>
                  <a:pt x="830" y="1857"/>
                </a:cubicBezTo>
                <a:cubicBezTo>
                  <a:pt x="829" y="1855"/>
                  <a:pt x="829" y="1853"/>
                  <a:pt x="829" y="1850"/>
                </a:cubicBezTo>
                <a:cubicBezTo>
                  <a:pt x="829" y="1848"/>
                  <a:pt x="830" y="1845"/>
                  <a:pt x="836" y="1844"/>
                </a:cubicBezTo>
                <a:close/>
                <a:moveTo>
                  <a:pt x="222" y="1877"/>
                </a:moveTo>
                <a:cubicBezTo>
                  <a:pt x="215" y="1877"/>
                  <a:pt x="208" y="1874"/>
                  <a:pt x="204" y="1868"/>
                </a:cubicBezTo>
                <a:cubicBezTo>
                  <a:pt x="200" y="1862"/>
                  <a:pt x="198" y="1853"/>
                  <a:pt x="198" y="1841"/>
                </a:cubicBezTo>
                <a:cubicBezTo>
                  <a:pt x="198" y="1828"/>
                  <a:pt x="200" y="1818"/>
                  <a:pt x="204" y="1812"/>
                </a:cubicBezTo>
                <a:cubicBezTo>
                  <a:pt x="209" y="1805"/>
                  <a:pt x="215" y="1801"/>
                  <a:pt x="224" y="1801"/>
                </a:cubicBezTo>
                <a:cubicBezTo>
                  <a:pt x="240" y="1801"/>
                  <a:pt x="248" y="1814"/>
                  <a:pt x="248" y="1839"/>
                </a:cubicBezTo>
                <a:cubicBezTo>
                  <a:pt x="248" y="1852"/>
                  <a:pt x="246" y="1861"/>
                  <a:pt x="241" y="1868"/>
                </a:cubicBezTo>
                <a:cubicBezTo>
                  <a:pt x="237" y="1874"/>
                  <a:pt x="230" y="1877"/>
                  <a:pt x="222" y="1877"/>
                </a:cubicBezTo>
                <a:close/>
                <a:moveTo>
                  <a:pt x="223" y="1811"/>
                </a:moveTo>
                <a:cubicBezTo>
                  <a:pt x="214" y="1811"/>
                  <a:pt x="209" y="1821"/>
                  <a:pt x="209" y="1841"/>
                </a:cubicBezTo>
                <a:cubicBezTo>
                  <a:pt x="209" y="1859"/>
                  <a:pt x="214" y="1868"/>
                  <a:pt x="223" y="1868"/>
                </a:cubicBezTo>
                <a:cubicBezTo>
                  <a:pt x="232" y="1868"/>
                  <a:pt x="236" y="1859"/>
                  <a:pt x="236" y="1840"/>
                </a:cubicBezTo>
                <a:cubicBezTo>
                  <a:pt x="236" y="1820"/>
                  <a:pt x="232" y="1811"/>
                  <a:pt x="223" y="1811"/>
                </a:cubicBezTo>
                <a:close/>
                <a:moveTo>
                  <a:pt x="292" y="1877"/>
                </a:moveTo>
                <a:cubicBezTo>
                  <a:pt x="285" y="1877"/>
                  <a:pt x="278" y="1874"/>
                  <a:pt x="275" y="1868"/>
                </a:cubicBezTo>
                <a:cubicBezTo>
                  <a:pt x="270" y="1862"/>
                  <a:pt x="268" y="1853"/>
                  <a:pt x="268" y="1841"/>
                </a:cubicBezTo>
                <a:cubicBezTo>
                  <a:pt x="268" y="1828"/>
                  <a:pt x="270" y="1818"/>
                  <a:pt x="275" y="1812"/>
                </a:cubicBezTo>
                <a:cubicBezTo>
                  <a:pt x="279" y="1805"/>
                  <a:pt x="286" y="1801"/>
                  <a:pt x="294" y="1801"/>
                </a:cubicBezTo>
                <a:cubicBezTo>
                  <a:pt x="311" y="1801"/>
                  <a:pt x="319" y="1814"/>
                  <a:pt x="319" y="1839"/>
                </a:cubicBezTo>
                <a:cubicBezTo>
                  <a:pt x="319" y="1852"/>
                  <a:pt x="316" y="1861"/>
                  <a:pt x="312" y="1868"/>
                </a:cubicBezTo>
                <a:cubicBezTo>
                  <a:pt x="307" y="1874"/>
                  <a:pt x="301" y="1877"/>
                  <a:pt x="292" y="1877"/>
                </a:cubicBezTo>
                <a:close/>
                <a:moveTo>
                  <a:pt x="294" y="1811"/>
                </a:moveTo>
                <a:cubicBezTo>
                  <a:pt x="285" y="1811"/>
                  <a:pt x="280" y="1821"/>
                  <a:pt x="280" y="1841"/>
                </a:cubicBezTo>
                <a:cubicBezTo>
                  <a:pt x="280" y="1859"/>
                  <a:pt x="284" y="1868"/>
                  <a:pt x="293" y="1868"/>
                </a:cubicBezTo>
                <a:cubicBezTo>
                  <a:pt x="302" y="1868"/>
                  <a:pt x="306" y="1859"/>
                  <a:pt x="306" y="1840"/>
                </a:cubicBezTo>
                <a:cubicBezTo>
                  <a:pt x="306" y="1820"/>
                  <a:pt x="302" y="1811"/>
                  <a:pt x="294" y="1811"/>
                </a:cubicBezTo>
                <a:close/>
                <a:moveTo>
                  <a:pt x="502" y="1877"/>
                </a:moveTo>
                <a:cubicBezTo>
                  <a:pt x="495" y="1877"/>
                  <a:pt x="489" y="1874"/>
                  <a:pt x="485" y="1868"/>
                </a:cubicBezTo>
                <a:cubicBezTo>
                  <a:pt x="480" y="1862"/>
                  <a:pt x="478" y="1852"/>
                  <a:pt x="478" y="1841"/>
                </a:cubicBezTo>
                <a:cubicBezTo>
                  <a:pt x="478" y="1828"/>
                  <a:pt x="480" y="1818"/>
                  <a:pt x="485" y="1811"/>
                </a:cubicBezTo>
                <a:cubicBezTo>
                  <a:pt x="489" y="1804"/>
                  <a:pt x="496" y="1801"/>
                  <a:pt x="504" y="1801"/>
                </a:cubicBezTo>
                <a:cubicBezTo>
                  <a:pt x="521" y="1801"/>
                  <a:pt x="529" y="1814"/>
                  <a:pt x="529" y="1839"/>
                </a:cubicBezTo>
                <a:cubicBezTo>
                  <a:pt x="529" y="1852"/>
                  <a:pt x="527" y="1861"/>
                  <a:pt x="522" y="1868"/>
                </a:cubicBezTo>
                <a:cubicBezTo>
                  <a:pt x="517" y="1874"/>
                  <a:pt x="511" y="1877"/>
                  <a:pt x="502" y="1877"/>
                </a:cubicBezTo>
                <a:close/>
                <a:moveTo>
                  <a:pt x="504" y="1811"/>
                </a:moveTo>
                <a:cubicBezTo>
                  <a:pt x="495" y="1811"/>
                  <a:pt x="490" y="1820"/>
                  <a:pt x="490" y="1840"/>
                </a:cubicBezTo>
                <a:cubicBezTo>
                  <a:pt x="490" y="1858"/>
                  <a:pt x="495" y="1868"/>
                  <a:pt x="504" y="1868"/>
                </a:cubicBezTo>
                <a:cubicBezTo>
                  <a:pt x="512" y="1868"/>
                  <a:pt x="516" y="1858"/>
                  <a:pt x="516" y="1840"/>
                </a:cubicBezTo>
                <a:cubicBezTo>
                  <a:pt x="516" y="1820"/>
                  <a:pt x="513" y="1811"/>
                  <a:pt x="504" y="1811"/>
                </a:cubicBezTo>
                <a:close/>
                <a:moveTo>
                  <a:pt x="575" y="1804"/>
                </a:moveTo>
                <a:cubicBezTo>
                  <a:pt x="575" y="1804"/>
                  <a:pt x="575" y="1804"/>
                  <a:pt x="575" y="1804"/>
                </a:cubicBezTo>
                <a:cubicBezTo>
                  <a:pt x="570" y="1804"/>
                  <a:pt x="570" y="1804"/>
                  <a:pt x="570" y="1804"/>
                </a:cubicBezTo>
                <a:cubicBezTo>
                  <a:pt x="568" y="1806"/>
                  <a:pt x="566" y="1807"/>
                  <a:pt x="564" y="1808"/>
                </a:cubicBezTo>
                <a:cubicBezTo>
                  <a:pt x="563" y="1809"/>
                  <a:pt x="561" y="1810"/>
                  <a:pt x="559" y="1811"/>
                </a:cubicBezTo>
                <a:cubicBezTo>
                  <a:pt x="558" y="1811"/>
                  <a:pt x="556" y="1812"/>
                  <a:pt x="554" y="1813"/>
                </a:cubicBezTo>
                <a:cubicBezTo>
                  <a:pt x="552" y="1814"/>
                  <a:pt x="551" y="1814"/>
                  <a:pt x="548" y="1815"/>
                </a:cubicBezTo>
                <a:cubicBezTo>
                  <a:pt x="548" y="1815"/>
                  <a:pt x="548" y="1815"/>
                  <a:pt x="548" y="1825"/>
                </a:cubicBezTo>
                <a:cubicBezTo>
                  <a:pt x="551" y="1824"/>
                  <a:pt x="554" y="1823"/>
                  <a:pt x="556" y="1822"/>
                </a:cubicBezTo>
                <a:cubicBezTo>
                  <a:pt x="559" y="1822"/>
                  <a:pt x="561" y="1820"/>
                  <a:pt x="563" y="1819"/>
                </a:cubicBezTo>
                <a:cubicBezTo>
                  <a:pt x="563" y="1819"/>
                  <a:pt x="563" y="1819"/>
                  <a:pt x="563" y="1877"/>
                </a:cubicBezTo>
                <a:cubicBezTo>
                  <a:pt x="563" y="1877"/>
                  <a:pt x="563" y="1877"/>
                  <a:pt x="575" y="1877"/>
                </a:cubicBezTo>
                <a:cubicBezTo>
                  <a:pt x="575" y="1877"/>
                  <a:pt x="575" y="1877"/>
                  <a:pt x="575" y="1804"/>
                </a:cubicBezTo>
                <a:close/>
                <a:moveTo>
                  <a:pt x="366" y="1804"/>
                </a:moveTo>
                <a:cubicBezTo>
                  <a:pt x="366" y="1804"/>
                  <a:pt x="366" y="1804"/>
                  <a:pt x="366" y="1804"/>
                </a:cubicBezTo>
                <a:cubicBezTo>
                  <a:pt x="360" y="1804"/>
                  <a:pt x="360" y="1804"/>
                  <a:pt x="360" y="1804"/>
                </a:cubicBezTo>
                <a:cubicBezTo>
                  <a:pt x="358" y="1806"/>
                  <a:pt x="357" y="1807"/>
                  <a:pt x="355" y="1808"/>
                </a:cubicBezTo>
                <a:cubicBezTo>
                  <a:pt x="353" y="1809"/>
                  <a:pt x="352" y="1810"/>
                  <a:pt x="349" y="1811"/>
                </a:cubicBezTo>
                <a:cubicBezTo>
                  <a:pt x="348" y="1812"/>
                  <a:pt x="346" y="1813"/>
                  <a:pt x="344" y="1814"/>
                </a:cubicBezTo>
                <a:cubicBezTo>
                  <a:pt x="342" y="1814"/>
                  <a:pt x="340" y="1815"/>
                  <a:pt x="338" y="1815"/>
                </a:cubicBezTo>
                <a:cubicBezTo>
                  <a:pt x="338" y="1815"/>
                  <a:pt x="338" y="1815"/>
                  <a:pt x="338" y="1825"/>
                </a:cubicBezTo>
                <a:cubicBezTo>
                  <a:pt x="341" y="1824"/>
                  <a:pt x="344" y="1824"/>
                  <a:pt x="347" y="1822"/>
                </a:cubicBezTo>
                <a:cubicBezTo>
                  <a:pt x="349" y="1822"/>
                  <a:pt x="352" y="1820"/>
                  <a:pt x="354" y="1819"/>
                </a:cubicBezTo>
                <a:cubicBezTo>
                  <a:pt x="354" y="1819"/>
                  <a:pt x="354" y="1819"/>
                  <a:pt x="354" y="1877"/>
                </a:cubicBezTo>
                <a:cubicBezTo>
                  <a:pt x="354" y="1877"/>
                  <a:pt x="354" y="1877"/>
                  <a:pt x="366" y="1877"/>
                </a:cubicBezTo>
                <a:cubicBezTo>
                  <a:pt x="366" y="1877"/>
                  <a:pt x="366" y="1877"/>
                  <a:pt x="366" y="1804"/>
                </a:cubicBezTo>
                <a:close/>
                <a:moveTo>
                  <a:pt x="413" y="1804"/>
                </a:moveTo>
                <a:cubicBezTo>
                  <a:pt x="413" y="1804"/>
                  <a:pt x="413" y="1804"/>
                  <a:pt x="413" y="1804"/>
                </a:cubicBezTo>
                <a:cubicBezTo>
                  <a:pt x="407" y="1804"/>
                  <a:pt x="407" y="1804"/>
                  <a:pt x="407" y="1804"/>
                </a:cubicBezTo>
                <a:cubicBezTo>
                  <a:pt x="405" y="1806"/>
                  <a:pt x="404" y="1807"/>
                  <a:pt x="402" y="1808"/>
                </a:cubicBezTo>
                <a:cubicBezTo>
                  <a:pt x="400" y="1809"/>
                  <a:pt x="398" y="1810"/>
                  <a:pt x="396" y="1811"/>
                </a:cubicBezTo>
                <a:cubicBezTo>
                  <a:pt x="395" y="1812"/>
                  <a:pt x="393" y="1813"/>
                  <a:pt x="391" y="1814"/>
                </a:cubicBezTo>
                <a:cubicBezTo>
                  <a:pt x="389" y="1814"/>
                  <a:pt x="388" y="1815"/>
                  <a:pt x="385" y="1815"/>
                </a:cubicBezTo>
                <a:cubicBezTo>
                  <a:pt x="385" y="1815"/>
                  <a:pt x="385" y="1815"/>
                  <a:pt x="385" y="1825"/>
                </a:cubicBezTo>
                <a:cubicBezTo>
                  <a:pt x="388" y="1824"/>
                  <a:pt x="391" y="1824"/>
                  <a:pt x="393" y="1822"/>
                </a:cubicBezTo>
                <a:cubicBezTo>
                  <a:pt x="396" y="1822"/>
                  <a:pt x="399" y="1820"/>
                  <a:pt x="401" y="1819"/>
                </a:cubicBezTo>
                <a:cubicBezTo>
                  <a:pt x="401" y="1819"/>
                  <a:pt x="401" y="1819"/>
                  <a:pt x="401" y="1877"/>
                </a:cubicBezTo>
                <a:cubicBezTo>
                  <a:pt x="401" y="1877"/>
                  <a:pt x="401" y="1877"/>
                  <a:pt x="413" y="1877"/>
                </a:cubicBezTo>
                <a:cubicBezTo>
                  <a:pt x="413" y="1877"/>
                  <a:pt x="413" y="1877"/>
                  <a:pt x="413" y="1804"/>
                </a:cubicBezTo>
                <a:close/>
                <a:moveTo>
                  <a:pt x="458" y="1804"/>
                </a:moveTo>
                <a:cubicBezTo>
                  <a:pt x="458" y="1804"/>
                  <a:pt x="458" y="1804"/>
                  <a:pt x="458" y="1804"/>
                </a:cubicBezTo>
                <a:cubicBezTo>
                  <a:pt x="454" y="1804"/>
                  <a:pt x="454" y="1804"/>
                  <a:pt x="454" y="1804"/>
                </a:cubicBezTo>
                <a:cubicBezTo>
                  <a:pt x="452" y="1806"/>
                  <a:pt x="450" y="1807"/>
                  <a:pt x="448" y="1808"/>
                </a:cubicBezTo>
                <a:cubicBezTo>
                  <a:pt x="447" y="1809"/>
                  <a:pt x="445" y="1810"/>
                  <a:pt x="443" y="1811"/>
                </a:cubicBezTo>
                <a:cubicBezTo>
                  <a:pt x="441" y="1811"/>
                  <a:pt x="440" y="1812"/>
                  <a:pt x="437" y="1813"/>
                </a:cubicBezTo>
                <a:cubicBezTo>
                  <a:pt x="436" y="1814"/>
                  <a:pt x="434" y="1814"/>
                  <a:pt x="432" y="1815"/>
                </a:cubicBezTo>
                <a:cubicBezTo>
                  <a:pt x="432" y="1815"/>
                  <a:pt x="432" y="1815"/>
                  <a:pt x="432" y="1825"/>
                </a:cubicBezTo>
                <a:cubicBezTo>
                  <a:pt x="435" y="1824"/>
                  <a:pt x="438" y="1823"/>
                  <a:pt x="440" y="1822"/>
                </a:cubicBezTo>
                <a:cubicBezTo>
                  <a:pt x="442" y="1822"/>
                  <a:pt x="445" y="1820"/>
                  <a:pt x="447" y="1819"/>
                </a:cubicBezTo>
                <a:cubicBezTo>
                  <a:pt x="447" y="1819"/>
                  <a:pt x="447" y="1819"/>
                  <a:pt x="447" y="1877"/>
                </a:cubicBezTo>
                <a:cubicBezTo>
                  <a:pt x="447" y="1877"/>
                  <a:pt x="447" y="1877"/>
                  <a:pt x="458" y="1877"/>
                </a:cubicBezTo>
                <a:cubicBezTo>
                  <a:pt x="458" y="1877"/>
                  <a:pt x="458" y="1877"/>
                  <a:pt x="458" y="1804"/>
                </a:cubicBezTo>
                <a:close/>
                <a:moveTo>
                  <a:pt x="24" y="1877"/>
                </a:moveTo>
                <a:cubicBezTo>
                  <a:pt x="17" y="1877"/>
                  <a:pt x="10" y="1874"/>
                  <a:pt x="6" y="1868"/>
                </a:cubicBezTo>
                <a:cubicBezTo>
                  <a:pt x="2" y="1862"/>
                  <a:pt x="0" y="1853"/>
                  <a:pt x="0" y="1841"/>
                </a:cubicBezTo>
                <a:cubicBezTo>
                  <a:pt x="0" y="1828"/>
                  <a:pt x="2" y="1818"/>
                  <a:pt x="6" y="1812"/>
                </a:cubicBezTo>
                <a:cubicBezTo>
                  <a:pt x="11" y="1805"/>
                  <a:pt x="17" y="1801"/>
                  <a:pt x="26" y="1801"/>
                </a:cubicBezTo>
                <a:cubicBezTo>
                  <a:pt x="42" y="1801"/>
                  <a:pt x="50" y="1814"/>
                  <a:pt x="50" y="1839"/>
                </a:cubicBezTo>
                <a:cubicBezTo>
                  <a:pt x="50" y="1852"/>
                  <a:pt x="48" y="1861"/>
                  <a:pt x="44" y="1868"/>
                </a:cubicBezTo>
                <a:cubicBezTo>
                  <a:pt x="39" y="1874"/>
                  <a:pt x="33" y="1877"/>
                  <a:pt x="24" y="1877"/>
                </a:cubicBezTo>
                <a:close/>
                <a:moveTo>
                  <a:pt x="25" y="1811"/>
                </a:moveTo>
                <a:cubicBezTo>
                  <a:pt x="17" y="1811"/>
                  <a:pt x="12" y="1821"/>
                  <a:pt x="12" y="1841"/>
                </a:cubicBezTo>
                <a:cubicBezTo>
                  <a:pt x="12" y="1859"/>
                  <a:pt x="16" y="1868"/>
                  <a:pt x="25" y="1868"/>
                </a:cubicBezTo>
                <a:cubicBezTo>
                  <a:pt x="33" y="1868"/>
                  <a:pt x="38" y="1859"/>
                  <a:pt x="38" y="1840"/>
                </a:cubicBezTo>
                <a:cubicBezTo>
                  <a:pt x="38" y="1820"/>
                  <a:pt x="33" y="1811"/>
                  <a:pt x="25" y="1811"/>
                </a:cubicBezTo>
                <a:close/>
                <a:moveTo>
                  <a:pt x="85" y="1804"/>
                </a:moveTo>
                <a:cubicBezTo>
                  <a:pt x="85" y="1804"/>
                  <a:pt x="85" y="1804"/>
                  <a:pt x="85" y="1804"/>
                </a:cubicBezTo>
                <a:cubicBezTo>
                  <a:pt x="80" y="1804"/>
                  <a:pt x="80" y="1804"/>
                  <a:pt x="80" y="1804"/>
                </a:cubicBezTo>
                <a:cubicBezTo>
                  <a:pt x="78" y="1806"/>
                  <a:pt x="76" y="1807"/>
                  <a:pt x="74" y="1808"/>
                </a:cubicBezTo>
                <a:cubicBezTo>
                  <a:pt x="73" y="1809"/>
                  <a:pt x="71" y="1810"/>
                  <a:pt x="69" y="1811"/>
                </a:cubicBezTo>
                <a:cubicBezTo>
                  <a:pt x="68" y="1812"/>
                  <a:pt x="65" y="1813"/>
                  <a:pt x="64" y="1814"/>
                </a:cubicBezTo>
                <a:cubicBezTo>
                  <a:pt x="62" y="1814"/>
                  <a:pt x="60" y="1815"/>
                  <a:pt x="58" y="1815"/>
                </a:cubicBezTo>
                <a:cubicBezTo>
                  <a:pt x="58" y="1815"/>
                  <a:pt x="58" y="1815"/>
                  <a:pt x="58" y="1825"/>
                </a:cubicBezTo>
                <a:cubicBezTo>
                  <a:pt x="61" y="1824"/>
                  <a:pt x="64" y="1824"/>
                  <a:pt x="67" y="1822"/>
                </a:cubicBezTo>
                <a:cubicBezTo>
                  <a:pt x="69" y="1822"/>
                  <a:pt x="71" y="1820"/>
                  <a:pt x="73" y="1819"/>
                </a:cubicBezTo>
                <a:cubicBezTo>
                  <a:pt x="73" y="1819"/>
                  <a:pt x="73" y="1819"/>
                  <a:pt x="73" y="1877"/>
                </a:cubicBezTo>
                <a:cubicBezTo>
                  <a:pt x="73" y="1877"/>
                  <a:pt x="73" y="1877"/>
                  <a:pt x="85" y="1877"/>
                </a:cubicBezTo>
                <a:cubicBezTo>
                  <a:pt x="85" y="1877"/>
                  <a:pt x="85" y="1877"/>
                  <a:pt x="85" y="1804"/>
                </a:cubicBezTo>
                <a:close/>
                <a:moveTo>
                  <a:pt x="132" y="1804"/>
                </a:moveTo>
                <a:cubicBezTo>
                  <a:pt x="132" y="1804"/>
                  <a:pt x="132" y="1804"/>
                  <a:pt x="132" y="1804"/>
                </a:cubicBezTo>
                <a:cubicBezTo>
                  <a:pt x="127" y="1804"/>
                  <a:pt x="127" y="1804"/>
                  <a:pt x="127" y="1804"/>
                </a:cubicBezTo>
                <a:cubicBezTo>
                  <a:pt x="125" y="1806"/>
                  <a:pt x="123" y="1807"/>
                  <a:pt x="121" y="1808"/>
                </a:cubicBezTo>
                <a:cubicBezTo>
                  <a:pt x="120" y="1809"/>
                  <a:pt x="117" y="1810"/>
                  <a:pt x="116" y="1811"/>
                </a:cubicBezTo>
                <a:cubicBezTo>
                  <a:pt x="114" y="1812"/>
                  <a:pt x="112" y="1813"/>
                  <a:pt x="111" y="1814"/>
                </a:cubicBezTo>
                <a:cubicBezTo>
                  <a:pt x="109" y="1814"/>
                  <a:pt x="107" y="1815"/>
                  <a:pt x="105" y="1815"/>
                </a:cubicBezTo>
                <a:cubicBezTo>
                  <a:pt x="105" y="1815"/>
                  <a:pt x="105" y="1815"/>
                  <a:pt x="105" y="1825"/>
                </a:cubicBezTo>
                <a:cubicBezTo>
                  <a:pt x="108" y="1824"/>
                  <a:pt x="111" y="1824"/>
                  <a:pt x="113" y="1822"/>
                </a:cubicBezTo>
                <a:cubicBezTo>
                  <a:pt x="116" y="1822"/>
                  <a:pt x="118" y="1820"/>
                  <a:pt x="120" y="1819"/>
                </a:cubicBezTo>
                <a:cubicBezTo>
                  <a:pt x="120" y="1819"/>
                  <a:pt x="120" y="1819"/>
                  <a:pt x="120" y="1877"/>
                </a:cubicBezTo>
                <a:cubicBezTo>
                  <a:pt x="120" y="1877"/>
                  <a:pt x="120" y="1877"/>
                  <a:pt x="132" y="1877"/>
                </a:cubicBezTo>
                <a:cubicBezTo>
                  <a:pt x="132" y="1877"/>
                  <a:pt x="132" y="1877"/>
                  <a:pt x="132" y="1804"/>
                </a:cubicBezTo>
                <a:close/>
                <a:moveTo>
                  <a:pt x="178" y="1804"/>
                </a:moveTo>
                <a:cubicBezTo>
                  <a:pt x="178" y="1804"/>
                  <a:pt x="178" y="1804"/>
                  <a:pt x="178" y="1804"/>
                </a:cubicBezTo>
                <a:cubicBezTo>
                  <a:pt x="174" y="1804"/>
                  <a:pt x="174" y="1804"/>
                  <a:pt x="174" y="1804"/>
                </a:cubicBezTo>
                <a:cubicBezTo>
                  <a:pt x="171" y="1806"/>
                  <a:pt x="170" y="1807"/>
                  <a:pt x="168" y="1808"/>
                </a:cubicBezTo>
                <a:cubicBezTo>
                  <a:pt x="166" y="1809"/>
                  <a:pt x="164" y="1810"/>
                  <a:pt x="163" y="1811"/>
                </a:cubicBezTo>
                <a:cubicBezTo>
                  <a:pt x="161" y="1811"/>
                  <a:pt x="159" y="1812"/>
                  <a:pt x="157" y="1813"/>
                </a:cubicBezTo>
                <a:cubicBezTo>
                  <a:pt x="156" y="1814"/>
                  <a:pt x="153" y="1814"/>
                  <a:pt x="152" y="1815"/>
                </a:cubicBezTo>
                <a:cubicBezTo>
                  <a:pt x="152" y="1815"/>
                  <a:pt x="152" y="1815"/>
                  <a:pt x="152" y="1825"/>
                </a:cubicBezTo>
                <a:cubicBezTo>
                  <a:pt x="155" y="1824"/>
                  <a:pt x="158" y="1823"/>
                  <a:pt x="160" y="1822"/>
                </a:cubicBezTo>
                <a:cubicBezTo>
                  <a:pt x="162" y="1822"/>
                  <a:pt x="165" y="1820"/>
                  <a:pt x="166" y="1819"/>
                </a:cubicBezTo>
                <a:cubicBezTo>
                  <a:pt x="166" y="1819"/>
                  <a:pt x="166" y="1819"/>
                  <a:pt x="166" y="1877"/>
                </a:cubicBezTo>
                <a:cubicBezTo>
                  <a:pt x="166" y="1877"/>
                  <a:pt x="166" y="1877"/>
                  <a:pt x="178" y="1877"/>
                </a:cubicBezTo>
                <a:cubicBezTo>
                  <a:pt x="178" y="1877"/>
                  <a:pt x="178" y="1877"/>
                  <a:pt x="178" y="1804"/>
                </a:cubicBezTo>
                <a:close/>
                <a:moveTo>
                  <a:pt x="24" y="2177"/>
                </a:moveTo>
                <a:cubicBezTo>
                  <a:pt x="17" y="2177"/>
                  <a:pt x="10" y="2174"/>
                  <a:pt x="6" y="2168"/>
                </a:cubicBezTo>
                <a:cubicBezTo>
                  <a:pt x="2" y="2162"/>
                  <a:pt x="0" y="2153"/>
                  <a:pt x="0" y="2141"/>
                </a:cubicBezTo>
                <a:cubicBezTo>
                  <a:pt x="0" y="2128"/>
                  <a:pt x="2" y="2118"/>
                  <a:pt x="6" y="2112"/>
                </a:cubicBezTo>
                <a:cubicBezTo>
                  <a:pt x="11" y="2105"/>
                  <a:pt x="17" y="2101"/>
                  <a:pt x="26" y="2101"/>
                </a:cubicBezTo>
                <a:cubicBezTo>
                  <a:pt x="42" y="2101"/>
                  <a:pt x="50" y="2114"/>
                  <a:pt x="50" y="2139"/>
                </a:cubicBezTo>
                <a:cubicBezTo>
                  <a:pt x="50" y="2152"/>
                  <a:pt x="48" y="2161"/>
                  <a:pt x="44" y="2168"/>
                </a:cubicBezTo>
                <a:cubicBezTo>
                  <a:pt x="39" y="2174"/>
                  <a:pt x="33" y="2177"/>
                  <a:pt x="24" y="2177"/>
                </a:cubicBezTo>
                <a:close/>
                <a:moveTo>
                  <a:pt x="25" y="2111"/>
                </a:moveTo>
                <a:cubicBezTo>
                  <a:pt x="17" y="2111"/>
                  <a:pt x="12" y="2121"/>
                  <a:pt x="12" y="2141"/>
                </a:cubicBezTo>
                <a:cubicBezTo>
                  <a:pt x="12" y="2159"/>
                  <a:pt x="16" y="2168"/>
                  <a:pt x="25" y="2168"/>
                </a:cubicBezTo>
                <a:cubicBezTo>
                  <a:pt x="33" y="2168"/>
                  <a:pt x="38" y="2159"/>
                  <a:pt x="38" y="2140"/>
                </a:cubicBezTo>
                <a:cubicBezTo>
                  <a:pt x="38" y="2120"/>
                  <a:pt x="33" y="2111"/>
                  <a:pt x="25" y="2111"/>
                </a:cubicBezTo>
                <a:close/>
                <a:moveTo>
                  <a:pt x="26" y="2082"/>
                </a:moveTo>
                <a:cubicBezTo>
                  <a:pt x="19" y="2082"/>
                  <a:pt x="12" y="2079"/>
                  <a:pt x="8" y="2073"/>
                </a:cubicBezTo>
                <a:cubicBezTo>
                  <a:pt x="4" y="2067"/>
                  <a:pt x="2" y="2058"/>
                  <a:pt x="2" y="2045"/>
                </a:cubicBezTo>
                <a:cubicBezTo>
                  <a:pt x="2" y="2032"/>
                  <a:pt x="4" y="2023"/>
                  <a:pt x="8" y="2016"/>
                </a:cubicBezTo>
                <a:cubicBezTo>
                  <a:pt x="13" y="2009"/>
                  <a:pt x="19" y="2006"/>
                  <a:pt x="28" y="2006"/>
                </a:cubicBezTo>
                <a:cubicBezTo>
                  <a:pt x="44" y="2006"/>
                  <a:pt x="52" y="2018"/>
                  <a:pt x="52" y="2044"/>
                </a:cubicBezTo>
                <a:cubicBezTo>
                  <a:pt x="52" y="2056"/>
                  <a:pt x="50" y="2066"/>
                  <a:pt x="46" y="2073"/>
                </a:cubicBezTo>
                <a:cubicBezTo>
                  <a:pt x="40" y="2079"/>
                  <a:pt x="35" y="2082"/>
                  <a:pt x="26" y="2082"/>
                </a:cubicBezTo>
                <a:close/>
                <a:moveTo>
                  <a:pt x="27" y="2015"/>
                </a:moveTo>
                <a:cubicBezTo>
                  <a:pt x="19" y="2015"/>
                  <a:pt x="13" y="2026"/>
                  <a:pt x="13" y="2045"/>
                </a:cubicBezTo>
                <a:cubicBezTo>
                  <a:pt x="13" y="2064"/>
                  <a:pt x="18" y="2073"/>
                  <a:pt x="27" y="2073"/>
                </a:cubicBezTo>
                <a:cubicBezTo>
                  <a:pt x="35" y="2073"/>
                  <a:pt x="40" y="2064"/>
                  <a:pt x="40" y="2045"/>
                </a:cubicBezTo>
                <a:cubicBezTo>
                  <a:pt x="40" y="2025"/>
                  <a:pt x="35" y="2015"/>
                  <a:pt x="27" y="2015"/>
                </a:cubicBezTo>
                <a:close/>
                <a:moveTo>
                  <a:pt x="93" y="1770"/>
                </a:moveTo>
                <a:cubicBezTo>
                  <a:pt x="85" y="1770"/>
                  <a:pt x="79" y="1767"/>
                  <a:pt x="74" y="1761"/>
                </a:cubicBezTo>
                <a:cubicBezTo>
                  <a:pt x="71" y="1755"/>
                  <a:pt x="68" y="1746"/>
                  <a:pt x="68" y="1733"/>
                </a:cubicBezTo>
                <a:cubicBezTo>
                  <a:pt x="68" y="1720"/>
                  <a:pt x="71" y="1711"/>
                  <a:pt x="75" y="1704"/>
                </a:cubicBezTo>
                <a:cubicBezTo>
                  <a:pt x="80" y="1697"/>
                  <a:pt x="86" y="1694"/>
                  <a:pt x="95" y="1694"/>
                </a:cubicBezTo>
                <a:cubicBezTo>
                  <a:pt x="111" y="1694"/>
                  <a:pt x="119" y="1706"/>
                  <a:pt x="119" y="1732"/>
                </a:cubicBezTo>
                <a:cubicBezTo>
                  <a:pt x="119" y="1744"/>
                  <a:pt x="117" y="1754"/>
                  <a:pt x="112" y="1761"/>
                </a:cubicBezTo>
                <a:cubicBezTo>
                  <a:pt x="108" y="1767"/>
                  <a:pt x="101" y="1770"/>
                  <a:pt x="93" y="1770"/>
                </a:cubicBezTo>
                <a:close/>
                <a:moveTo>
                  <a:pt x="94" y="1703"/>
                </a:moveTo>
                <a:cubicBezTo>
                  <a:pt x="85" y="1703"/>
                  <a:pt x="80" y="1714"/>
                  <a:pt x="80" y="1733"/>
                </a:cubicBezTo>
                <a:cubicBezTo>
                  <a:pt x="80" y="1752"/>
                  <a:pt x="85" y="1761"/>
                  <a:pt x="94" y="1761"/>
                </a:cubicBezTo>
                <a:cubicBezTo>
                  <a:pt x="102" y="1761"/>
                  <a:pt x="107" y="1752"/>
                  <a:pt x="107" y="1733"/>
                </a:cubicBezTo>
                <a:cubicBezTo>
                  <a:pt x="107" y="1713"/>
                  <a:pt x="102" y="1703"/>
                  <a:pt x="94" y="1703"/>
                </a:cubicBezTo>
                <a:close/>
                <a:moveTo>
                  <a:pt x="167" y="1697"/>
                </a:moveTo>
                <a:cubicBezTo>
                  <a:pt x="167" y="1697"/>
                  <a:pt x="167" y="1697"/>
                  <a:pt x="167" y="1697"/>
                </a:cubicBezTo>
                <a:cubicBezTo>
                  <a:pt x="162" y="1697"/>
                  <a:pt x="162" y="1697"/>
                  <a:pt x="162" y="1697"/>
                </a:cubicBezTo>
                <a:cubicBezTo>
                  <a:pt x="159" y="1698"/>
                  <a:pt x="158" y="1700"/>
                  <a:pt x="156" y="1700"/>
                </a:cubicBezTo>
                <a:cubicBezTo>
                  <a:pt x="154" y="1702"/>
                  <a:pt x="152" y="1702"/>
                  <a:pt x="151" y="1703"/>
                </a:cubicBezTo>
                <a:cubicBezTo>
                  <a:pt x="148" y="1704"/>
                  <a:pt x="147" y="1705"/>
                  <a:pt x="145" y="1705"/>
                </a:cubicBezTo>
                <a:cubicBezTo>
                  <a:pt x="143" y="1706"/>
                  <a:pt x="142" y="1707"/>
                  <a:pt x="140" y="1708"/>
                </a:cubicBezTo>
                <a:cubicBezTo>
                  <a:pt x="140" y="1708"/>
                  <a:pt x="140" y="1708"/>
                  <a:pt x="140" y="1718"/>
                </a:cubicBezTo>
                <a:cubicBezTo>
                  <a:pt x="142" y="1717"/>
                  <a:pt x="145" y="1716"/>
                  <a:pt x="148" y="1715"/>
                </a:cubicBezTo>
                <a:cubicBezTo>
                  <a:pt x="151" y="1714"/>
                  <a:pt x="153" y="1713"/>
                  <a:pt x="155" y="1711"/>
                </a:cubicBezTo>
                <a:cubicBezTo>
                  <a:pt x="155" y="1711"/>
                  <a:pt x="155" y="1711"/>
                  <a:pt x="155" y="1770"/>
                </a:cubicBezTo>
                <a:cubicBezTo>
                  <a:pt x="155" y="1770"/>
                  <a:pt x="155" y="1770"/>
                  <a:pt x="167" y="1770"/>
                </a:cubicBezTo>
                <a:cubicBezTo>
                  <a:pt x="167" y="1770"/>
                  <a:pt x="167" y="1770"/>
                  <a:pt x="167" y="1697"/>
                </a:cubicBezTo>
                <a:close/>
                <a:moveTo>
                  <a:pt x="214" y="1697"/>
                </a:moveTo>
                <a:cubicBezTo>
                  <a:pt x="214" y="1697"/>
                  <a:pt x="214" y="1697"/>
                  <a:pt x="214" y="1697"/>
                </a:cubicBezTo>
                <a:cubicBezTo>
                  <a:pt x="209" y="1697"/>
                  <a:pt x="209" y="1697"/>
                  <a:pt x="209" y="1697"/>
                </a:cubicBezTo>
                <a:cubicBezTo>
                  <a:pt x="207" y="1698"/>
                  <a:pt x="205" y="1700"/>
                  <a:pt x="203" y="1700"/>
                </a:cubicBezTo>
                <a:cubicBezTo>
                  <a:pt x="202" y="1702"/>
                  <a:pt x="199" y="1702"/>
                  <a:pt x="198" y="1703"/>
                </a:cubicBezTo>
                <a:cubicBezTo>
                  <a:pt x="196" y="1705"/>
                  <a:pt x="194" y="1705"/>
                  <a:pt x="193" y="1706"/>
                </a:cubicBezTo>
                <a:cubicBezTo>
                  <a:pt x="191" y="1707"/>
                  <a:pt x="189" y="1708"/>
                  <a:pt x="187" y="1708"/>
                </a:cubicBezTo>
                <a:cubicBezTo>
                  <a:pt x="187" y="1708"/>
                  <a:pt x="187" y="1708"/>
                  <a:pt x="187" y="1718"/>
                </a:cubicBezTo>
                <a:cubicBezTo>
                  <a:pt x="190" y="1717"/>
                  <a:pt x="193" y="1716"/>
                  <a:pt x="195" y="1715"/>
                </a:cubicBezTo>
                <a:cubicBezTo>
                  <a:pt x="198" y="1714"/>
                  <a:pt x="200" y="1713"/>
                  <a:pt x="202" y="1711"/>
                </a:cubicBezTo>
                <a:cubicBezTo>
                  <a:pt x="202" y="1711"/>
                  <a:pt x="202" y="1711"/>
                  <a:pt x="202" y="1770"/>
                </a:cubicBezTo>
                <a:cubicBezTo>
                  <a:pt x="202" y="1770"/>
                  <a:pt x="202" y="1770"/>
                  <a:pt x="214" y="1770"/>
                </a:cubicBezTo>
                <a:cubicBezTo>
                  <a:pt x="214" y="1770"/>
                  <a:pt x="214" y="1770"/>
                  <a:pt x="214" y="1697"/>
                </a:cubicBezTo>
                <a:close/>
                <a:moveTo>
                  <a:pt x="260" y="1697"/>
                </a:moveTo>
                <a:cubicBezTo>
                  <a:pt x="260" y="1697"/>
                  <a:pt x="260" y="1697"/>
                  <a:pt x="260" y="1697"/>
                </a:cubicBezTo>
                <a:cubicBezTo>
                  <a:pt x="256" y="1697"/>
                  <a:pt x="256" y="1697"/>
                  <a:pt x="256" y="1697"/>
                </a:cubicBezTo>
                <a:cubicBezTo>
                  <a:pt x="254" y="1698"/>
                  <a:pt x="252" y="1700"/>
                  <a:pt x="250" y="1700"/>
                </a:cubicBezTo>
                <a:cubicBezTo>
                  <a:pt x="248" y="1702"/>
                  <a:pt x="246" y="1702"/>
                  <a:pt x="245" y="1703"/>
                </a:cubicBezTo>
                <a:cubicBezTo>
                  <a:pt x="243" y="1705"/>
                  <a:pt x="241" y="1705"/>
                  <a:pt x="239" y="1706"/>
                </a:cubicBezTo>
                <a:cubicBezTo>
                  <a:pt x="238" y="1707"/>
                  <a:pt x="236" y="1708"/>
                  <a:pt x="234" y="1708"/>
                </a:cubicBezTo>
                <a:cubicBezTo>
                  <a:pt x="234" y="1708"/>
                  <a:pt x="234" y="1708"/>
                  <a:pt x="234" y="1718"/>
                </a:cubicBezTo>
                <a:cubicBezTo>
                  <a:pt x="237" y="1717"/>
                  <a:pt x="240" y="1716"/>
                  <a:pt x="242" y="1715"/>
                </a:cubicBezTo>
                <a:cubicBezTo>
                  <a:pt x="244" y="1714"/>
                  <a:pt x="247" y="1713"/>
                  <a:pt x="248" y="1711"/>
                </a:cubicBezTo>
                <a:cubicBezTo>
                  <a:pt x="248" y="1711"/>
                  <a:pt x="248" y="1711"/>
                  <a:pt x="248" y="1770"/>
                </a:cubicBezTo>
                <a:cubicBezTo>
                  <a:pt x="248" y="1770"/>
                  <a:pt x="248" y="1770"/>
                  <a:pt x="260" y="1770"/>
                </a:cubicBezTo>
                <a:cubicBezTo>
                  <a:pt x="260" y="1770"/>
                  <a:pt x="260" y="1770"/>
                  <a:pt x="260" y="1697"/>
                </a:cubicBezTo>
                <a:close/>
                <a:moveTo>
                  <a:pt x="308" y="1697"/>
                </a:moveTo>
                <a:cubicBezTo>
                  <a:pt x="308" y="1697"/>
                  <a:pt x="308" y="1697"/>
                  <a:pt x="308" y="1697"/>
                </a:cubicBezTo>
                <a:cubicBezTo>
                  <a:pt x="302" y="1697"/>
                  <a:pt x="302" y="1697"/>
                  <a:pt x="302" y="1697"/>
                </a:cubicBezTo>
                <a:cubicBezTo>
                  <a:pt x="300" y="1698"/>
                  <a:pt x="299" y="1700"/>
                  <a:pt x="297" y="1700"/>
                </a:cubicBezTo>
                <a:cubicBezTo>
                  <a:pt x="295" y="1702"/>
                  <a:pt x="294" y="1702"/>
                  <a:pt x="292" y="1703"/>
                </a:cubicBezTo>
                <a:cubicBezTo>
                  <a:pt x="290" y="1705"/>
                  <a:pt x="288" y="1705"/>
                  <a:pt x="286" y="1706"/>
                </a:cubicBezTo>
                <a:cubicBezTo>
                  <a:pt x="284" y="1707"/>
                  <a:pt x="283" y="1708"/>
                  <a:pt x="281" y="1708"/>
                </a:cubicBezTo>
                <a:cubicBezTo>
                  <a:pt x="281" y="1708"/>
                  <a:pt x="281" y="1708"/>
                  <a:pt x="281" y="1718"/>
                </a:cubicBezTo>
                <a:cubicBezTo>
                  <a:pt x="284" y="1717"/>
                  <a:pt x="286" y="1716"/>
                  <a:pt x="289" y="1715"/>
                </a:cubicBezTo>
                <a:cubicBezTo>
                  <a:pt x="292" y="1714"/>
                  <a:pt x="294" y="1713"/>
                  <a:pt x="296" y="1711"/>
                </a:cubicBezTo>
                <a:cubicBezTo>
                  <a:pt x="296" y="1711"/>
                  <a:pt x="296" y="1711"/>
                  <a:pt x="296" y="1770"/>
                </a:cubicBezTo>
                <a:cubicBezTo>
                  <a:pt x="296" y="1770"/>
                  <a:pt x="296" y="1770"/>
                  <a:pt x="308" y="1770"/>
                </a:cubicBezTo>
                <a:cubicBezTo>
                  <a:pt x="308" y="1770"/>
                  <a:pt x="308" y="1770"/>
                  <a:pt x="308" y="1697"/>
                </a:cubicBezTo>
                <a:close/>
                <a:moveTo>
                  <a:pt x="431" y="1697"/>
                </a:moveTo>
                <a:cubicBezTo>
                  <a:pt x="431" y="1697"/>
                  <a:pt x="431" y="1697"/>
                  <a:pt x="431" y="1697"/>
                </a:cubicBezTo>
                <a:cubicBezTo>
                  <a:pt x="426" y="1697"/>
                  <a:pt x="426" y="1697"/>
                  <a:pt x="426" y="1697"/>
                </a:cubicBezTo>
                <a:cubicBezTo>
                  <a:pt x="423" y="1698"/>
                  <a:pt x="422" y="1700"/>
                  <a:pt x="420" y="1700"/>
                </a:cubicBezTo>
                <a:cubicBezTo>
                  <a:pt x="418" y="1702"/>
                  <a:pt x="417" y="1702"/>
                  <a:pt x="415" y="1703"/>
                </a:cubicBezTo>
                <a:cubicBezTo>
                  <a:pt x="413" y="1705"/>
                  <a:pt x="411" y="1705"/>
                  <a:pt x="409" y="1706"/>
                </a:cubicBezTo>
                <a:cubicBezTo>
                  <a:pt x="407" y="1707"/>
                  <a:pt x="406" y="1708"/>
                  <a:pt x="404" y="1708"/>
                </a:cubicBezTo>
                <a:cubicBezTo>
                  <a:pt x="404" y="1708"/>
                  <a:pt x="404" y="1708"/>
                  <a:pt x="404" y="1718"/>
                </a:cubicBezTo>
                <a:cubicBezTo>
                  <a:pt x="406" y="1717"/>
                  <a:pt x="409" y="1716"/>
                  <a:pt x="412" y="1715"/>
                </a:cubicBezTo>
                <a:cubicBezTo>
                  <a:pt x="415" y="1714"/>
                  <a:pt x="417" y="1713"/>
                  <a:pt x="419" y="1711"/>
                </a:cubicBezTo>
                <a:cubicBezTo>
                  <a:pt x="419" y="1711"/>
                  <a:pt x="419" y="1711"/>
                  <a:pt x="419" y="1770"/>
                </a:cubicBezTo>
                <a:cubicBezTo>
                  <a:pt x="419" y="1770"/>
                  <a:pt x="419" y="1770"/>
                  <a:pt x="431" y="1770"/>
                </a:cubicBezTo>
                <a:cubicBezTo>
                  <a:pt x="431" y="1770"/>
                  <a:pt x="431" y="1770"/>
                  <a:pt x="431" y="1697"/>
                </a:cubicBezTo>
                <a:close/>
                <a:moveTo>
                  <a:pt x="478" y="1697"/>
                </a:moveTo>
                <a:cubicBezTo>
                  <a:pt x="478" y="1697"/>
                  <a:pt x="478" y="1697"/>
                  <a:pt x="478" y="1697"/>
                </a:cubicBezTo>
                <a:cubicBezTo>
                  <a:pt x="473" y="1697"/>
                  <a:pt x="473" y="1697"/>
                  <a:pt x="473" y="1697"/>
                </a:cubicBezTo>
                <a:cubicBezTo>
                  <a:pt x="471" y="1698"/>
                  <a:pt x="470" y="1700"/>
                  <a:pt x="467" y="1700"/>
                </a:cubicBezTo>
                <a:cubicBezTo>
                  <a:pt x="466" y="1702"/>
                  <a:pt x="464" y="1702"/>
                  <a:pt x="462" y="1703"/>
                </a:cubicBezTo>
                <a:cubicBezTo>
                  <a:pt x="461" y="1705"/>
                  <a:pt x="458" y="1705"/>
                  <a:pt x="457" y="1706"/>
                </a:cubicBezTo>
                <a:cubicBezTo>
                  <a:pt x="455" y="1707"/>
                  <a:pt x="453" y="1708"/>
                  <a:pt x="451" y="1708"/>
                </a:cubicBezTo>
                <a:cubicBezTo>
                  <a:pt x="451" y="1708"/>
                  <a:pt x="451" y="1708"/>
                  <a:pt x="451" y="1718"/>
                </a:cubicBezTo>
                <a:cubicBezTo>
                  <a:pt x="454" y="1717"/>
                  <a:pt x="457" y="1716"/>
                  <a:pt x="459" y="1715"/>
                </a:cubicBezTo>
                <a:cubicBezTo>
                  <a:pt x="462" y="1714"/>
                  <a:pt x="464" y="1713"/>
                  <a:pt x="467" y="1711"/>
                </a:cubicBezTo>
                <a:cubicBezTo>
                  <a:pt x="467" y="1711"/>
                  <a:pt x="467" y="1711"/>
                  <a:pt x="467" y="1770"/>
                </a:cubicBezTo>
                <a:cubicBezTo>
                  <a:pt x="467" y="1770"/>
                  <a:pt x="467" y="1770"/>
                  <a:pt x="478" y="1770"/>
                </a:cubicBezTo>
                <a:cubicBezTo>
                  <a:pt x="478" y="1770"/>
                  <a:pt x="478" y="1770"/>
                  <a:pt x="478" y="1697"/>
                </a:cubicBezTo>
                <a:close/>
                <a:moveTo>
                  <a:pt x="526" y="1697"/>
                </a:moveTo>
                <a:cubicBezTo>
                  <a:pt x="526" y="1697"/>
                  <a:pt x="526" y="1697"/>
                  <a:pt x="526" y="1697"/>
                </a:cubicBezTo>
                <a:cubicBezTo>
                  <a:pt x="521" y="1697"/>
                  <a:pt x="521" y="1697"/>
                  <a:pt x="521" y="1697"/>
                </a:cubicBezTo>
                <a:cubicBezTo>
                  <a:pt x="519" y="1698"/>
                  <a:pt x="517" y="1700"/>
                  <a:pt x="516" y="1700"/>
                </a:cubicBezTo>
                <a:cubicBezTo>
                  <a:pt x="513" y="1702"/>
                  <a:pt x="512" y="1702"/>
                  <a:pt x="510" y="1703"/>
                </a:cubicBezTo>
                <a:cubicBezTo>
                  <a:pt x="508" y="1705"/>
                  <a:pt x="506" y="1705"/>
                  <a:pt x="504" y="1706"/>
                </a:cubicBezTo>
                <a:cubicBezTo>
                  <a:pt x="502" y="1707"/>
                  <a:pt x="501" y="1708"/>
                  <a:pt x="499" y="1708"/>
                </a:cubicBezTo>
                <a:cubicBezTo>
                  <a:pt x="499" y="1708"/>
                  <a:pt x="499" y="1708"/>
                  <a:pt x="499" y="1718"/>
                </a:cubicBezTo>
                <a:cubicBezTo>
                  <a:pt x="502" y="1717"/>
                  <a:pt x="504" y="1716"/>
                  <a:pt x="507" y="1715"/>
                </a:cubicBezTo>
                <a:cubicBezTo>
                  <a:pt x="510" y="1714"/>
                  <a:pt x="512" y="1713"/>
                  <a:pt x="514" y="1711"/>
                </a:cubicBezTo>
                <a:cubicBezTo>
                  <a:pt x="514" y="1711"/>
                  <a:pt x="514" y="1711"/>
                  <a:pt x="514" y="1770"/>
                </a:cubicBezTo>
                <a:cubicBezTo>
                  <a:pt x="514" y="1770"/>
                  <a:pt x="514" y="1770"/>
                  <a:pt x="526" y="1770"/>
                </a:cubicBezTo>
                <a:cubicBezTo>
                  <a:pt x="526" y="1770"/>
                  <a:pt x="526" y="1770"/>
                  <a:pt x="526" y="1697"/>
                </a:cubicBezTo>
                <a:close/>
                <a:moveTo>
                  <a:pt x="572" y="1697"/>
                </a:moveTo>
                <a:cubicBezTo>
                  <a:pt x="572" y="1697"/>
                  <a:pt x="572" y="1697"/>
                  <a:pt x="572" y="1697"/>
                </a:cubicBezTo>
                <a:cubicBezTo>
                  <a:pt x="568" y="1697"/>
                  <a:pt x="568" y="1697"/>
                  <a:pt x="568" y="1697"/>
                </a:cubicBezTo>
                <a:cubicBezTo>
                  <a:pt x="566" y="1698"/>
                  <a:pt x="564" y="1700"/>
                  <a:pt x="562" y="1700"/>
                </a:cubicBezTo>
                <a:cubicBezTo>
                  <a:pt x="561" y="1702"/>
                  <a:pt x="559" y="1702"/>
                  <a:pt x="557" y="1703"/>
                </a:cubicBezTo>
                <a:cubicBezTo>
                  <a:pt x="555" y="1704"/>
                  <a:pt x="553" y="1705"/>
                  <a:pt x="551" y="1705"/>
                </a:cubicBezTo>
                <a:cubicBezTo>
                  <a:pt x="550" y="1706"/>
                  <a:pt x="548" y="1707"/>
                  <a:pt x="546" y="1708"/>
                </a:cubicBezTo>
                <a:cubicBezTo>
                  <a:pt x="546" y="1708"/>
                  <a:pt x="546" y="1708"/>
                  <a:pt x="546" y="1718"/>
                </a:cubicBezTo>
                <a:cubicBezTo>
                  <a:pt x="549" y="1717"/>
                  <a:pt x="552" y="1716"/>
                  <a:pt x="554" y="1715"/>
                </a:cubicBezTo>
                <a:cubicBezTo>
                  <a:pt x="556" y="1714"/>
                  <a:pt x="559" y="1713"/>
                  <a:pt x="561" y="1711"/>
                </a:cubicBezTo>
                <a:cubicBezTo>
                  <a:pt x="561" y="1711"/>
                  <a:pt x="561" y="1711"/>
                  <a:pt x="561" y="1770"/>
                </a:cubicBezTo>
                <a:cubicBezTo>
                  <a:pt x="561" y="1770"/>
                  <a:pt x="561" y="1770"/>
                  <a:pt x="572" y="1770"/>
                </a:cubicBezTo>
                <a:cubicBezTo>
                  <a:pt x="572" y="1770"/>
                  <a:pt x="572" y="1770"/>
                  <a:pt x="572" y="1697"/>
                </a:cubicBezTo>
                <a:close/>
                <a:moveTo>
                  <a:pt x="329" y="1729"/>
                </a:moveTo>
                <a:cubicBezTo>
                  <a:pt x="329" y="1729"/>
                  <a:pt x="329" y="1729"/>
                  <a:pt x="329" y="1729"/>
                </a:cubicBezTo>
                <a:cubicBezTo>
                  <a:pt x="328" y="1737"/>
                  <a:pt x="328" y="1737"/>
                  <a:pt x="328" y="1737"/>
                </a:cubicBezTo>
                <a:cubicBezTo>
                  <a:pt x="334" y="1738"/>
                  <a:pt x="335" y="1741"/>
                  <a:pt x="335" y="1743"/>
                </a:cubicBezTo>
                <a:cubicBezTo>
                  <a:pt x="335" y="1745"/>
                  <a:pt x="335" y="1748"/>
                  <a:pt x="335" y="1750"/>
                </a:cubicBezTo>
                <a:cubicBezTo>
                  <a:pt x="334" y="1753"/>
                  <a:pt x="334" y="1755"/>
                  <a:pt x="334" y="1757"/>
                </a:cubicBezTo>
                <a:cubicBezTo>
                  <a:pt x="334" y="1767"/>
                  <a:pt x="340" y="1770"/>
                  <a:pt x="348" y="1770"/>
                </a:cubicBezTo>
                <a:cubicBezTo>
                  <a:pt x="348" y="1770"/>
                  <a:pt x="348" y="1770"/>
                  <a:pt x="352" y="1770"/>
                </a:cubicBezTo>
                <a:cubicBezTo>
                  <a:pt x="352" y="1770"/>
                  <a:pt x="352" y="1770"/>
                  <a:pt x="352" y="1761"/>
                </a:cubicBezTo>
                <a:cubicBezTo>
                  <a:pt x="352" y="1761"/>
                  <a:pt x="352" y="1761"/>
                  <a:pt x="351" y="1761"/>
                </a:cubicBezTo>
                <a:cubicBezTo>
                  <a:pt x="347" y="1761"/>
                  <a:pt x="346" y="1759"/>
                  <a:pt x="346" y="1755"/>
                </a:cubicBezTo>
                <a:cubicBezTo>
                  <a:pt x="346" y="1754"/>
                  <a:pt x="346" y="1752"/>
                  <a:pt x="346" y="1750"/>
                </a:cubicBezTo>
                <a:cubicBezTo>
                  <a:pt x="346" y="1749"/>
                  <a:pt x="347" y="1747"/>
                  <a:pt x="347" y="1744"/>
                </a:cubicBezTo>
                <a:cubicBezTo>
                  <a:pt x="347" y="1737"/>
                  <a:pt x="344" y="1734"/>
                  <a:pt x="338" y="1733"/>
                </a:cubicBezTo>
                <a:cubicBezTo>
                  <a:pt x="338" y="1733"/>
                  <a:pt x="338" y="1733"/>
                  <a:pt x="338" y="1733"/>
                </a:cubicBezTo>
                <a:cubicBezTo>
                  <a:pt x="344" y="1732"/>
                  <a:pt x="347" y="1729"/>
                  <a:pt x="347" y="1722"/>
                </a:cubicBezTo>
                <a:cubicBezTo>
                  <a:pt x="347" y="1719"/>
                  <a:pt x="346" y="1717"/>
                  <a:pt x="346" y="1716"/>
                </a:cubicBezTo>
                <a:cubicBezTo>
                  <a:pt x="346" y="1714"/>
                  <a:pt x="346" y="1712"/>
                  <a:pt x="346" y="1711"/>
                </a:cubicBezTo>
                <a:cubicBezTo>
                  <a:pt x="346" y="1707"/>
                  <a:pt x="347" y="1705"/>
                  <a:pt x="351" y="1705"/>
                </a:cubicBezTo>
                <a:cubicBezTo>
                  <a:pt x="351" y="1705"/>
                  <a:pt x="351" y="1705"/>
                  <a:pt x="352" y="1705"/>
                </a:cubicBezTo>
                <a:cubicBezTo>
                  <a:pt x="352" y="1705"/>
                  <a:pt x="352" y="1705"/>
                  <a:pt x="352" y="1696"/>
                </a:cubicBezTo>
                <a:cubicBezTo>
                  <a:pt x="352" y="1696"/>
                  <a:pt x="352" y="1696"/>
                  <a:pt x="348" y="1696"/>
                </a:cubicBezTo>
                <a:cubicBezTo>
                  <a:pt x="340" y="1696"/>
                  <a:pt x="334" y="1700"/>
                  <a:pt x="334" y="1708"/>
                </a:cubicBezTo>
                <a:cubicBezTo>
                  <a:pt x="334" y="1711"/>
                  <a:pt x="334" y="1713"/>
                  <a:pt x="334" y="1716"/>
                </a:cubicBezTo>
                <a:cubicBezTo>
                  <a:pt x="335" y="1718"/>
                  <a:pt x="335" y="1721"/>
                  <a:pt x="335" y="1723"/>
                </a:cubicBezTo>
                <a:cubicBezTo>
                  <a:pt x="335" y="1725"/>
                  <a:pt x="334" y="1729"/>
                  <a:pt x="329" y="1729"/>
                </a:cubicBezTo>
                <a:close/>
                <a:moveTo>
                  <a:pt x="383" y="1737"/>
                </a:moveTo>
                <a:cubicBezTo>
                  <a:pt x="383" y="1737"/>
                  <a:pt x="383" y="1737"/>
                  <a:pt x="383" y="1737"/>
                </a:cubicBezTo>
                <a:cubicBezTo>
                  <a:pt x="383" y="1729"/>
                  <a:pt x="383" y="1729"/>
                  <a:pt x="383" y="1729"/>
                </a:cubicBezTo>
                <a:cubicBezTo>
                  <a:pt x="377" y="1729"/>
                  <a:pt x="377" y="1725"/>
                  <a:pt x="377" y="1723"/>
                </a:cubicBezTo>
                <a:cubicBezTo>
                  <a:pt x="377" y="1721"/>
                  <a:pt x="377" y="1718"/>
                  <a:pt x="377" y="1716"/>
                </a:cubicBezTo>
                <a:cubicBezTo>
                  <a:pt x="377" y="1713"/>
                  <a:pt x="377" y="1711"/>
                  <a:pt x="377" y="1708"/>
                </a:cubicBezTo>
                <a:cubicBezTo>
                  <a:pt x="377" y="1700"/>
                  <a:pt x="372" y="1696"/>
                  <a:pt x="363" y="1696"/>
                </a:cubicBezTo>
                <a:cubicBezTo>
                  <a:pt x="363" y="1696"/>
                  <a:pt x="363" y="1696"/>
                  <a:pt x="359" y="1696"/>
                </a:cubicBezTo>
                <a:cubicBezTo>
                  <a:pt x="359" y="1696"/>
                  <a:pt x="359" y="1696"/>
                  <a:pt x="359" y="1705"/>
                </a:cubicBezTo>
                <a:cubicBezTo>
                  <a:pt x="359" y="1705"/>
                  <a:pt x="359" y="1705"/>
                  <a:pt x="360" y="1705"/>
                </a:cubicBezTo>
                <a:cubicBezTo>
                  <a:pt x="364" y="1705"/>
                  <a:pt x="366" y="1707"/>
                  <a:pt x="366" y="1711"/>
                </a:cubicBezTo>
                <a:cubicBezTo>
                  <a:pt x="366" y="1712"/>
                  <a:pt x="365" y="1714"/>
                  <a:pt x="365" y="1716"/>
                </a:cubicBezTo>
                <a:cubicBezTo>
                  <a:pt x="365" y="1717"/>
                  <a:pt x="365" y="1719"/>
                  <a:pt x="365" y="1722"/>
                </a:cubicBezTo>
                <a:cubicBezTo>
                  <a:pt x="365" y="1729"/>
                  <a:pt x="368" y="1732"/>
                  <a:pt x="374" y="1733"/>
                </a:cubicBezTo>
                <a:cubicBezTo>
                  <a:pt x="374" y="1733"/>
                  <a:pt x="374" y="1733"/>
                  <a:pt x="374" y="1733"/>
                </a:cubicBezTo>
                <a:cubicBezTo>
                  <a:pt x="368" y="1734"/>
                  <a:pt x="365" y="1737"/>
                  <a:pt x="365" y="1744"/>
                </a:cubicBezTo>
                <a:cubicBezTo>
                  <a:pt x="365" y="1747"/>
                  <a:pt x="365" y="1749"/>
                  <a:pt x="365" y="1750"/>
                </a:cubicBezTo>
                <a:cubicBezTo>
                  <a:pt x="365" y="1752"/>
                  <a:pt x="366" y="1754"/>
                  <a:pt x="366" y="1755"/>
                </a:cubicBezTo>
                <a:cubicBezTo>
                  <a:pt x="366" y="1759"/>
                  <a:pt x="365" y="1761"/>
                  <a:pt x="360" y="1761"/>
                </a:cubicBezTo>
                <a:cubicBezTo>
                  <a:pt x="360" y="1761"/>
                  <a:pt x="360" y="1761"/>
                  <a:pt x="359" y="1761"/>
                </a:cubicBezTo>
                <a:cubicBezTo>
                  <a:pt x="359" y="1761"/>
                  <a:pt x="359" y="1761"/>
                  <a:pt x="359" y="1770"/>
                </a:cubicBezTo>
                <a:cubicBezTo>
                  <a:pt x="359" y="1770"/>
                  <a:pt x="359" y="1770"/>
                  <a:pt x="363" y="1770"/>
                </a:cubicBezTo>
                <a:cubicBezTo>
                  <a:pt x="372" y="1770"/>
                  <a:pt x="377" y="1767"/>
                  <a:pt x="377" y="1757"/>
                </a:cubicBezTo>
                <a:cubicBezTo>
                  <a:pt x="377" y="1755"/>
                  <a:pt x="377" y="1753"/>
                  <a:pt x="377" y="1750"/>
                </a:cubicBezTo>
                <a:cubicBezTo>
                  <a:pt x="377" y="1748"/>
                  <a:pt x="377" y="1745"/>
                  <a:pt x="377" y="1743"/>
                </a:cubicBezTo>
                <a:cubicBezTo>
                  <a:pt x="377" y="1741"/>
                  <a:pt x="377" y="1738"/>
                  <a:pt x="383" y="1737"/>
                </a:cubicBezTo>
                <a:close/>
                <a:moveTo>
                  <a:pt x="710" y="1729"/>
                </a:moveTo>
                <a:cubicBezTo>
                  <a:pt x="710" y="1729"/>
                  <a:pt x="710" y="1729"/>
                  <a:pt x="710" y="1729"/>
                </a:cubicBezTo>
                <a:cubicBezTo>
                  <a:pt x="710" y="1737"/>
                  <a:pt x="710" y="1737"/>
                  <a:pt x="710" y="1737"/>
                </a:cubicBezTo>
                <a:cubicBezTo>
                  <a:pt x="716" y="1738"/>
                  <a:pt x="717" y="1741"/>
                  <a:pt x="717" y="1743"/>
                </a:cubicBezTo>
                <a:cubicBezTo>
                  <a:pt x="717" y="1745"/>
                  <a:pt x="716" y="1748"/>
                  <a:pt x="716" y="1750"/>
                </a:cubicBezTo>
                <a:cubicBezTo>
                  <a:pt x="716" y="1753"/>
                  <a:pt x="716" y="1755"/>
                  <a:pt x="716" y="1757"/>
                </a:cubicBezTo>
                <a:cubicBezTo>
                  <a:pt x="716" y="1767"/>
                  <a:pt x="722" y="1770"/>
                  <a:pt x="730" y="1770"/>
                </a:cubicBezTo>
                <a:cubicBezTo>
                  <a:pt x="730" y="1770"/>
                  <a:pt x="730" y="1770"/>
                  <a:pt x="734" y="1770"/>
                </a:cubicBezTo>
                <a:cubicBezTo>
                  <a:pt x="734" y="1770"/>
                  <a:pt x="734" y="1770"/>
                  <a:pt x="734" y="1761"/>
                </a:cubicBezTo>
                <a:cubicBezTo>
                  <a:pt x="734" y="1761"/>
                  <a:pt x="734" y="1761"/>
                  <a:pt x="732" y="1761"/>
                </a:cubicBezTo>
                <a:cubicBezTo>
                  <a:pt x="729" y="1761"/>
                  <a:pt x="727" y="1759"/>
                  <a:pt x="727" y="1755"/>
                </a:cubicBezTo>
                <a:cubicBezTo>
                  <a:pt x="727" y="1754"/>
                  <a:pt x="727" y="1752"/>
                  <a:pt x="728" y="1750"/>
                </a:cubicBezTo>
                <a:cubicBezTo>
                  <a:pt x="728" y="1749"/>
                  <a:pt x="728" y="1747"/>
                  <a:pt x="728" y="1744"/>
                </a:cubicBezTo>
                <a:cubicBezTo>
                  <a:pt x="728" y="1737"/>
                  <a:pt x="725" y="1734"/>
                  <a:pt x="720" y="1733"/>
                </a:cubicBezTo>
                <a:cubicBezTo>
                  <a:pt x="720" y="1733"/>
                  <a:pt x="720" y="1733"/>
                  <a:pt x="720" y="1733"/>
                </a:cubicBezTo>
                <a:cubicBezTo>
                  <a:pt x="725" y="1732"/>
                  <a:pt x="728" y="1729"/>
                  <a:pt x="728" y="1722"/>
                </a:cubicBezTo>
                <a:cubicBezTo>
                  <a:pt x="728" y="1719"/>
                  <a:pt x="728" y="1717"/>
                  <a:pt x="728" y="1716"/>
                </a:cubicBezTo>
                <a:cubicBezTo>
                  <a:pt x="727" y="1714"/>
                  <a:pt x="727" y="1712"/>
                  <a:pt x="727" y="1711"/>
                </a:cubicBezTo>
                <a:cubicBezTo>
                  <a:pt x="727" y="1707"/>
                  <a:pt x="729" y="1705"/>
                  <a:pt x="732" y="1705"/>
                </a:cubicBezTo>
                <a:cubicBezTo>
                  <a:pt x="732" y="1705"/>
                  <a:pt x="732" y="1705"/>
                  <a:pt x="734" y="1705"/>
                </a:cubicBezTo>
                <a:cubicBezTo>
                  <a:pt x="734" y="1705"/>
                  <a:pt x="734" y="1705"/>
                  <a:pt x="734" y="1696"/>
                </a:cubicBezTo>
                <a:cubicBezTo>
                  <a:pt x="734" y="1696"/>
                  <a:pt x="734" y="1696"/>
                  <a:pt x="730" y="1696"/>
                </a:cubicBezTo>
                <a:cubicBezTo>
                  <a:pt x="721" y="1696"/>
                  <a:pt x="716" y="1700"/>
                  <a:pt x="716" y="1708"/>
                </a:cubicBezTo>
                <a:cubicBezTo>
                  <a:pt x="716" y="1711"/>
                  <a:pt x="716" y="1713"/>
                  <a:pt x="716" y="1716"/>
                </a:cubicBezTo>
                <a:cubicBezTo>
                  <a:pt x="716" y="1718"/>
                  <a:pt x="717" y="1721"/>
                  <a:pt x="717" y="1723"/>
                </a:cubicBezTo>
                <a:cubicBezTo>
                  <a:pt x="717" y="1725"/>
                  <a:pt x="716" y="1729"/>
                  <a:pt x="710" y="1729"/>
                </a:cubicBezTo>
                <a:close/>
                <a:moveTo>
                  <a:pt x="765" y="1737"/>
                </a:moveTo>
                <a:cubicBezTo>
                  <a:pt x="765" y="1737"/>
                  <a:pt x="765" y="1737"/>
                  <a:pt x="765" y="1737"/>
                </a:cubicBezTo>
                <a:cubicBezTo>
                  <a:pt x="765" y="1729"/>
                  <a:pt x="765" y="1729"/>
                  <a:pt x="765" y="1729"/>
                </a:cubicBezTo>
                <a:cubicBezTo>
                  <a:pt x="759" y="1729"/>
                  <a:pt x="758" y="1725"/>
                  <a:pt x="758" y="1723"/>
                </a:cubicBezTo>
                <a:cubicBezTo>
                  <a:pt x="758" y="1721"/>
                  <a:pt x="758" y="1718"/>
                  <a:pt x="759" y="1716"/>
                </a:cubicBezTo>
                <a:cubicBezTo>
                  <a:pt x="759" y="1713"/>
                  <a:pt x="759" y="1711"/>
                  <a:pt x="759" y="1708"/>
                </a:cubicBezTo>
                <a:cubicBezTo>
                  <a:pt x="759" y="1700"/>
                  <a:pt x="754" y="1696"/>
                  <a:pt x="745" y="1696"/>
                </a:cubicBezTo>
                <a:cubicBezTo>
                  <a:pt x="745" y="1696"/>
                  <a:pt x="745" y="1696"/>
                  <a:pt x="741" y="1696"/>
                </a:cubicBezTo>
                <a:cubicBezTo>
                  <a:pt x="741" y="1696"/>
                  <a:pt x="741" y="1696"/>
                  <a:pt x="741" y="1705"/>
                </a:cubicBezTo>
                <a:cubicBezTo>
                  <a:pt x="741" y="1705"/>
                  <a:pt x="741" y="1705"/>
                  <a:pt x="742" y="1705"/>
                </a:cubicBezTo>
                <a:cubicBezTo>
                  <a:pt x="746" y="1705"/>
                  <a:pt x="748" y="1707"/>
                  <a:pt x="748" y="1711"/>
                </a:cubicBezTo>
                <a:cubicBezTo>
                  <a:pt x="748" y="1712"/>
                  <a:pt x="747" y="1714"/>
                  <a:pt x="747" y="1716"/>
                </a:cubicBezTo>
                <a:cubicBezTo>
                  <a:pt x="747" y="1717"/>
                  <a:pt x="747" y="1719"/>
                  <a:pt x="747" y="1722"/>
                </a:cubicBezTo>
                <a:cubicBezTo>
                  <a:pt x="747" y="1729"/>
                  <a:pt x="749" y="1732"/>
                  <a:pt x="755" y="1733"/>
                </a:cubicBezTo>
                <a:cubicBezTo>
                  <a:pt x="755" y="1733"/>
                  <a:pt x="755" y="1733"/>
                  <a:pt x="755" y="1733"/>
                </a:cubicBezTo>
                <a:cubicBezTo>
                  <a:pt x="749" y="1734"/>
                  <a:pt x="747" y="1737"/>
                  <a:pt x="747" y="1744"/>
                </a:cubicBezTo>
                <a:cubicBezTo>
                  <a:pt x="747" y="1747"/>
                  <a:pt x="747" y="1749"/>
                  <a:pt x="747" y="1750"/>
                </a:cubicBezTo>
                <a:cubicBezTo>
                  <a:pt x="747" y="1752"/>
                  <a:pt x="748" y="1754"/>
                  <a:pt x="748" y="1755"/>
                </a:cubicBezTo>
                <a:cubicBezTo>
                  <a:pt x="748" y="1759"/>
                  <a:pt x="747" y="1761"/>
                  <a:pt x="742" y="1761"/>
                </a:cubicBezTo>
                <a:cubicBezTo>
                  <a:pt x="742" y="1761"/>
                  <a:pt x="742" y="1761"/>
                  <a:pt x="741" y="1761"/>
                </a:cubicBezTo>
                <a:cubicBezTo>
                  <a:pt x="741" y="1761"/>
                  <a:pt x="741" y="1761"/>
                  <a:pt x="741" y="1770"/>
                </a:cubicBezTo>
                <a:cubicBezTo>
                  <a:pt x="741" y="1770"/>
                  <a:pt x="741" y="1770"/>
                  <a:pt x="745" y="1770"/>
                </a:cubicBezTo>
                <a:cubicBezTo>
                  <a:pt x="754" y="1770"/>
                  <a:pt x="759" y="1767"/>
                  <a:pt x="759" y="1757"/>
                </a:cubicBezTo>
                <a:cubicBezTo>
                  <a:pt x="759" y="1755"/>
                  <a:pt x="759" y="1753"/>
                  <a:pt x="759" y="1750"/>
                </a:cubicBezTo>
                <a:cubicBezTo>
                  <a:pt x="758" y="1748"/>
                  <a:pt x="758" y="1745"/>
                  <a:pt x="758" y="1743"/>
                </a:cubicBezTo>
                <a:cubicBezTo>
                  <a:pt x="758" y="1741"/>
                  <a:pt x="759" y="1738"/>
                  <a:pt x="765" y="1737"/>
                </a:cubicBezTo>
                <a:close/>
                <a:moveTo>
                  <a:pt x="812" y="1697"/>
                </a:moveTo>
                <a:cubicBezTo>
                  <a:pt x="812" y="1697"/>
                  <a:pt x="812" y="1697"/>
                  <a:pt x="812" y="1697"/>
                </a:cubicBezTo>
                <a:cubicBezTo>
                  <a:pt x="807" y="1697"/>
                  <a:pt x="807" y="1697"/>
                  <a:pt x="807" y="1697"/>
                </a:cubicBezTo>
                <a:cubicBezTo>
                  <a:pt x="805" y="1698"/>
                  <a:pt x="804" y="1700"/>
                  <a:pt x="801" y="1700"/>
                </a:cubicBezTo>
                <a:cubicBezTo>
                  <a:pt x="800" y="1702"/>
                  <a:pt x="798" y="1702"/>
                  <a:pt x="796" y="1703"/>
                </a:cubicBezTo>
                <a:cubicBezTo>
                  <a:pt x="794" y="1704"/>
                  <a:pt x="793" y="1705"/>
                  <a:pt x="791" y="1705"/>
                </a:cubicBezTo>
                <a:cubicBezTo>
                  <a:pt x="789" y="1706"/>
                  <a:pt x="787" y="1707"/>
                  <a:pt x="785" y="1708"/>
                </a:cubicBezTo>
                <a:cubicBezTo>
                  <a:pt x="785" y="1708"/>
                  <a:pt x="785" y="1708"/>
                  <a:pt x="785" y="1718"/>
                </a:cubicBezTo>
                <a:cubicBezTo>
                  <a:pt x="788" y="1717"/>
                  <a:pt x="791" y="1716"/>
                  <a:pt x="793" y="1715"/>
                </a:cubicBezTo>
                <a:cubicBezTo>
                  <a:pt x="796" y="1714"/>
                  <a:pt x="798" y="1713"/>
                  <a:pt x="801" y="1711"/>
                </a:cubicBezTo>
                <a:cubicBezTo>
                  <a:pt x="801" y="1711"/>
                  <a:pt x="801" y="1711"/>
                  <a:pt x="801" y="1770"/>
                </a:cubicBezTo>
                <a:cubicBezTo>
                  <a:pt x="801" y="1770"/>
                  <a:pt x="801" y="1770"/>
                  <a:pt x="812" y="1770"/>
                </a:cubicBezTo>
                <a:cubicBezTo>
                  <a:pt x="812" y="1770"/>
                  <a:pt x="812" y="1770"/>
                  <a:pt x="812" y="1697"/>
                </a:cubicBezTo>
                <a:close/>
                <a:moveTo>
                  <a:pt x="860" y="1697"/>
                </a:moveTo>
                <a:cubicBezTo>
                  <a:pt x="860" y="1697"/>
                  <a:pt x="860" y="1697"/>
                  <a:pt x="860" y="1697"/>
                </a:cubicBezTo>
                <a:cubicBezTo>
                  <a:pt x="854" y="1697"/>
                  <a:pt x="854" y="1697"/>
                  <a:pt x="854" y="1697"/>
                </a:cubicBezTo>
                <a:cubicBezTo>
                  <a:pt x="852" y="1698"/>
                  <a:pt x="851" y="1700"/>
                  <a:pt x="849" y="1700"/>
                </a:cubicBezTo>
                <a:cubicBezTo>
                  <a:pt x="847" y="1702"/>
                  <a:pt x="845" y="1702"/>
                  <a:pt x="844" y="1703"/>
                </a:cubicBezTo>
                <a:cubicBezTo>
                  <a:pt x="842" y="1705"/>
                  <a:pt x="840" y="1705"/>
                  <a:pt x="838" y="1706"/>
                </a:cubicBezTo>
                <a:cubicBezTo>
                  <a:pt x="836" y="1707"/>
                  <a:pt x="835" y="1708"/>
                  <a:pt x="833" y="1708"/>
                </a:cubicBezTo>
                <a:cubicBezTo>
                  <a:pt x="833" y="1708"/>
                  <a:pt x="833" y="1708"/>
                  <a:pt x="833" y="1718"/>
                </a:cubicBezTo>
                <a:cubicBezTo>
                  <a:pt x="836" y="1717"/>
                  <a:pt x="838" y="1716"/>
                  <a:pt x="841" y="1715"/>
                </a:cubicBezTo>
                <a:cubicBezTo>
                  <a:pt x="844" y="1714"/>
                  <a:pt x="846" y="1713"/>
                  <a:pt x="848" y="1711"/>
                </a:cubicBezTo>
                <a:cubicBezTo>
                  <a:pt x="848" y="1711"/>
                  <a:pt x="848" y="1711"/>
                  <a:pt x="848" y="1770"/>
                </a:cubicBezTo>
                <a:cubicBezTo>
                  <a:pt x="848" y="1770"/>
                  <a:pt x="848" y="1770"/>
                  <a:pt x="860" y="1770"/>
                </a:cubicBezTo>
                <a:cubicBezTo>
                  <a:pt x="860" y="1770"/>
                  <a:pt x="860" y="1770"/>
                  <a:pt x="860" y="1697"/>
                </a:cubicBezTo>
                <a:close/>
                <a:moveTo>
                  <a:pt x="906" y="1697"/>
                </a:moveTo>
                <a:cubicBezTo>
                  <a:pt x="906" y="1697"/>
                  <a:pt x="906" y="1697"/>
                  <a:pt x="906" y="1697"/>
                </a:cubicBezTo>
                <a:cubicBezTo>
                  <a:pt x="902" y="1697"/>
                  <a:pt x="902" y="1697"/>
                  <a:pt x="902" y="1697"/>
                </a:cubicBezTo>
                <a:cubicBezTo>
                  <a:pt x="899" y="1698"/>
                  <a:pt x="898" y="1700"/>
                  <a:pt x="896" y="1700"/>
                </a:cubicBezTo>
                <a:cubicBezTo>
                  <a:pt x="894" y="1702"/>
                  <a:pt x="892" y="1702"/>
                  <a:pt x="891" y="1703"/>
                </a:cubicBezTo>
                <a:cubicBezTo>
                  <a:pt x="888" y="1705"/>
                  <a:pt x="887" y="1705"/>
                  <a:pt x="885" y="1706"/>
                </a:cubicBezTo>
                <a:cubicBezTo>
                  <a:pt x="883" y="1707"/>
                  <a:pt x="881" y="1708"/>
                  <a:pt x="880" y="1708"/>
                </a:cubicBezTo>
                <a:cubicBezTo>
                  <a:pt x="880" y="1708"/>
                  <a:pt x="880" y="1708"/>
                  <a:pt x="880" y="1718"/>
                </a:cubicBezTo>
                <a:cubicBezTo>
                  <a:pt x="883" y="1717"/>
                  <a:pt x="886" y="1716"/>
                  <a:pt x="888" y="1715"/>
                </a:cubicBezTo>
                <a:cubicBezTo>
                  <a:pt x="890" y="1714"/>
                  <a:pt x="893" y="1713"/>
                  <a:pt x="894" y="1711"/>
                </a:cubicBezTo>
                <a:cubicBezTo>
                  <a:pt x="894" y="1711"/>
                  <a:pt x="894" y="1711"/>
                  <a:pt x="894" y="1770"/>
                </a:cubicBezTo>
                <a:cubicBezTo>
                  <a:pt x="894" y="1770"/>
                  <a:pt x="894" y="1770"/>
                  <a:pt x="906" y="1770"/>
                </a:cubicBezTo>
                <a:cubicBezTo>
                  <a:pt x="906" y="1770"/>
                  <a:pt x="906" y="1770"/>
                  <a:pt x="906" y="1697"/>
                </a:cubicBezTo>
                <a:close/>
                <a:moveTo>
                  <a:pt x="1029" y="1697"/>
                </a:moveTo>
                <a:cubicBezTo>
                  <a:pt x="1029" y="1697"/>
                  <a:pt x="1029" y="1697"/>
                  <a:pt x="1029" y="1697"/>
                </a:cubicBezTo>
                <a:cubicBezTo>
                  <a:pt x="1024" y="1697"/>
                  <a:pt x="1024" y="1697"/>
                  <a:pt x="1024" y="1697"/>
                </a:cubicBezTo>
                <a:cubicBezTo>
                  <a:pt x="1022" y="1698"/>
                  <a:pt x="1020" y="1700"/>
                  <a:pt x="1018" y="1700"/>
                </a:cubicBezTo>
                <a:cubicBezTo>
                  <a:pt x="1016" y="1702"/>
                  <a:pt x="1015" y="1702"/>
                  <a:pt x="1013" y="1703"/>
                </a:cubicBezTo>
                <a:cubicBezTo>
                  <a:pt x="1011" y="1705"/>
                  <a:pt x="1009" y="1705"/>
                  <a:pt x="1008" y="1706"/>
                </a:cubicBezTo>
                <a:cubicBezTo>
                  <a:pt x="1005" y="1707"/>
                  <a:pt x="1004" y="1708"/>
                  <a:pt x="1002" y="1708"/>
                </a:cubicBezTo>
                <a:cubicBezTo>
                  <a:pt x="1002" y="1708"/>
                  <a:pt x="1002" y="1708"/>
                  <a:pt x="1002" y="1718"/>
                </a:cubicBezTo>
                <a:cubicBezTo>
                  <a:pt x="1005" y="1717"/>
                  <a:pt x="1008" y="1716"/>
                  <a:pt x="1010" y="1715"/>
                </a:cubicBezTo>
                <a:cubicBezTo>
                  <a:pt x="1013" y="1714"/>
                  <a:pt x="1015" y="1713"/>
                  <a:pt x="1017" y="1711"/>
                </a:cubicBezTo>
                <a:cubicBezTo>
                  <a:pt x="1017" y="1711"/>
                  <a:pt x="1017" y="1711"/>
                  <a:pt x="1017" y="1770"/>
                </a:cubicBezTo>
                <a:cubicBezTo>
                  <a:pt x="1017" y="1770"/>
                  <a:pt x="1017" y="1770"/>
                  <a:pt x="1029" y="1770"/>
                </a:cubicBezTo>
                <a:cubicBezTo>
                  <a:pt x="1029" y="1770"/>
                  <a:pt x="1029" y="1770"/>
                  <a:pt x="1029" y="1697"/>
                </a:cubicBezTo>
                <a:close/>
                <a:moveTo>
                  <a:pt x="1076" y="1697"/>
                </a:moveTo>
                <a:cubicBezTo>
                  <a:pt x="1076" y="1697"/>
                  <a:pt x="1076" y="1697"/>
                  <a:pt x="1076" y="1697"/>
                </a:cubicBezTo>
                <a:cubicBezTo>
                  <a:pt x="1071" y="1697"/>
                  <a:pt x="1071" y="1697"/>
                  <a:pt x="1071" y="1697"/>
                </a:cubicBezTo>
                <a:cubicBezTo>
                  <a:pt x="1069" y="1698"/>
                  <a:pt x="1068" y="1700"/>
                  <a:pt x="1065" y="1700"/>
                </a:cubicBezTo>
                <a:cubicBezTo>
                  <a:pt x="1064" y="1702"/>
                  <a:pt x="1062" y="1702"/>
                  <a:pt x="1060" y="1703"/>
                </a:cubicBezTo>
                <a:cubicBezTo>
                  <a:pt x="1059" y="1705"/>
                  <a:pt x="1057" y="1705"/>
                  <a:pt x="1055" y="1706"/>
                </a:cubicBezTo>
                <a:cubicBezTo>
                  <a:pt x="1053" y="1707"/>
                  <a:pt x="1051" y="1708"/>
                  <a:pt x="1049" y="1708"/>
                </a:cubicBezTo>
                <a:cubicBezTo>
                  <a:pt x="1049" y="1708"/>
                  <a:pt x="1049" y="1708"/>
                  <a:pt x="1049" y="1718"/>
                </a:cubicBezTo>
                <a:cubicBezTo>
                  <a:pt x="1052" y="1717"/>
                  <a:pt x="1055" y="1716"/>
                  <a:pt x="1057" y="1715"/>
                </a:cubicBezTo>
                <a:cubicBezTo>
                  <a:pt x="1060" y="1714"/>
                  <a:pt x="1062" y="1713"/>
                  <a:pt x="1065" y="1711"/>
                </a:cubicBezTo>
                <a:cubicBezTo>
                  <a:pt x="1065" y="1711"/>
                  <a:pt x="1065" y="1711"/>
                  <a:pt x="1065" y="1770"/>
                </a:cubicBezTo>
                <a:cubicBezTo>
                  <a:pt x="1065" y="1770"/>
                  <a:pt x="1065" y="1770"/>
                  <a:pt x="1076" y="1770"/>
                </a:cubicBezTo>
                <a:cubicBezTo>
                  <a:pt x="1076" y="1770"/>
                  <a:pt x="1076" y="1770"/>
                  <a:pt x="1076" y="1697"/>
                </a:cubicBezTo>
                <a:close/>
                <a:moveTo>
                  <a:pt x="1123" y="1697"/>
                </a:moveTo>
                <a:cubicBezTo>
                  <a:pt x="1123" y="1697"/>
                  <a:pt x="1123" y="1697"/>
                  <a:pt x="1123" y="1697"/>
                </a:cubicBezTo>
                <a:cubicBezTo>
                  <a:pt x="1119" y="1697"/>
                  <a:pt x="1119" y="1697"/>
                  <a:pt x="1119" y="1697"/>
                </a:cubicBezTo>
                <a:cubicBezTo>
                  <a:pt x="1116" y="1698"/>
                  <a:pt x="1115" y="1700"/>
                  <a:pt x="1113" y="1700"/>
                </a:cubicBezTo>
                <a:cubicBezTo>
                  <a:pt x="1111" y="1702"/>
                  <a:pt x="1109" y="1702"/>
                  <a:pt x="1108" y="1703"/>
                </a:cubicBezTo>
                <a:cubicBezTo>
                  <a:pt x="1105" y="1704"/>
                  <a:pt x="1104" y="1705"/>
                  <a:pt x="1102" y="1705"/>
                </a:cubicBezTo>
                <a:cubicBezTo>
                  <a:pt x="1100" y="1706"/>
                  <a:pt x="1098" y="1707"/>
                  <a:pt x="1097" y="1708"/>
                </a:cubicBezTo>
                <a:cubicBezTo>
                  <a:pt x="1097" y="1708"/>
                  <a:pt x="1097" y="1708"/>
                  <a:pt x="1097" y="1718"/>
                </a:cubicBezTo>
                <a:cubicBezTo>
                  <a:pt x="1100" y="1717"/>
                  <a:pt x="1103" y="1716"/>
                  <a:pt x="1105" y="1715"/>
                </a:cubicBezTo>
                <a:cubicBezTo>
                  <a:pt x="1107" y="1714"/>
                  <a:pt x="1110" y="1713"/>
                  <a:pt x="1111" y="1711"/>
                </a:cubicBezTo>
                <a:cubicBezTo>
                  <a:pt x="1111" y="1711"/>
                  <a:pt x="1111" y="1711"/>
                  <a:pt x="1111" y="1770"/>
                </a:cubicBezTo>
                <a:cubicBezTo>
                  <a:pt x="1111" y="1770"/>
                  <a:pt x="1111" y="1770"/>
                  <a:pt x="1123" y="1770"/>
                </a:cubicBezTo>
                <a:cubicBezTo>
                  <a:pt x="1123" y="1770"/>
                  <a:pt x="1123" y="1770"/>
                  <a:pt x="1123" y="1697"/>
                </a:cubicBezTo>
                <a:close/>
                <a:moveTo>
                  <a:pt x="1168" y="1770"/>
                </a:moveTo>
                <a:cubicBezTo>
                  <a:pt x="1160" y="1770"/>
                  <a:pt x="1154" y="1767"/>
                  <a:pt x="1149" y="1761"/>
                </a:cubicBezTo>
                <a:cubicBezTo>
                  <a:pt x="1145" y="1755"/>
                  <a:pt x="1143" y="1746"/>
                  <a:pt x="1143" y="1733"/>
                </a:cubicBezTo>
                <a:cubicBezTo>
                  <a:pt x="1143" y="1720"/>
                  <a:pt x="1145" y="1711"/>
                  <a:pt x="1150" y="1704"/>
                </a:cubicBezTo>
                <a:cubicBezTo>
                  <a:pt x="1154" y="1697"/>
                  <a:pt x="1161" y="1694"/>
                  <a:pt x="1170" y="1694"/>
                </a:cubicBezTo>
                <a:cubicBezTo>
                  <a:pt x="1186" y="1694"/>
                  <a:pt x="1194" y="1706"/>
                  <a:pt x="1194" y="1732"/>
                </a:cubicBezTo>
                <a:cubicBezTo>
                  <a:pt x="1194" y="1744"/>
                  <a:pt x="1192" y="1754"/>
                  <a:pt x="1187" y="1761"/>
                </a:cubicBezTo>
                <a:cubicBezTo>
                  <a:pt x="1182" y="1767"/>
                  <a:pt x="1176" y="1770"/>
                  <a:pt x="1168" y="1770"/>
                </a:cubicBezTo>
                <a:close/>
                <a:moveTo>
                  <a:pt x="1169" y="1703"/>
                </a:moveTo>
                <a:cubicBezTo>
                  <a:pt x="1159" y="1703"/>
                  <a:pt x="1155" y="1714"/>
                  <a:pt x="1155" y="1733"/>
                </a:cubicBezTo>
                <a:cubicBezTo>
                  <a:pt x="1155" y="1752"/>
                  <a:pt x="1159" y="1761"/>
                  <a:pt x="1168" y="1761"/>
                </a:cubicBezTo>
                <a:cubicBezTo>
                  <a:pt x="1177" y="1761"/>
                  <a:pt x="1182" y="1752"/>
                  <a:pt x="1182" y="1733"/>
                </a:cubicBezTo>
                <a:cubicBezTo>
                  <a:pt x="1182" y="1713"/>
                  <a:pt x="1177" y="1703"/>
                  <a:pt x="1169" y="1703"/>
                </a:cubicBezTo>
                <a:close/>
                <a:moveTo>
                  <a:pt x="1238" y="1770"/>
                </a:moveTo>
                <a:cubicBezTo>
                  <a:pt x="1231" y="1770"/>
                  <a:pt x="1224" y="1767"/>
                  <a:pt x="1221" y="1761"/>
                </a:cubicBezTo>
                <a:cubicBezTo>
                  <a:pt x="1216" y="1755"/>
                  <a:pt x="1214" y="1746"/>
                  <a:pt x="1214" y="1733"/>
                </a:cubicBezTo>
                <a:cubicBezTo>
                  <a:pt x="1214" y="1720"/>
                  <a:pt x="1216" y="1711"/>
                  <a:pt x="1221" y="1704"/>
                </a:cubicBezTo>
                <a:cubicBezTo>
                  <a:pt x="1225" y="1697"/>
                  <a:pt x="1232" y="1694"/>
                  <a:pt x="1241" y="1694"/>
                </a:cubicBezTo>
                <a:cubicBezTo>
                  <a:pt x="1257" y="1694"/>
                  <a:pt x="1265" y="1706"/>
                  <a:pt x="1265" y="1732"/>
                </a:cubicBezTo>
                <a:cubicBezTo>
                  <a:pt x="1265" y="1744"/>
                  <a:pt x="1262" y="1754"/>
                  <a:pt x="1258" y="1761"/>
                </a:cubicBezTo>
                <a:cubicBezTo>
                  <a:pt x="1253" y="1767"/>
                  <a:pt x="1247" y="1770"/>
                  <a:pt x="1238" y="1770"/>
                </a:cubicBezTo>
                <a:close/>
                <a:moveTo>
                  <a:pt x="1240" y="1703"/>
                </a:moveTo>
                <a:cubicBezTo>
                  <a:pt x="1231" y="1703"/>
                  <a:pt x="1226" y="1714"/>
                  <a:pt x="1226" y="1733"/>
                </a:cubicBezTo>
                <a:cubicBezTo>
                  <a:pt x="1226" y="1752"/>
                  <a:pt x="1230" y="1761"/>
                  <a:pt x="1239" y="1761"/>
                </a:cubicBezTo>
                <a:cubicBezTo>
                  <a:pt x="1248" y="1761"/>
                  <a:pt x="1252" y="1752"/>
                  <a:pt x="1252" y="1733"/>
                </a:cubicBezTo>
                <a:cubicBezTo>
                  <a:pt x="1252" y="1713"/>
                  <a:pt x="1248" y="1703"/>
                  <a:pt x="1240" y="1703"/>
                </a:cubicBezTo>
                <a:close/>
                <a:moveTo>
                  <a:pt x="927" y="1729"/>
                </a:moveTo>
                <a:cubicBezTo>
                  <a:pt x="927" y="1729"/>
                  <a:pt x="927" y="1729"/>
                  <a:pt x="927" y="1729"/>
                </a:cubicBezTo>
                <a:cubicBezTo>
                  <a:pt x="926" y="1737"/>
                  <a:pt x="926" y="1737"/>
                  <a:pt x="926" y="1737"/>
                </a:cubicBezTo>
                <a:cubicBezTo>
                  <a:pt x="933" y="1738"/>
                  <a:pt x="933" y="1741"/>
                  <a:pt x="933" y="1743"/>
                </a:cubicBezTo>
                <a:cubicBezTo>
                  <a:pt x="933" y="1745"/>
                  <a:pt x="933" y="1748"/>
                  <a:pt x="933" y="1750"/>
                </a:cubicBezTo>
                <a:cubicBezTo>
                  <a:pt x="933" y="1753"/>
                  <a:pt x="932" y="1755"/>
                  <a:pt x="932" y="1757"/>
                </a:cubicBezTo>
                <a:cubicBezTo>
                  <a:pt x="932" y="1767"/>
                  <a:pt x="938" y="1770"/>
                  <a:pt x="947" y="1770"/>
                </a:cubicBezTo>
                <a:cubicBezTo>
                  <a:pt x="947" y="1770"/>
                  <a:pt x="947" y="1770"/>
                  <a:pt x="951" y="1770"/>
                </a:cubicBezTo>
                <a:cubicBezTo>
                  <a:pt x="951" y="1770"/>
                  <a:pt x="951" y="1770"/>
                  <a:pt x="951" y="1761"/>
                </a:cubicBezTo>
                <a:cubicBezTo>
                  <a:pt x="951" y="1761"/>
                  <a:pt x="951" y="1761"/>
                  <a:pt x="949" y="1761"/>
                </a:cubicBezTo>
                <a:cubicBezTo>
                  <a:pt x="945" y="1761"/>
                  <a:pt x="944" y="1759"/>
                  <a:pt x="944" y="1755"/>
                </a:cubicBezTo>
                <a:cubicBezTo>
                  <a:pt x="944" y="1754"/>
                  <a:pt x="944" y="1752"/>
                  <a:pt x="945" y="1750"/>
                </a:cubicBezTo>
                <a:cubicBezTo>
                  <a:pt x="945" y="1749"/>
                  <a:pt x="945" y="1747"/>
                  <a:pt x="945" y="1744"/>
                </a:cubicBezTo>
                <a:cubicBezTo>
                  <a:pt x="945" y="1737"/>
                  <a:pt x="942" y="1734"/>
                  <a:pt x="936" y="1733"/>
                </a:cubicBezTo>
                <a:cubicBezTo>
                  <a:pt x="936" y="1733"/>
                  <a:pt x="936" y="1733"/>
                  <a:pt x="936" y="1733"/>
                </a:cubicBezTo>
                <a:cubicBezTo>
                  <a:pt x="942" y="1732"/>
                  <a:pt x="945" y="1729"/>
                  <a:pt x="945" y="1722"/>
                </a:cubicBezTo>
                <a:cubicBezTo>
                  <a:pt x="945" y="1719"/>
                  <a:pt x="945" y="1717"/>
                  <a:pt x="945" y="1716"/>
                </a:cubicBezTo>
                <a:cubicBezTo>
                  <a:pt x="944" y="1714"/>
                  <a:pt x="944" y="1712"/>
                  <a:pt x="944" y="1711"/>
                </a:cubicBezTo>
                <a:cubicBezTo>
                  <a:pt x="944" y="1707"/>
                  <a:pt x="945" y="1705"/>
                  <a:pt x="949" y="1705"/>
                </a:cubicBezTo>
                <a:cubicBezTo>
                  <a:pt x="949" y="1705"/>
                  <a:pt x="949" y="1705"/>
                  <a:pt x="951" y="1705"/>
                </a:cubicBezTo>
                <a:cubicBezTo>
                  <a:pt x="951" y="1705"/>
                  <a:pt x="951" y="1705"/>
                  <a:pt x="951" y="1696"/>
                </a:cubicBezTo>
                <a:cubicBezTo>
                  <a:pt x="951" y="1696"/>
                  <a:pt x="951" y="1696"/>
                  <a:pt x="947" y="1696"/>
                </a:cubicBezTo>
                <a:cubicBezTo>
                  <a:pt x="938" y="1696"/>
                  <a:pt x="932" y="1700"/>
                  <a:pt x="932" y="1708"/>
                </a:cubicBezTo>
                <a:cubicBezTo>
                  <a:pt x="932" y="1711"/>
                  <a:pt x="933" y="1713"/>
                  <a:pt x="933" y="1716"/>
                </a:cubicBezTo>
                <a:cubicBezTo>
                  <a:pt x="933" y="1718"/>
                  <a:pt x="933" y="1721"/>
                  <a:pt x="933" y="1723"/>
                </a:cubicBezTo>
                <a:cubicBezTo>
                  <a:pt x="933" y="1725"/>
                  <a:pt x="933" y="1729"/>
                  <a:pt x="927" y="1729"/>
                </a:cubicBezTo>
                <a:close/>
                <a:moveTo>
                  <a:pt x="981" y="1737"/>
                </a:moveTo>
                <a:cubicBezTo>
                  <a:pt x="981" y="1737"/>
                  <a:pt x="981" y="1737"/>
                  <a:pt x="981" y="1737"/>
                </a:cubicBezTo>
                <a:cubicBezTo>
                  <a:pt x="981" y="1729"/>
                  <a:pt x="981" y="1729"/>
                  <a:pt x="981" y="1729"/>
                </a:cubicBezTo>
                <a:cubicBezTo>
                  <a:pt x="975" y="1729"/>
                  <a:pt x="975" y="1725"/>
                  <a:pt x="975" y="1723"/>
                </a:cubicBezTo>
                <a:cubicBezTo>
                  <a:pt x="975" y="1721"/>
                  <a:pt x="975" y="1718"/>
                  <a:pt x="975" y="1716"/>
                </a:cubicBezTo>
                <a:cubicBezTo>
                  <a:pt x="976" y="1713"/>
                  <a:pt x="976" y="1711"/>
                  <a:pt x="976" y="1708"/>
                </a:cubicBezTo>
                <a:cubicBezTo>
                  <a:pt x="976" y="1700"/>
                  <a:pt x="970" y="1696"/>
                  <a:pt x="961" y="1696"/>
                </a:cubicBezTo>
                <a:cubicBezTo>
                  <a:pt x="961" y="1696"/>
                  <a:pt x="961" y="1696"/>
                  <a:pt x="957" y="1696"/>
                </a:cubicBezTo>
                <a:cubicBezTo>
                  <a:pt x="957" y="1696"/>
                  <a:pt x="957" y="1696"/>
                  <a:pt x="957" y="1705"/>
                </a:cubicBezTo>
                <a:cubicBezTo>
                  <a:pt x="957" y="1705"/>
                  <a:pt x="957" y="1705"/>
                  <a:pt x="959" y="1705"/>
                </a:cubicBezTo>
                <a:cubicBezTo>
                  <a:pt x="963" y="1705"/>
                  <a:pt x="964" y="1707"/>
                  <a:pt x="964" y="1711"/>
                </a:cubicBezTo>
                <a:cubicBezTo>
                  <a:pt x="964" y="1712"/>
                  <a:pt x="964" y="1714"/>
                  <a:pt x="964" y="1716"/>
                </a:cubicBezTo>
                <a:cubicBezTo>
                  <a:pt x="963" y="1717"/>
                  <a:pt x="963" y="1719"/>
                  <a:pt x="963" y="1722"/>
                </a:cubicBezTo>
                <a:cubicBezTo>
                  <a:pt x="963" y="1729"/>
                  <a:pt x="966" y="1732"/>
                  <a:pt x="972" y="1733"/>
                </a:cubicBezTo>
                <a:cubicBezTo>
                  <a:pt x="972" y="1733"/>
                  <a:pt x="972" y="1733"/>
                  <a:pt x="972" y="1733"/>
                </a:cubicBezTo>
                <a:cubicBezTo>
                  <a:pt x="966" y="1734"/>
                  <a:pt x="963" y="1737"/>
                  <a:pt x="963" y="1744"/>
                </a:cubicBezTo>
                <a:cubicBezTo>
                  <a:pt x="963" y="1747"/>
                  <a:pt x="963" y="1749"/>
                  <a:pt x="964" y="1750"/>
                </a:cubicBezTo>
                <a:cubicBezTo>
                  <a:pt x="964" y="1752"/>
                  <a:pt x="964" y="1754"/>
                  <a:pt x="964" y="1755"/>
                </a:cubicBezTo>
                <a:cubicBezTo>
                  <a:pt x="964" y="1759"/>
                  <a:pt x="963" y="1761"/>
                  <a:pt x="959" y="1761"/>
                </a:cubicBezTo>
                <a:cubicBezTo>
                  <a:pt x="959" y="1761"/>
                  <a:pt x="959" y="1761"/>
                  <a:pt x="957" y="1761"/>
                </a:cubicBezTo>
                <a:cubicBezTo>
                  <a:pt x="957" y="1761"/>
                  <a:pt x="957" y="1761"/>
                  <a:pt x="957" y="1770"/>
                </a:cubicBezTo>
                <a:cubicBezTo>
                  <a:pt x="957" y="1770"/>
                  <a:pt x="957" y="1770"/>
                  <a:pt x="961" y="1770"/>
                </a:cubicBezTo>
                <a:cubicBezTo>
                  <a:pt x="970" y="1770"/>
                  <a:pt x="976" y="1767"/>
                  <a:pt x="976" y="1757"/>
                </a:cubicBezTo>
                <a:cubicBezTo>
                  <a:pt x="976" y="1755"/>
                  <a:pt x="976" y="1753"/>
                  <a:pt x="975" y="1750"/>
                </a:cubicBezTo>
                <a:cubicBezTo>
                  <a:pt x="975" y="1748"/>
                  <a:pt x="975" y="1745"/>
                  <a:pt x="975" y="1743"/>
                </a:cubicBezTo>
                <a:cubicBezTo>
                  <a:pt x="975" y="1741"/>
                  <a:pt x="975" y="1738"/>
                  <a:pt x="981" y="1737"/>
                </a:cubicBezTo>
                <a:close/>
                <a:moveTo>
                  <a:pt x="1451" y="1770"/>
                </a:moveTo>
                <a:cubicBezTo>
                  <a:pt x="1444" y="1770"/>
                  <a:pt x="1438" y="1767"/>
                  <a:pt x="1433" y="1761"/>
                </a:cubicBezTo>
                <a:cubicBezTo>
                  <a:pt x="1429" y="1755"/>
                  <a:pt x="1427" y="1745"/>
                  <a:pt x="1427" y="1733"/>
                </a:cubicBezTo>
                <a:cubicBezTo>
                  <a:pt x="1427" y="1720"/>
                  <a:pt x="1429" y="1711"/>
                  <a:pt x="1433" y="1703"/>
                </a:cubicBezTo>
                <a:cubicBezTo>
                  <a:pt x="1438" y="1697"/>
                  <a:pt x="1444" y="1694"/>
                  <a:pt x="1453" y="1694"/>
                </a:cubicBezTo>
                <a:cubicBezTo>
                  <a:pt x="1469" y="1694"/>
                  <a:pt x="1477" y="1706"/>
                  <a:pt x="1477" y="1731"/>
                </a:cubicBezTo>
                <a:cubicBezTo>
                  <a:pt x="1477" y="1744"/>
                  <a:pt x="1475" y="1754"/>
                  <a:pt x="1471" y="1761"/>
                </a:cubicBezTo>
                <a:cubicBezTo>
                  <a:pt x="1466" y="1767"/>
                  <a:pt x="1460" y="1770"/>
                  <a:pt x="1451" y="1770"/>
                </a:cubicBezTo>
                <a:close/>
                <a:moveTo>
                  <a:pt x="1452" y="1703"/>
                </a:moveTo>
                <a:cubicBezTo>
                  <a:pt x="1444" y="1703"/>
                  <a:pt x="1439" y="1713"/>
                  <a:pt x="1439" y="1733"/>
                </a:cubicBezTo>
                <a:cubicBezTo>
                  <a:pt x="1439" y="1751"/>
                  <a:pt x="1444" y="1761"/>
                  <a:pt x="1452" y="1761"/>
                </a:cubicBezTo>
                <a:cubicBezTo>
                  <a:pt x="1460" y="1761"/>
                  <a:pt x="1465" y="1751"/>
                  <a:pt x="1465" y="1733"/>
                </a:cubicBezTo>
                <a:cubicBezTo>
                  <a:pt x="1465" y="1713"/>
                  <a:pt x="1461" y="1703"/>
                  <a:pt x="1452" y="1703"/>
                </a:cubicBezTo>
                <a:close/>
                <a:moveTo>
                  <a:pt x="1569" y="1770"/>
                </a:moveTo>
                <a:cubicBezTo>
                  <a:pt x="1562" y="1770"/>
                  <a:pt x="1556" y="1767"/>
                  <a:pt x="1552" y="1761"/>
                </a:cubicBezTo>
                <a:cubicBezTo>
                  <a:pt x="1547" y="1755"/>
                  <a:pt x="1545" y="1745"/>
                  <a:pt x="1545" y="1733"/>
                </a:cubicBezTo>
                <a:cubicBezTo>
                  <a:pt x="1545" y="1720"/>
                  <a:pt x="1547" y="1711"/>
                  <a:pt x="1552" y="1703"/>
                </a:cubicBezTo>
                <a:cubicBezTo>
                  <a:pt x="1556" y="1697"/>
                  <a:pt x="1563" y="1694"/>
                  <a:pt x="1571" y="1694"/>
                </a:cubicBezTo>
                <a:cubicBezTo>
                  <a:pt x="1587" y="1694"/>
                  <a:pt x="1595" y="1706"/>
                  <a:pt x="1595" y="1731"/>
                </a:cubicBezTo>
                <a:cubicBezTo>
                  <a:pt x="1595" y="1744"/>
                  <a:pt x="1593" y="1754"/>
                  <a:pt x="1589" y="1761"/>
                </a:cubicBezTo>
                <a:cubicBezTo>
                  <a:pt x="1584" y="1767"/>
                  <a:pt x="1578" y="1770"/>
                  <a:pt x="1569" y="1770"/>
                </a:cubicBezTo>
                <a:close/>
                <a:moveTo>
                  <a:pt x="1571" y="1703"/>
                </a:moveTo>
                <a:cubicBezTo>
                  <a:pt x="1562" y="1703"/>
                  <a:pt x="1557" y="1713"/>
                  <a:pt x="1557" y="1733"/>
                </a:cubicBezTo>
                <a:cubicBezTo>
                  <a:pt x="1557" y="1751"/>
                  <a:pt x="1562" y="1761"/>
                  <a:pt x="1571" y="1761"/>
                </a:cubicBezTo>
                <a:cubicBezTo>
                  <a:pt x="1579" y="1761"/>
                  <a:pt x="1583" y="1751"/>
                  <a:pt x="1583" y="1733"/>
                </a:cubicBezTo>
                <a:cubicBezTo>
                  <a:pt x="1583" y="1713"/>
                  <a:pt x="1579" y="1703"/>
                  <a:pt x="1571" y="1703"/>
                </a:cubicBezTo>
                <a:close/>
                <a:moveTo>
                  <a:pt x="1524" y="1697"/>
                </a:moveTo>
                <a:cubicBezTo>
                  <a:pt x="1524" y="1697"/>
                  <a:pt x="1524" y="1697"/>
                  <a:pt x="1524" y="1697"/>
                </a:cubicBezTo>
                <a:cubicBezTo>
                  <a:pt x="1519" y="1697"/>
                  <a:pt x="1519" y="1697"/>
                  <a:pt x="1519" y="1697"/>
                </a:cubicBezTo>
                <a:cubicBezTo>
                  <a:pt x="1517" y="1698"/>
                  <a:pt x="1516" y="1700"/>
                  <a:pt x="1514" y="1700"/>
                </a:cubicBezTo>
                <a:cubicBezTo>
                  <a:pt x="1512" y="1702"/>
                  <a:pt x="1510" y="1702"/>
                  <a:pt x="1509" y="1703"/>
                </a:cubicBezTo>
                <a:cubicBezTo>
                  <a:pt x="1507" y="1704"/>
                  <a:pt x="1505" y="1705"/>
                  <a:pt x="1504" y="1705"/>
                </a:cubicBezTo>
                <a:cubicBezTo>
                  <a:pt x="1502" y="1706"/>
                  <a:pt x="1500" y="1707"/>
                  <a:pt x="1498" y="1708"/>
                </a:cubicBezTo>
                <a:cubicBezTo>
                  <a:pt x="1498" y="1708"/>
                  <a:pt x="1498" y="1708"/>
                  <a:pt x="1498" y="1718"/>
                </a:cubicBezTo>
                <a:cubicBezTo>
                  <a:pt x="1501" y="1717"/>
                  <a:pt x="1504" y="1716"/>
                  <a:pt x="1506" y="1715"/>
                </a:cubicBezTo>
                <a:cubicBezTo>
                  <a:pt x="1509" y="1714"/>
                  <a:pt x="1511" y="1713"/>
                  <a:pt x="1513" y="1711"/>
                </a:cubicBezTo>
                <a:cubicBezTo>
                  <a:pt x="1513" y="1711"/>
                  <a:pt x="1513" y="1711"/>
                  <a:pt x="1513" y="1770"/>
                </a:cubicBezTo>
                <a:cubicBezTo>
                  <a:pt x="1513" y="1770"/>
                  <a:pt x="1513" y="1770"/>
                  <a:pt x="1524" y="1770"/>
                </a:cubicBezTo>
                <a:cubicBezTo>
                  <a:pt x="1524" y="1770"/>
                  <a:pt x="1524" y="1770"/>
                  <a:pt x="1524" y="1697"/>
                </a:cubicBezTo>
                <a:close/>
                <a:moveTo>
                  <a:pt x="1640" y="1770"/>
                </a:moveTo>
                <a:cubicBezTo>
                  <a:pt x="1632" y="1770"/>
                  <a:pt x="1626" y="1767"/>
                  <a:pt x="1622" y="1761"/>
                </a:cubicBezTo>
                <a:cubicBezTo>
                  <a:pt x="1618" y="1755"/>
                  <a:pt x="1616" y="1746"/>
                  <a:pt x="1616" y="1733"/>
                </a:cubicBezTo>
                <a:cubicBezTo>
                  <a:pt x="1616" y="1720"/>
                  <a:pt x="1618" y="1711"/>
                  <a:pt x="1622" y="1704"/>
                </a:cubicBezTo>
                <a:cubicBezTo>
                  <a:pt x="1627" y="1697"/>
                  <a:pt x="1633" y="1694"/>
                  <a:pt x="1642" y="1694"/>
                </a:cubicBezTo>
                <a:cubicBezTo>
                  <a:pt x="1658" y="1694"/>
                  <a:pt x="1666" y="1706"/>
                  <a:pt x="1666" y="1732"/>
                </a:cubicBezTo>
                <a:cubicBezTo>
                  <a:pt x="1666" y="1744"/>
                  <a:pt x="1664" y="1754"/>
                  <a:pt x="1660" y="1761"/>
                </a:cubicBezTo>
                <a:cubicBezTo>
                  <a:pt x="1655" y="1767"/>
                  <a:pt x="1649" y="1770"/>
                  <a:pt x="1640" y="1770"/>
                </a:cubicBezTo>
                <a:close/>
                <a:moveTo>
                  <a:pt x="1641" y="1703"/>
                </a:moveTo>
                <a:cubicBezTo>
                  <a:pt x="1632" y="1703"/>
                  <a:pt x="1627" y="1714"/>
                  <a:pt x="1627" y="1733"/>
                </a:cubicBezTo>
                <a:cubicBezTo>
                  <a:pt x="1627" y="1752"/>
                  <a:pt x="1632" y="1761"/>
                  <a:pt x="1641" y="1761"/>
                </a:cubicBezTo>
                <a:cubicBezTo>
                  <a:pt x="1649" y="1761"/>
                  <a:pt x="1654" y="1752"/>
                  <a:pt x="1654" y="1733"/>
                </a:cubicBezTo>
                <a:cubicBezTo>
                  <a:pt x="1654" y="1713"/>
                  <a:pt x="1649" y="1703"/>
                  <a:pt x="1641" y="1703"/>
                </a:cubicBezTo>
                <a:close/>
                <a:moveTo>
                  <a:pt x="1687" y="1729"/>
                </a:moveTo>
                <a:cubicBezTo>
                  <a:pt x="1687" y="1729"/>
                  <a:pt x="1687" y="1729"/>
                  <a:pt x="1687" y="1729"/>
                </a:cubicBezTo>
                <a:cubicBezTo>
                  <a:pt x="1687" y="1737"/>
                  <a:pt x="1687" y="1737"/>
                  <a:pt x="1687" y="1737"/>
                </a:cubicBezTo>
                <a:cubicBezTo>
                  <a:pt x="1693" y="1738"/>
                  <a:pt x="1694" y="1741"/>
                  <a:pt x="1694" y="1743"/>
                </a:cubicBezTo>
                <a:cubicBezTo>
                  <a:pt x="1694" y="1745"/>
                  <a:pt x="1693" y="1748"/>
                  <a:pt x="1693" y="1750"/>
                </a:cubicBezTo>
                <a:cubicBezTo>
                  <a:pt x="1693" y="1753"/>
                  <a:pt x="1692" y="1755"/>
                  <a:pt x="1692" y="1757"/>
                </a:cubicBezTo>
                <a:cubicBezTo>
                  <a:pt x="1692" y="1767"/>
                  <a:pt x="1698" y="1770"/>
                  <a:pt x="1707" y="1770"/>
                </a:cubicBezTo>
                <a:cubicBezTo>
                  <a:pt x="1707" y="1770"/>
                  <a:pt x="1707" y="1770"/>
                  <a:pt x="1711" y="1770"/>
                </a:cubicBezTo>
                <a:cubicBezTo>
                  <a:pt x="1711" y="1770"/>
                  <a:pt x="1711" y="1770"/>
                  <a:pt x="1711" y="1761"/>
                </a:cubicBezTo>
                <a:cubicBezTo>
                  <a:pt x="1711" y="1761"/>
                  <a:pt x="1711" y="1761"/>
                  <a:pt x="1709" y="1761"/>
                </a:cubicBezTo>
                <a:cubicBezTo>
                  <a:pt x="1705" y="1761"/>
                  <a:pt x="1704" y="1759"/>
                  <a:pt x="1704" y="1755"/>
                </a:cubicBezTo>
                <a:cubicBezTo>
                  <a:pt x="1704" y="1754"/>
                  <a:pt x="1704" y="1752"/>
                  <a:pt x="1705" y="1750"/>
                </a:cubicBezTo>
                <a:cubicBezTo>
                  <a:pt x="1705" y="1749"/>
                  <a:pt x="1705" y="1747"/>
                  <a:pt x="1705" y="1744"/>
                </a:cubicBezTo>
                <a:cubicBezTo>
                  <a:pt x="1705" y="1737"/>
                  <a:pt x="1702" y="1734"/>
                  <a:pt x="1697" y="1733"/>
                </a:cubicBezTo>
                <a:cubicBezTo>
                  <a:pt x="1697" y="1733"/>
                  <a:pt x="1697" y="1733"/>
                  <a:pt x="1697" y="1733"/>
                </a:cubicBezTo>
                <a:cubicBezTo>
                  <a:pt x="1702" y="1732"/>
                  <a:pt x="1705" y="1729"/>
                  <a:pt x="1705" y="1722"/>
                </a:cubicBezTo>
                <a:cubicBezTo>
                  <a:pt x="1705" y="1719"/>
                  <a:pt x="1705" y="1717"/>
                  <a:pt x="1705" y="1716"/>
                </a:cubicBezTo>
                <a:cubicBezTo>
                  <a:pt x="1704" y="1714"/>
                  <a:pt x="1704" y="1712"/>
                  <a:pt x="1704" y="1711"/>
                </a:cubicBezTo>
                <a:cubicBezTo>
                  <a:pt x="1704" y="1707"/>
                  <a:pt x="1705" y="1705"/>
                  <a:pt x="1709" y="1705"/>
                </a:cubicBezTo>
                <a:cubicBezTo>
                  <a:pt x="1709" y="1705"/>
                  <a:pt x="1709" y="1705"/>
                  <a:pt x="1711" y="1705"/>
                </a:cubicBezTo>
                <a:cubicBezTo>
                  <a:pt x="1711" y="1705"/>
                  <a:pt x="1711" y="1705"/>
                  <a:pt x="1711" y="1696"/>
                </a:cubicBezTo>
                <a:cubicBezTo>
                  <a:pt x="1711" y="1696"/>
                  <a:pt x="1711" y="1696"/>
                  <a:pt x="1707" y="1696"/>
                </a:cubicBezTo>
                <a:cubicBezTo>
                  <a:pt x="1698" y="1696"/>
                  <a:pt x="1692" y="1700"/>
                  <a:pt x="1692" y="1708"/>
                </a:cubicBezTo>
                <a:cubicBezTo>
                  <a:pt x="1692" y="1711"/>
                  <a:pt x="1693" y="1713"/>
                  <a:pt x="1693" y="1716"/>
                </a:cubicBezTo>
                <a:cubicBezTo>
                  <a:pt x="1693" y="1718"/>
                  <a:pt x="1694" y="1721"/>
                  <a:pt x="1694" y="1723"/>
                </a:cubicBezTo>
                <a:cubicBezTo>
                  <a:pt x="1694" y="1725"/>
                  <a:pt x="1693" y="1729"/>
                  <a:pt x="1687" y="1729"/>
                </a:cubicBezTo>
                <a:close/>
                <a:moveTo>
                  <a:pt x="1742" y="1737"/>
                </a:moveTo>
                <a:cubicBezTo>
                  <a:pt x="1742" y="1737"/>
                  <a:pt x="1742" y="1737"/>
                  <a:pt x="1742" y="1737"/>
                </a:cubicBezTo>
                <a:cubicBezTo>
                  <a:pt x="1742" y="1729"/>
                  <a:pt x="1742" y="1729"/>
                  <a:pt x="1742" y="1729"/>
                </a:cubicBezTo>
                <a:cubicBezTo>
                  <a:pt x="1735" y="1729"/>
                  <a:pt x="1735" y="1725"/>
                  <a:pt x="1735" y="1723"/>
                </a:cubicBezTo>
                <a:cubicBezTo>
                  <a:pt x="1735" y="1721"/>
                  <a:pt x="1735" y="1718"/>
                  <a:pt x="1735" y="1716"/>
                </a:cubicBezTo>
                <a:cubicBezTo>
                  <a:pt x="1736" y="1713"/>
                  <a:pt x="1736" y="1711"/>
                  <a:pt x="1736" y="1708"/>
                </a:cubicBezTo>
                <a:cubicBezTo>
                  <a:pt x="1736" y="1700"/>
                  <a:pt x="1731" y="1696"/>
                  <a:pt x="1721" y="1696"/>
                </a:cubicBezTo>
                <a:cubicBezTo>
                  <a:pt x="1721" y="1696"/>
                  <a:pt x="1721" y="1696"/>
                  <a:pt x="1718" y="1696"/>
                </a:cubicBezTo>
                <a:cubicBezTo>
                  <a:pt x="1718" y="1696"/>
                  <a:pt x="1718" y="1696"/>
                  <a:pt x="1718" y="1705"/>
                </a:cubicBezTo>
                <a:cubicBezTo>
                  <a:pt x="1718" y="1705"/>
                  <a:pt x="1718" y="1705"/>
                  <a:pt x="1719" y="1705"/>
                </a:cubicBezTo>
                <a:cubicBezTo>
                  <a:pt x="1723" y="1705"/>
                  <a:pt x="1724" y="1707"/>
                  <a:pt x="1724" y="1711"/>
                </a:cubicBezTo>
                <a:cubicBezTo>
                  <a:pt x="1724" y="1712"/>
                  <a:pt x="1724" y="1714"/>
                  <a:pt x="1724" y="1716"/>
                </a:cubicBezTo>
                <a:cubicBezTo>
                  <a:pt x="1724" y="1717"/>
                  <a:pt x="1724" y="1719"/>
                  <a:pt x="1724" y="1722"/>
                </a:cubicBezTo>
                <a:cubicBezTo>
                  <a:pt x="1724" y="1729"/>
                  <a:pt x="1726" y="1732"/>
                  <a:pt x="1732" y="1733"/>
                </a:cubicBezTo>
                <a:cubicBezTo>
                  <a:pt x="1732" y="1733"/>
                  <a:pt x="1732" y="1733"/>
                  <a:pt x="1732" y="1733"/>
                </a:cubicBezTo>
                <a:cubicBezTo>
                  <a:pt x="1726" y="1734"/>
                  <a:pt x="1724" y="1737"/>
                  <a:pt x="1724" y="1744"/>
                </a:cubicBezTo>
                <a:cubicBezTo>
                  <a:pt x="1724" y="1747"/>
                  <a:pt x="1724" y="1749"/>
                  <a:pt x="1724" y="1750"/>
                </a:cubicBezTo>
                <a:cubicBezTo>
                  <a:pt x="1724" y="1752"/>
                  <a:pt x="1724" y="1754"/>
                  <a:pt x="1724" y="1755"/>
                </a:cubicBezTo>
                <a:cubicBezTo>
                  <a:pt x="1724" y="1759"/>
                  <a:pt x="1723" y="1761"/>
                  <a:pt x="1719" y="1761"/>
                </a:cubicBezTo>
                <a:cubicBezTo>
                  <a:pt x="1719" y="1761"/>
                  <a:pt x="1719" y="1761"/>
                  <a:pt x="1718" y="1761"/>
                </a:cubicBezTo>
                <a:cubicBezTo>
                  <a:pt x="1718" y="1761"/>
                  <a:pt x="1718" y="1761"/>
                  <a:pt x="1718" y="1770"/>
                </a:cubicBezTo>
                <a:cubicBezTo>
                  <a:pt x="1718" y="1770"/>
                  <a:pt x="1718" y="1770"/>
                  <a:pt x="1721" y="1770"/>
                </a:cubicBezTo>
                <a:cubicBezTo>
                  <a:pt x="1730" y="1770"/>
                  <a:pt x="1736" y="1767"/>
                  <a:pt x="1736" y="1757"/>
                </a:cubicBezTo>
                <a:cubicBezTo>
                  <a:pt x="1736" y="1755"/>
                  <a:pt x="1736" y="1753"/>
                  <a:pt x="1735" y="1750"/>
                </a:cubicBezTo>
                <a:cubicBezTo>
                  <a:pt x="1735" y="1748"/>
                  <a:pt x="1735" y="1745"/>
                  <a:pt x="1735" y="1743"/>
                </a:cubicBezTo>
                <a:cubicBezTo>
                  <a:pt x="1735" y="1741"/>
                  <a:pt x="1735" y="1738"/>
                  <a:pt x="1742" y="1737"/>
                </a:cubicBezTo>
                <a:close/>
                <a:moveTo>
                  <a:pt x="1862" y="1770"/>
                </a:moveTo>
                <a:cubicBezTo>
                  <a:pt x="1855" y="1770"/>
                  <a:pt x="1848" y="1767"/>
                  <a:pt x="1844" y="1761"/>
                </a:cubicBezTo>
                <a:cubicBezTo>
                  <a:pt x="1840" y="1755"/>
                  <a:pt x="1838" y="1746"/>
                  <a:pt x="1838" y="1733"/>
                </a:cubicBezTo>
                <a:cubicBezTo>
                  <a:pt x="1838" y="1720"/>
                  <a:pt x="1840" y="1711"/>
                  <a:pt x="1844" y="1704"/>
                </a:cubicBezTo>
                <a:cubicBezTo>
                  <a:pt x="1849" y="1697"/>
                  <a:pt x="1855" y="1694"/>
                  <a:pt x="1864" y="1694"/>
                </a:cubicBezTo>
                <a:cubicBezTo>
                  <a:pt x="1880" y="1694"/>
                  <a:pt x="1888" y="1706"/>
                  <a:pt x="1888" y="1732"/>
                </a:cubicBezTo>
                <a:cubicBezTo>
                  <a:pt x="1888" y="1744"/>
                  <a:pt x="1886" y="1754"/>
                  <a:pt x="1881" y="1761"/>
                </a:cubicBezTo>
                <a:cubicBezTo>
                  <a:pt x="1876" y="1767"/>
                  <a:pt x="1870" y="1770"/>
                  <a:pt x="1862" y="1770"/>
                </a:cubicBezTo>
                <a:close/>
                <a:moveTo>
                  <a:pt x="1863" y="1703"/>
                </a:moveTo>
                <a:cubicBezTo>
                  <a:pt x="1854" y="1703"/>
                  <a:pt x="1849" y="1714"/>
                  <a:pt x="1849" y="1733"/>
                </a:cubicBezTo>
                <a:cubicBezTo>
                  <a:pt x="1849" y="1752"/>
                  <a:pt x="1854" y="1761"/>
                  <a:pt x="1863" y="1761"/>
                </a:cubicBezTo>
                <a:cubicBezTo>
                  <a:pt x="1871" y="1761"/>
                  <a:pt x="1876" y="1752"/>
                  <a:pt x="1876" y="1733"/>
                </a:cubicBezTo>
                <a:cubicBezTo>
                  <a:pt x="1876" y="1713"/>
                  <a:pt x="1871" y="1703"/>
                  <a:pt x="1863" y="1703"/>
                </a:cubicBezTo>
                <a:close/>
                <a:moveTo>
                  <a:pt x="1932" y="1697"/>
                </a:moveTo>
                <a:cubicBezTo>
                  <a:pt x="1932" y="1697"/>
                  <a:pt x="1932" y="1697"/>
                  <a:pt x="1932" y="1697"/>
                </a:cubicBezTo>
                <a:cubicBezTo>
                  <a:pt x="1927" y="1697"/>
                  <a:pt x="1927" y="1697"/>
                  <a:pt x="1927" y="1697"/>
                </a:cubicBezTo>
                <a:cubicBezTo>
                  <a:pt x="1924" y="1698"/>
                  <a:pt x="1923" y="1700"/>
                  <a:pt x="1921" y="1700"/>
                </a:cubicBezTo>
                <a:cubicBezTo>
                  <a:pt x="1919" y="1702"/>
                  <a:pt x="1917" y="1702"/>
                  <a:pt x="1916" y="1703"/>
                </a:cubicBezTo>
                <a:cubicBezTo>
                  <a:pt x="1913" y="1704"/>
                  <a:pt x="1912" y="1705"/>
                  <a:pt x="1910" y="1705"/>
                </a:cubicBezTo>
                <a:cubicBezTo>
                  <a:pt x="1908" y="1706"/>
                  <a:pt x="1907" y="1707"/>
                  <a:pt x="1904" y="1708"/>
                </a:cubicBezTo>
                <a:cubicBezTo>
                  <a:pt x="1904" y="1708"/>
                  <a:pt x="1904" y="1708"/>
                  <a:pt x="1904" y="1718"/>
                </a:cubicBezTo>
                <a:cubicBezTo>
                  <a:pt x="1907" y="1717"/>
                  <a:pt x="1910" y="1716"/>
                  <a:pt x="1913" y="1715"/>
                </a:cubicBezTo>
                <a:cubicBezTo>
                  <a:pt x="1916" y="1714"/>
                  <a:pt x="1918" y="1713"/>
                  <a:pt x="1920" y="1711"/>
                </a:cubicBezTo>
                <a:cubicBezTo>
                  <a:pt x="1920" y="1711"/>
                  <a:pt x="1920" y="1711"/>
                  <a:pt x="1920" y="1770"/>
                </a:cubicBezTo>
                <a:cubicBezTo>
                  <a:pt x="1920" y="1770"/>
                  <a:pt x="1920" y="1770"/>
                  <a:pt x="1932" y="1770"/>
                </a:cubicBezTo>
                <a:cubicBezTo>
                  <a:pt x="1932" y="1770"/>
                  <a:pt x="1932" y="1770"/>
                  <a:pt x="1932" y="1697"/>
                </a:cubicBezTo>
                <a:close/>
                <a:moveTo>
                  <a:pt x="128" y="1639"/>
                </a:moveTo>
                <a:cubicBezTo>
                  <a:pt x="128" y="1640"/>
                  <a:pt x="129" y="1642"/>
                  <a:pt x="130" y="1643"/>
                </a:cubicBezTo>
                <a:cubicBezTo>
                  <a:pt x="130" y="1645"/>
                  <a:pt x="130" y="1647"/>
                  <a:pt x="131" y="1648"/>
                </a:cubicBezTo>
                <a:cubicBezTo>
                  <a:pt x="131" y="1650"/>
                  <a:pt x="131" y="1652"/>
                  <a:pt x="131" y="1653"/>
                </a:cubicBezTo>
                <a:cubicBezTo>
                  <a:pt x="132" y="1656"/>
                  <a:pt x="131" y="1658"/>
                  <a:pt x="128" y="1658"/>
                </a:cubicBezTo>
                <a:cubicBezTo>
                  <a:pt x="125" y="1658"/>
                  <a:pt x="122" y="1657"/>
                  <a:pt x="119" y="1657"/>
                </a:cubicBezTo>
                <a:cubicBezTo>
                  <a:pt x="119" y="1657"/>
                  <a:pt x="118" y="1657"/>
                  <a:pt x="118" y="1658"/>
                </a:cubicBezTo>
                <a:cubicBezTo>
                  <a:pt x="116" y="1659"/>
                  <a:pt x="115" y="1661"/>
                  <a:pt x="114" y="1662"/>
                </a:cubicBezTo>
                <a:cubicBezTo>
                  <a:pt x="112" y="1665"/>
                  <a:pt x="108" y="1665"/>
                  <a:pt x="106" y="1663"/>
                </a:cubicBezTo>
                <a:cubicBezTo>
                  <a:pt x="104" y="1661"/>
                  <a:pt x="103" y="1658"/>
                  <a:pt x="101" y="1656"/>
                </a:cubicBezTo>
                <a:cubicBezTo>
                  <a:pt x="101" y="1654"/>
                  <a:pt x="101" y="1652"/>
                  <a:pt x="103" y="1651"/>
                </a:cubicBezTo>
                <a:cubicBezTo>
                  <a:pt x="101" y="1651"/>
                  <a:pt x="99" y="1651"/>
                  <a:pt x="97" y="1651"/>
                </a:cubicBezTo>
                <a:cubicBezTo>
                  <a:pt x="97" y="1653"/>
                  <a:pt x="95" y="1655"/>
                  <a:pt x="95" y="1657"/>
                </a:cubicBezTo>
                <a:cubicBezTo>
                  <a:pt x="95" y="1657"/>
                  <a:pt x="94" y="1658"/>
                  <a:pt x="94" y="1659"/>
                </a:cubicBezTo>
                <a:cubicBezTo>
                  <a:pt x="94" y="1662"/>
                  <a:pt x="93" y="1663"/>
                  <a:pt x="90" y="1663"/>
                </a:cubicBezTo>
                <a:cubicBezTo>
                  <a:pt x="87" y="1663"/>
                  <a:pt x="84" y="1662"/>
                  <a:pt x="81" y="1661"/>
                </a:cubicBezTo>
                <a:cubicBezTo>
                  <a:pt x="79" y="1660"/>
                  <a:pt x="79" y="1659"/>
                  <a:pt x="79" y="1657"/>
                </a:cubicBezTo>
                <a:cubicBezTo>
                  <a:pt x="79" y="1656"/>
                  <a:pt x="79" y="1655"/>
                  <a:pt x="80" y="1655"/>
                </a:cubicBezTo>
                <a:cubicBezTo>
                  <a:pt x="77" y="1654"/>
                  <a:pt x="75" y="1653"/>
                  <a:pt x="73" y="1652"/>
                </a:cubicBezTo>
                <a:cubicBezTo>
                  <a:pt x="72" y="1651"/>
                  <a:pt x="71" y="1649"/>
                  <a:pt x="70" y="1647"/>
                </a:cubicBezTo>
                <a:cubicBezTo>
                  <a:pt x="69" y="1645"/>
                  <a:pt x="69" y="1644"/>
                  <a:pt x="71" y="1642"/>
                </a:cubicBezTo>
                <a:cubicBezTo>
                  <a:pt x="74" y="1640"/>
                  <a:pt x="75" y="1637"/>
                  <a:pt x="74" y="1633"/>
                </a:cubicBezTo>
                <a:cubicBezTo>
                  <a:pt x="74" y="1631"/>
                  <a:pt x="74" y="1629"/>
                  <a:pt x="74" y="1627"/>
                </a:cubicBezTo>
                <a:cubicBezTo>
                  <a:pt x="73" y="1626"/>
                  <a:pt x="71" y="1626"/>
                  <a:pt x="70" y="1625"/>
                </a:cubicBezTo>
                <a:cubicBezTo>
                  <a:pt x="69" y="1623"/>
                  <a:pt x="68" y="1621"/>
                  <a:pt x="68" y="1619"/>
                </a:cubicBezTo>
                <a:cubicBezTo>
                  <a:pt x="68" y="1616"/>
                  <a:pt x="72" y="1614"/>
                  <a:pt x="74" y="1613"/>
                </a:cubicBezTo>
                <a:cubicBezTo>
                  <a:pt x="75" y="1614"/>
                  <a:pt x="75" y="1614"/>
                  <a:pt x="75" y="1615"/>
                </a:cubicBezTo>
                <a:cubicBezTo>
                  <a:pt x="75" y="1616"/>
                  <a:pt x="75" y="1617"/>
                  <a:pt x="75" y="1618"/>
                </a:cubicBezTo>
                <a:cubicBezTo>
                  <a:pt x="75" y="1618"/>
                  <a:pt x="74" y="1618"/>
                  <a:pt x="74" y="1618"/>
                </a:cubicBezTo>
                <a:cubicBezTo>
                  <a:pt x="74" y="1619"/>
                  <a:pt x="73" y="1620"/>
                  <a:pt x="72" y="1622"/>
                </a:cubicBezTo>
                <a:cubicBezTo>
                  <a:pt x="74" y="1622"/>
                  <a:pt x="74" y="1622"/>
                  <a:pt x="75" y="1621"/>
                </a:cubicBezTo>
                <a:cubicBezTo>
                  <a:pt x="76" y="1620"/>
                  <a:pt x="77" y="1619"/>
                  <a:pt x="77" y="1618"/>
                </a:cubicBezTo>
                <a:cubicBezTo>
                  <a:pt x="82" y="1612"/>
                  <a:pt x="88" y="1608"/>
                  <a:pt x="95" y="1606"/>
                </a:cubicBezTo>
                <a:cubicBezTo>
                  <a:pt x="99" y="1606"/>
                  <a:pt x="102" y="1604"/>
                  <a:pt x="104" y="1602"/>
                </a:cubicBezTo>
                <a:cubicBezTo>
                  <a:pt x="104" y="1601"/>
                  <a:pt x="105" y="1601"/>
                  <a:pt x="105" y="1601"/>
                </a:cubicBezTo>
                <a:cubicBezTo>
                  <a:pt x="108" y="1600"/>
                  <a:pt x="110" y="1598"/>
                  <a:pt x="112" y="1596"/>
                </a:cubicBezTo>
                <a:cubicBezTo>
                  <a:pt x="119" y="1589"/>
                  <a:pt x="131" y="1588"/>
                  <a:pt x="139" y="1595"/>
                </a:cubicBezTo>
                <a:cubicBezTo>
                  <a:pt x="141" y="1597"/>
                  <a:pt x="144" y="1599"/>
                  <a:pt x="146" y="1601"/>
                </a:cubicBezTo>
                <a:cubicBezTo>
                  <a:pt x="148" y="1602"/>
                  <a:pt x="149" y="1604"/>
                  <a:pt x="150" y="1606"/>
                </a:cubicBezTo>
                <a:cubicBezTo>
                  <a:pt x="151" y="1607"/>
                  <a:pt x="152" y="1607"/>
                  <a:pt x="153" y="1606"/>
                </a:cubicBezTo>
                <a:cubicBezTo>
                  <a:pt x="154" y="1606"/>
                  <a:pt x="154" y="1605"/>
                  <a:pt x="155" y="1604"/>
                </a:cubicBezTo>
                <a:cubicBezTo>
                  <a:pt x="157" y="1601"/>
                  <a:pt x="160" y="1601"/>
                  <a:pt x="161" y="1604"/>
                </a:cubicBezTo>
                <a:cubicBezTo>
                  <a:pt x="163" y="1608"/>
                  <a:pt x="163" y="1610"/>
                  <a:pt x="164" y="1614"/>
                </a:cubicBezTo>
                <a:cubicBezTo>
                  <a:pt x="164" y="1618"/>
                  <a:pt x="164" y="1622"/>
                  <a:pt x="163" y="1627"/>
                </a:cubicBezTo>
                <a:cubicBezTo>
                  <a:pt x="160" y="1633"/>
                  <a:pt x="155" y="1636"/>
                  <a:pt x="149" y="1636"/>
                </a:cubicBezTo>
                <a:cubicBezTo>
                  <a:pt x="148" y="1636"/>
                  <a:pt x="148" y="1636"/>
                  <a:pt x="147" y="1636"/>
                </a:cubicBezTo>
                <a:cubicBezTo>
                  <a:pt x="144" y="1636"/>
                  <a:pt x="143" y="1636"/>
                  <a:pt x="143" y="1639"/>
                </a:cubicBezTo>
                <a:cubicBezTo>
                  <a:pt x="141" y="1643"/>
                  <a:pt x="135" y="1645"/>
                  <a:pt x="132" y="1642"/>
                </a:cubicBezTo>
                <a:cubicBezTo>
                  <a:pt x="131" y="1640"/>
                  <a:pt x="130" y="1640"/>
                  <a:pt x="129" y="1638"/>
                </a:cubicBezTo>
                <a:cubicBezTo>
                  <a:pt x="128" y="1639"/>
                  <a:pt x="128" y="1639"/>
                  <a:pt x="128" y="1639"/>
                </a:cubicBezTo>
                <a:close/>
                <a:moveTo>
                  <a:pt x="123" y="1635"/>
                </a:moveTo>
                <a:cubicBezTo>
                  <a:pt x="126" y="1636"/>
                  <a:pt x="130" y="1637"/>
                  <a:pt x="132" y="1640"/>
                </a:cubicBezTo>
                <a:cubicBezTo>
                  <a:pt x="134" y="1642"/>
                  <a:pt x="136" y="1642"/>
                  <a:pt x="138" y="1642"/>
                </a:cubicBezTo>
                <a:cubicBezTo>
                  <a:pt x="141" y="1641"/>
                  <a:pt x="142" y="1639"/>
                  <a:pt x="142" y="1636"/>
                </a:cubicBezTo>
                <a:cubicBezTo>
                  <a:pt x="142" y="1636"/>
                  <a:pt x="141" y="1636"/>
                  <a:pt x="141" y="1636"/>
                </a:cubicBezTo>
                <a:cubicBezTo>
                  <a:pt x="141" y="1638"/>
                  <a:pt x="139" y="1639"/>
                  <a:pt x="139" y="1640"/>
                </a:cubicBezTo>
                <a:cubicBezTo>
                  <a:pt x="137" y="1641"/>
                  <a:pt x="136" y="1641"/>
                  <a:pt x="135" y="1640"/>
                </a:cubicBezTo>
                <a:cubicBezTo>
                  <a:pt x="135" y="1640"/>
                  <a:pt x="134" y="1639"/>
                  <a:pt x="134" y="1638"/>
                </a:cubicBezTo>
                <a:cubicBezTo>
                  <a:pt x="134" y="1636"/>
                  <a:pt x="135" y="1634"/>
                  <a:pt x="135" y="1632"/>
                </a:cubicBezTo>
                <a:cubicBezTo>
                  <a:pt x="138" y="1633"/>
                  <a:pt x="141" y="1634"/>
                  <a:pt x="145" y="1635"/>
                </a:cubicBezTo>
                <a:cubicBezTo>
                  <a:pt x="152" y="1636"/>
                  <a:pt x="158" y="1634"/>
                  <a:pt x="161" y="1625"/>
                </a:cubicBezTo>
                <a:cubicBezTo>
                  <a:pt x="163" y="1621"/>
                  <a:pt x="163" y="1616"/>
                  <a:pt x="162" y="1611"/>
                </a:cubicBezTo>
                <a:cubicBezTo>
                  <a:pt x="161" y="1609"/>
                  <a:pt x="161" y="1607"/>
                  <a:pt x="160" y="1605"/>
                </a:cubicBezTo>
                <a:cubicBezTo>
                  <a:pt x="159" y="1604"/>
                  <a:pt x="158" y="1603"/>
                  <a:pt x="157" y="1605"/>
                </a:cubicBezTo>
                <a:cubicBezTo>
                  <a:pt x="155" y="1606"/>
                  <a:pt x="154" y="1608"/>
                  <a:pt x="152" y="1609"/>
                </a:cubicBezTo>
                <a:cubicBezTo>
                  <a:pt x="151" y="1609"/>
                  <a:pt x="150" y="1610"/>
                  <a:pt x="150" y="1611"/>
                </a:cubicBezTo>
                <a:cubicBezTo>
                  <a:pt x="151" y="1614"/>
                  <a:pt x="150" y="1617"/>
                  <a:pt x="149" y="1621"/>
                </a:cubicBezTo>
                <a:cubicBezTo>
                  <a:pt x="149" y="1619"/>
                  <a:pt x="150" y="1617"/>
                  <a:pt x="150" y="1615"/>
                </a:cubicBezTo>
                <a:cubicBezTo>
                  <a:pt x="150" y="1614"/>
                  <a:pt x="149" y="1614"/>
                  <a:pt x="149" y="1614"/>
                </a:cubicBezTo>
                <a:cubicBezTo>
                  <a:pt x="148" y="1614"/>
                  <a:pt x="148" y="1614"/>
                  <a:pt x="148" y="1614"/>
                </a:cubicBezTo>
                <a:cubicBezTo>
                  <a:pt x="147" y="1616"/>
                  <a:pt x="146" y="1617"/>
                  <a:pt x="145" y="1618"/>
                </a:cubicBezTo>
                <a:cubicBezTo>
                  <a:pt x="145" y="1618"/>
                  <a:pt x="145" y="1618"/>
                  <a:pt x="145" y="1618"/>
                </a:cubicBezTo>
                <a:cubicBezTo>
                  <a:pt x="145" y="1617"/>
                  <a:pt x="146" y="1615"/>
                  <a:pt x="146" y="1613"/>
                </a:cubicBezTo>
                <a:cubicBezTo>
                  <a:pt x="145" y="1614"/>
                  <a:pt x="144" y="1614"/>
                  <a:pt x="144" y="1615"/>
                </a:cubicBezTo>
                <a:cubicBezTo>
                  <a:pt x="143" y="1615"/>
                  <a:pt x="143" y="1616"/>
                  <a:pt x="143" y="1617"/>
                </a:cubicBezTo>
                <a:cubicBezTo>
                  <a:pt x="143" y="1613"/>
                  <a:pt x="143" y="1613"/>
                  <a:pt x="149" y="1612"/>
                </a:cubicBezTo>
                <a:cubicBezTo>
                  <a:pt x="149" y="1612"/>
                  <a:pt x="148" y="1611"/>
                  <a:pt x="148" y="1611"/>
                </a:cubicBezTo>
                <a:cubicBezTo>
                  <a:pt x="145" y="1612"/>
                  <a:pt x="144" y="1610"/>
                  <a:pt x="144" y="1608"/>
                </a:cubicBezTo>
                <a:cubicBezTo>
                  <a:pt x="146" y="1607"/>
                  <a:pt x="147" y="1607"/>
                  <a:pt x="149" y="1606"/>
                </a:cubicBezTo>
                <a:cubicBezTo>
                  <a:pt x="147" y="1604"/>
                  <a:pt x="146" y="1601"/>
                  <a:pt x="143" y="1601"/>
                </a:cubicBezTo>
                <a:cubicBezTo>
                  <a:pt x="142" y="1601"/>
                  <a:pt x="142" y="1600"/>
                  <a:pt x="142" y="1600"/>
                </a:cubicBezTo>
                <a:cubicBezTo>
                  <a:pt x="139" y="1598"/>
                  <a:pt x="137" y="1596"/>
                  <a:pt x="134" y="1594"/>
                </a:cubicBezTo>
                <a:cubicBezTo>
                  <a:pt x="132" y="1593"/>
                  <a:pt x="129" y="1592"/>
                  <a:pt x="127" y="1592"/>
                </a:cubicBezTo>
                <a:cubicBezTo>
                  <a:pt x="124" y="1592"/>
                  <a:pt x="121" y="1593"/>
                  <a:pt x="117" y="1594"/>
                </a:cubicBezTo>
                <a:cubicBezTo>
                  <a:pt x="115" y="1595"/>
                  <a:pt x="112" y="1597"/>
                  <a:pt x="110" y="1600"/>
                </a:cubicBezTo>
                <a:cubicBezTo>
                  <a:pt x="112" y="1600"/>
                  <a:pt x="113" y="1600"/>
                  <a:pt x="114" y="1600"/>
                </a:cubicBezTo>
                <a:cubicBezTo>
                  <a:pt x="114" y="1600"/>
                  <a:pt x="113" y="1601"/>
                  <a:pt x="112" y="1601"/>
                </a:cubicBezTo>
                <a:cubicBezTo>
                  <a:pt x="110" y="1602"/>
                  <a:pt x="107" y="1601"/>
                  <a:pt x="105" y="1603"/>
                </a:cubicBezTo>
                <a:cubicBezTo>
                  <a:pt x="102" y="1607"/>
                  <a:pt x="98" y="1611"/>
                  <a:pt x="94" y="1615"/>
                </a:cubicBezTo>
                <a:cubicBezTo>
                  <a:pt x="93" y="1617"/>
                  <a:pt x="92" y="1619"/>
                  <a:pt x="91" y="1622"/>
                </a:cubicBezTo>
                <a:cubicBezTo>
                  <a:pt x="91" y="1622"/>
                  <a:pt x="91" y="1623"/>
                  <a:pt x="91" y="1623"/>
                </a:cubicBezTo>
                <a:cubicBezTo>
                  <a:pt x="92" y="1625"/>
                  <a:pt x="94" y="1627"/>
                  <a:pt x="95" y="1629"/>
                </a:cubicBezTo>
                <a:cubicBezTo>
                  <a:pt x="96" y="1628"/>
                  <a:pt x="97" y="1626"/>
                  <a:pt x="99" y="1625"/>
                </a:cubicBezTo>
                <a:cubicBezTo>
                  <a:pt x="98" y="1626"/>
                  <a:pt x="98" y="1627"/>
                  <a:pt x="97" y="1629"/>
                </a:cubicBezTo>
                <a:cubicBezTo>
                  <a:pt x="96" y="1630"/>
                  <a:pt x="95" y="1631"/>
                  <a:pt x="95" y="1633"/>
                </a:cubicBezTo>
                <a:cubicBezTo>
                  <a:pt x="95" y="1634"/>
                  <a:pt x="95" y="1635"/>
                  <a:pt x="95" y="1636"/>
                </a:cubicBezTo>
                <a:cubicBezTo>
                  <a:pt x="98" y="1639"/>
                  <a:pt x="101" y="1639"/>
                  <a:pt x="105" y="1637"/>
                </a:cubicBezTo>
                <a:cubicBezTo>
                  <a:pt x="107" y="1636"/>
                  <a:pt x="110" y="1635"/>
                  <a:pt x="113" y="1634"/>
                </a:cubicBezTo>
                <a:cubicBezTo>
                  <a:pt x="114" y="1633"/>
                  <a:pt x="115" y="1633"/>
                  <a:pt x="115" y="1631"/>
                </a:cubicBezTo>
                <a:cubicBezTo>
                  <a:pt x="115" y="1628"/>
                  <a:pt x="115" y="1624"/>
                  <a:pt x="115" y="1621"/>
                </a:cubicBezTo>
                <a:cubicBezTo>
                  <a:pt x="115" y="1618"/>
                  <a:pt x="115" y="1615"/>
                  <a:pt x="115" y="1612"/>
                </a:cubicBezTo>
                <a:cubicBezTo>
                  <a:pt x="116" y="1615"/>
                  <a:pt x="117" y="1617"/>
                  <a:pt x="117" y="1620"/>
                </a:cubicBezTo>
                <a:cubicBezTo>
                  <a:pt x="118" y="1625"/>
                  <a:pt x="118" y="1629"/>
                  <a:pt x="117" y="1633"/>
                </a:cubicBezTo>
                <a:cubicBezTo>
                  <a:pt x="116" y="1634"/>
                  <a:pt x="115" y="1635"/>
                  <a:pt x="115" y="1635"/>
                </a:cubicBezTo>
                <a:cubicBezTo>
                  <a:pt x="112" y="1635"/>
                  <a:pt x="108" y="1637"/>
                  <a:pt x="105" y="1639"/>
                </a:cubicBezTo>
                <a:cubicBezTo>
                  <a:pt x="100" y="1642"/>
                  <a:pt x="97" y="1640"/>
                  <a:pt x="93" y="1636"/>
                </a:cubicBezTo>
                <a:cubicBezTo>
                  <a:pt x="93" y="1636"/>
                  <a:pt x="93" y="1635"/>
                  <a:pt x="93" y="1634"/>
                </a:cubicBezTo>
                <a:cubicBezTo>
                  <a:pt x="94" y="1632"/>
                  <a:pt x="93" y="1630"/>
                  <a:pt x="92" y="1628"/>
                </a:cubicBezTo>
                <a:cubicBezTo>
                  <a:pt x="90" y="1626"/>
                  <a:pt x="88" y="1623"/>
                  <a:pt x="90" y="1621"/>
                </a:cubicBezTo>
                <a:cubicBezTo>
                  <a:pt x="90" y="1619"/>
                  <a:pt x="91" y="1617"/>
                  <a:pt x="92" y="1616"/>
                </a:cubicBezTo>
                <a:cubicBezTo>
                  <a:pt x="94" y="1613"/>
                  <a:pt x="96" y="1610"/>
                  <a:pt x="98" y="1608"/>
                </a:cubicBezTo>
                <a:cubicBezTo>
                  <a:pt x="98" y="1608"/>
                  <a:pt x="97" y="1608"/>
                  <a:pt x="97" y="1608"/>
                </a:cubicBezTo>
                <a:cubicBezTo>
                  <a:pt x="92" y="1609"/>
                  <a:pt x="88" y="1610"/>
                  <a:pt x="84" y="1614"/>
                </a:cubicBezTo>
                <a:cubicBezTo>
                  <a:pt x="79" y="1618"/>
                  <a:pt x="76" y="1623"/>
                  <a:pt x="76" y="1630"/>
                </a:cubicBezTo>
                <a:cubicBezTo>
                  <a:pt x="75" y="1636"/>
                  <a:pt x="78" y="1642"/>
                  <a:pt x="81" y="1648"/>
                </a:cubicBezTo>
                <a:cubicBezTo>
                  <a:pt x="82" y="1649"/>
                  <a:pt x="83" y="1651"/>
                  <a:pt x="82" y="1652"/>
                </a:cubicBezTo>
                <a:cubicBezTo>
                  <a:pt x="82" y="1654"/>
                  <a:pt x="82" y="1655"/>
                  <a:pt x="81" y="1656"/>
                </a:cubicBezTo>
                <a:cubicBezTo>
                  <a:pt x="81" y="1658"/>
                  <a:pt x="81" y="1659"/>
                  <a:pt x="82" y="1659"/>
                </a:cubicBezTo>
                <a:cubicBezTo>
                  <a:pt x="85" y="1660"/>
                  <a:pt x="88" y="1661"/>
                  <a:pt x="91" y="1661"/>
                </a:cubicBezTo>
                <a:cubicBezTo>
                  <a:pt x="92" y="1661"/>
                  <a:pt x="92" y="1660"/>
                  <a:pt x="92" y="1660"/>
                </a:cubicBezTo>
                <a:cubicBezTo>
                  <a:pt x="93" y="1659"/>
                  <a:pt x="93" y="1657"/>
                  <a:pt x="94" y="1656"/>
                </a:cubicBezTo>
                <a:cubicBezTo>
                  <a:pt x="95" y="1654"/>
                  <a:pt x="95" y="1651"/>
                  <a:pt x="95" y="1648"/>
                </a:cubicBezTo>
                <a:cubicBezTo>
                  <a:pt x="95" y="1648"/>
                  <a:pt x="95" y="1648"/>
                  <a:pt x="95" y="1647"/>
                </a:cubicBezTo>
                <a:cubicBezTo>
                  <a:pt x="95" y="1647"/>
                  <a:pt x="95" y="1647"/>
                  <a:pt x="95" y="1646"/>
                </a:cubicBezTo>
                <a:cubicBezTo>
                  <a:pt x="96" y="1649"/>
                  <a:pt x="97" y="1649"/>
                  <a:pt x="99" y="1649"/>
                </a:cubicBezTo>
                <a:cubicBezTo>
                  <a:pt x="100" y="1649"/>
                  <a:pt x="101" y="1649"/>
                  <a:pt x="102" y="1649"/>
                </a:cubicBezTo>
                <a:cubicBezTo>
                  <a:pt x="104" y="1649"/>
                  <a:pt x="108" y="1650"/>
                  <a:pt x="108" y="1646"/>
                </a:cubicBezTo>
                <a:cubicBezTo>
                  <a:pt x="108" y="1648"/>
                  <a:pt x="108" y="1650"/>
                  <a:pt x="108" y="1650"/>
                </a:cubicBezTo>
                <a:cubicBezTo>
                  <a:pt x="107" y="1651"/>
                  <a:pt x="106" y="1652"/>
                  <a:pt x="104" y="1652"/>
                </a:cubicBezTo>
                <a:cubicBezTo>
                  <a:pt x="103" y="1653"/>
                  <a:pt x="103" y="1655"/>
                  <a:pt x="103" y="1656"/>
                </a:cubicBezTo>
                <a:cubicBezTo>
                  <a:pt x="104" y="1658"/>
                  <a:pt x="106" y="1660"/>
                  <a:pt x="107" y="1662"/>
                </a:cubicBezTo>
                <a:cubicBezTo>
                  <a:pt x="109" y="1663"/>
                  <a:pt x="111" y="1663"/>
                  <a:pt x="112" y="1661"/>
                </a:cubicBezTo>
                <a:cubicBezTo>
                  <a:pt x="113" y="1660"/>
                  <a:pt x="114" y="1659"/>
                  <a:pt x="114" y="1659"/>
                </a:cubicBezTo>
                <a:cubicBezTo>
                  <a:pt x="116" y="1657"/>
                  <a:pt x="117" y="1656"/>
                  <a:pt x="119" y="1655"/>
                </a:cubicBezTo>
                <a:cubicBezTo>
                  <a:pt x="123" y="1651"/>
                  <a:pt x="125" y="1645"/>
                  <a:pt x="127" y="1639"/>
                </a:cubicBezTo>
                <a:cubicBezTo>
                  <a:pt x="127" y="1638"/>
                  <a:pt x="126" y="1638"/>
                  <a:pt x="126" y="1637"/>
                </a:cubicBezTo>
                <a:cubicBezTo>
                  <a:pt x="125" y="1636"/>
                  <a:pt x="124" y="1635"/>
                  <a:pt x="123" y="1635"/>
                </a:cubicBezTo>
                <a:close/>
                <a:moveTo>
                  <a:pt x="75" y="1641"/>
                </a:moveTo>
                <a:cubicBezTo>
                  <a:pt x="75" y="1642"/>
                  <a:pt x="73" y="1642"/>
                  <a:pt x="72" y="1644"/>
                </a:cubicBezTo>
                <a:cubicBezTo>
                  <a:pt x="72" y="1644"/>
                  <a:pt x="71" y="1645"/>
                  <a:pt x="71" y="1646"/>
                </a:cubicBezTo>
                <a:cubicBezTo>
                  <a:pt x="71" y="1648"/>
                  <a:pt x="75" y="1653"/>
                  <a:pt x="79" y="1652"/>
                </a:cubicBezTo>
                <a:cubicBezTo>
                  <a:pt x="80" y="1652"/>
                  <a:pt x="81" y="1651"/>
                  <a:pt x="80" y="1650"/>
                </a:cubicBezTo>
                <a:cubicBezTo>
                  <a:pt x="79" y="1646"/>
                  <a:pt x="77" y="1644"/>
                  <a:pt x="75" y="1641"/>
                </a:cubicBezTo>
                <a:close/>
                <a:moveTo>
                  <a:pt x="128" y="1643"/>
                </a:moveTo>
                <a:cubicBezTo>
                  <a:pt x="126" y="1648"/>
                  <a:pt x="123" y="1652"/>
                  <a:pt x="121" y="1656"/>
                </a:cubicBezTo>
                <a:cubicBezTo>
                  <a:pt x="124" y="1656"/>
                  <a:pt x="126" y="1657"/>
                  <a:pt x="129" y="1656"/>
                </a:cubicBezTo>
                <a:cubicBezTo>
                  <a:pt x="129" y="1656"/>
                  <a:pt x="130" y="1655"/>
                  <a:pt x="130" y="1655"/>
                </a:cubicBezTo>
                <a:cubicBezTo>
                  <a:pt x="130" y="1652"/>
                  <a:pt x="130" y="1650"/>
                  <a:pt x="129" y="1647"/>
                </a:cubicBezTo>
                <a:cubicBezTo>
                  <a:pt x="129" y="1646"/>
                  <a:pt x="128" y="1644"/>
                  <a:pt x="128" y="1643"/>
                </a:cubicBezTo>
                <a:close/>
                <a:moveTo>
                  <a:pt x="75" y="1623"/>
                </a:moveTo>
                <a:cubicBezTo>
                  <a:pt x="75" y="1623"/>
                  <a:pt x="74" y="1623"/>
                  <a:pt x="74" y="1623"/>
                </a:cubicBezTo>
                <a:cubicBezTo>
                  <a:pt x="73" y="1623"/>
                  <a:pt x="72" y="1623"/>
                  <a:pt x="72" y="1623"/>
                </a:cubicBezTo>
                <a:cubicBezTo>
                  <a:pt x="72" y="1623"/>
                  <a:pt x="71" y="1622"/>
                  <a:pt x="71" y="1621"/>
                </a:cubicBezTo>
                <a:cubicBezTo>
                  <a:pt x="72" y="1619"/>
                  <a:pt x="72" y="1617"/>
                  <a:pt x="73" y="1615"/>
                </a:cubicBezTo>
                <a:cubicBezTo>
                  <a:pt x="73" y="1615"/>
                  <a:pt x="73" y="1615"/>
                  <a:pt x="72" y="1615"/>
                </a:cubicBezTo>
                <a:cubicBezTo>
                  <a:pt x="72" y="1616"/>
                  <a:pt x="70" y="1617"/>
                  <a:pt x="70" y="1618"/>
                </a:cubicBezTo>
                <a:cubicBezTo>
                  <a:pt x="69" y="1619"/>
                  <a:pt x="70" y="1624"/>
                  <a:pt x="72" y="1625"/>
                </a:cubicBezTo>
                <a:cubicBezTo>
                  <a:pt x="74" y="1626"/>
                  <a:pt x="75" y="1625"/>
                  <a:pt x="75" y="1623"/>
                </a:cubicBezTo>
                <a:close/>
                <a:moveTo>
                  <a:pt x="76" y="1641"/>
                </a:moveTo>
                <a:cubicBezTo>
                  <a:pt x="75" y="1641"/>
                  <a:pt x="73" y="1642"/>
                  <a:pt x="72" y="1643"/>
                </a:cubicBezTo>
                <a:cubicBezTo>
                  <a:pt x="72" y="1644"/>
                  <a:pt x="71" y="1645"/>
                  <a:pt x="71" y="1645"/>
                </a:cubicBezTo>
                <a:cubicBezTo>
                  <a:pt x="71" y="1648"/>
                  <a:pt x="76" y="1653"/>
                  <a:pt x="79" y="1652"/>
                </a:cubicBezTo>
                <a:cubicBezTo>
                  <a:pt x="80" y="1652"/>
                  <a:pt x="81" y="1651"/>
                  <a:pt x="80" y="1649"/>
                </a:cubicBezTo>
                <a:cubicBezTo>
                  <a:pt x="79" y="1646"/>
                  <a:pt x="77" y="1643"/>
                  <a:pt x="76" y="1641"/>
                </a:cubicBezTo>
                <a:close/>
                <a:moveTo>
                  <a:pt x="128" y="1642"/>
                </a:moveTo>
                <a:cubicBezTo>
                  <a:pt x="126" y="1647"/>
                  <a:pt x="124" y="1652"/>
                  <a:pt x="121" y="1656"/>
                </a:cubicBezTo>
                <a:cubicBezTo>
                  <a:pt x="124" y="1656"/>
                  <a:pt x="126" y="1656"/>
                  <a:pt x="129" y="1656"/>
                </a:cubicBezTo>
                <a:cubicBezTo>
                  <a:pt x="129" y="1656"/>
                  <a:pt x="129" y="1655"/>
                  <a:pt x="129" y="1654"/>
                </a:cubicBezTo>
                <a:cubicBezTo>
                  <a:pt x="129" y="1652"/>
                  <a:pt x="129" y="1649"/>
                  <a:pt x="129" y="1647"/>
                </a:cubicBezTo>
                <a:cubicBezTo>
                  <a:pt x="129" y="1645"/>
                  <a:pt x="128" y="1644"/>
                  <a:pt x="128" y="1642"/>
                </a:cubicBezTo>
                <a:close/>
                <a:moveTo>
                  <a:pt x="76" y="1623"/>
                </a:moveTo>
                <a:cubicBezTo>
                  <a:pt x="75" y="1623"/>
                  <a:pt x="74" y="1623"/>
                  <a:pt x="74" y="1623"/>
                </a:cubicBezTo>
                <a:cubicBezTo>
                  <a:pt x="73" y="1623"/>
                  <a:pt x="72" y="1623"/>
                  <a:pt x="72" y="1623"/>
                </a:cubicBezTo>
                <a:cubicBezTo>
                  <a:pt x="72" y="1623"/>
                  <a:pt x="71" y="1622"/>
                  <a:pt x="71" y="1621"/>
                </a:cubicBezTo>
                <a:cubicBezTo>
                  <a:pt x="72" y="1619"/>
                  <a:pt x="73" y="1617"/>
                  <a:pt x="73" y="1615"/>
                </a:cubicBezTo>
                <a:cubicBezTo>
                  <a:pt x="73" y="1615"/>
                  <a:pt x="73" y="1615"/>
                  <a:pt x="73" y="1615"/>
                </a:cubicBezTo>
                <a:cubicBezTo>
                  <a:pt x="72" y="1616"/>
                  <a:pt x="71" y="1617"/>
                  <a:pt x="70" y="1618"/>
                </a:cubicBezTo>
                <a:cubicBezTo>
                  <a:pt x="69" y="1619"/>
                  <a:pt x="71" y="1624"/>
                  <a:pt x="72" y="1625"/>
                </a:cubicBezTo>
                <a:cubicBezTo>
                  <a:pt x="74" y="1626"/>
                  <a:pt x="76" y="1624"/>
                  <a:pt x="76" y="1623"/>
                </a:cubicBezTo>
                <a:close/>
                <a:moveTo>
                  <a:pt x="128" y="1614"/>
                </a:moveTo>
                <a:cubicBezTo>
                  <a:pt x="131" y="1611"/>
                  <a:pt x="131" y="1611"/>
                  <a:pt x="135" y="1609"/>
                </a:cubicBezTo>
                <a:cubicBezTo>
                  <a:pt x="135" y="1611"/>
                  <a:pt x="136" y="1613"/>
                  <a:pt x="138" y="1613"/>
                </a:cubicBezTo>
                <a:cubicBezTo>
                  <a:pt x="135" y="1614"/>
                  <a:pt x="133" y="1615"/>
                  <a:pt x="131" y="1617"/>
                </a:cubicBezTo>
                <a:cubicBezTo>
                  <a:pt x="130" y="1616"/>
                  <a:pt x="130" y="1615"/>
                  <a:pt x="129" y="1614"/>
                </a:cubicBezTo>
                <a:cubicBezTo>
                  <a:pt x="129" y="1614"/>
                  <a:pt x="128" y="1614"/>
                  <a:pt x="128" y="1614"/>
                </a:cubicBezTo>
                <a:close/>
                <a:moveTo>
                  <a:pt x="134" y="1614"/>
                </a:moveTo>
                <a:cubicBezTo>
                  <a:pt x="133" y="1613"/>
                  <a:pt x="132" y="1613"/>
                  <a:pt x="132" y="1613"/>
                </a:cubicBezTo>
                <a:cubicBezTo>
                  <a:pt x="131" y="1613"/>
                  <a:pt x="130" y="1614"/>
                  <a:pt x="130" y="1614"/>
                </a:cubicBezTo>
                <a:cubicBezTo>
                  <a:pt x="130" y="1615"/>
                  <a:pt x="131" y="1615"/>
                  <a:pt x="131" y="1615"/>
                </a:cubicBezTo>
                <a:cubicBezTo>
                  <a:pt x="132" y="1615"/>
                  <a:pt x="132" y="1615"/>
                  <a:pt x="134" y="1614"/>
                </a:cubicBezTo>
                <a:close/>
                <a:moveTo>
                  <a:pt x="115" y="1604"/>
                </a:moveTo>
                <a:cubicBezTo>
                  <a:pt x="108" y="1604"/>
                  <a:pt x="105" y="1606"/>
                  <a:pt x="104" y="1614"/>
                </a:cubicBezTo>
                <a:cubicBezTo>
                  <a:pt x="105" y="1612"/>
                  <a:pt x="106" y="1609"/>
                  <a:pt x="108" y="1607"/>
                </a:cubicBezTo>
                <a:cubicBezTo>
                  <a:pt x="108" y="1607"/>
                  <a:pt x="108" y="1607"/>
                  <a:pt x="108" y="1607"/>
                </a:cubicBezTo>
                <a:cubicBezTo>
                  <a:pt x="108" y="1608"/>
                  <a:pt x="108" y="1609"/>
                  <a:pt x="108" y="1610"/>
                </a:cubicBezTo>
                <a:cubicBezTo>
                  <a:pt x="109" y="1607"/>
                  <a:pt x="111" y="1605"/>
                  <a:pt x="115" y="1604"/>
                </a:cubicBezTo>
                <a:close/>
                <a:moveTo>
                  <a:pt x="158" y="1606"/>
                </a:moveTo>
                <a:cubicBezTo>
                  <a:pt x="156" y="1607"/>
                  <a:pt x="154" y="1609"/>
                  <a:pt x="153" y="1610"/>
                </a:cubicBezTo>
                <a:cubicBezTo>
                  <a:pt x="155" y="1610"/>
                  <a:pt x="157" y="1609"/>
                  <a:pt x="158" y="1606"/>
                </a:cubicBezTo>
                <a:close/>
                <a:moveTo>
                  <a:pt x="125" y="1608"/>
                </a:moveTo>
                <a:cubicBezTo>
                  <a:pt x="126" y="1607"/>
                  <a:pt x="127" y="1605"/>
                  <a:pt x="128" y="1604"/>
                </a:cubicBezTo>
                <a:cubicBezTo>
                  <a:pt x="125" y="1605"/>
                  <a:pt x="125" y="1606"/>
                  <a:pt x="125" y="1608"/>
                </a:cubicBezTo>
                <a:close/>
                <a:moveTo>
                  <a:pt x="135" y="1629"/>
                </a:moveTo>
                <a:cubicBezTo>
                  <a:pt x="133" y="1629"/>
                  <a:pt x="132" y="1630"/>
                  <a:pt x="132" y="1631"/>
                </a:cubicBezTo>
                <a:cubicBezTo>
                  <a:pt x="133" y="1631"/>
                  <a:pt x="134" y="1630"/>
                  <a:pt x="135" y="1629"/>
                </a:cubicBezTo>
                <a:close/>
                <a:moveTo>
                  <a:pt x="134" y="1614"/>
                </a:moveTo>
                <a:cubicBezTo>
                  <a:pt x="133" y="1613"/>
                  <a:pt x="132" y="1613"/>
                  <a:pt x="132" y="1613"/>
                </a:cubicBezTo>
                <a:cubicBezTo>
                  <a:pt x="131" y="1613"/>
                  <a:pt x="130" y="1614"/>
                  <a:pt x="130" y="1614"/>
                </a:cubicBezTo>
                <a:cubicBezTo>
                  <a:pt x="130" y="1615"/>
                  <a:pt x="131" y="1615"/>
                  <a:pt x="131" y="1616"/>
                </a:cubicBezTo>
                <a:cubicBezTo>
                  <a:pt x="132" y="1615"/>
                  <a:pt x="133" y="1615"/>
                  <a:pt x="134" y="1614"/>
                </a:cubicBezTo>
                <a:close/>
                <a:moveTo>
                  <a:pt x="1768" y="1770"/>
                </a:moveTo>
                <a:cubicBezTo>
                  <a:pt x="1771" y="1751"/>
                  <a:pt x="1771" y="1751"/>
                  <a:pt x="1771" y="1751"/>
                </a:cubicBezTo>
                <a:cubicBezTo>
                  <a:pt x="1762" y="1751"/>
                  <a:pt x="1762" y="1751"/>
                  <a:pt x="1762" y="1751"/>
                </a:cubicBezTo>
                <a:cubicBezTo>
                  <a:pt x="1762" y="1739"/>
                  <a:pt x="1762" y="1739"/>
                  <a:pt x="1762" y="1739"/>
                </a:cubicBezTo>
                <a:cubicBezTo>
                  <a:pt x="1773" y="1739"/>
                  <a:pt x="1773" y="1739"/>
                  <a:pt x="1773" y="1739"/>
                </a:cubicBezTo>
                <a:cubicBezTo>
                  <a:pt x="1774" y="1728"/>
                  <a:pt x="1774" y="1728"/>
                  <a:pt x="1774" y="1728"/>
                </a:cubicBezTo>
                <a:cubicBezTo>
                  <a:pt x="1765" y="1728"/>
                  <a:pt x="1765" y="1728"/>
                  <a:pt x="1765" y="1728"/>
                </a:cubicBezTo>
                <a:cubicBezTo>
                  <a:pt x="1765" y="1716"/>
                  <a:pt x="1765" y="1716"/>
                  <a:pt x="1765" y="1716"/>
                </a:cubicBezTo>
                <a:cubicBezTo>
                  <a:pt x="1776" y="1716"/>
                  <a:pt x="1776" y="1716"/>
                  <a:pt x="1776" y="1716"/>
                </a:cubicBezTo>
                <a:cubicBezTo>
                  <a:pt x="1779" y="1698"/>
                  <a:pt x="1779" y="1698"/>
                  <a:pt x="1779" y="1698"/>
                </a:cubicBezTo>
                <a:cubicBezTo>
                  <a:pt x="1790" y="1698"/>
                  <a:pt x="1790" y="1698"/>
                  <a:pt x="1790" y="1698"/>
                </a:cubicBezTo>
                <a:cubicBezTo>
                  <a:pt x="1787" y="1716"/>
                  <a:pt x="1787" y="1716"/>
                  <a:pt x="1787" y="1716"/>
                </a:cubicBezTo>
                <a:cubicBezTo>
                  <a:pt x="1797" y="1716"/>
                  <a:pt x="1797" y="1716"/>
                  <a:pt x="1797" y="1716"/>
                </a:cubicBezTo>
                <a:cubicBezTo>
                  <a:pt x="1800" y="1698"/>
                  <a:pt x="1800" y="1698"/>
                  <a:pt x="1800" y="1698"/>
                </a:cubicBezTo>
                <a:cubicBezTo>
                  <a:pt x="1811" y="1698"/>
                  <a:pt x="1811" y="1698"/>
                  <a:pt x="1811" y="1698"/>
                </a:cubicBezTo>
                <a:cubicBezTo>
                  <a:pt x="1808" y="1716"/>
                  <a:pt x="1808" y="1716"/>
                  <a:pt x="1808" y="1716"/>
                </a:cubicBezTo>
                <a:cubicBezTo>
                  <a:pt x="1817" y="1716"/>
                  <a:pt x="1817" y="1716"/>
                  <a:pt x="1817" y="1716"/>
                </a:cubicBezTo>
                <a:cubicBezTo>
                  <a:pt x="1817" y="1728"/>
                  <a:pt x="1817" y="1728"/>
                  <a:pt x="1817" y="1728"/>
                </a:cubicBezTo>
                <a:cubicBezTo>
                  <a:pt x="1806" y="1728"/>
                  <a:pt x="1806" y="1728"/>
                  <a:pt x="1806" y="1728"/>
                </a:cubicBezTo>
                <a:cubicBezTo>
                  <a:pt x="1805" y="1739"/>
                  <a:pt x="1805" y="1739"/>
                  <a:pt x="1805" y="1739"/>
                </a:cubicBezTo>
                <a:cubicBezTo>
                  <a:pt x="1814" y="1739"/>
                  <a:pt x="1814" y="1739"/>
                  <a:pt x="1814" y="1739"/>
                </a:cubicBezTo>
                <a:cubicBezTo>
                  <a:pt x="1814" y="1751"/>
                  <a:pt x="1814" y="1751"/>
                  <a:pt x="1814" y="1751"/>
                </a:cubicBezTo>
                <a:cubicBezTo>
                  <a:pt x="1803" y="1751"/>
                  <a:pt x="1803" y="1751"/>
                  <a:pt x="1803" y="1751"/>
                </a:cubicBezTo>
                <a:cubicBezTo>
                  <a:pt x="1800" y="1770"/>
                  <a:pt x="1800" y="1770"/>
                  <a:pt x="1800" y="1770"/>
                </a:cubicBezTo>
                <a:cubicBezTo>
                  <a:pt x="1789" y="1770"/>
                  <a:pt x="1789" y="1770"/>
                  <a:pt x="1789" y="1770"/>
                </a:cubicBezTo>
                <a:cubicBezTo>
                  <a:pt x="1792" y="1751"/>
                  <a:pt x="1792" y="1751"/>
                  <a:pt x="1792" y="1751"/>
                </a:cubicBezTo>
                <a:cubicBezTo>
                  <a:pt x="1782" y="1751"/>
                  <a:pt x="1782" y="1751"/>
                  <a:pt x="1782" y="1751"/>
                </a:cubicBezTo>
                <a:cubicBezTo>
                  <a:pt x="1779" y="1770"/>
                  <a:pt x="1779" y="1770"/>
                  <a:pt x="1779" y="1770"/>
                </a:cubicBezTo>
                <a:cubicBezTo>
                  <a:pt x="1768" y="1770"/>
                  <a:pt x="1768" y="1770"/>
                  <a:pt x="1768" y="1770"/>
                </a:cubicBezTo>
                <a:cubicBezTo>
                  <a:pt x="1768" y="1770"/>
                  <a:pt x="1768" y="1770"/>
                  <a:pt x="1768" y="1770"/>
                </a:cubicBezTo>
                <a:close/>
                <a:moveTo>
                  <a:pt x="1793" y="1739"/>
                </a:moveTo>
                <a:cubicBezTo>
                  <a:pt x="1795" y="1728"/>
                  <a:pt x="1795" y="1728"/>
                  <a:pt x="1795" y="1728"/>
                </a:cubicBezTo>
                <a:cubicBezTo>
                  <a:pt x="1785" y="1728"/>
                  <a:pt x="1785" y="1728"/>
                  <a:pt x="1785" y="1728"/>
                </a:cubicBezTo>
                <a:cubicBezTo>
                  <a:pt x="1784" y="1739"/>
                  <a:pt x="1784" y="1739"/>
                  <a:pt x="1784" y="1739"/>
                </a:cubicBezTo>
                <a:cubicBezTo>
                  <a:pt x="1793" y="1739"/>
                  <a:pt x="1793" y="1739"/>
                  <a:pt x="1793" y="1739"/>
                </a:cubicBezTo>
                <a:cubicBezTo>
                  <a:pt x="1793" y="1739"/>
                  <a:pt x="1793" y="1739"/>
                  <a:pt x="1793" y="1739"/>
                </a:cubicBezTo>
                <a:close/>
                <a:moveTo>
                  <a:pt x="653" y="1744"/>
                </a:moveTo>
                <a:cubicBezTo>
                  <a:pt x="653" y="1746"/>
                  <a:pt x="654" y="1747"/>
                  <a:pt x="655" y="1748"/>
                </a:cubicBezTo>
                <a:cubicBezTo>
                  <a:pt x="655" y="1750"/>
                  <a:pt x="655" y="1752"/>
                  <a:pt x="656" y="1753"/>
                </a:cubicBezTo>
                <a:cubicBezTo>
                  <a:pt x="656" y="1755"/>
                  <a:pt x="656" y="1757"/>
                  <a:pt x="656" y="1758"/>
                </a:cubicBezTo>
                <a:cubicBezTo>
                  <a:pt x="657" y="1761"/>
                  <a:pt x="656" y="1763"/>
                  <a:pt x="653" y="1763"/>
                </a:cubicBezTo>
                <a:cubicBezTo>
                  <a:pt x="650" y="1763"/>
                  <a:pt x="647" y="1763"/>
                  <a:pt x="644" y="1763"/>
                </a:cubicBezTo>
                <a:cubicBezTo>
                  <a:pt x="644" y="1763"/>
                  <a:pt x="643" y="1763"/>
                  <a:pt x="643" y="1763"/>
                </a:cubicBezTo>
                <a:cubicBezTo>
                  <a:pt x="641" y="1765"/>
                  <a:pt x="640" y="1766"/>
                  <a:pt x="638" y="1767"/>
                </a:cubicBezTo>
                <a:cubicBezTo>
                  <a:pt x="636" y="1770"/>
                  <a:pt x="633" y="1770"/>
                  <a:pt x="631" y="1768"/>
                </a:cubicBezTo>
                <a:cubicBezTo>
                  <a:pt x="629" y="1766"/>
                  <a:pt x="628" y="1763"/>
                  <a:pt x="626" y="1761"/>
                </a:cubicBezTo>
                <a:cubicBezTo>
                  <a:pt x="625" y="1759"/>
                  <a:pt x="626" y="1757"/>
                  <a:pt x="628" y="1756"/>
                </a:cubicBezTo>
                <a:cubicBezTo>
                  <a:pt x="625" y="1756"/>
                  <a:pt x="624" y="1756"/>
                  <a:pt x="622" y="1756"/>
                </a:cubicBezTo>
                <a:cubicBezTo>
                  <a:pt x="621" y="1758"/>
                  <a:pt x="620" y="1760"/>
                  <a:pt x="619" y="1762"/>
                </a:cubicBezTo>
                <a:cubicBezTo>
                  <a:pt x="619" y="1763"/>
                  <a:pt x="619" y="1763"/>
                  <a:pt x="619" y="1764"/>
                </a:cubicBezTo>
                <a:cubicBezTo>
                  <a:pt x="619" y="1767"/>
                  <a:pt x="618" y="1769"/>
                  <a:pt x="615" y="1768"/>
                </a:cubicBezTo>
                <a:cubicBezTo>
                  <a:pt x="612" y="1768"/>
                  <a:pt x="609" y="1767"/>
                  <a:pt x="606" y="1766"/>
                </a:cubicBezTo>
                <a:cubicBezTo>
                  <a:pt x="604" y="1765"/>
                  <a:pt x="603" y="1764"/>
                  <a:pt x="604" y="1762"/>
                </a:cubicBezTo>
                <a:cubicBezTo>
                  <a:pt x="604" y="1761"/>
                  <a:pt x="604" y="1760"/>
                  <a:pt x="604" y="1760"/>
                </a:cubicBezTo>
                <a:cubicBezTo>
                  <a:pt x="602" y="1759"/>
                  <a:pt x="600" y="1758"/>
                  <a:pt x="598" y="1757"/>
                </a:cubicBezTo>
                <a:cubicBezTo>
                  <a:pt x="597" y="1756"/>
                  <a:pt x="595" y="1754"/>
                  <a:pt x="595" y="1752"/>
                </a:cubicBezTo>
                <a:cubicBezTo>
                  <a:pt x="594" y="1750"/>
                  <a:pt x="594" y="1749"/>
                  <a:pt x="596" y="1747"/>
                </a:cubicBezTo>
                <a:cubicBezTo>
                  <a:pt x="599" y="1745"/>
                  <a:pt x="600" y="1742"/>
                  <a:pt x="599" y="1738"/>
                </a:cubicBezTo>
                <a:cubicBezTo>
                  <a:pt x="599" y="1736"/>
                  <a:pt x="599" y="1734"/>
                  <a:pt x="599" y="1732"/>
                </a:cubicBezTo>
                <a:cubicBezTo>
                  <a:pt x="598" y="1731"/>
                  <a:pt x="596" y="1731"/>
                  <a:pt x="595" y="1730"/>
                </a:cubicBezTo>
                <a:cubicBezTo>
                  <a:pt x="594" y="1728"/>
                  <a:pt x="593" y="1726"/>
                  <a:pt x="593" y="1724"/>
                </a:cubicBezTo>
                <a:cubicBezTo>
                  <a:pt x="593" y="1721"/>
                  <a:pt x="596" y="1719"/>
                  <a:pt x="599" y="1718"/>
                </a:cubicBezTo>
                <a:cubicBezTo>
                  <a:pt x="599" y="1719"/>
                  <a:pt x="599" y="1719"/>
                  <a:pt x="600" y="1720"/>
                </a:cubicBezTo>
                <a:cubicBezTo>
                  <a:pt x="600" y="1721"/>
                  <a:pt x="600" y="1722"/>
                  <a:pt x="600" y="1723"/>
                </a:cubicBezTo>
                <a:cubicBezTo>
                  <a:pt x="599" y="1723"/>
                  <a:pt x="599" y="1723"/>
                  <a:pt x="599" y="1723"/>
                </a:cubicBezTo>
                <a:cubicBezTo>
                  <a:pt x="598" y="1724"/>
                  <a:pt x="598" y="1725"/>
                  <a:pt x="597" y="1727"/>
                </a:cubicBezTo>
                <a:cubicBezTo>
                  <a:pt x="598" y="1727"/>
                  <a:pt x="599" y="1727"/>
                  <a:pt x="599" y="1727"/>
                </a:cubicBezTo>
                <a:cubicBezTo>
                  <a:pt x="601" y="1725"/>
                  <a:pt x="601" y="1725"/>
                  <a:pt x="602" y="1723"/>
                </a:cubicBezTo>
                <a:cubicBezTo>
                  <a:pt x="606" y="1717"/>
                  <a:pt x="612" y="1713"/>
                  <a:pt x="620" y="1711"/>
                </a:cubicBezTo>
                <a:cubicBezTo>
                  <a:pt x="623" y="1711"/>
                  <a:pt x="627" y="1710"/>
                  <a:pt x="629" y="1707"/>
                </a:cubicBezTo>
                <a:cubicBezTo>
                  <a:pt x="629" y="1706"/>
                  <a:pt x="630" y="1706"/>
                  <a:pt x="630" y="1706"/>
                </a:cubicBezTo>
                <a:cubicBezTo>
                  <a:pt x="633" y="1706"/>
                  <a:pt x="634" y="1703"/>
                  <a:pt x="636" y="1701"/>
                </a:cubicBezTo>
                <a:cubicBezTo>
                  <a:pt x="644" y="1694"/>
                  <a:pt x="656" y="1693"/>
                  <a:pt x="664" y="1700"/>
                </a:cubicBezTo>
                <a:cubicBezTo>
                  <a:pt x="666" y="1702"/>
                  <a:pt x="669" y="1704"/>
                  <a:pt x="671" y="1706"/>
                </a:cubicBezTo>
                <a:cubicBezTo>
                  <a:pt x="673" y="1707"/>
                  <a:pt x="674" y="1709"/>
                  <a:pt x="675" y="1711"/>
                </a:cubicBezTo>
                <a:cubicBezTo>
                  <a:pt x="676" y="1712"/>
                  <a:pt x="677" y="1712"/>
                  <a:pt x="678" y="1711"/>
                </a:cubicBezTo>
                <a:cubicBezTo>
                  <a:pt x="679" y="1711"/>
                  <a:pt x="679" y="1710"/>
                  <a:pt x="680" y="1709"/>
                </a:cubicBezTo>
                <a:cubicBezTo>
                  <a:pt x="682" y="1706"/>
                  <a:pt x="685" y="1706"/>
                  <a:pt x="686" y="1710"/>
                </a:cubicBezTo>
                <a:cubicBezTo>
                  <a:pt x="688" y="1713"/>
                  <a:pt x="688" y="1715"/>
                  <a:pt x="689" y="1719"/>
                </a:cubicBezTo>
                <a:cubicBezTo>
                  <a:pt x="690" y="1723"/>
                  <a:pt x="689" y="1727"/>
                  <a:pt x="688" y="1732"/>
                </a:cubicBezTo>
                <a:cubicBezTo>
                  <a:pt x="685" y="1738"/>
                  <a:pt x="681" y="1742"/>
                  <a:pt x="674" y="1742"/>
                </a:cubicBezTo>
                <a:cubicBezTo>
                  <a:pt x="673" y="1742"/>
                  <a:pt x="673" y="1742"/>
                  <a:pt x="672" y="1742"/>
                </a:cubicBezTo>
                <a:cubicBezTo>
                  <a:pt x="670" y="1741"/>
                  <a:pt x="668" y="1742"/>
                  <a:pt x="668" y="1744"/>
                </a:cubicBezTo>
                <a:cubicBezTo>
                  <a:pt x="666" y="1748"/>
                  <a:pt x="660" y="1750"/>
                  <a:pt x="657" y="1747"/>
                </a:cubicBezTo>
                <a:cubicBezTo>
                  <a:pt x="656" y="1746"/>
                  <a:pt x="655" y="1745"/>
                  <a:pt x="654" y="1744"/>
                </a:cubicBezTo>
                <a:cubicBezTo>
                  <a:pt x="653" y="1744"/>
                  <a:pt x="653" y="1744"/>
                  <a:pt x="653" y="1744"/>
                </a:cubicBezTo>
                <a:close/>
                <a:moveTo>
                  <a:pt x="647" y="1740"/>
                </a:moveTo>
                <a:cubicBezTo>
                  <a:pt x="651" y="1741"/>
                  <a:pt x="655" y="1742"/>
                  <a:pt x="657" y="1745"/>
                </a:cubicBezTo>
                <a:cubicBezTo>
                  <a:pt x="659" y="1747"/>
                  <a:pt x="661" y="1748"/>
                  <a:pt x="663" y="1747"/>
                </a:cubicBezTo>
                <a:cubicBezTo>
                  <a:pt x="666" y="1746"/>
                  <a:pt x="667" y="1744"/>
                  <a:pt x="667" y="1741"/>
                </a:cubicBezTo>
                <a:cubicBezTo>
                  <a:pt x="667" y="1741"/>
                  <a:pt x="666" y="1741"/>
                  <a:pt x="666" y="1742"/>
                </a:cubicBezTo>
                <a:cubicBezTo>
                  <a:pt x="666" y="1743"/>
                  <a:pt x="664" y="1744"/>
                  <a:pt x="664" y="1745"/>
                </a:cubicBezTo>
                <a:cubicBezTo>
                  <a:pt x="662" y="1746"/>
                  <a:pt x="661" y="1746"/>
                  <a:pt x="660" y="1746"/>
                </a:cubicBezTo>
                <a:cubicBezTo>
                  <a:pt x="660" y="1746"/>
                  <a:pt x="659" y="1744"/>
                  <a:pt x="659" y="1744"/>
                </a:cubicBezTo>
                <a:cubicBezTo>
                  <a:pt x="659" y="1741"/>
                  <a:pt x="660" y="1739"/>
                  <a:pt x="660" y="1737"/>
                </a:cubicBezTo>
                <a:cubicBezTo>
                  <a:pt x="663" y="1738"/>
                  <a:pt x="666" y="1739"/>
                  <a:pt x="670" y="1740"/>
                </a:cubicBezTo>
                <a:cubicBezTo>
                  <a:pt x="677" y="1741"/>
                  <a:pt x="683" y="1739"/>
                  <a:pt x="686" y="1731"/>
                </a:cubicBezTo>
                <a:cubicBezTo>
                  <a:pt x="688" y="1726"/>
                  <a:pt x="688" y="1721"/>
                  <a:pt x="687" y="1716"/>
                </a:cubicBezTo>
                <a:cubicBezTo>
                  <a:pt x="686" y="1714"/>
                  <a:pt x="686" y="1712"/>
                  <a:pt x="685" y="1710"/>
                </a:cubicBezTo>
                <a:cubicBezTo>
                  <a:pt x="684" y="1709"/>
                  <a:pt x="683" y="1708"/>
                  <a:pt x="682" y="1710"/>
                </a:cubicBezTo>
                <a:cubicBezTo>
                  <a:pt x="680" y="1712"/>
                  <a:pt x="679" y="1713"/>
                  <a:pt x="677" y="1714"/>
                </a:cubicBezTo>
                <a:cubicBezTo>
                  <a:pt x="676" y="1714"/>
                  <a:pt x="675" y="1715"/>
                  <a:pt x="675" y="1716"/>
                </a:cubicBezTo>
                <a:cubicBezTo>
                  <a:pt x="676" y="1719"/>
                  <a:pt x="675" y="1723"/>
                  <a:pt x="674" y="1726"/>
                </a:cubicBezTo>
                <a:cubicBezTo>
                  <a:pt x="674" y="1724"/>
                  <a:pt x="675" y="1722"/>
                  <a:pt x="675" y="1720"/>
                </a:cubicBezTo>
                <a:cubicBezTo>
                  <a:pt x="675" y="1719"/>
                  <a:pt x="674" y="1719"/>
                  <a:pt x="674" y="1719"/>
                </a:cubicBezTo>
                <a:cubicBezTo>
                  <a:pt x="673" y="1719"/>
                  <a:pt x="673" y="1719"/>
                  <a:pt x="673" y="1719"/>
                </a:cubicBezTo>
                <a:cubicBezTo>
                  <a:pt x="672" y="1721"/>
                  <a:pt x="671" y="1722"/>
                  <a:pt x="670" y="1723"/>
                </a:cubicBezTo>
                <a:cubicBezTo>
                  <a:pt x="670" y="1723"/>
                  <a:pt x="670" y="1723"/>
                  <a:pt x="670" y="1723"/>
                </a:cubicBezTo>
                <a:cubicBezTo>
                  <a:pt x="670" y="1722"/>
                  <a:pt x="671" y="1720"/>
                  <a:pt x="671" y="1718"/>
                </a:cubicBezTo>
                <a:cubicBezTo>
                  <a:pt x="670" y="1719"/>
                  <a:pt x="670" y="1719"/>
                  <a:pt x="669" y="1720"/>
                </a:cubicBezTo>
                <a:cubicBezTo>
                  <a:pt x="668" y="1720"/>
                  <a:pt x="668" y="1721"/>
                  <a:pt x="668" y="1722"/>
                </a:cubicBezTo>
                <a:cubicBezTo>
                  <a:pt x="668" y="1718"/>
                  <a:pt x="668" y="1718"/>
                  <a:pt x="674" y="1717"/>
                </a:cubicBezTo>
                <a:cubicBezTo>
                  <a:pt x="674" y="1717"/>
                  <a:pt x="673" y="1716"/>
                  <a:pt x="673" y="1716"/>
                </a:cubicBezTo>
                <a:cubicBezTo>
                  <a:pt x="670" y="1717"/>
                  <a:pt x="670" y="1715"/>
                  <a:pt x="669" y="1713"/>
                </a:cubicBezTo>
                <a:cubicBezTo>
                  <a:pt x="671" y="1712"/>
                  <a:pt x="672" y="1712"/>
                  <a:pt x="674" y="1712"/>
                </a:cubicBezTo>
                <a:cubicBezTo>
                  <a:pt x="672" y="1709"/>
                  <a:pt x="671" y="1706"/>
                  <a:pt x="668" y="1706"/>
                </a:cubicBezTo>
                <a:cubicBezTo>
                  <a:pt x="667" y="1706"/>
                  <a:pt x="667" y="1706"/>
                  <a:pt x="667" y="1705"/>
                </a:cubicBezTo>
                <a:cubicBezTo>
                  <a:pt x="664" y="1703"/>
                  <a:pt x="662" y="1701"/>
                  <a:pt x="659" y="1699"/>
                </a:cubicBezTo>
                <a:cubicBezTo>
                  <a:pt x="657" y="1698"/>
                  <a:pt x="654" y="1697"/>
                  <a:pt x="652" y="1697"/>
                </a:cubicBezTo>
                <a:cubicBezTo>
                  <a:pt x="649" y="1697"/>
                  <a:pt x="645" y="1698"/>
                  <a:pt x="642" y="1699"/>
                </a:cubicBezTo>
                <a:cubicBezTo>
                  <a:pt x="640" y="1700"/>
                  <a:pt x="637" y="1702"/>
                  <a:pt x="635" y="1705"/>
                </a:cubicBezTo>
                <a:cubicBezTo>
                  <a:pt x="637" y="1705"/>
                  <a:pt x="638" y="1705"/>
                  <a:pt x="639" y="1705"/>
                </a:cubicBezTo>
                <a:cubicBezTo>
                  <a:pt x="639" y="1706"/>
                  <a:pt x="638" y="1706"/>
                  <a:pt x="637" y="1706"/>
                </a:cubicBezTo>
                <a:cubicBezTo>
                  <a:pt x="635" y="1707"/>
                  <a:pt x="632" y="1706"/>
                  <a:pt x="630" y="1708"/>
                </a:cubicBezTo>
                <a:cubicBezTo>
                  <a:pt x="627" y="1712"/>
                  <a:pt x="623" y="1716"/>
                  <a:pt x="619" y="1720"/>
                </a:cubicBezTo>
                <a:cubicBezTo>
                  <a:pt x="617" y="1722"/>
                  <a:pt x="617" y="1725"/>
                  <a:pt x="616" y="1727"/>
                </a:cubicBezTo>
                <a:cubicBezTo>
                  <a:pt x="616" y="1727"/>
                  <a:pt x="616" y="1728"/>
                  <a:pt x="616" y="1729"/>
                </a:cubicBezTo>
                <a:cubicBezTo>
                  <a:pt x="617" y="1731"/>
                  <a:pt x="618" y="1733"/>
                  <a:pt x="620" y="1734"/>
                </a:cubicBezTo>
                <a:cubicBezTo>
                  <a:pt x="621" y="1733"/>
                  <a:pt x="622" y="1731"/>
                  <a:pt x="623" y="1730"/>
                </a:cubicBezTo>
                <a:cubicBezTo>
                  <a:pt x="623" y="1731"/>
                  <a:pt x="623" y="1733"/>
                  <a:pt x="622" y="1734"/>
                </a:cubicBezTo>
                <a:cubicBezTo>
                  <a:pt x="621" y="1735"/>
                  <a:pt x="620" y="1736"/>
                  <a:pt x="620" y="1738"/>
                </a:cubicBezTo>
                <a:cubicBezTo>
                  <a:pt x="619" y="1739"/>
                  <a:pt x="620" y="1740"/>
                  <a:pt x="620" y="1741"/>
                </a:cubicBezTo>
                <a:cubicBezTo>
                  <a:pt x="623" y="1744"/>
                  <a:pt x="626" y="1744"/>
                  <a:pt x="630" y="1742"/>
                </a:cubicBezTo>
                <a:cubicBezTo>
                  <a:pt x="632" y="1741"/>
                  <a:pt x="635" y="1740"/>
                  <a:pt x="638" y="1739"/>
                </a:cubicBezTo>
                <a:cubicBezTo>
                  <a:pt x="639" y="1738"/>
                  <a:pt x="640" y="1738"/>
                  <a:pt x="640" y="1736"/>
                </a:cubicBezTo>
                <a:cubicBezTo>
                  <a:pt x="640" y="1733"/>
                  <a:pt x="640" y="1729"/>
                  <a:pt x="640" y="1726"/>
                </a:cubicBezTo>
                <a:cubicBezTo>
                  <a:pt x="640" y="1723"/>
                  <a:pt x="640" y="1720"/>
                  <a:pt x="640" y="1717"/>
                </a:cubicBezTo>
                <a:cubicBezTo>
                  <a:pt x="641" y="1720"/>
                  <a:pt x="642" y="1723"/>
                  <a:pt x="642" y="1725"/>
                </a:cubicBezTo>
                <a:cubicBezTo>
                  <a:pt x="643" y="1730"/>
                  <a:pt x="643" y="1734"/>
                  <a:pt x="642" y="1738"/>
                </a:cubicBezTo>
                <a:cubicBezTo>
                  <a:pt x="641" y="1739"/>
                  <a:pt x="640" y="1740"/>
                  <a:pt x="640" y="1740"/>
                </a:cubicBezTo>
                <a:cubicBezTo>
                  <a:pt x="636" y="1740"/>
                  <a:pt x="633" y="1742"/>
                  <a:pt x="630" y="1744"/>
                </a:cubicBezTo>
                <a:cubicBezTo>
                  <a:pt x="625" y="1747"/>
                  <a:pt x="621" y="1745"/>
                  <a:pt x="618" y="1741"/>
                </a:cubicBezTo>
                <a:cubicBezTo>
                  <a:pt x="617" y="1741"/>
                  <a:pt x="617" y="1740"/>
                  <a:pt x="618" y="1739"/>
                </a:cubicBezTo>
                <a:cubicBezTo>
                  <a:pt x="619" y="1737"/>
                  <a:pt x="618" y="1735"/>
                  <a:pt x="616" y="1733"/>
                </a:cubicBezTo>
                <a:cubicBezTo>
                  <a:pt x="615" y="1731"/>
                  <a:pt x="613" y="1729"/>
                  <a:pt x="614" y="1726"/>
                </a:cubicBezTo>
                <a:cubicBezTo>
                  <a:pt x="615" y="1724"/>
                  <a:pt x="616" y="1722"/>
                  <a:pt x="617" y="1721"/>
                </a:cubicBezTo>
                <a:cubicBezTo>
                  <a:pt x="619" y="1718"/>
                  <a:pt x="621" y="1715"/>
                  <a:pt x="623" y="1713"/>
                </a:cubicBezTo>
                <a:cubicBezTo>
                  <a:pt x="623" y="1713"/>
                  <a:pt x="622" y="1713"/>
                  <a:pt x="622" y="1713"/>
                </a:cubicBezTo>
                <a:cubicBezTo>
                  <a:pt x="617" y="1714"/>
                  <a:pt x="612" y="1715"/>
                  <a:pt x="608" y="1719"/>
                </a:cubicBezTo>
                <a:cubicBezTo>
                  <a:pt x="604" y="1723"/>
                  <a:pt x="601" y="1728"/>
                  <a:pt x="601" y="1735"/>
                </a:cubicBezTo>
                <a:cubicBezTo>
                  <a:pt x="600" y="1742"/>
                  <a:pt x="603" y="1748"/>
                  <a:pt x="606" y="1753"/>
                </a:cubicBezTo>
                <a:cubicBezTo>
                  <a:pt x="606" y="1754"/>
                  <a:pt x="607" y="1756"/>
                  <a:pt x="607" y="1757"/>
                </a:cubicBezTo>
                <a:cubicBezTo>
                  <a:pt x="607" y="1759"/>
                  <a:pt x="606" y="1760"/>
                  <a:pt x="606" y="1761"/>
                </a:cubicBezTo>
                <a:cubicBezTo>
                  <a:pt x="605" y="1763"/>
                  <a:pt x="606" y="1764"/>
                  <a:pt x="607" y="1765"/>
                </a:cubicBezTo>
                <a:cubicBezTo>
                  <a:pt x="610" y="1765"/>
                  <a:pt x="613" y="1766"/>
                  <a:pt x="616" y="1766"/>
                </a:cubicBezTo>
                <a:cubicBezTo>
                  <a:pt x="616" y="1766"/>
                  <a:pt x="617" y="1765"/>
                  <a:pt x="617" y="1765"/>
                </a:cubicBezTo>
                <a:cubicBezTo>
                  <a:pt x="617" y="1764"/>
                  <a:pt x="617" y="1762"/>
                  <a:pt x="618" y="1761"/>
                </a:cubicBezTo>
                <a:cubicBezTo>
                  <a:pt x="620" y="1759"/>
                  <a:pt x="620" y="1756"/>
                  <a:pt x="620" y="1753"/>
                </a:cubicBezTo>
                <a:cubicBezTo>
                  <a:pt x="620" y="1753"/>
                  <a:pt x="620" y="1753"/>
                  <a:pt x="620" y="1752"/>
                </a:cubicBezTo>
                <a:cubicBezTo>
                  <a:pt x="620" y="1752"/>
                  <a:pt x="620" y="1752"/>
                  <a:pt x="620" y="1752"/>
                </a:cubicBezTo>
                <a:cubicBezTo>
                  <a:pt x="621" y="1754"/>
                  <a:pt x="622" y="1754"/>
                  <a:pt x="624" y="1754"/>
                </a:cubicBezTo>
                <a:cubicBezTo>
                  <a:pt x="625" y="1754"/>
                  <a:pt x="626" y="1754"/>
                  <a:pt x="627" y="1754"/>
                </a:cubicBezTo>
                <a:cubicBezTo>
                  <a:pt x="629" y="1754"/>
                  <a:pt x="632" y="1755"/>
                  <a:pt x="633" y="1751"/>
                </a:cubicBezTo>
                <a:cubicBezTo>
                  <a:pt x="633" y="1753"/>
                  <a:pt x="633" y="1755"/>
                  <a:pt x="633" y="1755"/>
                </a:cubicBezTo>
                <a:cubicBezTo>
                  <a:pt x="632" y="1756"/>
                  <a:pt x="630" y="1757"/>
                  <a:pt x="629" y="1757"/>
                </a:cubicBezTo>
                <a:cubicBezTo>
                  <a:pt x="628" y="1758"/>
                  <a:pt x="627" y="1760"/>
                  <a:pt x="628" y="1761"/>
                </a:cubicBezTo>
                <a:cubicBezTo>
                  <a:pt x="629" y="1763"/>
                  <a:pt x="630" y="1765"/>
                  <a:pt x="632" y="1767"/>
                </a:cubicBezTo>
                <a:cubicBezTo>
                  <a:pt x="634" y="1768"/>
                  <a:pt x="636" y="1768"/>
                  <a:pt x="637" y="1766"/>
                </a:cubicBezTo>
                <a:cubicBezTo>
                  <a:pt x="638" y="1765"/>
                  <a:pt x="638" y="1765"/>
                  <a:pt x="639" y="1764"/>
                </a:cubicBezTo>
                <a:cubicBezTo>
                  <a:pt x="641" y="1763"/>
                  <a:pt x="642" y="1761"/>
                  <a:pt x="644" y="1760"/>
                </a:cubicBezTo>
                <a:cubicBezTo>
                  <a:pt x="648" y="1756"/>
                  <a:pt x="650" y="1750"/>
                  <a:pt x="652" y="1744"/>
                </a:cubicBezTo>
                <a:cubicBezTo>
                  <a:pt x="652" y="1744"/>
                  <a:pt x="651" y="1743"/>
                  <a:pt x="651" y="1742"/>
                </a:cubicBezTo>
                <a:cubicBezTo>
                  <a:pt x="650" y="1741"/>
                  <a:pt x="649" y="1740"/>
                  <a:pt x="647" y="1740"/>
                </a:cubicBezTo>
                <a:close/>
                <a:moveTo>
                  <a:pt x="600" y="1746"/>
                </a:moveTo>
                <a:cubicBezTo>
                  <a:pt x="599" y="1747"/>
                  <a:pt x="598" y="1748"/>
                  <a:pt x="597" y="1749"/>
                </a:cubicBezTo>
                <a:cubicBezTo>
                  <a:pt x="596" y="1749"/>
                  <a:pt x="596" y="1750"/>
                  <a:pt x="596" y="1751"/>
                </a:cubicBezTo>
                <a:cubicBezTo>
                  <a:pt x="596" y="1753"/>
                  <a:pt x="600" y="1758"/>
                  <a:pt x="603" y="1757"/>
                </a:cubicBezTo>
                <a:cubicBezTo>
                  <a:pt x="605" y="1757"/>
                  <a:pt x="606" y="1756"/>
                  <a:pt x="605" y="1755"/>
                </a:cubicBezTo>
                <a:cubicBezTo>
                  <a:pt x="603" y="1752"/>
                  <a:pt x="602" y="1749"/>
                  <a:pt x="600" y="1746"/>
                </a:cubicBezTo>
                <a:close/>
                <a:moveTo>
                  <a:pt x="653" y="1748"/>
                </a:moveTo>
                <a:cubicBezTo>
                  <a:pt x="651" y="1753"/>
                  <a:pt x="648" y="1757"/>
                  <a:pt x="646" y="1761"/>
                </a:cubicBezTo>
                <a:cubicBezTo>
                  <a:pt x="649" y="1761"/>
                  <a:pt x="651" y="1762"/>
                  <a:pt x="654" y="1761"/>
                </a:cubicBezTo>
                <a:cubicBezTo>
                  <a:pt x="654" y="1761"/>
                  <a:pt x="655" y="1760"/>
                  <a:pt x="655" y="1760"/>
                </a:cubicBezTo>
                <a:cubicBezTo>
                  <a:pt x="655" y="1757"/>
                  <a:pt x="655" y="1755"/>
                  <a:pt x="654" y="1752"/>
                </a:cubicBezTo>
                <a:cubicBezTo>
                  <a:pt x="654" y="1751"/>
                  <a:pt x="653" y="1750"/>
                  <a:pt x="653" y="1748"/>
                </a:cubicBezTo>
                <a:close/>
                <a:moveTo>
                  <a:pt x="600" y="1728"/>
                </a:moveTo>
                <a:cubicBezTo>
                  <a:pt x="599" y="1728"/>
                  <a:pt x="599" y="1729"/>
                  <a:pt x="598" y="1729"/>
                </a:cubicBezTo>
                <a:cubicBezTo>
                  <a:pt x="597" y="1729"/>
                  <a:pt x="597" y="1729"/>
                  <a:pt x="597" y="1728"/>
                </a:cubicBezTo>
                <a:cubicBezTo>
                  <a:pt x="596" y="1728"/>
                  <a:pt x="596" y="1727"/>
                  <a:pt x="596" y="1726"/>
                </a:cubicBezTo>
                <a:cubicBezTo>
                  <a:pt x="597" y="1724"/>
                  <a:pt x="597" y="1722"/>
                  <a:pt x="598" y="1720"/>
                </a:cubicBezTo>
                <a:cubicBezTo>
                  <a:pt x="597" y="1720"/>
                  <a:pt x="597" y="1720"/>
                  <a:pt x="597" y="1720"/>
                </a:cubicBezTo>
                <a:cubicBezTo>
                  <a:pt x="596" y="1721"/>
                  <a:pt x="595" y="1722"/>
                  <a:pt x="594" y="1723"/>
                </a:cubicBezTo>
                <a:cubicBezTo>
                  <a:pt x="593" y="1724"/>
                  <a:pt x="595" y="1729"/>
                  <a:pt x="597" y="1730"/>
                </a:cubicBezTo>
                <a:cubicBezTo>
                  <a:pt x="598" y="1731"/>
                  <a:pt x="600" y="1730"/>
                  <a:pt x="600" y="1728"/>
                </a:cubicBezTo>
                <a:close/>
                <a:moveTo>
                  <a:pt x="600" y="1746"/>
                </a:moveTo>
                <a:cubicBezTo>
                  <a:pt x="599" y="1746"/>
                  <a:pt x="598" y="1747"/>
                  <a:pt x="597" y="1748"/>
                </a:cubicBezTo>
                <a:cubicBezTo>
                  <a:pt x="596" y="1749"/>
                  <a:pt x="596" y="1750"/>
                  <a:pt x="596" y="1750"/>
                </a:cubicBezTo>
                <a:cubicBezTo>
                  <a:pt x="596" y="1753"/>
                  <a:pt x="600" y="1758"/>
                  <a:pt x="603" y="1757"/>
                </a:cubicBezTo>
                <a:cubicBezTo>
                  <a:pt x="605" y="1757"/>
                  <a:pt x="606" y="1756"/>
                  <a:pt x="605" y="1754"/>
                </a:cubicBezTo>
                <a:cubicBezTo>
                  <a:pt x="603" y="1751"/>
                  <a:pt x="602" y="1748"/>
                  <a:pt x="600" y="1746"/>
                </a:cubicBezTo>
                <a:close/>
                <a:moveTo>
                  <a:pt x="653" y="1748"/>
                </a:moveTo>
                <a:cubicBezTo>
                  <a:pt x="651" y="1752"/>
                  <a:pt x="648" y="1757"/>
                  <a:pt x="646" y="1761"/>
                </a:cubicBezTo>
                <a:cubicBezTo>
                  <a:pt x="649" y="1761"/>
                  <a:pt x="651" y="1761"/>
                  <a:pt x="654" y="1761"/>
                </a:cubicBezTo>
                <a:cubicBezTo>
                  <a:pt x="654" y="1761"/>
                  <a:pt x="655" y="1760"/>
                  <a:pt x="655" y="1759"/>
                </a:cubicBezTo>
                <a:cubicBezTo>
                  <a:pt x="655" y="1757"/>
                  <a:pt x="655" y="1754"/>
                  <a:pt x="654" y="1752"/>
                </a:cubicBezTo>
                <a:cubicBezTo>
                  <a:pt x="654" y="1750"/>
                  <a:pt x="653" y="1749"/>
                  <a:pt x="653" y="1748"/>
                </a:cubicBezTo>
                <a:close/>
                <a:moveTo>
                  <a:pt x="600" y="1728"/>
                </a:moveTo>
                <a:cubicBezTo>
                  <a:pt x="600" y="1728"/>
                  <a:pt x="599" y="1728"/>
                  <a:pt x="598" y="1728"/>
                </a:cubicBezTo>
                <a:cubicBezTo>
                  <a:pt x="598" y="1728"/>
                  <a:pt x="597" y="1728"/>
                  <a:pt x="597" y="1728"/>
                </a:cubicBezTo>
                <a:cubicBezTo>
                  <a:pt x="596" y="1728"/>
                  <a:pt x="596" y="1727"/>
                  <a:pt x="596" y="1726"/>
                </a:cubicBezTo>
                <a:cubicBezTo>
                  <a:pt x="597" y="1724"/>
                  <a:pt x="597" y="1722"/>
                  <a:pt x="598" y="1720"/>
                </a:cubicBezTo>
                <a:cubicBezTo>
                  <a:pt x="598" y="1720"/>
                  <a:pt x="598" y="1720"/>
                  <a:pt x="597" y="1720"/>
                </a:cubicBezTo>
                <a:cubicBezTo>
                  <a:pt x="596" y="1721"/>
                  <a:pt x="595" y="1722"/>
                  <a:pt x="594" y="1723"/>
                </a:cubicBezTo>
                <a:cubicBezTo>
                  <a:pt x="594" y="1724"/>
                  <a:pt x="595" y="1729"/>
                  <a:pt x="597" y="1730"/>
                </a:cubicBezTo>
                <a:cubicBezTo>
                  <a:pt x="598" y="1731"/>
                  <a:pt x="600" y="1730"/>
                  <a:pt x="600" y="1728"/>
                </a:cubicBezTo>
                <a:close/>
                <a:moveTo>
                  <a:pt x="653" y="1719"/>
                </a:moveTo>
                <a:cubicBezTo>
                  <a:pt x="656" y="1716"/>
                  <a:pt x="656" y="1716"/>
                  <a:pt x="660" y="1714"/>
                </a:cubicBezTo>
                <a:cubicBezTo>
                  <a:pt x="660" y="1716"/>
                  <a:pt x="661" y="1718"/>
                  <a:pt x="662" y="1718"/>
                </a:cubicBezTo>
                <a:cubicBezTo>
                  <a:pt x="660" y="1719"/>
                  <a:pt x="658" y="1720"/>
                  <a:pt x="656" y="1722"/>
                </a:cubicBezTo>
                <a:cubicBezTo>
                  <a:pt x="655" y="1721"/>
                  <a:pt x="655" y="1720"/>
                  <a:pt x="654" y="1719"/>
                </a:cubicBezTo>
                <a:cubicBezTo>
                  <a:pt x="654" y="1719"/>
                  <a:pt x="653" y="1719"/>
                  <a:pt x="653" y="1719"/>
                </a:cubicBezTo>
                <a:close/>
                <a:moveTo>
                  <a:pt x="658" y="1719"/>
                </a:moveTo>
                <a:cubicBezTo>
                  <a:pt x="658" y="1718"/>
                  <a:pt x="657" y="1718"/>
                  <a:pt x="656" y="1718"/>
                </a:cubicBezTo>
                <a:cubicBezTo>
                  <a:pt x="656" y="1718"/>
                  <a:pt x="655" y="1719"/>
                  <a:pt x="655" y="1719"/>
                </a:cubicBezTo>
                <a:cubicBezTo>
                  <a:pt x="655" y="1720"/>
                  <a:pt x="656" y="1720"/>
                  <a:pt x="656" y="1720"/>
                </a:cubicBezTo>
                <a:cubicBezTo>
                  <a:pt x="657" y="1720"/>
                  <a:pt x="657" y="1720"/>
                  <a:pt x="658" y="1719"/>
                </a:cubicBezTo>
                <a:close/>
                <a:moveTo>
                  <a:pt x="640" y="1709"/>
                </a:moveTo>
                <a:cubicBezTo>
                  <a:pt x="633" y="1709"/>
                  <a:pt x="630" y="1711"/>
                  <a:pt x="629" y="1719"/>
                </a:cubicBezTo>
                <a:cubicBezTo>
                  <a:pt x="630" y="1717"/>
                  <a:pt x="631" y="1714"/>
                  <a:pt x="632" y="1712"/>
                </a:cubicBezTo>
                <a:cubicBezTo>
                  <a:pt x="633" y="1712"/>
                  <a:pt x="633" y="1712"/>
                  <a:pt x="633" y="1712"/>
                </a:cubicBezTo>
                <a:cubicBezTo>
                  <a:pt x="633" y="1713"/>
                  <a:pt x="633" y="1714"/>
                  <a:pt x="633" y="1715"/>
                </a:cubicBezTo>
                <a:cubicBezTo>
                  <a:pt x="634" y="1712"/>
                  <a:pt x="636" y="1710"/>
                  <a:pt x="640" y="1709"/>
                </a:cubicBezTo>
                <a:close/>
                <a:moveTo>
                  <a:pt x="683" y="1711"/>
                </a:moveTo>
                <a:cubicBezTo>
                  <a:pt x="681" y="1712"/>
                  <a:pt x="679" y="1714"/>
                  <a:pt x="678" y="1715"/>
                </a:cubicBezTo>
                <a:cubicBezTo>
                  <a:pt x="679" y="1715"/>
                  <a:pt x="682" y="1714"/>
                  <a:pt x="683" y="1711"/>
                </a:cubicBezTo>
                <a:close/>
                <a:moveTo>
                  <a:pt x="650" y="1713"/>
                </a:moveTo>
                <a:cubicBezTo>
                  <a:pt x="651" y="1712"/>
                  <a:pt x="652" y="1710"/>
                  <a:pt x="653" y="1709"/>
                </a:cubicBezTo>
                <a:cubicBezTo>
                  <a:pt x="650" y="1710"/>
                  <a:pt x="649" y="1711"/>
                  <a:pt x="650" y="1713"/>
                </a:cubicBezTo>
                <a:close/>
                <a:moveTo>
                  <a:pt x="659" y="1734"/>
                </a:moveTo>
                <a:cubicBezTo>
                  <a:pt x="658" y="1735"/>
                  <a:pt x="657" y="1736"/>
                  <a:pt x="657" y="1737"/>
                </a:cubicBezTo>
                <a:cubicBezTo>
                  <a:pt x="657" y="1736"/>
                  <a:pt x="659" y="1735"/>
                  <a:pt x="659" y="1734"/>
                </a:cubicBezTo>
                <a:close/>
                <a:moveTo>
                  <a:pt x="658" y="1719"/>
                </a:moveTo>
                <a:cubicBezTo>
                  <a:pt x="658" y="1719"/>
                  <a:pt x="657" y="1718"/>
                  <a:pt x="656" y="1718"/>
                </a:cubicBezTo>
                <a:cubicBezTo>
                  <a:pt x="656" y="1718"/>
                  <a:pt x="655" y="1719"/>
                  <a:pt x="655" y="1719"/>
                </a:cubicBezTo>
                <a:cubicBezTo>
                  <a:pt x="655" y="1720"/>
                  <a:pt x="655" y="1720"/>
                  <a:pt x="656" y="1721"/>
                </a:cubicBezTo>
                <a:cubicBezTo>
                  <a:pt x="657" y="1720"/>
                  <a:pt x="657" y="1720"/>
                  <a:pt x="658" y="1719"/>
                </a:cubicBezTo>
                <a:close/>
                <a:moveTo>
                  <a:pt x="1312" y="1697"/>
                </a:moveTo>
                <a:cubicBezTo>
                  <a:pt x="1312" y="1697"/>
                  <a:pt x="1312" y="1697"/>
                  <a:pt x="1312" y="1697"/>
                </a:cubicBezTo>
                <a:cubicBezTo>
                  <a:pt x="1307" y="1697"/>
                  <a:pt x="1307" y="1697"/>
                  <a:pt x="1307" y="1697"/>
                </a:cubicBezTo>
                <a:cubicBezTo>
                  <a:pt x="1305" y="1698"/>
                  <a:pt x="1303" y="1700"/>
                  <a:pt x="1301" y="1700"/>
                </a:cubicBezTo>
                <a:cubicBezTo>
                  <a:pt x="1300" y="1702"/>
                  <a:pt x="1298" y="1702"/>
                  <a:pt x="1296" y="1703"/>
                </a:cubicBezTo>
                <a:cubicBezTo>
                  <a:pt x="1295" y="1705"/>
                  <a:pt x="1293" y="1705"/>
                  <a:pt x="1291" y="1706"/>
                </a:cubicBezTo>
                <a:cubicBezTo>
                  <a:pt x="1289" y="1707"/>
                  <a:pt x="1287" y="1708"/>
                  <a:pt x="1285" y="1708"/>
                </a:cubicBezTo>
                <a:cubicBezTo>
                  <a:pt x="1285" y="1708"/>
                  <a:pt x="1285" y="1708"/>
                  <a:pt x="1285" y="1718"/>
                </a:cubicBezTo>
                <a:cubicBezTo>
                  <a:pt x="1288" y="1717"/>
                  <a:pt x="1291" y="1716"/>
                  <a:pt x="1294" y="1715"/>
                </a:cubicBezTo>
                <a:cubicBezTo>
                  <a:pt x="1296" y="1714"/>
                  <a:pt x="1298" y="1713"/>
                  <a:pt x="1301" y="1711"/>
                </a:cubicBezTo>
                <a:cubicBezTo>
                  <a:pt x="1301" y="1711"/>
                  <a:pt x="1301" y="1711"/>
                  <a:pt x="1301" y="1770"/>
                </a:cubicBezTo>
                <a:cubicBezTo>
                  <a:pt x="1301" y="1770"/>
                  <a:pt x="1301" y="1770"/>
                  <a:pt x="1312" y="1770"/>
                </a:cubicBezTo>
                <a:cubicBezTo>
                  <a:pt x="1312" y="1770"/>
                  <a:pt x="1312" y="1770"/>
                  <a:pt x="1312" y="1697"/>
                </a:cubicBezTo>
                <a:close/>
                <a:moveTo>
                  <a:pt x="1360" y="1697"/>
                </a:moveTo>
                <a:cubicBezTo>
                  <a:pt x="1360" y="1697"/>
                  <a:pt x="1360" y="1697"/>
                  <a:pt x="1360" y="1697"/>
                </a:cubicBezTo>
                <a:cubicBezTo>
                  <a:pt x="1355" y="1697"/>
                  <a:pt x="1355" y="1697"/>
                  <a:pt x="1355" y="1697"/>
                </a:cubicBezTo>
                <a:cubicBezTo>
                  <a:pt x="1352" y="1698"/>
                  <a:pt x="1351" y="1700"/>
                  <a:pt x="1349" y="1700"/>
                </a:cubicBezTo>
                <a:cubicBezTo>
                  <a:pt x="1347" y="1702"/>
                  <a:pt x="1345" y="1702"/>
                  <a:pt x="1344" y="1703"/>
                </a:cubicBezTo>
                <a:cubicBezTo>
                  <a:pt x="1342" y="1705"/>
                  <a:pt x="1340" y="1705"/>
                  <a:pt x="1339" y="1706"/>
                </a:cubicBezTo>
                <a:cubicBezTo>
                  <a:pt x="1336" y="1707"/>
                  <a:pt x="1335" y="1708"/>
                  <a:pt x="1333" y="1708"/>
                </a:cubicBezTo>
                <a:cubicBezTo>
                  <a:pt x="1333" y="1708"/>
                  <a:pt x="1333" y="1708"/>
                  <a:pt x="1333" y="1718"/>
                </a:cubicBezTo>
                <a:cubicBezTo>
                  <a:pt x="1336" y="1717"/>
                  <a:pt x="1339" y="1716"/>
                  <a:pt x="1341" y="1715"/>
                </a:cubicBezTo>
                <a:cubicBezTo>
                  <a:pt x="1344" y="1714"/>
                  <a:pt x="1346" y="1713"/>
                  <a:pt x="1348" y="1711"/>
                </a:cubicBezTo>
                <a:cubicBezTo>
                  <a:pt x="1348" y="1711"/>
                  <a:pt x="1348" y="1711"/>
                  <a:pt x="1348" y="1770"/>
                </a:cubicBezTo>
                <a:cubicBezTo>
                  <a:pt x="1348" y="1770"/>
                  <a:pt x="1348" y="1770"/>
                  <a:pt x="1360" y="1770"/>
                </a:cubicBezTo>
                <a:cubicBezTo>
                  <a:pt x="1360" y="1770"/>
                  <a:pt x="1360" y="1770"/>
                  <a:pt x="1360" y="1697"/>
                </a:cubicBezTo>
                <a:close/>
                <a:moveTo>
                  <a:pt x="1406" y="1697"/>
                </a:moveTo>
                <a:cubicBezTo>
                  <a:pt x="1406" y="1697"/>
                  <a:pt x="1406" y="1697"/>
                  <a:pt x="1406" y="1697"/>
                </a:cubicBezTo>
                <a:cubicBezTo>
                  <a:pt x="1402" y="1697"/>
                  <a:pt x="1402" y="1697"/>
                  <a:pt x="1402" y="1697"/>
                </a:cubicBezTo>
                <a:cubicBezTo>
                  <a:pt x="1400" y="1698"/>
                  <a:pt x="1398" y="1700"/>
                  <a:pt x="1396" y="1700"/>
                </a:cubicBezTo>
                <a:cubicBezTo>
                  <a:pt x="1395" y="1702"/>
                  <a:pt x="1393" y="1702"/>
                  <a:pt x="1391" y="1703"/>
                </a:cubicBezTo>
                <a:cubicBezTo>
                  <a:pt x="1389" y="1704"/>
                  <a:pt x="1388" y="1705"/>
                  <a:pt x="1385" y="1705"/>
                </a:cubicBezTo>
                <a:cubicBezTo>
                  <a:pt x="1384" y="1706"/>
                  <a:pt x="1382" y="1707"/>
                  <a:pt x="1380" y="1708"/>
                </a:cubicBezTo>
                <a:cubicBezTo>
                  <a:pt x="1380" y="1708"/>
                  <a:pt x="1380" y="1708"/>
                  <a:pt x="1380" y="1718"/>
                </a:cubicBezTo>
                <a:cubicBezTo>
                  <a:pt x="1383" y="1717"/>
                  <a:pt x="1386" y="1716"/>
                  <a:pt x="1388" y="1715"/>
                </a:cubicBezTo>
                <a:cubicBezTo>
                  <a:pt x="1390" y="1714"/>
                  <a:pt x="1393" y="1713"/>
                  <a:pt x="1395" y="1711"/>
                </a:cubicBezTo>
                <a:cubicBezTo>
                  <a:pt x="1395" y="1711"/>
                  <a:pt x="1395" y="1711"/>
                  <a:pt x="1395" y="1770"/>
                </a:cubicBezTo>
                <a:cubicBezTo>
                  <a:pt x="1395" y="1770"/>
                  <a:pt x="1395" y="1770"/>
                  <a:pt x="1406" y="1770"/>
                </a:cubicBezTo>
                <a:cubicBezTo>
                  <a:pt x="1406" y="1770"/>
                  <a:pt x="1406" y="1770"/>
                  <a:pt x="1406" y="1697"/>
                </a:cubicBezTo>
                <a:close/>
                <a:moveTo>
                  <a:pt x="1617" y="1592"/>
                </a:moveTo>
                <a:cubicBezTo>
                  <a:pt x="1617" y="1592"/>
                  <a:pt x="1617" y="1592"/>
                  <a:pt x="1617" y="1592"/>
                </a:cubicBezTo>
                <a:cubicBezTo>
                  <a:pt x="1612" y="1592"/>
                  <a:pt x="1612" y="1592"/>
                  <a:pt x="1612" y="1592"/>
                </a:cubicBezTo>
                <a:cubicBezTo>
                  <a:pt x="1610" y="1593"/>
                  <a:pt x="1609" y="1594"/>
                  <a:pt x="1606" y="1595"/>
                </a:cubicBezTo>
                <a:cubicBezTo>
                  <a:pt x="1605" y="1597"/>
                  <a:pt x="1603" y="1597"/>
                  <a:pt x="1601" y="1598"/>
                </a:cubicBezTo>
                <a:cubicBezTo>
                  <a:pt x="1599" y="1599"/>
                  <a:pt x="1597" y="1600"/>
                  <a:pt x="1596" y="1600"/>
                </a:cubicBezTo>
                <a:cubicBezTo>
                  <a:pt x="1594" y="1601"/>
                  <a:pt x="1592" y="1602"/>
                  <a:pt x="1590" y="1602"/>
                </a:cubicBezTo>
                <a:cubicBezTo>
                  <a:pt x="1590" y="1602"/>
                  <a:pt x="1590" y="1602"/>
                  <a:pt x="1590" y="1613"/>
                </a:cubicBezTo>
                <a:cubicBezTo>
                  <a:pt x="1593" y="1612"/>
                  <a:pt x="1596" y="1610"/>
                  <a:pt x="1598" y="1610"/>
                </a:cubicBezTo>
                <a:cubicBezTo>
                  <a:pt x="1601" y="1609"/>
                  <a:pt x="1603" y="1608"/>
                  <a:pt x="1606" y="1606"/>
                </a:cubicBezTo>
                <a:cubicBezTo>
                  <a:pt x="1606" y="1606"/>
                  <a:pt x="1606" y="1606"/>
                  <a:pt x="1606" y="1665"/>
                </a:cubicBezTo>
                <a:cubicBezTo>
                  <a:pt x="1606" y="1665"/>
                  <a:pt x="1606" y="1665"/>
                  <a:pt x="1617" y="1665"/>
                </a:cubicBezTo>
                <a:cubicBezTo>
                  <a:pt x="1617" y="1665"/>
                  <a:pt x="1617" y="1665"/>
                  <a:pt x="1617" y="1592"/>
                </a:cubicBezTo>
                <a:close/>
                <a:moveTo>
                  <a:pt x="1664" y="1592"/>
                </a:moveTo>
                <a:cubicBezTo>
                  <a:pt x="1664" y="1592"/>
                  <a:pt x="1664" y="1592"/>
                  <a:pt x="1664" y="1592"/>
                </a:cubicBezTo>
                <a:cubicBezTo>
                  <a:pt x="1659" y="1592"/>
                  <a:pt x="1659" y="1592"/>
                  <a:pt x="1659" y="1592"/>
                </a:cubicBezTo>
                <a:cubicBezTo>
                  <a:pt x="1656" y="1593"/>
                  <a:pt x="1655" y="1594"/>
                  <a:pt x="1653" y="1595"/>
                </a:cubicBezTo>
                <a:cubicBezTo>
                  <a:pt x="1651" y="1597"/>
                  <a:pt x="1649" y="1597"/>
                  <a:pt x="1648" y="1598"/>
                </a:cubicBezTo>
                <a:cubicBezTo>
                  <a:pt x="1646" y="1600"/>
                  <a:pt x="1644" y="1600"/>
                  <a:pt x="1643" y="1601"/>
                </a:cubicBezTo>
                <a:cubicBezTo>
                  <a:pt x="1641" y="1602"/>
                  <a:pt x="1639" y="1602"/>
                  <a:pt x="1637" y="1602"/>
                </a:cubicBezTo>
                <a:cubicBezTo>
                  <a:pt x="1637" y="1602"/>
                  <a:pt x="1637" y="1602"/>
                  <a:pt x="1637" y="1613"/>
                </a:cubicBezTo>
                <a:cubicBezTo>
                  <a:pt x="1640" y="1612"/>
                  <a:pt x="1643" y="1611"/>
                  <a:pt x="1645" y="1610"/>
                </a:cubicBezTo>
                <a:cubicBezTo>
                  <a:pt x="1648" y="1609"/>
                  <a:pt x="1650" y="1608"/>
                  <a:pt x="1652" y="1606"/>
                </a:cubicBezTo>
                <a:cubicBezTo>
                  <a:pt x="1652" y="1606"/>
                  <a:pt x="1652" y="1606"/>
                  <a:pt x="1652" y="1665"/>
                </a:cubicBezTo>
                <a:cubicBezTo>
                  <a:pt x="1652" y="1665"/>
                  <a:pt x="1652" y="1665"/>
                  <a:pt x="1664" y="1665"/>
                </a:cubicBezTo>
                <a:cubicBezTo>
                  <a:pt x="1664" y="1665"/>
                  <a:pt x="1664" y="1665"/>
                  <a:pt x="1664" y="1592"/>
                </a:cubicBezTo>
                <a:close/>
                <a:moveTo>
                  <a:pt x="1709" y="1592"/>
                </a:moveTo>
                <a:cubicBezTo>
                  <a:pt x="1709" y="1592"/>
                  <a:pt x="1709" y="1592"/>
                  <a:pt x="1709" y="1592"/>
                </a:cubicBezTo>
                <a:cubicBezTo>
                  <a:pt x="1705" y="1592"/>
                  <a:pt x="1705" y="1592"/>
                  <a:pt x="1705" y="1592"/>
                </a:cubicBezTo>
                <a:cubicBezTo>
                  <a:pt x="1703" y="1593"/>
                  <a:pt x="1701" y="1594"/>
                  <a:pt x="1699" y="1595"/>
                </a:cubicBezTo>
                <a:cubicBezTo>
                  <a:pt x="1698" y="1597"/>
                  <a:pt x="1695" y="1597"/>
                  <a:pt x="1694" y="1598"/>
                </a:cubicBezTo>
                <a:cubicBezTo>
                  <a:pt x="1692" y="1600"/>
                  <a:pt x="1690" y="1600"/>
                  <a:pt x="1688" y="1601"/>
                </a:cubicBezTo>
                <a:cubicBezTo>
                  <a:pt x="1687" y="1602"/>
                  <a:pt x="1685" y="1602"/>
                  <a:pt x="1683" y="1602"/>
                </a:cubicBezTo>
                <a:cubicBezTo>
                  <a:pt x="1683" y="1602"/>
                  <a:pt x="1683" y="1602"/>
                  <a:pt x="1683" y="1613"/>
                </a:cubicBezTo>
                <a:cubicBezTo>
                  <a:pt x="1686" y="1612"/>
                  <a:pt x="1689" y="1611"/>
                  <a:pt x="1691" y="1610"/>
                </a:cubicBezTo>
                <a:cubicBezTo>
                  <a:pt x="1693" y="1609"/>
                  <a:pt x="1696" y="1608"/>
                  <a:pt x="1698" y="1606"/>
                </a:cubicBezTo>
                <a:cubicBezTo>
                  <a:pt x="1698" y="1606"/>
                  <a:pt x="1698" y="1606"/>
                  <a:pt x="1698" y="1665"/>
                </a:cubicBezTo>
                <a:cubicBezTo>
                  <a:pt x="1698" y="1665"/>
                  <a:pt x="1698" y="1665"/>
                  <a:pt x="1709" y="1665"/>
                </a:cubicBezTo>
                <a:cubicBezTo>
                  <a:pt x="1709" y="1665"/>
                  <a:pt x="1709" y="1665"/>
                  <a:pt x="1709" y="1592"/>
                </a:cubicBezTo>
                <a:close/>
                <a:moveTo>
                  <a:pt x="1756" y="1592"/>
                </a:moveTo>
                <a:cubicBezTo>
                  <a:pt x="1756" y="1592"/>
                  <a:pt x="1756" y="1592"/>
                  <a:pt x="1756" y="1592"/>
                </a:cubicBezTo>
                <a:cubicBezTo>
                  <a:pt x="1751" y="1592"/>
                  <a:pt x="1751" y="1592"/>
                  <a:pt x="1751" y="1592"/>
                </a:cubicBezTo>
                <a:cubicBezTo>
                  <a:pt x="1749" y="1593"/>
                  <a:pt x="1747" y="1594"/>
                  <a:pt x="1745" y="1595"/>
                </a:cubicBezTo>
                <a:cubicBezTo>
                  <a:pt x="1744" y="1597"/>
                  <a:pt x="1742" y="1597"/>
                  <a:pt x="1740" y="1598"/>
                </a:cubicBezTo>
                <a:cubicBezTo>
                  <a:pt x="1738" y="1600"/>
                  <a:pt x="1736" y="1600"/>
                  <a:pt x="1735" y="1601"/>
                </a:cubicBezTo>
                <a:cubicBezTo>
                  <a:pt x="1733" y="1602"/>
                  <a:pt x="1731" y="1602"/>
                  <a:pt x="1729" y="1602"/>
                </a:cubicBezTo>
                <a:cubicBezTo>
                  <a:pt x="1729" y="1602"/>
                  <a:pt x="1729" y="1602"/>
                  <a:pt x="1729" y="1613"/>
                </a:cubicBezTo>
                <a:cubicBezTo>
                  <a:pt x="1732" y="1612"/>
                  <a:pt x="1735" y="1611"/>
                  <a:pt x="1737" y="1610"/>
                </a:cubicBezTo>
                <a:cubicBezTo>
                  <a:pt x="1740" y="1609"/>
                  <a:pt x="1742" y="1608"/>
                  <a:pt x="1744" y="1606"/>
                </a:cubicBezTo>
                <a:cubicBezTo>
                  <a:pt x="1744" y="1606"/>
                  <a:pt x="1744" y="1606"/>
                  <a:pt x="1744" y="1665"/>
                </a:cubicBezTo>
                <a:cubicBezTo>
                  <a:pt x="1744" y="1665"/>
                  <a:pt x="1744" y="1665"/>
                  <a:pt x="1756" y="1665"/>
                </a:cubicBezTo>
                <a:cubicBezTo>
                  <a:pt x="1756" y="1665"/>
                  <a:pt x="1756" y="1665"/>
                  <a:pt x="1756" y="1592"/>
                </a:cubicBezTo>
                <a:close/>
                <a:moveTo>
                  <a:pt x="1878" y="1592"/>
                </a:moveTo>
                <a:cubicBezTo>
                  <a:pt x="1878" y="1592"/>
                  <a:pt x="1878" y="1592"/>
                  <a:pt x="1878" y="1592"/>
                </a:cubicBezTo>
                <a:cubicBezTo>
                  <a:pt x="1873" y="1592"/>
                  <a:pt x="1873" y="1592"/>
                  <a:pt x="1873" y="1592"/>
                </a:cubicBezTo>
                <a:cubicBezTo>
                  <a:pt x="1870" y="1593"/>
                  <a:pt x="1869" y="1594"/>
                  <a:pt x="1867" y="1595"/>
                </a:cubicBezTo>
                <a:cubicBezTo>
                  <a:pt x="1865" y="1597"/>
                  <a:pt x="1864" y="1597"/>
                  <a:pt x="1862" y="1598"/>
                </a:cubicBezTo>
                <a:cubicBezTo>
                  <a:pt x="1860" y="1600"/>
                  <a:pt x="1858" y="1600"/>
                  <a:pt x="1857" y="1601"/>
                </a:cubicBezTo>
                <a:cubicBezTo>
                  <a:pt x="1854" y="1602"/>
                  <a:pt x="1853" y="1602"/>
                  <a:pt x="1851" y="1602"/>
                </a:cubicBezTo>
                <a:cubicBezTo>
                  <a:pt x="1851" y="1602"/>
                  <a:pt x="1851" y="1602"/>
                  <a:pt x="1851" y="1613"/>
                </a:cubicBezTo>
                <a:cubicBezTo>
                  <a:pt x="1854" y="1612"/>
                  <a:pt x="1857" y="1611"/>
                  <a:pt x="1859" y="1610"/>
                </a:cubicBezTo>
                <a:cubicBezTo>
                  <a:pt x="1862" y="1609"/>
                  <a:pt x="1864" y="1608"/>
                  <a:pt x="1866" y="1606"/>
                </a:cubicBezTo>
                <a:cubicBezTo>
                  <a:pt x="1866" y="1606"/>
                  <a:pt x="1866" y="1606"/>
                  <a:pt x="1866" y="1665"/>
                </a:cubicBezTo>
                <a:cubicBezTo>
                  <a:pt x="1866" y="1665"/>
                  <a:pt x="1866" y="1665"/>
                  <a:pt x="1878" y="1665"/>
                </a:cubicBezTo>
                <a:cubicBezTo>
                  <a:pt x="1878" y="1665"/>
                  <a:pt x="1878" y="1665"/>
                  <a:pt x="1878" y="1592"/>
                </a:cubicBezTo>
                <a:close/>
                <a:moveTo>
                  <a:pt x="1925" y="1592"/>
                </a:moveTo>
                <a:cubicBezTo>
                  <a:pt x="1925" y="1592"/>
                  <a:pt x="1925" y="1592"/>
                  <a:pt x="1925" y="1592"/>
                </a:cubicBezTo>
                <a:cubicBezTo>
                  <a:pt x="1919" y="1592"/>
                  <a:pt x="1919" y="1592"/>
                  <a:pt x="1919" y="1592"/>
                </a:cubicBezTo>
                <a:cubicBezTo>
                  <a:pt x="1917" y="1593"/>
                  <a:pt x="1916" y="1594"/>
                  <a:pt x="1914" y="1595"/>
                </a:cubicBezTo>
                <a:cubicBezTo>
                  <a:pt x="1912" y="1597"/>
                  <a:pt x="1910" y="1597"/>
                  <a:pt x="1908" y="1598"/>
                </a:cubicBezTo>
                <a:cubicBezTo>
                  <a:pt x="1907" y="1600"/>
                  <a:pt x="1905" y="1600"/>
                  <a:pt x="1903" y="1601"/>
                </a:cubicBezTo>
                <a:cubicBezTo>
                  <a:pt x="1901" y="1602"/>
                  <a:pt x="1900" y="1602"/>
                  <a:pt x="1897" y="1602"/>
                </a:cubicBezTo>
                <a:cubicBezTo>
                  <a:pt x="1897" y="1602"/>
                  <a:pt x="1897" y="1602"/>
                  <a:pt x="1897" y="1613"/>
                </a:cubicBezTo>
                <a:cubicBezTo>
                  <a:pt x="1900" y="1612"/>
                  <a:pt x="1903" y="1611"/>
                  <a:pt x="1905" y="1610"/>
                </a:cubicBezTo>
                <a:cubicBezTo>
                  <a:pt x="1908" y="1609"/>
                  <a:pt x="1911" y="1608"/>
                  <a:pt x="1913" y="1606"/>
                </a:cubicBezTo>
                <a:cubicBezTo>
                  <a:pt x="1913" y="1606"/>
                  <a:pt x="1913" y="1606"/>
                  <a:pt x="1913" y="1665"/>
                </a:cubicBezTo>
                <a:cubicBezTo>
                  <a:pt x="1913" y="1665"/>
                  <a:pt x="1913" y="1665"/>
                  <a:pt x="1925" y="1665"/>
                </a:cubicBezTo>
                <a:cubicBezTo>
                  <a:pt x="1925" y="1665"/>
                  <a:pt x="1925" y="1665"/>
                  <a:pt x="1925" y="1592"/>
                </a:cubicBezTo>
                <a:close/>
                <a:moveTo>
                  <a:pt x="1776" y="1624"/>
                </a:moveTo>
                <a:cubicBezTo>
                  <a:pt x="1776" y="1624"/>
                  <a:pt x="1776" y="1624"/>
                  <a:pt x="1776" y="1624"/>
                </a:cubicBezTo>
                <a:cubicBezTo>
                  <a:pt x="1776" y="1632"/>
                  <a:pt x="1776" y="1632"/>
                  <a:pt x="1776" y="1632"/>
                </a:cubicBezTo>
                <a:cubicBezTo>
                  <a:pt x="1782" y="1632"/>
                  <a:pt x="1783" y="1635"/>
                  <a:pt x="1783" y="1638"/>
                </a:cubicBezTo>
                <a:cubicBezTo>
                  <a:pt x="1783" y="1640"/>
                  <a:pt x="1782" y="1643"/>
                  <a:pt x="1782" y="1645"/>
                </a:cubicBezTo>
                <a:cubicBezTo>
                  <a:pt x="1782" y="1648"/>
                  <a:pt x="1782" y="1650"/>
                  <a:pt x="1782" y="1652"/>
                </a:cubicBezTo>
                <a:cubicBezTo>
                  <a:pt x="1782" y="1662"/>
                  <a:pt x="1788" y="1665"/>
                  <a:pt x="1796" y="1665"/>
                </a:cubicBezTo>
                <a:cubicBezTo>
                  <a:pt x="1796" y="1665"/>
                  <a:pt x="1796" y="1665"/>
                  <a:pt x="1800" y="1665"/>
                </a:cubicBezTo>
                <a:cubicBezTo>
                  <a:pt x="1800" y="1665"/>
                  <a:pt x="1800" y="1665"/>
                  <a:pt x="1800" y="1656"/>
                </a:cubicBezTo>
                <a:cubicBezTo>
                  <a:pt x="1800" y="1656"/>
                  <a:pt x="1800" y="1656"/>
                  <a:pt x="1798" y="1656"/>
                </a:cubicBezTo>
                <a:cubicBezTo>
                  <a:pt x="1795" y="1656"/>
                  <a:pt x="1794" y="1653"/>
                  <a:pt x="1794" y="1650"/>
                </a:cubicBezTo>
                <a:cubicBezTo>
                  <a:pt x="1794" y="1649"/>
                  <a:pt x="1794" y="1647"/>
                  <a:pt x="1794" y="1645"/>
                </a:cubicBezTo>
                <a:cubicBezTo>
                  <a:pt x="1794" y="1644"/>
                  <a:pt x="1794" y="1641"/>
                  <a:pt x="1794" y="1639"/>
                </a:cubicBezTo>
                <a:cubicBezTo>
                  <a:pt x="1794" y="1632"/>
                  <a:pt x="1791" y="1629"/>
                  <a:pt x="1786" y="1628"/>
                </a:cubicBezTo>
                <a:cubicBezTo>
                  <a:pt x="1786" y="1628"/>
                  <a:pt x="1786" y="1628"/>
                  <a:pt x="1786" y="1628"/>
                </a:cubicBezTo>
                <a:cubicBezTo>
                  <a:pt x="1791" y="1626"/>
                  <a:pt x="1794" y="1624"/>
                  <a:pt x="1794" y="1617"/>
                </a:cubicBezTo>
                <a:cubicBezTo>
                  <a:pt x="1794" y="1614"/>
                  <a:pt x="1794" y="1612"/>
                  <a:pt x="1794" y="1610"/>
                </a:cubicBezTo>
                <a:cubicBezTo>
                  <a:pt x="1794" y="1609"/>
                  <a:pt x="1794" y="1607"/>
                  <a:pt x="1794" y="1606"/>
                </a:cubicBezTo>
                <a:cubicBezTo>
                  <a:pt x="1794" y="1602"/>
                  <a:pt x="1795" y="1600"/>
                  <a:pt x="1798" y="1600"/>
                </a:cubicBezTo>
                <a:cubicBezTo>
                  <a:pt x="1798" y="1600"/>
                  <a:pt x="1798" y="1600"/>
                  <a:pt x="1800" y="1600"/>
                </a:cubicBezTo>
                <a:cubicBezTo>
                  <a:pt x="1800" y="1600"/>
                  <a:pt x="1800" y="1600"/>
                  <a:pt x="1800" y="1591"/>
                </a:cubicBezTo>
                <a:cubicBezTo>
                  <a:pt x="1800" y="1591"/>
                  <a:pt x="1800" y="1591"/>
                  <a:pt x="1796" y="1591"/>
                </a:cubicBezTo>
                <a:cubicBezTo>
                  <a:pt x="1787" y="1591"/>
                  <a:pt x="1782" y="1595"/>
                  <a:pt x="1782" y="1603"/>
                </a:cubicBezTo>
                <a:cubicBezTo>
                  <a:pt x="1782" y="1606"/>
                  <a:pt x="1782" y="1608"/>
                  <a:pt x="1782" y="1611"/>
                </a:cubicBezTo>
                <a:cubicBezTo>
                  <a:pt x="1782" y="1613"/>
                  <a:pt x="1783" y="1616"/>
                  <a:pt x="1783" y="1618"/>
                </a:cubicBezTo>
                <a:cubicBezTo>
                  <a:pt x="1783" y="1620"/>
                  <a:pt x="1782" y="1624"/>
                  <a:pt x="1776" y="1624"/>
                </a:cubicBezTo>
                <a:close/>
                <a:moveTo>
                  <a:pt x="1831" y="1632"/>
                </a:moveTo>
                <a:cubicBezTo>
                  <a:pt x="1831" y="1632"/>
                  <a:pt x="1831" y="1632"/>
                  <a:pt x="1831" y="1632"/>
                </a:cubicBezTo>
                <a:cubicBezTo>
                  <a:pt x="1831" y="1624"/>
                  <a:pt x="1831" y="1624"/>
                  <a:pt x="1831" y="1624"/>
                </a:cubicBezTo>
                <a:cubicBezTo>
                  <a:pt x="1825" y="1624"/>
                  <a:pt x="1824" y="1620"/>
                  <a:pt x="1824" y="1618"/>
                </a:cubicBezTo>
                <a:cubicBezTo>
                  <a:pt x="1824" y="1616"/>
                  <a:pt x="1824" y="1613"/>
                  <a:pt x="1825" y="1611"/>
                </a:cubicBezTo>
                <a:cubicBezTo>
                  <a:pt x="1825" y="1608"/>
                  <a:pt x="1825" y="1606"/>
                  <a:pt x="1825" y="1603"/>
                </a:cubicBezTo>
                <a:cubicBezTo>
                  <a:pt x="1825" y="1595"/>
                  <a:pt x="1820" y="1591"/>
                  <a:pt x="1810" y="1591"/>
                </a:cubicBezTo>
                <a:cubicBezTo>
                  <a:pt x="1810" y="1591"/>
                  <a:pt x="1810" y="1591"/>
                  <a:pt x="1807" y="1591"/>
                </a:cubicBezTo>
                <a:cubicBezTo>
                  <a:pt x="1807" y="1591"/>
                  <a:pt x="1807" y="1591"/>
                  <a:pt x="1807" y="1600"/>
                </a:cubicBezTo>
                <a:cubicBezTo>
                  <a:pt x="1807" y="1600"/>
                  <a:pt x="1807" y="1600"/>
                  <a:pt x="1808" y="1600"/>
                </a:cubicBezTo>
                <a:cubicBezTo>
                  <a:pt x="1812" y="1600"/>
                  <a:pt x="1813" y="1602"/>
                  <a:pt x="1813" y="1606"/>
                </a:cubicBezTo>
                <a:cubicBezTo>
                  <a:pt x="1813" y="1607"/>
                  <a:pt x="1813" y="1609"/>
                  <a:pt x="1813" y="1610"/>
                </a:cubicBezTo>
                <a:cubicBezTo>
                  <a:pt x="1813" y="1612"/>
                  <a:pt x="1813" y="1614"/>
                  <a:pt x="1813" y="1617"/>
                </a:cubicBezTo>
                <a:cubicBezTo>
                  <a:pt x="1813" y="1624"/>
                  <a:pt x="1815" y="1626"/>
                  <a:pt x="1821" y="1628"/>
                </a:cubicBezTo>
                <a:cubicBezTo>
                  <a:pt x="1821" y="1628"/>
                  <a:pt x="1821" y="1628"/>
                  <a:pt x="1821" y="1628"/>
                </a:cubicBezTo>
                <a:cubicBezTo>
                  <a:pt x="1815" y="1629"/>
                  <a:pt x="1813" y="1632"/>
                  <a:pt x="1813" y="1639"/>
                </a:cubicBezTo>
                <a:cubicBezTo>
                  <a:pt x="1813" y="1641"/>
                  <a:pt x="1813" y="1644"/>
                  <a:pt x="1813" y="1645"/>
                </a:cubicBezTo>
                <a:cubicBezTo>
                  <a:pt x="1813" y="1647"/>
                  <a:pt x="1813" y="1649"/>
                  <a:pt x="1813" y="1650"/>
                </a:cubicBezTo>
                <a:cubicBezTo>
                  <a:pt x="1813" y="1653"/>
                  <a:pt x="1812" y="1656"/>
                  <a:pt x="1808" y="1656"/>
                </a:cubicBezTo>
                <a:cubicBezTo>
                  <a:pt x="1808" y="1656"/>
                  <a:pt x="1808" y="1656"/>
                  <a:pt x="1807" y="1656"/>
                </a:cubicBezTo>
                <a:cubicBezTo>
                  <a:pt x="1807" y="1656"/>
                  <a:pt x="1807" y="1656"/>
                  <a:pt x="1807" y="1665"/>
                </a:cubicBezTo>
                <a:cubicBezTo>
                  <a:pt x="1807" y="1665"/>
                  <a:pt x="1807" y="1665"/>
                  <a:pt x="1810" y="1665"/>
                </a:cubicBezTo>
                <a:cubicBezTo>
                  <a:pt x="1819" y="1665"/>
                  <a:pt x="1825" y="1662"/>
                  <a:pt x="1825" y="1652"/>
                </a:cubicBezTo>
                <a:cubicBezTo>
                  <a:pt x="1825" y="1650"/>
                  <a:pt x="1825" y="1648"/>
                  <a:pt x="1825" y="1645"/>
                </a:cubicBezTo>
                <a:cubicBezTo>
                  <a:pt x="1824" y="1643"/>
                  <a:pt x="1824" y="1640"/>
                  <a:pt x="1824" y="1638"/>
                </a:cubicBezTo>
                <a:cubicBezTo>
                  <a:pt x="1824" y="1635"/>
                  <a:pt x="1825" y="1632"/>
                  <a:pt x="1831" y="1632"/>
                </a:cubicBezTo>
                <a:close/>
                <a:moveTo>
                  <a:pt x="1218" y="1665"/>
                </a:moveTo>
                <a:cubicBezTo>
                  <a:pt x="1210" y="1665"/>
                  <a:pt x="1204" y="1662"/>
                  <a:pt x="1199" y="1656"/>
                </a:cubicBezTo>
                <a:cubicBezTo>
                  <a:pt x="1196" y="1650"/>
                  <a:pt x="1194" y="1641"/>
                  <a:pt x="1194" y="1628"/>
                </a:cubicBezTo>
                <a:cubicBezTo>
                  <a:pt x="1194" y="1615"/>
                  <a:pt x="1196" y="1606"/>
                  <a:pt x="1200" y="1599"/>
                </a:cubicBezTo>
                <a:cubicBezTo>
                  <a:pt x="1205" y="1592"/>
                  <a:pt x="1211" y="1589"/>
                  <a:pt x="1220" y="1589"/>
                </a:cubicBezTo>
                <a:cubicBezTo>
                  <a:pt x="1236" y="1589"/>
                  <a:pt x="1244" y="1601"/>
                  <a:pt x="1244" y="1627"/>
                </a:cubicBezTo>
                <a:cubicBezTo>
                  <a:pt x="1244" y="1639"/>
                  <a:pt x="1242" y="1649"/>
                  <a:pt x="1237" y="1655"/>
                </a:cubicBezTo>
                <a:cubicBezTo>
                  <a:pt x="1232" y="1662"/>
                  <a:pt x="1226" y="1665"/>
                  <a:pt x="1218" y="1665"/>
                </a:cubicBezTo>
                <a:close/>
                <a:moveTo>
                  <a:pt x="1219" y="1598"/>
                </a:moveTo>
                <a:cubicBezTo>
                  <a:pt x="1210" y="1598"/>
                  <a:pt x="1205" y="1608"/>
                  <a:pt x="1205" y="1628"/>
                </a:cubicBezTo>
                <a:cubicBezTo>
                  <a:pt x="1205" y="1647"/>
                  <a:pt x="1210" y="1655"/>
                  <a:pt x="1218" y="1655"/>
                </a:cubicBezTo>
                <a:cubicBezTo>
                  <a:pt x="1227" y="1655"/>
                  <a:pt x="1232" y="1647"/>
                  <a:pt x="1232" y="1628"/>
                </a:cubicBezTo>
                <a:cubicBezTo>
                  <a:pt x="1232" y="1608"/>
                  <a:pt x="1227" y="1598"/>
                  <a:pt x="1219" y="1598"/>
                </a:cubicBezTo>
                <a:close/>
                <a:moveTo>
                  <a:pt x="1288" y="1665"/>
                </a:moveTo>
                <a:cubicBezTo>
                  <a:pt x="1281" y="1665"/>
                  <a:pt x="1274" y="1662"/>
                  <a:pt x="1271" y="1656"/>
                </a:cubicBezTo>
                <a:cubicBezTo>
                  <a:pt x="1266" y="1650"/>
                  <a:pt x="1264" y="1641"/>
                  <a:pt x="1264" y="1628"/>
                </a:cubicBezTo>
                <a:cubicBezTo>
                  <a:pt x="1264" y="1615"/>
                  <a:pt x="1266" y="1606"/>
                  <a:pt x="1271" y="1599"/>
                </a:cubicBezTo>
                <a:cubicBezTo>
                  <a:pt x="1275" y="1592"/>
                  <a:pt x="1282" y="1589"/>
                  <a:pt x="1290" y="1589"/>
                </a:cubicBezTo>
                <a:cubicBezTo>
                  <a:pt x="1307" y="1589"/>
                  <a:pt x="1315" y="1601"/>
                  <a:pt x="1315" y="1627"/>
                </a:cubicBezTo>
                <a:cubicBezTo>
                  <a:pt x="1315" y="1639"/>
                  <a:pt x="1312" y="1649"/>
                  <a:pt x="1308" y="1655"/>
                </a:cubicBezTo>
                <a:cubicBezTo>
                  <a:pt x="1303" y="1662"/>
                  <a:pt x="1297" y="1665"/>
                  <a:pt x="1288" y="1665"/>
                </a:cubicBezTo>
                <a:close/>
                <a:moveTo>
                  <a:pt x="1290" y="1598"/>
                </a:moveTo>
                <a:cubicBezTo>
                  <a:pt x="1281" y="1598"/>
                  <a:pt x="1276" y="1608"/>
                  <a:pt x="1276" y="1628"/>
                </a:cubicBezTo>
                <a:cubicBezTo>
                  <a:pt x="1276" y="1647"/>
                  <a:pt x="1280" y="1655"/>
                  <a:pt x="1289" y="1655"/>
                </a:cubicBezTo>
                <a:cubicBezTo>
                  <a:pt x="1298" y="1655"/>
                  <a:pt x="1302" y="1647"/>
                  <a:pt x="1302" y="1628"/>
                </a:cubicBezTo>
                <a:cubicBezTo>
                  <a:pt x="1302" y="1608"/>
                  <a:pt x="1298" y="1598"/>
                  <a:pt x="1290" y="1598"/>
                </a:cubicBezTo>
                <a:close/>
                <a:moveTo>
                  <a:pt x="1498" y="1675"/>
                </a:moveTo>
                <a:cubicBezTo>
                  <a:pt x="1490" y="1675"/>
                  <a:pt x="1485" y="1672"/>
                  <a:pt x="1480" y="1665"/>
                </a:cubicBezTo>
                <a:cubicBezTo>
                  <a:pt x="1476" y="1659"/>
                  <a:pt x="1473" y="1650"/>
                  <a:pt x="1473" y="1638"/>
                </a:cubicBezTo>
                <a:cubicBezTo>
                  <a:pt x="1473" y="1625"/>
                  <a:pt x="1476" y="1616"/>
                  <a:pt x="1480" y="1608"/>
                </a:cubicBezTo>
                <a:cubicBezTo>
                  <a:pt x="1485" y="1602"/>
                  <a:pt x="1491" y="1599"/>
                  <a:pt x="1500" y="1599"/>
                </a:cubicBezTo>
                <a:cubicBezTo>
                  <a:pt x="1516" y="1599"/>
                  <a:pt x="1524" y="1611"/>
                  <a:pt x="1524" y="1636"/>
                </a:cubicBezTo>
                <a:cubicBezTo>
                  <a:pt x="1524" y="1649"/>
                  <a:pt x="1522" y="1659"/>
                  <a:pt x="1518" y="1665"/>
                </a:cubicBezTo>
                <a:cubicBezTo>
                  <a:pt x="1513" y="1672"/>
                  <a:pt x="1507" y="1675"/>
                  <a:pt x="1498" y="1675"/>
                </a:cubicBezTo>
                <a:close/>
                <a:moveTo>
                  <a:pt x="1499" y="1608"/>
                </a:moveTo>
                <a:cubicBezTo>
                  <a:pt x="1490" y="1608"/>
                  <a:pt x="1486" y="1618"/>
                  <a:pt x="1486" y="1637"/>
                </a:cubicBezTo>
                <a:cubicBezTo>
                  <a:pt x="1486" y="1656"/>
                  <a:pt x="1490" y="1665"/>
                  <a:pt x="1499" y="1665"/>
                </a:cubicBezTo>
                <a:cubicBezTo>
                  <a:pt x="1507" y="1665"/>
                  <a:pt x="1512" y="1656"/>
                  <a:pt x="1512" y="1637"/>
                </a:cubicBezTo>
                <a:cubicBezTo>
                  <a:pt x="1512" y="1618"/>
                  <a:pt x="1508" y="1608"/>
                  <a:pt x="1499" y="1608"/>
                </a:cubicBezTo>
                <a:close/>
                <a:moveTo>
                  <a:pt x="1570" y="1592"/>
                </a:moveTo>
                <a:cubicBezTo>
                  <a:pt x="1570" y="1592"/>
                  <a:pt x="1570" y="1592"/>
                  <a:pt x="1570" y="1592"/>
                </a:cubicBezTo>
                <a:cubicBezTo>
                  <a:pt x="1565" y="1592"/>
                  <a:pt x="1565" y="1592"/>
                  <a:pt x="1565" y="1592"/>
                </a:cubicBezTo>
                <a:cubicBezTo>
                  <a:pt x="1563" y="1593"/>
                  <a:pt x="1562" y="1594"/>
                  <a:pt x="1560" y="1595"/>
                </a:cubicBezTo>
                <a:cubicBezTo>
                  <a:pt x="1558" y="1597"/>
                  <a:pt x="1556" y="1597"/>
                  <a:pt x="1555" y="1598"/>
                </a:cubicBezTo>
                <a:cubicBezTo>
                  <a:pt x="1553" y="1599"/>
                  <a:pt x="1551" y="1600"/>
                  <a:pt x="1550" y="1600"/>
                </a:cubicBezTo>
                <a:cubicBezTo>
                  <a:pt x="1548" y="1601"/>
                  <a:pt x="1546" y="1602"/>
                  <a:pt x="1544" y="1602"/>
                </a:cubicBezTo>
                <a:cubicBezTo>
                  <a:pt x="1544" y="1602"/>
                  <a:pt x="1544" y="1602"/>
                  <a:pt x="1544" y="1613"/>
                </a:cubicBezTo>
                <a:cubicBezTo>
                  <a:pt x="1547" y="1612"/>
                  <a:pt x="1550" y="1610"/>
                  <a:pt x="1552" y="1610"/>
                </a:cubicBezTo>
                <a:cubicBezTo>
                  <a:pt x="1555" y="1609"/>
                  <a:pt x="1557" y="1608"/>
                  <a:pt x="1559" y="1606"/>
                </a:cubicBezTo>
                <a:cubicBezTo>
                  <a:pt x="1559" y="1606"/>
                  <a:pt x="1559" y="1606"/>
                  <a:pt x="1559" y="1665"/>
                </a:cubicBezTo>
                <a:cubicBezTo>
                  <a:pt x="1559" y="1665"/>
                  <a:pt x="1559" y="1665"/>
                  <a:pt x="1570" y="1665"/>
                </a:cubicBezTo>
                <a:cubicBezTo>
                  <a:pt x="1570" y="1665"/>
                  <a:pt x="1570" y="1665"/>
                  <a:pt x="1570" y="1592"/>
                </a:cubicBezTo>
                <a:close/>
                <a:moveTo>
                  <a:pt x="1361" y="1592"/>
                </a:moveTo>
                <a:cubicBezTo>
                  <a:pt x="1361" y="1592"/>
                  <a:pt x="1361" y="1592"/>
                  <a:pt x="1361" y="1592"/>
                </a:cubicBezTo>
                <a:cubicBezTo>
                  <a:pt x="1356" y="1592"/>
                  <a:pt x="1356" y="1592"/>
                  <a:pt x="1356" y="1592"/>
                </a:cubicBezTo>
                <a:cubicBezTo>
                  <a:pt x="1354" y="1593"/>
                  <a:pt x="1352" y="1594"/>
                  <a:pt x="1350" y="1595"/>
                </a:cubicBezTo>
                <a:cubicBezTo>
                  <a:pt x="1349" y="1597"/>
                  <a:pt x="1347" y="1597"/>
                  <a:pt x="1345" y="1598"/>
                </a:cubicBezTo>
                <a:cubicBezTo>
                  <a:pt x="1344" y="1600"/>
                  <a:pt x="1342" y="1600"/>
                  <a:pt x="1340" y="1601"/>
                </a:cubicBezTo>
                <a:cubicBezTo>
                  <a:pt x="1338" y="1602"/>
                  <a:pt x="1336" y="1602"/>
                  <a:pt x="1334" y="1602"/>
                </a:cubicBezTo>
                <a:cubicBezTo>
                  <a:pt x="1334" y="1602"/>
                  <a:pt x="1334" y="1602"/>
                  <a:pt x="1334" y="1613"/>
                </a:cubicBezTo>
                <a:cubicBezTo>
                  <a:pt x="1337" y="1612"/>
                  <a:pt x="1340" y="1611"/>
                  <a:pt x="1343" y="1610"/>
                </a:cubicBezTo>
                <a:cubicBezTo>
                  <a:pt x="1345" y="1609"/>
                  <a:pt x="1347" y="1608"/>
                  <a:pt x="1350" y="1606"/>
                </a:cubicBezTo>
                <a:cubicBezTo>
                  <a:pt x="1350" y="1606"/>
                  <a:pt x="1350" y="1606"/>
                  <a:pt x="1350" y="1665"/>
                </a:cubicBezTo>
                <a:cubicBezTo>
                  <a:pt x="1350" y="1665"/>
                  <a:pt x="1350" y="1665"/>
                  <a:pt x="1361" y="1665"/>
                </a:cubicBezTo>
                <a:cubicBezTo>
                  <a:pt x="1361" y="1665"/>
                  <a:pt x="1361" y="1665"/>
                  <a:pt x="1361" y="1592"/>
                </a:cubicBezTo>
                <a:close/>
                <a:moveTo>
                  <a:pt x="1408" y="1592"/>
                </a:moveTo>
                <a:cubicBezTo>
                  <a:pt x="1408" y="1592"/>
                  <a:pt x="1408" y="1592"/>
                  <a:pt x="1408" y="1592"/>
                </a:cubicBezTo>
                <a:cubicBezTo>
                  <a:pt x="1403" y="1592"/>
                  <a:pt x="1403" y="1592"/>
                  <a:pt x="1403" y="1592"/>
                </a:cubicBezTo>
                <a:cubicBezTo>
                  <a:pt x="1401" y="1593"/>
                  <a:pt x="1399" y="1594"/>
                  <a:pt x="1397" y="1595"/>
                </a:cubicBezTo>
                <a:cubicBezTo>
                  <a:pt x="1396" y="1597"/>
                  <a:pt x="1393" y="1597"/>
                  <a:pt x="1392" y="1598"/>
                </a:cubicBezTo>
                <a:cubicBezTo>
                  <a:pt x="1390" y="1600"/>
                  <a:pt x="1388" y="1600"/>
                  <a:pt x="1387" y="1601"/>
                </a:cubicBezTo>
                <a:cubicBezTo>
                  <a:pt x="1385" y="1602"/>
                  <a:pt x="1383" y="1602"/>
                  <a:pt x="1381" y="1602"/>
                </a:cubicBezTo>
                <a:cubicBezTo>
                  <a:pt x="1381" y="1602"/>
                  <a:pt x="1381" y="1602"/>
                  <a:pt x="1381" y="1613"/>
                </a:cubicBezTo>
                <a:cubicBezTo>
                  <a:pt x="1384" y="1612"/>
                  <a:pt x="1387" y="1611"/>
                  <a:pt x="1389" y="1610"/>
                </a:cubicBezTo>
                <a:cubicBezTo>
                  <a:pt x="1392" y="1609"/>
                  <a:pt x="1394" y="1608"/>
                  <a:pt x="1396" y="1606"/>
                </a:cubicBezTo>
                <a:cubicBezTo>
                  <a:pt x="1396" y="1606"/>
                  <a:pt x="1396" y="1606"/>
                  <a:pt x="1396" y="1665"/>
                </a:cubicBezTo>
                <a:cubicBezTo>
                  <a:pt x="1396" y="1665"/>
                  <a:pt x="1396" y="1665"/>
                  <a:pt x="1408" y="1665"/>
                </a:cubicBezTo>
                <a:cubicBezTo>
                  <a:pt x="1408" y="1665"/>
                  <a:pt x="1408" y="1665"/>
                  <a:pt x="1408" y="1592"/>
                </a:cubicBezTo>
                <a:close/>
                <a:moveTo>
                  <a:pt x="1454" y="1592"/>
                </a:moveTo>
                <a:cubicBezTo>
                  <a:pt x="1454" y="1592"/>
                  <a:pt x="1454" y="1592"/>
                  <a:pt x="1454" y="1592"/>
                </a:cubicBezTo>
                <a:cubicBezTo>
                  <a:pt x="1449" y="1592"/>
                  <a:pt x="1449" y="1592"/>
                  <a:pt x="1449" y="1592"/>
                </a:cubicBezTo>
                <a:cubicBezTo>
                  <a:pt x="1447" y="1593"/>
                  <a:pt x="1446" y="1594"/>
                  <a:pt x="1444" y="1595"/>
                </a:cubicBezTo>
                <a:cubicBezTo>
                  <a:pt x="1442" y="1597"/>
                  <a:pt x="1440" y="1597"/>
                  <a:pt x="1439" y="1598"/>
                </a:cubicBezTo>
                <a:cubicBezTo>
                  <a:pt x="1436" y="1599"/>
                  <a:pt x="1435" y="1600"/>
                  <a:pt x="1433" y="1600"/>
                </a:cubicBezTo>
                <a:cubicBezTo>
                  <a:pt x="1431" y="1601"/>
                  <a:pt x="1429" y="1602"/>
                  <a:pt x="1428" y="1602"/>
                </a:cubicBezTo>
                <a:cubicBezTo>
                  <a:pt x="1428" y="1602"/>
                  <a:pt x="1428" y="1602"/>
                  <a:pt x="1428" y="1613"/>
                </a:cubicBezTo>
                <a:cubicBezTo>
                  <a:pt x="1431" y="1612"/>
                  <a:pt x="1434" y="1610"/>
                  <a:pt x="1436" y="1610"/>
                </a:cubicBezTo>
                <a:cubicBezTo>
                  <a:pt x="1438" y="1609"/>
                  <a:pt x="1441" y="1608"/>
                  <a:pt x="1442" y="1606"/>
                </a:cubicBezTo>
                <a:cubicBezTo>
                  <a:pt x="1442" y="1606"/>
                  <a:pt x="1442" y="1606"/>
                  <a:pt x="1442" y="1665"/>
                </a:cubicBezTo>
                <a:cubicBezTo>
                  <a:pt x="1442" y="1665"/>
                  <a:pt x="1442" y="1665"/>
                  <a:pt x="1454" y="1665"/>
                </a:cubicBezTo>
                <a:cubicBezTo>
                  <a:pt x="1454" y="1665"/>
                  <a:pt x="1454" y="1665"/>
                  <a:pt x="1454" y="1592"/>
                </a:cubicBezTo>
                <a:close/>
                <a:moveTo>
                  <a:pt x="212" y="1592"/>
                </a:moveTo>
                <a:cubicBezTo>
                  <a:pt x="212" y="1592"/>
                  <a:pt x="212" y="1592"/>
                  <a:pt x="212" y="1592"/>
                </a:cubicBezTo>
                <a:cubicBezTo>
                  <a:pt x="206" y="1592"/>
                  <a:pt x="206" y="1592"/>
                  <a:pt x="206" y="1592"/>
                </a:cubicBezTo>
                <a:cubicBezTo>
                  <a:pt x="204" y="1593"/>
                  <a:pt x="203" y="1594"/>
                  <a:pt x="201" y="1595"/>
                </a:cubicBezTo>
                <a:cubicBezTo>
                  <a:pt x="199" y="1597"/>
                  <a:pt x="197" y="1597"/>
                  <a:pt x="196" y="1598"/>
                </a:cubicBezTo>
                <a:cubicBezTo>
                  <a:pt x="194" y="1600"/>
                  <a:pt x="192" y="1600"/>
                  <a:pt x="190" y="1601"/>
                </a:cubicBezTo>
                <a:cubicBezTo>
                  <a:pt x="188" y="1602"/>
                  <a:pt x="187" y="1602"/>
                  <a:pt x="185" y="1602"/>
                </a:cubicBezTo>
                <a:cubicBezTo>
                  <a:pt x="185" y="1602"/>
                  <a:pt x="185" y="1602"/>
                  <a:pt x="185" y="1613"/>
                </a:cubicBezTo>
                <a:cubicBezTo>
                  <a:pt x="188" y="1612"/>
                  <a:pt x="190" y="1611"/>
                  <a:pt x="193" y="1610"/>
                </a:cubicBezTo>
                <a:cubicBezTo>
                  <a:pt x="196" y="1609"/>
                  <a:pt x="198" y="1608"/>
                  <a:pt x="200" y="1606"/>
                </a:cubicBezTo>
                <a:cubicBezTo>
                  <a:pt x="200" y="1606"/>
                  <a:pt x="200" y="1606"/>
                  <a:pt x="200" y="1665"/>
                </a:cubicBezTo>
                <a:cubicBezTo>
                  <a:pt x="200" y="1665"/>
                  <a:pt x="200" y="1665"/>
                  <a:pt x="212" y="1665"/>
                </a:cubicBezTo>
                <a:cubicBezTo>
                  <a:pt x="212" y="1665"/>
                  <a:pt x="212" y="1665"/>
                  <a:pt x="212" y="1592"/>
                </a:cubicBezTo>
                <a:close/>
                <a:moveTo>
                  <a:pt x="258" y="1592"/>
                </a:moveTo>
                <a:cubicBezTo>
                  <a:pt x="258" y="1592"/>
                  <a:pt x="258" y="1592"/>
                  <a:pt x="258" y="1592"/>
                </a:cubicBezTo>
                <a:cubicBezTo>
                  <a:pt x="253" y="1592"/>
                  <a:pt x="253" y="1592"/>
                  <a:pt x="253" y="1592"/>
                </a:cubicBezTo>
                <a:cubicBezTo>
                  <a:pt x="252" y="1593"/>
                  <a:pt x="249" y="1594"/>
                  <a:pt x="248" y="1595"/>
                </a:cubicBezTo>
                <a:cubicBezTo>
                  <a:pt x="246" y="1597"/>
                  <a:pt x="244" y="1597"/>
                  <a:pt x="242" y="1598"/>
                </a:cubicBezTo>
                <a:cubicBezTo>
                  <a:pt x="241" y="1600"/>
                  <a:pt x="238" y="1600"/>
                  <a:pt x="237" y="1601"/>
                </a:cubicBezTo>
                <a:cubicBezTo>
                  <a:pt x="235" y="1602"/>
                  <a:pt x="233" y="1602"/>
                  <a:pt x="231" y="1602"/>
                </a:cubicBezTo>
                <a:cubicBezTo>
                  <a:pt x="231" y="1602"/>
                  <a:pt x="231" y="1602"/>
                  <a:pt x="231" y="1613"/>
                </a:cubicBezTo>
                <a:cubicBezTo>
                  <a:pt x="234" y="1612"/>
                  <a:pt x="237" y="1611"/>
                  <a:pt x="240" y="1610"/>
                </a:cubicBezTo>
                <a:cubicBezTo>
                  <a:pt x="242" y="1609"/>
                  <a:pt x="244" y="1608"/>
                  <a:pt x="246" y="1606"/>
                </a:cubicBezTo>
                <a:cubicBezTo>
                  <a:pt x="246" y="1606"/>
                  <a:pt x="246" y="1606"/>
                  <a:pt x="246" y="1665"/>
                </a:cubicBezTo>
                <a:cubicBezTo>
                  <a:pt x="246" y="1665"/>
                  <a:pt x="246" y="1665"/>
                  <a:pt x="258" y="1665"/>
                </a:cubicBezTo>
                <a:cubicBezTo>
                  <a:pt x="258" y="1665"/>
                  <a:pt x="258" y="1665"/>
                  <a:pt x="258" y="1592"/>
                </a:cubicBezTo>
                <a:close/>
                <a:moveTo>
                  <a:pt x="304" y="1592"/>
                </a:moveTo>
                <a:cubicBezTo>
                  <a:pt x="304" y="1592"/>
                  <a:pt x="304" y="1592"/>
                  <a:pt x="304" y="1592"/>
                </a:cubicBezTo>
                <a:cubicBezTo>
                  <a:pt x="300" y="1592"/>
                  <a:pt x="300" y="1592"/>
                  <a:pt x="300" y="1592"/>
                </a:cubicBezTo>
                <a:cubicBezTo>
                  <a:pt x="298" y="1593"/>
                  <a:pt x="296" y="1594"/>
                  <a:pt x="294" y="1595"/>
                </a:cubicBezTo>
                <a:cubicBezTo>
                  <a:pt x="293" y="1597"/>
                  <a:pt x="290" y="1597"/>
                  <a:pt x="289" y="1598"/>
                </a:cubicBezTo>
                <a:cubicBezTo>
                  <a:pt x="287" y="1599"/>
                  <a:pt x="285" y="1600"/>
                  <a:pt x="283" y="1600"/>
                </a:cubicBezTo>
                <a:cubicBezTo>
                  <a:pt x="282" y="1601"/>
                  <a:pt x="280" y="1602"/>
                  <a:pt x="278" y="1602"/>
                </a:cubicBezTo>
                <a:cubicBezTo>
                  <a:pt x="278" y="1602"/>
                  <a:pt x="278" y="1602"/>
                  <a:pt x="278" y="1613"/>
                </a:cubicBezTo>
                <a:cubicBezTo>
                  <a:pt x="281" y="1612"/>
                  <a:pt x="284" y="1610"/>
                  <a:pt x="286" y="1610"/>
                </a:cubicBezTo>
                <a:cubicBezTo>
                  <a:pt x="288" y="1609"/>
                  <a:pt x="291" y="1608"/>
                  <a:pt x="293" y="1606"/>
                </a:cubicBezTo>
                <a:cubicBezTo>
                  <a:pt x="293" y="1606"/>
                  <a:pt x="293" y="1606"/>
                  <a:pt x="293" y="1665"/>
                </a:cubicBezTo>
                <a:cubicBezTo>
                  <a:pt x="293" y="1665"/>
                  <a:pt x="293" y="1665"/>
                  <a:pt x="304" y="1665"/>
                </a:cubicBezTo>
                <a:cubicBezTo>
                  <a:pt x="304" y="1665"/>
                  <a:pt x="304" y="1665"/>
                  <a:pt x="304" y="1592"/>
                </a:cubicBezTo>
                <a:close/>
                <a:moveTo>
                  <a:pt x="440" y="1624"/>
                </a:moveTo>
                <a:cubicBezTo>
                  <a:pt x="440" y="1624"/>
                  <a:pt x="440" y="1624"/>
                  <a:pt x="440" y="1624"/>
                </a:cubicBezTo>
                <a:cubicBezTo>
                  <a:pt x="440" y="1632"/>
                  <a:pt x="440" y="1632"/>
                  <a:pt x="440" y="1632"/>
                </a:cubicBezTo>
                <a:cubicBezTo>
                  <a:pt x="446" y="1632"/>
                  <a:pt x="447" y="1635"/>
                  <a:pt x="447" y="1638"/>
                </a:cubicBezTo>
                <a:cubicBezTo>
                  <a:pt x="447" y="1640"/>
                  <a:pt x="447" y="1643"/>
                  <a:pt x="447" y="1645"/>
                </a:cubicBezTo>
                <a:cubicBezTo>
                  <a:pt x="446" y="1648"/>
                  <a:pt x="446" y="1650"/>
                  <a:pt x="446" y="1652"/>
                </a:cubicBezTo>
                <a:cubicBezTo>
                  <a:pt x="446" y="1662"/>
                  <a:pt x="452" y="1665"/>
                  <a:pt x="461" y="1665"/>
                </a:cubicBezTo>
                <a:cubicBezTo>
                  <a:pt x="461" y="1665"/>
                  <a:pt x="461" y="1665"/>
                  <a:pt x="464" y="1665"/>
                </a:cubicBezTo>
                <a:cubicBezTo>
                  <a:pt x="464" y="1665"/>
                  <a:pt x="464" y="1665"/>
                  <a:pt x="464" y="1656"/>
                </a:cubicBezTo>
                <a:cubicBezTo>
                  <a:pt x="464" y="1656"/>
                  <a:pt x="464" y="1656"/>
                  <a:pt x="463" y="1656"/>
                </a:cubicBezTo>
                <a:cubicBezTo>
                  <a:pt x="459" y="1656"/>
                  <a:pt x="458" y="1653"/>
                  <a:pt x="458" y="1650"/>
                </a:cubicBezTo>
                <a:cubicBezTo>
                  <a:pt x="458" y="1649"/>
                  <a:pt x="458" y="1647"/>
                  <a:pt x="458" y="1645"/>
                </a:cubicBezTo>
                <a:cubicBezTo>
                  <a:pt x="458" y="1644"/>
                  <a:pt x="459" y="1641"/>
                  <a:pt x="459" y="1639"/>
                </a:cubicBezTo>
                <a:cubicBezTo>
                  <a:pt x="459" y="1632"/>
                  <a:pt x="456" y="1629"/>
                  <a:pt x="450" y="1628"/>
                </a:cubicBezTo>
                <a:cubicBezTo>
                  <a:pt x="450" y="1628"/>
                  <a:pt x="450" y="1628"/>
                  <a:pt x="450" y="1628"/>
                </a:cubicBezTo>
                <a:cubicBezTo>
                  <a:pt x="456" y="1626"/>
                  <a:pt x="459" y="1624"/>
                  <a:pt x="459" y="1617"/>
                </a:cubicBezTo>
                <a:cubicBezTo>
                  <a:pt x="459" y="1614"/>
                  <a:pt x="458" y="1612"/>
                  <a:pt x="458" y="1610"/>
                </a:cubicBezTo>
                <a:cubicBezTo>
                  <a:pt x="458" y="1609"/>
                  <a:pt x="458" y="1607"/>
                  <a:pt x="458" y="1606"/>
                </a:cubicBezTo>
                <a:cubicBezTo>
                  <a:pt x="458" y="1602"/>
                  <a:pt x="459" y="1600"/>
                  <a:pt x="463" y="1600"/>
                </a:cubicBezTo>
                <a:cubicBezTo>
                  <a:pt x="463" y="1600"/>
                  <a:pt x="463" y="1600"/>
                  <a:pt x="464" y="1600"/>
                </a:cubicBezTo>
                <a:cubicBezTo>
                  <a:pt x="464" y="1600"/>
                  <a:pt x="464" y="1600"/>
                  <a:pt x="464" y="1591"/>
                </a:cubicBezTo>
                <a:cubicBezTo>
                  <a:pt x="464" y="1591"/>
                  <a:pt x="464" y="1591"/>
                  <a:pt x="461" y="1591"/>
                </a:cubicBezTo>
                <a:cubicBezTo>
                  <a:pt x="452" y="1591"/>
                  <a:pt x="446" y="1595"/>
                  <a:pt x="446" y="1603"/>
                </a:cubicBezTo>
                <a:cubicBezTo>
                  <a:pt x="446" y="1606"/>
                  <a:pt x="446" y="1608"/>
                  <a:pt x="446" y="1611"/>
                </a:cubicBezTo>
                <a:cubicBezTo>
                  <a:pt x="447" y="1613"/>
                  <a:pt x="447" y="1616"/>
                  <a:pt x="447" y="1618"/>
                </a:cubicBezTo>
                <a:cubicBezTo>
                  <a:pt x="447" y="1620"/>
                  <a:pt x="446" y="1624"/>
                  <a:pt x="440" y="1624"/>
                </a:cubicBezTo>
                <a:close/>
                <a:moveTo>
                  <a:pt x="495" y="1632"/>
                </a:moveTo>
                <a:cubicBezTo>
                  <a:pt x="495" y="1632"/>
                  <a:pt x="495" y="1632"/>
                  <a:pt x="495" y="1632"/>
                </a:cubicBezTo>
                <a:cubicBezTo>
                  <a:pt x="495" y="1624"/>
                  <a:pt x="495" y="1624"/>
                  <a:pt x="495" y="1624"/>
                </a:cubicBezTo>
                <a:cubicBezTo>
                  <a:pt x="489" y="1624"/>
                  <a:pt x="489" y="1620"/>
                  <a:pt x="489" y="1618"/>
                </a:cubicBezTo>
                <a:cubicBezTo>
                  <a:pt x="489" y="1616"/>
                  <a:pt x="489" y="1613"/>
                  <a:pt x="489" y="1611"/>
                </a:cubicBezTo>
                <a:cubicBezTo>
                  <a:pt x="489" y="1608"/>
                  <a:pt x="489" y="1606"/>
                  <a:pt x="489" y="1603"/>
                </a:cubicBezTo>
                <a:cubicBezTo>
                  <a:pt x="489" y="1595"/>
                  <a:pt x="484" y="1591"/>
                  <a:pt x="475" y="1591"/>
                </a:cubicBezTo>
                <a:cubicBezTo>
                  <a:pt x="475" y="1591"/>
                  <a:pt x="475" y="1591"/>
                  <a:pt x="471" y="1591"/>
                </a:cubicBezTo>
                <a:cubicBezTo>
                  <a:pt x="471" y="1591"/>
                  <a:pt x="471" y="1591"/>
                  <a:pt x="471" y="1600"/>
                </a:cubicBezTo>
                <a:cubicBezTo>
                  <a:pt x="471" y="1600"/>
                  <a:pt x="471" y="1600"/>
                  <a:pt x="473" y="1600"/>
                </a:cubicBezTo>
                <a:cubicBezTo>
                  <a:pt x="476" y="1600"/>
                  <a:pt x="478" y="1602"/>
                  <a:pt x="478" y="1606"/>
                </a:cubicBezTo>
                <a:cubicBezTo>
                  <a:pt x="478" y="1607"/>
                  <a:pt x="477" y="1609"/>
                  <a:pt x="477" y="1610"/>
                </a:cubicBezTo>
                <a:cubicBezTo>
                  <a:pt x="477" y="1612"/>
                  <a:pt x="477" y="1614"/>
                  <a:pt x="477" y="1617"/>
                </a:cubicBezTo>
                <a:cubicBezTo>
                  <a:pt x="477" y="1624"/>
                  <a:pt x="480" y="1626"/>
                  <a:pt x="486" y="1628"/>
                </a:cubicBezTo>
                <a:cubicBezTo>
                  <a:pt x="486" y="1628"/>
                  <a:pt x="486" y="1628"/>
                  <a:pt x="486" y="1628"/>
                </a:cubicBezTo>
                <a:cubicBezTo>
                  <a:pt x="480" y="1629"/>
                  <a:pt x="477" y="1632"/>
                  <a:pt x="477" y="1639"/>
                </a:cubicBezTo>
                <a:cubicBezTo>
                  <a:pt x="477" y="1641"/>
                  <a:pt x="477" y="1644"/>
                  <a:pt x="477" y="1645"/>
                </a:cubicBezTo>
                <a:cubicBezTo>
                  <a:pt x="477" y="1647"/>
                  <a:pt x="478" y="1649"/>
                  <a:pt x="478" y="1650"/>
                </a:cubicBezTo>
                <a:cubicBezTo>
                  <a:pt x="478" y="1653"/>
                  <a:pt x="477" y="1656"/>
                  <a:pt x="473" y="1656"/>
                </a:cubicBezTo>
                <a:cubicBezTo>
                  <a:pt x="473" y="1656"/>
                  <a:pt x="473" y="1656"/>
                  <a:pt x="471" y="1656"/>
                </a:cubicBezTo>
                <a:cubicBezTo>
                  <a:pt x="471" y="1656"/>
                  <a:pt x="471" y="1656"/>
                  <a:pt x="471" y="1665"/>
                </a:cubicBezTo>
                <a:cubicBezTo>
                  <a:pt x="471" y="1665"/>
                  <a:pt x="471" y="1665"/>
                  <a:pt x="475" y="1665"/>
                </a:cubicBezTo>
                <a:cubicBezTo>
                  <a:pt x="484" y="1665"/>
                  <a:pt x="489" y="1662"/>
                  <a:pt x="489" y="1652"/>
                </a:cubicBezTo>
                <a:cubicBezTo>
                  <a:pt x="489" y="1650"/>
                  <a:pt x="489" y="1648"/>
                  <a:pt x="489" y="1645"/>
                </a:cubicBezTo>
                <a:cubicBezTo>
                  <a:pt x="489" y="1643"/>
                  <a:pt x="489" y="1640"/>
                  <a:pt x="489" y="1638"/>
                </a:cubicBezTo>
                <a:cubicBezTo>
                  <a:pt x="489" y="1635"/>
                  <a:pt x="489" y="1632"/>
                  <a:pt x="495" y="1632"/>
                </a:cubicBezTo>
                <a:close/>
                <a:moveTo>
                  <a:pt x="542" y="1592"/>
                </a:moveTo>
                <a:cubicBezTo>
                  <a:pt x="542" y="1592"/>
                  <a:pt x="542" y="1592"/>
                  <a:pt x="542" y="1592"/>
                </a:cubicBezTo>
                <a:cubicBezTo>
                  <a:pt x="537" y="1592"/>
                  <a:pt x="537" y="1592"/>
                  <a:pt x="537" y="1592"/>
                </a:cubicBezTo>
                <a:cubicBezTo>
                  <a:pt x="535" y="1593"/>
                  <a:pt x="533" y="1594"/>
                  <a:pt x="531" y="1595"/>
                </a:cubicBezTo>
                <a:cubicBezTo>
                  <a:pt x="530" y="1597"/>
                  <a:pt x="527" y="1597"/>
                  <a:pt x="526" y="1598"/>
                </a:cubicBezTo>
                <a:cubicBezTo>
                  <a:pt x="524" y="1599"/>
                  <a:pt x="522" y="1600"/>
                  <a:pt x="521" y="1600"/>
                </a:cubicBezTo>
                <a:cubicBezTo>
                  <a:pt x="519" y="1601"/>
                  <a:pt x="517" y="1602"/>
                  <a:pt x="515" y="1602"/>
                </a:cubicBezTo>
                <a:cubicBezTo>
                  <a:pt x="515" y="1602"/>
                  <a:pt x="515" y="1602"/>
                  <a:pt x="515" y="1613"/>
                </a:cubicBezTo>
                <a:cubicBezTo>
                  <a:pt x="518" y="1612"/>
                  <a:pt x="521" y="1610"/>
                  <a:pt x="523" y="1610"/>
                </a:cubicBezTo>
                <a:cubicBezTo>
                  <a:pt x="526" y="1609"/>
                  <a:pt x="528" y="1608"/>
                  <a:pt x="530" y="1606"/>
                </a:cubicBezTo>
                <a:cubicBezTo>
                  <a:pt x="530" y="1606"/>
                  <a:pt x="530" y="1606"/>
                  <a:pt x="530" y="1665"/>
                </a:cubicBezTo>
                <a:cubicBezTo>
                  <a:pt x="530" y="1665"/>
                  <a:pt x="530" y="1665"/>
                  <a:pt x="542" y="1665"/>
                </a:cubicBezTo>
                <a:cubicBezTo>
                  <a:pt x="542" y="1665"/>
                  <a:pt x="542" y="1665"/>
                  <a:pt x="542" y="1592"/>
                </a:cubicBezTo>
                <a:close/>
                <a:moveTo>
                  <a:pt x="588" y="1592"/>
                </a:moveTo>
                <a:cubicBezTo>
                  <a:pt x="588" y="1592"/>
                  <a:pt x="588" y="1592"/>
                  <a:pt x="588" y="1592"/>
                </a:cubicBezTo>
                <a:cubicBezTo>
                  <a:pt x="583" y="1592"/>
                  <a:pt x="583" y="1592"/>
                  <a:pt x="583" y="1592"/>
                </a:cubicBezTo>
                <a:cubicBezTo>
                  <a:pt x="581" y="1593"/>
                  <a:pt x="580" y="1594"/>
                  <a:pt x="578" y="1595"/>
                </a:cubicBezTo>
                <a:cubicBezTo>
                  <a:pt x="576" y="1597"/>
                  <a:pt x="574" y="1597"/>
                  <a:pt x="573" y="1598"/>
                </a:cubicBezTo>
                <a:cubicBezTo>
                  <a:pt x="571" y="1600"/>
                  <a:pt x="569" y="1600"/>
                  <a:pt x="568" y="1601"/>
                </a:cubicBezTo>
                <a:cubicBezTo>
                  <a:pt x="566" y="1602"/>
                  <a:pt x="564" y="1602"/>
                  <a:pt x="562" y="1602"/>
                </a:cubicBezTo>
                <a:cubicBezTo>
                  <a:pt x="562" y="1602"/>
                  <a:pt x="562" y="1602"/>
                  <a:pt x="562" y="1613"/>
                </a:cubicBezTo>
                <a:cubicBezTo>
                  <a:pt x="565" y="1612"/>
                  <a:pt x="568" y="1611"/>
                  <a:pt x="570" y="1610"/>
                </a:cubicBezTo>
                <a:cubicBezTo>
                  <a:pt x="573" y="1609"/>
                  <a:pt x="575" y="1608"/>
                  <a:pt x="577" y="1606"/>
                </a:cubicBezTo>
                <a:cubicBezTo>
                  <a:pt x="577" y="1606"/>
                  <a:pt x="577" y="1606"/>
                  <a:pt x="577" y="1665"/>
                </a:cubicBezTo>
                <a:cubicBezTo>
                  <a:pt x="577" y="1665"/>
                  <a:pt x="577" y="1665"/>
                  <a:pt x="588" y="1665"/>
                </a:cubicBezTo>
                <a:cubicBezTo>
                  <a:pt x="588" y="1665"/>
                  <a:pt x="588" y="1665"/>
                  <a:pt x="588" y="1592"/>
                </a:cubicBezTo>
                <a:close/>
                <a:moveTo>
                  <a:pt x="634" y="1592"/>
                </a:moveTo>
                <a:cubicBezTo>
                  <a:pt x="634" y="1592"/>
                  <a:pt x="634" y="1592"/>
                  <a:pt x="634" y="1592"/>
                </a:cubicBezTo>
                <a:cubicBezTo>
                  <a:pt x="630" y="1592"/>
                  <a:pt x="630" y="1592"/>
                  <a:pt x="630" y="1592"/>
                </a:cubicBezTo>
                <a:cubicBezTo>
                  <a:pt x="627" y="1593"/>
                  <a:pt x="626" y="1594"/>
                  <a:pt x="624" y="1595"/>
                </a:cubicBezTo>
                <a:cubicBezTo>
                  <a:pt x="622" y="1597"/>
                  <a:pt x="620" y="1597"/>
                  <a:pt x="619" y="1598"/>
                </a:cubicBezTo>
                <a:cubicBezTo>
                  <a:pt x="617" y="1600"/>
                  <a:pt x="615" y="1600"/>
                  <a:pt x="613" y="1601"/>
                </a:cubicBezTo>
                <a:cubicBezTo>
                  <a:pt x="612" y="1602"/>
                  <a:pt x="609" y="1602"/>
                  <a:pt x="608" y="1602"/>
                </a:cubicBezTo>
                <a:cubicBezTo>
                  <a:pt x="608" y="1602"/>
                  <a:pt x="608" y="1602"/>
                  <a:pt x="608" y="1613"/>
                </a:cubicBezTo>
                <a:cubicBezTo>
                  <a:pt x="611" y="1612"/>
                  <a:pt x="614" y="1611"/>
                  <a:pt x="616" y="1610"/>
                </a:cubicBezTo>
                <a:cubicBezTo>
                  <a:pt x="618" y="1609"/>
                  <a:pt x="621" y="1608"/>
                  <a:pt x="622" y="1606"/>
                </a:cubicBezTo>
                <a:cubicBezTo>
                  <a:pt x="622" y="1606"/>
                  <a:pt x="622" y="1606"/>
                  <a:pt x="622" y="1665"/>
                </a:cubicBezTo>
                <a:cubicBezTo>
                  <a:pt x="622" y="1665"/>
                  <a:pt x="622" y="1665"/>
                  <a:pt x="634" y="1665"/>
                </a:cubicBezTo>
                <a:cubicBezTo>
                  <a:pt x="634" y="1665"/>
                  <a:pt x="634" y="1665"/>
                  <a:pt x="634" y="1592"/>
                </a:cubicBezTo>
                <a:close/>
                <a:moveTo>
                  <a:pt x="384" y="1639"/>
                </a:moveTo>
                <a:cubicBezTo>
                  <a:pt x="384" y="1640"/>
                  <a:pt x="385" y="1642"/>
                  <a:pt x="385" y="1643"/>
                </a:cubicBezTo>
                <a:cubicBezTo>
                  <a:pt x="386" y="1645"/>
                  <a:pt x="386" y="1647"/>
                  <a:pt x="387" y="1648"/>
                </a:cubicBezTo>
                <a:cubicBezTo>
                  <a:pt x="387" y="1650"/>
                  <a:pt x="387" y="1652"/>
                  <a:pt x="387" y="1653"/>
                </a:cubicBezTo>
                <a:cubicBezTo>
                  <a:pt x="388" y="1656"/>
                  <a:pt x="387" y="1658"/>
                  <a:pt x="383" y="1658"/>
                </a:cubicBezTo>
                <a:cubicBezTo>
                  <a:pt x="381" y="1658"/>
                  <a:pt x="378" y="1657"/>
                  <a:pt x="375" y="1657"/>
                </a:cubicBezTo>
                <a:cubicBezTo>
                  <a:pt x="375" y="1657"/>
                  <a:pt x="374" y="1657"/>
                  <a:pt x="374" y="1658"/>
                </a:cubicBezTo>
                <a:cubicBezTo>
                  <a:pt x="372" y="1659"/>
                  <a:pt x="371" y="1661"/>
                  <a:pt x="369" y="1662"/>
                </a:cubicBezTo>
                <a:cubicBezTo>
                  <a:pt x="367" y="1665"/>
                  <a:pt x="364" y="1665"/>
                  <a:pt x="362" y="1663"/>
                </a:cubicBezTo>
                <a:cubicBezTo>
                  <a:pt x="360" y="1661"/>
                  <a:pt x="359" y="1658"/>
                  <a:pt x="357" y="1656"/>
                </a:cubicBezTo>
                <a:cubicBezTo>
                  <a:pt x="356" y="1654"/>
                  <a:pt x="357" y="1652"/>
                  <a:pt x="359" y="1651"/>
                </a:cubicBezTo>
                <a:cubicBezTo>
                  <a:pt x="356" y="1651"/>
                  <a:pt x="355" y="1651"/>
                  <a:pt x="353" y="1651"/>
                </a:cubicBezTo>
                <a:cubicBezTo>
                  <a:pt x="352" y="1653"/>
                  <a:pt x="351" y="1655"/>
                  <a:pt x="351" y="1657"/>
                </a:cubicBezTo>
                <a:cubicBezTo>
                  <a:pt x="351" y="1657"/>
                  <a:pt x="350" y="1658"/>
                  <a:pt x="350" y="1659"/>
                </a:cubicBezTo>
                <a:cubicBezTo>
                  <a:pt x="350" y="1662"/>
                  <a:pt x="349" y="1663"/>
                  <a:pt x="346" y="1663"/>
                </a:cubicBezTo>
                <a:cubicBezTo>
                  <a:pt x="343" y="1663"/>
                  <a:pt x="340" y="1662"/>
                  <a:pt x="337" y="1661"/>
                </a:cubicBezTo>
                <a:cubicBezTo>
                  <a:pt x="335" y="1660"/>
                  <a:pt x="334" y="1659"/>
                  <a:pt x="335" y="1657"/>
                </a:cubicBezTo>
                <a:cubicBezTo>
                  <a:pt x="335" y="1656"/>
                  <a:pt x="335" y="1655"/>
                  <a:pt x="336" y="1655"/>
                </a:cubicBezTo>
                <a:cubicBezTo>
                  <a:pt x="333" y="1654"/>
                  <a:pt x="331" y="1653"/>
                  <a:pt x="329" y="1652"/>
                </a:cubicBezTo>
                <a:cubicBezTo>
                  <a:pt x="328" y="1651"/>
                  <a:pt x="327" y="1649"/>
                  <a:pt x="326" y="1647"/>
                </a:cubicBezTo>
                <a:cubicBezTo>
                  <a:pt x="325" y="1645"/>
                  <a:pt x="325" y="1644"/>
                  <a:pt x="327" y="1642"/>
                </a:cubicBezTo>
                <a:cubicBezTo>
                  <a:pt x="330" y="1640"/>
                  <a:pt x="331" y="1637"/>
                  <a:pt x="330" y="1633"/>
                </a:cubicBezTo>
                <a:cubicBezTo>
                  <a:pt x="330" y="1631"/>
                  <a:pt x="330" y="1629"/>
                  <a:pt x="330" y="1627"/>
                </a:cubicBezTo>
                <a:cubicBezTo>
                  <a:pt x="329" y="1626"/>
                  <a:pt x="327" y="1626"/>
                  <a:pt x="326" y="1625"/>
                </a:cubicBezTo>
                <a:cubicBezTo>
                  <a:pt x="325" y="1623"/>
                  <a:pt x="324" y="1621"/>
                  <a:pt x="324" y="1619"/>
                </a:cubicBezTo>
                <a:cubicBezTo>
                  <a:pt x="324" y="1616"/>
                  <a:pt x="327" y="1614"/>
                  <a:pt x="330" y="1613"/>
                </a:cubicBezTo>
                <a:cubicBezTo>
                  <a:pt x="331" y="1614"/>
                  <a:pt x="331" y="1614"/>
                  <a:pt x="331" y="1615"/>
                </a:cubicBezTo>
                <a:cubicBezTo>
                  <a:pt x="331" y="1616"/>
                  <a:pt x="331" y="1617"/>
                  <a:pt x="331" y="1618"/>
                </a:cubicBezTo>
                <a:cubicBezTo>
                  <a:pt x="331" y="1618"/>
                  <a:pt x="330" y="1618"/>
                  <a:pt x="330" y="1618"/>
                </a:cubicBezTo>
                <a:cubicBezTo>
                  <a:pt x="329" y="1619"/>
                  <a:pt x="329" y="1620"/>
                  <a:pt x="328" y="1622"/>
                </a:cubicBezTo>
                <a:cubicBezTo>
                  <a:pt x="329" y="1622"/>
                  <a:pt x="330" y="1622"/>
                  <a:pt x="331" y="1621"/>
                </a:cubicBezTo>
                <a:cubicBezTo>
                  <a:pt x="332" y="1620"/>
                  <a:pt x="332" y="1619"/>
                  <a:pt x="333" y="1618"/>
                </a:cubicBezTo>
                <a:cubicBezTo>
                  <a:pt x="338" y="1612"/>
                  <a:pt x="343" y="1608"/>
                  <a:pt x="351" y="1606"/>
                </a:cubicBezTo>
                <a:cubicBezTo>
                  <a:pt x="354" y="1606"/>
                  <a:pt x="358" y="1604"/>
                  <a:pt x="360" y="1602"/>
                </a:cubicBezTo>
                <a:cubicBezTo>
                  <a:pt x="360" y="1601"/>
                  <a:pt x="361" y="1601"/>
                  <a:pt x="361" y="1601"/>
                </a:cubicBezTo>
                <a:cubicBezTo>
                  <a:pt x="364" y="1600"/>
                  <a:pt x="365" y="1598"/>
                  <a:pt x="367" y="1596"/>
                </a:cubicBezTo>
                <a:cubicBezTo>
                  <a:pt x="375" y="1589"/>
                  <a:pt x="387" y="1588"/>
                  <a:pt x="394" y="1595"/>
                </a:cubicBezTo>
                <a:cubicBezTo>
                  <a:pt x="397" y="1597"/>
                  <a:pt x="400" y="1599"/>
                  <a:pt x="402" y="1601"/>
                </a:cubicBezTo>
                <a:cubicBezTo>
                  <a:pt x="403" y="1602"/>
                  <a:pt x="405" y="1604"/>
                  <a:pt x="406" y="1606"/>
                </a:cubicBezTo>
                <a:cubicBezTo>
                  <a:pt x="407" y="1607"/>
                  <a:pt x="407" y="1607"/>
                  <a:pt x="409" y="1606"/>
                </a:cubicBezTo>
                <a:cubicBezTo>
                  <a:pt x="409" y="1606"/>
                  <a:pt x="410" y="1605"/>
                  <a:pt x="411" y="1604"/>
                </a:cubicBezTo>
                <a:cubicBezTo>
                  <a:pt x="413" y="1601"/>
                  <a:pt x="416" y="1601"/>
                  <a:pt x="417" y="1604"/>
                </a:cubicBezTo>
                <a:cubicBezTo>
                  <a:pt x="418" y="1608"/>
                  <a:pt x="419" y="1610"/>
                  <a:pt x="420" y="1614"/>
                </a:cubicBezTo>
                <a:cubicBezTo>
                  <a:pt x="420" y="1618"/>
                  <a:pt x="420" y="1622"/>
                  <a:pt x="418" y="1627"/>
                </a:cubicBezTo>
                <a:cubicBezTo>
                  <a:pt x="416" y="1633"/>
                  <a:pt x="411" y="1636"/>
                  <a:pt x="405" y="1636"/>
                </a:cubicBezTo>
                <a:cubicBezTo>
                  <a:pt x="404" y="1636"/>
                  <a:pt x="403" y="1636"/>
                  <a:pt x="403" y="1636"/>
                </a:cubicBezTo>
                <a:cubicBezTo>
                  <a:pt x="400" y="1636"/>
                  <a:pt x="399" y="1636"/>
                  <a:pt x="398" y="1639"/>
                </a:cubicBezTo>
                <a:cubicBezTo>
                  <a:pt x="397" y="1643"/>
                  <a:pt x="391" y="1645"/>
                  <a:pt x="388" y="1642"/>
                </a:cubicBezTo>
                <a:cubicBezTo>
                  <a:pt x="387" y="1640"/>
                  <a:pt x="386" y="1640"/>
                  <a:pt x="385" y="1638"/>
                </a:cubicBezTo>
                <a:cubicBezTo>
                  <a:pt x="384" y="1639"/>
                  <a:pt x="384" y="1639"/>
                  <a:pt x="384" y="1639"/>
                </a:cubicBezTo>
                <a:close/>
                <a:moveTo>
                  <a:pt x="378" y="1635"/>
                </a:moveTo>
                <a:cubicBezTo>
                  <a:pt x="382" y="1636"/>
                  <a:pt x="385" y="1637"/>
                  <a:pt x="388" y="1640"/>
                </a:cubicBezTo>
                <a:cubicBezTo>
                  <a:pt x="390" y="1642"/>
                  <a:pt x="392" y="1642"/>
                  <a:pt x="394" y="1642"/>
                </a:cubicBezTo>
                <a:cubicBezTo>
                  <a:pt x="396" y="1641"/>
                  <a:pt x="398" y="1639"/>
                  <a:pt x="398" y="1636"/>
                </a:cubicBezTo>
                <a:cubicBezTo>
                  <a:pt x="398" y="1636"/>
                  <a:pt x="397" y="1636"/>
                  <a:pt x="397" y="1636"/>
                </a:cubicBezTo>
                <a:cubicBezTo>
                  <a:pt x="396" y="1638"/>
                  <a:pt x="395" y="1639"/>
                  <a:pt x="394" y="1640"/>
                </a:cubicBezTo>
                <a:cubicBezTo>
                  <a:pt x="393" y="1641"/>
                  <a:pt x="392" y="1641"/>
                  <a:pt x="391" y="1640"/>
                </a:cubicBezTo>
                <a:cubicBezTo>
                  <a:pt x="391" y="1640"/>
                  <a:pt x="390" y="1639"/>
                  <a:pt x="390" y="1638"/>
                </a:cubicBezTo>
                <a:cubicBezTo>
                  <a:pt x="390" y="1636"/>
                  <a:pt x="391" y="1634"/>
                  <a:pt x="391" y="1632"/>
                </a:cubicBezTo>
                <a:cubicBezTo>
                  <a:pt x="394" y="1633"/>
                  <a:pt x="397" y="1634"/>
                  <a:pt x="401" y="1635"/>
                </a:cubicBezTo>
                <a:cubicBezTo>
                  <a:pt x="408" y="1636"/>
                  <a:pt x="414" y="1634"/>
                  <a:pt x="417" y="1625"/>
                </a:cubicBezTo>
                <a:cubicBezTo>
                  <a:pt x="419" y="1621"/>
                  <a:pt x="418" y="1616"/>
                  <a:pt x="418" y="1611"/>
                </a:cubicBezTo>
                <a:cubicBezTo>
                  <a:pt x="417" y="1609"/>
                  <a:pt x="416" y="1607"/>
                  <a:pt x="416" y="1605"/>
                </a:cubicBezTo>
                <a:cubicBezTo>
                  <a:pt x="415" y="1604"/>
                  <a:pt x="414" y="1603"/>
                  <a:pt x="412" y="1605"/>
                </a:cubicBezTo>
                <a:cubicBezTo>
                  <a:pt x="411" y="1606"/>
                  <a:pt x="409" y="1608"/>
                  <a:pt x="407" y="1609"/>
                </a:cubicBezTo>
                <a:cubicBezTo>
                  <a:pt x="407" y="1609"/>
                  <a:pt x="406" y="1610"/>
                  <a:pt x="406" y="1611"/>
                </a:cubicBezTo>
                <a:cubicBezTo>
                  <a:pt x="407" y="1614"/>
                  <a:pt x="406" y="1617"/>
                  <a:pt x="405" y="1621"/>
                </a:cubicBezTo>
                <a:cubicBezTo>
                  <a:pt x="405" y="1619"/>
                  <a:pt x="405" y="1617"/>
                  <a:pt x="405" y="1615"/>
                </a:cubicBezTo>
                <a:cubicBezTo>
                  <a:pt x="405" y="1614"/>
                  <a:pt x="405" y="1614"/>
                  <a:pt x="405" y="1614"/>
                </a:cubicBezTo>
                <a:cubicBezTo>
                  <a:pt x="404" y="1614"/>
                  <a:pt x="403" y="1614"/>
                  <a:pt x="403" y="1614"/>
                </a:cubicBezTo>
                <a:cubicBezTo>
                  <a:pt x="403" y="1616"/>
                  <a:pt x="402" y="1617"/>
                  <a:pt x="401" y="1618"/>
                </a:cubicBezTo>
                <a:cubicBezTo>
                  <a:pt x="401" y="1618"/>
                  <a:pt x="401" y="1618"/>
                  <a:pt x="401" y="1618"/>
                </a:cubicBezTo>
                <a:cubicBezTo>
                  <a:pt x="401" y="1617"/>
                  <a:pt x="402" y="1615"/>
                  <a:pt x="402" y="1613"/>
                </a:cubicBezTo>
                <a:cubicBezTo>
                  <a:pt x="401" y="1614"/>
                  <a:pt x="400" y="1614"/>
                  <a:pt x="400" y="1615"/>
                </a:cubicBezTo>
                <a:cubicBezTo>
                  <a:pt x="399" y="1615"/>
                  <a:pt x="399" y="1616"/>
                  <a:pt x="398" y="1617"/>
                </a:cubicBezTo>
                <a:cubicBezTo>
                  <a:pt x="399" y="1613"/>
                  <a:pt x="399" y="1613"/>
                  <a:pt x="405" y="1612"/>
                </a:cubicBezTo>
                <a:cubicBezTo>
                  <a:pt x="405" y="1612"/>
                  <a:pt x="404" y="1611"/>
                  <a:pt x="404" y="1611"/>
                </a:cubicBezTo>
                <a:cubicBezTo>
                  <a:pt x="401" y="1612"/>
                  <a:pt x="400" y="1610"/>
                  <a:pt x="400" y="1608"/>
                </a:cubicBezTo>
                <a:cubicBezTo>
                  <a:pt x="402" y="1607"/>
                  <a:pt x="403" y="1607"/>
                  <a:pt x="405" y="1606"/>
                </a:cubicBezTo>
                <a:cubicBezTo>
                  <a:pt x="403" y="1604"/>
                  <a:pt x="402" y="1601"/>
                  <a:pt x="398" y="1601"/>
                </a:cubicBezTo>
                <a:cubicBezTo>
                  <a:pt x="398" y="1601"/>
                  <a:pt x="398" y="1600"/>
                  <a:pt x="398" y="1600"/>
                </a:cubicBezTo>
                <a:cubicBezTo>
                  <a:pt x="395" y="1598"/>
                  <a:pt x="393" y="1596"/>
                  <a:pt x="390" y="1594"/>
                </a:cubicBezTo>
                <a:cubicBezTo>
                  <a:pt x="388" y="1593"/>
                  <a:pt x="385" y="1592"/>
                  <a:pt x="383" y="1592"/>
                </a:cubicBezTo>
                <a:cubicBezTo>
                  <a:pt x="380" y="1592"/>
                  <a:pt x="376" y="1593"/>
                  <a:pt x="373" y="1594"/>
                </a:cubicBezTo>
                <a:cubicBezTo>
                  <a:pt x="371" y="1595"/>
                  <a:pt x="368" y="1597"/>
                  <a:pt x="366" y="1600"/>
                </a:cubicBezTo>
                <a:cubicBezTo>
                  <a:pt x="368" y="1600"/>
                  <a:pt x="369" y="1600"/>
                  <a:pt x="370" y="1600"/>
                </a:cubicBezTo>
                <a:cubicBezTo>
                  <a:pt x="370" y="1600"/>
                  <a:pt x="369" y="1601"/>
                  <a:pt x="368" y="1601"/>
                </a:cubicBezTo>
                <a:cubicBezTo>
                  <a:pt x="366" y="1602"/>
                  <a:pt x="363" y="1601"/>
                  <a:pt x="361" y="1603"/>
                </a:cubicBezTo>
                <a:cubicBezTo>
                  <a:pt x="358" y="1607"/>
                  <a:pt x="354" y="1611"/>
                  <a:pt x="350" y="1615"/>
                </a:cubicBezTo>
                <a:cubicBezTo>
                  <a:pt x="349" y="1617"/>
                  <a:pt x="348" y="1619"/>
                  <a:pt x="347" y="1622"/>
                </a:cubicBezTo>
                <a:cubicBezTo>
                  <a:pt x="347" y="1622"/>
                  <a:pt x="347" y="1623"/>
                  <a:pt x="347" y="1623"/>
                </a:cubicBezTo>
                <a:cubicBezTo>
                  <a:pt x="348" y="1625"/>
                  <a:pt x="349" y="1627"/>
                  <a:pt x="351" y="1629"/>
                </a:cubicBezTo>
                <a:cubicBezTo>
                  <a:pt x="352" y="1628"/>
                  <a:pt x="353" y="1626"/>
                  <a:pt x="354" y="1625"/>
                </a:cubicBezTo>
                <a:cubicBezTo>
                  <a:pt x="354" y="1626"/>
                  <a:pt x="354" y="1627"/>
                  <a:pt x="353" y="1629"/>
                </a:cubicBezTo>
                <a:cubicBezTo>
                  <a:pt x="352" y="1630"/>
                  <a:pt x="351" y="1631"/>
                  <a:pt x="351" y="1633"/>
                </a:cubicBezTo>
                <a:cubicBezTo>
                  <a:pt x="351" y="1634"/>
                  <a:pt x="351" y="1635"/>
                  <a:pt x="351" y="1636"/>
                </a:cubicBezTo>
                <a:cubicBezTo>
                  <a:pt x="354" y="1639"/>
                  <a:pt x="357" y="1639"/>
                  <a:pt x="361" y="1637"/>
                </a:cubicBezTo>
                <a:cubicBezTo>
                  <a:pt x="363" y="1636"/>
                  <a:pt x="366" y="1635"/>
                  <a:pt x="369" y="1634"/>
                </a:cubicBezTo>
                <a:cubicBezTo>
                  <a:pt x="370" y="1633"/>
                  <a:pt x="371" y="1633"/>
                  <a:pt x="371" y="1631"/>
                </a:cubicBezTo>
                <a:cubicBezTo>
                  <a:pt x="371" y="1628"/>
                  <a:pt x="371" y="1624"/>
                  <a:pt x="371" y="1621"/>
                </a:cubicBezTo>
                <a:cubicBezTo>
                  <a:pt x="371" y="1618"/>
                  <a:pt x="371" y="1615"/>
                  <a:pt x="371" y="1612"/>
                </a:cubicBezTo>
                <a:cubicBezTo>
                  <a:pt x="372" y="1615"/>
                  <a:pt x="372" y="1617"/>
                  <a:pt x="373" y="1620"/>
                </a:cubicBezTo>
                <a:cubicBezTo>
                  <a:pt x="374" y="1625"/>
                  <a:pt x="374" y="1629"/>
                  <a:pt x="372" y="1633"/>
                </a:cubicBezTo>
                <a:cubicBezTo>
                  <a:pt x="372" y="1634"/>
                  <a:pt x="371" y="1635"/>
                  <a:pt x="371" y="1635"/>
                </a:cubicBezTo>
                <a:cubicBezTo>
                  <a:pt x="367" y="1635"/>
                  <a:pt x="364" y="1637"/>
                  <a:pt x="361" y="1639"/>
                </a:cubicBezTo>
                <a:cubicBezTo>
                  <a:pt x="356" y="1642"/>
                  <a:pt x="352" y="1640"/>
                  <a:pt x="349" y="1636"/>
                </a:cubicBezTo>
                <a:cubicBezTo>
                  <a:pt x="349" y="1636"/>
                  <a:pt x="349" y="1635"/>
                  <a:pt x="349" y="1634"/>
                </a:cubicBezTo>
                <a:cubicBezTo>
                  <a:pt x="350" y="1632"/>
                  <a:pt x="349" y="1630"/>
                  <a:pt x="347" y="1628"/>
                </a:cubicBezTo>
                <a:cubicBezTo>
                  <a:pt x="346" y="1626"/>
                  <a:pt x="344" y="1623"/>
                  <a:pt x="345" y="1621"/>
                </a:cubicBezTo>
                <a:cubicBezTo>
                  <a:pt x="346" y="1619"/>
                  <a:pt x="347" y="1617"/>
                  <a:pt x="348" y="1616"/>
                </a:cubicBezTo>
                <a:cubicBezTo>
                  <a:pt x="350" y="1613"/>
                  <a:pt x="352" y="1610"/>
                  <a:pt x="354" y="1608"/>
                </a:cubicBezTo>
                <a:cubicBezTo>
                  <a:pt x="354" y="1608"/>
                  <a:pt x="353" y="1608"/>
                  <a:pt x="353" y="1608"/>
                </a:cubicBezTo>
                <a:cubicBezTo>
                  <a:pt x="348" y="1609"/>
                  <a:pt x="343" y="1610"/>
                  <a:pt x="340" y="1614"/>
                </a:cubicBezTo>
                <a:cubicBezTo>
                  <a:pt x="335" y="1618"/>
                  <a:pt x="332" y="1623"/>
                  <a:pt x="332" y="1630"/>
                </a:cubicBezTo>
                <a:cubicBezTo>
                  <a:pt x="331" y="1636"/>
                  <a:pt x="334" y="1642"/>
                  <a:pt x="337" y="1648"/>
                </a:cubicBezTo>
                <a:cubicBezTo>
                  <a:pt x="338" y="1649"/>
                  <a:pt x="338" y="1651"/>
                  <a:pt x="338" y="1652"/>
                </a:cubicBezTo>
                <a:cubicBezTo>
                  <a:pt x="338" y="1654"/>
                  <a:pt x="338" y="1655"/>
                  <a:pt x="337" y="1656"/>
                </a:cubicBezTo>
                <a:cubicBezTo>
                  <a:pt x="336" y="1658"/>
                  <a:pt x="337" y="1659"/>
                  <a:pt x="338" y="1659"/>
                </a:cubicBezTo>
                <a:cubicBezTo>
                  <a:pt x="341" y="1660"/>
                  <a:pt x="344" y="1661"/>
                  <a:pt x="347" y="1661"/>
                </a:cubicBezTo>
                <a:cubicBezTo>
                  <a:pt x="347" y="1661"/>
                  <a:pt x="348" y="1660"/>
                  <a:pt x="348" y="1660"/>
                </a:cubicBezTo>
                <a:cubicBezTo>
                  <a:pt x="349" y="1659"/>
                  <a:pt x="349" y="1657"/>
                  <a:pt x="349" y="1656"/>
                </a:cubicBezTo>
                <a:cubicBezTo>
                  <a:pt x="351" y="1654"/>
                  <a:pt x="351" y="1651"/>
                  <a:pt x="351" y="1648"/>
                </a:cubicBezTo>
                <a:cubicBezTo>
                  <a:pt x="351" y="1648"/>
                  <a:pt x="351" y="1648"/>
                  <a:pt x="351" y="1647"/>
                </a:cubicBezTo>
                <a:cubicBezTo>
                  <a:pt x="351" y="1647"/>
                  <a:pt x="351" y="1647"/>
                  <a:pt x="351" y="1646"/>
                </a:cubicBezTo>
                <a:cubicBezTo>
                  <a:pt x="352" y="1649"/>
                  <a:pt x="353" y="1649"/>
                  <a:pt x="355" y="1649"/>
                </a:cubicBezTo>
                <a:cubicBezTo>
                  <a:pt x="356" y="1649"/>
                  <a:pt x="357" y="1649"/>
                  <a:pt x="358" y="1649"/>
                </a:cubicBezTo>
                <a:cubicBezTo>
                  <a:pt x="360" y="1649"/>
                  <a:pt x="363" y="1650"/>
                  <a:pt x="364" y="1646"/>
                </a:cubicBezTo>
                <a:cubicBezTo>
                  <a:pt x="364" y="1648"/>
                  <a:pt x="364" y="1650"/>
                  <a:pt x="364" y="1650"/>
                </a:cubicBezTo>
                <a:cubicBezTo>
                  <a:pt x="363" y="1651"/>
                  <a:pt x="362" y="1652"/>
                  <a:pt x="360" y="1652"/>
                </a:cubicBezTo>
                <a:cubicBezTo>
                  <a:pt x="359" y="1653"/>
                  <a:pt x="358" y="1655"/>
                  <a:pt x="359" y="1656"/>
                </a:cubicBezTo>
                <a:cubicBezTo>
                  <a:pt x="360" y="1658"/>
                  <a:pt x="362" y="1660"/>
                  <a:pt x="363" y="1662"/>
                </a:cubicBezTo>
                <a:cubicBezTo>
                  <a:pt x="365" y="1663"/>
                  <a:pt x="367" y="1663"/>
                  <a:pt x="368" y="1661"/>
                </a:cubicBezTo>
                <a:cubicBezTo>
                  <a:pt x="369" y="1660"/>
                  <a:pt x="369" y="1659"/>
                  <a:pt x="370" y="1659"/>
                </a:cubicBezTo>
                <a:cubicBezTo>
                  <a:pt x="372" y="1657"/>
                  <a:pt x="373" y="1656"/>
                  <a:pt x="375" y="1655"/>
                </a:cubicBezTo>
                <a:cubicBezTo>
                  <a:pt x="379" y="1651"/>
                  <a:pt x="381" y="1645"/>
                  <a:pt x="383" y="1639"/>
                </a:cubicBezTo>
                <a:cubicBezTo>
                  <a:pt x="383" y="1638"/>
                  <a:pt x="382" y="1638"/>
                  <a:pt x="382" y="1637"/>
                </a:cubicBezTo>
                <a:cubicBezTo>
                  <a:pt x="381" y="1636"/>
                  <a:pt x="380" y="1635"/>
                  <a:pt x="378" y="1635"/>
                </a:cubicBezTo>
                <a:close/>
                <a:moveTo>
                  <a:pt x="331" y="1641"/>
                </a:moveTo>
                <a:cubicBezTo>
                  <a:pt x="331" y="1642"/>
                  <a:pt x="329" y="1642"/>
                  <a:pt x="328" y="1644"/>
                </a:cubicBezTo>
                <a:cubicBezTo>
                  <a:pt x="327" y="1644"/>
                  <a:pt x="327" y="1645"/>
                  <a:pt x="327" y="1646"/>
                </a:cubicBezTo>
                <a:cubicBezTo>
                  <a:pt x="327" y="1648"/>
                  <a:pt x="331" y="1653"/>
                  <a:pt x="334" y="1652"/>
                </a:cubicBezTo>
                <a:cubicBezTo>
                  <a:pt x="336" y="1652"/>
                  <a:pt x="337" y="1651"/>
                  <a:pt x="336" y="1650"/>
                </a:cubicBezTo>
                <a:cubicBezTo>
                  <a:pt x="334" y="1646"/>
                  <a:pt x="333" y="1644"/>
                  <a:pt x="331" y="1641"/>
                </a:cubicBezTo>
                <a:close/>
                <a:moveTo>
                  <a:pt x="384" y="1643"/>
                </a:moveTo>
                <a:cubicBezTo>
                  <a:pt x="382" y="1648"/>
                  <a:pt x="379" y="1652"/>
                  <a:pt x="377" y="1656"/>
                </a:cubicBezTo>
                <a:cubicBezTo>
                  <a:pt x="380" y="1656"/>
                  <a:pt x="382" y="1657"/>
                  <a:pt x="385" y="1656"/>
                </a:cubicBezTo>
                <a:cubicBezTo>
                  <a:pt x="385" y="1656"/>
                  <a:pt x="385" y="1655"/>
                  <a:pt x="385" y="1655"/>
                </a:cubicBezTo>
                <a:cubicBezTo>
                  <a:pt x="385" y="1652"/>
                  <a:pt x="385" y="1650"/>
                  <a:pt x="385" y="1647"/>
                </a:cubicBezTo>
                <a:cubicBezTo>
                  <a:pt x="385" y="1646"/>
                  <a:pt x="384" y="1644"/>
                  <a:pt x="384" y="1643"/>
                </a:cubicBezTo>
                <a:close/>
                <a:moveTo>
                  <a:pt x="331" y="1623"/>
                </a:moveTo>
                <a:cubicBezTo>
                  <a:pt x="331" y="1623"/>
                  <a:pt x="330" y="1623"/>
                  <a:pt x="329" y="1623"/>
                </a:cubicBezTo>
                <a:cubicBezTo>
                  <a:pt x="329" y="1623"/>
                  <a:pt x="328" y="1623"/>
                  <a:pt x="328" y="1623"/>
                </a:cubicBezTo>
                <a:cubicBezTo>
                  <a:pt x="327" y="1623"/>
                  <a:pt x="327" y="1622"/>
                  <a:pt x="327" y="1621"/>
                </a:cubicBezTo>
                <a:cubicBezTo>
                  <a:pt x="328" y="1619"/>
                  <a:pt x="328" y="1617"/>
                  <a:pt x="329" y="1615"/>
                </a:cubicBezTo>
                <a:cubicBezTo>
                  <a:pt x="329" y="1615"/>
                  <a:pt x="329" y="1615"/>
                  <a:pt x="328" y="1615"/>
                </a:cubicBezTo>
                <a:cubicBezTo>
                  <a:pt x="327" y="1616"/>
                  <a:pt x="326" y="1617"/>
                  <a:pt x="325" y="1618"/>
                </a:cubicBezTo>
                <a:cubicBezTo>
                  <a:pt x="325" y="1619"/>
                  <a:pt x="326" y="1624"/>
                  <a:pt x="328" y="1625"/>
                </a:cubicBezTo>
                <a:cubicBezTo>
                  <a:pt x="329" y="1626"/>
                  <a:pt x="331" y="1625"/>
                  <a:pt x="331" y="1623"/>
                </a:cubicBezTo>
                <a:close/>
                <a:moveTo>
                  <a:pt x="331" y="1641"/>
                </a:moveTo>
                <a:cubicBezTo>
                  <a:pt x="330" y="1641"/>
                  <a:pt x="329" y="1642"/>
                  <a:pt x="328" y="1643"/>
                </a:cubicBezTo>
                <a:cubicBezTo>
                  <a:pt x="327" y="1644"/>
                  <a:pt x="327" y="1645"/>
                  <a:pt x="327" y="1645"/>
                </a:cubicBezTo>
                <a:cubicBezTo>
                  <a:pt x="327" y="1648"/>
                  <a:pt x="331" y="1653"/>
                  <a:pt x="334" y="1652"/>
                </a:cubicBezTo>
                <a:cubicBezTo>
                  <a:pt x="336" y="1652"/>
                  <a:pt x="337" y="1651"/>
                  <a:pt x="336" y="1649"/>
                </a:cubicBezTo>
                <a:cubicBezTo>
                  <a:pt x="334" y="1646"/>
                  <a:pt x="333" y="1643"/>
                  <a:pt x="331" y="1641"/>
                </a:cubicBezTo>
                <a:close/>
                <a:moveTo>
                  <a:pt x="384" y="1642"/>
                </a:moveTo>
                <a:cubicBezTo>
                  <a:pt x="381" y="1647"/>
                  <a:pt x="379" y="1652"/>
                  <a:pt x="377" y="1656"/>
                </a:cubicBezTo>
                <a:cubicBezTo>
                  <a:pt x="379" y="1656"/>
                  <a:pt x="382" y="1656"/>
                  <a:pt x="385" y="1656"/>
                </a:cubicBezTo>
                <a:cubicBezTo>
                  <a:pt x="385" y="1656"/>
                  <a:pt x="385" y="1655"/>
                  <a:pt x="385" y="1654"/>
                </a:cubicBezTo>
                <a:cubicBezTo>
                  <a:pt x="385" y="1652"/>
                  <a:pt x="385" y="1649"/>
                  <a:pt x="385" y="1647"/>
                </a:cubicBezTo>
                <a:cubicBezTo>
                  <a:pt x="385" y="1645"/>
                  <a:pt x="384" y="1644"/>
                  <a:pt x="384" y="1642"/>
                </a:cubicBezTo>
                <a:close/>
                <a:moveTo>
                  <a:pt x="331" y="1623"/>
                </a:moveTo>
                <a:cubicBezTo>
                  <a:pt x="330" y="1623"/>
                  <a:pt x="330" y="1623"/>
                  <a:pt x="329" y="1623"/>
                </a:cubicBezTo>
                <a:cubicBezTo>
                  <a:pt x="328" y="1623"/>
                  <a:pt x="328" y="1623"/>
                  <a:pt x="328" y="1623"/>
                </a:cubicBezTo>
                <a:cubicBezTo>
                  <a:pt x="327" y="1623"/>
                  <a:pt x="327" y="1622"/>
                  <a:pt x="327" y="1621"/>
                </a:cubicBezTo>
                <a:cubicBezTo>
                  <a:pt x="328" y="1619"/>
                  <a:pt x="328" y="1617"/>
                  <a:pt x="329" y="1615"/>
                </a:cubicBezTo>
                <a:cubicBezTo>
                  <a:pt x="328" y="1615"/>
                  <a:pt x="328" y="1615"/>
                  <a:pt x="328" y="1615"/>
                </a:cubicBezTo>
                <a:cubicBezTo>
                  <a:pt x="327" y="1616"/>
                  <a:pt x="326" y="1617"/>
                  <a:pt x="326" y="1618"/>
                </a:cubicBezTo>
                <a:cubicBezTo>
                  <a:pt x="325" y="1619"/>
                  <a:pt x="326" y="1624"/>
                  <a:pt x="328" y="1625"/>
                </a:cubicBezTo>
                <a:cubicBezTo>
                  <a:pt x="329" y="1626"/>
                  <a:pt x="331" y="1624"/>
                  <a:pt x="331" y="1623"/>
                </a:cubicBezTo>
                <a:close/>
                <a:moveTo>
                  <a:pt x="383" y="1614"/>
                </a:moveTo>
                <a:cubicBezTo>
                  <a:pt x="387" y="1611"/>
                  <a:pt x="387" y="1611"/>
                  <a:pt x="391" y="1609"/>
                </a:cubicBezTo>
                <a:cubicBezTo>
                  <a:pt x="391" y="1611"/>
                  <a:pt x="392" y="1613"/>
                  <a:pt x="393" y="1613"/>
                </a:cubicBezTo>
                <a:cubicBezTo>
                  <a:pt x="391" y="1614"/>
                  <a:pt x="389" y="1615"/>
                  <a:pt x="387" y="1617"/>
                </a:cubicBezTo>
                <a:cubicBezTo>
                  <a:pt x="386" y="1616"/>
                  <a:pt x="386" y="1615"/>
                  <a:pt x="385" y="1614"/>
                </a:cubicBezTo>
                <a:cubicBezTo>
                  <a:pt x="385" y="1614"/>
                  <a:pt x="384" y="1614"/>
                  <a:pt x="383" y="1614"/>
                </a:cubicBezTo>
                <a:close/>
                <a:moveTo>
                  <a:pt x="389" y="1614"/>
                </a:moveTo>
                <a:cubicBezTo>
                  <a:pt x="389" y="1613"/>
                  <a:pt x="388" y="1613"/>
                  <a:pt x="387" y="1613"/>
                </a:cubicBezTo>
                <a:cubicBezTo>
                  <a:pt x="387" y="1613"/>
                  <a:pt x="386" y="1614"/>
                  <a:pt x="386" y="1614"/>
                </a:cubicBezTo>
                <a:cubicBezTo>
                  <a:pt x="386" y="1615"/>
                  <a:pt x="387" y="1615"/>
                  <a:pt x="387" y="1615"/>
                </a:cubicBezTo>
                <a:cubicBezTo>
                  <a:pt x="388" y="1615"/>
                  <a:pt x="388" y="1615"/>
                  <a:pt x="389" y="1614"/>
                </a:cubicBezTo>
                <a:close/>
                <a:moveTo>
                  <a:pt x="370" y="1604"/>
                </a:moveTo>
                <a:cubicBezTo>
                  <a:pt x="364" y="1604"/>
                  <a:pt x="361" y="1606"/>
                  <a:pt x="360" y="1614"/>
                </a:cubicBezTo>
                <a:cubicBezTo>
                  <a:pt x="361" y="1612"/>
                  <a:pt x="362" y="1609"/>
                  <a:pt x="363" y="1607"/>
                </a:cubicBezTo>
                <a:cubicBezTo>
                  <a:pt x="364" y="1607"/>
                  <a:pt x="364" y="1607"/>
                  <a:pt x="364" y="1607"/>
                </a:cubicBezTo>
                <a:cubicBezTo>
                  <a:pt x="364" y="1608"/>
                  <a:pt x="364" y="1609"/>
                  <a:pt x="364" y="1610"/>
                </a:cubicBezTo>
                <a:cubicBezTo>
                  <a:pt x="365" y="1607"/>
                  <a:pt x="367" y="1605"/>
                  <a:pt x="370" y="1604"/>
                </a:cubicBezTo>
                <a:close/>
                <a:moveTo>
                  <a:pt x="414" y="1606"/>
                </a:moveTo>
                <a:cubicBezTo>
                  <a:pt x="412" y="1607"/>
                  <a:pt x="410" y="1609"/>
                  <a:pt x="409" y="1610"/>
                </a:cubicBezTo>
                <a:cubicBezTo>
                  <a:pt x="411" y="1610"/>
                  <a:pt x="413" y="1609"/>
                  <a:pt x="414" y="1606"/>
                </a:cubicBezTo>
                <a:close/>
                <a:moveTo>
                  <a:pt x="381" y="1608"/>
                </a:moveTo>
                <a:cubicBezTo>
                  <a:pt x="382" y="1607"/>
                  <a:pt x="383" y="1605"/>
                  <a:pt x="384" y="1604"/>
                </a:cubicBezTo>
                <a:cubicBezTo>
                  <a:pt x="381" y="1605"/>
                  <a:pt x="380" y="1606"/>
                  <a:pt x="381" y="1608"/>
                </a:cubicBezTo>
                <a:close/>
                <a:moveTo>
                  <a:pt x="391" y="1629"/>
                </a:moveTo>
                <a:cubicBezTo>
                  <a:pt x="389" y="1629"/>
                  <a:pt x="388" y="1630"/>
                  <a:pt x="388" y="1631"/>
                </a:cubicBezTo>
                <a:cubicBezTo>
                  <a:pt x="389" y="1631"/>
                  <a:pt x="390" y="1630"/>
                  <a:pt x="391" y="1629"/>
                </a:cubicBezTo>
                <a:close/>
                <a:moveTo>
                  <a:pt x="390" y="1614"/>
                </a:moveTo>
                <a:cubicBezTo>
                  <a:pt x="389" y="1613"/>
                  <a:pt x="388" y="1613"/>
                  <a:pt x="388" y="1613"/>
                </a:cubicBezTo>
                <a:cubicBezTo>
                  <a:pt x="387" y="1613"/>
                  <a:pt x="386" y="1614"/>
                  <a:pt x="386" y="1614"/>
                </a:cubicBezTo>
                <a:cubicBezTo>
                  <a:pt x="386" y="1615"/>
                  <a:pt x="387" y="1615"/>
                  <a:pt x="387" y="1616"/>
                </a:cubicBezTo>
                <a:cubicBezTo>
                  <a:pt x="388" y="1615"/>
                  <a:pt x="388" y="1615"/>
                  <a:pt x="390" y="1614"/>
                </a:cubicBezTo>
                <a:close/>
                <a:moveTo>
                  <a:pt x="680" y="1592"/>
                </a:moveTo>
                <a:cubicBezTo>
                  <a:pt x="680" y="1592"/>
                  <a:pt x="680" y="1592"/>
                  <a:pt x="680" y="1592"/>
                </a:cubicBezTo>
                <a:cubicBezTo>
                  <a:pt x="676" y="1592"/>
                  <a:pt x="676" y="1592"/>
                  <a:pt x="676" y="1592"/>
                </a:cubicBezTo>
                <a:cubicBezTo>
                  <a:pt x="674" y="1593"/>
                  <a:pt x="672" y="1594"/>
                  <a:pt x="670" y="1595"/>
                </a:cubicBezTo>
                <a:cubicBezTo>
                  <a:pt x="668" y="1597"/>
                  <a:pt x="666" y="1597"/>
                  <a:pt x="665" y="1598"/>
                </a:cubicBezTo>
                <a:cubicBezTo>
                  <a:pt x="663" y="1600"/>
                  <a:pt x="661" y="1600"/>
                  <a:pt x="659" y="1601"/>
                </a:cubicBezTo>
                <a:cubicBezTo>
                  <a:pt x="658" y="1602"/>
                  <a:pt x="656" y="1602"/>
                  <a:pt x="654" y="1602"/>
                </a:cubicBezTo>
                <a:cubicBezTo>
                  <a:pt x="654" y="1602"/>
                  <a:pt x="654" y="1602"/>
                  <a:pt x="654" y="1613"/>
                </a:cubicBezTo>
                <a:cubicBezTo>
                  <a:pt x="657" y="1612"/>
                  <a:pt x="660" y="1611"/>
                  <a:pt x="662" y="1610"/>
                </a:cubicBezTo>
                <a:cubicBezTo>
                  <a:pt x="664" y="1609"/>
                  <a:pt x="667" y="1608"/>
                  <a:pt x="668" y="1606"/>
                </a:cubicBezTo>
                <a:cubicBezTo>
                  <a:pt x="668" y="1606"/>
                  <a:pt x="668" y="1606"/>
                  <a:pt x="668" y="1665"/>
                </a:cubicBezTo>
                <a:cubicBezTo>
                  <a:pt x="668" y="1665"/>
                  <a:pt x="668" y="1665"/>
                  <a:pt x="680" y="1665"/>
                </a:cubicBezTo>
                <a:cubicBezTo>
                  <a:pt x="680" y="1665"/>
                  <a:pt x="680" y="1665"/>
                  <a:pt x="680" y="1592"/>
                </a:cubicBezTo>
                <a:close/>
                <a:moveTo>
                  <a:pt x="801" y="1592"/>
                </a:moveTo>
                <a:cubicBezTo>
                  <a:pt x="801" y="1592"/>
                  <a:pt x="801" y="1592"/>
                  <a:pt x="801" y="1592"/>
                </a:cubicBezTo>
                <a:cubicBezTo>
                  <a:pt x="796" y="1592"/>
                  <a:pt x="796" y="1592"/>
                  <a:pt x="796" y="1592"/>
                </a:cubicBezTo>
                <a:cubicBezTo>
                  <a:pt x="794" y="1593"/>
                  <a:pt x="793" y="1594"/>
                  <a:pt x="791" y="1595"/>
                </a:cubicBezTo>
                <a:cubicBezTo>
                  <a:pt x="789" y="1597"/>
                  <a:pt x="788" y="1597"/>
                  <a:pt x="785" y="1598"/>
                </a:cubicBezTo>
                <a:cubicBezTo>
                  <a:pt x="784" y="1600"/>
                  <a:pt x="782" y="1600"/>
                  <a:pt x="780" y="1601"/>
                </a:cubicBezTo>
                <a:cubicBezTo>
                  <a:pt x="778" y="1602"/>
                  <a:pt x="777" y="1602"/>
                  <a:pt x="775" y="1602"/>
                </a:cubicBezTo>
                <a:cubicBezTo>
                  <a:pt x="775" y="1602"/>
                  <a:pt x="775" y="1602"/>
                  <a:pt x="775" y="1613"/>
                </a:cubicBezTo>
                <a:cubicBezTo>
                  <a:pt x="777" y="1612"/>
                  <a:pt x="780" y="1611"/>
                  <a:pt x="783" y="1610"/>
                </a:cubicBezTo>
                <a:cubicBezTo>
                  <a:pt x="785" y="1609"/>
                  <a:pt x="788" y="1608"/>
                  <a:pt x="790" y="1606"/>
                </a:cubicBezTo>
                <a:cubicBezTo>
                  <a:pt x="790" y="1606"/>
                  <a:pt x="790" y="1606"/>
                  <a:pt x="790" y="1665"/>
                </a:cubicBezTo>
                <a:cubicBezTo>
                  <a:pt x="790" y="1665"/>
                  <a:pt x="790" y="1665"/>
                  <a:pt x="801" y="1665"/>
                </a:cubicBezTo>
                <a:cubicBezTo>
                  <a:pt x="801" y="1665"/>
                  <a:pt x="801" y="1665"/>
                  <a:pt x="801" y="1592"/>
                </a:cubicBezTo>
                <a:close/>
                <a:moveTo>
                  <a:pt x="848" y="1592"/>
                </a:moveTo>
                <a:cubicBezTo>
                  <a:pt x="848" y="1592"/>
                  <a:pt x="848" y="1592"/>
                  <a:pt x="848" y="1592"/>
                </a:cubicBezTo>
                <a:cubicBezTo>
                  <a:pt x="843" y="1592"/>
                  <a:pt x="843" y="1592"/>
                  <a:pt x="843" y="1592"/>
                </a:cubicBezTo>
                <a:cubicBezTo>
                  <a:pt x="841" y="1593"/>
                  <a:pt x="840" y="1594"/>
                  <a:pt x="837" y="1595"/>
                </a:cubicBezTo>
                <a:cubicBezTo>
                  <a:pt x="836" y="1597"/>
                  <a:pt x="834" y="1597"/>
                  <a:pt x="832" y="1598"/>
                </a:cubicBezTo>
                <a:cubicBezTo>
                  <a:pt x="831" y="1600"/>
                  <a:pt x="829" y="1600"/>
                  <a:pt x="827" y="1601"/>
                </a:cubicBezTo>
                <a:cubicBezTo>
                  <a:pt x="825" y="1602"/>
                  <a:pt x="823" y="1602"/>
                  <a:pt x="821" y="1602"/>
                </a:cubicBezTo>
                <a:cubicBezTo>
                  <a:pt x="821" y="1602"/>
                  <a:pt x="821" y="1602"/>
                  <a:pt x="821" y="1613"/>
                </a:cubicBezTo>
                <a:cubicBezTo>
                  <a:pt x="824" y="1612"/>
                  <a:pt x="827" y="1611"/>
                  <a:pt x="829" y="1610"/>
                </a:cubicBezTo>
                <a:cubicBezTo>
                  <a:pt x="832" y="1609"/>
                  <a:pt x="834" y="1608"/>
                  <a:pt x="837" y="1606"/>
                </a:cubicBezTo>
                <a:cubicBezTo>
                  <a:pt x="837" y="1606"/>
                  <a:pt x="837" y="1606"/>
                  <a:pt x="837" y="1665"/>
                </a:cubicBezTo>
                <a:cubicBezTo>
                  <a:pt x="837" y="1665"/>
                  <a:pt x="837" y="1665"/>
                  <a:pt x="848" y="1665"/>
                </a:cubicBezTo>
                <a:cubicBezTo>
                  <a:pt x="848" y="1665"/>
                  <a:pt x="848" y="1665"/>
                  <a:pt x="848" y="1592"/>
                </a:cubicBezTo>
                <a:close/>
                <a:moveTo>
                  <a:pt x="894" y="1592"/>
                </a:moveTo>
                <a:cubicBezTo>
                  <a:pt x="894" y="1592"/>
                  <a:pt x="894" y="1592"/>
                  <a:pt x="894" y="1592"/>
                </a:cubicBezTo>
                <a:cubicBezTo>
                  <a:pt x="890" y="1592"/>
                  <a:pt x="890" y="1592"/>
                  <a:pt x="890" y="1592"/>
                </a:cubicBezTo>
                <a:cubicBezTo>
                  <a:pt x="888" y="1593"/>
                  <a:pt x="886" y="1594"/>
                  <a:pt x="884" y="1595"/>
                </a:cubicBezTo>
                <a:cubicBezTo>
                  <a:pt x="883" y="1597"/>
                  <a:pt x="880" y="1597"/>
                  <a:pt x="879" y="1598"/>
                </a:cubicBezTo>
                <a:cubicBezTo>
                  <a:pt x="877" y="1599"/>
                  <a:pt x="875" y="1600"/>
                  <a:pt x="873" y="1600"/>
                </a:cubicBezTo>
                <a:cubicBezTo>
                  <a:pt x="872" y="1601"/>
                  <a:pt x="870" y="1602"/>
                  <a:pt x="868" y="1602"/>
                </a:cubicBezTo>
                <a:cubicBezTo>
                  <a:pt x="868" y="1602"/>
                  <a:pt x="868" y="1602"/>
                  <a:pt x="868" y="1613"/>
                </a:cubicBezTo>
                <a:cubicBezTo>
                  <a:pt x="871" y="1612"/>
                  <a:pt x="874" y="1610"/>
                  <a:pt x="876" y="1610"/>
                </a:cubicBezTo>
                <a:cubicBezTo>
                  <a:pt x="878" y="1609"/>
                  <a:pt x="881" y="1608"/>
                  <a:pt x="883" y="1606"/>
                </a:cubicBezTo>
                <a:cubicBezTo>
                  <a:pt x="883" y="1606"/>
                  <a:pt x="883" y="1606"/>
                  <a:pt x="883" y="1665"/>
                </a:cubicBezTo>
                <a:cubicBezTo>
                  <a:pt x="883" y="1665"/>
                  <a:pt x="883" y="1665"/>
                  <a:pt x="894" y="1665"/>
                </a:cubicBezTo>
                <a:cubicBezTo>
                  <a:pt x="894" y="1665"/>
                  <a:pt x="894" y="1665"/>
                  <a:pt x="894" y="1592"/>
                </a:cubicBezTo>
                <a:close/>
                <a:moveTo>
                  <a:pt x="700" y="1624"/>
                </a:moveTo>
                <a:cubicBezTo>
                  <a:pt x="700" y="1624"/>
                  <a:pt x="700" y="1624"/>
                  <a:pt x="700" y="1624"/>
                </a:cubicBezTo>
                <a:cubicBezTo>
                  <a:pt x="700" y="1632"/>
                  <a:pt x="700" y="1632"/>
                  <a:pt x="700" y="1632"/>
                </a:cubicBezTo>
                <a:cubicBezTo>
                  <a:pt x="706" y="1632"/>
                  <a:pt x="707" y="1635"/>
                  <a:pt x="707" y="1638"/>
                </a:cubicBezTo>
                <a:cubicBezTo>
                  <a:pt x="707" y="1640"/>
                  <a:pt x="706" y="1643"/>
                  <a:pt x="706" y="1645"/>
                </a:cubicBezTo>
                <a:cubicBezTo>
                  <a:pt x="706" y="1648"/>
                  <a:pt x="706" y="1650"/>
                  <a:pt x="706" y="1652"/>
                </a:cubicBezTo>
                <a:cubicBezTo>
                  <a:pt x="706" y="1662"/>
                  <a:pt x="712" y="1665"/>
                  <a:pt x="720" y="1665"/>
                </a:cubicBezTo>
                <a:cubicBezTo>
                  <a:pt x="720" y="1665"/>
                  <a:pt x="720" y="1665"/>
                  <a:pt x="724" y="1665"/>
                </a:cubicBezTo>
                <a:cubicBezTo>
                  <a:pt x="724" y="1665"/>
                  <a:pt x="724" y="1665"/>
                  <a:pt x="724" y="1656"/>
                </a:cubicBezTo>
                <a:cubicBezTo>
                  <a:pt x="724" y="1656"/>
                  <a:pt x="724" y="1656"/>
                  <a:pt x="722" y="1656"/>
                </a:cubicBezTo>
                <a:cubicBezTo>
                  <a:pt x="719" y="1656"/>
                  <a:pt x="717" y="1653"/>
                  <a:pt x="717" y="1650"/>
                </a:cubicBezTo>
                <a:cubicBezTo>
                  <a:pt x="717" y="1649"/>
                  <a:pt x="717" y="1647"/>
                  <a:pt x="718" y="1645"/>
                </a:cubicBezTo>
                <a:cubicBezTo>
                  <a:pt x="718" y="1644"/>
                  <a:pt x="718" y="1641"/>
                  <a:pt x="718" y="1639"/>
                </a:cubicBezTo>
                <a:cubicBezTo>
                  <a:pt x="718" y="1632"/>
                  <a:pt x="715" y="1629"/>
                  <a:pt x="710" y="1628"/>
                </a:cubicBezTo>
                <a:cubicBezTo>
                  <a:pt x="710" y="1628"/>
                  <a:pt x="710" y="1628"/>
                  <a:pt x="710" y="1628"/>
                </a:cubicBezTo>
                <a:cubicBezTo>
                  <a:pt x="715" y="1626"/>
                  <a:pt x="718" y="1624"/>
                  <a:pt x="718" y="1617"/>
                </a:cubicBezTo>
                <a:cubicBezTo>
                  <a:pt x="718" y="1614"/>
                  <a:pt x="718" y="1612"/>
                  <a:pt x="718" y="1610"/>
                </a:cubicBezTo>
                <a:cubicBezTo>
                  <a:pt x="717" y="1609"/>
                  <a:pt x="717" y="1607"/>
                  <a:pt x="717" y="1606"/>
                </a:cubicBezTo>
                <a:cubicBezTo>
                  <a:pt x="717" y="1602"/>
                  <a:pt x="719" y="1600"/>
                  <a:pt x="722" y="1600"/>
                </a:cubicBezTo>
                <a:cubicBezTo>
                  <a:pt x="722" y="1600"/>
                  <a:pt x="722" y="1600"/>
                  <a:pt x="724" y="1600"/>
                </a:cubicBezTo>
                <a:cubicBezTo>
                  <a:pt x="724" y="1600"/>
                  <a:pt x="724" y="1600"/>
                  <a:pt x="724" y="1591"/>
                </a:cubicBezTo>
                <a:cubicBezTo>
                  <a:pt x="724" y="1591"/>
                  <a:pt x="724" y="1591"/>
                  <a:pt x="720" y="1591"/>
                </a:cubicBezTo>
                <a:cubicBezTo>
                  <a:pt x="711" y="1591"/>
                  <a:pt x="706" y="1595"/>
                  <a:pt x="706" y="1603"/>
                </a:cubicBezTo>
                <a:cubicBezTo>
                  <a:pt x="706" y="1606"/>
                  <a:pt x="706" y="1608"/>
                  <a:pt x="706" y="1611"/>
                </a:cubicBezTo>
                <a:cubicBezTo>
                  <a:pt x="706" y="1613"/>
                  <a:pt x="707" y="1616"/>
                  <a:pt x="707" y="1618"/>
                </a:cubicBezTo>
                <a:cubicBezTo>
                  <a:pt x="707" y="1620"/>
                  <a:pt x="706" y="1624"/>
                  <a:pt x="700" y="1624"/>
                </a:cubicBezTo>
                <a:close/>
                <a:moveTo>
                  <a:pt x="755" y="1632"/>
                </a:moveTo>
                <a:cubicBezTo>
                  <a:pt x="755" y="1632"/>
                  <a:pt x="755" y="1632"/>
                  <a:pt x="755" y="1632"/>
                </a:cubicBezTo>
                <a:cubicBezTo>
                  <a:pt x="755" y="1624"/>
                  <a:pt x="755" y="1624"/>
                  <a:pt x="755" y="1624"/>
                </a:cubicBezTo>
                <a:cubicBezTo>
                  <a:pt x="748" y="1624"/>
                  <a:pt x="748" y="1620"/>
                  <a:pt x="748" y="1618"/>
                </a:cubicBezTo>
                <a:cubicBezTo>
                  <a:pt x="748" y="1616"/>
                  <a:pt x="748" y="1613"/>
                  <a:pt x="748" y="1611"/>
                </a:cubicBezTo>
                <a:cubicBezTo>
                  <a:pt x="749" y="1608"/>
                  <a:pt x="749" y="1606"/>
                  <a:pt x="749" y="1603"/>
                </a:cubicBezTo>
                <a:cubicBezTo>
                  <a:pt x="749" y="1595"/>
                  <a:pt x="744" y="1591"/>
                  <a:pt x="734" y="1591"/>
                </a:cubicBezTo>
                <a:cubicBezTo>
                  <a:pt x="734" y="1591"/>
                  <a:pt x="734" y="1591"/>
                  <a:pt x="730" y="1591"/>
                </a:cubicBezTo>
                <a:cubicBezTo>
                  <a:pt x="730" y="1591"/>
                  <a:pt x="730" y="1591"/>
                  <a:pt x="730" y="1600"/>
                </a:cubicBezTo>
                <a:cubicBezTo>
                  <a:pt x="730" y="1600"/>
                  <a:pt x="730" y="1600"/>
                  <a:pt x="732" y="1600"/>
                </a:cubicBezTo>
                <a:cubicBezTo>
                  <a:pt x="736" y="1600"/>
                  <a:pt x="737" y="1602"/>
                  <a:pt x="737" y="1606"/>
                </a:cubicBezTo>
                <a:cubicBezTo>
                  <a:pt x="737" y="1607"/>
                  <a:pt x="737" y="1609"/>
                  <a:pt x="737" y="1610"/>
                </a:cubicBezTo>
                <a:cubicBezTo>
                  <a:pt x="736" y="1612"/>
                  <a:pt x="736" y="1614"/>
                  <a:pt x="736" y="1617"/>
                </a:cubicBezTo>
                <a:cubicBezTo>
                  <a:pt x="736" y="1624"/>
                  <a:pt x="739" y="1626"/>
                  <a:pt x="745" y="1628"/>
                </a:cubicBezTo>
                <a:cubicBezTo>
                  <a:pt x="745" y="1628"/>
                  <a:pt x="745" y="1628"/>
                  <a:pt x="745" y="1628"/>
                </a:cubicBezTo>
                <a:cubicBezTo>
                  <a:pt x="739" y="1629"/>
                  <a:pt x="736" y="1632"/>
                  <a:pt x="736" y="1639"/>
                </a:cubicBezTo>
                <a:cubicBezTo>
                  <a:pt x="736" y="1641"/>
                  <a:pt x="736" y="1644"/>
                  <a:pt x="737" y="1645"/>
                </a:cubicBezTo>
                <a:cubicBezTo>
                  <a:pt x="737" y="1647"/>
                  <a:pt x="737" y="1649"/>
                  <a:pt x="737" y="1650"/>
                </a:cubicBezTo>
                <a:cubicBezTo>
                  <a:pt x="737" y="1653"/>
                  <a:pt x="736" y="1656"/>
                  <a:pt x="732" y="1656"/>
                </a:cubicBezTo>
                <a:cubicBezTo>
                  <a:pt x="732" y="1656"/>
                  <a:pt x="732" y="1656"/>
                  <a:pt x="730" y="1656"/>
                </a:cubicBezTo>
                <a:cubicBezTo>
                  <a:pt x="730" y="1656"/>
                  <a:pt x="730" y="1656"/>
                  <a:pt x="730" y="1665"/>
                </a:cubicBezTo>
                <a:cubicBezTo>
                  <a:pt x="730" y="1665"/>
                  <a:pt x="730" y="1665"/>
                  <a:pt x="734" y="1665"/>
                </a:cubicBezTo>
                <a:cubicBezTo>
                  <a:pt x="743" y="1665"/>
                  <a:pt x="749" y="1662"/>
                  <a:pt x="749" y="1652"/>
                </a:cubicBezTo>
                <a:cubicBezTo>
                  <a:pt x="749" y="1650"/>
                  <a:pt x="749" y="1648"/>
                  <a:pt x="748" y="1645"/>
                </a:cubicBezTo>
                <a:cubicBezTo>
                  <a:pt x="748" y="1643"/>
                  <a:pt x="748" y="1640"/>
                  <a:pt x="748" y="1638"/>
                </a:cubicBezTo>
                <a:cubicBezTo>
                  <a:pt x="748" y="1635"/>
                  <a:pt x="748" y="1632"/>
                  <a:pt x="755" y="1632"/>
                </a:cubicBezTo>
                <a:close/>
                <a:moveTo>
                  <a:pt x="938" y="1665"/>
                </a:moveTo>
                <a:cubicBezTo>
                  <a:pt x="931" y="1665"/>
                  <a:pt x="924" y="1662"/>
                  <a:pt x="920" y="1656"/>
                </a:cubicBezTo>
                <a:cubicBezTo>
                  <a:pt x="916" y="1650"/>
                  <a:pt x="914" y="1641"/>
                  <a:pt x="914" y="1628"/>
                </a:cubicBezTo>
                <a:cubicBezTo>
                  <a:pt x="914" y="1615"/>
                  <a:pt x="916" y="1606"/>
                  <a:pt x="920" y="1599"/>
                </a:cubicBezTo>
                <a:cubicBezTo>
                  <a:pt x="925" y="1592"/>
                  <a:pt x="931" y="1589"/>
                  <a:pt x="940" y="1589"/>
                </a:cubicBezTo>
                <a:cubicBezTo>
                  <a:pt x="956" y="1589"/>
                  <a:pt x="964" y="1601"/>
                  <a:pt x="964" y="1627"/>
                </a:cubicBezTo>
                <a:cubicBezTo>
                  <a:pt x="964" y="1639"/>
                  <a:pt x="962" y="1649"/>
                  <a:pt x="957" y="1655"/>
                </a:cubicBezTo>
                <a:cubicBezTo>
                  <a:pt x="952" y="1662"/>
                  <a:pt x="946" y="1665"/>
                  <a:pt x="938" y="1665"/>
                </a:cubicBezTo>
                <a:close/>
                <a:moveTo>
                  <a:pt x="939" y="1598"/>
                </a:moveTo>
                <a:cubicBezTo>
                  <a:pt x="930" y="1598"/>
                  <a:pt x="925" y="1608"/>
                  <a:pt x="925" y="1628"/>
                </a:cubicBezTo>
                <a:cubicBezTo>
                  <a:pt x="925" y="1647"/>
                  <a:pt x="930" y="1655"/>
                  <a:pt x="939" y="1655"/>
                </a:cubicBezTo>
                <a:cubicBezTo>
                  <a:pt x="947" y="1655"/>
                  <a:pt x="952" y="1647"/>
                  <a:pt x="952" y="1628"/>
                </a:cubicBezTo>
                <a:cubicBezTo>
                  <a:pt x="952" y="1608"/>
                  <a:pt x="947" y="1598"/>
                  <a:pt x="939" y="1598"/>
                </a:cubicBezTo>
                <a:close/>
                <a:moveTo>
                  <a:pt x="1008" y="1665"/>
                </a:moveTo>
                <a:cubicBezTo>
                  <a:pt x="1001" y="1665"/>
                  <a:pt x="994" y="1662"/>
                  <a:pt x="990" y="1656"/>
                </a:cubicBezTo>
                <a:cubicBezTo>
                  <a:pt x="986" y="1650"/>
                  <a:pt x="984" y="1641"/>
                  <a:pt x="984" y="1628"/>
                </a:cubicBezTo>
                <a:cubicBezTo>
                  <a:pt x="984" y="1615"/>
                  <a:pt x="986" y="1606"/>
                  <a:pt x="990" y="1599"/>
                </a:cubicBezTo>
                <a:cubicBezTo>
                  <a:pt x="995" y="1592"/>
                  <a:pt x="1002" y="1589"/>
                  <a:pt x="1010" y="1589"/>
                </a:cubicBezTo>
                <a:cubicBezTo>
                  <a:pt x="1027" y="1589"/>
                  <a:pt x="1035" y="1601"/>
                  <a:pt x="1035" y="1627"/>
                </a:cubicBezTo>
                <a:cubicBezTo>
                  <a:pt x="1035" y="1639"/>
                  <a:pt x="1033" y="1649"/>
                  <a:pt x="1028" y="1655"/>
                </a:cubicBezTo>
                <a:cubicBezTo>
                  <a:pt x="1023" y="1662"/>
                  <a:pt x="1017" y="1665"/>
                  <a:pt x="1008" y="1665"/>
                </a:cubicBezTo>
                <a:close/>
                <a:moveTo>
                  <a:pt x="1010" y="1598"/>
                </a:moveTo>
                <a:cubicBezTo>
                  <a:pt x="1001" y="1598"/>
                  <a:pt x="996" y="1608"/>
                  <a:pt x="996" y="1628"/>
                </a:cubicBezTo>
                <a:cubicBezTo>
                  <a:pt x="996" y="1647"/>
                  <a:pt x="1000" y="1655"/>
                  <a:pt x="1009" y="1655"/>
                </a:cubicBezTo>
                <a:cubicBezTo>
                  <a:pt x="1018" y="1655"/>
                  <a:pt x="1022" y="1647"/>
                  <a:pt x="1022" y="1628"/>
                </a:cubicBezTo>
                <a:cubicBezTo>
                  <a:pt x="1022" y="1608"/>
                  <a:pt x="1018" y="1598"/>
                  <a:pt x="1010" y="1598"/>
                </a:cubicBezTo>
                <a:close/>
                <a:moveTo>
                  <a:pt x="1081" y="1592"/>
                </a:moveTo>
                <a:cubicBezTo>
                  <a:pt x="1081" y="1592"/>
                  <a:pt x="1081" y="1592"/>
                  <a:pt x="1081" y="1592"/>
                </a:cubicBezTo>
                <a:cubicBezTo>
                  <a:pt x="1076" y="1592"/>
                  <a:pt x="1076" y="1592"/>
                  <a:pt x="1076" y="1592"/>
                </a:cubicBezTo>
                <a:cubicBezTo>
                  <a:pt x="1074" y="1593"/>
                  <a:pt x="1073" y="1594"/>
                  <a:pt x="1070" y="1595"/>
                </a:cubicBezTo>
                <a:cubicBezTo>
                  <a:pt x="1069" y="1597"/>
                  <a:pt x="1067" y="1597"/>
                  <a:pt x="1065" y="1598"/>
                </a:cubicBezTo>
                <a:cubicBezTo>
                  <a:pt x="1064" y="1600"/>
                  <a:pt x="1062" y="1600"/>
                  <a:pt x="1060" y="1601"/>
                </a:cubicBezTo>
                <a:cubicBezTo>
                  <a:pt x="1058" y="1602"/>
                  <a:pt x="1057" y="1602"/>
                  <a:pt x="1054" y="1602"/>
                </a:cubicBezTo>
                <a:cubicBezTo>
                  <a:pt x="1054" y="1602"/>
                  <a:pt x="1054" y="1602"/>
                  <a:pt x="1054" y="1613"/>
                </a:cubicBezTo>
                <a:cubicBezTo>
                  <a:pt x="1057" y="1612"/>
                  <a:pt x="1060" y="1611"/>
                  <a:pt x="1063" y="1610"/>
                </a:cubicBezTo>
                <a:cubicBezTo>
                  <a:pt x="1065" y="1609"/>
                  <a:pt x="1067" y="1608"/>
                  <a:pt x="1070" y="1606"/>
                </a:cubicBezTo>
                <a:cubicBezTo>
                  <a:pt x="1070" y="1606"/>
                  <a:pt x="1070" y="1606"/>
                  <a:pt x="1070" y="1665"/>
                </a:cubicBezTo>
                <a:cubicBezTo>
                  <a:pt x="1070" y="1665"/>
                  <a:pt x="1070" y="1665"/>
                  <a:pt x="1081" y="1665"/>
                </a:cubicBezTo>
                <a:cubicBezTo>
                  <a:pt x="1081" y="1665"/>
                  <a:pt x="1081" y="1665"/>
                  <a:pt x="1081" y="1592"/>
                </a:cubicBezTo>
                <a:close/>
                <a:moveTo>
                  <a:pt x="1128" y="1592"/>
                </a:moveTo>
                <a:cubicBezTo>
                  <a:pt x="1128" y="1592"/>
                  <a:pt x="1128" y="1592"/>
                  <a:pt x="1128" y="1592"/>
                </a:cubicBezTo>
                <a:cubicBezTo>
                  <a:pt x="1123" y="1592"/>
                  <a:pt x="1123" y="1592"/>
                  <a:pt x="1123" y="1592"/>
                </a:cubicBezTo>
                <a:cubicBezTo>
                  <a:pt x="1121" y="1593"/>
                  <a:pt x="1119" y="1594"/>
                  <a:pt x="1117" y="1595"/>
                </a:cubicBezTo>
                <a:cubicBezTo>
                  <a:pt x="1116" y="1597"/>
                  <a:pt x="1114" y="1597"/>
                  <a:pt x="1112" y="1598"/>
                </a:cubicBezTo>
                <a:cubicBezTo>
                  <a:pt x="1111" y="1600"/>
                  <a:pt x="1108" y="1600"/>
                  <a:pt x="1107" y="1601"/>
                </a:cubicBezTo>
                <a:cubicBezTo>
                  <a:pt x="1105" y="1602"/>
                  <a:pt x="1103" y="1602"/>
                  <a:pt x="1101" y="1602"/>
                </a:cubicBezTo>
                <a:cubicBezTo>
                  <a:pt x="1101" y="1602"/>
                  <a:pt x="1101" y="1602"/>
                  <a:pt x="1101" y="1613"/>
                </a:cubicBezTo>
                <a:cubicBezTo>
                  <a:pt x="1104" y="1612"/>
                  <a:pt x="1107" y="1611"/>
                  <a:pt x="1109" y="1610"/>
                </a:cubicBezTo>
                <a:cubicBezTo>
                  <a:pt x="1112" y="1609"/>
                  <a:pt x="1114" y="1608"/>
                  <a:pt x="1117" y="1606"/>
                </a:cubicBezTo>
                <a:cubicBezTo>
                  <a:pt x="1117" y="1606"/>
                  <a:pt x="1117" y="1606"/>
                  <a:pt x="1117" y="1665"/>
                </a:cubicBezTo>
                <a:cubicBezTo>
                  <a:pt x="1117" y="1665"/>
                  <a:pt x="1117" y="1665"/>
                  <a:pt x="1128" y="1665"/>
                </a:cubicBezTo>
                <a:cubicBezTo>
                  <a:pt x="1128" y="1665"/>
                  <a:pt x="1128" y="1665"/>
                  <a:pt x="1128" y="1592"/>
                </a:cubicBezTo>
                <a:close/>
                <a:moveTo>
                  <a:pt x="1174" y="1592"/>
                </a:moveTo>
                <a:cubicBezTo>
                  <a:pt x="1174" y="1592"/>
                  <a:pt x="1174" y="1592"/>
                  <a:pt x="1174" y="1592"/>
                </a:cubicBezTo>
                <a:cubicBezTo>
                  <a:pt x="1170" y="1592"/>
                  <a:pt x="1170" y="1592"/>
                  <a:pt x="1170" y="1592"/>
                </a:cubicBezTo>
                <a:cubicBezTo>
                  <a:pt x="1167" y="1593"/>
                  <a:pt x="1166" y="1594"/>
                  <a:pt x="1164" y="1595"/>
                </a:cubicBezTo>
                <a:cubicBezTo>
                  <a:pt x="1162" y="1597"/>
                  <a:pt x="1160" y="1597"/>
                  <a:pt x="1159" y="1598"/>
                </a:cubicBezTo>
                <a:cubicBezTo>
                  <a:pt x="1157" y="1599"/>
                  <a:pt x="1155" y="1600"/>
                  <a:pt x="1153" y="1600"/>
                </a:cubicBezTo>
                <a:cubicBezTo>
                  <a:pt x="1152" y="1601"/>
                  <a:pt x="1149" y="1602"/>
                  <a:pt x="1148" y="1602"/>
                </a:cubicBezTo>
                <a:cubicBezTo>
                  <a:pt x="1148" y="1602"/>
                  <a:pt x="1148" y="1602"/>
                  <a:pt x="1148" y="1613"/>
                </a:cubicBezTo>
                <a:cubicBezTo>
                  <a:pt x="1151" y="1612"/>
                  <a:pt x="1154" y="1610"/>
                  <a:pt x="1156" y="1610"/>
                </a:cubicBezTo>
                <a:cubicBezTo>
                  <a:pt x="1158" y="1609"/>
                  <a:pt x="1161" y="1608"/>
                  <a:pt x="1162" y="1606"/>
                </a:cubicBezTo>
                <a:cubicBezTo>
                  <a:pt x="1162" y="1606"/>
                  <a:pt x="1162" y="1606"/>
                  <a:pt x="1162" y="1665"/>
                </a:cubicBezTo>
                <a:cubicBezTo>
                  <a:pt x="1162" y="1665"/>
                  <a:pt x="1162" y="1665"/>
                  <a:pt x="1174" y="1665"/>
                </a:cubicBezTo>
                <a:cubicBezTo>
                  <a:pt x="1174" y="1665"/>
                  <a:pt x="1174" y="1665"/>
                  <a:pt x="1174" y="1592"/>
                </a:cubicBezTo>
                <a:close/>
                <a:moveTo>
                  <a:pt x="983" y="1566"/>
                </a:moveTo>
                <a:cubicBezTo>
                  <a:pt x="976" y="1566"/>
                  <a:pt x="969" y="1563"/>
                  <a:pt x="965" y="1557"/>
                </a:cubicBezTo>
                <a:cubicBezTo>
                  <a:pt x="961" y="1551"/>
                  <a:pt x="959" y="1542"/>
                  <a:pt x="959" y="1530"/>
                </a:cubicBezTo>
                <a:cubicBezTo>
                  <a:pt x="959" y="1517"/>
                  <a:pt x="961" y="1507"/>
                  <a:pt x="965" y="1500"/>
                </a:cubicBezTo>
                <a:cubicBezTo>
                  <a:pt x="970" y="1494"/>
                  <a:pt x="976" y="1490"/>
                  <a:pt x="985" y="1490"/>
                </a:cubicBezTo>
                <a:cubicBezTo>
                  <a:pt x="1001" y="1490"/>
                  <a:pt x="1009" y="1503"/>
                  <a:pt x="1009" y="1528"/>
                </a:cubicBezTo>
                <a:cubicBezTo>
                  <a:pt x="1009" y="1541"/>
                  <a:pt x="1007" y="1550"/>
                  <a:pt x="1002" y="1557"/>
                </a:cubicBezTo>
                <a:cubicBezTo>
                  <a:pt x="998" y="1563"/>
                  <a:pt x="991" y="1566"/>
                  <a:pt x="983" y="1566"/>
                </a:cubicBezTo>
                <a:close/>
                <a:moveTo>
                  <a:pt x="984" y="1500"/>
                </a:moveTo>
                <a:cubicBezTo>
                  <a:pt x="975" y="1500"/>
                  <a:pt x="971" y="1510"/>
                  <a:pt x="971" y="1530"/>
                </a:cubicBezTo>
                <a:cubicBezTo>
                  <a:pt x="971" y="1548"/>
                  <a:pt x="975" y="1557"/>
                  <a:pt x="984" y="1557"/>
                </a:cubicBezTo>
                <a:cubicBezTo>
                  <a:pt x="992" y="1557"/>
                  <a:pt x="997" y="1548"/>
                  <a:pt x="997" y="1529"/>
                </a:cubicBezTo>
                <a:cubicBezTo>
                  <a:pt x="997" y="1509"/>
                  <a:pt x="992" y="1500"/>
                  <a:pt x="984" y="1500"/>
                </a:cubicBezTo>
                <a:close/>
                <a:moveTo>
                  <a:pt x="1057" y="1493"/>
                </a:moveTo>
                <a:cubicBezTo>
                  <a:pt x="1057" y="1493"/>
                  <a:pt x="1057" y="1493"/>
                  <a:pt x="1057" y="1493"/>
                </a:cubicBezTo>
                <a:cubicBezTo>
                  <a:pt x="1052" y="1493"/>
                  <a:pt x="1052" y="1493"/>
                  <a:pt x="1052" y="1493"/>
                </a:cubicBezTo>
                <a:cubicBezTo>
                  <a:pt x="1050" y="1494"/>
                  <a:pt x="1048" y="1496"/>
                  <a:pt x="1046" y="1496"/>
                </a:cubicBezTo>
                <a:cubicBezTo>
                  <a:pt x="1044" y="1498"/>
                  <a:pt x="1042" y="1498"/>
                  <a:pt x="1041" y="1499"/>
                </a:cubicBezTo>
                <a:cubicBezTo>
                  <a:pt x="1039" y="1500"/>
                  <a:pt x="1037" y="1501"/>
                  <a:pt x="1036" y="1501"/>
                </a:cubicBezTo>
                <a:cubicBezTo>
                  <a:pt x="1034" y="1502"/>
                  <a:pt x="1032" y="1503"/>
                  <a:pt x="1030" y="1504"/>
                </a:cubicBezTo>
                <a:cubicBezTo>
                  <a:pt x="1030" y="1504"/>
                  <a:pt x="1030" y="1504"/>
                  <a:pt x="1030" y="1514"/>
                </a:cubicBezTo>
                <a:cubicBezTo>
                  <a:pt x="1033" y="1513"/>
                  <a:pt x="1036" y="1512"/>
                  <a:pt x="1038" y="1511"/>
                </a:cubicBezTo>
                <a:cubicBezTo>
                  <a:pt x="1041" y="1510"/>
                  <a:pt x="1043" y="1509"/>
                  <a:pt x="1045" y="1507"/>
                </a:cubicBezTo>
                <a:cubicBezTo>
                  <a:pt x="1045" y="1507"/>
                  <a:pt x="1045" y="1507"/>
                  <a:pt x="1045" y="1566"/>
                </a:cubicBezTo>
                <a:cubicBezTo>
                  <a:pt x="1045" y="1566"/>
                  <a:pt x="1045" y="1566"/>
                  <a:pt x="1057" y="1566"/>
                </a:cubicBezTo>
                <a:cubicBezTo>
                  <a:pt x="1057" y="1566"/>
                  <a:pt x="1057" y="1566"/>
                  <a:pt x="1057" y="1493"/>
                </a:cubicBezTo>
                <a:close/>
                <a:moveTo>
                  <a:pt x="1104" y="1493"/>
                </a:moveTo>
                <a:cubicBezTo>
                  <a:pt x="1104" y="1493"/>
                  <a:pt x="1104" y="1493"/>
                  <a:pt x="1104" y="1493"/>
                </a:cubicBezTo>
                <a:cubicBezTo>
                  <a:pt x="1099" y="1493"/>
                  <a:pt x="1099" y="1493"/>
                  <a:pt x="1099" y="1493"/>
                </a:cubicBezTo>
                <a:cubicBezTo>
                  <a:pt x="1097" y="1494"/>
                  <a:pt x="1095" y="1496"/>
                  <a:pt x="1093" y="1496"/>
                </a:cubicBezTo>
                <a:cubicBezTo>
                  <a:pt x="1092" y="1498"/>
                  <a:pt x="1090" y="1498"/>
                  <a:pt x="1088" y="1499"/>
                </a:cubicBezTo>
                <a:cubicBezTo>
                  <a:pt x="1087" y="1501"/>
                  <a:pt x="1085" y="1501"/>
                  <a:pt x="1083" y="1502"/>
                </a:cubicBezTo>
                <a:cubicBezTo>
                  <a:pt x="1081" y="1503"/>
                  <a:pt x="1080" y="1504"/>
                  <a:pt x="1077" y="1504"/>
                </a:cubicBezTo>
                <a:cubicBezTo>
                  <a:pt x="1077" y="1504"/>
                  <a:pt x="1077" y="1504"/>
                  <a:pt x="1077" y="1514"/>
                </a:cubicBezTo>
                <a:cubicBezTo>
                  <a:pt x="1080" y="1513"/>
                  <a:pt x="1083" y="1512"/>
                  <a:pt x="1085" y="1511"/>
                </a:cubicBezTo>
                <a:cubicBezTo>
                  <a:pt x="1088" y="1510"/>
                  <a:pt x="1090" y="1509"/>
                  <a:pt x="1092" y="1507"/>
                </a:cubicBezTo>
                <a:cubicBezTo>
                  <a:pt x="1092" y="1507"/>
                  <a:pt x="1092" y="1507"/>
                  <a:pt x="1092" y="1566"/>
                </a:cubicBezTo>
                <a:cubicBezTo>
                  <a:pt x="1092" y="1566"/>
                  <a:pt x="1092" y="1566"/>
                  <a:pt x="1104" y="1566"/>
                </a:cubicBezTo>
                <a:cubicBezTo>
                  <a:pt x="1104" y="1566"/>
                  <a:pt x="1104" y="1566"/>
                  <a:pt x="1104" y="1493"/>
                </a:cubicBezTo>
                <a:close/>
                <a:moveTo>
                  <a:pt x="1150" y="1493"/>
                </a:moveTo>
                <a:cubicBezTo>
                  <a:pt x="1150" y="1493"/>
                  <a:pt x="1150" y="1493"/>
                  <a:pt x="1150" y="1493"/>
                </a:cubicBezTo>
                <a:cubicBezTo>
                  <a:pt x="1146" y="1493"/>
                  <a:pt x="1146" y="1493"/>
                  <a:pt x="1146" y="1493"/>
                </a:cubicBezTo>
                <a:cubicBezTo>
                  <a:pt x="1144" y="1494"/>
                  <a:pt x="1142" y="1496"/>
                  <a:pt x="1140" y="1496"/>
                </a:cubicBezTo>
                <a:cubicBezTo>
                  <a:pt x="1139" y="1498"/>
                  <a:pt x="1137" y="1498"/>
                  <a:pt x="1135" y="1499"/>
                </a:cubicBezTo>
                <a:cubicBezTo>
                  <a:pt x="1133" y="1501"/>
                  <a:pt x="1132" y="1501"/>
                  <a:pt x="1130" y="1502"/>
                </a:cubicBezTo>
                <a:cubicBezTo>
                  <a:pt x="1128" y="1503"/>
                  <a:pt x="1126" y="1504"/>
                  <a:pt x="1124" y="1504"/>
                </a:cubicBezTo>
                <a:cubicBezTo>
                  <a:pt x="1124" y="1504"/>
                  <a:pt x="1124" y="1504"/>
                  <a:pt x="1124" y="1514"/>
                </a:cubicBezTo>
                <a:cubicBezTo>
                  <a:pt x="1127" y="1513"/>
                  <a:pt x="1130" y="1512"/>
                  <a:pt x="1132" y="1511"/>
                </a:cubicBezTo>
                <a:cubicBezTo>
                  <a:pt x="1135" y="1510"/>
                  <a:pt x="1137" y="1509"/>
                  <a:pt x="1139" y="1507"/>
                </a:cubicBezTo>
                <a:cubicBezTo>
                  <a:pt x="1139" y="1507"/>
                  <a:pt x="1139" y="1507"/>
                  <a:pt x="1139" y="1566"/>
                </a:cubicBezTo>
                <a:cubicBezTo>
                  <a:pt x="1139" y="1566"/>
                  <a:pt x="1139" y="1566"/>
                  <a:pt x="1150" y="1566"/>
                </a:cubicBezTo>
                <a:cubicBezTo>
                  <a:pt x="1150" y="1566"/>
                  <a:pt x="1150" y="1566"/>
                  <a:pt x="1150" y="1493"/>
                </a:cubicBezTo>
                <a:close/>
                <a:moveTo>
                  <a:pt x="1198" y="1493"/>
                </a:moveTo>
                <a:cubicBezTo>
                  <a:pt x="1198" y="1493"/>
                  <a:pt x="1198" y="1493"/>
                  <a:pt x="1198" y="1493"/>
                </a:cubicBezTo>
                <a:cubicBezTo>
                  <a:pt x="1193" y="1493"/>
                  <a:pt x="1193" y="1493"/>
                  <a:pt x="1193" y="1493"/>
                </a:cubicBezTo>
                <a:cubicBezTo>
                  <a:pt x="1191" y="1494"/>
                  <a:pt x="1190" y="1496"/>
                  <a:pt x="1187" y="1496"/>
                </a:cubicBezTo>
                <a:cubicBezTo>
                  <a:pt x="1186" y="1498"/>
                  <a:pt x="1184" y="1498"/>
                  <a:pt x="1182" y="1499"/>
                </a:cubicBezTo>
                <a:cubicBezTo>
                  <a:pt x="1181" y="1501"/>
                  <a:pt x="1178" y="1501"/>
                  <a:pt x="1177" y="1502"/>
                </a:cubicBezTo>
                <a:cubicBezTo>
                  <a:pt x="1175" y="1503"/>
                  <a:pt x="1173" y="1504"/>
                  <a:pt x="1171" y="1504"/>
                </a:cubicBezTo>
                <a:cubicBezTo>
                  <a:pt x="1171" y="1504"/>
                  <a:pt x="1171" y="1504"/>
                  <a:pt x="1171" y="1514"/>
                </a:cubicBezTo>
                <a:cubicBezTo>
                  <a:pt x="1174" y="1513"/>
                  <a:pt x="1177" y="1512"/>
                  <a:pt x="1179" y="1511"/>
                </a:cubicBezTo>
                <a:cubicBezTo>
                  <a:pt x="1182" y="1510"/>
                  <a:pt x="1184" y="1509"/>
                  <a:pt x="1187" y="1507"/>
                </a:cubicBezTo>
                <a:cubicBezTo>
                  <a:pt x="1187" y="1507"/>
                  <a:pt x="1187" y="1507"/>
                  <a:pt x="1187" y="1566"/>
                </a:cubicBezTo>
                <a:cubicBezTo>
                  <a:pt x="1187" y="1566"/>
                  <a:pt x="1187" y="1566"/>
                  <a:pt x="1198" y="1566"/>
                </a:cubicBezTo>
                <a:cubicBezTo>
                  <a:pt x="1198" y="1566"/>
                  <a:pt x="1198" y="1566"/>
                  <a:pt x="1198" y="1493"/>
                </a:cubicBezTo>
                <a:close/>
                <a:moveTo>
                  <a:pt x="1321" y="1493"/>
                </a:moveTo>
                <a:cubicBezTo>
                  <a:pt x="1321" y="1493"/>
                  <a:pt x="1321" y="1493"/>
                  <a:pt x="1321" y="1493"/>
                </a:cubicBezTo>
                <a:cubicBezTo>
                  <a:pt x="1316" y="1493"/>
                  <a:pt x="1316" y="1493"/>
                  <a:pt x="1316" y="1493"/>
                </a:cubicBezTo>
                <a:cubicBezTo>
                  <a:pt x="1314" y="1494"/>
                  <a:pt x="1313" y="1496"/>
                  <a:pt x="1310" y="1496"/>
                </a:cubicBezTo>
                <a:cubicBezTo>
                  <a:pt x="1309" y="1498"/>
                  <a:pt x="1307" y="1498"/>
                  <a:pt x="1305" y="1499"/>
                </a:cubicBezTo>
                <a:cubicBezTo>
                  <a:pt x="1304" y="1501"/>
                  <a:pt x="1302" y="1501"/>
                  <a:pt x="1300" y="1502"/>
                </a:cubicBezTo>
                <a:cubicBezTo>
                  <a:pt x="1298" y="1503"/>
                  <a:pt x="1297" y="1504"/>
                  <a:pt x="1294" y="1504"/>
                </a:cubicBezTo>
                <a:cubicBezTo>
                  <a:pt x="1294" y="1504"/>
                  <a:pt x="1294" y="1504"/>
                  <a:pt x="1294" y="1514"/>
                </a:cubicBezTo>
                <a:cubicBezTo>
                  <a:pt x="1297" y="1513"/>
                  <a:pt x="1300" y="1512"/>
                  <a:pt x="1303" y="1511"/>
                </a:cubicBezTo>
                <a:cubicBezTo>
                  <a:pt x="1305" y="1510"/>
                  <a:pt x="1307" y="1509"/>
                  <a:pt x="1310" y="1507"/>
                </a:cubicBezTo>
                <a:cubicBezTo>
                  <a:pt x="1310" y="1507"/>
                  <a:pt x="1310" y="1507"/>
                  <a:pt x="1310" y="1566"/>
                </a:cubicBezTo>
                <a:cubicBezTo>
                  <a:pt x="1310" y="1566"/>
                  <a:pt x="1310" y="1566"/>
                  <a:pt x="1321" y="1566"/>
                </a:cubicBezTo>
                <a:cubicBezTo>
                  <a:pt x="1321" y="1566"/>
                  <a:pt x="1321" y="1566"/>
                  <a:pt x="1321" y="1493"/>
                </a:cubicBezTo>
                <a:close/>
                <a:moveTo>
                  <a:pt x="1369" y="1493"/>
                </a:moveTo>
                <a:cubicBezTo>
                  <a:pt x="1369" y="1493"/>
                  <a:pt x="1369" y="1493"/>
                  <a:pt x="1369" y="1493"/>
                </a:cubicBezTo>
                <a:cubicBezTo>
                  <a:pt x="1364" y="1493"/>
                  <a:pt x="1364" y="1493"/>
                  <a:pt x="1364" y="1493"/>
                </a:cubicBezTo>
                <a:cubicBezTo>
                  <a:pt x="1362" y="1494"/>
                  <a:pt x="1360" y="1496"/>
                  <a:pt x="1358" y="1496"/>
                </a:cubicBezTo>
                <a:cubicBezTo>
                  <a:pt x="1356" y="1498"/>
                  <a:pt x="1354" y="1498"/>
                  <a:pt x="1353" y="1499"/>
                </a:cubicBezTo>
                <a:cubicBezTo>
                  <a:pt x="1351" y="1501"/>
                  <a:pt x="1349" y="1501"/>
                  <a:pt x="1348" y="1502"/>
                </a:cubicBezTo>
                <a:cubicBezTo>
                  <a:pt x="1346" y="1503"/>
                  <a:pt x="1344" y="1504"/>
                  <a:pt x="1342" y="1504"/>
                </a:cubicBezTo>
                <a:cubicBezTo>
                  <a:pt x="1342" y="1504"/>
                  <a:pt x="1342" y="1504"/>
                  <a:pt x="1342" y="1514"/>
                </a:cubicBezTo>
                <a:cubicBezTo>
                  <a:pt x="1345" y="1513"/>
                  <a:pt x="1348" y="1512"/>
                  <a:pt x="1350" y="1511"/>
                </a:cubicBezTo>
                <a:cubicBezTo>
                  <a:pt x="1353" y="1510"/>
                  <a:pt x="1355" y="1509"/>
                  <a:pt x="1357" y="1507"/>
                </a:cubicBezTo>
                <a:cubicBezTo>
                  <a:pt x="1357" y="1507"/>
                  <a:pt x="1357" y="1507"/>
                  <a:pt x="1357" y="1566"/>
                </a:cubicBezTo>
                <a:cubicBezTo>
                  <a:pt x="1357" y="1566"/>
                  <a:pt x="1357" y="1566"/>
                  <a:pt x="1369" y="1566"/>
                </a:cubicBezTo>
                <a:cubicBezTo>
                  <a:pt x="1369" y="1566"/>
                  <a:pt x="1369" y="1566"/>
                  <a:pt x="1369" y="1493"/>
                </a:cubicBezTo>
                <a:close/>
                <a:moveTo>
                  <a:pt x="1416" y="1493"/>
                </a:moveTo>
                <a:cubicBezTo>
                  <a:pt x="1416" y="1493"/>
                  <a:pt x="1416" y="1493"/>
                  <a:pt x="1416" y="1493"/>
                </a:cubicBezTo>
                <a:cubicBezTo>
                  <a:pt x="1411" y="1493"/>
                  <a:pt x="1411" y="1493"/>
                  <a:pt x="1411" y="1493"/>
                </a:cubicBezTo>
                <a:cubicBezTo>
                  <a:pt x="1410" y="1494"/>
                  <a:pt x="1408" y="1496"/>
                  <a:pt x="1406" y="1496"/>
                </a:cubicBezTo>
                <a:cubicBezTo>
                  <a:pt x="1404" y="1498"/>
                  <a:pt x="1403" y="1498"/>
                  <a:pt x="1400" y="1499"/>
                </a:cubicBezTo>
                <a:cubicBezTo>
                  <a:pt x="1399" y="1501"/>
                  <a:pt x="1397" y="1501"/>
                  <a:pt x="1395" y="1502"/>
                </a:cubicBezTo>
                <a:cubicBezTo>
                  <a:pt x="1393" y="1503"/>
                  <a:pt x="1392" y="1504"/>
                  <a:pt x="1389" y="1504"/>
                </a:cubicBezTo>
                <a:cubicBezTo>
                  <a:pt x="1389" y="1504"/>
                  <a:pt x="1389" y="1504"/>
                  <a:pt x="1389" y="1514"/>
                </a:cubicBezTo>
                <a:cubicBezTo>
                  <a:pt x="1392" y="1513"/>
                  <a:pt x="1395" y="1512"/>
                  <a:pt x="1398" y="1511"/>
                </a:cubicBezTo>
                <a:cubicBezTo>
                  <a:pt x="1400" y="1510"/>
                  <a:pt x="1403" y="1509"/>
                  <a:pt x="1405" y="1507"/>
                </a:cubicBezTo>
                <a:cubicBezTo>
                  <a:pt x="1405" y="1507"/>
                  <a:pt x="1405" y="1507"/>
                  <a:pt x="1405" y="1566"/>
                </a:cubicBezTo>
                <a:cubicBezTo>
                  <a:pt x="1405" y="1566"/>
                  <a:pt x="1405" y="1566"/>
                  <a:pt x="1416" y="1566"/>
                </a:cubicBezTo>
                <a:cubicBezTo>
                  <a:pt x="1416" y="1566"/>
                  <a:pt x="1416" y="1566"/>
                  <a:pt x="1416" y="1493"/>
                </a:cubicBezTo>
                <a:close/>
                <a:moveTo>
                  <a:pt x="1463" y="1493"/>
                </a:moveTo>
                <a:cubicBezTo>
                  <a:pt x="1463" y="1493"/>
                  <a:pt x="1463" y="1493"/>
                  <a:pt x="1463" y="1493"/>
                </a:cubicBezTo>
                <a:cubicBezTo>
                  <a:pt x="1459" y="1493"/>
                  <a:pt x="1459" y="1493"/>
                  <a:pt x="1459" y="1493"/>
                </a:cubicBezTo>
                <a:cubicBezTo>
                  <a:pt x="1456" y="1494"/>
                  <a:pt x="1455" y="1496"/>
                  <a:pt x="1453" y="1496"/>
                </a:cubicBezTo>
                <a:cubicBezTo>
                  <a:pt x="1451" y="1498"/>
                  <a:pt x="1449" y="1498"/>
                  <a:pt x="1448" y="1499"/>
                </a:cubicBezTo>
                <a:cubicBezTo>
                  <a:pt x="1446" y="1500"/>
                  <a:pt x="1444" y="1501"/>
                  <a:pt x="1442" y="1501"/>
                </a:cubicBezTo>
                <a:cubicBezTo>
                  <a:pt x="1441" y="1502"/>
                  <a:pt x="1438" y="1503"/>
                  <a:pt x="1437" y="1504"/>
                </a:cubicBezTo>
                <a:cubicBezTo>
                  <a:pt x="1437" y="1504"/>
                  <a:pt x="1437" y="1504"/>
                  <a:pt x="1437" y="1514"/>
                </a:cubicBezTo>
                <a:cubicBezTo>
                  <a:pt x="1440" y="1513"/>
                  <a:pt x="1443" y="1512"/>
                  <a:pt x="1445" y="1511"/>
                </a:cubicBezTo>
                <a:cubicBezTo>
                  <a:pt x="1447" y="1510"/>
                  <a:pt x="1450" y="1509"/>
                  <a:pt x="1451" y="1507"/>
                </a:cubicBezTo>
                <a:cubicBezTo>
                  <a:pt x="1451" y="1507"/>
                  <a:pt x="1451" y="1507"/>
                  <a:pt x="1451" y="1566"/>
                </a:cubicBezTo>
                <a:cubicBezTo>
                  <a:pt x="1451" y="1566"/>
                  <a:pt x="1451" y="1566"/>
                  <a:pt x="1463" y="1566"/>
                </a:cubicBezTo>
                <a:cubicBezTo>
                  <a:pt x="1463" y="1566"/>
                  <a:pt x="1463" y="1566"/>
                  <a:pt x="1463" y="1493"/>
                </a:cubicBezTo>
                <a:close/>
                <a:moveTo>
                  <a:pt x="1219" y="1525"/>
                </a:moveTo>
                <a:cubicBezTo>
                  <a:pt x="1219" y="1525"/>
                  <a:pt x="1219" y="1525"/>
                  <a:pt x="1219" y="1525"/>
                </a:cubicBezTo>
                <a:cubicBezTo>
                  <a:pt x="1219" y="1533"/>
                  <a:pt x="1219" y="1533"/>
                  <a:pt x="1219" y="1533"/>
                </a:cubicBezTo>
                <a:cubicBezTo>
                  <a:pt x="1225" y="1534"/>
                  <a:pt x="1226" y="1537"/>
                  <a:pt x="1226" y="1539"/>
                </a:cubicBezTo>
                <a:cubicBezTo>
                  <a:pt x="1226" y="1541"/>
                  <a:pt x="1225" y="1544"/>
                  <a:pt x="1225" y="1546"/>
                </a:cubicBezTo>
                <a:cubicBezTo>
                  <a:pt x="1225" y="1549"/>
                  <a:pt x="1225" y="1551"/>
                  <a:pt x="1225" y="1553"/>
                </a:cubicBezTo>
                <a:cubicBezTo>
                  <a:pt x="1225" y="1563"/>
                  <a:pt x="1231" y="1566"/>
                  <a:pt x="1239" y="1566"/>
                </a:cubicBezTo>
                <a:cubicBezTo>
                  <a:pt x="1239" y="1566"/>
                  <a:pt x="1239" y="1566"/>
                  <a:pt x="1243" y="1566"/>
                </a:cubicBezTo>
                <a:cubicBezTo>
                  <a:pt x="1243" y="1566"/>
                  <a:pt x="1243" y="1566"/>
                  <a:pt x="1243" y="1557"/>
                </a:cubicBezTo>
                <a:cubicBezTo>
                  <a:pt x="1243" y="1557"/>
                  <a:pt x="1243" y="1557"/>
                  <a:pt x="1242" y="1557"/>
                </a:cubicBezTo>
                <a:cubicBezTo>
                  <a:pt x="1238" y="1557"/>
                  <a:pt x="1237" y="1555"/>
                  <a:pt x="1237" y="1551"/>
                </a:cubicBezTo>
                <a:cubicBezTo>
                  <a:pt x="1237" y="1550"/>
                  <a:pt x="1237" y="1548"/>
                  <a:pt x="1237" y="1546"/>
                </a:cubicBezTo>
                <a:cubicBezTo>
                  <a:pt x="1237" y="1545"/>
                  <a:pt x="1237" y="1543"/>
                  <a:pt x="1237" y="1540"/>
                </a:cubicBezTo>
                <a:cubicBezTo>
                  <a:pt x="1237" y="1533"/>
                  <a:pt x="1234" y="1530"/>
                  <a:pt x="1229" y="1529"/>
                </a:cubicBezTo>
                <a:cubicBezTo>
                  <a:pt x="1229" y="1529"/>
                  <a:pt x="1229" y="1529"/>
                  <a:pt x="1229" y="1529"/>
                </a:cubicBezTo>
                <a:cubicBezTo>
                  <a:pt x="1234" y="1528"/>
                  <a:pt x="1237" y="1525"/>
                  <a:pt x="1237" y="1518"/>
                </a:cubicBezTo>
                <a:cubicBezTo>
                  <a:pt x="1237" y="1515"/>
                  <a:pt x="1237" y="1513"/>
                  <a:pt x="1237" y="1512"/>
                </a:cubicBezTo>
                <a:cubicBezTo>
                  <a:pt x="1237" y="1510"/>
                  <a:pt x="1237" y="1508"/>
                  <a:pt x="1237" y="1507"/>
                </a:cubicBezTo>
                <a:cubicBezTo>
                  <a:pt x="1237" y="1503"/>
                  <a:pt x="1238" y="1501"/>
                  <a:pt x="1242" y="1501"/>
                </a:cubicBezTo>
                <a:cubicBezTo>
                  <a:pt x="1242" y="1501"/>
                  <a:pt x="1242" y="1501"/>
                  <a:pt x="1243" y="1501"/>
                </a:cubicBezTo>
                <a:cubicBezTo>
                  <a:pt x="1243" y="1501"/>
                  <a:pt x="1243" y="1501"/>
                  <a:pt x="1243" y="1492"/>
                </a:cubicBezTo>
                <a:cubicBezTo>
                  <a:pt x="1243" y="1492"/>
                  <a:pt x="1243" y="1492"/>
                  <a:pt x="1239" y="1492"/>
                </a:cubicBezTo>
                <a:cubicBezTo>
                  <a:pt x="1230" y="1492"/>
                  <a:pt x="1225" y="1496"/>
                  <a:pt x="1225" y="1504"/>
                </a:cubicBezTo>
                <a:cubicBezTo>
                  <a:pt x="1225" y="1507"/>
                  <a:pt x="1225" y="1509"/>
                  <a:pt x="1225" y="1512"/>
                </a:cubicBezTo>
                <a:cubicBezTo>
                  <a:pt x="1225" y="1514"/>
                  <a:pt x="1226" y="1517"/>
                  <a:pt x="1226" y="1519"/>
                </a:cubicBezTo>
                <a:cubicBezTo>
                  <a:pt x="1226" y="1521"/>
                  <a:pt x="1225" y="1525"/>
                  <a:pt x="1219" y="1525"/>
                </a:cubicBezTo>
                <a:close/>
                <a:moveTo>
                  <a:pt x="1274" y="1533"/>
                </a:moveTo>
                <a:cubicBezTo>
                  <a:pt x="1274" y="1533"/>
                  <a:pt x="1274" y="1533"/>
                  <a:pt x="1274" y="1533"/>
                </a:cubicBezTo>
                <a:cubicBezTo>
                  <a:pt x="1274" y="1525"/>
                  <a:pt x="1274" y="1525"/>
                  <a:pt x="1274" y="1525"/>
                </a:cubicBezTo>
                <a:cubicBezTo>
                  <a:pt x="1267" y="1525"/>
                  <a:pt x="1267" y="1521"/>
                  <a:pt x="1267" y="1519"/>
                </a:cubicBezTo>
                <a:cubicBezTo>
                  <a:pt x="1267" y="1517"/>
                  <a:pt x="1267" y="1514"/>
                  <a:pt x="1267" y="1512"/>
                </a:cubicBezTo>
                <a:cubicBezTo>
                  <a:pt x="1268" y="1509"/>
                  <a:pt x="1268" y="1507"/>
                  <a:pt x="1268" y="1504"/>
                </a:cubicBezTo>
                <a:cubicBezTo>
                  <a:pt x="1268" y="1496"/>
                  <a:pt x="1263" y="1492"/>
                  <a:pt x="1253" y="1492"/>
                </a:cubicBezTo>
                <a:cubicBezTo>
                  <a:pt x="1253" y="1492"/>
                  <a:pt x="1253" y="1492"/>
                  <a:pt x="1250" y="1492"/>
                </a:cubicBezTo>
                <a:cubicBezTo>
                  <a:pt x="1250" y="1492"/>
                  <a:pt x="1250" y="1492"/>
                  <a:pt x="1250" y="1501"/>
                </a:cubicBezTo>
                <a:cubicBezTo>
                  <a:pt x="1250" y="1501"/>
                  <a:pt x="1250" y="1501"/>
                  <a:pt x="1251" y="1501"/>
                </a:cubicBezTo>
                <a:cubicBezTo>
                  <a:pt x="1255" y="1501"/>
                  <a:pt x="1256" y="1503"/>
                  <a:pt x="1256" y="1507"/>
                </a:cubicBezTo>
                <a:cubicBezTo>
                  <a:pt x="1256" y="1508"/>
                  <a:pt x="1256" y="1510"/>
                  <a:pt x="1256" y="1512"/>
                </a:cubicBezTo>
                <a:cubicBezTo>
                  <a:pt x="1256" y="1513"/>
                  <a:pt x="1256" y="1515"/>
                  <a:pt x="1256" y="1518"/>
                </a:cubicBezTo>
                <a:cubicBezTo>
                  <a:pt x="1256" y="1525"/>
                  <a:pt x="1258" y="1528"/>
                  <a:pt x="1264" y="1529"/>
                </a:cubicBezTo>
                <a:cubicBezTo>
                  <a:pt x="1264" y="1529"/>
                  <a:pt x="1264" y="1529"/>
                  <a:pt x="1264" y="1529"/>
                </a:cubicBezTo>
                <a:cubicBezTo>
                  <a:pt x="1258" y="1530"/>
                  <a:pt x="1256" y="1533"/>
                  <a:pt x="1256" y="1540"/>
                </a:cubicBezTo>
                <a:cubicBezTo>
                  <a:pt x="1256" y="1543"/>
                  <a:pt x="1256" y="1545"/>
                  <a:pt x="1256" y="1546"/>
                </a:cubicBezTo>
                <a:cubicBezTo>
                  <a:pt x="1256" y="1548"/>
                  <a:pt x="1256" y="1550"/>
                  <a:pt x="1256" y="1551"/>
                </a:cubicBezTo>
                <a:cubicBezTo>
                  <a:pt x="1256" y="1555"/>
                  <a:pt x="1255" y="1557"/>
                  <a:pt x="1251" y="1557"/>
                </a:cubicBezTo>
                <a:cubicBezTo>
                  <a:pt x="1251" y="1557"/>
                  <a:pt x="1251" y="1557"/>
                  <a:pt x="1250" y="1557"/>
                </a:cubicBezTo>
                <a:cubicBezTo>
                  <a:pt x="1250" y="1557"/>
                  <a:pt x="1250" y="1557"/>
                  <a:pt x="1250" y="1566"/>
                </a:cubicBezTo>
                <a:cubicBezTo>
                  <a:pt x="1250" y="1566"/>
                  <a:pt x="1250" y="1566"/>
                  <a:pt x="1253" y="1566"/>
                </a:cubicBezTo>
                <a:cubicBezTo>
                  <a:pt x="1262" y="1566"/>
                  <a:pt x="1268" y="1563"/>
                  <a:pt x="1268" y="1553"/>
                </a:cubicBezTo>
                <a:cubicBezTo>
                  <a:pt x="1268" y="1551"/>
                  <a:pt x="1268" y="1549"/>
                  <a:pt x="1267" y="1546"/>
                </a:cubicBezTo>
                <a:cubicBezTo>
                  <a:pt x="1267" y="1544"/>
                  <a:pt x="1267" y="1541"/>
                  <a:pt x="1267" y="1539"/>
                </a:cubicBezTo>
                <a:cubicBezTo>
                  <a:pt x="1267" y="1537"/>
                  <a:pt x="1267" y="1534"/>
                  <a:pt x="1274" y="1533"/>
                </a:cubicBezTo>
                <a:close/>
                <a:moveTo>
                  <a:pt x="1601" y="1525"/>
                </a:moveTo>
                <a:cubicBezTo>
                  <a:pt x="1601" y="1525"/>
                  <a:pt x="1601" y="1525"/>
                  <a:pt x="1601" y="1525"/>
                </a:cubicBezTo>
                <a:cubicBezTo>
                  <a:pt x="1601" y="1533"/>
                  <a:pt x="1601" y="1533"/>
                  <a:pt x="1601" y="1533"/>
                </a:cubicBezTo>
                <a:cubicBezTo>
                  <a:pt x="1607" y="1534"/>
                  <a:pt x="1608" y="1537"/>
                  <a:pt x="1608" y="1539"/>
                </a:cubicBezTo>
                <a:cubicBezTo>
                  <a:pt x="1608" y="1541"/>
                  <a:pt x="1607" y="1544"/>
                  <a:pt x="1607" y="1546"/>
                </a:cubicBezTo>
                <a:cubicBezTo>
                  <a:pt x="1607" y="1549"/>
                  <a:pt x="1607" y="1551"/>
                  <a:pt x="1607" y="1553"/>
                </a:cubicBezTo>
                <a:cubicBezTo>
                  <a:pt x="1607" y="1563"/>
                  <a:pt x="1613" y="1566"/>
                  <a:pt x="1621" y="1566"/>
                </a:cubicBezTo>
                <a:cubicBezTo>
                  <a:pt x="1621" y="1566"/>
                  <a:pt x="1621" y="1566"/>
                  <a:pt x="1625" y="1566"/>
                </a:cubicBezTo>
                <a:cubicBezTo>
                  <a:pt x="1625" y="1566"/>
                  <a:pt x="1625" y="1566"/>
                  <a:pt x="1625" y="1557"/>
                </a:cubicBezTo>
                <a:cubicBezTo>
                  <a:pt x="1625" y="1557"/>
                  <a:pt x="1625" y="1557"/>
                  <a:pt x="1624" y="1557"/>
                </a:cubicBezTo>
                <a:cubicBezTo>
                  <a:pt x="1620" y="1557"/>
                  <a:pt x="1619" y="1555"/>
                  <a:pt x="1619" y="1551"/>
                </a:cubicBezTo>
                <a:cubicBezTo>
                  <a:pt x="1619" y="1550"/>
                  <a:pt x="1619" y="1548"/>
                  <a:pt x="1619" y="1546"/>
                </a:cubicBezTo>
                <a:cubicBezTo>
                  <a:pt x="1619" y="1545"/>
                  <a:pt x="1619" y="1543"/>
                  <a:pt x="1619" y="1540"/>
                </a:cubicBezTo>
                <a:cubicBezTo>
                  <a:pt x="1619" y="1533"/>
                  <a:pt x="1616" y="1530"/>
                  <a:pt x="1611" y="1529"/>
                </a:cubicBezTo>
                <a:cubicBezTo>
                  <a:pt x="1611" y="1529"/>
                  <a:pt x="1611" y="1529"/>
                  <a:pt x="1611" y="1529"/>
                </a:cubicBezTo>
                <a:cubicBezTo>
                  <a:pt x="1616" y="1528"/>
                  <a:pt x="1619" y="1525"/>
                  <a:pt x="1619" y="1518"/>
                </a:cubicBezTo>
                <a:cubicBezTo>
                  <a:pt x="1619" y="1515"/>
                  <a:pt x="1619" y="1513"/>
                  <a:pt x="1619" y="1512"/>
                </a:cubicBezTo>
                <a:cubicBezTo>
                  <a:pt x="1619" y="1510"/>
                  <a:pt x="1619" y="1508"/>
                  <a:pt x="1619" y="1507"/>
                </a:cubicBezTo>
                <a:cubicBezTo>
                  <a:pt x="1619" y="1503"/>
                  <a:pt x="1620" y="1501"/>
                  <a:pt x="1624" y="1501"/>
                </a:cubicBezTo>
                <a:cubicBezTo>
                  <a:pt x="1624" y="1501"/>
                  <a:pt x="1624" y="1501"/>
                  <a:pt x="1625" y="1501"/>
                </a:cubicBezTo>
                <a:cubicBezTo>
                  <a:pt x="1625" y="1501"/>
                  <a:pt x="1625" y="1501"/>
                  <a:pt x="1625" y="1492"/>
                </a:cubicBezTo>
                <a:cubicBezTo>
                  <a:pt x="1625" y="1492"/>
                  <a:pt x="1625" y="1492"/>
                  <a:pt x="1621" y="1492"/>
                </a:cubicBezTo>
                <a:cubicBezTo>
                  <a:pt x="1612" y="1492"/>
                  <a:pt x="1607" y="1496"/>
                  <a:pt x="1607" y="1504"/>
                </a:cubicBezTo>
                <a:cubicBezTo>
                  <a:pt x="1607" y="1507"/>
                  <a:pt x="1607" y="1509"/>
                  <a:pt x="1607" y="1512"/>
                </a:cubicBezTo>
                <a:cubicBezTo>
                  <a:pt x="1607" y="1514"/>
                  <a:pt x="1608" y="1517"/>
                  <a:pt x="1608" y="1519"/>
                </a:cubicBezTo>
                <a:cubicBezTo>
                  <a:pt x="1608" y="1521"/>
                  <a:pt x="1607" y="1525"/>
                  <a:pt x="1601" y="1525"/>
                </a:cubicBezTo>
                <a:close/>
                <a:moveTo>
                  <a:pt x="1656" y="1533"/>
                </a:moveTo>
                <a:cubicBezTo>
                  <a:pt x="1656" y="1533"/>
                  <a:pt x="1656" y="1533"/>
                  <a:pt x="1656" y="1533"/>
                </a:cubicBezTo>
                <a:cubicBezTo>
                  <a:pt x="1656" y="1525"/>
                  <a:pt x="1656" y="1525"/>
                  <a:pt x="1656" y="1525"/>
                </a:cubicBezTo>
                <a:cubicBezTo>
                  <a:pt x="1650" y="1525"/>
                  <a:pt x="1649" y="1521"/>
                  <a:pt x="1649" y="1519"/>
                </a:cubicBezTo>
                <a:cubicBezTo>
                  <a:pt x="1649" y="1517"/>
                  <a:pt x="1649" y="1514"/>
                  <a:pt x="1650" y="1512"/>
                </a:cubicBezTo>
                <a:cubicBezTo>
                  <a:pt x="1650" y="1509"/>
                  <a:pt x="1650" y="1507"/>
                  <a:pt x="1650" y="1504"/>
                </a:cubicBezTo>
                <a:cubicBezTo>
                  <a:pt x="1650" y="1496"/>
                  <a:pt x="1645" y="1492"/>
                  <a:pt x="1636" y="1492"/>
                </a:cubicBezTo>
                <a:cubicBezTo>
                  <a:pt x="1636" y="1492"/>
                  <a:pt x="1636" y="1492"/>
                  <a:pt x="1632" y="1492"/>
                </a:cubicBezTo>
                <a:cubicBezTo>
                  <a:pt x="1632" y="1492"/>
                  <a:pt x="1632" y="1492"/>
                  <a:pt x="1632" y="1501"/>
                </a:cubicBezTo>
                <a:cubicBezTo>
                  <a:pt x="1632" y="1501"/>
                  <a:pt x="1632" y="1501"/>
                  <a:pt x="1633" y="1501"/>
                </a:cubicBezTo>
                <a:cubicBezTo>
                  <a:pt x="1637" y="1501"/>
                  <a:pt x="1638" y="1503"/>
                  <a:pt x="1638" y="1507"/>
                </a:cubicBezTo>
                <a:cubicBezTo>
                  <a:pt x="1638" y="1508"/>
                  <a:pt x="1638" y="1510"/>
                  <a:pt x="1638" y="1512"/>
                </a:cubicBezTo>
                <a:cubicBezTo>
                  <a:pt x="1638" y="1513"/>
                  <a:pt x="1638" y="1515"/>
                  <a:pt x="1638" y="1518"/>
                </a:cubicBezTo>
                <a:cubicBezTo>
                  <a:pt x="1638" y="1525"/>
                  <a:pt x="1640" y="1528"/>
                  <a:pt x="1646" y="1529"/>
                </a:cubicBezTo>
                <a:cubicBezTo>
                  <a:pt x="1646" y="1529"/>
                  <a:pt x="1646" y="1529"/>
                  <a:pt x="1646" y="1529"/>
                </a:cubicBezTo>
                <a:cubicBezTo>
                  <a:pt x="1640" y="1530"/>
                  <a:pt x="1638" y="1533"/>
                  <a:pt x="1638" y="1540"/>
                </a:cubicBezTo>
                <a:cubicBezTo>
                  <a:pt x="1638" y="1543"/>
                  <a:pt x="1638" y="1545"/>
                  <a:pt x="1638" y="1546"/>
                </a:cubicBezTo>
                <a:cubicBezTo>
                  <a:pt x="1638" y="1548"/>
                  <a:pt x="1638" y="1550"/>
                  <a:pt x="1638" y="1551"/>
                </a:cubicBezTo>
                <a:cubicBezTo>
                  <a:pt x="1638" y="1555"/>
                  <a:pt x="1637" y="1557"/>
                  <a:pt x="1633" y="1557"/>
                </a:cubicBezTo>
                <a:cubicBezTo>
                  <a:pt x="1633" y="1557"/>
                  <a:pt x="1633" y="1557"/>
                  <a:pt x="1632" y="1557"/>
                </a:cubicBezTo>
                <a:cubicBezTo>
                  <a:pt x="1632" y="1557"/>
                  <a:pt x="1632" y="1557"/>
                  <a:pt x="1632" y="1566"/>
                </a:cubicBezTo>
                <a:cubicBezTo>
                  <a:pt x="1632" y="1566"/>
                  <a:pt x="1632" y="1566"/>
                  <a:pt x="1636" y="1566"/>
                </a:cubicBezTo>
                <a:cubicBezTo>
                  <a:pt x="1644" y="1566"/>
                  <a:pt x="1650" y="1563"/>
                  <a:pt x="1650" y="1553"/>
                </a:cubicBezTo>
                <a:cubicBezTo>
                  <a:pt x="1650" y="1551"/>
                  <a:pt x="1650" y="1549"/>
                  <a:pt x="1650" y="1546"/>
                </a:cubicBezTo>
                <a:cubicBezTo>
                  <a:pt x="1649" y="1544"/>
                  <a:pt x="1649" y="1541"/>
                  <a:pt x="1649" y="1539"/>
                </a:cubicBezTo>
                <a:cubicBezTo>
                  <a:pt x="1649" y="1537"/>
                  <a:pt x="1650" y="1534"/>
                  <a:pt x="1656" y="1533"/>
                </a:cubicBezTo>
                <a:close/>
                <a:moveTo>
                  <a:pt x="1703" y="1493"/>
                </a:moveTo>
                <a:cubicBezTo>
                  <a:pt x="1703" y="1493"/>
                  <a:pt x="1703" y="1493"/>
                  <a:pt x="1703" y="1493"/>
                </a:cubicBezTo>
                <a:cubicBezTo>
                  <a:pt x="1698" y="1493"/>
                  <a:pt x="1698" y="1493"/>
                  <a:pt x="1698" y="1493"/>
                </a:cubicBezTo>
                <a:cubicBezTo>
                  <a:pt x="1696" y="1494"/>
                  <a:pt x="1695" y="1496"/>
                  <a:pt x="1692" y="1496"/>
                </a:cubicBezTo>
                <a:cubicBezTo>
                  <a:pt x="1691" y="1498"/>
                  <a:pt x="1689" y="1498"/>
                  <a:pt x="1687" y="1499"/>
                </a:cubicBezTo>
                <a:cubicBezTo>
                  <a:pt x="1685" y="1500"/>
                  <a:pt x="1684" y="1501"/>
                  <a:pt x="1682" y="1501"/>
                </a:cubicBezTo>
                <a:cubicBezTo>
                  <a:pt x="1680" y="1502"/>
                  <a:pt x="1679" y="1503"/>
                  <a:pt x="1676" y="1504"/>
                </a:cubicBezTo>
                <a:cubicBezTo>
                  <a:pt x="1676" y="1504"/>
                  <a:pt x="1676" y="1504"/>
                  <a:pt x="1676" y="1514"/>
                </a:cubicBezTo>
                <a:cubicBezTo>
                  <a:pt x="1679" y="1513"/>
                  <a:pt x="1682" y="1512"/>
                  <a:pt x="1684" y="1511"/>
                </a:cubicBezTo>
                <a:cubicBezTo>
                  <a:pt x="1687" y="1510"/>
                  <a:pt x="1690" y="1509"/>
                  <a:pt x="1692" y="1507"/>
                </a:cubicBezTo>
                <a:cubicBezTo>
                  <a:pt x="1692" y="1507"/>
                  <a:pt x="1692" y="1507"/>
                  <a:pt x="1692" y="1566"/>
                </a:cubicBezTo>
                <a:cubicBezTo>
                  <a:pt x="1692" y="1566"/>
                  <a:pt x="1692" y="1566"/>
                  <a:pt x="1703" y="1566"/>
                </a:cubicBezTo>
                <a:cubicBezTo>
                  <a:pt x="1703" y="1566"/>
                  <a:pt x="1703" y="1566"/>
                  <a:pt x="1703" y="1493"/>
                </a:cubicBezTo>
                <a:close/>
                <a:moveTo>
                  <a:pt x="1750" y="1493"/>
                </a:moveTo>
                <a:cubicBezTo>
                  <a:pt x="1750" y="1493"/>
                  <a:pt x="1750" y="1493"/>
                  <a:pt x="1750" y="1493"/>
                </a:cubicBezTo>
                <a:cubicBezTo>
                  <a:pt x="1745" y="1493"/>
                  <a:pt x="1745" y="1493"/>
                  <a:pt x="1745" y="1493"/>
                </a:cubicBezTo>
                <a:cubicBezTo>
                  <a:pt x="1743" y="1494"/>
                  <a:pt x="1742" y="1496"/>
                  <a:pt x="1740" y="1496"/>
                </a:cubicBezTo>
                <a:cubicBezTo>
                  <a:pt x="1738" y="1498"/>
                  <a:pt x="1736" y="1498"/>
                  <a:pt x="1735" y="1499"/>
                </a:cubicBezTo>
                <a:cubicBezTo>
                  <a:pt x="1733" y="1501"/>
                  <a:pt x="1731" y="1501"/>
                  <a:pt x="1730" y="1502"/>
                </a:cubicBezTo>
                <a:cubicBezTo>
                  <a:pt x="1728" y="1503"/>
                  <a:pt x="1726" y="1504"/>
                  <a:pt x="1724" y="1504"/>
                </a:cubicBezTo>
                <a:cubicBezTo>
                  <a:pt x="1724" y="1504"/>
                  <a:pt x="1724" y="1504"/>
                  <a:pt x="1724" y="1514"/>
                </a:cubicBezTo>
                <a:cubicBezTo>
                  <a:pt x="1727" y="1513"/>
                  <a:pt x="1730" y="1512"/>
                  <a:pt x="1732" y="1511"/>
                </a:cubicBezTo>
                <a:cubicBezTo>
                  <a:pt x="1735" y="1510"/>
                  <a:pt x="1737" y="1509"/>
                  <a:pt x="1739" y="1507"/>
                </a:cubicBezTo>
                <a:cubicBezTo>
                  <a:pt x="1739" y="1507"/>
                  <a:pt x="1739" y="1507"/>
                  <a:pt x="1739" y="1566"/>
                </a:cubicBezTo>
                <a:cubicBezTo>
                  <a:pt x="1739" y="1566"/>
                  <a:pt x="1739" y="1566"/>
                  <a:pt x="1750" y="1566"/>
                </a:cubicBezTo>
                <a:cubicBezTo>
                  <a:pt x="1750" y="1566"/>
                  <a:pt x="1750" y="1566"/>
                  <a:pt x="1750" y="1493"/>
                </a:cubicBezTo>
                <a:close/>
                <a:moveTo>
                  <a:pt x="1797" y="1493"/>
                </a:moveTo>
                <a:cubicBezTo>
                  <a:pt x="1797" y="1493"/>
                  <a:pt x="1797" y="1493"/>
                  <a:pt x="1797" y="1493"/>
                </a:cubicBezTo>
                <a:cubicBezTo>
                  <a:pt x="1793" y="1493"/>
                  <a:pt x="1793" y="1493"/>
                  <a:pt x="1793" y="1493"/>
                </a:cubicBezTo>
                <a:cubicBezTo>
                  <a:pt x="1790" y="1494"/>
                  <a:pt x="1789" y="1496"/>
                  <a:pt x="1787" y="1496"/>
                </a:cubicBezTo>
                <a:cubicBezTo>
                  <a:pt x="1785" y="1498"/>
                  <a:pt x="1783" y="1498"/>
                  <a:pt x="1782" y="1499"/>
                </a:cubicBezTo>
                <a:cubicBezTo>
                  <a:pt x="1780" y="1501"/>
                  <a:pt x="1778" y="1501"/>
                  <a:pt x="1776" y="1502"/>
                </a:cubicBezTo>
                <a:cubicBezTo>
                  <a:pt x="1775" y="1503"/>
                  <a:pt x="1772" y="1504"/>
                  <a:pt x="1771" y="1504"/>
                </a:cubicBezTo>
                <a:cubicBezTo>
                  <a:pt x="1771" y="1504"/>
                  <a:pt x="1771" y="1504"/>
                  <a:pt x="1771" y="1514"/>
                </a:cubicBezTo>
                <a:cubicBezTo>
                  <a:pt x="1774" y="1513"/>
                  <a:pt x="1777" y="1512"/>
                  <a:pt x="1779" y="1511"/>
                </a:cubicBezTo>
                <a:cubicBezTo>
                  <a:pt x="1781" y="1510"/>
                  <a:pt x="1784" y="1509"/>
                  <a:pt x="1785" y="1507"/>
                </a:cubicBezTo>
                <a:cubicBezTo>
                  <a:pt x="1785" y="1507"/>
                  <a:pt x="1785" y="1507"/>
                  <a:pt x="1785" y="1566"/>
                </a:cubicBezTo>
                <a:cubicBezTo>
                  <a:pt x="1785" y="1566"/>
                  <a:pt x="1785" y="1566"/>
                  <a:pt x="1797" y="1566"/>
                </a:cubicBezTo>
                <a:cubicBezTo>
                  <a:pt x="1797" y="1566"/>
                  <a:pt x="1797" y="1566"/>
                  <a:pt x="1797" y="1493"/>
                </a:cubicBezTo>
                <a:close/>
                <a:moveTo>
                  <a:pt x="1920" y="1493"/>
                </a:moveTo>
                <a:cubicBezTo>
                  <a:pt x="1920" y="1493"/>
                  <a:pt x="1920" y="1493"/>
                  <a:pt x="1920" y="1493"/>
                </a:cubicBezTo>
                <a:cubicBezTo>
                  <a:pt x="1915" y="1493"/>
                  <a:pt x="1915" y="1493"/>
                  <a:pt x="1915" y="1493"/>
                </a:cubicBezTo>
                <a:cubicBezTo>
                  <a:pt x="1913" y="1494"/>
                  <a:pt x="1911" y="1496"/>
                  <a:pt x="1909" y="1496"/>
                </a:cubicBezTo>
                <a:cubicBezTo>
                  <a:pt x="1908" y="1498"/>
                  <a:pt x="1906" y="1498"/>
                  <a:pt x="1904" y="1499"/>
                </a:cubicBezTo>
                <a:cubicBezTo>
                  <a:pt x="1903" y="1501"/>
                  <a:pt x="1900" y="1501"/>
                  <a:pt x="1899" y="1502"/>
                </a:cubicBezTo>
                <a:cubicBezTo>
                  <a:pt x="1897" y="1503"/>
                  <a:pt x="1895" y="1504"/>
                  <a:pt x="1893" y="1504"/>
                </a:cubicBezTo>
                <a:cubicBezTo>
                  <a:pt x="1893" y="1504"/>
                  <a:pt x="1893" y="1504"/>
                  <a:pt x="1893" y="1514"/>
                </a:cubicBezTo>
                <a:cubicBezTo>
                  <a:pt x="1896" y="1513"/>
                  <a:pt x="1899" y="1512"/>
                  <a:pt x="1902" y="1511"/>
                </a:cubicBezTo>
                <a:cubicBezTo>
                  <a:pt x="1904" y="1510"/>
                  <a:pt x="1906" y="1509"/>
                  <a:pt x="1909" y="1507"/>
                </a:cubicBezTo>
                <a:cubicBezTo>
                  <a:pt x="1909" y="1507"/>
                  <a:pt x="1909" y="1507"/>
                  <a:pt x="1909" y="1566"/>
                </a:cubicBezTo>
                <a:cubicBezTo>
                  <a:pt x="1909" y="1566"/>
                  <a:pt x="1909" y="1566"/>
                  <a:pt x="1920" y="1566"/>
                </a:cubicBezTo>
                <a:cubicBezTo>
                  <a:pt x="1920" y="1566"/>
                  <a:pt x="1920" y="1566"/>
                  <a:pt x="1920" y="1493"/>
                </a:cubicBezTo>
                <a:close/>
                <a:moveTo>
                  <a:pt x="1818" y="1525"/>
                </a:moveTo>
                <a:cubicBezTo>
                  <a:pt x="1818" y="1525"/>
                  <a:pt x="1818" y="1525"/>
                  <a:pt x="1818" y="1525"/>
                </a:cubicBezTo>
                <a:cubicBezTo>
                  <a:pt x="1818" y="1533"/>
                  <a:pt x="1818" y="1533"/>
                  <a:pt x="1818" y="1533"/>
                </a:cubicBezTo>
                <a:cubicBezTo>
                  <a:pt x="1824" y="1534"/>
                  <a:pt x="1825" y="1537"/>
                  <a:pt x="1825" y="1539"/>
                </a:cubicBezTo>
                <a:cubicBezTo>
                  <a:pt x="1825" y="1541"/>
                  <a:pt x="1824" y="1544"/>
                  <a:pt x="1824" y="1546"/>
                </a:cubicBezTo>
                <a:cubicBezTo>
                  <a:pt x="1824" y="1549"/>
                  <a:pt x="1824" y="1551"/>
                  <a:pt x="1824" y="1553"/>
                </a:cubicBezTo>
                <a:cubicBezTo>
                  <a:pt x="1824" y="1563"/>
                  <a:pt x="1829" y="1566"/>
                  <a:pt x="1838" y="1566"/>
                </a:cubicBezTo>
                <a:cubicBezTo>
                  <a:pt x="1838" y="1566"/>
                  <a:pt x="1838" y="1566"/>
                  <a:pt x="1842" y="1566"/>
                </a:cubicBezTo>
                <a:cubicBezTo>
                  <a:pt x="1842" y="1566"/>
                  <a:pt x="1842" y="1566"/>
                  <a:pt x="1842" y="1557"/>
                </a:cubicBezTo>
                <a:cubicBezTo>
                  <a:pt x="1842" y="1557"/>
                  <a:pt x="1842" y="1557"/>
                  <a:pt x="1840" y="1557"/>
                </a:cubicBezTo>
                <a:cubicBezTo>
                  <a:pt x="1836" y="1557"/>
                  <a:pt x="1835" y="1555"/>
                  <a:pt x="1835" y="1551"/>
                </a:cubicBezTo>
                <a:cubicBezTo>
                  <a:pt x="1835" y="1550"/>
                  <a:pt x="1835" y="1548"/>
                  <a:pt x="1836" y="1546"/>
                </a:cubicBezTo>
                <a:cubicBezTo>
                  <a:pt x="1836" y="1545"/>
                  <a:pt x="1836" y="1543"/>
                  <a:pt x="1836" y="1540"/>
                </a:cubicBezTo>
                <a:cubicBezTo>
                  <a:pt x="1836" y="1533"/>
                  <a:pt x="1833" y="1530"/>
                  <a:pt x="1828" y="1529"/>
                </a:cubicBezTo>
                <a:cubicBezTo>
                  <a:pt x="1828" y="1529"/>
                  <a:pt x="1828" y="1529"/>
                  <a:pt x="1828" y="1529"/>
                </a:cubicBezTo>
                <a:cubicBezTo>
                  <a:pt x="1833" y="1528"/>
                  <a:pt x="1836" y="1525"/>
                  <a:pt x="1836" y="1518"/>
                </a:cubicBezTo>
                <a:cubicBezTo>
                  <a:pt x="1836" y="1515"/>
                  <a:pt x="1836" y="1513"/>
                  <a:pt x="1836" y="1512"/>
                </a:cubicBezTo>
                <a:cubicBezTo>
                  <a:pt x="1835" y="1510"/>
                  <a:pt x="1835" y="1508"/>
                  <a:pt x="1835" y="1507"/>
                </a:cubicBezTo>
                <a:cubicBezTo>
                  <a:pt x="1835" y="1503"/>
                  <a:pt x="1836" y="1501"/>
                  <a:pt x="1840" y="1501"/>
                </a:cubicBezTo>
                <a:cubicBezTo>
                  <a:pt x="1840" y="1501"/>
                  <a:pt x="1840" y="1501"/>
                  <a:pt x="1842" y="1501"/>
                </a:cubicBezTo>
                <a:cubicBezTo>
                  <a:pt x="1842" y="1501"/>
                  <a:pt x="1842" y="1501"/>
                  <a:pt x="1842" y="1492"/>
                </a:cubicBezTo>
                <a:cubicBezTo>
                  <a:pt x="1842" y="1492"/>
                  <a:pt x="1842" y="1492"/>
                  <a:pt x="1838" y="1492"/>
                </a:cubicBezTo>
                <a:cubicBezTo>
                  <a:pt x="1829" y="1492"/>
                  <a:pt x="1824" y="1496"/>
                  <a:pt x="1824" y="1504"/>
                </a:cubicBezTo>
                <a:cubicBezTo>
                  <a:pt x="1824" y="1507"/>
                  <a:pt x="1824" y="1509"/>
                  <a:pt x="1824" y="1512"/>
                </a:cubicBezTo>
                <a:cubicBezTo>
                  <a:pt x="1824" y="1514"/>
                  <a:pt x="1825" y="1517"/>
                  <a:pt x="1825" y="1519"/>
                </a:cubicBezTo>
                <a:cubicBezTo>
                  <a:pt x="1825" y="1521"/>
                  <a:pt x="1824" y="1525"/>
                  <a:pt x="1818" y="1525"/>
                </a:cubicBezTo>
                <a:close/>
                <a:moveTo>
                  <a:pt x="1873" y="1533"/>
                </a:moveTo>
                <a:cubicBezTo>
                  <a:pt x="1873" y="1533"/>
                  <a:pt x="1873" y="1533"/>
                  <a:pt x="1873" y="1533"/>
                </a:cubicBezTo>
                <a:cubicBezTo>
                  <a:pt x="1873" y="1525"/>
                  <a:pt x="1873" y="1525"/>
                  <a:pt x="1873" y="1525"/>
                </a:cubicBezTo>
                <a:cubicBezTo>
                  <a:pt x="1866" y="1525"/>
                  <a:pt x="1866" y="1521"/>
                  <a:pt x="1866" y="1519"/>
                </a:cubicBezTo>
                <a:cubicBezTo>
                  <a:pt x="1866" y="1517"/>
                  <a:pt x="1866" y="1514"/>
                  <a:pt x="1866" y="1512"/>
                </a:cubicBezTo>
                <a:cubicBezTo>
                  <a:pt x="1867" y="1509"/>
                  <a:pt x="1867" y="1507"/>
                  <a:pt x="1867" y="1504"/>
                </a:cubicBezTo>
                <a:cubicBezTo>
                  <a:pt x="1867" y="1496"/>
                  <a:pt x="1862" y="1492"/>
                  <a:pt x="1852" y="1492"/>
                </a:cubicBezTo>
                <a:cubicBezTo>
                  <a:pt x="1852" y="1492"/>
                  <a:pt x="1852" y="1492"/>
                  <a:pt x="1848" y="1492"/>
                </a:cubicBezTo>
                <a:cubicBezTo>
                  <a:pt x="1848" y="1492"/>
                  <a:pt x="1848" y="1492"/>
                  <a:pt x="1848" y="1501"/>
                </a:cubicBezTo>
                <a:cubicBezTo>
                  <a:pt x="1848" y="1501"/>
                  <a:pt x="1848" y="1501"/>
                  <a:pt x="1850" y="1501"/>
                </a:cubicBezTo>
                <a:cubicBezTo>
                  <a:pt x="1854" y="1501"/>
                  <a:pt x="1855" y="1503"/>
                  <a:pt x="1855" y="1507"/>
                </a:cubicBezTo>
                <a:cubicBezTo>
                  <a:pt x="1855" y="1508"/>
                  <a:pt x="1855" y="1510"/>
                  <a:pt x="1855" y="1512"/>
                </a:cubicBezTo>
                <a:cubicBezTo>
                  <a:pt x="1854" y="1513"/>
                  <a:pt x="1854" y="1515"/>
                  <a:pt x="1854" y="1518"/>
                </a:cubicBezTo>
                <a:cubicBezTo>
                  <a:pt x="1854" y="1525"/>
                  <a:pt x="1857" y="1528"/>
                  <a:pt x="1863" y="1529"/>
                </a:cubicBezTo>
                <a:cubicBezTo>
                  <a:pt x="1863" y="1529"/>
                  <a:pt x="1863" y="1529"/>
                  <a:pt x="1863" y="1529"/>
                </a:cubicBezTo>
                <a:cubicBezTo>
                  <a:pt x="1857" y="1530"/>
                  <a:pt x="1854" y="1533"/>
                  <a:pt x="1854" y="1540"/>
                </a:cubicBezTo>
                <a:cubicBezTo>
                  <a:pt x="1854" y="1543"/>
                  <a:pt x="1854" y="1545"/>
                  <a:pt x="1855" y="1546"/>
                </a:cubicBezTo>
                <a:cubicBezTo>
                  <a:pt x="1855" y="1548"/>
                  <a:pt x="1855" y="1550"/>
                  <a:pt x="1855" y="1551"/>
                </a:cubicBezTo>
                <a:cubicBezTo>
                  <a:pt x="1855" y="1555"/>
                  <a:pt x="1854" y="1557"/>
                  <a:pt x="1850" y="1557"/>
                </a:cubicBezTo>
                <a:cubicBezTo>
                  <a:pt x="1850" y="1557"/>
                  <a:pt x="1850" y="1557"/>
                  <a:pt x="1848" y="1557"/>
                </a:cubicBezTo>
                <a:cubicBezTo>
                  <a:pt x="1848" y="1557"/>
                  <a:pt x="1848" y="1557"/>
                  <a:pt x="1848" y="1566"/>
                </a:cubicBezTo>
                <a:cubicBezTo>
                  <a:pt x="1848" y="1566"/>
                  <a:pt x="1848" y="1566"/>
                  <a:pt x="1852" y="1566"/>
                </a:cubicBezTo>
                <a:cubicBezTo>
                  <a:pt x="1861" y="1566"/>
                  <a:pt x="1867" y="1563"/>
                  <a:pt x="1867" y="1553"/>
                </a:cubicBezTo>
                <a:cubicBezTo>
                  <a:pt x="1867" y="1551"/>
                  <a:pt x="1867" y="1549"/>
                  <a:pt x="1866" y="1546"/>
                </a:cubicBezTo>
                <a:cubicBezTo>
                  <a:pt x="1866" y="1544"/>
                  <a:pt x="1866" y="1541"/>
                  <a:pt x="1866" y="1539"/>
                </a:cubicBezTo>
                <a:cubicBezTo>
                  <a:pt x="1866" y="1537"/>
                  <a:pt x="1866" y="1534"/>
                  <a:pt x="1873" y="1533"/>
                </a:cubicBezTo>
                <a:close/>
                <a:moveTo>
                  <a:pt x="1014" y="1444"/>
                </a:moveTo>
                <a:cubicBezTo>
                  <a:pt x="1014" y="1446"/>
                  <a:pt x="1015" y="1447"/>
                  <a:pt x="1015" y="1448"/>
                </a:cubicBezTo>
                <a:cubicBezTo>
                  <a:pt x="1016" y="1450"/>
                  <a:pt x="1016" y="1452"/>
                  <a:pt x="1017" y="1453"/>
                </a:cubicBezTo>
                <a:cubicBezTo>
                  <a:pt x="1017" y="1455"/>
                  <a:pt x="1017" y="1457"/>
                  <a:pt x="1017" y="1458"/>
                </a:cubicBezTo>
                <a:cubicBezTo>
                  <a:pt x="1018" y="1461"/>
                  <a:pt x="1017" y="1463"/>
                  <a:pt x="1014" y="1463"/>
                </a:cubicBezTo>
                <a:cubicBezTo>
                  <a:pt x="1011" y="1463"/>
                  <a:pt x="1008" y="1463"/>
                  <a:pt x="1005" y="1463"/>
                </a:cubicBezTo>
                <a:cubicBezTo>
                  <a:pt x="1005" y="1463"/>
                  <a:pt x="1004" y="1463"/>
                  <a:pt x="1004" y="1463"/>
                </a:cubicBezTo>
                <a:cubicBezTo>
                  <a:pt x="1002" y="1465"/>
                  <a:pt x="1001" y="1466"/>
                  <a:pt x="999" y="1467"/>
                </a:cubicBezTo>
                <a:cubicBezTo>
                  <a:pt x="997" y="1470"/>
                  <a:pt x="994" y="1470"/>
                  <a:pt x="992" y="1468"/>
                </a:cubicBezTo>
                <a:cubicBezTo>
                  <a:pt x="990" y="1466"/>
                  <a:pt x="989" y="1463"/>
                  <a:pt x="987" y="1461"/>
                </a:cubicBezTo>
                <a:cubicBezTo>
                  <a:pt x="986" y="1459"/>
                  <a:pt x="987" y="1457"/>
                  <a:pt x="989" y="1456"/>
                </a:cubicBezTo>
                <a:cubicBezTo>
                  <a:pt x="986" y="1456"/>
                  <a:pt x="985" y="1456"/>
                  <a:pt x="983" y="1456"/>
                </a:cubicBezTo>
                <a:cubicBezTo>
                  <a:pt x="982" y="1458"/>
                  <a:pt x="981" y="1460"/>
                  <a:pt x="980" y="1462"/>
                </a:cubicBezTo>
                <a:cubicBezTo>
                  <a:pt x="980" y="1463"/>
                  <a:pt x="980" y="1463"/>
                  <a:pt x="980" y="1464"/>
                </a:cubicBezTo>
                <a:cubicBezTo>
                  <a:pt x="980" y="1467"/>
                  <a:pt x="979" y="1469"/>
                  <a:pt x="976" y="1468"/>
                </a:cubicBezTo>
                <a:cubicBezTo>
                  <a:pt x="973" y="1468"/>
                  <a:pt x="970" y="1467"/>
                  <a:pt x="967" y="1466"/>
                </a:cubicBezTo>
                <a:cubicBezTo>
                  <a:pt x="965" y="1465"/>
                  <a:pt x="964" y="1464"/>
                  <a:pt x="965" y="1462"/>
                </a:cubicBezTo>
                <a:cubicBezTo>
                  <a:pt x="965" y="1461"/>
                  <a:pt x="965" y="1460"/>
                  <a:pt x="965" y="1460"/>
                </a:cubicBezTo>
                <a:cubicBezTo>
                  <a:pt x="963" y="1459"/>
                  <a:pt x="961" y="1458"/>
                  <a:pt x="959" y="1457"/>
                </a:cubicBezTo>
                <a:cubicBezTo>
                  <a:pt x="958" y="1456"/>
                  <a:pt x="956" y="1454"/>
                  <a:pt x="956" y="1452"/>
                </a:cubicBezTo>
                <a:cubicBezTo>
                  <a:pt x="955" y="1450"/>
                  <a:pt x="955" y="1449"/>
                  <a:pt x="957" y="1447"/>
                </a:cubicBezTo>
                <a:cubicBezTo>
                  <a:pt x="960" y="1445"/>
                  <a:pt x="961" y="1442"/>
                  <a:pt x="960" y="1438"/>
                </a:cubicBezTo>
                <a:cubicBezTo>
                  <a:pt x="960" y="1436"/>
                  <a:pt x="960" y="1434"/>
                  <a:pt x="960" y="1432"/>
                </a:cubicBezTo>
                <a:cubicBezTo>
                  <a:pt x="959" y="1431"/>
                  <a:pt x="957" y="1431"/>
                  <a:pt x="956" y="1430"/>
                </a:cubicBezTo>
                <a:cubicBezTo>
                  <a:pt x="955" y="1428"/>
                  <a:pt x="954" y="1426"/>
                  <a:pt x="954" y="1424"/>
                </a:cubicBezTo>
                <a:cubicBezTo>
                  <a:pt x="954" y="1421"/>
                  <a:pt x="957" y="1419"/>
                  <a:pt x="960" y="1418"/>
                </a:cubicBezTo>
                <a:cubicBezTo>
                  <a:pt x="960" y="1419"/>
                  <a:pt x="960" y="1419"/>
                  <a:pt x="961" y="1420"/>
                </a:cubicBezTo>
                <a:cubicBezTo>
                  <a:pt x="961" y="1421"/>
                  <a:pt x="961" y="1422"/>
                  <a:pt x="961" y="1423"/>
                </a:cubicBezTo>
                <a:cubicBezTo>
                  <a:pt x="960" y="1423"/>
                  <a:pt x="960" y="1423"/>
                  <a:pt x="960" y="1423"/>
                </a:cubicBezTo>
                <a:cubicBezTo>
                  <a:pt x="959" y="1424"/>
                  <a:pt x="959" y="1425"/>
                  <a:pt x="958" y="1427"/>
                </a:cubicBezTo>
                <a:cubicBezTo>
                  <a:pt x="959" y="1427"/>
                  <a:pt x="960" y="1427"/>
                  <a:pt x="960" y="1427"/>
                </a:cubicBezTo>
                <a:cubicBezTo>
                  <a:pt x="961" y="1425"/>
                  <a:pt x="962" y="1425"/>
                  <a:pt x="963" y="1423"/>
                </a:cubicBezTo>
                <a:cubicBezTo>
                  <a:pt x="967" y="1417"/>
                  <a:pt x="973" y="1413"/>
                  <a:pt x="981" y="1411"/>
                </a:cubicBezTo>
                <a:cubicBezTo>
                  <a:pt x="984" y="1411"/>
                  <a:pt x="988" y="1410"/>
                  <a:pt x="990" y="1407"/>
                </a:cubicBezTo>
                <a:cubicBezTo>
                  <a:pt x="990" y="1406"/>
                  <a:pt x="991" y="1406"/>
                  <a:pt x="991" y="1406"/>
                </a:cubicBezTo>
                <a:cubicBezTo>
                  <a:pt x="994" y="1406"/>
                  <a:pt x="995" y="1403"/>
                  <a:pt x="997" y="1401"/>
                </a:cubicBezTo>
                <a:cubicBezTo>
                  <a:pt x="1005" y="1394"/>
                  <a:pt x="1017" y="1393"/>
                  <a:pt x="1025" y="1400"/>
                </a:cubicBezTo>
                <a:cubicBezTo>
                  <a:pt x="1027" y="1402"/>
                  <a:pt x="1030" y="1404"/>
                  <a:pt x="1032" y="1406"/>
                </a:cubicBezTo>
                <a:cubicBezTo>
                  <a:pt x="1034" y="1407"/>
                  <a:pt x="1035" y="1409"/>
                  <a:pt x="1036" y="1411"/>
                </a:cubicBezTo>
                <a:cubicBezTo>
                  <a:pt x="1037" y="1412"/>
                  <a:pt x="1038" y="1412"/>
                  <a:pt x="1039" y="1411"/>
                </a:cubicBezTo>
                <a:cubicBezTo>
                  <a:pt x="1040" y="1411"/>
                  <a:pt x="1040" y="1410"/>
                  <a:pt x="1041" y="1409"/>
                </a:cubicBezTo>
                <a:cubicBezTo>
                  <a:pt x="1043" y="1406"/>
                  <a:pt x="1046" y="1406"/>
                  <a:pt x="1047" y="1410"/>
                </a:cubicBezTo>
                <a:cubicBezTo>
                  <a:pt x="1049" y="1413"/>
                  <a:pt x="1049" y="1415"/>
                  <a:pt x="1050" y="1419"/>
                </a:cubicBezTo>
                <a:cubicBezTo>
                  <a:pt x="1051" y="1423"/>
                  <a:pt x="1050" y="1427"/>
                  <a:pt x="1049" y="1432"/>
                </a:cubicBezTo>
                <a:cubicBezTo>
                  <a:pt x="1046" y="1438"/>
                  <a:pt x="1042" y="1442"/>
                  <a:pt x="1035" y="1442"/>
                </a:cubicBezTo>
                <a:cubicBezTo>
                  <a:pt x="1034" y="1442"/>
                  <a:pt x="1034" y="1442"/>
                  <a:pt x="1033" y="1442"/>
                </a:cubicBezTo>
                <a:cubicBezTo>
                  <a:pt x="1030" y="1441"/>
                  <a:pt x="1029" y="1442"/>
                  <a:pt x="1029" y="1444"/>
                </a:cubicBezTo>
                <a:cubicBezTo>
                  <a:pt x="1027" y="1448"/>
                  <a:pt x="1021" y="1450"/>
                  <a:pt x="1018" y="1447"/>
                </a:cubicBezTo>
                <a:cubicBezTo>
                  <a:pt x="1017" y="1446"/>
                  <a:pt x="1016" y="1445"/>
                  <a:pt x="1015" y="1444"/>
                </a:cubicBezTo>
                <a:cubicBezTo>
                  <a:pt x="1014" y="1444"/>
                  <a:pt x="1014" y="1444"/>
                  <a:pt x="1014" y="1444"/>
                </a:cubicBezTo>
                <a:close/>
                <a:moveTo>
                  <a:pt x="1008" y="1440"/>
                </a:moveTo>
                <a:cubicBezTo>
                  <a:pt x="1012" y="1441"/>
                  <a:pt x="1015" y="1442"/>
                  <a:pt x="1018" y="1445"/>
                </a:cubicBezTo>
                <a:cubicBezTo>
                  <a:pt x="1020" y="1447"/>
                  <a:pt x="1022" y="1448"/>
                  <a:pt x="1024" y="1447"/>
                </a:cubicBezTo>
                <a:cubicBezTo>
                  <a:pt x="1027" y="1446"/>
                  <a:pt x="1028" y="1444"/>
                  <a:pt x="1028" y="1441"/>
                </a:cubicBezTo>
                <a:cubicBezTo>
                  <a:pt x="1028" y="1441"/>
                  <a:pt x="1027" y="1441"/>
                  <a:pt x="1027" y="1442"/>
                </a:cubicBezTo>
                <a:cubicBezTo>
                  <a:pt x="1027" y="1443"/>
                  <a:pt x="1025" y="1444"/>
                  <a:pt x="1025" y="1445"/>
                </a:cubicBezTo>
                <a:cubicBezTo>
                  <a:pt x="1023" y="1446"/>
                  <a:pt x="1022" y="1446"/>
                  <a:pt x="1021" y="1446"/>
                </a:cubicBezTo>
                <a:cubicBezTo>
                  <a:pt x="1021" y="1446"/>
                  <a:pt x="1020" y="1444"/>
                  <a:pt x="1020" y="1444"/>
                </a:cubicBezTo>
                <a:cubicBezTo>
                  <a:pt x="1020" y="1441"/>
                  <a:pt x="1021" y="1439"/>
                  <a:pt x="1021" y="1437"/>
                </a:cubicBezTo>
                <a:cubicBezTo>
                  <a:pt x="1024" y="1438"/>
                  <a:pt x="1027" y="1439"/>
                  <a:pt x="1031" y="1440"/>
                </a:cubicBezTo>
                <a:cubicBezTo>
                  <a:pt x="1038" y="1441"/>
                  <a:pt x="1044" y="1439"/>
                  <a:pt x="1047" y="1431"/>
                </a:cubicBezTo>
                <a:cubicBezTo>
                  <a:pt x="1049" y="1426"/>
                  <a:pt x="1049" y="1421"/>
                  <a:pt x="1048" y="1416"/>
                </a:cubicBezTo>
                <a:cubicBezTo>
                  <a:pt x="1047" y="1414"/>
                  <a:pt x="1047" y="1412"/>
                  <a:pt x="1046" y="1410"/>
                </a:cubicBezTo>
                <a:cubicBezTo>
                  <a:pt x="1045" y="1409"/>
                  <a:pt x="1044" y="1408"/>
                  <a:pt x="1043" y="1410"/>
                </a:cubicBezTo>
                <a:cubicBezTo>
                  <a:pt x="1041" y="1412"/>
                  <a:pt x="1040" y="1413"/>
                  <a:pt x="1038" y="1414"/>
                </a:cubicBezTo>
                <a:cubicBezTo>
                  <a:pt x="1037" y="1414"/>
                  <a:pt x="1036" y="1415"/>
                  <a:pt x="1036" y="1416"/>
                </a:cubicBezTo>
                <a:cubicBezTo>
                  <a:pt x="1037" y="1419"/>
                  <a:pt x="1036" y="1423"/>
                  <a:pt x="1035" y="1426"/>
                </a:cubicBezTo>
                <a:cubicBezTo>
                  <a:pt x="1035" y="1424"/>
                  <a:pt x="1036" y="1422"/>
                  <a:pt x="1036" y="1420"/>
                </a:cubicBezTo>
                <a:cubicBezTo>
                  <a:pt x="1036" y="1419"/>
                  <a:pt x="1035" y="1419"/>
                  <a:pt x="1035" y="1419"/>
                </a:cubicBezTo>
                <a:cubicBezTo>
                  <a:pt x="1034" y="1419"/>
                  <a:pt x="1034" y="1419"/>
                  <a:pt x="1034" y="1419"/>
                </a:cubicBezTo>
                <a:cubicBezTo>
                  <a:pt x="1033" y="1421"/>
                  <a:pt x="1032" y="1422"/>
                  <a:pt x="1031" y="1423"/>
                </a:cubicBezTo>
                <a:cubicBezTo>
                  <a:pt x="1031" y="1423"/>
                  <a:pt x="1031" y="1423"/>
                  <a:pt x="1031" y="1423"/>
                </a:cubicBezTo>
                <a:cubicBezTo>
                  <a:pt x="1031" y="1422"/>
                  <a:pt x="1032" y="1420"/>
                  <a:pt x="1032" y="1418"/>
                </a:cubicBezTo>
                <a:cubicBezTo>
                  <a:pt x="1031" y="1419"/>
                  <a:pt x="1030" y="1419"/>
                  <a:pt x="1030" y="1420"/>
                </a:cubicBezTo>
                <a:cubicBezTo>
                  <a:pt x="1029" y="1420"/>
                  <a:pt x="1029" y="1421"/>
                  <a:pt x="1029" y="1422"/>
                </a:cubicBezTo>
                <a:cubicBezTo>
                  <a:pt x="1029" y="1418"/>
                  <a:pt x="1029" y="1418"/>
                  <a:pt x="1035" y="1417"/>
                </a:cubicBezTo>
                <a:cubicBezTo>
                  <a:pt x="1035" y="1417"/>
                  <a:pt x="1034" y="1416"/>
                  <a:pt x="1034" y="1416"/>
                </a:cubicBezTo>
                <a:cubicBezTo>
                  <a:pt x="1031" y="1417"/>
                  <a:pt x="1030" y="1415"/>
                  <a:pt x="1030" y="1413"/>
                </a:cubicBezTo>
                <a:cubicBezTo>
                  <a:pt x="1032" y="1412"/>
                  <a:pt x="1033" y="1412"/>
                  <a:pt x="1035" y="1412"/>
                </a:cubicBezTo>
                <a:cubicBezTo>
                  <a:pt x="1033" y="1409"/>
                  <a:pt x="1032" y="1406"/>
                  <a:pt x="1029" y="1406"/>
                </a:cubicBezTo>
                <a:cubicBezTo>
                  <a:pt x="1028" y="1406"/>
                  <a:pt x="1028" y="1406"/>
                  <a:pt x="1028" y="1405"/>
                </a:cubicBezTo>
                <a:cubicBezTo>
                  <a:pt x="1025" y="1403"/>
                  <a:pt x="1023" y="1401"/>
                  <a:pt x="1020" y="1399"/>
                </a:cubicBezTo>
                <a:cubicBezTo>
                  <a:pt x="1018" y="1398"/>
                  <a:pt x="1015" y="1397"/>
                  <a:pt x="1013" y="1397"/>
                </a:cubicBezTo>
                <a:cubicBezTo>
                  <a:pt x="1010" y="1397"/>
                  <a:pt x="1006" y="1398"/>
                  <a:pt x="1003" y="1399"/>
                </a:cubicBezTo>
                <a:cubicBezTo>
                  <a:pt x="1001" y="1400"/>
                  <a:pt x="998" y="1402"/>
                  <a:pt x="996" y="1405"/>
                </a:cubicBezTo>
                <a:cubicBezTo>
                  <a:pt x="998" y="1405"/>
                  <a:pt x="999" y="1405"/>
                  <a:pt x="1000" y="1405"/>
                </a:cubicBezTo>
                <a:cubicBezTo>
                  <a:pt x="1000" y="1406"/>
                  <a:pt x="999" y="1406"/>
                  <a:pt x="998" y="1406"/>
                </a:cubicBezTo>
                <a:cubicBezTo>
                  <a:pt x="996" y="1407"/>
                  <a:pt x="993" y="1406"/>
                  <a:pt x="991" y="1408"/>
                </a:cubicBezTo>
                <a:cubicBezTo>
                  <a:pt x="988" y="1412"/>
                  <a:pt x="984" y="1416"/>
                  <a:pt x="980" y="1420"/>
                </a:cubicBezTo>
                <a:cubicBezTo>
                  <a:pt x="978" y="1422"/>
                  <a:pt x="978" y="1425"/>
                  <a:pt x="976" y="1427"/>
                </a:cubicBezTo>
                <a:cubicBezTo>
                  <a:pt x="976" y="1427"/>
                  <a:pt x="976" y="1428"/>
                  <a:pt x="977" y="1429"/>
                </a:cubicBezTo>
                <a:cubicBezTo>
                  <a:pt x="978" y="1431"/>
                  <a:pt x="979" y="1433"/>
                  <a:pt x="981" y="1434"/>
                </a:cubicBezTo>
                <a:cubicBezTo>
                  <a:pt x="982" y="1433"/>
                  <a:pt x="983" y="1431"/>
                  <a:pt x="984" y="1430"/>
                </a:cubicBezTo>
                <a:cubicBezTo>
                  <a:pt x="984" y="1431"/>
                  <a:pt x="984" y="1433"/>
                  <a:pt x="983" y="1434"/>
                </a:cubicBezTo>
                <a:cubicBezTo>
                  <a:pt x="982" y="1435"/>
                  <a:pt x="981" y="1436"/>
                  <a:pt x="981" y="1438"/>
                </a:cubicBezTo>
                <a:cubicBezTo>
                  <a:pt x="980" y="1439"/>
                  <a:pt x="981" y="1440"/>
                  <a:pt x="981" y="1441"/>
                </a:cubicBezTo>
                <a:cubicBezTo>
                  <a:pt x="984" y="1444"/>
                  <a:pt x="987" y="1444"/>
                  <a:pt x="991" y="1442"/>
                </a:cubicBezTo>
                <a:cubicBezTo>
                  <a:pt x="993" y="1441"/>
                  <a:pt x="996" y="1440"/>
                  <a:pt x="999" y="1439"/>
                </a:cubicBezTo>
                <a:cubicBezTo>
                  <a:pt x="1000" y="1438"/>
                  <a:pt x="1001" y="1438"/>
                  <a:pt x="1001" y="1436"/>
                </a:cubicBezTo>
                <a:cubicBezTo>
                  <a:pt x="1001" y="1433"/>
                  <a:pt x="1001" y="1429"/>
                  <a:pt x="1001" y="1426"/>
                </a:cubicBezTo>
                <a:cubicBezTo>
                  <a:pt x="1001" y="1423"/>
                  <a:pt x="1001" y="1420"/>
                  <a:pt x="1001" y="1417"/>
                </a:cubicBezTo>
                <a:cubicBezTo>
                  <a:pt x="1002" y="1420"/>
                  <a:pt x="1002" y="1423"/>
                  <a:pt x="1003" y="1425"/>
                </a:cubicBezTo>
                <a:cubicBezTo>
                  <a:pt x="1004" y="1430"/>
                  <a:pt x="1004" y="1434"/>
                  <a:pt x="1002" y="1438"/>
                </a:cubicBezTo>
                <a:cubicBezTo>
                  <a:pt x="1002" y="1439"/>
                  <a:pt x="1001" y="1440"/>
                  <a:pt x="1001" y="1440"/>
                </a:cubicBezTo>
                <a:cubicBezTo>
                  <a:pt x="997" y="1440"/>
                  <a:pt x="994" y="1442"/>
                  <a:pt x="991" y="1444"/>
                </a:cubicBezTo>
                <a:cubicBezTo>
                  <a:pt x="986" y="1447"/>
                  <a:pt x="982" y="1445"/>
                  <a:pt x="979" y="1441"/>
                </a:cubicBezTo>
                <a:cubicBezTo>
                  <a:pt x="978" y="1441"/>
                  <a:pt x="978" y="1440"/>
                  <a:pt x="979" y="1439"/>
                </a:cubicBezTo>
                <a:cubicBezTo>
                  <a:pt x="980" y="1437"/>
                  <a:pt x="979" y="1435"/>
                  <a:pt x="977" y="1433"/>
                </a:cubicBezTo>
                <a:cubicBezTo>
                  <a:pt x="976" y="1431"/>
                  <a:pt x="974" y="1429"/>
                  <a:pt x="975" y="1426"/>
                </a:cubicBezTo>
                <a:cubicBezTo>
                  <a:pt x="976" y="1424"/>
                  <a:pt x="977" y="1422"/>
                  <a:pt x="978" y="1421"/>
                </a:cubicBezTo>
                <a:cubicBezTo>
                  <a:pt x="980" y="1418"/>
                  <a:pt x="982" y="1415"/>
                  <a:pt x="984" y="1413"/>
                </a:cubicBezTo>
                <a:cubicBezTo>
                  <a:pt x="984" y="1413"/>
                  <a:pt x="983" y="1413"/>
                  <a:pt x="983" y="1413"/>
                </a:cubicBezTo>
                <a:cubicBezTo>
                  <a:pt x="978" y="1414"/>
                  <a:pt x="973" y="1415"/>
                  <a:pt x="969" y="1419"/>
                </a:cubicBezTo>
                <a:cubicBezTo>
                  <a:pt x="965" y="1423"/>
                  <a:pt x="962" y="1428"/>
                  <a:pt x="961" y="1435"/>
                </a:cubicBezTo>
                <a:cubicBezTo>
                  <a:pt x="961" y="1442"/>
                  <a:pt x="963" y="1448"/>
                  <a:pt x="967" y="1453"/>
                </a:cubicBezTo>
                <a:cubicBezTo>
                  <a:pt x="967" y="1454"/>
                  <a:pt x="968" y="1456"/>
                  <a:pt x="968" y="1457"/>
                </a:cubicBezTo>
                <a:cubicBezTo>
                  <a:pt x="968" y="1459"/>
                  <a:pt x="967" y="1460"/>
                  <a:pt x="967" y="1461"/>
                </a:cubicBezTo>
                <a:cubicBezTo>
                  <a:pt x="966" y="1463"/>
                  <a:pt x="967" y="1464"/>
                  <a:pt x="968" y="1465"/>
                </a:cubicBezTo>
                <a:cubicBezTo>
                  <a:pt x="971" y="1465"/>
                  <a:pt x="974" y="1466"/>
                  <a:pt x="976" y="1466"/>
                </a:cubicBezTo>
                <a:cubicBezTo>
                  <a:pt x="977" y="1466"/>
                  <a:pt x="978" y="1465"/>
                  <a:pt x="978" y="1465"/>
                </a:cubicBezTo>
                <a:cubicBezTo>
                  <a:pt x="978" y="1464"/>
                  <a:pt x="978" y="1462"/>
                  <a:pt x="979" y="1461"/>
                </a:cubicBezTo>
                <a:cubicBezTo>
                  <a:pt x="981" y="1459"/>
                  <a:pt x="981" y="1456"/>
                  <a:pt x="981" y="1453"/>
                </a:cubicBezTo>
                <a:cubicBezTo>
                  <a:pt x="981" y="1453"/>
                  <a:pt x="981" y="1453"/>
                  <a:pt x="981" y="1452"/>
                </a:cubicBezTo>
                <a:cubicBezTo>
                  <a:pt x="981" y="1452"/>
                  <a:pt x="981" y="1452"/>
                  <a:pt x="981" y="1452"/>
                </a:cubicBezTo>
                <a:cubicBezTo>
                  <a:pt x="982" y="1454"/>
                  <a:pt x="983" y="1454"/>
                  <a:pt x="985" y="1454"/>
                </a:cubicBezTo>
                <a:cubicBezTo>
                  <a:pt x="986" y="1454"/>
                  <a:pt x="987" y="1454"/>
                  <a:pt x="988" y="1454"/>
                </a:cubicBezTo>
                <a:cubicBezTo>
                  <a:pt x="990" y="1454"/>
                  <a:pt x="993" y="1455"/>
                  <a:pt x="994" y="1451"/>
                </a:cubicBezTo>
                <a:cubicBezTo>
                  <a:pt x="994" y="1453"/>
                  <a:pt x="994" y="1455"/>
                  <a:pt x="994" y="1455"/>
                </a:cubicBezTo>
                <a:cubicBezTo>
                  <a:pt x="993" y="1456"/>
                  <a:pt x="991" y="1457"/>
                  <a:pt x="990" y="1457"/>
                </a:cubicBezTo>
                <a:cubicBezTo>
                  <a:pt x="989" y="1458"/>
                  <a:pt x="988" y="1460"/>
                  <a:pt x="989" y="1461"/>
                </a:cubicBezTo>
                <a:cubicBezTo>
                  <a:pt x="990" y="1463"/>
                  <a:pt x="991" y="1465"/>
                  <a:pt x="993" y="1467"/>
                </a:cubicBezTo>
                <a:cubicBezTo>
                  <a:pt x="995" y="1468"/>
                  <a:pt x="997" y="1468"/>
                  <a:pt x="998" y="1466"/>
                </a:cubicBezTo>
                <a:cubicBezTo>
                  <a:pt x="999" y="1465"/>
                  <a:pt x="999" y="1465"/>
                  <a:pt x="1000" y="1464"/>
                </a:cubicBezTo>
                <a:cubicBezTo>
                  <a:pt x="1002" y="1463"/>
                  <a:pt x="1003" y="1461"/>
                  <a:pt x="1005" y="1460"/>
                </a:cubicBezTo>
                <a:cubicBezTo>
                  <a:pt x="1009" y="1456"/>
                  <a:pt x="1011" y="1450"/>
                  <a:pt x="1013" y="1444"/>
                </a:cubicBezTo>
                <a:cubicBezTo>
                  <a:pt x="1013" y="1444"/>
                  <a:pt x="1012" y="1443"/>
                  <a:pt x="1012" y="1442"/>
                </a:cubicBezTo>
                <a:cubicBezTo>
                  <a:pt x="1011" y="1441"/>
                  <a:pt x="1010" y="1440"/>
                  <a:pt x="1008" y="1440"/>
                </a:cubicBezTo>
                <a:close/>
                <a:moveTo>
                  <a:pt x="961" y="1446"/>
                </a:moveTo>
                <a:cubicBezTo>
                  <a:pt x="960" y="1447"/>
                  <a:pt x="959" y="1448"/>
                  <a:pt x="958" y="1449"/>
                </a:cubicBezTo>
                <a:cubicBezTo>
                  <a:pt x="957" y="1449"/>
                  <a:pt x="957" y="1450"/>
                  <a:pt x="957" y="1451"/>
                </a:cubicBezTo>
                <a:cubicBezTo>
                  <a:pt x="957" y="1453"/>
                  <a:pt x="961" y="1458"/>
                  <a:pt x="964" y="1457"/>
                </a:cubicBezTo>
                <a:cubicBezTo>
                  <a:pt x="966" y="1457"/>
                  <a:pt x="967" y="1456"/>
                  <a:pt x="966" y="1455"/>
                </a:cubicBezTo>
                <a:cubicBezTo>
                  <a:pt x="964" y="1452"/>
                  <a:pt x="963" y="1449"/>
                  <a:pt x="961" y="1446"/>
                </a:cubicBezTo>
                <a:close/>
                <a:moveTo>
                  <a:pt x="1014" y="1448"/>
                </a:moveTo>
                <a:cubicBezTo>
                  <a:pt x="1012" y="1453"/>
                  <a:pt x="1009" y="1457"/>
                  <a:pt x="1007" y="1461"/>
                </a:cubicBezTo>
                <a:cubicBezTo>
                  <a:pt x="1010" y="1461"/>
                  <a:pt x="1012" y="1462"/>
                  <a:pt x="1015" y="1461"/>
                </a:cubicBezTo>
                <a:cubicBezTo>
                  <a:pt x="1015" y="1461"/>
                  <a:pt x="1015" y="1460"/>
                  <a:pt x="1015" y="1460"/>
                </a:cubicBezTo>
                <a:cubicBezTo>
                  <a:pt x="1015" y="1457"/>
                  <a:pt x="1015" y="1455"/>
                  <a:pt x="1015" y="1452"/>
                </a:cubicBezTo>
                <a:cubicBezTo>
                  <a:pt x="1015" y="1451"/>
                  <a:pt x="1014" y="1450"/>
                  <a:pt x="1014" y="1448"/>
                </a:cubicBezTo>
                <a:close/>
                <a:moveTo>
                  <a:pt x="961" y="1428"/>
                </a:moveTo>
                <a:cubicBezTo>
                  <a:pt x="960" y="1428"/>
                  <a:pt x="960" y="1429"/>
                  <a:pt x="959" y="1429"/>
                </a:cubicBezTo>
                <a:cubicBezTo>
                  <a:pt x="958" y="1429"/>
                  <a:pt x="958" y="1429"/>
                  <a:pt x="958" y="1428"/>
                </a:cubicBezTo>
                <a:cubicBezTo>
                  <a:pt x="957" y="1428"/>
                  <a:pt x="957" y="1427"/>
                  <a:pt x="957" y="1426"/>
                </a:cubicBezTo>
                <a:cubicBezTo>
                  <a:pt x="958" y="1424"/>
                  <a:pt x="958" y="1422"/>
                  <a:pt x="959" y="1420"/>
                </a:cubicBezTo>
                <a:cubicBezTo>
                  <a:pt x="958" y="1420"/>
                  <a:pt x="958" y="1420"/>
                  <a:pt x="958" y="1420"/>
                </a:cubicBezTo>
                <a:cubicBezTo>
                  <a:pt x="957" y="1421"/>
                  <a:pt x="956" y="1422"/>
                  <a:pt x="955" y="1423"/>
                </a:cubicBezTo>
                <a:cubicBezTo>
                  <a:pt x="954" y="1424"/>
                  <a:pt x="956" y="1429"/>
                  <a:pt x="958" y="1430"/>
                </a:cubicBezTo>
                <a:cubicBezTo>
                  <a:pt x="959" y="1431"/>
                  <a:pt x="961" y="1430"/>
                  <a:pt x="961" y="1428"/>
                </a:cubicBezTo>
                <a:close/>
                <a:moveTo>
                  <a:pt x="961" y="1446"/>
                </a:moveTo>
                <a:cubicBezTo>
                  <a:pt x="960" y="1447"/>
                  <a:pt x="959" y="1448"/>
                  <a:pt x="958" y="1449"/>
                </a:cubicBezTo>
                <a:cubicBezTo>
                  <a:pt x="957" y="1449"/>
                  <a:pt x="957" y="1450"/>
                  <a:pt x="957" y="1451"/>
                </a:cubicBezTo>
                <a:cubicBezTo>
                  <a:pt x="957" y="1454"/>
                  <a:pt x="961" y="1458"/>
                  <a:pt x="964" y="1458"/>
                </a:cubicBezTo>
                <a:cubicBezTo>
                  <a:pt x="966" y="1458"/>
                  <a:pt x="967" y="1457"/>
                  <a:pt x="966" y="1455"/>
                </a:cubicBezTo>
                <a:cubicBezTo>
                  <a:pt x="964" y="1452"/>
                  <a:pt x="963" y="1449"/>
                  <a:pt x="961" y="1446"/>
                </a:cubicBezTo>
                <a:close/>
                <a:moveTo>
                  <a:pt x="1014" y="1448"/>
                </a:moveTo>
                <a:cubicBezTo>
                  <a:pt x="1012" y="1453"/>
                  <a:pt x="1009" y="1457"/>
                  <a:pt x="1007" y="1462"/>
                </a:cubicBezTo>
                <a:cubicBezTo>
                  <a:pt x="1010" y="1462"/>
                  <a:pt x="1012" y="1462"/>
                  <a:pt x="1015" y="1462"/>
                </a:cubicBezTo>
                <a:cubicBezTo>
                  <a:pt x="1015" y="1462"/>
                  <a:pt x="1016" y="1460"/>
                  <a:pt x="1016" y="1460"/>
                </a:cubicBezTo>
                <a:cubicBezTo>
                  <a:pt x="1016" y="1457"/>
                  <a:pt x="1016" y="1455"/>
                  <a:pt x="1015" y="1452"/>
                </a:cubicBezTo>
                <a:cubicBezTo>
                  <a:pt x="1015" y="1451"/>
                  <a:pt x="1014" y="1450"/>
                  <a:pt x="1014" y="1448"/>
                </a:cubicBezTo>
                <a:close/>
                <a:moveTo>
                  <a:pt x="961" y="1428"/>
                </a:moveTo>
                <a:cubicBezTo>
                  <a:pt x="961" y="1428"/>
                  <a:pt x="960" y="1429"/>
                  <a:pt x="959" y="1429"/>
                </a:cubicBezTo>
                <a:cubicBezTo>
                  <a:pt x="959" y="1429"/>
                  <a:pt x="958" y="1429"/>
                  <a:pt x="958" y="1428"/>
                </a:cubicBezTo>
                <a:cubicBezTo>
                  <a:pt x="957" y="1428"/>
                  <a:pt x="957" y="1427"/>
                  <a:pt x="957" y="1426"/>
                </a:cubicBezTo>
                <a:cubicBezTo>
                  <a:pt x="958" y="1424"/>
                  <a:pt x="958" y="1422"/>
                  <a:pt x="959" y="1420"/>
                </a:cubicBezTo>
                <a:cubicBezTo>
                  <a:pt x="959" y="1420"/>
                  <a:pt x="959" y="1420"/>
                  <a:pt x="958" y="1420"/>
                </a:cubicBezTo>
                <a:cubicBezTo>
                  <a:pt x="957" y="1421"/>
                  <a:pt x="956" y="1422"/>
                  <a:pt x="955" y="1423"/>
                </a:cubicBezTo>
                <a:cubicBezTo>
                  <a:pt x="955" y="1424"/>
                  <a:pt x="956" y="1430"/>
                  <a:pt x="958" y="1430"/>
                </a:cubicBezTo>
                <a:cubicBezTo>
                  <a:pt x="959" y="1431"/>
                  <a:pt x="961" y="1430"/>
                  <a:pt x="961" y="1428"/>
                </a:cubicBezTo>
                <a:close/>
                <a:moveTo>
                  <a:pt x="1014" y="1420"/>
                </a:moveTo>
                <a:cubicBezTo>
                  <a:pt x="1017" y="1416"/>
                  <a:pt x="1017" y="1416"/>
                  <a:pt x="1021" y="1415"/>
                </a:cubicBezTo>
                <a:cubicBezTo>
                  <a:pt x="1021" y="1417"/>
                  <a:pt x="1022" y="1418"/>
                  <a:pt x="1023" y="1418"/>
                </a:cubicBezTo>
                <a:cubicBezTo>
                  <a:pt x="1021" y="1419"/>
                  <a:pt x="1019" y="1421"/>
                  <a:pt x="1017" y="1422"/>
                </a:cubicBezTo>
                <a:cubicBezTo>
                  <a:pt x="1016" y="1421"/>
                  <a:pt x="1016" y="1421"/>
                  <a:pt x="1015" y="1419"/>
                </a:cubicBezTo>
                <a:cubicBezTo>
                  <a:pt x="1015" y="1419"/>
                  <a:pt x="1014" y="1419"/>
                  <a:pt x="1014" y="1420"/>
                </a:cubicBezTo>
                <a:close/>
                <a:moveTo>
                  <a:pt x="1019" y="1419"/>
                </a:moveTo>
                <a:cubicBezTo>
                  <a:pt x="1019" y="1419"/>
                  <a:pt x="1018" y="1419"/>
                  <a:pt x="1017" y="1419"/>
                </a:cubicBezTo>
                <a:cubicBezTo>
                  <a:pt x="1017" y="1419"/>
                  <a:pt x="1016" y="1419"/>
                  <a:pt x="1016" y="1420"/>
                </a:cubicBezTo>
                <a:cubicBezTo>
                  <a:pt x="1016" y="1420"/>
                  <a:pt x="1017" y="1421"/>
                  <a:pt x="1017" y="1421"/>
                </a:cubicBezTo>
                <a:cubicBezTo>
                  <a:pt x="1018" y="1421"/>
                  <a:pt x="1018" y="1420"/>
                  <a:pt x="1019" y="1419"/>
                </a:cubicBezTo>
                <a:close/>
                <a:moveTo>
                  <a:pt x="1001" y="1409"/>
                </a:moveTo>
                <a:cubicBezTo>
                  <a:pt x="994" y="1409"/>
                  <a:pt x="991" y="1411"/>
                  <a:pt x="990" y="1419"/>
                </a:cubicBezTo>
                <a:cubicBezTo>
                  <a:pt x="991" y="1417"/>
                  <a:pt x="992" y="1415"/>
                  <a:pt x="993" y="1412"/>
                </a:cubicBezTo>
                <a:cubicBezTo>
                  <a:pt x="994" y="1412"/>
                  <a:pt x="994" y="1412"/>
                  <a:pt x="994" y="1412"/>
                </a:cubicBezTo>
                <a:cubicBezTo>
                  <a:pt x="994" y="1414"/>
                  <a:pt x="994" y="1414"/>
                  <a:pt x="994" y="1415"/>
                </a:cubicBezTo>
                <a:cubicBezTo>
                  <a:pt x="995" y="1412"/>
                  <a:pt x="997" y="1410"/>
                  <a:pt x="1001" y="1409"/>
                </a:cubicBezTo>
                <a:close/>
                <a:moveTo>
                  <a:pt x="1044" y="1411"/>
                </a:moveTo>
                <a:cubicBezTo>
                  <a:pt x="1042" y="1412"/>
                  <a:pt x="1040" y="1414"/>
                  <a:pt x="1039" y="1415"/>
                </a:cubicBezTo>
                <a:cubicBezTo>
                  <a:pt x="1040" y="1416"/>
                  <a:pt x="1043" y="1414"/>
                  <a:pt x="1044" y="1411"/>
                </a:cubicBezTo>
                <a:close/>
                <a:moveTo>
                  <a:pt x="1011" y="1413"/>
                </a:moveTo>
                <a:cubicBezTo>
                  <a:pt x="1012" y="1412"/>
                  <a:pt x="1013" y="1410"/>
                  <a:pt x="1014" y="1409"/>
                </a:cubicBezTo>
                <a:cubicBezTo>
                  <a:pt x="1011" y="1410"/>
                  <a:pt x="1010" y="1411"/>
                  <a:pt x="1011" y="1413"/>
                </a:cubicBezTo>
                <a:close/>
                <a:moveTo>
                  <a:pt x="1020" y="1435"/>
                </a:moveTo>
                <a:cubicBezTo>
                  <a:pt x="1019" y="1435"/>
                  <a:pt x="1018" y="1436"/>
                  <a:pt x="1018" y="1437"/>
                </a:cubicBezTo>
                <a:cubicBezTo>
                  <a:pt x="1018" y="1436"/>
                  <a:pt x="1020" y="1435"/>
                  <a:pt x="1020" y="1435"/>
                </a:cubicBezTo>
                <a:close/>
                <a:moveTo>
                  <a:pt x="1019" y="1419"/>
                </a:moveTo>
                <a:cubicBezTo>
                  <a:pt x="1019" y="1419"/>
                  <a:pt x="1018" y="1418"/>
                  <a:pt x="1017" y="1418"/>
                </a:cubicBezTo>
                <a:cubicBezTo>
                  <a:pt x="1017" y="1418"/>
                  <a:pt x="1016" y="1419"/>
                  <a:pt x="1016" y="1419"/>
                </a:cubicBezTo>
                <a:cubicBezTo>
                  <a:pt x="1016" y="1420"/>
                  <a:pt x="1016" y="1420"/>
                  <a:pt x="1017" y="1421"/>
                </a:cubicBezTo>
                <a:cubicBezTo>
                  <a:pt x="1018" y="1420"/>
                  <a:pt x="1018" y="1420"/>
                  <a:pt x="1019" y="1419"/>
                </a:cubicBezTo>
                <a:close/>
                <a:moveTo>
                  <a:pt x="1544" y="1540"/>
                </a:moveTo>
                <a:cubicBezTo>
                  <a:pt x="1544" y="1542"/>
                  <a:pt x="1545" y="1543"/>
                  <a:pt x="1545" y="1544"/>
                </a:cubicBezTo>
                <a:cubicBezTo>
                  <a:pt x="1546" y="1546"/>
                  <a:pt x="1546" y="1548"/>
                  <a:pt x="1547" y="1549"/>
                </a:cubicBezTo>
                <a:cubicBezTo>
                  <a:pt x="1547" y="1551"/>
                  <a:pt x="1547" y="1553"/>
                  <a:pt x="1547" y="1554"/>
                </a:cubicBezTo>
                <a:cubicBezTo>
                  <a:pt x="1548" y="1557"/>
                  <a:pt x="1547" y="1559"/>
                  <a:pt x="1543" y="1559"/>
                </a:cubicBezTo>
                <a:cubicBezTo>
                  <a:pt x="1541" y="1559"/>
                  <a:pt x="1538" y="1559"/>
                  <a:pt x="1535" y="1559"/>
                </a:cubicBezTo>
                <a:cubicBezTo>
                  <a:pt x="1535" y="1559"/>
                  <a:pt x="1534" y="1559"/>
                  <a:pt x="1534" y="1559"/>
                </a:cubicBezTo>
                <a:cubicBezTo>
                  <a:pt x="1532" y="1561"/>
                  <a:pt x="1530" y="1562"/>
                  <a:pt x="1529" y="1563"/>
                </a:cubicBezTo>
                <a:cubicBezTo>
                  <a:pt x="1527" y="1566"/>
                  <a:pt x="1524" y="1566"/>
                  <a:pt x="1522" y="1564"/>
                </a:cubicBezTo>
                <a:cubicBezTo>
                  <a:pt x="1520" y="1562"/>
                  <a:pt x="1519" y="1559"/>
                  <a:pt x="1517" y="1557"/>
                </a:cubicBezTo>
                <a:cubicBezTo>
                  <a:pt x="1516" y="1555"/>
                  <a:pt x="1517" y="1553"/>
                  <a:pt x="1519" y="1552"/>
                </a:cubicBezTo>
                <a:cubicBezTo>
                  <a:pt x="1516" y="1552"/>
                  <a:pt x="1515" y="1552"/>
                  <a:pt x="1513" y="1552"/>
                </a:cubicBezTo>
                <a:cubicBezTo>
                  <a:pt x="1512" y="1554"/>
                  <a:pt x="1511" y="1556"/>
                  <a:pt x="1510" y="1558"/>
                </a:cubicBezTo>
                <a:cubicBezTo>
                  <a:pt x="1510" y="1559"/>
                  <a:pt x="1510" y="1559"/>
                  <a:pt x="1510" y="1560"/>
                </a:cubicBezTo>
                <a:cubicBezTo>
                  <a:pt x="1510" y="1563"/>
                  <a:pt x="1509" y="1565"/>
                  <a:pt x="1506" y="1564"/>
                </a:cubicBezTo>
                <a:cubicBezTo>
                  <a:pt x="1502" y="1564"/>
                  <a:pt x="1500" y="1563"/>
                  <a:pt x="1497" y="1562"/>
                </a:cubicBezTo>
                <a:cubicBezTo>
                  <a:pt x="1495" y="1561"/>
                  <a:pt x="1494" y="1560"/>
                  <a:pt x="1495" y="1558"/>
                </a:cubicBezTo>
                <a:cubicBezTo>
                  <a:pt x="1495" y="1557"/>
                  <a:pt x="1495" y="1556"/>
                  <a:pt x="1495" y="1556"/>
                </a:cubicBezTo>
                <a:cubicBezTo>
                  <a:pt x="1493" y="1555"/>
                  <a:pt x="1491" y="1554"/>
                  <a:pt x="1489" y="1553"/>
                </a:cubicBezTo>
                <a:cubicBezTo>
                  <a:pt x="1487" y="1552"/>
                  <a:pt x="1486" y="1550"/>
                  <a:pt x="1486" y="1548"/>
                </a:cubicBezTo>
                <a:cubicBezTo>
                  <a:pt x="1485" y="1546"/>
                  <a:pt x="1485" y="1545"/>
                  <a:pt x="1487" y="1543"/>
                </a:cubicBezTo>
                <a:cubicBezTo>
                  <a:pt x="1490" y="1541"/>
                  <a:pt x="1491" y="1538"/>
                  <a:pt x="1490" y="1534"/>
                </a:cubicBezTo>
                <a:cubicBezTo>
                  <a:pt x="1490" y="1532"/>
                  <a:pt x="1490" y="1530"/>
                  <a:pt x="1490" y="1528"/>
                </a:cubicBezTo>
                <a:cubicBezTo>
                  <a:pt x="1489" y="1527"/>
                  <a:pt x="1487" y="1527"/>
                  <a:pt x="1486" y="1526"/>
                </a:cubicBezTo>
                <a:cubicBezTo>
                  <a:pt x="1485" y="1524"/>
                  <a:pt x="1484" y="1522"/>
                  <a:pt x="1484" y="1520"/>
                </a:cubicBezTo>
                <a:cubicBezTo>
                  <a:pt x="1484" y="1517"/>
                  <a:pt x="1487" y="1515"/>
                  <a:pt x="1490" y="1514"/>
                </a:cubicBezTo>
                <a:cubicBezTo>
                  <a:pt x="1490" y="1515"/>
                  <a:pt x="1490" y="1515"/>
                  <a:pt x="1491" y="1516"/>
                </a:cubicBezTo>
                <a:cubicBezTo>
                  <a:pt x="1491" y="1517"/>
                  <a:pt x="1491" y="1518"/>
                  <a:pt x="1491" y="1519"/>
                </a:cubicBezTo>
                <a:cubicBezTo>
                  <a:pt x="1490" y="1519"/>
                  <a:pt x="1490" y="1519"/>
                  <a:pt x="1489" y="1519"/>
                </a:cubicBezTo>
                <a:cubicBezTo>
                  <a:pt x="1489" y="1520"/>
                  <a:pt x="1489" y="1521"/>
                  <a:pt x="1488" y="1523"/>
                </a:cubicBezTo>
                <a:cubicBezTo>
                  <a:pt x="1489" y="1523"/>
                  <a:pt x="1490" y="1523"/>
                  <a:pt x="1490" y="1523"/>
                </a:cubicBezTo>
                <a:cubicBezTo>
                  <a:pt x="1491" y="1521"/>
                  <a:pt x="1492" y="1521"/>
                  <a:pt x="1493" y="1519"/>
                </a:cubicBezTo>
                <a:cubicBezTo>
                  <a:pt x="1497" y="1513"/>
                  <a:pt x="1503" y="1509"/>
                  <a:pt x="1511" y="1507"/>
                </a:cubicBezTo>
                <a:cubicBezTo>
                  <a:pt x="1514" y="1507"/>
                  <a:pt x="1517" y="1506"/>
                  <a:pt x="1520" y="1503"/>
                </a:cubicBezTo>
                <a:cubicBezTo>
                  <a:pt x="1520" y="1502"/>
                  <a:pt x="1521" y="1502"/>
                  <a:pt x="1521" y="1502"/>
                </a:cubicBezTo>
                <a:cubicBezTo>
                  <a:pt x="1524" y="1502"/>
                  <a:pt x="1525" y="1499"/>
                  <a:pt x="1527" y="1497"/>
                </a:cubicBezTo>
                <a:cubicBezTo>
                  <a:pt x="1535" y="1490"/>
                  <a:pt x="1547" y="1489"/>
                  <a:pt x="1554" y="1496"/>
                </a:cubicBezTo>
                <a:cubicBezTo>
                  <a:pt x="1557" y="1498"/>
                  <a:pt x="1560" y="1500"/>
                  <a:pt x="1562" y="1502"/>
                </a:cubicBezTo>
                <a:cubicBezTo>
                  <a:pt x="1564" y="1503"/>
                  <a:pt x="1565" y="1505"/>
                  <a:pt x="1566" y="1507"/>
                </a:cubicBezTo>
                <a:cubicBezTo>
                  <a:pt x="1567" y="1508"/>
                  <a:pt x="1567" y="1508"/>
                  <a:pt x="1569" y="1507"/>
                </a:cubicBezTo>
                <a:cubicBezTo>
                  <a:pt x="1569" y="1507"/>
                  <a:pt x="1570" y="1506"/>
                  <a:pt x="1571" y="1505"/>
                </a:cubicBezTo>
                <a:cubicBezTo>
                  <a:pt x="1573" y="1502"/>
                  <a:pt x="1576" y="1502"/>
                  <a:pt x="1577" y="1506"/>
                </a:cubicBezTo>
                <a:cubicBezTo>
                  <a:pt x="1579" y="1509"/>
                  <a:pt x="1579" y="1511"/>
                  <a:pt x="1580" y="1515"/>
                </a:cubicBezTo>
                <a:cubicBezTo>
                  <a:pt x="1580" y="1519"/>
                  <a:pt x="1580" y="1523"/>
                  <a:pt x="1579" y="1528"/>
                </a:cubicBezTo>
                <a:cubicBezTo>
                  <a:pt x="1576" y="1534"/>
                  <a:pt x="1571" y="1538"/>
                  <a:pt x="1565" y="1538"/>
                </a:cubicBezTo>
                <a:cubicBezTo>
                  <a:pt x="1564" y="1538"/>
                  <a:pt x="1564" y="1538"/>
                  <a:pt x="1563" y="1538"/>
                </a:cubicBezTo>
                <a:cubicBezTo>
                  <a:pt x="1560" y="1537"/>
                  <a:pt x="1559" y="1538"/>
                  <a:pt x="1558" y="1540"/>
                </a:cubicBezTo>
                <a:cubicBezTo>
                  <a:pt x="1557" y="1544"/>
                  <a:pt x="1551" y="1546"/>
                  <a:pt x="1548" y="1543"/>
                </a:cubicBezTo>
                <a:cubicBezTo>
                  <a:pt x="1547" y="1542"/>
                  <a:pt x="1546" y="1541"/>
                  <a:pt x="1545" y="1540"/>
                </a:cubicBezTo>
                <a:cubicBezTo>
                  <a:pt x="1544" y="1540"/>
                  <a:pt x="1544" y="1540"/>
                  <a:pt x="1544" y="1540"/>
                </a:cubicBezTo>
                <a:close/>
                <a:moveTo>
                  <a:pt x="1538" y="1536"/>
                </a:moveTo>
                <a:cubicBezTo>
                  <a:pt x="1542" y="1537"/>
                  <a:pt x="1545" y="1538"/>
                  <a:pt x="1548" y="1541"/>
                </a:cubicBezTo>
                <a:cubicBezTo>
                  <a:pt x="1550" y="1543"/>
                  <a:pt x="1552" y="1544"/>
                  <a:pt x="1554" y="1543"/>
                </a:cubicBezTo>
                <a:cubicBezTo>
                  <a:pt x="1556" y="1542"/>
                  <a:pt x="1558" y="1540"/>
                  <a:pt x="1558" y="1537"/>
                </a:cubicBezTo>
                <a:cubicBezTo>
                  <a:pt x="1558" y="1537"/>
                  <a:pt x="1557" y="1537"/>
                  <a:pt x="1557" y="1538"/>
                </a:cubicBezTo>
                <a:cubicBezTo>
                  <a:pt x="1556" y="1539"/>
                  <a:pt x="1555" y="1540"/>
                  <a:pt x="1554" y="1541"/>
                </a:cubicBezTo>
                <a:cubicBezTo>
                  <a:pt x="1553" y="1542"/>
                  <a:pt x="1552" y="1542"/>
                  <a:pt x="1551" y="1542"/>
                </a:cubicBezTo>
                <a:cubicBezTo>
                  <a:pt x="1551" y="1542"/>
                  <a:pt x="1550" y="1540"/>
                  <a:pt x="1550" y="1540"/>
                </a:cubicBezTo>
                <a:cubicBezTo>
                  <a:pt x="1550" y="1537"/>
                  <a:pt x="1551" y="1535"/>
                  <a:pt x="1551" y="1533"/>
                </a:cubicBezTo>
                <a:cubicBezTo>
                  <a:pt x="1554" y="1534"/>
                  <a:pt x="1557" y="1535"/>
                  <a:pt x="1561" y="1536"/>
                </a:cubicBezTo>
                <a:cubicBezTo>
                  <a:pt x="1568" y="1537"/>
                  <a:pt x="1574" y="1535"/>
                  <a:pt x="1577" y="1527"/>
                </a:cubicBezTo>
                <a:cubicBezTo>
                  <a:pt x="1579" y="1522"/>
                  <a:pt x="1579" y="1517"/>
                  <a:pt x="1578" y="1512"/>
                </a:cubicBezTo>
                <a:cubicBezTo>
                  <a:pt x="1577" y="1510"/>
                  <a:pt x="1577" y="1508"/>
                  <a:pt x="1576" y="1506"/>
                </a:cubicBezTo>
                <a:cubicBezTo>
                  <a:pt x="1575" y="1505"/>
                  <a:pt x="1574" y="1504"/>
                  <a:pt x="1573" y="1506"/>
                </a:cubicBezTo>
                <a:cubicBezTo>
                  <a:pt x="1571" y="1508"/>
                  <a:pt x="1569" y="1509"/>
                  <a:pt x="1567" y="1510"/>
                </a:cubicBezTo>
                <a:cubicBezTo>
                  <a:pt x="1567" y="1510"/>
                  <a:pt x="1566" y="1511"/>
                  <a:pt x="1566" y="1512"/>
                </a:cubicBezTo>
                <a:cubicBezTo>
                  <a:pt x="1567" y="1515"/>
                  <a:pt x="1566" y="1519"/>
                  <a:pt x="1565" y="1522"/>
                </a:cubicBezTo>
                <a:cubicBezTo>
                  <a:pt x="1565" y="1520"/>
                  <a:pt x="1566" y="1518"/>
                  <a:pt x="1566" y="1516"/>
                </a:cubicBezTo>
                <a:cubicBezTo>
                  <a:pt x="1566" y="1515"/>
                  <a:pt x="1565" y="1515"/>
                  <a:pt x="1565" y="1515"/>
                </a:cubicBezTo>
                <a:cubicBezTo>
                  <a:pt x="1564" y="1515"/>
                  <a:pt x="1564" y="1515"/>
                  <a:pt x="1564" y="1515"/>
                </a:cubicBezTo>
                <a:cubicBezTo>
                  <a:pt x="1563" y="1517"/>
                  <a:pt x="1562" y="1518"/>
                  <a:pt x="1561" y="1519"/>
                </a:cubicBezTo>
                <a:cubicBezTo>
                  <a:pt x="1561" y="1519"/>
                  <a:pt x="1561" y="1519"/>
                  <a:pt x="1561" y="1519"/>
                </a:cubicBezTo>
                <a:cubicBezTo>
                  <a:pt x="1561" y="1518"/>
                  <a:pt x="1562" y="1516"/>
                  <a:pt x="1562" y="1514"/>
                </a:cubicBezTo>
                <a:cubicBezTo>
                  <a:pt x="1561" y="1515"/>
                  <a:pt x="1560" y="1515"/>
                  <a:pt x="1560" y="1516"/>
                </a:cubicBezTo>
                <a:cubicBezTo>
                  <a:pt x="1559" y="1516"/>
                  <a:pt x="1559" y="1517"/>
                  <a:pt x="1558" y="1518"/>
                </a:cubicBezTo>
                <a:cubicBezTo>
                  <a:pt x="1559" y="1514"/>
                  <a:pt x="1559" y="1514"/>
                  <a:pt x="1565" y="1513"/>
                </a:cubicBezTo>
                <a:cubicBezTo>
                  <a:pt x="1565" y="1513"/>
                  <a:pt x="1564" y="1512"/>
                  <a:pt x="1564" y="1512"/>
                </a:cubicBezTo>
                <a:cubicBezTo>
                  <a:pt x="1561" y="1513"/>
                  <a:pt x="1560" y="1511"/>
                  <a:pt x="1560" y="1509"/>
                </a:cubicBezTo>
                <a:cubicBezTo>
                  <a:pt x="1562" y="1508"/>
                  <a:pt x="1563" y="1508"/>
                  <a:pt x="1565" y="1508"/>
                </a:cubicBezTo>
                <a:cubicBezTo>
                  <a:pt x="1563" y="1505"/>
                  <a:pt x="1562" y="1502"/>
                  <a:pt x="1558" y="1502"/>
                </a:cubicBezTo>
                <a:cubicBezTo>
                  <a:pt x="1558" y="1502"/>
                  <a:pt x="1558" y="1502"/>
                  <a:pt x="1558" y="1501"/>
                </a:cubicBezTo>
                <a:cubicBezTo>
                  <a:pt x="1555" y="1499"/>
                  <a:pt x="1553" y="1497"/>
                  <a:pt x="1550" y="1495"/>
                </a:cubicBezTo>
                <a:cubicBezTo>
                  <a:pt x="1548" y="1494"/>
                  <a:pt x="1545" y="1493"/>
                  <a:pt x="1543" y="1493"/>
                </a:cubicBezTo>
                <a:cubicBezTo>
                  <a:pt x="1540" y="1493"/>
                  <a:pt x="1536" y="1494"/>
                  <a:pt x="1533" y="1495"/>
                </a:cubicBezTo>
                <a:cubicBezTo>
                  <a:pt x="1530" y="1496"/>
                  <a:pt x="1528" y="1498"/>
                  <a:pt x="1526" y="1501"/>
                </a:cubicBezTo>
                <a:cubicBezTo>
                  <a:pt x="1528" y="1501"/>
                  <a:pt x="1529" y="1501"/>
                  <a:pt x="1530" y="1501"/>
                </a:cubicBezTo>
                <a:cubicBezTo>
                  <a:pt x="1530" y="1502"/>
                  <a:pt x="1529" y="1502"/>
                  <a:pt x="1528" y="1502"/>
                </a:cubicBezTo>
                <a:cubicBezTo>
                  <a:pt x="1526" y="1503"/>
                  <a:pt x="1523" y="1502"/>
                  <a:pt x="1521" y="1504"/>
                </a:cubicBezTo>
                <a:cubicBezTo>
                  <a:pt x="1517" y="1508"/>
                  <a:pt x="1513" y="1512"/>
                  <a:pt x="1510" y="1516"/>
                </a:cubicBezTo>
                <a:cubicBezTo>
                  <a:pt x="1508" y="1518"/>
                  <a:pt x="1508" y="1521"/>
                  <a:pt x="1506" y="1523"/>
                </a:cubicBezTo>
                <a:cubicBezTo>
                  <a:pt x="1506" y="1523"/>
                  <a:pt x="1506" y="1524"/>
                  <a:pt x="1507" y="1525"/>
                </a:cubicBezTo>
                <a:cubicBezTo>
                  <a:pt x="1508" y="1527"/>
                  <a:pt x="1509" y="1529"/>
                  <a:pt x="1511" y="1530"/>
                </a:cubicBezTo>
                <a:cubicBezTo>
                  <a:pt x="1512" y="1529"/>
                  <a:pt x="1513" y="1527"/>
                  <a:pt x="1514" y="1526"/>
                </a:cubicBezTo>
                <a:cubicBezTo>
                  <a:pt x="1514" y="1527"/>
                  <a:pt x="1513" y="1529"/>
                  <a:pt x="1513" y="1530"/>
                </a:cubicBezTo>
                <a:cubicBezTo>
                  <a:pt x="1512" y="1531"/>
                  <a:pt x="1511" y="1532"/>
                  <a:pt x="1511" y="1534"/>
                </a:cubicBezTo>
                <a:cubicBezTo>
                  <a:pt x="1510" y="1535"/>
                  <a:pt x="1511" y="1536"/>
                  <a:pt x="1511" y="1537"/>
                </a:cubicBezTo>
                <a:cubicBezTo>
                  <a:pt x="1513" y="1540"/>
                  <a:pt x="1517" y="1540"/>
                  <a:pt x="1521" y="1538"/>
                </a:cubicBezTo>
                <a:cubicBezTo>
                  <a:pt x="1523" y="1537"/>
                  <a:pt x="1526" y="1536"/>
                  <a:pt x="1528" y="1535"/>
                </a:cubicBezTo>
                <a:cubicBezTo>
                  <a:pt x="1530" y="1534"/>
                  <a:pt x="1531" y="1534"/>
                  <a:pt x="1531" y="1532"/>
                </a:cubicBezTo>
                <a:cubicBezTo>
                  <a:pt x="1531" y="1529"/>
                  <a:pt x="1531" y="1525"/>
                  <a:pt x="1531" y="1522"/>
                </a:cubicBezTo>
                <a:cubicBezTo>
                  <a:pt x="1531" y="1519"/>
                  <a:pt x="1531" y="1516"/>
                  <a:pt x="1531" y="1513"/>
                </a:cubicBezTo>
                <a:cubicBezTo>
                  <a:pt x="1532" y="1516"/>
                  <a:pt x="1532" y="1519"/>
                  <a:pt x="1533" y="1521"/>
                </a:cubicBezTo>
                <a:cubicBezTo>
                  <a:pt x="1534" y="1526"/>
                  <a:pt x="1534" y="1530"/>
                  <a:pt x="1532" y="1534"/>
                </a:cubicBezTo>
                <a:cubicBezTo>
                  <a:pt x="1532" y="1535"/>
                  <a:pt x="1531" y="1536"/>
                  <a:pt x="1531" y="1536"/>
                </a:cubicBezTo>
                <a:cubicBezTo>
                  <a:pt x="1527" y="1536"/>
                  <a:pt x="1524" y="1538"/>
                  <a:pt x="1521" y="1540"/>
                </a:cubicBezTo>
                <a:cubicBezTo>
                  <a:pt x="1516" y="1543"/>
                  <a:pt x="1512" y="1541"/>
                  <a:pt x="1509" y="1537"/>
                </a:cubicBezTo>
                <a:cubicBezTo>
                  <a:pt x="1508" y="1537"/>
                  <a:pt x="1508" y="1536"/>
                  <a:pt x="1509" y="1535"/>
                </a:cubicBezTo>
                <a:cubicBezTo>
                  <a:pt x="1510" y="1533"/>
                  <a:pt x="1509" y="1531"/>
                  <a:pt x="1507" y="1529"/>
                </a:cubicBezTo>
                <a:cubicBezTo>
                  <a:pt x="1506" y="1527"/>
                  <a:pt x="1504" y="1525"/>
                  <a:pt x="1505" y="1522"/>
                </a:cubicBezTo>
                <a:cubicBezTo>
                  <a:pt x="1506" y="1520"/>
                  <a:pt x="1507" y="1518"/>
                  <a:pt x="1508" y="1517"/>
                </a:cubicBezTo>
                <a:cubicBezTo>
                  <a:pt x="1510" y="1514"/>
                  <a:pt x="1512" y="1511"/>
                  <a:pt x="1514" y="1509"/>
                </a:cubicBezTo>
                <a:cubicBezTo>
                  <a:pt x="1513" y="1509"/>
                  <a:pt x="1513" y="1509"/>
                  <a:pt x="1513" y="1509"/>
                </a:cubicBezTo>
                <a:cubicBezTo>
                  <a:pt x="1508" y="1510"/>
                  <a:pt x="1503" y="1511"/>
                  <a:pt x="1499" y="1515"/>
                </a:cubicBezTo>
                <a:cubicBezTo>
                  <a:pt x="1495" y="1519"/>
                  <a:pt x="1492" y="1524"/>
                  <a:pt x="1491" y="1531"/>
                </a:cubicBezTo>
                <a:cubicBezTo>
                  <a:pt x="1491" y="1538"/>
                  <a:pt x="1493" y="1544"/>
                  <a:pt x="1497" y="1549"/>
                </a:cubicBezTo>
                <a:cubicBezTo>
                  <a:pt x="1497" y="1550"/>
                  <a:pt x="1498" y="1552"/>
                  <a:pt x="1498" y="1553"/>
                </a:cubicBezTo>
                <a:cubicBezTo>
                  <a:pt x="1498" y="1555"/>
                  <a:pt x="1497" y="1556"/>
                  <a:pt x="1497" y="1557"/>
                </a:cubicBezTo>
                <a:cubicBezTo>
                  <a:pt x="1496" y="1559"/>
                  <a:pt x="1497" y="1560"/>
                  <a:pt x="1498" y="1561"/>
                </a:cubicBezTo>
                <a:cubicBezTo>
                  <a:pt x="1501" y="1561"/>
                  <a:pt x="1504" y="1562"/>
                  <a:pt x="1506" y="1562"/>
                </a:cubicBezTo>
                <a:cubicBezTo>
                  <a:pt x="1507" y="1562"/>
                  <a:pt x="1508" y="1561"/>
                  <a:pt x="1508" y="1561"/>
                </a:cubicBezTo>
                <a:cubicBezTo>
                  <a:pt x="1508" y="1560"/>
                  <a:pt x="1508" y="1558"/>
                  <a:pt x="1509" y="1557"/>
                </a:cubicBezTo>
                <a:cubicBezTo>
                  <a:pt x="1511" y="1555"/>
                  <a:pt x="1511" y="1552"/>
                  <a:pt x="1511" y="1549"/>
                </a:cubicBezTo>
                <a:cubicBezTo>
                  <a:pt x="1511" y="1549"/>
                  <a:pt x="1511" y="1549"/>
                  <a:pt x="1511" y="1548"/>
                </a:cubicBezTo>
                <a:cubicBezTo>
                  <a:pt x="1511" y="1548"/>
                  <a:pt x="1511" y="1548"/>
                  <a:pt x="1511" y="1548"/>
                </a:cubicBezTo>
                <a:cubicBezTo>
                  <a:pt x="1512" y="1550"/>
                  <a:pt x="1513" y="1550"/>
                  <a:pt x="1515" y="1550"/>
                </a:cubicBezTo>
                <a:cubicBezTo>
                  <a:pt x="1516" y="1550"/>
                  <a:pt x="1517" y="1550"/>
                  <a:pt x="1518" y="1550"/>
                </a:cubicBezTo>
                <a:cubicBezTo>
                  <a:pt x="1520" y="1550"/>
                  <a:pt x="1523" y="1551"/>
                  <a:pt x="1524" y="1547"/>
                </a:cubicBezTo>
                <a:cubicBezTo>
                  <a:pt x="1524" y="1549"/>
                  <a:pt x="1524" y="1551"/>
                  <a:pt x="1524" y="1551"/>
                </a:cubicBezTo>
                <a:cubicBezTo>
                  <a:pt x="1523" y="1552"/>
                  <a:pt x="1521" y="1553"/>
                  <a:pt x="1520" y="1553"/>
                </a:cubicBezTo>
                <a:cubicBezTo>
                  <a:pt x="1519" y="1554"/>
                  <a:pt x="1518" y="1556"/>
                  <a:pt x="1519" y="1557"/>
                </a:cubicBezTo>
                <a:cubicBezTo>
                  <a:pt x="1520" y="1559"/>
                  <a:pt x="1521" y="1561"/>
                  <a:pt x="1523" y="1563"/>
                </a:cubicBezTo>
                <a:cubicBezTo>
                  <a:pt x="1525" y="1564"/>
                  <a:pt x="1526" y="1564"/>
                  <a:pt x="1528" y="1562"/>
                </a:cubicBezTo>
                <a:cubicBezTo>
                  <a:pt x="1528" y="1561"/>
                  <a:pt x="1529" y="1561"/>
                  <a:pt x="1530" y="1560"/>
                </a:cubicBezTo>
                <a:cubicBezTo>
                  <a:pt x="1532" y="1559"/>
                  <a:pt x="1533" y="1557"/>
                  <a:pt x="1535" y="1556"/>
                </a:cubicBezTo>
                <a:cubicBezTo>
                  <a:pt x="1539" y="1552"/>
                  <a:pt x="1541" y="1546"/>
                  <a:pt x="1543" y="1540"/>
                </a:cubicBezTo>
                <a:cubicBezTo>
                  <a:pt x="1543" y="1540"/>
                  <a:pt x="1542" y="1539"/>
                  <a:pt x="1541" y="1538"/>
                </a:cubicBezTo>
                <a:cubicBezTo>
                  <a:pt x="1541" y="1537"/>
                  <a:pt x="1540" y="1536"/>
                  <a:pt x="1538" y="1536"/>
                </a:cubicBezTo>
                <a:close/>
                <a:moveTo>
                  <a:pt x="1491" y="1542"/>
                </a:moveTo>
                <a:cubicBezTo>
                  <a:pt x="1490" y="1543"/>
                  <a:pt x="1489" y="1544"/>
                  <a:pt x="1487" y="1545"/>
                </a:cubicBezTo>
                <a:cubicBezTo>
                  <a:pt x="1487" y="1545"/>
                  <a:pt x="1487" y="1546"/>
                  <a:pt x="1487" y="1547"/>
                </a:cubicBezTo>
                <a:cubicBezTo>
                  <a:pt x="1487" y="1549"/>
                  <a:pt x="1491" y="1554"/>
                  <a:pt x="1494" y="1553"/>
                </a:cubicBezTo>
                <a:cubicBezTo>
                  <a:pt x="1496" y="1553"/>
                  <a:pt x="1497" y="1552"/>
                  <a:pt x="1496" y="1551"/>
                </a:cubicBezTo>
                <a:cubicBezTo>
                  <a:pt x="1494" y="1548"/>
                  <a:pt x="1493" y="1545"/>
                  <a:pt x="1491" y="1542"/>
                </a:cubicBezTo>
                <a:close/>
                <a:moveTo>
                  <a:pt x="1544" y="1544"/>
                </a:moveTo>
                <a:cubicBezTo>
                  <a:pt x="1541" y="1549"/>
                  <a:pt x="1539" y="1553"/>
                  <a:pt x="1537" y="1557"/>
                </a:cubicBezTo>
                <a:cubicBezTo>
                  <a:pt x="1540" y="1557"/>
                  <a:pt x="1542" y="1558"/>
                  <a:pt x="1545" y="1557"/>
                </a:cubicBezTo>
                <a:cubicBezTo>
                  <a:pt x="1545" y="1557"/>
                  <a:pt x="1545" y="1556"/>
                  <a:pt x="1545" y="1556"/>
                </a:cubicBezTo>
                <a:cubicBezTo>
                  <a:pt x="1545" y="1553"/>
                  <a:pt x="1545" y="1551"/>
                  <a:pt x="1545" y="1548"/>
                </a:cubicBezTo>
                <a:cubicBezTo>
                  <a:pt x="1545" y="1547"/>
                  <a:pt x="1544" y="1546"/>
                  <a:pt x="1544" y="1544"/>
                </a:cubicBezTo>
                <a:close/>
                <a:moveTo>
                  <a:pt x="1491" y="1524"/>
                </a:moveTo>
                <a:cubicBezTo>
                  <a:pt x="1490" y="1524"/>
                  <a:pt x="1489" y="1525"/>
                  <a:pt x="1489" y="1525"/>
                </a:cubicBezTo>
                <a:cubicBezTo>
                  <a:pt x="1488" y="1525"/>
                  <a:pt x="1487" y="1525"/>
                  <a:pt x="1487" y="1524"/>
                </a:cubicBezTo>
                <a:cubicBezTo>
                  <a:pt x="1487" y="1524"/>
                  <a:pt x="1487" y="1523"/>
                  <a:pt x="1487" y="1522"/>
                </a:cubicBezTo>
                <a:cubicBezTo>
                  <a:pt x="1487" y="1520"/>
                  <a:pt x="1488" y="1518"/>
                  <a:pt x="1489" y="1516"/>
                </a:cubicBezTo>
                <a:cubicBezTo>
                  <a:pt x="1488" y="1516"/>
                  <a:pt x="1488" y="1516"/>
                  <a:pt x="1488" y="1516"/>
                </a:cubicBezTo>
                <a:cubicBezTo>
                  <a:pt x="1487" y="1517"/>
                  <a:pt x="1486" y="1518"/>
                  <a:pt x="1485" y="1519"/>
                </a:cubicBezTo>
                <a:cubicBezTo>
                  <a:pt x="1484" y="1520"/>
                  <a:pt x="1486" y="1525"/>
                  <a:pt x="1487" y="1526"/>
                </a:cubicBezTo>
                <a:cubicBezTo>
                  <a:pt x="1489" y="1527"/>
                  <a:pt x="1491" y="1526"/>
                  <a:pt x="1491" y="1524"/>
                </a:cubicBezTo>
                <a:close/>
                <a:moveTo>
                  <a:pt x="1491" y="1542"/>
                </a:moveTo>
                <a:cubicBezTo>
                  <a:pt x="1490" y="1543"/>
                  <a:pt x="1489" y="1544"/>
                  <a:pt x="1488" y="1545"/>
                </a:cubicBezTo>
                <a:cubicBezTo>
                  <a:pt x="1487" y="1545"/>
                  <a:pt x="1487" y="1546"/>
                  <a:pt x="1487" y="1547"/>
                </a:cubicBezTo>
                <a:cubicBezTo>
                  <a:pt x="1487" y="1550"/>
                  <a:pt x="1491" y="1554"/>
                  <a:pt x="1494" y="1554"/>
                </a:cubicBezTo>
                <a:cubicBezTo>
                  <a:pt x="1496" y="1554"/>
                  <a:pt x="1496" y="1553"/>
                  <a:pt x="1496" y="1551"/>
                </a:cubicBezTo>
                <a:cubicBezTo>
                  <a:pt x="1494" y="1548"/>
                  <a:pt x="1493" y="1545"/>
                  <a:pt x="1491" y="1542"/>
                </a:cubicBezTo>
                <a:close/>
                <a:moveTo>
                  <a:pt x="1544" y="1544"/>
                </a:moveTo>
                <a:cubicBezTo>
                  <a:pt x="1542" y="1549"/>
                  <a:pt x="1539" y="1553"/>
                  <a:pt x="1537" y="1558"/>
                </a:cubicBezTo>
                <a:cubicBezTo>
                  <a:pt x="1540" y="1558"/>
                  <a:pt x="1542" y="1558"/>
                  <a:pt x="1545" y="1558"/>
                </a:cubicBezTo>
                <a:cubicBezTo>
                  <a:pt x="1545" y="1558"/>
                  <a:pt x="1545" y="1556"/>
                  <a:pt x="1545" y="1556"/>
                </a:cubicBezTo>
                <a:cubicBezTo>
                  <a:pt x="1545" y="1553"/>
                  <a:pt x="1545" y="1551"/>
                  <a:pt x="1545" y="1548"/>
                </a:cubicBezTo>
                <a:cubicBezTo>
                  <a:pt x="1545" y="1547"/>
                  <a:pt x="1544" y="1546"/>
                  <a:pt x="1544" y="1544"/>
                </a:cubicBezTo>
                <a:close/>
                <a:moveTo>
                  <a:pt x="1491" y="1524"/>
                </a:moveTo>
                <a:cubicBezTo>
                  <a:pt x="1490" y="1524"/>
                  <a:pt x="1490" y="1525"/>
                  <a:pt x="1489" y="1525"/>
                </a:cubicBezTo>
                <a:cubicBezTo>
                  <a:pt x="1488" y="1525"/>
                  <a:pt x="1488" y="1525"/>
                  <a:pt x="1488" y="1524"/>
                </a:cubicBezTo>
                <a:cubicBezTo>
                  <a:pt x="1487" y="1524"/>
                  <a:pt x="1487" y="1523"/>
                  <a:pt x="1487" y="1522"/>
                </a:cubicBezTo>
                <a:cubicBezTo>
                  <a:pt x="1488" y="1520"/>
                  <a:pt x="1488" y="1518"/>
                  <a:pt x="1489" y="1516"/>
                </a:cubicBezTo>
                <a:cubicBezTo>
                  <a:pt x="1488" y="1516"/>
                  <a:pt x="1488" y="1516"/>
                  <a:pt x="1488" y="1516"/>
                </a:cubicBezTo>
                <a:cubicBezTo>
                  <a:pt x="1487" y="1517"/>
                  <a:pt x="1486" y="1518"/>
                  <a:pt x="1485" y="1519"/>
                </a:cubicBezTo>
                <a:cubicBezTo>
                  <a:pt x="1484" y="1520"/>
                  <a:pt x="1486" y="1526"/>
                  <a:pt x="1488" y="1526"/>
                </a:cubicBezTo>
                <a:cubicBezTo>
                  <a:pt x="1489" y="1527"/>
                  <a:pt x="1491" y="1526"/>
                  <a:pt x="1491" y="1524"/>
                </a:cubicBezTo>
                <a:close/>
                <a:moveTo>
                  <a:pt x="1544" y="1516"/>
                </a:moveTo>
                <a:cubicBezTo>
                  <a:pt x="1547" y="1512"/>
                  <a:pt x="1547" y="1512"/>
                  <a:pt x="1550" y="1511"/>
                </a:cubicBezTo>
                <a:cubicBezTo>
                  <a:pt x="1550" y="1513"/>
                  <a:pt x="1552" y="1514"/>
                  <a:pt x="1553" y="1514"/>
                </a:cubicBezTo>
                <a:cubicBezTo>
                  <a:pt x="1551" y="1515"/>
                  <a:pt x="1549" y="1517"/>
                  <a:pt x="1547" y="1518"/>
                </a:cubicBezTo>
                <a:cubicBezTo>
                  <a:pt x="1546" y="1517"/>
                  <a:pt x="1546" y="1517"/>
                  <a:pt x="1545" y="1515"/>
                </a:cubicBezTo>
                <a:cubicBezTo>
                  <a:pt x="1545" y="1515"/>
                  <a:pt x="1544" y="1515"/>
                  <a:pt x="1544" y="1516"/>
                </a:cubicBezTo>
                <a:close/>
                <a:moveTo>
                  <a:pt x="1549" y="1515"/>
                </a:moveTo>
                <a:cubicBezTo>
                  <a:pt x="1549" y="1515"/>
                  <a:pt x="1548" y="1515"/>
                  <a:pt x="1547" y="1515"/>
                </a:cubicBezTo>
                <a:cubicBezTo>
                  <a:pt x="1547" y="1515"/>
                  <a:pt x="1546" y="1515"/>
                  <a:pt x="1546" y="1516"/>
                </a:cubicBezTo>
                <a:cubicBezTo>
                  <a:pt x="1546" y="1516"/>
                  <a:pt x="1547" y="1517"/>
                  <a:pt x="1547" y="1517"/>
                </a:cubicBezTo>
                <a:cubicBezTo>
                  <a:pt x="1548" y="1517"/>
                  <a:pt x="1548" y="1516"/>
                  <a:pt x="1549" y="1515"/>
                </a:cubicBezTo>
                <a:close/>
                <a:moveTo>
                  <a:pt x="1531" y="1505"/>
                </a:moveTo>
                <a:cubicBezTo>
                  <a:pt x="1524" y="1505"/>
                  <a:pt x="1521" y="1507"/>
                  <a:pt x="1520" y="1515"/>
                </a:cubicBezTo>
                <a:cubicBezTo>
                  <a:pt x="1521" y="1513"/>
                  <a:pt x="1522" y="1511"/>
                  <a:pt x="1524" y="1508"/>
                </a:cubicBezTo>
                <a:cubicBezTo>
                  <a:pt x="1524" y="1508"/>
                  <a:pt x="1524" y="1508"/>
                  <a:pt x="1524" y="1508"/>
                </a:cubicBezTo>
                <a:cubicBezTo>
                  <a:pt x="1524" y="1510"/>
                  <a:pt x="1524" y="1510"/>
                  <a:pt x="1524" y="1511"/>
                </a:cubicBezTo>
                <a:cubicBezTo>
                  <a:pt x="1525" y="1508"/>
                  <a:pt x="1527" y="1506"/>
                  <a:pt x="1531" y="1505"/>
                </a:cubicBezTo>
                <a:close/>
                <a:moveTo>
                  <a:pt x="1574" y="1507"/>
                </a:moveTo>
                <a:cubicBezTo>
                  <a:pt x="1572" y="1508"/>
                  <a:pt x="1570" y="1510"/>
                  <a:pt x="1568" y="1511"/>
                </a:cubicBezTo>
                <a:cubicBezTo>
                  <a:pt x="1570" y="1511"/>
                  <a:pt x="1573" y="1510"/>
                  <a:pt x="1574" y="1507"/>
                </a:cubicBezTo>
                <a:close/>
                <a:moveTo>
                  <a:pt x="1541" y="1509"/>
                </a:moveTo>
                <a:cubicBezTo>
                  <a:pt x="1542" y="1508"/>
                  <a:pt x="1543" y="1506"/>
                  <a:pt x="1544" y="1505"/>
                </a:cubicBezTo>
                <a:cubicBezTo>
                  <a:pt x="1541" y="1506"/>
                  <a:pt x="1540" y="1507"/>
                  <a:pt x="1541" y="1509"/>
                </a:cubicBezTo>
                <a:close/>
                <a:moveTo>
                  <a:pt x="1550" y="1531"/>
                </a:moveTo>
                <a:cubicBezTo>
                  <a:pt x="1549" y="1531"/>
                  <a:pt x="1548" y="1532"/>
                  <a:pt x="1548" y="1533"/>
                </a:cubicBezTo>
                <a:cubicBezTo>
                  <a:pt x="1548" y="1532"/>
                  <a:pt x="1549" y="1531"/>
                  <a:pt x="1550" y="1531"/>
                </a:cubicBezTo>
                <a:close/>
                <a:moveTo>
                  <a:pt x="1549" y="1515"/>
                </a:moveTo>
                <a:cubicBezTo>
                  <a:pt x="1548" y="1515"/>
                  <a:pt x="1548" y="1514"/>
                  <a:pt x="1547" y="1514"/>
                </a:cubicBezTo>
                <a:cubicBezTo>
                  <a:pt x="1547" y="1514"/>
                  <a:pt x="1546" y="1515"/>
                  <a:pt x="1546" y="1515"/>
                </a:cubicBezTo>
                <a:cubicBezTo>
                  <a:pt x="1546" y="1516"/>
                  <a:pt x="1546" y="1516"/>
                  <a:pt x="1547" y="1517"/>
                </a:cubicBezTo>
                <a:cubicBezTo>
                  <a:pt x="1548" y="1516"/>
                  <a:pt x="1548" y="1516"/>
                  <a:pt x="1549" y="1515"/>
                </a:cubicBezTo>
                <a:close/>
                <a:moveTo>
                  <a:pt x="1097" y="1397"/>
                </a:moveTo>
                <a:cubicBezTo>
                  <a:pt x="1097" y="1397"/>
                  <a:pt x="1097" y="1397"/>
                  <a:pt x="1097" y="1397"/>
                </a:cubicBezTo>
                <a:cubicBezTo>
                  <a:pt x="1092" y="1397"/>
                  <a:pt x="1092" y="1397"/>
                  <a:pt x="1092" y="1397"/>
                </a:cubicBezTo>
                <a:cubicBezTo>
                  <a:pt x="1090" y="1398"/>
                  <a:pt x="1088" y="1400"/>
                  <a:pt x="1086" y="1400"/>
                </a:cubicBezTo>
                <a:cubicBezTo>
                  <a:pt x="1085" y="1402"/>
                  <a:pt x="1083" y="1402"/>
                  <a:pt x="1081" y="1403"/>
                </a:cubicBezTo>
                <a:cubicBezTo>
                  <a:pt x="1080" y="1405"/>
                  <a:pt x="1078" y="1405"/>
                  <a:pt x="1076" y="1406"/>
                </a:cubicBezTo>
                <a:cubicBezTo>
                  <a:pt x="1074" y="1407"/>
                  <a:pt x="1072" y="1408"/>
                  <a:pt x="1070" y="1408"/>
                </a:cubicBezTo>
                <a:cubicBezTo>
                  <a:pt x="1070" y="1408"/>
                  <a:pt x="1070" y="1408"/>
                  <a:pt x="1070" y="1418"/>
                </a:cubicBezTo>
                <a:cubicBezTo>
                  <a:pt x="1073" y="1417"/>
                  <a:pt x="1076" y="1416"/>
                  <a:pt x="1078" y="1415"/>
                </a:cubicBezTo>
                <a:cubicBezTo>
                  <a:pt x="1081" y="1414"/>
                  <a:pt x="1083" y="1413"/>
                  <a:pt x="1086" y="1411"/>
                </a:cubicBezTo>
                <a:cubicBezTo>
                  <a:pt x="1086" y="1411"/>
                  <a:pt x="1086" y="1411"/>
                  <a:pt x="1086" y="1470"/>
                </a:cubicBezTo>
                <a:cubicBezTo>
                  <a:pt x="1086" y="1470"/>
                  <a:pt x="1086" y="1470"/>
                  <a:pt x="1097" y="1470"/>
                </a:cubicBezTo>
                <a:cubicBezTo>
                  <a:pt x="1097" y="1470"/>
                  <a:pt x="1097" y="1470"/>
                  <a:pt x="1097" y="1397"/>
                </a:cubicBezTo>
                <a:close/>
                <a:moveTo>
                  <a:pt x="1144" y="1397"/>
                </a:moveTo>
                <a:cubicBezTo>
                  <a:pt x="1144" y="1397"/>
                  <a:pt x="1144" y="1397"/>
                  <a:pt x="1144" y="1397"/>
                </a:cubicBezTo>
                <a:cubicBezTo>
                  <a:pt x="1139" y="1397"/>
                  <a:pt x="1139" y="1397"/>
                  <a:pt x="1139" y="1397"/>
                </a:cubicBezTo>
                <a:cubicBezTo>
                  <a:pt x="1138" y="1398"/>
                  <a:pt x="1135" y="1400"/>
                  <a:pt x="1134" y="1400"/>
                </a:cubicBezTo>
                <a:cubicBezTo>
                  <a:pt x="1132" y="1402"/>
                  <a:pt x="1130" y="1402"/>
                  <a:pt x="1128" y="1403"/>
                </a:cubicBezTo>
                <a:cubicBezTo>
                  <a:pt x="1127" y="1405"/>
                  <a:pt x="1125" y="1405"/>
                  <a:pt x="1123" y="1406"/>
                </a:cubicBezTo>
                <a:cubicBezTo>
                  <a:pt x="1121" y="1407"/>
                  <a:pt x="1119" y="1408"/>
                  <a:pt x="1117" y="1408"/>
                </a:cubicBezTo>
                <a:cubicBezTo>
                  <a:pt x="1117" y="1408"/>
                  <a:pt x="1117" y="1408"/>
                  <a:pt x="1117" y="1418"/>
                </a:cubicBezTo>
                <a:cubicBezTo>
                  <a:pt x="1120" y="1417"/>
                  <a:pt x="1123" y="1416"/>
                  <a:pt x="1126" y="1415"/>
                </a:cubicBezTo>
                <a:cubicBezTo>
                  <a:pt x="1128" y="1414"/>
                  <a:pt x="1130" y="1413"/>
                  <a:pt x="1133" y="1411"/>
                </a:cubicBezTo>
                <a:cubicBezTo>
                  <a:pt x="1133" y="1411"/>
                  <a:pt x="1133" y="1411"/>
                  <a:pt x="1133" y="1470"/>
                </a:cubicBezTo>
                <a:cubicBezTo>
                  <a:pt x="1133" y="1470"/>
                  <a:pt x="1133" y="1470"/>
                  <a:pt x="1144" y="1470"/>
                </a:cubicBezTo>
                <a:cubicBezTo>
                  <a:pt x="1144" y="1470"/>
                  <a:pt x="1144" y="1470"/>
                  <a:pt x="1144" y="1397"/>
                </a:cubicBezTo>
                <a:close/>
                <a:moveTo>
                  <a:pt x="1190" y="1397"/>
                </a:moveTo>
                <a:cubicBezTo>
                  <a:pt x="1190" y="1397"/>
                  <a:pt x="1190" y="1397"/>
                  <a:pt x="1190" y="1397"/>
                </a:cubicBezTo>
                <a:cubicBezTo>
                  <a:pt x="1186" y="1397"/>
                  <a:pt x="1186" y="1397"/>
                  <a:pt x="1186" y="1397"/>
                </a:cubicBezTo>
                <a:cubicBezTo>
                  <a:pt x="1184" y="1398"/>
                  <a:pt x="1182" y="1400"/>
                  <a:pt x="1180" y="1400"/>
                </a:cubicBezTo>
                <a:cubicBezTo>
                  <a:pt x="1179" y="1402"/>
                  <a:pt x="1176" y="1402"/>
                  <a:pt x="1175" y="1403"/>
                </a:cubicBezTo>
                <a:cubicBezTo>
                  <a:pt x="1173" y="1404"/>
                  <a:pt x="1171" y="1405"/>
                  <a:pt x="1169" y="1405"/>
                </a:cubicBezTo>
                <a:cubicBezTo>
                  <a:pt x="1168" y="1406"/>
                  <a:pt x="1165" y="1407"/>
                  <a:pt x="1164" y="1408"/>
                </a:cubicBezTo>
                <a:cubicBezTo>
                  <a:pt x="1164" y="1408"/>
                  <a:pt x="1164" y="1408"/>
                  <a:pt x="1164" y="1418"/>
                </a:cubicBezTo>
                <a:cubicBezTo>
                  <a:pt x="1167" y="1417"/>
                  <a:pt x="1170" y="1416"/>
                  <a:pt x="1172" y="1415"/>
                </a:cubicBezTo>
                <a:cubicBezTo>
                  <a:pt x="1174" y="1414"/>
                  <a:pt x="1177" y="1413"/>
                  <a:pt x="1179" y="1411"/>
                </a:cubicBezTo>
                <a:cubicBezTo>
                  <a:pt x="1179" y="1411"/>
                  <a:pt x="1179" y="1411"/>
                  <a:pt x="1179" y="1470"/>
                </a:cubicBezTo>
                <a:cubicBezTo>
                  <a:pt x="1179" y="1470"/>
                  <a:pt x="1179" y="1470"/>
                  <a:pt x="1190" y="1470"/>
                </a:cubicBezTo>
                <a:cubicBezTo>
                  <a:pt x="1190" y="1470"/>
                  <a:pt x="1190" y="1470"/>
                  <a:pt x="1190" y="1397"/>
                </a:cubicBezTo>
                <a:close/>
                <a:moveTo>
                  <a:pt x="1327" y="1429"/>
                </a:moveTo>
                <a:cubicBezTo>
                  <a:pt x="1327" y="1429"/>
                  <a:pt x="1327" y="1429"/>
                  <a:pt x="1327" y="1429"/>
                </a:cubicBezTo>
                <a:cubicBezTo>
                  <a:pt x="1327" y="1437"/>
                  <a:pt x="1327" y="1437"/>
                  <a:pt x="1327" y="1437"/>
                </a:cubicBezTo>
                <a:cubicBezTo>
                  <a:pt x="1333" y="1438"/>
                  <a:pt x="1334" y="1441"/>
                  <a:pt x="1334" y="1443"/>
                </a:cubicBezTo>
                <a:cubicBezTo>
                  <a:pt x="1334" y="1445"/>
                  <a:pt x="1333" y="1448"/>
                  <a:pt x="1333" y="1450"/>
                </a:cubicBezTo>
                <a:cubicBezTo>
                  <a:pt x="1333" y="1453"/>
                  <a:pt x="1332" y="1455"/>
                  <a:pt x="1332" y="1457"/>
                </a:cubicBezTo>
                <a:cubicBezTo>
                  <a:pt x="1332" y="1467"/>
                  <a:pt x="1338" y="1470"/>
                  <a:pt x="1347" y="1470"/>
                </a:cubicBezTo>
                <a:cubicBezTo>
                  <a:pt x="1347" y="1470"/>
                  <a:pt x="1347" y="1470"/>
                  <a:pt x="1351" y="1470"/>
                </a:cubicBezTo>
                <a:cubicBezTo>
                  <a:pt x="1351" y="1470"/>
                  <a:pt x="1351" y="1470"/>
                  <a:pt x="1351" y="1461"/>
                </a:cubicBezTo>
                <a:cubicBezTo>
                  <a:pt x="1351" y="1461"/>
                  <a:pt x="1351" y="1461"/>
                  <a:pt x="1349" y="1461"/>
                </a:cubicBezTo>
                <a:cubicBezTo>
                  <a:pt x="1345" y="1461"/>
                  <a:pt x="1344" y="1459"/>
                  <a:pt x="1344" y="1455"/>
                </a:cubicBezTo>
                <a:cubicBezTo>
                  <a:pt x="1344" y="1454"/>
                  <a:pt x="1344" y="1452"/>
                  <a:pt x="1345" y="1450"/>
                </a:cubicBezTo>
                <a:cubicBezTo>
                  <a:pt x="1345" y="1449"/>
                  <a:pt x="1345" y="1447"/>
                  <a:pt x="1345" y="1444"/>
                </a:cubicBezTo>
                <a:cubicBezTo>
                  <a:pt x="1345" y="1437"/>
                  <a:pt x="1342" y="1434"/>
                  <a:pt x="1337" y="1433"/>
                </a:cubicBezTo>
                <a:cubicBezTo>
                  <a:pt x="1337" y="1433"/>
                  <a:pt x="1337" y="1433"/>
                  <a:pt x="1337" y="1433"/>
                </a:cubicBezTo>
                <a:cubicBezTo>
                  <a:pt x="1342" y="1432"/>
                  <a:pt x="1345" y="1429"/>
                  <a:pt x="1345" y="1422"/>
                </a:cubicBezTo>
                <a:cubicBezTo>
                  <a:pt x="1345" y="1419"/>
                  <a:pt x="1345" y="1417"/>
                  <a:pt x="1345" y="1416"/>
                </a:cubicBezTo>
                <a:cubicBezTo>
                  <a:pt x="1344" y="1414"/>
                  <a:pt x="1344" y="1412"/>
                  <a:pt x="1344" y="1411"/>
                </a:cubicBezTo>
                <a:cubicBezTo>
                  <a:pt x="1344" y="1407"/>
                  <a:pt x="1345" y="1405"/>
                  <a:pt x="1349" y="1405"/>
                </a:cubicBezTo>
                <a:cubicBezTo>
                  <a:pt x="1349" y="1405"/>
                  <a:pt x="1349" y="1405"/>
                  <a:pt x="1351" y="1405"/>
                </a:cubicBezTo>
                <a:cubicBezTo>
                  <a:pt x="1351" y="1405"/>
                  <a:pt x="1351" y="1405"/>
                  <a:pt x="1351" y="1396"/>
                </a:cubicBezTo>
                <a:cubicBezTo>
                  <a:pt x="1351" y="1396"/>
                  <a:pt x="1351" y="1396"/>
                  <a:pt x="1347" y="1396"/>
                </a:cubicBezTo>
                <a:cubicBezTo>
                  <a:pt x="1338" y="1396"/>
                  <a:pt x="1332" y="1400"/>
                  <a:pt x="1332" y="1408"/>
                </a:cubicBezTo>
                <a:cubicBezTo>
                  <a:pt x="1332" y="1411"/>
                  <a:pt x="1333" y="1413"/>
                  <a:pt x="1333" y="1416"/>
                </a:cubicBezTo>
                <a:cubicBezTo>
                  <a:pt x="1333" y="1418"/>
                  <a:pt x="1334" y="1421"/>
                  <a:pt x="1334" y="1423"/>
                </a:cubicBezTo>
                <a:cubicBezTo>
                  <a:pt x="1334" y="1425"/>
                  <a:pt x="1333" y="1429"/>
                  <a:pt x="1327" y="1429"/>
                </a:cubicBezTo>
                <a:close/>
                <a:moveTo>
                  <a:pt x="1381" y="1437"/>
                </a:moveTo>
                <a:cubicBezTo>
                  <a:pt x="1381" y="1437"/>
                  <a:pt x="1381" y="1437"/>
                  <a:pt x="1381" y="1437"/>
                </a:cubicBezTo>
                <a:cubicBezTo>
                  <a:pt x="1381" y="1429"/>
                  <a:pt x="1381" y="1429"/>
                  <a:pt x="1381" y="1429"/>
                </a:cubicBezTo>
                <a:cubicBezTo>
                  <a:pt x="1375" y="1429"/>
                  <a:pt x="1375" y="1425"/>
                  <a:pt x="1375" y="1423"/>
                </a:cubicBezTo>
                <a:cubicBezTo>
                  <a:pt x="1375" y="1421"/>
                  <a:pt x="1375" y="1418"/>
                  <a:pt x="1375" y="1416"/>
                </a:cubicBezTo>
                <a:cubicBezTo>
                  <a:pt x="1375" y="1413"/>
                  <a:pt x="1375" y="1411"/>
                  <a:pt x="1375" y="1408"/>
                </a:cubicBezTo>
                <a:cubicBezTo>
                  <a:pt x="1375" y="1400"/>
                  <a:pt x="1370" y="1396"/>
                  <a:pt x="1361" y="1396"/>
                </a:cubicBezTo>
                <a:cubicBezTo>
                  <a:pt x="1361" y="1396"/>
                  <a:pt x="1361" y="1396"/>
                  <a:pt x="1357" y="1396"/>
                </a:cubicBezTo>
                <a:cubicBezTo>
                  <a:pt x="1357" y="1396"/>
                  <a:pt x="1357" y="1396"/>
                  <a:pt x="1357" y="1405"/>
                </a:cubicBezTo>
                <a:cubicBezTo>
                  <a:pt x="1357" y="1405"/>
                  <a:pt x="1357" y="1405"/>
                  <a:pt x="1359" y="1405"/>
                </a:cubicBezTo>
                <a:cubicBezTo>
                  <a:pt x="1362" y="1405"/>
                  <a:pt x="1364" y="1407"/>
                  <a:pt x="1364" y="1411"/>
                </a:cubicBezTo>
                <a:cubicBezTo>
                  <a:pt x="1364" y="1412"/>
                  <a:pt x="1364" y="1414"/>
                  <a:pt x="1364" y="1416"/>
                </a:cubicBezTo>
                <a:cubicBezTo>
                  <a:pt x="1363" y="1417"/>
                  <a:pt x="1363" y="1419"/>
                  <a:pt x="1363" y="1422"/>
                </a:cubicBezTo>
                <a:cubicBezTo>
                  <a:pt x="1363" y="1429"/>
                  <a:pt x="1366" y="1432"/>
                  <a:pt x="1372" y="1433"/>
                </a:cubicBezTo>
                <a:cubicBezTo>
                  <a:pt x="1372" y="1433"/>
                  <a:pt x="1372" y="1433"/>
                  <a:pt x="1372" y="1433"/>
                </a:cubicBezTo>
                <a:cubicBezTo>
                  <a:pt x="1366" y="1434"/>
                  <a:pt x="1363" y="1437"/>
                  <a:pt x="1363" y="1444"/>
                </a:cubicBezTo>
                <a:cubicBezTo>
                  <a:pt x="1363" y="1447"/>
                  <a:pt x="1363" y="1449"/>
                  <a:pt x="1364" y="1450"/>
                </a:cubicBezTo>
                <a:cubicBezTo>
                  <a:pt x="1364" y="1452"/>
                  <a:pt x="1364" y="1454"/>
                  <a:pt x="1364" y="1455"/>
                </a:cubicBezTo>
                <a:cubicBezTo>
                  <a:pt x="1364" y="1459"/>
                  <a:pt x="1363" y="1461"/>
                  <a:pt x="1359" y="1461"/>
                </a:cubicBezTo>
                <a:cubicBezTo>
                  <a:pt x="1359" y="1461"/>
                  <a:pt x="1359" y="1461"/>
                  <a:pt x="1357" y="1461"/>
                </a:cubicBezTo>
                <a:cubicBezTo>
                  <a:pt x="1357" y="1461"/>
                  <a:pt x="1357" y="1461"/>
                  <a:pt x="1357" y="1470"/>
                </a:cubicBezTo>
                <a:cubicBezTo>
                  <a:pt x="1357" y="1470"/>
                  <a:pt x="1357" y="1470"/>
                  <a:pt x="1361" y="1470"/>
                </a:cubicBezTo>
                <a:cubicBezTo>
                  <a:pt x="1370" y="1470"/>
                  <a:pt x="1375" y="1467"/>
                  <a:pt x="1375" y="1457"/>
                </a:cubicBezTo>
                <a:cubicBezTo>
                  <a:pt x="1375" y="1455"/>
                  <a:pt x="1375" y="1453"/>
                  <a:pt x="1375" y="1450"/>
                </a:cubicBezTo>
                <a:cubicBezTo>
                  <a:pt x="1375" y="1448"/>
                  <a:pt x="1375" y="1445"/>
                  <a:pt x="1375" y="1443"/>
                </a:cubicBezTo>
                <a:cubicBezTo>
                  <a:pt x="1375" y="1441"/>
                  <a:pt x="1375" y="1438"/>
                  <a:pt x="1381" y="1437"/>
                </a:cubicBezTo>
                <a:close/>
                <a:moveTo>
                  <a:pt x="1428" y="1397"/>
                </a:moveTo>
                <a:cubicBezTo>
                  <a:pt x="1428" y="1397"/>
                  <a:pt x="1428" y="1397"/>
                  <a:pt x="1428" y="1397"/>
                </a:cubicBezTo>
                <a:cubicBezTo>
                  <a:pt x="1423" y="1397"/>
                  <a:pt x="1423" y="1397"/>
                  <a:pt x="1423" y="1397"/>
                </a:cubicBezTo>
                <a:cubicBezTo>
                  <a:pt x="1421" y="1398"/>
                  <a:pt x="1420" y="1400"/>
                  <a:pt x="1417" y="1400"/>
                </a:cubicBezTo>
                <a:cubicBezTo>
                  <a:pt x="1416" y="1402"/>
                  <a:pt x="1414" y="1402"/>
                  <a:pt x="1412" y="1403"/>
                </a:cubicBezTo>
                <a:cubicBezTo>
                  <a:pt x="1410" y="1404"/>
                  <a:pt x="1409" y="1405"/>
                  <a:pt x="1407" y="1405"/>
                </a:cubicBezTo>
                <a:cubicBezTo>
                  <a:pt x="1405" y="1406"/>
                  <a:pt x="1404" y="1407"/>
                  <a:pt x="1401" y="1408"/>
                </a:cubicBezTo>
                <a:cubicBezTo>
                  <a:pt x="1401" y="1408"/>
                  <a:pt x="1401" y="1408"/>
                  <a:pt x="1401" y="1418"/>
                </a:cubicBezTo>
                <a:cubicBezTo>
                  <a:pt x="1404" y="1417"/>
                  <a:pt x="1407" y="1416"/>
                  <a:pt x="1409" y="1415"/>
                </a:cubicBezTo>
                <a:cubicBezTo>
                  <a:pt x="1412" y="1414"/>
                  <a:pt x="1415" y="1413"/>
                  <a:pt x="1417" y="1411"/>
                </a:cubicBezTo>
                <a:cubicBezTo>
                  <a:pt x="1417" y="1411"/>
                  <a:pt x="1417" y="1411"/>
                  <a:pt x="1417" y="1470"/>
                </a:cubicBezTo>
                <a:cubicBezTo>
                  <a:pt x="1417" y="1470"/>
                  <a:pt x="1417" y="1470"/>
                  <a:pt x="1428" y="1470"/>
                </a:cubicBezTo>
                <a:cubicBezTo>
                  <a:pt x="1428" y="1470"/>
                  <a:pt x="1428" y="1470"/>
                  <a:pt x="1428" y="1397"/>
                </a:cubicBezTo>
                <a:close/>
                <a:moveTo>
                  <a:pt x="1475" y="1397"/>
                </a:moveTo>
                <a:cubicBezTo>
                  <a:pt x="1475" y="1397"/>
                  <a:pt x="1475" y="1397"/>
                  <a:pt x="1475" y="1397"/>
                </a:cubicBezTo>
                <a:cubicBezTo>
                  <a:pt x="1470" y="1397"/>
                  <a:pt x="1470" y="1397"/>
                  <a:pt x="1470" y="1397"/>
                </a:cubicBezTo>
                <a:cubicBezTo>
                  <a:pt x="1468" y="1398"/>
                  <a:pt x="1466" y="1400"/>
                  <a:pt x="1464" y="1400"/>
                </a:cubicBezTo>
                <a:cubicBezTo>
                  <a:pt x="1463" y="1402"/>
                  <a:pt x="1460" y="1402"/>
                  <a:pt x="1459" y="1403"/>
                </a:cubicBezTo>
                <a:cubicBezTo>
                  <a:pt x="1457" y="1405"/>
                  <a:pt x="1455" y="1405"/>
                  <a:pt x="1454" y="1406"/>
                </a:cubicBezTo>
                <a:cubicBezTo>
                  <a:pt x="1452" y="1407"/>
                  <a:pt x="1450" y="1408"/>
                  <a:pt x="1448" y="1408"/>
                </a:cubicBezTo>
                <a:cubicBezTo>
                  <a:pt x="1448" y="1408"/>
                  <a:pt x="1448" y="1408"/>
                  <a:pt x="1448" y="1418"/>
                </a:cubicBezTo>
                <a:cubicBezTo>
                  <a:pt x="1451" y="1417"/>
                  <a:pt x="1454" y="1416"/>
                  <a:pt x="1456" y="1415"/>
                </a:cubicBezTo>
                <a:cubicBezTo>
                  <a:pt x="1459" y="1414"/>
                  <a:pt x="1461" y="1413"/>
                  <a:pt x="1463" y="1411"/>
                </a:cubicBezTo>
                <a:cubicBezTo>
                  <a:pt x="1463" y="1411"/>
                  <a:pt x="1463" y="1411"/>
                  <a:pt x="1463" y="1470"/>
                </a:cubicBezTo>
                <a:cubicBezTo>
                  <a:pt x="1463" y="1470"/>
                  <a:pt x="1463" y="1470"/>
                  <a:pt x="1475" y="1470"/>
                </a:cubicBezTo>
                <a:cubicBezTo>
                  <a:pt x="1475" y="1470"/>
                  <a:pt x="1475" y="1470"/>
                  <a:pt x="1475" y="1397"/>
                </a:cubicBezTo>
                <a:close/>
                <a:moveTo>
                  <a:pt x="1520" y="1397"/>
                </a:moveTo>
                <a:cubicBezTo>
                  <a:pt x="1520" y="1397"/>
                  <a:pt x="1520" y="1397"/>
                  <a:pt x="1520" y="1397"/>
                </a:cubicBezTo>
                <a:cubicBezTo>
                  <a:pt x="1516" y="1397"/>
                  <a:pt x="1516" y="1397"/>
                  <a:pt x="1516" y="1397"/>
                </a:cubicBezTo>
                <a:cubicBezTo>
                  <a:pt x="1514" y="1398"/>
                  <a:pt x="1513" y="1400"/>
                  <a:pt x="1510" y="1400"/>
                </a:cubicBezTo>
                <a:cubicBezTo>
                  <a:pt x="1509" y="1402"/>
                  <a:pt x="1507" y="1402"/>
                  <a:pt x="1505" y="1403"/>
                </a:cubicBezTo>
                <a:cubicBezTo>
                  <a:pt x="1503" y="1405"/>
                  <a:pt x="1502" y="1405"/>
                  <a:pt x="1500" y="1406"/>
                </a:cubicBezTo>
                <a:cubicBezTo>
                  <a:pt x="1498" y="1407"/>
                  <a:pt x="1496" y="1408"/>
                  <a:pt x="1495" y="1408"/>
                </a:cubicBezTo>
                <a:cubicBezTo>
                  <a:pt x="1495" y="1408"/>
                  <a:pt x="1495" y="1408"/>
                  <a:pt x="1495" y="1418"/>
                </a:cubicBezTo>
                <a:cubicBezTo>
                  <a:pt x="1497" y="1417"/>
                  <a:pt x="1500" y="1416"/>
                  <a:pt x="1502" y="1415"/>
                </a:cubicBezTo>
                <a:cubicBezTo>
                  <a:pt x="1505" y="1414"/>
                  <a:pt x="1508" y="1413"/>
                  <a:pt x="1509" y="1411"/>
                </a:cubicBezTo>
                <a:cubicBezTo>
                  <a:pt x="1509" y="1411"/>
                  <a:pt x="1509" y="1411"/>
                  <a:pt x="1509" y="1470"/>
                </a:cubicBezTo>
                <a:cubicBezTo>
                  <a:pt x="1509" y="1470"/>
                  <a:pt x="1509" y="1470"/>
                  <a:pt x="1520" y="1470"/>
                </a:cubicBezTo>
                <a:cubicBezTo>
                  <a:pt x="1520" y="1470"/>
                  <a:pt x="1520" y="1470"/>
                  <a:pt x="1520" y="1397"/>
                </a:cubicBezTo>
                <a:close/>
                <a:moveTo>
                  <a:pt x="1270" y="1444"/>
                </a:moveTo>
                <a:cubicBezTo>
                  <a:pt x="1270" y="1446"/>
                  <a:pt x="1271" y="1447"/>
                  <a:pt x="1272" y="1448"/>
                </a:cubicBezTo>
                <a:cubicBezTo>
                  <a:pt x="1272" y="1450"/>
                  <a:pt x="1272" y="1452"/>
                  <a:pt x="1273" y="1453"/>
                </a:cubicBezTo>
                <a:cubicBezTo>
                  <a:pt x="1273" y="1455"/>
                  <a:pt x="1273" y="1457"/>
                  <a:pt x="1273" y="1458"/>
                </a:cubicBezTo>
                <a:cubicBezTo>
                  <a:pt x="1274" y="1461"/>
                  <a:pt x="1273" y="1463"/>
                  <a:pt x="1270" y="1463"/>
                </a:cubicBezTo>
                <a:cubicBezTo>
                  <a:pt x="1267" y="1463"/>
                  <a:pt x="1264" y="1463"/>
                  <a:pt x="1261" y="1463"/>
                </a:cubicBezTo>
                <a:cubicBezTo>
                  <a:pt x="1261" y="1463"/>
                  <a:pt x="1260" y="1463"/>
                  <a:pt x="1260" y="1463"/>
                </a:cubicBezTo>
                <a:cubicBezTo>
                  <a:pt x="1258" y="1465"/>
                  <a:pt x="1257" y="1466"/>
                  <a:pt x="1255" y="1467"/>
                </a:cubicBezTo>
                <a:cubicBezTo>
                  <a:pt x="1253" y="1470"/>
                  <a:pt x="1250" y="1470"/>
                  <a:pt x="1248" y="1468"/>
                </a:cubicBezTo>
                <a:cubicBezTo>
                  <a:pt x="1246" y="1466"/>
                  <a:pt x="1245" y="1463"/>
                  <a:pt x="1243" y="1461"/>
                </a:cubicBezTo>
                <a:cubicBezTo>
                  <a:pt x="1242" y="1459"/>
                  <a:pt x="1243" y="1457"/>
                  <a:pt x="1245" y="1456"/>
                </a:cubicBezTo>
                <a:cubicBezTo>
                  <a:pt x="1242" y="1456"/>
                  <a:pt x="1241" y="1456"/>
                  <a:pt x="1239" y="1456"/>
                </a:cubicBezTo>
                <a:cubicBezTo>
                  <a:pt x="1239" y="1458"/>
                  <a:pt x="1237" y="1460"/>
                  <a:pt x="1237" y="1462"/>
                </a:cubicBezTo>
                <a:cubicBezTo>
                  <a:pt x="1237" y="1463"/>
                  <a:pt x="1236" y="1463"/>
                  <a:pt x="1236" y="1464"/>
                </a:cubicBezTo>
                <a:cubicBezTo>
                  <a:pt x="1236" y="1467"/>
                  <a:pt x="1235" y="1469"/>
                  <a:pt x="1232" y="1468"/>
                </a:cubicBezTo>
                <a:cubicBezTo>
                  <a:pt x="1229" y="1468"/>
                  <a:pt x="1226" y="1467"/>
                  <a:pt x="1223" y="1466"/>
                </a:cubicBezTo>
                <a:cubicBezTo>
                  <a:pt x="1221" y="1465"/>
                  <a:pt x="1221" y="1464"/>
                  <a:pt x="1221" y="1462"/>
                </a:cubicBezTo>
                <a:cubicBezTo>
                  <a:pt x="1221" y="1461"/>
                  <a:pt x="1221" y="1460"/>
                  <a:pt x="1222" y="1460"/>
                </a:cubicBezTo>
                <a:cubicBezTo>
                  <a:pt x="1219" y="1459"/>
                  <a:pt x="1217" y="1458"/>
                  <a:pt x="1215" y="1457"/>
                </a:cubicBezTo>
                <a:cubicBezTo>
                  <a:pt x="1214" y="1456"/>
                  <a:pt x="1213" y="1454"/>
                  <a:pt x="1212" y="1452"/>
                </a:cubicBezTo>
                <a:cubicBezTo>
                  <a:pt x="1211" y="1450"/>
                  <a:pt x="1211" y="1449"/>
                  <a:pt x="1213" y="1447"/>
                </a:cubicBezTo>
                <a:cubicBezTo>
                  <a:pt x="1216" y="1445"/>
                  <a:pt x="1217" y="1442"/>
                  <a:pt x="1216" y="1438"/>
                </a:cubicBezTo>
                <a:cubicBezTo>
                  <a:pt x="1216" y="1436"/>
                  <a:pt x="1216" y="1434"/>
                  <a:pt x="1216" y="1432"/>
                </a:cubicBezTo>
                <a:cubicBezTo>
                  <a:pt x="1215" y="1431"/>
                  <a:pt x="1213" y="1431"/>
                  <a:pt x="1212" y="1430"/>
                </a:cubicBezTo>
                <a:cubicBezTo>
                  <a:pt x="1211" y="1428"/>
                  <a:pt x="1210" y="1426"/>
                  <a:pt x="1210" y="1424"/>
                </a:cubicBezTo>
                <a:cubicBezTo>
                  <a:pt x="1210" y="1421"/>
                  <a:pt x="1213" y="1419"/>
                  <a:pt x="1216" y="1418"/>
                </a:cubicBezTo>
                <a:cubicBezTo>
                  <a:pt x="1217" y="1419"/>
                  <a:pt x="1217" y="1419"/>
                  <a:pt x="1217" y="1420"/>
                </a:cubicBezTo>
                <a:cubicBezTo>
                  <a:pt x="1217" y="1421"/>
                  <a:pt x="1217" y="1422"/>
                  <a:pt x="1217" y="1423"/>
                </a:cubicBezTo>
                <a:cubicBezTo>
                  <a:pt x="1217" y="1423"/>
                  <a:pt x="1216" y="1423"/>
                  <a:pt x="1216" y="1423"/>
                </a:cubicBezTo>
                <a:cubicBezTo>
                  <a:pt x="1215" y="1424"/>
                  <a:pt x="1215" y="1425"/>
                  <a:pt x="1214" y="1427"/>
                </a:cubicBezTo>
                <a:cubicBezTo>
                  <a:pt x="1215" y="1427"/>
                  <a:pt x="1216" y="1427"/>
                  <a:pt x="1217" y="1427"/>
                </a:cubicBezTo>
                <a:cubicBezTo>
                  <a:pt x="1218" y="1425"/>
                  <a:pt x="1219" y="1425"/>
                  <a:pt x="1219" y="1423"/>
                </a:cubicBezTo>
                <a:cubicBezTo>
                  <a:pt x="1224" y="1417"/>
                  <a:pt x="1230" y="1413"/>
                  <a:pt x="1237" y="1411"/>
                </a:cubicBezTo>
                <a:cubicBezTo>
                  <a:pt x="1241" y="1411"/>
                  <a:pt x="1244" y="1410"/>
                  <a:pt x="1246" y="1407"/>
                </a:cubicBezTo>
                <a:cubicBezTo>
                  <a:pt x="1246" y="1406"/>
                  <a:pt x="1247" y="1406"/>
                  <a:pt x="1247" y="1406"/>
                </a:cubicBezTo>
                <a:cubicBezTo>
                  <a:pt x="1250" y="1406"/>
                  <a:pt x="1252" y="1403"/>
                  <a:pt x="1253" y="1401"/>
                </a:cubicBezTo>
                <a:cubicBezTo>
                  <a:pt x="1261" y="1394"/>
                  <a:pt x="1273" y="1393"/>
                  <a:pt x="1281" y="1400"/>
                </a:cubicBezTo>
                <a:cubicBezTo>
                  <a:pt x="1283" y="1402"/>
                  <a:pt x="1286" y="1404"/>
                  <a:pt x="1288" y="1406"/>
                </a:cubicBezTo>
                <a:cubicBezTo>
                  <a:pt x="1290" y="1407"/>
                  <a:pt x="1291" y="1409"/>
                  <a:pt x="1292" y="1411"/>
                </a:cubicBezTo>
                <a:cubicBezTo>
                  <a:pt x="1293" y="1412"/>
                  <a:pt x="1293" y="1412"/>
                  <a:pt x="1295" y="1411"/>
                </a:cubicBezTo>
                <a:cubicBezTo>
                  <a:pt x="1295" y="1411"/>
                  <a:pt x="1296" y="1410"/>
                  <a:pt x="1297" y="1409"/>
                </a:cubicBezTo>
                <a:cubicBezTo>
                  <a:pt x="1299" y="1406"/>
                  <a:pt x="1302" y="1406"/>
                  <a:pt x="1303" y="1410"/>
                </a:cubicBezTo>
                <a:cubicBezTo>
                  <a:pt x="1304" y="1413"/>
                  <a:pt x="1305" y="1415"/>
                  <a:pt x="1306" y="1419"/>
                </a:cubicBezTo>
                <a:cubicBezTo>
                  <a:pt x="1306" y="1423"/>
                  <a:pt x="1306" y="1427"/>
                  <a:pt x="1304" y="1432"/>
                </a:cubicBezTo>
                <a:cubicBezTo>
                  <a:pt x="1302" y="1438"/>
                  <a:pt x="1297" y="1442"/>
                  <a:pt x="1291" y="1442"/>
                </a:cubicBezTo>
                <a:cubicBezTo>
                  <a:pt x="1290" y="1442"/>
                  <a:pt x="1290" y="1442"/>
                  <a:pt x="1289" y="1442"/>
                </a:cubicBezTo>
                <a:cubicBezTo>
                  <a:pt x="1286" y="1441"/>
                  <a:pt x="1285" y="1442"/>
                  <a:pt x="1284" y="1444"/>
                </a:cubicBezTo>
                <a:cubicBezTo>
                  <a:pt x="1283" y="1448"/>
                  <a:pt x="1277" y="1450"/>
                  <a:pt x="1274" y="1447"/>
                </a:cubicBezTo>
                <a:cubicBezTo>
                  <a:pt x="1273" y="1446"/>
                  <a:pt x="1272" y="1445"/>
                  <a:pt x="1271" y="1444"/>
                </a:cubicBezTo>
                <a:cubicBezTo>
                  <a:pt x="1270" y="1444"/>
                  <a:pt x="1270" y="1444"/>
                  <a:pt x="1270" y="1444"/>
                </a:cubicBezTo>
                <a:close/>
                <a:moveTo>
                  <a:pt x="1264" y="1440"/>
                </a:moveTo>
                <a:cubicBezTo>
                  <a:pt x="1268" y="1441"/>
                  <a:pt x="1272" y="1442"/>
                  <a:pt x="1274" y="1445"/>
                </a:cubicBezTo>
                <a:cubicBezTo>
                  <a:pt x="1276" y="1447"/>
                  <a:pt x="1278" y="1448"/>
                  <a:pt x="1280" y="1447"/>
                </a:cubicBezTo>
                <a:cubicBezTo>
                  <a:pt x="1282" y="1446"/>
                  <a:pt x="1284" y="1444"/>
                  <a:pt x="1284" y="1441"/>
                </a:cubicBezTo>
                <a:cubicBezTo>
                  <a:pt x="1284" y="1441"/>
                  <a:pt x="1283" y="1441"/>
                  <a:pt x="1283" y="1442"/>
                </a:cubicBezTo>
                <a:cubicBezTo>
                  <a:pt x="1282" y="1443"/>
                  <a:pt x="1281" y="1444"/>
                  <a:pt x="1281" y="1445"/>
                </a:cubicBezTo>
                <a:cubicBezTo>
                  <a:pt x="1279" y="1446"/>
                  <a:pt x="1278" y="1446"/>
                  <a:pt x="1277" y="1446"/>
                </a:cubicBezTo>
                <a:cubicBezTo>
                  <a:pt x="1277" y="1446"/>
                  <a:pt x="1276" y="1444"/>
                  <a:pt x="1276" y="1444"/>
                </a:cubicBezTo>
                <a:cubicBezTo>
                  <a:pt x="1276" y="1441"/>
                  <a:pt x="1277" y="1439"/>
                  <a:pt x="1277" y="1437"/>
                </a:cubicBezTo>
                <a:cubicBezTo>
                  <a:pt x="1280" y="1438"/>
                  <a:pt x="1283" y="1439"/>
                  <a:pt x="1287" y="1440"/>
                </a:cubicBezTo>
                <a:cubicBezTo>
                  <a:pt x="1294" y="1441"/>
                  <a:pt x="1300" y="1439"/>
                  <a:pt x="1303" y="1431"/>
                </a:cubicBezTo>
                <a:cubicBezTo>
                  <a:pt x="1305" y="1426"/>
                  <a:pt x="1304" y="1421"/>
                  <a:pt x="1304" y="1416"/>
                </a:cubicBezTo>
                <a:cubicBezTo>
                  <a:pt x="1303" y="1414"/>
                  <a:pt x="1302" y="1412"/>
                  <a:pt x="1302" y="1410"/>
                </a:cubicBezTo>
                <a:cubicBezTo>
                  <a:pt x="1301" y="1409"/>
                  <a:pt x="1300" y="1408"/>
                  <a:pt x="1299" y="1410"/>
                </a:cubicBezTo>
                <a:cubicBezTo>
                  <a:pt x="1297" y="1412"/>
                  <a:pt x="1295" y="1413"/>
                  <a:pt x="1293" y="1414"/>
                </a:cubicBezTo>
                <a:cubicBezTo>
                  <a:pt x="1293" y="1414"/>
                  <a:pt x="1292" y="1415"/>
                  <a:pt x="1292" y="1416"/>
                </a:cubicBezTo>
                <a:cubicBezTo>
                  <a:pt x="1293" y="1419"/>
                  <a:pt x="1292" y="1423"/>
                  <a:pt x="1291" y="1426"/>
                </a:cubicBezTo>
                <a:cubicBezTo>
                  <a:pt x="1291" y="1424"/>
                  <a:pt x="1292" y="1422"/>
                  <a:pt x="1292" y="1420"/>
                </a:cubicBezTo>
                <a:cubicBezTo>
                  <a:pt x="1292" y="1419"/>
                  <a:pt x="1291" y="1419"/>
                  <a:pt x="1291" y="1419"/>
                </a:cubicBezTo>
                <a:cubicBezTo>
                  <a:pt x="1290" y="1419"/>
                  <a:pt x="1290" y="1419"/>
                  <a:pt x="1290" y="1419"/>
                </a:cubicBezTo>
                <a:cubicBezTo>
                  <a:pt x="1289" y="1421"/>
                  <a:pt x="1288" y="1422"/>
                  <a:pt x="1287" y="1423"/>
                </a:cubicBezTo>
                <a:cubicBezTo>
                  <a:pt x="1287" y="1423"/>
                  <a:pt x="1287" y="1423"/>
                  <a:pt x="1287" y="1423"/>
                </a:cubicBezTo>
                <a:cubicBezTo>
                  <a:pt x="1287" y="1422"/>
                  <a:pt x="1288" y="1420"/>
                  <a:pt x="1288" y="1418"/>
                </a:cubicBezTo>
                <a:cubicBezTo>
                  <a:pt x="1287" y="1419"/>
                  <a:pt x="1286" y="1419"/>
                  <a:pt x="1286" y="1420"/>
                </a:cubicBezTo>
                <a:cubicBezTo>
                  <a:pt x="1285" y="1420"/>
                  <a:pt x="1285" y="1421"/>
                  <a:pt x="1284" y="1422"/>
                </a:cubicBezTo>
                <a:cubicBezTo>
                  <a:pt x="1285" y="1418"/>
                  <a:pt x="1285" y="1418"/>
                  <a:pt x="1291" y="1417"/>
                </a:cubicBezTo>
                <a:cubicBezTo>
                  <a:pt x="1291" y="1417"/>
                  <a:pt x="1290" y="1416"/>
                  <a:pt x="1290" y="1416"/>
                </a:cubicBezTo>
                <a:cubicBezTo>
                  <a:pt x="1287" y="1417"/>
                  <a:pt x="1286" y="1415"/>
                  <a:pt x="1286" y="1413"/>
                </a:cubicBezTo>
                <a:cubicBezTo>
                  <a:pt x="1288" y="1412"/>
                  <a:pt x="1289" y="1412"/>
                  <a:pt x="1291" y="1412"/>
                </a:cubicBezTo>
                <a:cubicBezTo>
                  <a:pt x="1289" y="1409"/>
                  <a:pt x="1288" y="1406"/>
                  <a:pt x="1284" y="1406"/>
                </a:cubicBezTo>
                <a:cubicBezTo>
                  <a:pt x="1284" y="1406"/>
                  <a:pt x="1284" y="1406"/>
                  <a:pt x="1284" y="1405"/>
                </a:cubicBezTo>
                <a:cubicBezTo>
                  <a:pt x="1281" y="1403"/>
                  <a:pt x="1279" y="1401"/>
                  <a:pt x="1276" y="1399"/>
                </a:cubicBezTo>
                <a:cubicBezTo>
                  <a:pt x="1274" y="1398"/>
                  <a:pt x="1271" y="1397"/>
                  <a:pt x="1269" y="1397"/>
                </a:cubicBezTo>
                <a:cubicBezTo>
                  <a:pt x="1266" y="1397"/>
                  <a:pt x="1262" y="1398"/>
                  <a:pt x="1259" y="1399"/>
                </a:cubicBezTo>
                <a:cubicBezTo>
                  <a:pt x="1257" y="1400"/>
                  <a:pt x="1254" y="1402"/>
                  <a:pt x="1252" y="1405"/>
                </a:cubicBezTo>
                <a:cubicBezTo>
                  <a:pt x="1254" y="1405"/>
                  <a:pt x="1255" y="1405"/>
                  <a:pt x="1256" y="1405"/>
                </a:cubicBezTo>
                <a:cubicBezTo>
                  <a:pt x="1256" y="1406"/>
                  <a:pt x="1255" y="1406"/>
                  <a:pt x="1254" y="1406"/>
                </a:cubicBezTo>
                <a:cubicBezTo>
                  <a:pt x="1252" y="1407"/>
                  <a:pt x="1249" y="1406"/>
                  <a:pt x="1247" y="1408"/>
                </a:cubicBezTo>
                <a:cubicBezTo>
                  <a:pt x="1244" y="1412"/>
                  <a:pt x="1240" y="1416"/>
                  <a:pt x="1236" y="1420"/>
                </a:cubicBezTo>
                <a:cubicBezTo>
                  <a:pt x="1235" y="1422"/>
                  <a:pt x="1234" y="1425"/>
                  <a:pt x="1233" y="1427"/>
                </a:cubicBezTo>
                <a:cubicBezTo>
                  <a:pt x="1233" y="1427"/>
                  <a:pt x="1233" y="1428"/>
                  <a:pt x="1233" y="1429"/>
                </a:cubicBezTo>
                <a:cubicBezTo>
                  <a:pt x="1234" y="1431"/>
                  <a:pt x="1235" y="1433"/>
                  <a:pt x="1237" y="1434"/>
                </a:cubicBezTo>
                <a:cubicBezTo>
                  <a:pt x="1238" y="1433"/>
                  <a:pt x="1239" y="1431"/>
                  <a:pt x="1241" y="1430"/>
                </a:cubicBezTo>
                <a:cubicBezTo>
                  <a:pt x="1240" y="1431"/>
                  <a:pt x="1240" y="1433"/>
                  <a:pt x="1239" y="1434"/>
                </a:cubicBezTo>
                <a:cubicBezTo>
                  <a:pt x="1238" y="1435"/>
                  <a:pt x="1237" y="1436"/>
                  <a:pt x="1237" y="1438"/>
                </a:cubicBezTo>
                <a:cubicBezTo>
                  <a:pt x="1237" y="1439"/>
                  <a:pt x="1237" y="1440"/>
                  <a:pt x="1237" y="1441"/>
                </a:cubicBezTo>
                <a:cubicBezTo>
                  <a:pt x="1240" y="1444"/>
                  <a:pt x="1243" y="1444"/>
                  <a:pt x="1247" y="1442"/>
                </a:cubicBezTo>
                <a:cubicBezTo>
                  <a:pt x="1249" y="1441"/>
                  <a:pt x="1252" y="1440"/>
                  <a:pt x="1255" y="1439"/>
                </a:cubicBezTo>
                <a:cubicBezTo>
                  <a:pt x="1256" y="1438"/>
                  <a:pt x="1257" y="1438"/>
                  <a:pt x="1257" y="1436"/>
                </a:cubicBezTo>
                <a:cubicBezTo>
                  <a:pt x="1257" y="1433"/>
                  <a:pt x="1257" y="1429"/>
                  <a:pt x="1257" y="1426"/>
                </a:cubicBezTo>
                <a:cubicBezTo>
                  <a:pt x="1257" y="1423"/>
                  <a:pt x="1257" y="1420"/>
                  <a:pt x="1257" y="1417"/>
                </a:cubicBezTo>
                <a:cubicBezTo>
                  <a:pt x="1258" y="1420"/>
                  <a:pt x="1259" y="1423"/>
                  <a:pt x="1259" y="1425"/>
                </a:cubicBezTo>
                <a:cubicBezTo>
                  <a:pt x="1260" y="1430"/>
                  <a:pt x="1260" y="1434"/>
                  <a:pt x="1259" y="1438"/>
                </a:cubicBezTo>
                <a:cubicBezTo>
                  <a:pt x="1258" y="1439"/>
                  <a:pt x="1257" y="1440"/>
                  <a:pt x="1257" y="1440"/>
                </a:cubicBezTo>
                <a:cubicBezTo>
                  <a:pt x="1253" y="1440"/>
                  <a:pt x="1250" y="1442"/>
                  <a:pt x="1247" y="1444"/>
                </a:cubicBezTo>
                <a:cubicBezTo>
                  <a:pt x="1242" y="1447"/>
                  <a:pt x="1239" y="1445"/>
                  <a:pt x="1235" y="1441"/>
                </a:cubicBezTo>
                <a:cubicBezTo>
                  <a:pt x="1235" y="1441"/>
                  <a:pt x="1235" y="1440"/>
                  <a:pt x="1235" y="1439"/>
                </a:cubicBezTo>
                <a:cubicBezTo>
                  <a:pt x="1236" y="1437"/>
                  <a:pt x="1235" y="1435"/>
                  <a:pt x="1233" y="1433"/>
                </a:cubicBezTo>
                <a:cubicBezTo>
                  <a:pt x="1232" y="1431"/>
                  <a:pt x="1230" y="1429"/>
                  <a:pt x="1232" y="1426"/>
                </a:cubicBezTo>
                <a:cubicBezTo>
                  <a:pt x="1232" y="1424"/>
                  <a:pt x="1233" y="1422"/>
                  <a:pt x="1234" y="1421"/>
                </a:cubicBezTo>
                <a:cubicBezTo>
                  <a:pt x="1236" y="1418"/>
                  <a:pt x="1238" y="1415"/>
                  <a:pt x="1240" y="1413"/>
                </a:cubicBezTo>
                <a:cubicBezTo>
                  <a:pt x="1240" y="1413"/>
                  <a:pt x="1239" y="1413"/>
                  <a:pt x="1239" y="1413"/>
                </a:cubicBezTo>
                <a:cubicBezTo>
                  <a:pt x="1234" y="1414"/>
                  <a:pt x="1230" y="1415"/>
                  <a:pt x="1226" y="1419"/>
                </a:cubicBezTo>
                <a:cubicBezTo>
                  <a:pt x="1221" y="1423"/>
                  <a:pt x="1218" y="1428"/>
                  <a:pt x="1218" y="1435"/>
                </a:cubicBezTo>
                <a:cubicBezTo>
                  <a:pt x="1217" y="1442"/>
                  <a:pt x="1220" y="1448"/>
                  <a:pt x="1223" y="1453"/>
                </a:cubicBezTo>
                <a:cubicBezTo>
                  <a:pt x="1224" y="1454"/>
                  <a:pt x="1224" y="1456"/>
                  <a:pt x="1224" y="1457"/>
                </a:cubicBezTo>
                <a:cubicBezTo>
                  <a:pt x="1224" y="1459"/>
                  <a:pt x="1224" y="1460"/>
                  <a:pt x="1223" y="1461"/>
                </a:cubicBezTo>
                <a:cubicBezTo>
                  <a:pt x="1222" y="1463"/>
                  <a:pt x="1223" y="1464"/>
                  <a:pt x="1224" y="1465"/>
                </a:cubicBezTo>
                <a:cubicBezTo>
                  <a:pt x="1227" y="1465"/>
                  <a:pt x="1230" y="1466"/>
                  <a:pt x="1233" y="1466"/>
                </a:cubicBezTo>
                <a:cubicBezTo>
                  <a:pt x="1233" y="1466"/>
                  <a:pt x="1234" y="1465"/>
                  <a:pt x="1234" y="1465"/>
                </a:cubicBezTo>
                <a:cubicBezTo>
                  <a:pt x="1235" y="1464"/>
                  <a:pt x="1235" y="1462"/>
                  <a:pt x="1235" y="1461"/>
                </a:cubicBezTo>
                <a:cubicBezTo>
                  <a:pt x="1237" y="1459"/>
                  <a:pt x="1237" y="1456"/>
                  <a:pt x="1237" y="1453"/>
                </a:cubicBezTo>
                <a:cubicBezTo>
                  <a:pt x="1237" y="1453"/>
                  <a:pt x="1237" y="1453"/>
                  <a:pt x="1237" y="1452"/>
                </a:cubicBezTo>
                <a:cubicBezTo>
                  <a:pt x="1237" y="1452"/>
                  <a:pt x="1237" y="1452"/>
                  <a:pt x="1237" y="1452"/>
                </a:cubicBezTo>
                <a:cubicBezTo>
                  <a:pt x="1238" y="1454"/>
                  <a:pt x="1239" y="1454"/>
                  <a:pt x="1241" y="1454"/>
                </a:cubicBezTo>
                <a:cubicBezTo>
                  <a:pt x="1242" y="1454"/>
                  <a:pt x="1243" y="1454"/>
                  <a:pt x="1244" y="1454"/>
                </a:cubicBezTo>
                <a:cubicBezTo>
                  <a:pt x="1246" y="1454"/>
                  <a:pt x="1250" y="1455"/>
                  <a:pt x="1250" y="1451"/>
                </a:cubicBezTo>
                <a:cubicBezTo>
                  <a:pt x="1250" y="1453"/>
                  <a:pt x="1250" y="1455"/>
                  <a:pt x="1250" y="1455"/>
                </a:cubicBezTo>
                <a:cubicBezTo>
                  <a:pt x="1249" y="1456"/>
                  <a:pt x="1248" y="1457"/>
                  <a:pt x="1246" y="1457"/>
                </a:cubicBezTo>
                <a:cubicBezTo>
                  <a:pt x="1245" y="1458"/>
                  <a:pt x="1244" y="1460"/>
                  <a:pt x="1245" y="1461"/>
                </a:cubicBezTo>
                <a:cubicBezTo>
                  <a:pt x="1246" y="1463"/>
                  <a:pt x="1248" y="1465"/>
                  <a:pt x="1249" y="1467"/>
                </a:cubicBezTo>
                <a:cubicBezTo>
                  <a:pt x="1251" y="1468"/>
                  <a:pt x="1253" y="1468"/>
                  <a:pt x="1254" y="1466"/>
                </a:cubicBezTo>
                <a:cubicBezTo>
                  <a:pt x="1255" y="1465"/>
                  <a:pt x="1255" y="1465"/>
                  <a:pt x="1256" y="1464"/>
                </a:cubicBezTo>
                <a:cubicBezTo>
                  <a:pt x="1258" y="1463"/>
                  <a:pt x="1259" y="1461"/>
                  <a:pt x="1261" y="1460"/>
                </a:cubicBezTo>
                <a:cubicBezTo>
                  <a:pt x="1265" y="1456"/>
                  <a:pt x="1267" y="1450"/>
                  <a:pt x="1269" y="1444"/>
                </a:cubicBezTo>
                <a:cubicBezTo>
                  <a:pt x="1269" y="1444"/>
                  <a:pt x="1268" y="1443"/>
                  <a:pt x="1268" y="1442"/>
                </a:cubicBezTo>
                <a:cubicBezTo>
                  <a:pt x="1267" y="1441"/>
                  <a:pt x="1266" y="1440"/>
                  <a:pt x="1264" y="1440"/>
                </a:cubicBezTo>
                <a:close/>
                <a:moveTo>
                  <a:pt x="1217" y="1446"/>
                </a:moveTo>
                <a:cubicBezTo>
                  <a:pt x="1217" y="1447"/>
                  <a:pt x="1215" y="1448"/>
                  <a:pt x="1214" y="1449"/>
                </a:cubicBezTo>
                <a:cubicBezTo>
                  <a:pt x="1213" y="1449"/>
                  <a:pt x="1213" y="1450"/>
                  <a:pt x="1213" y="1451"/>
                </a:cubicBezTo>
                <a:cubicBezTo>
                  <a:pt x="1213" y="1453"/>
                  <a:pt x="1217" y="1458"/>
                  <a:pt x="1221" y="1457"/>
                </a:cubicBezTo>
                <a:cubicBezTo>
                  <a:pt x="1222" y="1457"/>
                  <a:pt x="1223" y="1456"/>
                  <a:pt x="1222" y="1455"/>
                </a:cubicBezTo>
                <a:cubicBezTo>
                  <a:pt x="1221" y="1452"/>
                  <a:pt x="1219" y="1449"/>
                  <a:pt x="1217" y="1446"/>
                </a:cubicBezTo>
                <a:close/>
                <a:moveTo>
                  <a:pt x="1270" y="1448"/>
                </a:moveTo>
                <a:cubicBezTo>
                  <a:pt x="1268" y="1453"/>
                  <a:pt x="1265" y="1457"/>
                  <a:pt x="1263" y="1461"/>
                </a:cubicBezTo>
                <a:cubicBezTo>
                  <a:pt x="1266" y="1461"/>
                  <a:pt x="1268" y="1462"/>
                  <a:pt x="1271" y="1461"/>
                </a:cubicBezTo>
                <a:cubicBezTo>
                  <a:pt x="1271" y="1461"/>
                  <a:pt x="1272" y="1460"/>
                  <a:pt x="1272" y="1460"/>
                </a:cubicBezTo>
                <a:cubicBezTo>
                  <a:pt x="1272" y="1457"/>
                  <a:pt x="1272" y="1455"/>
                  <a:pt x="1271" y="1452"/>
                </a:cubicBezTo>
                <a:cubicBezTo>
                  <a:pt x="1271" y="1451"/>
                  <a:pt x="1270" y="1450"/>
                  <a:pt x="1270" y="1448"/>
                </a:cubicBezTo>
                <a:close/>
                <a:moveTo>
                  <a:pt x="1217" y="1428"/>
                </a:moveTo>
                <a:cubicBezTo>
                  <a:pt x="1217"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29"/>
                  <a:pt x="1214" y="1430"/>
                </a:cubicBezTo>
                <a:cubicBezTo>
                  <a:pt x="1215" y="1431"/>
                  <a:pt x="1217" y="1430"/>
                  <a:pt x="1217" y="1428"/>
                </a:cubicBezTo>
                <a:close/>
                <a:moveTo>
                  <a:pt x="1218" y="1446"/>
                </a:moveTo>
                <a:cubicBezTo>
                  <a:pt x="1217" y="1447"/>
                  <a:pt x="1215" y="1448"/>
                  <a:pt x="1214" y="1449"/>
                </a:cubicBezTo>
                <a:cubicBezTo>
                  <a:pt x="1214" y="1449"/>
                  <a:pt x="1213" y="1450"/>
                  <a:pt x="1213" y="1451"/>
                </a:cubicBezTo>
                <a:cubicBezTo>
                  <a:pt x="1213" y="1454"/>
                  <a:pt x="1218" y="1458"/>
                  <a:pt x="1221" y="1458"/>
                </a:cubicBezTo>
                <a:cubicBezTo>
                  <a:pt x="1222" y="1458"/>
                  <a:pt x="1223" y="1457"/>
                  <a:pt x="1222" y="1455"/>
                </a:cubicBezTo>
                <a:cubicBezTo>
                  <a:pt x="1221" y="1452"/>
                  <a:pt x="1219" y="1449"/>
                  <a:pt x="1218" y="1446"/>
                </a:cubicBezTo>
                <a:close/>
                <a:moveTo>
                  <a:pt x="1270" y="1448"/>
                </a:moveTo>
                <a:cubicBezTo>
                  <a:pt x="1267" y="1453"/>
                  <a:pt x="1265" y="1457"/>
                  <a:pt x="1263" y="1462"/>
                </a:cubicBezTo>
                <a:cubicBezTo>
                  <a:pt x="1265" y="1462"/>
                  <a:pt x="1268" y="1462"/>
                  <a:pt x="1271" y="1462"/>
                </a:cubicBezTo>
                <a:cubicBezTo>
                  <a:pt x="1271" y="1462"/>
                  <a:pt x="1271" y="1460"/>
                  <a:pt x="1271" y="1460"/>
                </a:cubicBezTo>
                <a:cubicBezTo>
                  <a:pt x="1271" y="1457"/>
                  <a:pt x="1271" y="1455"/>
                  <a:pt x="1271" y="1452"/>
                </a:cubicBezTo>
                <a:cubicBezTo>
                  <a:pt x="1271" y="1451"/>
                  <a:pt x="1270" y="1450"/>
                  <a:pt x="1270" y="1448"/>
                </a:cubicBezTo>
                <a:close/>
                <a:moveTo>
                  <a:pt x="1217" y="1428"/>
                </a:moveTo>
                <a:cubicBezTo>
                  <a:pt x="1216"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30"/>
                  <a:pt x="1214" y="1430"/>
                </a:cubicBezTo>
                <a:cubicBezTo>
                  <a:pt x="1215" y="1431"/>
                  <a:pt x="1217" y="1430"/>
                  <a:pt x="1217" y="1428"/>
                </a:cubicBezTo>
                <a:close/>
                <a:moveTo>
                  <a:pt x="1269" y="1420"/>
                </a:moveTo>
                <a:cubicBezTo>
                  <a:pt x="1273" y="1416"/>
                  <a:pt x="1273" y="1416"/>
                  <a:pt x="1277" y="1415"/>
                </a:cubicBezTo>
                <a:cubicBezTo>
                  <a:pt x="1277" y="1417"/>
                  <a:pt x="1278" y="1418"/>
                  <a:pt x="1280" y="1418"/>
                </a:cubicBezTo>
                <a:cubicBezTo>
                  <a:pt x="1277" y="1419"/>
                  <a:pt x="1275" y="1421"/>
                  <a:pt x="1273" y="1422"/>
                </a:cubicBezTo>
                <a:cubicBezTo>
                  <a:pt x="1272" y="1421"/>
                  <a:pt x="1272" y="1421"/>
                  <a:pt x="1271" y="1419"/>
                </a:cubicBezTo>
                <a:cubicBezTo>
                  <a:pt x="1271" y="1419"/>
                  <a:pt x="1270" y="1419"/>
                  <a:pt x="1269" y="1420"/>
                </a:cubicBezTo>
                <a:close/>
                <a:moveTo>
                  <a:pt x="1276" y="1419"/>
                </a:moveTo>
                <a:cubicBezTo>
                  <a:pt x="1275" y="1419"/>
                  <a:pt x="1274" y="1419"/>
                  <a:pt x="1273" y="1419"/>
                </a:cubicBezTo>
                <a:cubicBezTo>
                  <a:pt x="1273" y="1419"/>
                  <a:pt x="1272" y="1419"/>
                  <a:pt x="1272" y="1420"/>
                </a:cubicBezTo>
                <a:cubicBezTo>
                  <a:pt x="1272" y="1420"/>
                  <a:pt x="1273" y="1421"/>
                  <a:pt x="1273" y="1421"/>
                </a:cubicBezTo>
                <a:cubicBezTo>
                  <a:pt x="1274" y="1421"/>
                  <a:pt x="1274" y="1420"/>
                  <a:pt x="1276" y="1419"/>
                </a:cubicBezTo>
                <a:close/>
                <a:moveTo>
                  <a:pt x="1256" y="1409"/>
                </a:moveTo>
                <a:cubicBezTo>
                  <a:pt x="1250" y="1409"/>
                  <a:pt x="1247" y="1411"/>
                  <a:pt x="1246" y="1419"/>
                </a:cubicBezTo>
                <a:cubicBezTo>
                  <a:pt x="1247" y="1417"/>
                  <a:pt x="1248" y="1415"/>
                  <a:pt x="1249" y="1412"/>
                </a:cubicBezTo>
                <a:cubicBezTo>
                  <a:pt x="1250" y="1412"/>
                  <a:pt x="1250" y="1412"/>
                  <a:pt x="1250" y="1412"/>
                </a:cubicBezTo>
                <a:cubicBezTo>
                  <a:pt x="1250" y="1414"/>
                  <a:pt x="1250" y="1414"/>
                  <a:pt x="1250" y="1415"/>
                </a:cubicBezTo>
                <a:cubicBezTo>
                  <a:pt x="1251" y="1412"/>
                  <a:pt x="1253" y="1410"/>
                  <a:pt x="1256" y="1409"/>
                </a:cubicBezTo>
                <a:close/>
                <a:moveTo>
                  <a:pt x="1300" y="1411"/>
                </a:moveTo>
                <a:cubicBezTo>
                  <a:pt x="1298" y="1412"/>
                  <a:pt x="1296" y="1414"/>
                  <a:pt x="1295" y="1415"/>
                </a:cubicBezTo>
                <a:cubicBezTo>
                  <a:pt x="1297" y="1416"/>
                  <a:pt x="1299" y="1414"/>
                  <a:pt x="1300" y="1411"/>
                </a:cubicBezTo>
                <a:close/>
                <a:moveTo>
                  <a:pt x="1267" y="1413"/>
                </a:moveTo>
                <a:cubicBezTo>
                  <a:pt x="1268" y="1412"/>
                  <a:pt x="1269" y="1410"/>
                  <a:pt x="1270" y="1409"/>
                </a:cubicBezTo>
                <a:cubicBezTo>
                  <a:pt x="1267" y="1410"/>
                  <a:pt x="1267" y="1411"/>
                  <a:pt x="1267" y="1413"/>
                </a:cubicBezTo>
                <a:close/>
                <a:moveTo>
                  <a:pt x="1277" y="1435"/>
                </a:moveTo>
                <a:cubicBezTo>
                  <a:pt x="1275" y="1435"/>
                  <a:pt x="1274" y="1436"/>
                  <a:pt x="1274" y="1437"/>
                </a:cubicBezTo>
                <a:cubicBezTo>
                  <a:pt x="1275" y="1436"/>
                  <a:pt x="1276" y="1435"/>
                  <a:pt x="1277" y="1435"/>
                </a:cubicBezTo>
                <a:close/>
                <a:moveTo>
                  <a:pt x="1276" y="1419"/>
                </a:moveTo>
                <a:cubicBezTo>
                  <a:pt x="1275" y="1419"/>
                  <a:pt x="1274" y="1418"/>
                  <a:pt x="1274" y="1418"/>
                </a:cubicBezTo>
                <a:cubicBezTo>
                  <a:pt x="1273" y="1418"/>
                  <a:pt x="1272" y="1419"/>
                  <a:pt x="1272" y="1419"/>
                </a:cubicBezTo>
                <a:cubicBezTo>
                  <a:pt x="1272" y="1420"/>
                  <a:pt x="1273" y="1420"/>
                  <a:pt x="1273" y="1421"/>
                </a:cubicBezTo>
                <a:cubicBezTo>
                  <a:pt x="1274" y="1420"/>
                  <a:pt x="1274" y="1420"/>
                  <a:pt x="1276" y="1419"/>
                </a:cubicBezTo>
                <a:close/>
                <a:moveTo>
                  <a:pt x="1567" y="1397"/>
                </a:moveTo>
                <a:cubicBezTo>
                  <a:pt x="1567" y="1397"/>
                  <a:pt x="1567" y="1397"/>
                  <a:pt x="1567" y="1397"/>
                </a:cubicBezTo>
                <a:cubicBezTo>
                  <a:pt x="1562" y="1397"/>
                  <a:pt x="1562" y="1397"/>
                  <a:pt x="1562" y="1397"/>
                </a:cubicBezTo>
                <a:cubicBezTo>
                  <a:pt x="1560" y="1398"/>
                  <a:pt x="1559" y="1400"/>
                  <a:pt x="1556" y="1400"/>
                </a:cubicBezTo>
                <a:cubicBezTo>
                  <a:pt x="1555" y="1402"/>
                  <a:pt x="1553" y="1402"/>
                  <a:pt x="1551" y="1403"/>
                </a:cubicBezTo>
                <a:cubicBezTo>
                  <a:pt x="1549" y="1405"/>
                  <a:pt x="1548" y="1405"/>
                  <a:pt x="1546" y="1406"/>
                </a:cubicBezTo>
                <a:cubicBezTo>
                  <a:pt x="1544" y="1407"/>
                  <a:pt x="1542" y="1408"/>
                  <a:pt x="1541" y="1408"/>
                </a:cubicBezTo>
                <a:cubicBezTo>
                  <a:pt x="1541" y="1408"/>
                  <a:pt x="1541" y="1408"/>
                  <a:pt x="1541" y="1418"/>
                </a:cubicBezTo>
                <a:cubicBezTo>
                  <a:pt x="1544" y="1417"/>
                  <a:pt x="1546" y="1416"/>
                  <a:pt x="1549" y="1415"/>
                </a:cubicBezTo>
                <a:cubicBezTo>
                  <a:pt x="1551" y="1414"/>
                  <a:pt x="1554" y="1413"/>
                  <a:pt x="1555" y="1411"/>
                </a:cubicBezTo>
                <a:cubicBezTo>
                  <a:pt x="1555" y="1411"/>
                  <a:pt x="1555" y="1411"/>
                  <a:pt x="1555" y="1470"/>
                </a:cubicBezTo>
                <a:cubicBezTo>
                  <a:pt x="1555" y="1470"/>
                  <a:pt x="1555" y="1470"/>
                  <a:pt x="1567" y="1470"/>
                </a:cubicBezTo>
                <a:cubicBezTo>
                  <a:pt x="1567" y="1470"/>
                  <a:pt x="1567" y="1470"/>
                  <a:pt x="1567" y="1397"/>
                </a:cubicBezTo>
                <a:close/>
                <a:moveTo>
                  <a:pt x="1688" y="1397"/>
                </a:moveTo>
                <a:cubicBezTo>
                  <a:pt x="1688" y="1397"/>
                  <a:pt x="1688" y="1397"/>
                  <a:pt x="1688" y="1397"/>
                </a:cubicBezTo>
                <a:cubicBezTo>
                  <a:pt x="1683" y="1397"/>
                  <a:pt x="1683" y="1397"/>
                  <a:pt x="1683" y="1397"/>
                </a:cubicBezTo>
                <a:cubicBezTo>
                  <a:pt x="1681" y="1398"/>
                  <a:pt x="1680" y="1400"/>
                  <a:pt x="1677" y="1400"/>
                </a:cubicBezTo>
                <a:cubicBezTo>
                  <a:pt x="1676" y="1402"/>
                  <a:pt x="1674" y="1402"/>
                  <a:pt x="1672" y="1403"/>
                </a:cubicBezTo>
                <a:cubicBezTo>
                  <a:pt x="1671" y="1405"/>
                  <a:pt x="1669" y="1405"/>
                  <a:pt x="1667" y="1406"/>
                </a:cubicBezTo>
                <a:cubicBezTo>
                  <a:pt x="1665" y="1407"/>
                  <a:pt x="1663" y="1408"/>
                  <a:pt x="1661" y="1408"/>
                </a:cubicBezTo>
                <a:cubicBezTo>
                  <a:pt x="1661" y="1408"/>
                  <a:pt x="1661" y="1408"/>
                  <a:pt x="1661" y="1418"/>
                </a:cubicBezTo>
                <a:cubicBezTo>
                  <a:pt x="1664" y="1417"/>
                  <a:pt x="1667" y="1416"/>
                  <a:pt x="1670" y="1415"/>
                </a:cubicBezTo>
                <a:cubicBezTo>
                  <a:pt x="1672" y="1414"/>
                  <a:pt x="1674" y="1413"/>
                  <a:pt x="1677" y="1411"/>
                </a:cubicBezTo>
                <a:cubicBezTo>
                  <a:pt x="1677" y="1411"/>
                  <a:pt x="1677" y="1411"/>
                  <a:pt x="1677" y="1470"/>
                </a:cubicBezTo>
                <a:cubicBezTo>
                  <a:pt x="1677" y="1470"/>
                  <a:pt x="1677" y="1470"/>
                  <a:pt x="1688" y="1470"/>
                </a:cubicBezTo>
                <a:cubicBezTo>
                  <a:pt x="1688" y="1470"/>
                  <a:pt x="1688" y="1470"/>
                  <a:pt x="1688" y="1397"/>
                </a:cubicBezTo>
                <a:close/>
                <a:moveTo>
                  <a:pt x="1735" y="1397"/>
                </a:moveTo>
                <a:cubicBezTo>
                  <a:pt x="1735" y="1397"/>
                  <a:pt x="1735" y="1397"/>
                  <a:pt x="1735" y="1397"/>
                </a:cubicBezTo>
                <a:cubicBezTo>
                  <a:pt x="1730" y="1397"/>
                  <a:pt x="1730" y="1397"/>
                  <a:pt x="1730" y="1397"/>
                </a:cubicBezTo>
                <a:cubicBezTo>
                  <a:pt x="1728" y="1398"/>
                  <a:pt x="1726" y="1400"/>
                  <a:pt x="1724" y="1400"/>
                </a:cubicBezTo>
                <a:cubicBezTo>
                  <a:pt x="1723" y="1402"/>
                  <a:pt x="1721" y="1402"/>
                  <a:pt x="1719" y="1403"/>
                </a:cubicBezTo>
                <a:cubicBezTo>
                  <a:pt x="1718" y="1405"/>
                  <a:pt x="1715" y="1405"/>
                  <a:pt x="1714" y="1406"/>
                </a:cubicBezTo>
                <a:cubicBezTo>
                  <a:pt x="1712" y="1407"/>
                  <a:pt x="1710" y="1408"/>
                  <a:pt x="1708" y="1408"/>
                </a:cubicBezTo>
                <a:cubicBezTo>
                  <a:pt x="1708" y="1408"/>
                  <a:pt x="1708" y="1408"/>
                  <a:pt x="1708" y="1418"/>
                </a:cubicBezTo>
                <a:cubicBezTo>
                  <a:pt x="1711" y="1417"/>
                  <a:pt x="1714" y="1416"/>
                  <a:pt x="1716" y="1415"/>
                </a:cubicBezTo>
                <a:cubicBezTo>
                  <a:pt x="1719" y="1414"/>
                  <a:pt x="1721" y="1413"/>
                  <a:pt x="1723" y="1411"/>
                </a:cubicBezTo>
                <a:cubicBezTo>
                  <a:pt x="1723" y="1411"/>
                  <a:pt x="1723" y="1411"/>
                  <a:pt x="1723" y="1470"/>
                </a:cubicBezTo>
                <a:cubicBezTo>
                  <a:pt x="1723" y="1470"/>
                  <a:pt x="1723" y="1470"/>
                  <a:pt x="1735" y="1470"/>
                </a:cubicBezTo>
                <a:cubicBezTo>
                  <a:pt x="1735" y="1470"/>
                  <a:pt x="1735" y="1470"/>
                  <a:pt x="1735" y="1397"/>
                </a:cubicBezTo>
                <a:close/>
                <a:moveTo>
                  <a:pt x="1781" y="1397"/>
                </a:moveTo>
                <a:cubicBezTo>
                  <a:pt x="1781" y="1397"/>
                  <a:pt x="1781" y="1397"/>
                  <a:pt x="1781" y="1397"/>
                </a:cubicBezTo>
                <a:cubicBezTo>
                  <a:pt x="1777" y="1397"/>
                  <a:pt x="1777" y="1397"/>
                  <a:pt x="1777" y="1397"/>
                </a:cubicBezTo>
                <a:cubicBezTo>
                  <a:pt x="1775" y="1398"/>
                  <a:pt x="1773" y="1400"/>
                  <a:pt x="1771" y="1400"/>
                </a:cubicBezTo>
                <a:cubicBezTo>
                  <a:pt x="1770" y="1402"/>
                  <a:pt x="1767" y="1402"/>
                  <a:pt x="1766" y="1403"/>
                </a:cubicBezTo>
                <a:cubicBezTo>
                  <a:pt x="1764" y="1404"/>
                  <a:pt x="1762" y="1405"/>
                  <a:pt x="1760" y="1405"/>
                </a:cubicBezTo>
                <a:cubicBezTo>
                  <a:pt x="1759" y="1406"/>
                  <a:pt x="1757" y="1407"/>
                  <a:pt x="1755" y="1408"/>
                </a:cubicBezTo>
                <a:cubicBezTo>
                  <a:pt x="1755" y="1408"/>
                  <a:pt x="1755" y="1408"/>
                  <a:pt x="1755" y="1418"/>
                </a:cubicBezTo>
                <a:cubicBezTo>
                  <a:pt x="1758" y="1417"/>
                  <a:pt x="1761" y="1416"/>
                  <a:pt x="1763" y="1415"/>
                </a:cubicBezTo>
                <a:cubicBezTo>
                  <a:pt x="1765" y="1414"/>
                  <a:pt x="1768" y="1413"/>
                  <a:pt x="1770" y="1411"/>
                </a:cubicBezTo>
                <a:cubicBezTo>
                  <a:pt x="1770" y="1411"/>
                  <a:pt x="1770" y="1411"/>
                  <a:pt x="1770" y="1470"/>
                </a:cubicBezTo>
                <a:cubicBezTo>
                  <a:pt x="1770" y="1470"/>
                  <a:pt x="1770" y="1470"/>
                  <a:pt x="1781" y="1470"/>
                </a:cubicBezTo>
                <a:cubicBezTo>
                  <a:pt x="1781" y="1470"/>
                  <a:pt x="1781" y="1470"/>
                  <a:pt x="1781" y="1397"/>
                </a:cubicBezTo>
                <a:close/>
                <a:moveTo>
                  <a:pt x="1587" y="1429"/>
                </a:moveTo>
                <a:cubicBezTo>
                  <a:pt x="1587" y="1429"/>
                  <a:pt x="1587" y="1429"/>
                  <a:pt x="1587" y="1429"/>
                </a:cubicBezTo>
                <a:cubicBezTo>
                  <a:pt x="1586" y="1437"/>
                  <a:pt x="1586" y="1437"/>
                  <a:pt x="1586" y="1437"/>
                </a:cubicBezTo>
                <a:cubicBezTo>
                  <a:pt x="1593" y="1438"/>
                  <a:pt x="1593" y="1441"/>
                  <a:pt x="1593" y="1443"/>
                </a:cubicBezTo>
                <a:cubicBezTo>
                  <a:pt x="1593" y="1445"/>
                  <a:pt x="1593" y="1448"/>
                  <a:pt x="1593" y="1450"/>
                </a:cubicBezTo>
                <a:cubicBezTo>
                  <a:pt x="1593" y="1453"/>
                  <a:pt x="1592" y="1455"/>
                  <a:pt x="1592" y="1457"/>
                </a:cubicBezTo>
                <a:cubicBezTo>
                  <a:pt x="1592" y="1467"/>
                  <a:pt x="1598" y="1470"/>
                  <a:pt x="1607" y="1470"/>
                </a:cubicBezTo>
                <a:cubicBezTo>
                  <a:pt x="1607" y="1470"/>
                  <a:pt x="1607" y="1470"/>
                  <a:pt x="1610" y="1470"/>
                </a:cubicBezTo>
                <a:cubicBezTo>
                  <a:pt x="1610" y="1470"/>
                  <a:pt x="1610" y="1470"/>
                  <a:pt x="1610" y="1461"/>
                </a:cubicBezTo>
                <a:cubicBezTo>
                  <a:pt x="1610" y="1461"/>
                  <a:pt x="1610" y="1461"/>
                  <a:pt x="1609" y="1461"/>
                </a:cubicBezTo>
                <a:cubicBezTo>
                  <a:pt x="1605" y="1461"/>
                  <a:pt x="1604" y="1459"/>
                  <a:pt x="1604" y="1455"/>
                </a:cubicBezTo>
                <a:cubicBezTo>
                  <a:pt x="1604" y="1454"/>
                  <a:pt x="1604" y="1452"/>
                  <a:pt x="1604" y="1450"/>
                </a:cubicBezTo>
                <a:cubicBezTo>
                  <a:pt x="1604" y="1449"/>
                  <a:pt x="1605" y="1447"/>
                  <a:pt x="1605" y="1444"/>
                </a:cubicBezTo>
                <a:cubicBezTo>
                  <a:pt x="1605" y="1437"/>
                  <a:pt x="1602" y="1434"/>
                  <a:pt x="1596" y="1433"/>
                </a:cubicBezTo>
                <a:cubicBezTo>
                  <a:pt x="1596" y="1433"/>
                  <a:pt x="1596" y="1433"/>
                  <a:pt x="1596" y="1433"/>
                </a:cubicBezTo>
                <a:cubicBezTo>
                  <a:pt x="1602" y="1432"/>
                  <a:pt x="1605" y="1429"/>
                  <a:pt x="1605" y="1422"/>
                </a:cubicBezTo>
                <a:cubicBezTo>
                  <a:pt x="1605" y="1419"/>
                  <a:pt x="1604" y="1417"/>
                  <a:pt x="1604" y="1416"/>
                </a:cubicBezTo>
                <a:cubicBezTo>
                  <a:pt x="1604" y="1414"/>
                  <a:pt x="1604" y="1412"/>
                  <a:pt x="1604" y="1411"/>
                </a:cubicBezTo>
                <a:cubicBezTo>
                  <a:pt x="1604" y="1407"/>
                  <a:pt x="1605" y="1405"/>
                  <a:pt x="1609" y="1405"/>
                </a:cubicBezTo>
                <a:cubicBezTo>
                  <a:pt x="1609" y="1405"/>
                  <a:pt x="1609" y="1405"/>
                  <a:pt x="1610" y="1405"/>
                </a:cubicBezTo>
                <a:cubicBezTo>
                  <a:pt x="1610" y="1405"/>
                  <a:pt x="1610" y="1405"/>
                  <a:pt x="1610" y="1396"/>
                </a:cubicBezTo>
                <a:cubicBezTo>
                  <a:pt x="1610" y="1396"/>
                  <a:pt x="1610" y="1396"/>
                  <a:pt x="1607" y="1396"/>
                </a:cubicBezTo>
                <a:cubicBezTo>
                  <a:pt x="1598" y="1396"/>
                  <a:pt x="1592" y="1400"/>
                  <a:pt x="1592" y="1408"/>
                </a:cubicBezTo>
                <a:cubicBezTo>
                  <a:pt x="1592" y="1411"/>
                  <a:pt x="1593" y="1413"/>
                  <a:pt x="1593" y="1416"/>
                </a:cubicBezTo>
                <a:cubicBezTo>
                  <a:pt x="1593" y="1418"/>
                  <a:pt x="1593" y="1421"/>
                  <a:pt x="1593" y="1423"/>
                </a:cubicBezTo>
                <a:cubicBezTo>
                  <a:pt x="1593" y="1425"/>
                  <a:pt x="1593" y="1429"/>
                  <a:pt x="1587" y="1429"/>
                </a:cubicBezTo>
                <a:close/>
                <a:moveTo>
                  <a:pt x="1641" y="1437"/>
                </a:moveTo>
                <a:cubicBezTo>
                  <a:pt x="1641" y="1437"/>
                  <a:pt x="1641" y="1437"/>
                  <a:pt x="1641" y="1437"/>
                </a:cubicBezTo>
                <a:cubicBezTo>
                  <a:pt x="1641" y="1429"/>
                  <a:pt x="1641" y="1429"/>
                  <a:pt x="1641" y="1429"/>
                </a:cubicBezTo>
                <a:cubicBezTo>
                  <a:pt x="1635" y="1429"/>
                  <a:pt x="1635" y="1425"/>
                  <a:pt x="1635" y="1423"/>
                </a:cubicBezTo>
                <a:cubicBezTo>
                  <a:pt x="1635" y="1421"/>
                  <a:pt x="1635" y="1418"/>
                  <a:pt x="1635" y="1416"/>
                </a:cubicBezTo>
                <a:cubicBezTo>
                  <a:pt x="1636" y="1413"/>
                  <a:pt x="1636" y="1411"/>
                  <a:pt x="1636" y="1408"/>
                </a:cubicBezTo>
                <a:cubicBezTo>
                  <a:pt x="1636" y="1400"/>
                  <a:pt x="1630" y="1396"/>
                  <a:pt x="1621" y="1396"/>
                </a:cubicBezTo>
                <a:cubicBezTo>
                  <a:pt x="1621" y="1396"/>
                  <a:pt x="1621" y="1396"/>
                  <a:pt x="1617" y="1396"/>
                </a:cubicBezTo>
                <a:cubicBezTo>
                  <a:pt x="1617" y="1396"/>
                  <a:pt x="1617" y="1396"/>
                  <a:pt x="1617" y="1405"/>
                </a:cubicBezTo>
                <a:cubicBezTo>
                  <a:pt x="1617" y="1405"/>
                  <a:pt x="1617" y="1405"/>
                  <a:pt x="1619" y="1405"/>
                </a:cubicBezTo>
                <a:cubicBezTo>
                  <a:pt x="1623" y="1405"/>
                  <a:pt x="1624" y="1407"/>
                  <a:pt x="1624" y="1411"/>
                </a:cubicBezTo>
                <a:cubicBezTo>
                  <a:pt x="1624" y="1412"/>
                  <a:pt x="1624" y="1414"/>
                  <a:pt x="1624" y="1416"/>
                </a:cubicBezTo>
                <a:cubicBezTo>
                  <a:pt x="1623" y="1417"/>
                  <a:pt x="1623" y="1419"/>
                  <a:pt x="1623" y="1422"/>
                </a:cubicBezTo>
                <a:cubicBezTo>
                  <a:pt x="1623" y="1429"/>
                  <a:pt x="1626" y="1432"/>
                  <a:pt x="1632" y="1433"/>
                </a:cubicBezTo>
                <a:cubicBezTo>
                  <a:pt x="1632" y="1433"/>
                  <a:pt x="1632" y="1433"/>
                  <a:pt x="1632" y="1433"/>
                </a:cubicBezTo>
                <a:cubicBezTo>
                  <a:pt x="1626" y="1434"/>
                  <a:pt x="1623" y="1437"/>
                  <a:pt x="1623" y="1444"/>
                </a:cubicBezTo>
                <a:cubicBezTo>
                  <a:pt x="1623" y="1447"/>
                  <a:pt x="1623" y="1449"/>
                  <a:pt x="1624" y="1450"/>
                </a:cubicBezTo>
                <a:cubicBezTo>
                  <a:pt x="1624" y="1452"/>
                  <a:pt x="1624" y="1454"/>
                  <a:pt x="1624" y="1455"/>
                </a:cubicBezTo>
                <a:cubicBezTo>
                  <a:pt x="1624" y="1459"/>
                  <a:pt x="1623" y="1461"/>
                  <a:pt x="1619" y="1461"/>
                </a:cubicBezTo>
                <a:cubicBezTo>
                  <a:pt x="1619" y="1461"/>
                  <a:pt x="1619" y="1461"/>
                  <a:pt x="1617" y="1461"/>
                </a:cubicBezTo>
                <a:cubicBezTo>
                  <a:pt x="1617" y="1461"/>
                  <a:pt x="1617" y="1461"/>
                  <a:pt x="1617" y="1470"/>
                </a:cubicBezTo>
                <a:cubicBezTo>
                  <a:pt x="1617" y="1470"/>
                  <a:pt x="1617" y="1470"/>
                  <a:pt x="1621" y="1470"/>
                </a:cubicBezTo>
                <a:cubicBezTo>
                  <a:pt x="1630" y="1470"/>
                  <a:pt x="1636" y="1467"/>
                  <a:pt x="1636" y="1457"/>
                </a:cubicBezTo>
                <a:cubicBezTo>
                  <a:pt x="1636" y="1455"/>
                  <a:pt x="1636" y="1453"/>
                  <a:pt x="1635" y="1450"/>
                </a:cubicBezTo>
                <a:cubicBezTo>
                  <a:pt x="1635" y="1448"/>
                  <a:pt x="1635" y="1445"/>
                  <a:pt x="1635" y="1443"/>
                </a:cubicBezTo>
                <a:cubicBezTo>
                  <a:pt x="1635" y="1441"/>
                  <a:pt x="1635" y="1438"/>
                  <a:pt x="1641" y="1437"/>
                </a:cubicBezTo>
                <a:close/>
                <a:moveTo>
                  <a:pt x="1825" y="1470"/>
                </a:moveTo>
                <a:cubicBezTo>
                  <a:pt x="1818" y="1470"/>
                  <a:pt x="1811" y="1467"/>
                  <a:pt x="1807" y="1461"/>
                </a:cubicBezTo>
                <a:cubicBezTo>
                  <a:pt x="1803" y="1455"/>
                  <a:pt x="1801" y="1446"/>
                  <a:pt x="1801" y="1434"/>
                </a:cubicBezTo>
                <a:cubicBezTo>
                  <a:pt x="1801" y="1421"/>
                  <a:pt x="1803" y="1411"/>
                  <a:pt x="1807" y="1404"/>
                </a:cubicBezTo>
                <a:cubicBezTo>
                  <a:pt x="1812" y="1398"/>
                  <a:pt x="1818" y="1394"/>
                  <a:pt x="1827" y="1394"/>
                </a:cubicBezTo>
                <a:cubicBezTo>
                  <a:pt x="1843" y="1394"/>
                  <a:pt x="1851" y="1407"/>
                  <a:pt x="1851" y="1432"/>
                </a:cubicBezTo>
                <a:cubicBezTo>
                  <a:pt x="1851" y="1445"/>
                  <a:pt x="1849" y="1454"/>
                  <a:pt x="1844" y="1461"/>
                </a:cubicBezTo>
                <a:cubicBezTo>
                  <a:pt x="1840" y="1467"/>
                  <a:pt x="1833" y="1470"/>
                  <a:pt x="1825" y="1470"/>
                </a:cubicBezTo>
                <a:close/>
                <a:moveTo>
                  <a:pt x="1826" y="1404"/>
                </a:moveTo>
                <a:cubicBezTo>
                  <a:pt x="1817" y="1404"/>
                  <a:pt x="1813" y="1414"/>
                  <a:pt x="1813" y="1434"/>
                </a:cubicBezTo>
                <a:cubicBezTo>
                  <a:pt x="1813" y="1452"/>
                  <a:pt x="1817" y="1461"/>
                  <a:pt x="1826" y="1461"/>
                </a:cubicBezTo>
                <a:cubicBezTo>
                  <a:pt x="1834" y="1461"/>
                  <a:pt x="1839" y="1452"/>
                  <a:pt x="1839" y="1433"/>
                </a:cubicBezTo>
                <a:cubicBezTo>
                  <a:pt x="1839" y="1413"/>
                  <a:pt x="1834" y="1404"/>
                  <a:pt x="1826" y="1404"/>
                </a:cubicBezTo>
                <a:close/>
                <a:moveTo>
                  <a:pt x="1895" y="1470"/>
                </a:moveTo>
                <a:cubicBezTo>
                  <a:pt x="1888" y="1470"/>
                  <a:pt x="1882" y="1467"/>
                  <a:pt x="1878" y="1461"/>
                </a:cubicBezTo>
                <a:cubicBezTo>
                  <a:pt x="1874" y="1455"/>
                  <a:pt x="1871" y="1446"/>
                  <a:pt x="1871" y="1434"/>
                </a:cubicBezTo>
                <a:cubicBezTo>
                  <a:pt x="1871" y="1421"/>
                  <a:pt x="1874" y="1411"/>
                  <a:pt x="1878" y="1404"/>
                </a:cubicBezTo>
                <a:cubicBezTo>
                  <a:pt x="1882" y="1398"/>
                  <a:pt x="1889" y="1394"/>
                  <a:pt x="1898" y="1394"/>
                </a:cubicBezTo>
                <a:cubicBezTo>
                  <a:pt x="1914" y="1394"/>
                  <a:pt x="1922" y="1407"/>
                  <a:pt x="1922" y="1432"/>
                </a:cubicBezTo>
                <a:cubicBezTo>
                  <a:pt x="1922" y="1445"/>
                  <a:pt x="1920" y="1454"/>
                  <a:pt x="1915" y="1461"/>
                </a:cubicBezTo>
                <a:cubicBezTo>
                  <a:pt x="1910" y="1467"/>
                  <a:pt x="1904" y="1470"/>
                  <a:pt x="1895" y="1470"/>
                </a:cubicBezTo>
                <a:close/>
                <a:moveTo>
                  <a:pt x="1897" y="1404"/>
                </a:moveTo>
                <a:cubicBezTo>
                  <a:pt x="1888" y="1404"/>
                  <a:pt x="1883" y="1414"/>
                  <a:pt x="1883" y="1434"/>
                </a:cubicBezTo>
                <a:cubicBezTo>
                  <a:pt x="1883" y="1452"/>
                  <a:pt x="1887" y="1461"/>
                  <a:pt x="1896" y="1461"/>
                </a:cubicBezTo>
                <a:cubicBezTo>
                  <a:pt x="1905" y="1461"/>
                  <a:pt x="1909" y="1452"/>
                  <a:pt x="1909" y="1433"/>
                </a:cubicBezTo>
                <a:cubicBezTo>
                  <a:pt x="1909" y="1413"/>
                  <a:pt x="1905" y="1404"/>
                  <a:pt x="1897" y="1404"/>
                </a:cubicBezTo>
                <a:close/>
                <a:moveTo>
                  <a:pt x="41" y="1493"/>
                </a:moveTo>
                <a:cubicBezTo>
                  <a:pt x="41" y="1493"/>
                  <a:pt x="41" y="1493"/>
                  <a:pt x="41" y="1493"/>
                </a:cubicBezTo>
                <a:cubicBezTo>
                  <a:pt x="36" y="1493"/>
                  <a:pt x="36" y="1493"/>
                  <a:pt x="36" y="1493"/>
                </a:cubicBezTo>
                <a:cubicBezTo>
                  <a:pt x="33" y="1494"/>
                  <a:pt x="32" y="1496"/>
                  <a:pt x="30" y="1496"/>
                </a:cubicBezTo>
                <a:cubicBezTo>
                  <a:pt x="28" y="1498"/>
                  <a:pt x="27" y="1498"/>
                  <a:pt x="25" y="1499"/>
                </a:cubicBezTo>
                <a:cubicBezTo>
                  <a:pt x="23" y="1501"/>
                  <a:pt x="21" y="1501"/>
                  <a:pt x="20" y="1502"/>
                </a:cubicBezTo>
                <a:cubicBezTo>
                  <a:pt x="17" y="1503"/>
                  <a:pt x="16" y="1504"/>
                  <a:pt x="14" y="1504"/>
                </a:cubicBezTo>
                <a:cubicBezTo>
                  <a:pt x="14" y="1504"/>
                  <a:pt x="14" y="1504"/>
                  <a:pt x="14" y="1514"/>
                </a:cubicBezTo>
                <a:cubicBezTo>
                  <a:pt x="17" y="1513"/>
                  <a:pt x="20" y="1512"/>
                  <a:pt x="22" y="1511"/>
                </a:cubicBezTo>
                <a:cubicBezTo>
                  <a:pt x="25" y="1510"/>
                  <a:pt x="27" y="1509"/>
                  <a:pt x="29" y="1507"/>
                </a:cubicBezTo>
                <a:cubicBezTo>
                  <a:pt x="29" y="1507"/>
                  <a:pt x="29" y="1507"/>
                  <a:pt x="29" y="1566"/>
                </a:cubicBezTo>
                <a:cubicBezTo>
                  <a:pt x="29" y="1566"/>
                  <a:pt x="29" y="1566"/>
                  <a:pt x="41" y="1566"/>
                </a:cubicBezTo>
                <a:cubicBezTo>
                  <a:pt x="41" y="1566"/>
                  <a:pt x="41" y="1566"/>
                  <a:pt x="41" y="1493"/>
                </a:cubicBezTo>
                <a:close/>
                <a:moveTo>
                  <a:pt x="88" y="1493"/>
                </a:moveTo>
                <a:cubicBezTo>
                  <a:pt x="88" y="1493"/>
                  <a:pt x="88" y="1493"/>
                  <a:pt x="88" y="1493"/>
                </a:cubicBezTo>
                <a:cubicBezTo>
                  <a:pt x="83" y="1493"/>
                  <a:pt x="83" y="1493"/>
                  <a:pt x="83" y="1493"/>
                </a:cubicBezTo>
                <a:cubicBezTo>
                  <a:pt x="81" y="1494"/>
                  <a:pt x="79" y="1496"/>
                  <a:pt x="77" y="1496"/>
                </a:cubicBezTo>
                <a:cubicBezTo>
                  <a:pt x="76" y="1498"/>
                  <a:pt x="74" y="1498"/>
                  <a:pt x="72" y="1499"/>
                </a:cubicBezTo>
                <a:cubicBezTo>
                  <a:pt x="71" y="1501"/>
                  <a:pt x="69" y="1501"/>
                  <a:pt x="67" y="1502"/>
                </a:cubicBezTo>
                <a:cubicBezTo>
                  <a:pt x="65" y="1503"/>
                  <a:pt x="63" y="1504"/>
                  <a:pt x="61" y="1504"/>
                </a:cubicBezTo>
                <a:cubicBezTo>
                  <a:pt x="61" y="1504"/>
                  <a:pt x="61" y="1504"/>
                  <a:pt x="61" y="1514"/>
                </a:cubicBezTo>
                <a:cubicBezTo>
                  <a:pt x="64" y="1513"/>
                  <a:pt x="67" y="1512"/>
                  <a:pt x="69" y="1511"/>
                </a:cubicBezTo>
                <a:cubicBezTo>
                  <a:pt x="72" y="1510"/>
                  <a:pt x="74" y="1509"/>
                  <a:pt x="77" y="1507"/>
                </a:cubicBezTo>
                <a:cubicBezTo>
                  <a:pt x="77" y="1507"/>
                  <a:pt x="77" y="1507"/>
                  <a:pt x="77" y="1566"/>
                </a:cubicBezTo>
                <a:cubicBezTo>
                  <a:pt x="77" y="1566"/>
                  <a:pt x="77" y="1566"/>
                  <a:pt x="88" y="1566"/>
                </a:cubicBezTo>
                <a:cubicBezTo>
                  <a:pt x="88" y="1566"/>
                  <a:pt x="88" y="1566"/>
                  <a:pt x="88" y="1493"/>
                </a:cubicBezTo>
                <a:close/>
                <a:moveTo>
                  <a:pt x="135" y="1493"/>
                </a:moveTo>
                <a:cubicBezTo>
                  <a:pt x="135" y="1493"/>
                  <a:pt x="135" y="1493"/>
                  <a:pt x="135" y="1493"/>
                </a:cubicBezTo>
                <a:cubicBezTo>
                  <a:pt x="130" y="1493"/>
                  <a:pt x="130" y="1493"/>
                  <a:pt x="130" y="1493"/>
                </a:cubicBezTo>
                <a:cubicBezTo>
                  <a:pt x="128" y="1494"/>
                  <a:pt x="127" y="1496"/>
                  <a:pt x="125" y="1496"/>
                </a:cubicBezTo>
                <a:cubicBezTo>
                  <a:pt x="123" y="1498"/>
                  <a:pt x="121" y="1498"/>
                  <a:pt x="120" y="1499"/>
                </a:cubicBezTo>
                <a:cubicBezTo>
                  <a:pt x="117" y="1500"/>
                  <a:pt x="116" y="1501"/>
                  <a:pt x="114" y="1501"/>
                </a:cubicBezTo>
                <a:cubicBezTo>
                  <a:pt x="112" y="1502"/>
                  <a:pt x="110" y="1503"/>
                  <a:pt x="109" y="1504"/>
                </a:cubicBezTo>
                <a:cubicBezTo>
                  <a:pt x="109" y="1504"/>
                  <a:pt x="109" y="1504"/>
                  <a:pt x="109" y="1514"/>
                </a:cubicBezTo>
                <a:cubicBezTo>
                  <a:pt x="112" y="1513"/>
                  <a:pt x="115" y="1512"/>
                  <a:pt x="117" y="1511"/>
                </a:cubicBezTo>
                <a:cubicBezTo>
                  <a:pt x="119" y="1510"/>
                  <a:pt x="122" y="1509"/>
                  <a:pt x="123" y="1507"/>
                </a:cubicBezTo>
                <a:cubicBezTo>
                  <a:pt x="123" y="1507"/>
                  <a:pt x="123" y="1507"/>
                  <a:pt x="123" y="1566"/>
                </a:cubicBezTo>
                <a:cubicBezTo>
                  <a:pt x="123" y="1566"/>
                  <a:pt x="123" y="1566"/>
                  <a:pt x="135" y="1566"/>
                </a:cubicBezTo>
                <a:cubicBezTo>
                  <a:pt x="135" y="1566"/>
                  <a:pt x="135" y="1566"/>
                  <a:pt x="135" y="1493"/>
                </a:cubicBezTo>
                <a:close/>
                <a:moveTo>
                  <a:pt x="179" y="1566"/>
                </a:moveTo>
                <a:cubicBezTo>
                  <a:pt x="172" y="1566"/>
                  <a:pt x="166" y="1563"/>
                  <a:pt x="161" y="1557"/>
                </a:cubicBezTo>
                <a:cubicBezTo>
                  <a:pt x="158" y="1551"/>
                  <a:pt x="155" y="1542"/>
                  <a:pt x="155" y="1530"/>
                </a:cubicBezTo>
                <a:cubicBezTo>
                  <a:pt x="155" y="1517"/>
                  <a:pt x="158" y="1507"/>
                  <a:pt x="162" y="1500"/>
                </a:cubicBezTo>
                <a:cubicBezTo>
                  <a:pt x="166" y="1494"/>
                  <a:pt x="173" y="1490"/>
                  <a:pt x="182" y="1490"/>
                </a:cubicBezTo>
                <a:cubicBezTo>
                  <a:pt x="198" y="1490"/>
                  <a:pt x="206" y="1503"/>
                  <a:pt x="206" y="1528"/>
                </a:cubicBezTo>
                <a:cubicBezTo>
                  <a:pt x="206" y="1541"/>
                  <a:pt x="204" y="1550"/>
                  <a:pt x="198" y="1557"/>
                </a:cubicBezTo>
                <a:cubicBezTo>
                  <a:pt x="194" y="1563"/>
                  <a:pt x="188" y="1566"/>
                  <a:pt x="179" y="1566"/>
                </a:cubicBezTo>
                <a:close/>
                <a:moveTo>
                  <a:pt x="181" y="1500"/>
                </a:moveTo>
                <a:cubicBezTo>
                  <a:pt x="171" y="1500"/>
                  <a:pt x="167" y="1510"/>
                  <a:pt x="167" y="1530"/>
                </a:cubicBezTo>
                <a:cubicBezTo>
                  <a:pt x="167" y="1548"/>
                  <a:pt x="171" y="1557"/>
                  <a:pt x="180" y="1557"/>
                </a:cubicBezTo>
                <a:cubicBezTo>
                  <a:pt x="189" y="1557"/>
                  <a:pt x="193" y="1548"/>
                  <a:pt x="193" y="1529"/>
                </a:cubicBezTo>
                <a:cubicBezTo>
                  <a:pt x="193" y="1509"/>
                  <a:pt x="189" y="1500"/>
                  <a:pt x="181" y="1500"/>
                </a:cubicBezTo>
                <a:close/>
                <a:moveTo>
                  <a:pt x="251" y="1566"/>
                </a:moveTo>
                <a:cubicBezTo>
                  <a:pt x="243" y="1566"/>
                  <a:pt x="237" y="1563"/>
                  <a:pt x="233" y="1557"/>
                </a:cubicBezTo>
                <a:cubicBezTo>
                  <a:pt x="229" y="1551"/>
                  <a:pt x="226" y="1542"/>
                  <a:pt x="226" y="1530"/>
                </a:cubicBezTo>
                <a:cubicBezTo>
                  <a:pt x="226" y="1517"/>
                  <a:pt x="229" y="1507"/>
                  <a:pt x="233" y="1500"/>
                </a:cubicBezTo>
                <a:cubicBezTo>
                  <a:pt x="237" y="1494"/>
                  <a:pt x="244" y="1490"/>
                  <a:pt x="253" y="1490"/>
                </a:cubicBezTo>
                <a:cubicBezTo>
                  <a:pt x="269" y="1490"/>
                  <a:pt x="277" y="1503"/>
                  <a:pt x="277" y="1528"/>
                </a:cubicBezTo>
                <a:cubicBezTo>
                  <a:pt x="277" y="1541"/>
                  <a:pt x="275" y="1550"/>
                  <a:pt x="270" y="1557"/>
                </a:cubicBezTo>
                <a:cubicBezTo>
                  <a:pt x="265" y="1563"/>
                  <a:pt x="259" y="1566"/>
                  <a:pt x="251" y="1566"/>
                </a:cubicBezTo>
                <a:close/>
                <a:moveTo>
                  <a:pt x="252" y="1500"/>
                </a:moveTo>
                <a:cubicBezTo>
                  <a:pt x="243" y="1500"/>
                  <a:pt x="238" y="1510"/>
                  <a:pt x="238" y="1530"/>
                </a:cubicBezTo>
                <a:cubicBezTo>
                  <a:pt x="238" y="1548"/>
                  <a:pt x="242" y="1557"/>
                  <a:pt x="251" y="1557"/>
                </a:cubicBezTo>
                <a:cubicBezTo>
                  <a:pt x="260" y="1557"/>
                  <a:pt x="264" y="1548"/>
                  <a:pt x="264" y="1529"/>
                </a:cubicBezTo>
                <a:cubicBezTo>
                  <a:pt x="264" y="1509"/>
                  <a:pt x="260" y="1500"/>
                  <a:pt x="252" y="1500"/>
                </a:cubicBezTo>
                <a:close/>
                <a:moveTo>
                  <a:pt x="463" y="1566"/>
                </a:moveTo>
                <a:cubicBezTo>
                  <a:pt x="456" y="1566"/>
                  <a:pt x="450" y="1563"/>
                  <a:pt x="446" y="1557"/>
                </a:cubicBezTo>
                <a:cubicBezTo>
                  <a:pt x="441" y="1551"/>
                  <a:pt x="439" y="1541"/>
                  <a:pt x="439" y="1530"/>
                </a:cubicBezTo>
                <a:cubicBezTo>
                  <a:pt x="439" y="1517"/>
                  <a:pt x="441" y="1507"/>
                  <a:pt x="446" y="1500"/>
                </a:cubicBezTo>
                <a:cubicBezTo>
                  <a:pt x="450" y="1493"/>
                  <a:pt x="457" y="1490"/>
                  <a:pt x="466" y="1490"/>
                </a:cubicBezTo>
                <a:cubicBezTo>
                  <a:pt x="482" y="1490"/>
                  <a:pt x="490" y="1503"/>
                  <a:pt x="490" y="1527"/>
                </a:cubicBezTo>
                <a:cubicBezTo>
                  <a:pt x="490" y="1541"/>
                  <a:pt x="488" y="1550"/>
                  <a:pt x="483" y="1557"/>
                </a:cubicBezTo>
                <a:cubicBezTo>
                  <a:pt x="478" y="1563"/>
                  <a:pt x="472" y="1566"/>
                  <a:pt x="463" y="1566"/>
                </a:cubicBezTo>
                <a:close/>
                <a:moveTo>
                  <a:pt x="465" y="1500"/>
                </a:moveTo>
                <a:cubicBezTo>
                  <a:pt x="456" y="1500"/>
                  <a:pt x="452" y="1509"/>
                  <a:pt x="452" y="1529"/>
                </a:cubicBezTo>
                <a:cubicBezTo>
                  <a:pt x="452" y="1547"/>
                  <a:pt x="456" y="1557"/>
                  <a:pt x="465" y="1557"/>
                </a:cubicBezTo>
                <a:cubicBezTo>
                  <a:pt x="473" y="1557"/>
                  <a:pt x="477" y="1547"/>
                  <a:pt x="477" y="1529"/>
                </a:cubicBezTo>
                <a:cubicBezTo>
                  <a:pt x="477" y="1509"/>
                  <a:pt x="474" y="1500"/>
                  <a:pt x="465" y="1500"/>
                </a:cubicBezTo>
                <a:close/>
                <a:moveTo>
                  <a:pt x="582" y="1566"/>
                </a:moveTo>
                <a:cubicBezTo>
                  <a:pt x="574" y="1566"/>
                  <a:pt x="569" y="1563"/>
                  <a:pt x="564" y="1557"/>
                </a:cubicBezTo>
                <a:cubicBezTo>
                  <a:pt x="560" y="1551"/>
                  <a:pt x="558" y="1541"/>
                  <a:pt x="558" y="1530"/>
                </a:cubicBezTo>
                <a:cubicBezTo>
                  <a:pt x="558" y="1517"/>
                  <a:pt x="560" y="1507"/>
                  <a:pt x="564" y="1500"/>
                </a:cubicBezTo>
                <a:cubicBezTo>
                  <a:pt x="569" y="1493"/>
                  <a:pt x="575" y="1490"/>
                  <a:pt x="584" y="1490"/>
                </a:cubicBezTo>
                <a:cubicBezTo>
                  <a:pt x="600" y="1490"/>
                  <a:pt x="608" y="1503"/>
                  <a:pt x="608" y="1527"/>
                </a:cubicBezTo>
                <a:cubicBezTo>
                  <a:pt x="608" y="1541"/>
                  <a:pt x="606" y="1550"/>
                  <a:pt x="601" y="1557"/>
                </a:cubicBezTo>
                <a:cubicBezTo>
                  <a:pt x="596" y="1563"/>
                  <a:pt x="590" y="1566"/>
                  <a:pt x="582" y="1566"/>
                </a:cubicBezTo>
                <a:close/>
                <a:moveTo>
                  <a:pt x="583" y="1500"/>
                </a:moveTo>
                <a:cubicBezTo>
                  <a:pt x="574" y="1500"/>
                  <a:pt x="570" y="1509"/>
                  <a:pt x="570" y="1529"/>
                </a:cubicBezTo>
                <a:cubicBezTo>
                  <a:pt x="570" y="1547"/>
                  <a:pt x="574" y="1557"/>
                  <a:pt x="583" y="1557"/>
                </a:cubicBezTo>
                <a:cubicBezTo>
                  <a:pt x="591" y="1557"/>
                  <a:pt x="596" y="1547"/>
                  <a:pt x="596" y="1529"/>
                </a:cubicBezTo>
                <a:cubicBezTo>
                  <a:pt x="596" y="1509"/>
                  <a:pt x="592" y="1500"/>
                  <a:pt x="583" y="1500"/>
                </a:cubicBezTo>
                <a:close/>
                <a:moveTo>
                  <a:pt x="537" y="1493"/>
                </a:moveTo>
                <a:cubicBezTo>
                  <a:pt x="537" y="1493"/>
                  <a:pt x="537" y="1493"/>
                  <a:pt x="537" y="1493"/>
                </a:cubicBezTo>
                <a:cubicBezTo>
                  <a:pt x="532" y="1493"/>
                  <a:pt x="532" y="1493"/>
                  <a:pt x="532" y="1493"/>
                </a:cubicBezTo>
                <a:cubicBezTo>
                  <a:pt x="530" y="1494"/>
                  <a:pt x="528" y="1496"/>
                  <a:pt x="526" y="1496"/>
                </a:cubicBezTo>
                <a:cubicBezTo>
                  <a:pt x="525" y="1498"/>
                  <a:pt x="522" y="1498"/>
                  <a:pt x="521" y="1499"/>
                </a:cubicBezTo>
                <a:cubicBezTo>
                  <a:pt x="520" y="1500"/>
                  <a:pt x="517" y="1501"/>
                  <a:pt x="516" y="1501"/>
                </a:cubicBezTo>
                <a:cubicBezTo>
                  <a:pt x="514" y="1502"/>
                  <a:pt x="512" y="1503"/>
                  <a:pt x="510" y="1504"/>
                </a:cubicBezTo>
                <a:cubicBezTo>
                  <a:pt x="510" y="1504"/>
                  <a:pt x="510" y="1504"/>
                  <a:pt x="510" y="1514"/>
                </a:cubicBezTo>
                <a:cubicBezTo>
                  <a:pt x="513" y="1513"/>
                  <a:pt x="516" y="1512"/>
                  <a:pt x="518" y="1511"/>
                </a:cubicBezTo>
                <a:cubicBezTo>
                  <a:pt x="521" y="1510"/>
                  <a:pt x="523" y="1509"/>
                  <a:pt x="525" y="1507"/>
                </a:cubicBezTo>
                <a:cubicBezTo>
                  <a:pt x="525" y="1507"/>
                  <a:pt x="525" y="1507"/>
                  <a:pt x="525" y="1566"/>
                </a:cubicBezTo>
                <a:cubicBezTo>
                  <a:pt x="525" y="1566"/>
                  <a:pt x="525" y="1566"/>
                  <a:pt x="537" y="1566"/>
                </a:cubicBezTo>
                <a:cubicBezTo>
                  <a:pt x="537" y="1566"/>
                  <a:pt x="537" y="1566"/>
                  <a:pt x="537" y="1493"/>
                </a:cubicBezTo>
                <a:close/>
                <a:moveTo>
                  <a:pt x="653" y="1566"/>
                </a:moveTo>
                <a:cubicBezTo>
                  <a:pt x="645" y="1566"/>
                  <a:pt x="638" y="1563"/>
                  <a:pt x="635" y="1557"/>
                </a:cubicBezTo>
                <a:cubicBezTo>
                  <a:pt x="630" y="1551"/>
                  <a:pt x="628" y="1542"/>
                  <a:pt x="628" y="1530"/>
                </a:cubicBezTo>
                <a:cubicBezTo>
                  <a:pt x="628" y="1517"/>
                  <a:pt x="630" y="1507"/>
                  <a:pt x="635" y="1500"/>
                </a:cubicBezTo>
                <a:cubicBezTo>
                  <a:pt x="639" y="1494"/>
                  <a:pt x="646" y="1490"/>
                  <a:pt x="655" y="1490"/>
                </a:cubicBezTo>
                <a:cubicBezTo>
                  <a:pt x="671" y="1490"/>
                  <a:pt x="679" y="1503"/>
                  <a:pt x="679" y="1528"/>
                </a:cubicBezTo>
                <a:cubicBezTo>
                  <a:pt x="679" y="1541"/>
                  <a:pt x="677" y="1550"/>
                  <a:pt x="672" y="1557"/>
                </a:cubicBezTo>
                <a:cubicBezTo>
                  <a:pt x="667" y="1563"/>
                  <a:pt x="661" y="1566"/>
                  <a:pt x="653" y="1566"/>
                </a:cubicBezTo>
                <a:close/>
                <a:moveTo>
                  <a:pt x="654" y="1500"/>
                </a:moveTo>
                <a:cubicBezTo>
                  <a:pt x="645" y="1500"/>
                  <a:pt x="640" y="1510"/>
                  <a:pt x="640" y="1530"/>
                </a:cubicBezTo>
                <a:cubicBezTo>
                  <a:pt x="640" y="1548"/>
                  <a:pt x="644" y="1557"/>
                  <a:pt x="653" y="1557"/>
                </a:cubicBezTo>
                <a:cubicBezTo>
                  <a:pt x="662" y="1557"/>
                  <a:pt x="667" y="1548"/>
                  <a:pt x="667" y="1529"/>
                </a:cubicBezTo>
                <a:cubicBezTo>
                  <a:pt x="667" y="1509"/>
                  <a:pt x="662" y="1500"/>
                  <a:pt x="654" y="1500"/>
                </a:cubicBezTo>
                <a:close/>
                <a:moveTo>
                  <a:pt x="700" y="1525"/>
                </a:moveTo>
                <a:cubicBezTo>
                  <a:pt x="700" y="1525"/>
                  <a:pt x="700" y="1525"/>
                  <a:pt x="700" y="1525"/>
                </a:cubicBezTo>
                <a:cubicBezTo>
                  <a:pt x="699" y="1533"/>
                  <a:pt x="699" y="1533"/>
                  <a:pt x="699" y="1533"/>
                </a:cubicBezTo>
                <a:cubicBezTo>
                  <a:pt x="706" y="1534"/>
                  <a:pt x="706" y="1537"/>
                  <a:pt x="706" y="1539"/>
                </a:cubicBezTo>
                <a:cubicBezTo>
                  <a:pt x="706" y="1541"/>
                  <a:pt x="706" y="1544"/>
                  <a:pt x="706" y="1546"/>
                </a:cubicBezTo>
                <a:cubicBezTo>
                  <a:pt x="706" y="1549"/>
                  <a:pt x="705" y="1551"/>
                  <a:pt x="705" y="1553"/>
                </a:cubicBezTo>
                <a:cubicBezTo>
                  <a:pt x="705" y="1563"/>
                  <a:pt x="711" y="1566"/>
                  <a:pt x="720" y="1566"/>
                </a:cubicBezTo>
                <a:cubicBezTo>
                  <a:pt x="720" y="1566"/>
                  <a:pt x="720" y="1566"/>
                  <a:pt x="724" y="1566"/>
                </a:cubicBezTo>
                <a:cubicBezTo>
                  <a:pt x="724" y="1566"/>
                  <a:pt x="724" y="1566"/>
                  <a:pt x="724" y="1557"/>
                </a:cubicBezTo>
                <a:cubicBezTo>
                  <a:pt x="724" y="1557"/>
                  <a:pt x="724" y="1557"/>
                  <a:pt x="722" y="1557"/>
                </a:cubicBezTo>
                <a:cubicBezTo>
                  <a:pt x="718" y="1557"/>
                  <a:pt x="717" y="1555"/>
                  <a:pt x="717" y="1551"/>
                </a:cubicBezTo>
                <a:cubicBezTo>
                  <a:pt x="717" y="1550"/>
                  <a:pt x="717" y="1548"/>
                  <a:pt x="718" y="1546"/>
                </a:cubicBezTo>
                <a:cubicBezTo>
                  <a:pt x="718" y="1545"/>
                  <a:pt x="718" y="1543"/>
                  <a:pt x="718" y="1540"/>
                </a:cubicBezTo>
                <a:cubicBezTo>
                  <a:pt x="718" y="1533"/>
                  <a:pt x="715" y="1530"/>
                  <a:pt x="709" y="1529"/>
                </a:cubicBezTo>
                <a:cubicBezTo>
                  <a:pt x="709" y="1529"/>
                  <a:pt x="709" y="1529"/>
                  <a:pt x="709" y="1529"/>
                </a:cubicBezTo>
                <a:cubicBezTo>
                  <a:pt x="715" y="1528"/>
                  <a:pt x="718" y="1525"/>
                  <a:pt x="718" y="1518"/>
                </a:cubicBezTo>
                <a:cubicBezTo>
                  <a:pt x="718" y="1515"/>
                  <a:pt x="718" y="1513"/>
                  <a:pt x="718" y="1512"/>
                </a:cubicBezTo>
                <a:cubicBezTo>
                  <a:pt x="717" y="1510"/>
                  <a:pt x="717" y="1508"/>
                  <a:pt x="717" y="1507"/>
                </a:cubicBezTo>
                <a:cubicBezTo>
                  <a:pt x="717" y="1503"/>
                  <a:pt x="718" y="1501"/>
                  <a:pt x="722" y="1501"/>
                </a:cubicBezTo>
                <a:cubicBezTo>
                  <a:pt x="722" y="1501"/>
                  <a:pt x="722" y="1501"/>
                  <a:pt x="724" y="1501"/>
                </a:cubicBezTo>
                <a:cubicBezTo>
                  <a:pt x="724" y="1501"/>
                  <a:pt x="724" y="1501"/>
                  <a:pt x="724" y="1492"/>
                </a:cubicBezTo>
                <a:cubicBezTo>
                  <a:pt x="724" y="1492"/>
                  <a:pt x="724" y="1492"/>
                  <a:pt x="720" y="1492"/>
                </a:cubicBezTo>
                <a:cubicBezTo>
                  <a:pt x="711" y="1492"/>
                  <a:pt x="705" y="1496"/>
                  <a:pt x="705" y="1504"/>
                </a:cubicBezTo>
                <a:cubicBezTo>
                  <a:pt x="705" y="1507"/>
                  <a:pt x="706" y="1509"/>
                  <a:pt x="706" y="1512"/>
                </a:cubicBezTo>
                <a:cubicBezTo>
                  <a:pt x="706" y="1514"/>
                  <a:pt x="706" y="1517"/>
                  <a:pt x="706" y="1519"/>
                </a:cubicBezTo>
                <a:cubicBezTo>
                  <a:pt x="706" y="1521"/>
                  <a:pt x="706" y="1525"/>
                  <a:pt x="700" y="1525"/>
                </a:cubicBezTo>
                <a:close/>
                <a:moveTo>
                  <a:pt x="754" y="1533"/>
                </a:moveTo>
                <a:cubicBezTo>
                  <a:pt x="754" y="1533"/>
                  <a:pt x="754" y="1533"/>
                  <a:pt x="754" y="1533"/>
                </a:cubicBezTo>
                <a:cubicBezTo>
                  <a:pt x="754" y="1525"/>
                  <a:pt x="754" y="1525"/>
                  <a:pt x="754" y="1525"/>
                </a:cubicBezTo>
                <a:cubicBezTo>
                  <a:pt x="748" y="1525"/>
                  <a:pt x="748" y="1521"/>
                  <a:pt x="748" y="1519"/>
                </a:cubicBezTo>
                <a:cubicBezTo>
                  <a:pt x="748" y="1517"/>
                  <a:pt x="748" y="1514"/>
                  <a:pt x="748" y="1512"/>
                </a:cubicBezTo>
                <a:cubicBezTo>
                  <a:pt x="749" y="1509"/>
                  <a:pt x="749" y="1507"/>
                  <a:pt x="749" y="1504"/>
                </a:cubicBezTo>
                <a:cubicBezTo>
                  <a:pt x="749" y="1496"/>
                  <a:pt x="743" y="1492"/>
                  <a:pt x="734" y="1492"/>
                </a:cubicBezTo>
                <a:cubicBezTo>
                  <a:pt x="734" y="1492"/>
                  <a:pt x="734" y="1492"/>
                  <a:pt x="730" y="1492"/>
                </a:cubicBezTo>
                <a:cubicBezTo>
                  <a:pt x="730" y="1492"/>
                  <a:pt x="730" y="1492"/>
                  <a:pt x="730" y="1501"/>
                </a:cubicBezTo>
                <a:cubicBezTo>
                  <a:pt x="730" y="1501"/>
                  <a:pt x="730" y="1501"/>
                  <a:pt x="732" y="1501"/>
                </a:cubicBezTo>
                <a:cubicBezTo>
                  <a:pt x="736" y="1501"/>
                  <a:pt x="737" y="1503"/>
                  <a:pt x="737" y="1507"/>
                </a:cubicBezTo>
                <a:cubicBezTo>
                  <a:pt x="737" y="1508"/>
                  <a:pt x="737" y="1510"/>
                  <a:pt x="737" y="1512"/>
                </a:cubicBezTo>
                <a:cubicBezTo>
                  <a:pt x="736" y="1513"/>
                  <a:pt x="736" y="1515"/>
                  <a:pt x="736" y="1518"/>
                </a:cubicBezTo>
                <a:cubicBezTo>
                  <a:pt x="736" y="1525"/>
                  <a:pt x="739" y="1528"/>
                  <a:pt x="745" y="1529"/>
                </a:cubicBezTo>
                <a:cubicBezTo>
                  <a:pt x="745" y="1529"/>
                  <a:pt x="745" y="1529"/>
                  <a:pt x="745" y="1529"/>
                </a:cubicBezTo>
                <a:cubicBezTo>
                  <a:pt x="739" y="1530"/>
                  <a:pt x="736" y="1533"/>
                  <a:pt x="736" y="1540"/>
                </a:cubicBezTo>
                <a:cubicBezTo>
                  <a:pt x="736" y="1543"/>
                  <a:pt x="736" y="1545"/>
                  <a:pt x="737" y="1546"/>
                </a:cubicBezTo>
                <a:cubicBezTo>
                  <a:pt x="737" y="1548"/>
                  <a:pt x="737" y="1550"/>
                  <a:pt x="737" y="1551"/>
                </a:cubicBezTo>
                <a:cubicBezTo>
                  <a:pt x="737" y="1555"/>
                  <a:pt x="736" y="1557"/>
                  <a:pt x="732" y="1557"/>
                </a:cubicBezTo>
                <a:cubicBezTo>
                  <a:pt x="732" y="1557"/>
                  <a:pt x="732" y="1557"/>
                  <a:pt x="730" y="1557"/>
                </a:cubicBezTo>
                <a:cubicBezTo>
                  <a:pt x="730" y="1557"/>
                  <a:pt x="730" y="1557"/>
                  <a:pt x="730" y="1566"/>
                </a:cubicBezTo>
                <a:cubicBezTo>
                  <a:pt x="730" y="1566"/>
                  <a:pt x="730" y="1566"/>
                  <a:pt x="734" y="1566"/>
                </a:cubicBezTo>
                <a:cubicBezTo>
                  <a:pt x="743" y="1566"/>
                  <a:pt x="749" y="1563"/>
                  <a:pt x="749" y="1553"/>
                </a:cubicBezTo>
                <a:cubicBezTo>
                  <a:pt x="749" y="1551"/>
                  <a:pt x="749" y="1549"/>
                  <a:pt x="748" y="1546"/>
                </a:cubicBezTo>
                <a:cubicBezTo>
                  <a:pt x="748" y="1544"/>
                  <a:pt x="748" y="1541"/>
                  <a:pt x="748" y="1539"/>
                </a:cubicBezTo>
                <a:cubicBezTo>
                  <a:pt x="748" y="1537"/>
                  <a:pt x="748" y="1534"/>
                  <a:pt x="754" y="1533"/>
                </a:cubicBezTo>
                <a:close/>
                <a:moveTo>
                  <a:pt x="875" y="1566"/>
                </a:moveTo>
                <a:cubicBezTo>
                  <a:pt x="867" y="1566"/>
                  <a:pt x="861" y="1563"/>
                  <a:pt x="856" y="1557"/>
                </a:cubicBezTo>
                <a:cubicBezTo>
                  <a:pt x="853" y="1551"/>
                  <a:pt x="850" y="1542"/>
                  <a:pt x="850" y="1530"/>
                </a:cubicBezTo>
                <a:cubicBezTo>
                  <a:pt x="850" y="1517"/>
                  <a:pt x="853" y="1507"/>
                  <a:pt x="857" y="1500"/>
                </a:cubicBezTo>
                <a:cubicBezTo>
                  <a:pt x="861" y="1494"/>
                  <a:pt x="868" y="1490"/>
                  <a:pt x="877" y="1490"/>
                </a:cubicBezTo>
                <a:cubicBezTo>
                  <a:pt x="893" y="1490"/>
                  <a:pt x="901" y="1503"/>
                  <a:pt x="901" y="1528"/>
                </a:cubicBezTo>
                <a:cubicBezTo>
                  <a:pt x="901" y="1541"/>
                  <a:pt x="899" y="1550"/>
                  <a:pt x="894" y="1557"/>
                </a:cubicBezTo>
                <a:cubicBezTo>
                  <a:pt x="889" y="1563"/>
                  <a:pt x="883" y="1566"/>
                  <a:pt x="875" y="1566"/>
                </a:cubicBezTo>
                <a:close/>
                <a:moveTo>
                  <a:pt x="876" y="1500"/>
                </a:moveTo>
                <a:cubicBezTo>
                  <a:pt x="867" y="1500"/>
                  <a:pt x="862" y="1510"/>
                  <a:pt x="862" y="1530"/>
                </a:cubicBezTo>
                <a:cubicBezTo>
                  <a:pt x="862" y="1548"/>
                  <a:pt x="867" y="1557"/>
                  <a:pt x="875" y="1557"/>
                </a:cubicBezTo>
                <a:cubicBezTo>
                  <a:pt x="884" y="1557"/>
                  <a:pt x="889" y="1548"/>
                  <a:pt x="889" y="1529"/>
                </a:cubicBezTo>
                <a:cubicBezTo>
                  <a:pt x="889" y="1509"/>
                  <a:pt x="884" y="1500"/>
                  <a:pt x="876" y="1500"/>
                </a:cubicBezTo>
                <a:close/>
                <a:moveTo>
                  <a:pt x="949" y="1493"/>
                </a:moveTo>
                <a:cubicBezTo>
                  <a:pt x="949" y="1493"/>
                  <a:pt x="949" y="1493"/>
                  <a:pt x="949" y="1493"/>
                </a:cubicBezTo>
                <a:cubicBezTo>
                  <a:pt x="944" y="1493"/>
                  <a:pt x="944" y="1493"/>
                  <a:pt x="944" y="1493"/>
                </a:cubicBezTo>
                <a:cubicBezTo>
                  <a:pt x="941" y="1494"/>
                  <a:pt x="940" y="1496"/>
                  <a:pt x="938" y="1496"/>
                </a:cubicBezTo>
                <a:cubicBezTo>
                  <a:pt x="936" y="1498"/>
                  <a:pt x="934" y="1498"/>
                  <a:pt x="933" y="1499"/>
                </a:cubicBezTo>
                <a:cubicBezTo>
                  <a:pt x="930" y="1500"/>
                  <a:pt x="929" y="1501"/>
                  <a:pt x="927" y="1501"/>
                </a:cubicBezTo>
                <a:cubicBezTo>
                  <a:pt x="925" y="1502"/>
                  <a:pt x="924" y="1503"/>
                  <a:pt x="921" y="1504"/>
                </a:cubicBezTo>
                <a:cubicBezTo>
                  <a:pt x="921" y="1504"/>
                  <a:pt x="921" y="1504"/>
                  <a:pt x="921" y="1514"/>
                </a:cubicBezTo>
                <a:cubicBezTo>
                  <a:pt x="924" y="1513"/>
                  <a:pt x="927" y="1512"/>
                  <a:pt x="930" y="1511"/>
                </a:cubicBezTo>
                <a:cubicBezTo>
                  <a:pt x="933" y="1510"/>
                  <a:pt x="935" y="1509"/>
                  <a:pt x="937" y="1507"/>
                </a:cubicBezTo>
                <a:cubicBezTo>
                  <a:pt x="937" y="1507"/>
                  <a:pt x="937" y="1507"/>
                  <a:pt x="937" y="1566"/>
                </a:cubicBezTo>
                <a:cubicBezTo>
                  <a:pt x="937" y="1566"/>
                  <a:pt x="937" y="1566"/>
                  <a:pt x="949" y="1566"/>
                </a:cubicBezTo>
                <a:cubicBezTo>
                  <a:pt x="949" y="1566"/>
                  <a:pt x="949" y="1566"/>
                  <a:pt x="949" y="1493"/>
                </a:cubicBezTo>
                <a:close/>
                <a:moveTo>
                  <a:pt x="781" y="1566"/>
                </a:moveTo>
                <a:cubicBezTo>
                  <a:pt x="784" y="1547"/>
                  <a:pt x="784" y="1547"/>
                  <a:pt x="784" y="1547"/>
                </a:cubicBezTo>
                <a:cubicBezTo>
                  <a:pt x="775" y="1547"/>
                  <a:pt x="775" y="1547"/>
                  <a:pt x="775" y="1547"/>
                </a:cubicBezTo>
                <a:cubicBezTo>
                  <a:pt x="775" y="1535"/>
                  <a:pt x="775" y="1535"/>
                  <a:pt x="775" y="1535"/>
                </a:cubicBezTo>
                <a:cubicBezTo>
                  <a:pt x="786" y="1535"/>
                  <a:pt x="786" y="1535"/>
                  <a:pt x="786" y="1535"/>
                </a:cubicBezTo>
                <a:cubicBezTo>
                  <a:pt x="787" y="1524"/>
                  <a:pt x="787" y="1524"/>
                  <a:pt x="787" y="1524"/>
                </a:cubicBezTo>
                <a:cubicBezTo>
                  <a:pt x="778" y="1524"/>
                  <a:pt x="778" y="1524"/>
                  <a:pt x="778" y="1524"/>
                </a:cubicBezTo>
                <a:cubicBezTo>
                  <a:pt x="778" y="1512"/>
                  <a:pt x="778" y="1512"/>
                  <a:pt x="778" y="1512"/>
                </a:cubicBezTo>
                <a:cubicBezTo>
                  <a:pt x="789" y="1512"/>
                  <a:pt x="789" y="1512"/>
                  <a:pt x="789" y="1512"/>
                </a:cubicBezTo>
                <a:cubicBezTo>
                  <a:pt x="792" y="1494"/>
                  <a:pt x="792" y="1494"/>
                  <a:pt x="792" y="1494"/>
                </a:cubicBezTo>
                <a:cubicBezTo>
                  <a:pt x="803" y="1494"/>
                  <a:pt x="803" y="1494"/>
                  <a:pt x="803" y="1494"/>
                </a:cubicBezTo>
                <a:cubicBezTo>
                  <a:pt x="800" y="1512"/>
                  <a:pt x="800" y="1512"/>
                  <a:pt x="800" y="1512"/>
                </a:cubicBezTo>
                <a:cubicBezTo>
                  <a:pt x="810" y="1512"/>
                  <a:pt x="810" y="1512"/>
                  <a:pt x="810" y="1512"/>
                </a:cubicBezTo>
                <a:cubicBezTo>
                  <a:pt x="813" y="1494"/>
                  <a:pt x="813" y="1494"/>
                  <a:pt x="813" y="1494"/>
                </a:cubicBezTo>
                <a:cubicBezTo>
                  <a:pt x="824" y="1494"/>
                  <a:pt x="824" y="1494"/>
                  <a:pt x="824" y="1494"/>
                </a:cubicBezTo>
                <a:cubicBezTo>
                  <a:pt x="821" y="1512"/>
                  <a:pt x="821" y="1512"/>
                  <a:pt x="821" y="1512"/>
                </a:cubicBezTo>
                <a:cubicBezTo>
                  <a:pt x="830" y="1512"/>
                  <a:pt x="830" y="1512"/>
                  <a:pt x="830" y="1512"/>
                </a:cubicBezTo>
                <a:cubicBezTo>
                  <a:pt x="830" y="1524"/>
                  <a:pt x="830" y="1524"/>
                  <a:pt x="830" y="1524"/>
                </a:cubicBezTo>
                <a:cubicBezTo>
                  <a:pt x="820" y="1524"/>
                  <a:pt x="820" y="1524"/>
                  <a:pt x="820" y="1524"/>
                </a:cubicBezTo>
                <a:cubicBezTo>
                  <a:pt x="818" y="1535"/>
                  <a:pt x="818" y="1535"/>
                  <a:pt x="818" y="1535"/>
                </a:cubicBezTo>
                <a:cubicBezTo>
                  <a:pt x="827" y="1535"/>
                  <a:pt x="827" y="1535"/>
                  <a:pt x="827" y="1535"/>
                </a:cubicBezTo>
                <a:cubicBezTo>
                  <a:pt x="827" y="1547"/>
                  <a:pt x="827" y="1547"/>
                  <a:pt x="827" y="1547"/>
                </a:cubicBezTo>
                <a:cubicBezTo>
                  <a:pt x="816" y="1547"/>
                  <a:pt x="816" y="1547"/>
                  <a:pt x="816" y="1547"/>
                </a:cubicBezTo>
                <a:cubicBezTo>
                  <a:pt x="813" y="1566"/>
                  <a:pt x="813" y="1566"/>
                  <a:pt x="813" y="1566"/>
                </a:cubicBezTo>
                <a:cubicBezTo>
                  <a:pt x="802" y="1566"/>
                  <a:pt x="802" y="1566"/>
                  <a:pt x="802" y="1566"/>
                </a:cubicBezTo>
                <a:cubicBezTo>
                  <a:pt x="805" y="1547"/>
                  <a:pt x="805" y="1547"/>
                  <a:pt x="805" y="1547"/>
                </a:cubicBezTo>
                <a:cubicBezTo>
                  <a:pt x="795" y="1547"/>
                  <a:pt x="795" y="1547"/>
                  <a:pt x="795" y="1547"/>
                </a:cubicBezTo>
                <a:cubicBezTo>
                  <a:pt x="792" y="1566"/>
                  <a:pt x="792" y="1566"/>
                  <a:pt x="792" y="1566"/>
                </a:cubicBezTo>
                <a:cubicBezTo>
                  <a:pt x="781" y="1566"/>
                  <a:pt x="781" y="1566"/>
                  <a:pt x="781" y="1566"/>
                </a:cubicBezTo>
                <a:cubicBezTo>
                  <a:pt x="781" y="1566"/>
                  <a:pt x="781" y="1566"/>
                  <a:pt x="781" y="1566"/>
                </a:cubicBezTo>
                <a:close/>
                <a:moveTo>
                  <a:pt x="807" y="1535"/>
                </a:moveTo>
                <a:cubicBezTo>
                  <a:pt x="808" y="1524"/>
                  <a:pt x="808" y="1524"/>
                  <a:pt x="808" y="1524"/>
                </a:cubicBezTo>
                <a:cubicBezTo>
                  <a:pt x="799" y="1524"/>
                  <a:pt x="799" y="1524"/>
                  <a:pt x="799" y="1524"/>
                </a:cubicBezTo>
                <a:cubicBezTo>
                  <a:pt x="797" y="1535"/>
                  <a:pt x="797" y="1535"/>
                  <a:pt x="797" y="1535"/>
                </a:cubicBezTo>
                <a:cubicBezTo>
                  <a:pt x="807" y="1535"/>
                  <a:pt x="807" y="1535"/>
                  <a:pt x="807" y="1535"/>
                </a:cubicBezTo>
                <a:cubicBezTo>
                  <a:pt x="807" y="1535"/>
                  <a:pt x="807" y="1535"/>
                  <a:pt x="807" y="1535"/>
                </a:cubicBezTo>
                <a:close/>
                <a:moveTo>
                  <a:pt x="325" y="1493"/>
                </a:moveTo>
                <a:cubicBezTo>
                  <a:pt x="325" y="1493"/>
                  <a:pt x="325" y="1493"/>
                  <a:pt x="325" y="1493"/>
                </a:cubicBezTo>
                <a:cubicBezTo>
                  <a:pt x="320" y="1493"/>
                  <a:pt x="320" y="1493"/>
                  <a:pt x="320" y="1493"/>
                </a:cubicBezTo>
                <a:cubicBezTo>
                  <a:pt x="317" y="1494"/>
                  <a:pt x="316" y="1496"/>
                  <a:pt x="314" y="1496"/>
                </a:cubicBezTo>
                <a:cubicBezTo>
                  <a:pt x="312" y="1498"/>
                  <a:pt x="311" y="1498"/>
                  <a:pt x="309" y="1499"/>
                </a:cubicBezTo>
                <a:cubicBezTo>
                  <a:pt x="307" y="1501"/>
                  <a:pt x="305" y="1501"/>
                  <a:pt x="303" y="1502"/>
                </a:cubicBezTo>
                <a:cubicBezTo>
                  <a:pt x="301" y="1503"/>
                  <a:pt x="300" y="1504"/>
                  <a:pt x="297" y="1504"/>
                </a:cubicBezTo>
                <a:cubicBezTo>
                  <a:pt x="297" y="1504"/>
                  <a:pt x="297" y="1504"/>
                  <a:pt x="297" y="1514"/>
                </a:cubicBezTo>
                <a:cubicBezTo>
                  <a:pt x="300" y="1513"/>
                  <a:pt x="303" y="1512"/>
                  <a:pt x="306" y="1511"/>
                </a:cubicBezTo>
                <a:cubicBezTo>
                  <a:pt x="309" y="1510"/>
                  <a:pt x="311" y="1509"/>
                  <a:pt x="313" y="1507"/>
                </a:cubicBezTo>
                <a:cubicBezTo>
                  <a:pt x="313" y="1507"/>
                  <a:pt x="313" y="1507"/>
                  <a:pt x="313" y="1566"/>
                </a:cubicBezTo>
                <a:cubicBezTo>
                  <a:pt x="313" y="1566"/>
                  <a:pt x="313" y="1566"/>
                  <a:pt x="325" y="1566"/>
                </a:cubicBezTo>
                <a:cubicBezTo>
                  <a:pt x="325" y="1566"/>
                  <a:pt x="325" y="1566"/>
                  <a:pt x="325" y="1493"/>
                </a:cubicBezTo>
                <a:close/>
                <a:moveTo>
                  <a:pt x="372" y="1493"/>
                </a:moveTo>
                <a:cubicBezTo>
                  <a:pt x="372" y="1493"/>
                  <a:pt x="372" y="1493"/>
                  <a:pt x="372" y="1493"/>
                </a:cubicBezTo>
                <a:cubicBezTo>
                  <a:pt x="367" y="1493"/>
                  <a:pt x="367" y="1493"/>
                  <a:pt x="367" y="1493"/>
                </a:cubicBezTo>
                <a:cubicBezTo>
                  <a:pt x="365" y="1494"/>
                  <a:pt x="363" y="1496"/>
                  <a:pt x="361" y="1496"/>
                </a:cubicBezTo>
                <a:cubicBezTo>
                  <a:pt x="360" y="1498"/>
                  <a:pt x="358" y="1498"/>
                  <a:pt x="356" y="1499"/>
                </a:cubicBezTo>
                <a:cubicBezTo>
                  <a:pt x="355" y="1501"/>
                  <a:pt x="352" y="1501"/>
                  <a:pt x="351" y="1502"/>
                </a:cubicBezTo>
                <a:cubicBezTo>
                  <a:pt x="349" y="1503"/>
                  <a:pt x="347" y="1504"/>
                  <a:pt x="345" y="1504"/>
                </a:cubicBezTo>
                <a:cubicBezTo>
                  <a:pt x="345" y="1504"/>
                  <a:pt x="345" y="1504"/>
                  <a:pt x="345" y="1514"/>
                </a:cubicBezTo>
                <a:cubicBezTo>
                  <a:pt x="348" y="1513"/>
                  <a:pt x="351" y="1512"/>
                  <a:pt x="353" y="1511"/>
                </a:cubicBezTo>
                <a:cubicBezTo>
                  <a:pt x="356" y="1510"/>
                  <a:pt x="358" y="1509"/>
                  <a:pt x="361" y="1507"/>
                </a:cubicBezTo>
                <a:cubicBezTo>
                  <a:pt x="361" y="1507"/>
                  <a:pt x="361" y="1507"/>
                  <a:pt x="361" y="1566"/>
                </a:cubicBezTo>
                <a:cubicBezTo>
                  <a:pt x="361" y="1566"/>
                  <a:pt x="361" y="1566"/>
                  <a:pt x="372" y="1566"/>
                </a:cubicBezTo>
                <a:cubicBezTo>
                  <a:pt x="372" y="1566"/>
                  <a:pt x="372" y="1566"/>
                  <a:pt x="372" y="1493"/>
                </a:cubicBezTo>
                <a:close/>
                <a:moveTo>
                  <a:pt x="419" y="1493"/>
                </a:moveTo>
                <a:cubicBezTo>
                  <a:pt x="419" y="1493"/>
                  <a:pt x="419" y="1493"/>
                  <a:pt x="419" y="1493"/>
                </a:cubicBezTo>
                <a:cubicBezTo>
                  <a:pt x="414" y="1493"/>
                  <a:pt x="414" y="1493"/>
                  <a:pt x="414" y="1493"/>
                </a:cubicBezTo>
                <a:cubicBezTo>
                  <a:pt x="412" y="1494"/>
                  <a:pt x="411" y="1496"/>
                  <a:pt x="409" y="1496"/>
                </a:cubicBezTo>
                <a:cubicBezTo>
                  <a:pt x="407" y="1498"/>
                  <a:pt x="405" y="1498"/>
                  <a:pt x="403" y="1499"/>
                </a:cubicBezTo>
                <a:cubicBezTo>
                  <a:pt x="401" y="1500"/>
                  <a:pt x="400" y="1501"/>
                  <a:pt x="398" y="1501"/>
                </a:cubicBezTo>
                <a:cubicBezTo>
                  <a:pt x="396" y="1502"/>
                  <a:pt x="394" y="1503"/>
                  <a:pt x="392" y="1504"/>
                </a:cubicBezTo>
                <a:cubicBezTo>
                  <a:pt x="392" y="1504"/>
                  <a:pt x="392" y="1504"/>
                  <a:pt x="392" y="1514"/>
                </a:cubicBezTo>
                <a:cubicBezTo>
                  <a:pt x="395" y="1513"/>
                  <a:pt x="398" y="1512"/>
                  <a:pt x="401" y="1511"/>
                </a:cubicBezTo>
                <a:cubicBezTo>
                  <a:pt x="403" y="1510"/>
                  <a:pt x="406" y="1509"/>
                  <a:pt x="407" y="1507"/>
                </a:cubicBezTo>
                <a:cubicBezTo>
                  <a:pt x="407" y="1507"/>
                  <a:pt x="407" y="1507"/>
                  <a:pt x="407" y="1566"/>
                </a:cubicBezTo>
                <a:cubicBezTo>
                  <a:pt x="407" y="1566"/>
                  <a:pt x="407" y="1566"/>
                  <a:pt x="419" y="1566"/>
                </a:cubicBezTo>
                <a:cubicBezTo>
                  <a:pt x="419" y="1566"/>
                  <a:pt x="419" y="1566"/>
                  <a:pt x="419" y="1493"/>
                </a:cubicBezTo>
                <a:close/>
                <a:moveTo>
                  <a:pt x="626" y="1397"/>
                </a:moveTo>
                <a:cubicBezTo>
                  <a:pt x="626" y="1397"/>
                  <a:pt x="626" y="1397"/>
                  <a:pt x="626" y="1397"/>
                </a:cubicBezTo>
                <a:cubicBezTo>
                  <a:pt x="621" y="1397"/>
                  <a:pt x="621" y="1397"/>
                  <a:pt x="621" y="1397"/>
                </a:cubicBezTo>
                <a:cubicBezTo>
                  <a:pt x="619" y="1398"/>
                  <a:pt x="617" y="1400"/>
                  <a:pt x="615" y="1400"/>
                </a:cubicBezTo>
                <a:cubicBezTo>
                  <a:pt x="613" y="1402"/>
                  <a:pt x="611" y="1402"/>
                  <a:pt x="610" y="1403"/>
                </a:cubicBezTo>
                <a:cubicBezTo>
                  <a:pt x="608" y="1404"/>
                  <a:pt x="606" y="1405"/>
                  <a:pt x="605" y="1405"/>
                </a:cubicBezTo>
                <a:cubicBezTo>
                  <a:pt x="603" y="1406"/>
                  <a:pt x="601" y="1407"/>
                  <a:pt x="599" y="1408"/>
                </a:cubicBezTo>
                <a:cubicBezTo>
                  <a:pt x="599" y="1408"/>
                  <a:pt x="599" y="1408"/>
                  <a:pt x="599" y="1418"/>
                </a:cubicBezTo>
                <a:cubicBezTo>
                  <a:pt x="602" y="1417"/>
                  <a:pt x="605" y="1416"/>
                  <a:pt x="607" y="1415"/>
                </a:cubicBezTo>
                <a:cubicBezTo>
                  <a:pt x="610" y="1414"/>
                  <a:pt x="612" y="1413"/>
                  <a:pt x="614" y="1411"/>
                </a:cubicBezTo>
                <a:cubicBezTo>
                  <a:pt x="614" y="1411"/>
                  <a:pt x="614" y="1411"/>
                  <a:pt x="614" y="1470"/>
                </a:cubicBezTo>
                <a:cubicBezTo>
                  <a:pt x="614" y="1470"/>
                  <a:pt x="614" y="1470"/>
                  <a:pt x="626" y="1470"/>
                </a:cubicBezTo>
                <a:cubicBezTo>
                  <a:pt x="626" y="1470"/>
                  <a:pt x="626" y="1470"/>
                  <a:pt x="626" y="1397"/>
                </a:cubicBezTo>
                <a:close/>
                <a:moveTo>
                  <a:pt x="672" y="1397"/>
                </a:moveTo>
                <a:cubicBezTo>
                  <a:pt x="672" y="1397"/>
                  <a:pt x="672" y="1397"/>
                  <a:pt x="672" y="1397"/>
                </a:cubicBezTo>
                <a:cubicBezTo>
                  <a:pt x="667" y="1397"/>
                  <a:pt x="667" y="1397"/>
                  <a:pt x="667" y="1397"/>
                </a:cubicBezTo>
                <a:cubicBezTo>
                  <a:pt x="665" y="1398"/>
                  <a:pt x="664" y="1400"/>
                  <a:pt x="662" y="1400"/>
                </a:cubicBezTo>
                <a:cubicBezTo>
                  <a:pt x="660" y="1402"/>
                  <a:pt x="658" y="1402"/>
                  <a:pt x="657" y="1403"/>
                </a:cubicBezTo>
                <a:cubicBezTo>
                  <a:pt x="655" y="1405"/>
                  <a:pt x="653" y="1405"/>
                  <a:pt x="652" y="1406"/>
                </a:cubicBezTo>
                <a:cubicBezTo>
                  <a:pt x="650" y="1407"/>
                  <a:pt x="648" y="1408"/>
                  <a:pt x="646" y="1408"/>
                </a:cubicBezTo>
                <a:cubicBezTo>
                  <a:pt x="646" y="1408"/>
                  <a:pt x="646" y="1408"/>
                  <a:pt x="646" y="1418"/>
                </a:cubicBezTo>
                <a:cubicBezTo>
                  <a:pt x="649" y="1417"/>
                  <a:pt x="652" y="1416"/>
                  <a:pt x="654" y="1415"/>
                </a:cubicBezTo>
                <a:cubicBezTo>
                  <a:pt x="657" y="1414"/>
                  <a:pt x="659" y="1413"/>
                  <a:pt x="661" y="1411"/>
                </a:cubicBezTo>
                <a:cubicBezTo>
                  <a:pt x="661" y="1411"/>
                  <a:pt x="661" y="1411"/>
                  <a:pt x="661" y="1470"/>
                </a:cubicBezTo>
                <a:cubicBezTo>
                  <a:pt x="661" y="1470"/>
                  <a:pt x="661" y="1470"/>
                  <a:pt x="672" y="1470"/>
                </a:cubicBezTo>
                <a:cubicBezTo>
                  <a:pt x="672" y="1470"/>
                  <a:pt x="672" y="1470"/>
                  <a:pt x="672" y="1397"/>
                </a:cubicBezTo>
                <a:close/>
                <a:moveTo>
                  <a:pt x="718" y="1397"/>
                </a:moveTo>
                <a:cubicBezTo>
                  <a:pt x="718" y="1397"/>
                  <a:pt x="718" y="1397"/>
                  <a:pt x="718" y="1397"/>
                </a:cubicBezTo>
                <a:cubicBezTo>
                  <a:pt x="714" y="1397"/>
                  <a:pt x="714" y="1397"/>
                  <a:pt x="714" y="1397"/>
                </a:cubicBezTo>
                <a:cubicBezTo>
                  <a:pt x="712" y="1398"/>
                  <a:pt x="710" y="1400"/>
                  <a:pt x="708" y="1400"/>
                </a:cubicBezTo>
                <a:cubicBezTo>
                  <a:pt x="707" y="1402"/>
                  <a:pt x="704" y="1402"/>
                  <a:pt x="703" y="1403"/>
                </a:cubicBezTo>
                <a:cubicBezTo>
                  <a:pt x="701" y="1405"/>
                  <a:pt x="699" y="1405"/>
                  <a:pt x="697" y="1406"/>
                </a:cubicBezTo>
                <a:cubicBezTo>
                  <a:pt x="696" y="1407"/>
                  <a:pt x="693" y="1408"/>
                  <a:pt x="692" y="1408"/>
                </a:cubicBezTo>
                <a:cubicBezTo>
                  <a:pt x="692" y="1408"/>
                  <a:pt x="692" y="1408"/>
                  <a:pt x="692" y="1418"/>
                </a:cubicBezTo>
                <a:cubicBezTo>
                  <a:pt x="695" y="1417"/>
                  <a:pt x="698" y="1416"/>
                  <a:pt x="700" y="1415"/>
                </a:cubicBezTo>
                <a:cubicBezTo>
                  <a:pt x="702" y="1414"/>
                  <a:pt x="705" y="1413"/>
                  <a:pt x="707" y="1411"/>
                </a:cubicBezTo>
                <a:cubicBezTo>
                  <a:pt x="707" y="1411"/>
                  <a:pt x="707" y="1411"/>
                  <a:pt x="707" y="1470"/>
                </a:cubicBezTo>
                <a:cubicBezTo>
                  <a:pt x="707" y="1470"/>
                  <a:pt x="707" y="1470"/>
                  <a:pt x="718" y="1470"/>
                </a:cubicBezTo>
                <a:cubicBezTo>
                  <a:pt x="718" y="1470"/>
                  <a:pt x="718" y="1470"/>
                  <a:pt x="718" y="1397"/>
                </a:cubicBezTo>
                <a:close/>
                <a:moveTo>
                  <a:pt x="765" y="1397"/>
                </a:moveTo>
                <a:cubicBezTo>
                  <a:pt x="765" y="1397"/>
                  <a:pt x="765" y="1397"/>
                  <a:pt x="765" y="1397"/>
                </a:cubicBezTo>
                <a:cubicBezTo>
                  <a:pt x="760" y="1397"/>
                  <a:pt x="760" y="1397"/>
                  <a:pt x="760" y="1397"/>
                </a:cubicBezTo>
                <a:cubicBezTo>
                  <a:pt x="758" y="1398"/>
                  <a:pt x="756" y="1400"/>
                  <a:pt x="754" y="1400"/>
                </a:cubicBezTo>
                <a:cubicBezTo>
                  <a:pt x="753" y="1402"/>
                  <a:pt x="751" y="1402"/>
                  <a:pt x="749" y="1403"/>
                </a:cubicBezTo>
                <a:cubicBezTo>
                  <a:pt x="748" y="1405"/>
                  <a:pt x="745" y="1405"/>
                  <a:pt x="744" y="1406"/>
                </a:cubicBezTo>
                <a:cubicBezTo>
                  <a:pt x="742" y="1407"/>
                  <a:pt x="740" y="1408"/>
                  <a:pt x="738" y="1408"/>
                </a:cubicBezTo>
                <a:cubicBezTo>
                  <a:pt x="738" y="1408"/>
                  <a:pt x="738" y="1408"/>
                  <a:pt x="738" y="1418"/>
                </a:cubicBezTo>
                <a:cubicBezTo>
                  <a:pt x="741" y="1417"/>
                  <a:pt x="744" y="1416"/>
                  <a:pt x="746" y="1415"/>
                </a:cubicBezTo>
                <a:cubicBezTo>
                  <a:pt x="749" y="1414"/>
                  <a:pt x="751" y="1413"/>
                  <a:pt x="753" y="1411"/>
                </a:cubicBezTo>
                <a:cubicBezTo>
                  <a:pt x="753" y="1411"/>
                  <a:pt x="753" y="1411"/>
                  <a:pt x="753" y="1470"/>
                </a:cubicBezTo>
                <a:cubicBezTo>
                  <a:pt x="753" y="1470"/>
                  <a:pt x="753" y="1470"/>
                  <a:pt x="765" y="1470"/>
                </a:cubicBezTo>
                <a:cubicBezTo>
                  <a:pt x="765" y="1470"/>
                  <a:pt x="765" y="1470"/>
                  <a:pt x="765" y="1397"/>
                </a:cubicBezTo>
                <a:close/>
                <a:moveTo>
                  <a:pt x="887" y="1397"/>
                </a:moveTo>
                <a:cubicBezTo>
                  <a:pt x="887" y="1397"/>
                  <a:pt x="887" y="1397"/>
                  <a:pt x="887" y="1397"/>
                </a:cubicBezTo>
                <a:cubicBezTo>
                  <a:pt x="882" y="1397"/>
                  <a:pt x="882" y="1397"/>
                  <a:pt x="882" y="1397"/>
                </a:cubicBezTo>
                <a:cubicBezTo>
                  <a:pt x="880" y="1398"/>
                  <a:pt x="878" y="1400"/>
                  <a:pt x="876" y="1400"/>
                </a:cubicBezTo>
                <a:cubicBezTo>
                  <a:pt x="875" y="1402"/>
                  <a:pt x="873" y="1402"/>
                  <a:pt x="871" y="1403"/>
                </a:cubicBezTo>
                <a:cubicBezTo>
                  <a:pt x="869" y="1405"/>
                  <a:pt x="867" y="1405"/>
                  <a:pt x="866" y="1406"/>
                </a:cubicBezTo>
                <a:cubicBezTo>
                  <a:pt x="864" y="1407"/>
                  <a:pt x="862" y="1408"/>
                  <a:pt x="860" y="1408"/>
                </a:cubicBezTo>
                <a:cubicBezTo>
                  <a:pt x="860" y="1408"/>
                  <a:pt x="860" y="1408"/>
                  <a:pt x="860" y="1418"/>
                </a:cubicBezTo>
                <a:cubicBezTo>
                  <a:pt x="863" y="1417"/>
                  <a:pt x="866" y="1416"/>
                  <a:pt x="869" y="1415"/>
                </a:cubicBezTo>
                <a:cubicBezTo>
                  <a:pt x="871" y="1414"/>
                  <a:pt x="873" y="1413"/>
                  <a:pt x="875" y="1411"/>
                </a:cubicBezTo>
                <a:cubicBezTo>
                  <a:pt x="875" y="1411"/>
                  <a:pt x="875" y="1411"/>
                  <a:pt x="875" y="1470"/>
                </a:cubicBezTo>
                <a:cubicBezTo>
                  <a:pt x="875" y="1470"/>
                  <a:pt x="875" y="1470"/>
                  <a:pt x="887" y="1470"/>
                </a:cubicBezTo>
                <a:cubicBezTo>
                  <a:pt x="887" y="1470"/>
                  <a:pt x="887" y="1470"/>
                  <a:pt x="887" y="1397"/>
                </a:cubicBezTo>
                <a:close/>
                <a:moveTo>
                  <a:pt x="934" y="1397"/>
                </a:moveTo>
                <a:cubicBezTo>
                  <a:pt x="934" y="1397"/>
                  <a:pt x="934" y="1397"/>
                  <a:pt x="934" y="1397"/>
                </a:cubicBezTo>
                <a:cubicBezTo>
                  <a:pt x="929" y="1397"/>
                  <a:pt x="929" y="1397"/>
                  <a:pt x="929" y="1397"/>
                </a:cubicBezTo>
                <a:cubicBezTo>
                  <a:pt x="927" y="1398"/>
                  <a:pt x="925" y="1400"/>
                  <a:pt x="923" y="1400"/>
                </a:cubicBezTo>
                <a:cubicBezTo>
                  <a:pt x="921" y="1402"/>
                  <a:pt x="919" y="1402"/>
                  <a:pt x="918" y="1403"/>
                </a:cubicBezTo>
                <a:cubicBezTo>
                  <a:pt x="916" y="1405"/>
                  <a:pt x="914" y="1405"/>
                  <a:pt x="912" y="1406"/>
                </a:cubicBezTo>
                <a:cubicBezTo>
                  <a:pt x="910" y="1407"/>
                  <a:pt x="909" y="1408"/>
                  <a:pt x="907" y="1408"/>
                </a:cubicBezTo>
                <a:cubicBezTo>
                  <a:pt x="907" y="1408"/>
                  <a:pt x="907" y="1408"/>
                  <a:pt x="907" y="1418"/>
                </a:cubicBezTo>
                <a:cubicBezTo>
                  <a:pt x="910" y="1417"/>
                  <a:pt x="912" y="1416"/>
                  <a:pt x="915" y="1415"/>
                </a:cubicBezTo>
                <a:cubicBezTo>
                  <a:pt x="918" y="1414"/>
                  <a:pt x="920" y="1413"/>
                  <a:pt x="922" y="1411"/>
                </a:cubicBezTo>
                <a:cubicBezTo>
                  <a:pt x="922" y="1411"/>
                  <a:pt x="922" y="1411"/>
                  <a:pt x="922" y="1470"/>
                </a:cubicBezTo>
                <a:cubicBezTo>
                  <a:pt x="922" y="1470"/>
                  <a:pt x="922" y="1470"/>
                  <a:pt x="934" y="1470"/>
                </a:cubicBezTo>
                <a:cubicBezTo>
                  <a:pt x="934" y="1470"/>
                  <a:pt x="934" y="1470"/>
                  <a:pt x="934" y="1397"/>
                </a:cubicBezTo>
                <a:close/>
                <a:moveTo>
                  <a:pt x="786" y="1429"/>
                </a:moveTo>
                <a:cubicBezTo>
                  <a:pt x="786" y="1429"/>
                  <a:pt x="786" y="1429"/>
                  <a:pt x="786" y="1429"/>
                </a:cubicBezTo>
                <a:cubicBezTo>
                  <a:pt x="785" y="1437"/>
                  <a:pt x="785" y="1437"/>
                  <a:pt x="785" y="1437"/>
                </a:cubicBezTo>
                <a:cubicBezTo>
                  <a:pt x="791" y="1438"/>
                  <a:pt x="792" y="1441"/>
                  <a:pt x="792" y="1443"/>
                </a:cubicBezTo>
                <a:cubicBezTo>
                  <a:pt x="792" y="1445"/>
                  <a:pt x="792" y="1448"/>
                  <a:pt x="792" y="1450"/>
                </a:cubicBezTo>
                <a:cubicBezTo>
                  <a:pt x="791" y="1453"/>
                  <a:pt x="791" y="1455"/>
                  <a:pt x="791" y="1457"/>
                </a:cubicBezTo>
                <a:cubicBezTo>
                  <a:pt x="791" y="1467"/>
                  <a:pt x="797" y="1470"/>
                  <a:pt x="805" y="1470"/>
                </a:cubicBezTo>
                <a:cubicBezTo>
                  <a:pt x="805" y="1470"/>
                  <a:pt x="805" y="1470"/>
                  <a:pt x="809" y="1470"/>
                </a:cubicBezTo>
                <a:cubicBezTo>
                  <a:pt x="809" y="1470"/>
                  <a:pt x="809" y="1470"/>
                  <a:pt x="809" y="1461"/>
                </a:cubicBezTo>
                <a:cubicBezTo>
                  <a:pt x="809" y="1461"/>
                  <a:pt x="809" y="1461"/>
                  <a:pt x="808" y="1461"/>
                </a:cubicBezTo>
                <a:cubicBezTo>
                  <a:pt x="804" y="1461"/>
                  <a:pt x="803" y="1459"/>
                  <a:pt x="803" y="1455"/>
                </a:cubicBezTo>
                <a:cubicBezTo>
                  <a:pt x="803" y="1454"/>
                  <a:pt x="803" y="1452"/>
                  <a:pt x="803" y="1450"/>
                </a:cubicBezTo>
                <a:cubicBezTo>
                  <a:pt x="803" y="1449"/>
                  <a:pt x="804" y="1447"/>
                  <a:pt x="804" y="1444"/>
                </a:cubicBezTo>
                <a:cubicBezTo>
                  <a:pt x="804" y="1437"/>
                  <a:pt x="801" y="1434"/>
                  <a:pt x="795" y="1433"/>
                </a:cubicBezTo>
                <a:cubicBezTo>
                  <a:pt x="795" y="1433"/>
                  <a:pt x="795" y="1433"/>
                  <a:pt x="795" y="1433"/>
                </a:cubicBezTo>
                <a:cubicBezTo>
                  <a:pt x="801" y="1432"/>
                  <a:pt x="804" y="1429"/>
                  <a:pt x="804" y="1422"/>
                </a:cubicBezTo>
                <a:cubicBezTo>
                  <a:pt x="804" y="1419"/>
                  <a:pt x="803" y="1417"/>
                  <a:pt x="803" y="1416"/>
                </a:cubicBezTo>
                <a:cubicBezTo>
                  <a:pt x="803" y="1414"/>
                  <a:pt x="803" y="1412"/>
                  <a:pt x="803" y="1411"/>
                </a:cubicBezTo>
                <a:cubicBezTo>
                  <a:pt x="803" y="1407"/>
                  <a:pt x="804" y="1405"/>
                  <a:pt x="808" y="1405"/>
                </a:cubicBezTo>
                <a:cubicBezTo>
                  <a:pt x="808" y="1405"/>
                  <a:pt x="808" y="1405"/>
                  <a:pt x="809" y="1405"/>
                </a:cubicBezTo>
                <a:cubicBezTo>
                  <a:pt x="809" y="1405"/>
                  <a:pt x="809" y="1405"/>
                  <a:pt x="809" y="1396"/>
                </a:cubicBezTo>
                <a:cubicBezTo>
                  <a:pt x="809" y="1396"/>
                  <a:pt x="809" y="1396"/>
                  <a:pt x="805" y="1396"/>
                </a:cubicBezTo>
                <a:cubicBezTo>
                  <a:pt x="797" y="1396"/>
                  <a:pt x="791" y="1400"/>
                  <a:pt x="791" y="1408"/>
                </a:cubicBezTo>
                <a:cubicBezTo>
                  <a:pt x="791" y="1411"/>
                  <a:pt x="791" y="1413"/>
                  <a:pt x="791" y="1416"/>
                </a:cubicBezTo>
                <a:cubicBezTo>
                  <a:pt x="792" y="1418"/>
                  <a:pt x="792" y="1421"/>
                  <a:pt x="792" y="1423"/>
                </a:cubicBezTo>
                <a:cubicBezTo>
                  <a:pt x="792" y="1425"/>
                  <a:pt x="791" y="1429"/>
                  <a:pt x="786" y="1429"/>
                </a:cubicBezTo>
                <a:close/>
                <a:moveTo>
                  <a:pt x="840" y="1437"/>
                </a:moveTo>
                <a:cubicBezTo>
                  <a:pt x="840" y="1437"/>
                  <a:pt x="840" y="1437"/>
                  <a:pt x="840" y="1437"/>
                </a:cubicBezTo>
                <a:cubicBezTo>
                  <a:pt x="840" y="1429"/>
                  <a:pt x="840" y="1429"/>
                  <a:pt x="840" y="1429"/>
                </a:cubicBezTo>
                <a:cubicBezTo>
                  <a:pt x="834" y="1429"/>
                  <a:pt x="833" y="1425"/>
                  <a:pt x="833" y="1423"/>
                </a:cubicBezTo>
                <a:cubicBezTo>
                  <a:pt x="833" y="1421"/>
                  <a:pt x="833" y="1418"/>
                  <a:pt x="834" y="1416"/>
                </a:cubicBezTo>
                <a:cubicBezTo>
                  <a:pt x="834" y="1413"/>
                  <a:pt x="834" y="1411"/>
                  <a:pt x="834" y="1408"/>
                </a:cubicBezTo>
                <a:cubicBezTo>
                  <a:pt x="834" y="1400"/>
                  <a:pt x="829" y="1396"/>
                  <a:pt x="820" y="1396"/>
                </a:cubicBezTo>
                <a:cubicBezTo>
                  <a:pt x="820" y="1396"/>
                  <a:pt x="820" y="1396"/>
                  <a:pt x="816" y="1396"/>
                </a:cubicBezTo>
                <a:cubicBezTo>
                  <a:pt x="816" y="1396"/>
                  <a:pt x="816" y="1396"/>
                  <a:pt x="816" y="1405"/>
                </a:cubicBezTo>
                <a:cubicBezTo>
                  <a:pt x="816" y="1405"/>
                  <a:pt x="816" y="1405"/>
                  <a:pt x="817" y="1405"/>
                </a:cubicBezTo>
                <a:cubicBezTo>
                  <a:pt x="821" y="1405"/>
                  <a:pt x="822" y="1407"/>
                  <a:pt x="822" y="1411"/>
                </a:cubicBezTo>
                <a:cubicBezTo>
                  <a:pt x="822" y="1412"/>
                  <a:pt x="822" y="1414"/>
                  <a:pt x="822" y="1416"/>
                </a:cubicBezTo>
                <a:cubicBezTo>
                  <a:pt x="822" y="1417"/>
                  <a:pt x="822" y="1419"/>
                  <a:pt x="822" y="1422"/>
                </a:cubicBezTo>
                <a:cubicBezTo>
                  <a:pt x="822" y="1429"/>
                  <a:pt x="824" y="1432"/>
                  <a:pt x="830" y="1433"/>
                </a:cubicBezTo>
                <a:cubicBezTo>
                  <a:pt x="830" y="1433"/>
                  <a:pt x="830" y="1433"/>
                  <a:pt x="830" y="1433"/>
                </a:cubicBezTo>
                <a:cubicBezTo>
                  <a:pt x="824" y="1434"/>
                  <a:pt x="822" y="1437"/>
                  <a:pt x="822" y="1444"/>
                </a:cubicBezTo>
                <a:cubicBezTo>
                  <a:pt x="822" y="1447"/>
                  <a:pt x="822" y="1449"/>
                  <a:pt x="822" y="1450"/>
                </a:cubicBezTo>
                <a:cubicBezTo>
                  <a:pt x="822" y="1452"/>
                  <a:pt x="822" y="1454"/>
                  <a:pt x="822" y="1455"/>
                </a:cubicBezTo>
                <a:cubicBezTo>
                  <a:pt x="822" y="1459"/>
                  <a:pt x="821" y="1461"/>
                  <a:pt x="817" y="1461"/>
                </a:cubicBezTo>
                <a:cubicBezTo>
                  <a:pt x="817" y="1461"/>
                  <a:pt x="817" y="1461"/>
                  <a:pt x="816" y="1461"/>
                </a:cubicBezTo>
                <a:cubicBezTo>
                  <a:pt x="816" y="1461"/>
                  <a:pt x="816" y="1461"/>
                  <a:pt x="816" y="1470"/>
                </a:cubicBezTo>
                <a:cubicBezTo>
                  <a:pt x="816" y="1470"/>
                  <a:pt x="816" y="1470"/>
                  <a:pt x="820" y="1470"/>
                </a:cubicBezTo>
                <a:cubicBezTo>
                  <a:pt x="828" y="1470"/>
                  <a:pt x="834" y="1467"/>
                  <a:pt x="834" y="1457"/>
                </a:cubicBezTo>
                <a:cubicBezTo>
                  <a:pt x="834" y="1455"/>
                  <a:pt x="834" y="1453"/>
                  <a:pt x="834" y="1450"/>
                </a:cubicBezTo>
                <a:cubicBezTo>
                  <a:pt x="833" y="1448"/>
                  <a:pt x="833" y="1445"/>
                  <a:pt x="833" y="1443"/>
                </a:cubicBezTo>
                <a:cubicBezTo>
                  <a:pt x="833" y="1441"/>
                  <a:pt x="834" y="1438"/>
                  <a:pt x="840" y="1437"/>
                </a:cubicBezTo>
                <a:close/>
                <a:moveTo>
                  <a:pt x="226" y="1470"/>
                </a:moveTo>
                <a:cubicBezTo>
                  <a:pt x="219" y="1470"/>
                  <a:pt x="212" y="1467"/>
                  <a:pt x="208" y="1461"/>
                </a:cubicBezTo>
                <a:cubicBezTo>
                  <a:pt x="204" y="1455"/>
                  <a:pt x="202" y="1446"/>
                  <a:pt x="202" y="1434"/>
                </a:cubicBezTo>
                <a:cubicBezTo>
                  <a:pt x="202" y="1421"/>
                  <a:pt x="204" y="1411"/>
                  <a:pt x="209" y="1404"/>
                </a:cubicBezTo>
                <a:cubicBezTo>
                  <a:pt x="213" y="1398"/>
                  <a:pt x="219" y="1394"/>
                  <a:pt x="228" y="1394"/>
                </a:cubicBezTo>
                <a:cubicBezTo>
                  <a:pt x="244" y="1394"/>
                  <a:pt x="252" y="1407"/>
                  <a:pt x="252" y="1432"/>
                </a:cubicBezTo>
                <a:cubicBezTo>
                  <a:pt x="252" y="1445"/>
                  <a:pt x="250" y="1454"/>
                  <a:pt x="245" y="1461"/>
                </a:cubicBezTo>
                <a:cubicBezTo>
                  <a:pt x="241" y="1467"/>
                  <a:pt x="234" y="1470"/>
                  <a:pt x="226" y="1470"/>
                </a:cubicBezTo>
                <a:close/>
                <a:moveTo>
                  <a:pt x="227" y="1404"/>
                </a:moveTo>
                <a:cubicBezTo>
                  <a:pt x="218" y="1404"/>
                  <a:pt x="214" y="1414"/>
                  <a:pt x="214" y="1434"/>
                </a:cubicBezTo>
                <a:cubicBezTo>
                  <a:pt x="214" y="1452"/>
                  <a:pt x="218" y="1461"/>
                  <a:pt x="227" y="1461"/>
                </a:cubicBezTo>
                <a:cubicBezTo>
                  <a:pt x="236" y="1461"/>
                  <a:pt x="240" y="1452"/>
                  <a:pt x="240" y="1433"/>
                </a:cubicBezTo>
                <a:cubicBezTo>
                  <a:pt x="240" y="1413"/>
                  <a:pt x="236" y="1404"/>
                  <a:pt x="227" y="1404"/>
                </a:cubicBezTo>
                <a:close/>
                <a:moveTo>
                  <a:pt x="296" y="1470"/>
                </a:moveTo>
                <a:cubicBezTo>
                  <a:pt x="289" y="1470"/>
                  <a:pt x="282" y="1467"/>
                  <a:pt x="279" y="1461"/>
                </a:cubicBezTo>
                <a:cubicBezTo>
                  <a:pt x="274" y="1455"/>
                  <a:pt x="272" y="1446"/>
                  <a:pt x="272" y="1434"/>
                </a:cubicBezTo>
                <a:cubicBezTo>
                  <a:pt x="272" y="1421"/>
                  <a:pt x="274" y="1411"/>
                  <a:pt x="279" y="1404"/>
                </a:cubicBezTo>
                <a:cubicBezTo>
                  <a:pt x="283" y="1398"/>
                  <a:pt x="290" y="1394"/>
                  <a:pt x="298" y="1394"/>
                </a:cubicBezTo>
                <a:cubicBezTo>
                  <a:pt x="314" y="1394"/>
                  <a:pt x="322" y="1407"/>
                  <a:pt x="322" y="1432"/>
                </a:cubicBezTo>
                <a:cubicBezTo>
                  <a:pt x="322" y="1445"/>
                  <a:pt x="320" y="1454"/>
                  <a:pt x="316" y="1461"/>
                </a:cubicBezTo>
                <a:cubicBezTo>
                  <a:pt x="311" y="1467"/>
                  <a:pt x="305" y="1470"/>
                  <a:pt x="296" y="1470"/>
                </a:cubicBezTo>
                <a:close/>
                <a:moveTo>
                  <a:pt x="298" y="1404"/>
                </a:moveTo>
                <a:cubicBezTo>
                  <a:pt x="289" y="1404"/>
                  <a:pt x="284" y="1414"/>
                  <a:pt x="284" y="1434"/>
                </a:cubicBezTo>
                <a:cubicBezTo>
                  <a:pt x="284" y="1452"/>
                  <a:pt x="288" y="1461"/>
                  <a:pt x="297" y="1461"/>
                </a:cubicBezTo>
                <a:cubicBezTo>
                  <a:pt x="306" y="1461"/>
                  <a:pt x="310" y="1452"/>
                  <a:pt x="310" y="1433"/>
                </a:cubicBezTo>
                <a:cubicBezTo>
                  <a:pt x="310" y="1413"/>
                  <a:pt x="306" y="1404"/>
                  <a:pt x="298" y="1404"/>
                </a:cubicBezTo>
                <a:close/>
                <a:moveTo>
                  <a:pt x="506" y="1470"/>
                </a:moveTo>
                <a:cubicBezTo>
                  <a:pt x="499" y="1470"/>
                  <a:pt x="493" y="1467"/>
                  <a:pt x="489" y="1461"/>
                </a:cubicBezTo>
                <a:cubicBezTo>
                  <a:pt x="484" y="1455"/>
                  <a:pt x="482" y="1445"/>
                  <a:pt x="482" y="1434"/>
                </a:cubicBezTo>
                <a:cubicBezTo>
                  <a:pt x="482" y="1421"/>
                  <a:pt x="484" y="1411"/>
                  <a:pt x="489" y="1404"/>
                </a:cubicBezTo>
                <a:cubicBezTo>
                  <a:pt x="493" y="1397"/>
                  <a:pt x="500" y="1394"/>
                  <a:pt x="509" y="1394"/>
                </a:cubicBezTo>
                <a:cubicBezTo>
                  <a:pt x="525" y="1394"/>
                  <a:pt x="533" y="1407"/>
                  <a:pt x="533" y="1431"/>
                </a:cubicBezTo>
                <a:cubicBezTo>
                  <a:pt x="533" y="1445"/>
                  <a:pt x="530" y="1454"/>
                  <a:pt x="526" y="1461"/>
                </a:cubicBezTo>
                <a:cubicBezTo>
                  <a:pt x="521" y="1467"/>
                  <a:pt x="515" y="1470"/>
                  <a:pt x="506" y="1470"/>
                </a:cubicBezTo>
                <a:close/>
                <a:moveTo>
                  <a:pt x="508" y="1404"/>
                </a:moveTo>
                <a:cubicBezTo>
                  <a:pt x="499" y="1404"/>
                  <a:pt x="495" y="1413"/>
                  <a:pt x="495" y="1433"/>
                </a:cubicBezTo>
                <a:cubicBezTo>
                  <a:pt x="495" y="1451"/>
                  <a:pt x="499" y="1461"/>
                  <a:pt x="508" y="1461"/>
                </a:cubicBezTo>
                <a:cubicBezTo>
                  <a:pt x="516" y="1461"/>
                  <a:pt x="520" y="1451"/>
                  <a:pt x="520" y="1433"/>
                </a:cubicBezTo>
                <a:cubicBezTo>
                  <a:pt x="520" y="1413"/>
                  <a:pt x="517" y="1404"/>
                  <a:pt x="508" y="1404"/>
                </a:cubicBezTo>
                <a:close/>
                <a:moveTo>
                  <a:pt x="579" y="1397"/>
                </a:moveTo>
                <a:cubicBezTo>
                  <a:pt x="579" y="1397"/>
                  <a:pt x="579" y="1397"/>
                  <a:pt x="579" y="1397"/>
                </a:cubicBezTo>
                <a:cubicBezTo>
                  <a:pt x="574" y="1397"/>
                  <a:pt x="574" y="1397"/>
                  <a:pt x="574" y="1397"/>
                </a:cubicBezTo>
                <a:cubicBezTo>
                  <a:pt x="572" y="1398"/>
                  <a:pt x="570" y="1400"/>
                  <a:pt x="568" y="1400"/>
                </a:cubicBezTo>
                <a:cubicBezTo>
                  <a:pt x="567" y="1402"/>
                  <a:pt x="565" y="1402"/>
                  <a:pt x="563" y="1403"/>
                </a:cubicBezTo>
                <a:cubicBezTo>
                  <a:pt x="562" y="1404"/>
                  <a:pt x="560" y="1405"/>
                  <a:pt x="558" y="1405"/>
                </a:cubicBezTo>
                <a:cubicBezTo>
                  <a:pt x="556" y="1406"/>
                  <a:pt x="555" y="1407"/>
                  <a:pt x="552" y="1408"/>
                </a:cubicBezTo>
                <a:cubicBezTo>
                  <a:pt x="552" y="1408"/>
                  <a:pt x="552" y="1408"/>
                  <a:pt x="552" y="1418"/>
                </a:cubicBezTo>
                <a:cubicBezTo>
                  <a:pt x="555" y="1417"/>
                  <a:pt x="558" y="1416"/>
                  <a:pt x="560" y="1415"/>
                </a:cubicBezTo>
                <a:cubicBezTo>
                  <a:pt x="563" y="1414"/>
                  <a:pt x="565" y="1413"/>
                  <a:pt x="568" y="1411"/>
                </a:cubicBezTo>
                <a:cubicBezTo>
                  <a:pt x="568" y="1411"/>
                  <a:pt x="568" y="1411"/>
                  <a:pt x="568" y="1470"/>
                </a:cubicBezTo>
                <a:cubicBezTo>
                  <a:pt x="568" y="1470"/>
                  <a:pt x="568" y="1470"/>
                  <a:pt x="579" y="1470"/>
                </a:cubicBezTo>
                <a:cubicBezTo>
                  <a:pt x="579" y="1470"/>
                  <a:pt x="579" y="1470"/>
                  <a:pt x="579" y="1397"/>
                </a:cubicBezTo>
                <a:close/>
                <a:moveTo>
                  <a:pt x="369" y="1397"/>
                </a:moveTo>
                <a:cubicBezTo>
                  <a:pt x="369" y="1397"/>
                  <a:pt x="369" y="1397"/>
                  <a:pt x="369" y="1397"/>
                </a:cubicBezTo>
                <a:cubicBezTo>
                  <a:pt x="364" y="1397"/>
                  <a:pt x="364" y="1397"/>
                  <a:pt x="364" y="1397"/>
                </a:cubicBezTo>
                <a:cubicBezTo>
                  <a:pt x="362" y="1398"/>
                  <a:pt x="361" y="1400"/>
                  <a:pt x="359" y="1400"/>
                </a:cubicBezTo>
                <a:cubicBezTo>
                  <a:pt x="357" y="1402"/>
                  <a:pt x="356" y="1402"/>
                  <a:pt x="353" y="1403"/>
                </a:cubicBezTo>
                <a:cubicBezTo>
                  <a:pt x="352" y="1405"/>
                  <a:pt x="350" y="1405"/>
                  <a:pt x="348" y="1406"/>
                </a:cubicBezTo>
                <a:cubicBezTo>
                  <a:pt x="346" y="1407"/>
                  <a:pt x="345" y="1408"/>
                  <a:pt x="343" y="1408"/>
                </a:cubicBezTo>
                <a:cubicBezTo>
                  <a:pt x="343" y="1408"/>
                  <a:pt x="343" y="1408"/>
                  <a:pt x="343" y="1418"/>
                </a:cubicBezTo>
                <a:cubicBezTo>
                  <a:pt x="345" y="1417"/>
                  <a:pt x="348" y="1416"/>
                  <a:pt x="351" y="1415"/>
                </a:cubicBezTo>
                <a:cubicBezTo>
                  <a:pt x="353" y="1414"/>
                  <a:pt x="356" y="1413"/>
                  <a:pt x="358" y="1411"/>
                </a:cubicBezTo>
                <a:cubicBezTo>
                  <a:pt x="358" y="1411"/>
                  <a:pt x="358" y="1411"/>
                  <a:pt x="358" y="1470"/>
                </a:cubicBezTo>
                <a:cubicBezTo>
                  <a:pt x="358" y="1470"/>
                  <a:pt x="358" y="1470"/>
                  <a:pt x="369" y="1470"/>
                </a:cubicBezTo>
                <a:cubicBezTo>
                  <a:pt x="369" y="1470"/>
                  <a:pt x="369" y="1470"/>
                  <a:pt x="369" y="1397"/>
                </a:cubicBezTo>
                <a:close/>
                <a:moveTo>
                  <a:pt x="416" y="1397"/>
                </a:moveTo>
                <a:cubicBezTo>
                  <a:pt x="416" y="1397"/>
                  <a:pt x="416" y="1397"/>
                  <a:pt x="416" y="1397"/>
                </a:cubicBezTo>
                <a:cubicBezTo>
                  <a:pt x="411" y="1397"/>
                  <a:pt x="411" y="1397"/>
                  <a:pt x="411" y="1397"/>
                </a:cubicBezTo>
                <a:cubicBezTo>
                  <a:pt x="409" y="1398"/>
                  <a:pt x="408" y="1400"/>
                  <a:pt x="406" y="1400"/>
                </a:cubicBezTo>
                <a:cubicBezTo>
                  <a:pt x="404" y="1402"/>
                  <a:pt x="402" y="1402"/>
                  <a:pt x="401" y="1403"/>
                </a:cubicBezTo>
                <a:cubicBezTo>
                  <a:pt x="399" y="1405"/>
                  <a:pt x="397" y="1405"/>
                  <a:pt x="395" y="1406"/>
                </a:cubicBezTo>
                <a:cubicBezTo>
                  <a:pt x="393" y="1407"/>
                  <a:pt x="392" y="1408"/>
                  <a:pt x="390" y="1408"/>
                </a:cubicBezTo>
                <a:cubicBezTo>
                  <a:pt x="390" y="1408"/>
                  <a:pt x="390" y="1408"/>
                  <a:pt x="390" y="1418"/>
                </a:cubicBezTo>
                <a:cubicBezTo>
                  <a:pt x="393" y="1417"/>
                  <a:pt x="395" y="1416"/>
                  <a:pt x="398" y="1415"/>
                </a:cubicBezTo>
                <a:cubicBezTo>
                  <a:pt x="401" y="1414"/>
                  <a:pt x="403" y="1413"/>
                  <a:pt x="405" y="1411"/>
                </a:cubicBezTo>
                <a:cubicBezTo>
                  <a:pt x="405" y="1411"/>
                  <a:pt x="405" y="1411"/>
                  <a:pt x="405" y="1470"/>
                </a:cubicBezTo>
                <a:cubicBezTo>
                  <a:pt x="405" y="1470"/>
                  <a:pt x="405" y="1470"/>
                  <a:pt x="416" y="1470"/>
                </a:cubicBezTo>
                <a:cubicBezTo>
                  <a:pt x="416" y="1470"/>
                  <a:pt x="416" y="1470"/>
                  <a:pt x="416" y="1397"/>
                </a:cubicBezTo>
                <a:close/>
                <a:moveTo>
                  <a:pt x="462" y="1397"/>
                </a:moveTo>
                <a:cubicBezTo>
                  <a:pt x="462" y="1397"/>
                  <a:pt x="462" y="1397"/>
                  <a:pt x="462" y="1397"/>
                </a:cubicBezTo>
                <a:cubicBezTo>
                  <a:pt x="458" y="1397"/>
                  <a:pt x="458" y="1397"/>
                  <a:pt x="458" y="1397"/>
                </a:cubicBezTo>
                <a:cubicBezTo>
                  <a:pt x="456" y="1398"/>
                  <a:pt x="454" y="1400"/>
                  <a:pt x="452" y="1400"/>
                </a:cubicBezTo>
                <a:cubicBezTo>
                  <a:pt x="451" y="1402"/>
                  <a:pt x="448" y="1402"/>
                  <a:pt x="447" y="1403"/>
                </a:cubicBezTo>
                <a:cubicBezTo>
                  <a:pt x="445" y="1404"/>
                  <a:pt x="443" y="1405"/>
                  <a:pt x="441" y="1405"/>
                </a:cubicBezTo>
                <a:cubicBezTo>
                  <a:pt x="440" y="1406"/>
                  <a:pt x="438" y="1407"/>
                  <a:pt x="436" y="1408"/>
                </a:cubicBezTo>
                <a:cubicBezTo>
                  <a:pt x="436" y="1408"/>
                  <a:pt x="436" y="1408"/>
                  <a:pt x="436" y="1418"/>
                </a:cubicBezTo>
                <a:cubicBezTo>
                  <a:pt x="439" y="1417"/>
                  <a:pt x="442" y="1416"/>
                  <a:pt x="444" y="1415"/>
                </a:cubicBezTo>
                <a:cubicBezTo>
                  <a:pt x="446" y="1414"/>
                  <a:pt x="449" y="1413"/>
                  <a:pt x="451" y="1411"/>
                </a:cubicBezTo>
                <a:cubicBezTo>
                  <a:pt x="451" y="1411"/>
                  <a:pt x="451" y="1411"/>
                  <a:pt x="451" y="1470"/>
                </a:cubicBezTo>
                <a:cubicBezTo>
                  <a:pt x="451" y="1470"/>
                  <a:pt x="451" y="1470"/>
                  <a:pt x="462" y="1470"/>
                </a:cubicBezTo>
                <a:cubicBezTo>
                  <a:pt x="462" y="1470"/>
                  <a:pt x="462" y="1470"/>
                  <a:pt x="462" y="1397"/>
                </a:cubicBezTo>
                <a:close/>
                <a:moveTo>
                  <a:pt x="28" y="1470"/>
                </a:moveTo>
                <a:cubicBezTo>
                  <a:pt x="20" y="1470"/>
                  <a:pt x="14" y="1467"/>
                  <a:pt x="10" y="1461"/>
                </a:cubicBezTo>
                <a:cubicBezTo>
                  <a:pt x="6" y="1455"/>
                  <a:pt x="4" y="1446"/>
                  <a:pt x="4" y="1434"/>
                </a:cubicBezTo>
                <a:cubicBezTo>
                  <a:pt x="4" y="1421"/>
                  <a:pt x="6" y="1411"/>
                  <a:pt x="10" y="1404"/>
                </a:cubicBezTo>
                <a:cubicBezTo>
                  <a:pt x="15" y="1398"/>
                  <a:pt x="21" y="1394"/>
                  <a:pt x="30" y="1394"/>
                </a:cubicBezTo>
                <a:cubicBezTo>
                  <a:pt x="46" y="1394"/>
                  <a:pt x="54" y="1407"/>
                  <a:pt x="54" y="1432"/>
                </a:cubicBezTo>
                <a:cubicBezTo>
                  <a:pt x="54" y="1445"/>
                  <a:pt x="52" y="1454"/>
                  <a:pt x="48" y="1461"/>
                </a:cubicBezTo>
                <a:cubicBezTo>
                  <a:pt x="42" y="1467"/>
                  <a:pt x="37" y="1470"/>
                  <a:pt x="28" y="1470"/>
                </a:cubicBezTo>
                <a:close/>
                <a:moveTo>
                  <a:pt x="29" y="1404"/>
                </a:moveTo>
                <a:cubicBezTo>
                  <a:pt x="20" y="1404"/>
                  <a:pt x="15" y="1414"/>
                  <a:pt x="15" y="1434"/>
                </a:cubicBezTo>
                <a:cubicBezTo>
                  <a:pt x="15" y="1452"/>
                  <a:pt x="20" y="1461"/>
                  <a:pt x="29" y="1461"/>
                </a:cubicBezTo>
                <a:cubicBezTo>
                  <a:pt x="37" y="1461"/>
                  <a:pt x="42" y="1452"/>
                  <a:pt x="42" y="1433"/>
                </a:cubicBezTo>
                <a:cubicBezTo>
                  <a:pt x="42" y="1413"/>
                  <a:pt x="37" y="1404"/>
                  <a:pt x="29" y="1404"/>
                </a:cubicBezTo>
                <a:close/>
                <a:moveTo>
                  <a:pt x="89" y="1397"/>
                </a:moveTo>
                <a:cubicBezTo>
                  <a:pt x="89" y="1397"/>
                  <a:pt x="89" y="1397"/>
                  <a:pt x="89" y="1397"/>
                </a:cubicBezTo>
                <a:cubicBezTo>
                  <a:pt x="84" y="1397"/>
                  <a:pt x="84" y="1397"/>
                  <a:pt x="84" y="1397"/>
                </a:cubicBezTo>
                <a:cubicBezTo>
                  <a:pt x="82" y="1398"/>
                  <a:pt x="80" y="1400"/>
                  <a:pt x="78" y="1400"/>
                </a:cubicBezTo>
                <a:cubicBezTo>
                  <a:pt x="77" y="1402"/>
                  <a:pt x="75" y="1402"/>
                  <a:pt x="73" y="1403"/>
                </a:cubicBezTo>
                <a:cubicBezTo>
                  <a:pt x="72" y="1405"/>
                  <a:pt x="70" y="1405"/>
                  <a:pt x="68" y="1406"/>
                </a:cubicBezTo>
                <a:cubicBezTo>
                  <a:pt x="66" y="1407"/>
                  <a:pt x="64" y="1408"/>
                  <a:pt x="62" y="1408"/>
                </a:cubicBezTo>
                <a:cubicBezTo>
                  <a:pt x="62" y="1408"/>
                  <a:pt x="62" y="1408"/>
                  <a:pt x="62" y="1418"/>
                </a:cubicBezTo>
                <a:cubicBezTo>
                  <a:pt x="65" y="1417"/>
                  <a:pt x="68" y="1416"/>
                  <a:pt x="71" y="1415"/>
                </a:cubicBezTo>
                <a:cubicBezTo>
                  <a:pt x="73" y="1414"/>
                  <a:pt x="75" y="1413"/>
                  <a:pt x="78" y="1411"/>
                </a:cubicBezTo>
                <a:cubicBezTo>
                  <a:pt x="78" y="1411"/>
                  <a:pt x="78" y="1411"/>
                  <a:pt x="78" y="1470"/>
                </a:cubicBezTo>
                <a:cubicBezTo>
                  <a:pt x="78" y="1470"/>
                  <a:pt x="78" y="1470"/>
                  <a:pt x="89" y="1470"/>
                </a:cubicBezTo>
                <a:cubicBezTo>
                  <a:pt x="89" y="1470"/>
                  <a:pt x="89" y="1470"/>
                  <a:pt x="89" y="1397"/>
                </a:cubicBezTo>
                <a:close/>
                <a:moveTo>
                  <a:pt x="136" y="1397"/>
                </a:moveTo>
                <a:cubicBezTo>
                  <a:pt x="136" y="1397"/>
                  <a:pt x="136" y="1397"/>
                  <a:pt x="136" y="1397"/>
                </a:cubicBezTo>
                <a:cubicBezTo>
                  <a:pt x="131" y="1397"/>
                  <a:pt x="131" y="1397"/>
                  <a:pt x="131" y="1397"/>
                </a:cubicBezTo>
                <a:cubicBezTo>
                  <a:pt x="129" y="1398"/>
                  <a:pt x="127" y="1400"/>
                  <a:pt x="125" y="1400"/>
                </a:cubicBezTo>
                <a:cubicBezTo>
                  <a:pt x="124" y="1402"/>
                  <a:pt x="121" y="1402"/>
                  <a:pt x="120" y="1403"/>
                </a:cubicBezTo>
                <a:cubicBezTo>
                  <a:pt x="118" y="1405"/>
                  <a:pt x="116" y="1405"/>
                  <a:pt x="115" y="1406"/>
                </a:cubicBezTo>
                <a:cubicBezTo>
                  <a:pt x="113" y="1407"/>
                  <a:pt x="111" y="1408"/>
                  <a:pt x="109" y="1408"/>
                </a:cubicBezTo>
                <a:cubicBezTo>
                  <a:pt x="109" y="1408"/>
                  <a:pt x="109" y="1408"/>
                  <a:pt x="109" y="1418"/>
                </a:cubicBezTo>
                <a:cubicBezTo>
                  <a:pt x="112" y="1417"/>
                  <a:pt x="115" y="1416"/>
                  <a:pt x="117" y="1415"/>
                </a:cubicBezTo>
                <a:cubicBezTo>
                  <a:pt x="120" y="1414"/>
                  <a:pt x="122" y="1413"/>
                  <a:pt x="124" y="1411"/>
                </a:cubicBezTo>
                <a:cubicBezTo>
                  <a:pt x="124" y="1411"/>
                  <a:pt x="124" y="1411"/>
                  <a:pt x="124" y="1470"/>
                </a:cubicBezTo>
                <a:cubicBezTo>
                  <a:pt x="124" y="1470"/>
                  <a:pt x="124" y="1470"/>
                  <a:pt x="136" y="1470"/>
                </a:cubicBezTo>
                <a:cubicBezTo>
                  <a:pt x="136" y="1470"/>
                  <a:pt x="136" y="1470"/>
                  <a:pt x="136" y="1397"/>
                </a:cubicBezTo>
                <a:close/>
                <a:moveTo>
                  <a:pt x="182" y="1397"/>
                </a:moveTo>
                <a:cubicBezTo>
                  <a:pt x="182" y="1397"/>
                  <a:pt x="182" y="1397"/>
                  <a:pt x="182" y="1397"/>
                </a:cubicBezTo>
                <a:cubicBezTo>
                  <a:pt x="177" y="1397"/>
                  <a:pt x="177" y="1397"/>
                  <a:pt x="177" y="1397"/>
                </a:cubicBezTo>
                <a:cubicBezTo>
                  <a:pt x="175" y="1398"/>
                  <a:pt x="174" y="1400"/>
                  <a:pt x="172" y="1400"/>
                </a:cubicBezTo>
                <a:cubicBezTo>
                  <a:pt x="170" y="1402"/>
                  <a:pt x="168" y="1402"/>
                  <a:pt x="167" y="1403"/>
                </a:cubicBezTo>
                <a:cubicBezTo>
                  <a:pt x="164" y="1404"/>
                  <a:pt x="163" y="1405"/>
                  <a:pt x="161" y="1405"/>
                </a:cubicBezTo>
                <a:cubicBezTo>
                  <a:pt x="159" y="1406"/>
                  <a:pt x="157" y="1407"/>
                  <a:pt x="156" y="1408"/>
                </a:cubicBezTo>
                <a:cubicBezTo>
                  <a:pt x="156" y="1408"/>
                  <a:pt x="156" y="1408"/>
                  <a:pt x="156" y="1418"/>
                </a:cubicBezTo>
                <a:cubicBezTo>
                  <a:pt x="159" y="1417"/>
                  <a:pt x="162" y="1416"/>
                  <a:pt x="164" y="1415"/>
                </a:cubicBezTo>
                <a:cubicBezTo>
                  <a:pt x="166" y="1414"/>
                  <a:pt x="169" y="1413"/>
                  <a:pt x="170" y="1411"/>
                </a:cubicBezTo>
                <a:cubicBezTo>
                  <a:pt x="170" y="1411"/>
                  <a:pt x="170" y="1411"/>
                  <a:pt x="170" y="1470"/>
                </a:cubicBezTo>
                <a:cubicBezTo>
                  <a:pt x="170" y="1470"/>
                  <a:pt x="170" y="1470"/>
                  <a:pt x="182" y="1470"/>
                </a:cubicBezTo>
                <a:cubicBezTo>
                  <a:pt x="182" y="1470"/>
                  <a:pt x="182" y="1470"/>
                  <a:pt x="182" y="1397"/>
                </a:cubicBezTo>
                <a:close/>
                <a:moveTo>
                  <a:pt x="41" y="1696"/>
                </a:moveTo>
                <a:cubicBezTo>
                  <a:pt x="41" y="1696"/>
                  <a:pt x="41" y="1696"/>
                  <a:pt x="41" y="1696"/>
                </a:cubicBezTo>
                <a:cubicBezTo>
                  <a:pt x="36" y="1696"/>
                  <a:pt x="36" y="1696"/>
                  <a:pt x="36" y="1696"/>
                </a:cubicBezTo>
                <a:cubicBezTo>
                  <a:pt x="34" y="1697"/>
                  <a:pt x="32" y="1699"/>
                  <a:pt x="30" y="1699"/>
                </a:cubicBezTo>
                <a:cubicBezTo>
                  <a:pt x="29" y="1701"/>
                  <a:pt x="26" y="1702"/>
                  <a:pt x="25" y="1702"/>
                </a:cubicBezTo>
                <a:cubicBezTo>
                  <a:pt x="23" y="1704"/>
                  <a:pt x="21" y="1704"/>
                  <a:pt x="20" y="1705"/>
                </a:cubicBezTo>
                <a:cubicBezTo>
                  <a:pt x="17" y="1706"/>
                  <a:pt x="16" y="1707"/>
                  <a:pt x="14" y="1707"/>
                </a:cubicBezTo>
                <a:cubicBezTo>
                  <a:pt x="14" y="1707"/>
                  <a:pt x="14" y="1707"/>
                  <a:pt x="14" y="1717"/>
                </a:cubicBezTo>
                <a:cubicBezTo>
                  <a:pt x="17" y="1716"/>
                  <a:pt x="20" y="1715"/>
                  <a:pt x="22" y="1714"/>
                </a:cubicBezTo>
                <a:cubicBezTo>
                  <a:pt x="25" y="1713"/>
                  <a:pt x="27" y="1712"/>
                  <a:pt x="29" y="1710"/>
                </a:cubicBezTo>
                <a:cubicBezTo>
                  <a:pt x="29" y="1710"/>
                  <a:pt x="29" y="1710"/>
                  <a:pt x="29" y="1769"/>
                </a:cubicBezTo>
                <a:cubicBezTo>
                  <a:pt x="29" y="1769"/>
                  <a:pt x="29" y="1769"/>
                  <a:pt x="41" y="1769"/>
                </a:cubicBezTo>
                <a:cubicBezTo>
                  <a:pt x="41" y="1769"/>
                  <a:pt x="41" y="1769"/>
                  <a:pt x="41" y="1696"/>
                </a:cubicBezTo>
                <a:close/>
                <a:moveTo>
                  <a:pt x="41" y="1592"/>
                </a:moveTo>
                <a:cubicBezTo>
                  <a:pt x="41" y="1592"/>
                  <a:pt x="41" y="1592"/>
                  <a:pt x="41" y="1592"/>
                </a:cubicBezTo>
                <a:cubicBezTo>
                  <a:pt x="37" y="1592"/>
                  <a:pt x="37" y="1592"/>
                  <a:pt x="37" y="1592"/>
                </a:cubicBezTo>
                <a:cubicBezTo>
                  <a:pt x="35" y="1593"/>
                  <a:pt x="33" y="1594"/>
                  <a:pt x="31" y="1595"/>
                </a:cubicBezTo>
                <a:cubicBezTo>
                  <a:pt x="30" y="1597"/>
                  <a:pt x="27" y="1597"/>
                  <a:pt x="26" y="1598"/>
                </a:cubicBezTo>
                <a:cubicBezTo>
                  <a:pt x="24" y="1599"/>
                  <a:pt x="22" y="1600"/>
                  <a:pt x="20" y="1600"/>
                </a:cubicBezTo>
                <a:cubicBezTo>
                  <a:pt x="19" y="1601"/>
                  <a:pt x="17" y="1602"/>
                  <a:pt x="15" y="1602"/>
                </a:cubicBezTo>
                <a:cubicBezTo>
                  <a:pt x="15" y="1602"/>
                  <a:pt x="15" y="1602"/>
                  <a:pt x="15" y="1613"/>
                </a:cubicBezTo>
                <a:cubicBezTo>
                  <a:pt x="18" y="1612"/>
                  <a:pt x="21" y="1610"/>
                  <a:pt x="23" y="1610"/>
                </a:cubicBezTo>
                <a:cubicBezTo>
                  <a:pt x="25" y="1609"/>
                  <a:pt x="28" y="1608"/>
                  <a:pt x="30" y="1606"/>
                </a:cubicBezTo>
                <a:cubicBezTo>
                  <a:pt x="30" y="1606"/>
                  <a:pt x="30" y="1606"/>
                  <a:pt x="30" y="1665"/>
                </a:cubicBezTo>
                <a:cubicBezTo>
                  <a:pt x="30" y="1665"/>
                  <a:pt x="30" y="1665"/>
                  <a:pt x="41" y="1665"/>
                </a:cubicBezTo>
                <a:cubicBezTo>
                  <a:pt x="41" y="1665"/>
                  <a:pt x="41" y="1665"/>
                  <a:pt x="41" y="1592"/>
                </a:cubicBezTo>
                <a:close/>
                <a:moveTo>
                  <a:pt x="985" y="1380"/>
                </a:moveTo>
                <a:cubicBezTo>
                  <a:pt x="978" y="1380"/>
                  <a:pt x="971" y="1377"/>
                  <a:pt x="967" y="1371"/>
                </a:cubicBezTo>
                <a:cubicBezTo>
                  <a:pt x="963" y="1364"/>
                  <a:pt x="961" y="1356"/>
                  <a:pt x="961" y="1343"/>
                </a:cubicBezTo>
                <a:cubicBezTo>
                  <a:pt x="961" y="1330"/>
                  <a:pt x="963" y="1320"/>
                  <a:pt x="967" y="1314"/>
                </a:cubicBezTo>
                <a:cubicBezTo>
                  <a:pt x="972" y="1307"/>
                  <a:pt x="978" y="1304"/>
                  <a:pt x="987" y="1304"/>
                </a:cubicBezTo>
                <a:cubicBezTo>
                  <a:pt x="1003" y="1304"/>
                  <a:pt x="1011" y="1316"/>
                  <a:pt x="1011" y="1342"/>
                </a:cubicBezTo>
                <a:cubicBezTo>
                  <a:pt x="1011" y="1354"/>
                  <a:pt x="1009" y="1364"/>
                  <a:pt x="1004" y="1370"/>
                </a:cubicBezTo>
                <a:cubicBezTo>
                  <a:pt x="1000" y="1377"/>
                  <a:pt x="993" y="1380"/>
                  <a:pt x="985" y="1380"/>
                </a:cubicBezTo>
                <a:close/>
                <a:moveTo>
                  <a:pt x="986" y="1313"/>
                </a:moveTo>
                <a:cubicBezTo>
                  <a:pt x="977" y="1313"/>
                  <a:pt x="973" y="1323"/>
                  <a:pt x="973" y="1343"/>
                </a:cubicBezTo>
                <a:cubicBezTo>
                  <a:pt x="973" y="1362"/>
                  <a:pt x="977" y="1370"/>
                  <a:pt x="986" y="1370"/>
                </a:cubicBezTo>
                <a:cubicBezTo>
                  <a:pt x="994" y="1370"/>
                  <a:pt x="999" y="1362"/>
                  <a:pt x="999" y="1342"/>
                </a:cubicBezTo>
                <a:cubicBezTo>
                  <a:pt x="999" y="1323"/>
                  <a:pt x="994" y="1313"/>
                  <a:pt x="986" y="1313"/>
                </a:cubicBezTo>
                <a:close/>
                <a:moveTo>
                  <a:pt x="1059" y="1306"/>
                </a:moveTo>
                <a:cubicBezTo>
                  <a:pt x="1059" y="1306"/>
                  <a:pt x="1059" y="1306"/>
                  <a:pt x="1059" y="1306"/>
                </a:cubicBezTo>
                <a:cubicBezTo>
                  <a:pt x="1054" y="1306"/>
                  <a:pt x="1054" y="1306"/>
                  <a:pt x="1054" y="1306"/>
                </a:cubicBezTo>
                <a:cubicBezTo>
                  <a:pt x="1051" y="1308"/>
                  <a:pt x="1050" y="1309"/>
                  <a:pt x="1048" y="1310"/>
                </a:cubicBezTo>
                <a:cubicBezTo>
                  <a:pt x="1046" y="1312"/>
                  <a:pt x="1044" y="1312"/>
                  <a:pt x="1043" y="1313"/>
                </a:cubicBezTo>
                <a:cubicBezTo>
                  <a:pt x="1041" y="1314"/>
                  <a:pt x="1039" y="1314"/>
                  <a:pt x="1038" y="1315"/>
                </a:cubicBezTo>
                <a:cubicBezTo>
                  <a:pt x="1035" y="1316"/>
                  <a:pt x="1034" y="1317"/>
                  <a:pt x="1032" y="1317"/>
                </a:cubicBezTo>
                <a:cubicBezTo>
                  <a:pt x="1032" y="1317"/>
                  <a:pt x="1032" y="1317"/>
                  <a:pt x="1032" y="1328"/>
                </a:cubicBezTo>
                <a:cubicBezTo>
                  <a:pt x="1035" y="1327"/>
                  <a:pt x="1038" y="1325"/>
                  <a:pt x="1040" y="1325"/>
                </a:cubicBezTo>
                <a:cubicBezTo>
                  <a:pt x="1043" y="1324"/>
                  <a:pt x="1045" y="1322"/>
                  <a:pt x="1047" y="1321"/>
                </a:cubicBezTo>
                <a:cubicBezTo>
                  <a:pt x="1047" y="1321"/>
                  <a:pt x="1047" y="1321"/>
                  <a:pt x="1047" y="1380"/>
                </a:cubicBezTo>
                <a:cubicBezTo>
                  <a:pt x="1047" y="1380"/>
                  <a:pt x="1047" y="1380"/>
                  <a:pt x="1059" y="1380"/>
                </a:cubicBezTo>
                <a:cubicBezTo>
                  <a:pt x="1059" y="1380"/>
                  <a:pt x="1059" y="1380"/>
                  <a:pt x="1059" y="1306"/>
                </a:cubicBezTo>
                <a:close/>
                <a:moveTo>
                  <a:pt x="1106" y="1306"/>
                </a:moveTo>
                <a:cubicBezTo>
                  <a:pt x="1106" y="1306"/>
                  <a:pt x="1106" y="1306"/>
                  <a:pt x="1106" y="1306"/>
                </a:cubicBezTo>
                <a:cubicBezTo>
                  <a:pt x="1101" y="1306"/>
                  <a:pt x="1101" y="1306"/>
                  <a:pt x="1101" y="1306"/>
                </a:cubicBezTo>
                <a:cubicBezTo>
                  <a:pt x="1099" y="1308"/>
                  <a:pt x="1098" y="1309"/>
                  <a:pt x="1095" y="1310"/>
                </a:cubicBezTo>
                <a:cubicBezTo>
                  <a:pt x="1094" y="1312"/>
                  <a:pt x="1092" y="1312"/>
                  <a:pt x="1090" y="1313"/>
                </a:cubicBezTo>
                <a:cubicBezTo>
                  <a:pt x="1089" y="1314"/>
                  <a:pt x="1087" y="1315"/>
                  <a:pt x="1085" y="1316"/>
                </a:cubicBezTo>
                <a:cubicBezTo>
                  <a:pt x="1083" y="1317"/>
                  <a:pt x="1082" y="1317"/>
                  <a:pt x="1079" y="1317"/>
                </a:cubicBezTo>
                <a:cubicBezTo>
                  <a:pt x="1079" y="1317"/>
                  <a:pt x="1079" y="1317"/>
                  <a:pt x="1079" y="1328"/>
                </a:cubicBezTo>
                <a:cubicBezTo>
                  <a:pt x="1082" y="1327"/>
                  <a:pt x="1085" y="1326"/>
                  <a:pt x="1087" y="1325"/>
                </a:cubicBezTo>
                <a:cubicBezTo>
                  <a:pt x="1090" y="1324"/>
                  <a:pt x="1092" y="1322"/>
                  <a:pt x="1095" y="1321"/>
                </a:cubicBezTo>
                <a:cubicBezTo>
                  <a:pt x="1095" y="1321"/>
                  <a:pt x="1095" y="1321"/>
                  <a:pt x="1095" y="1380"/>
                </a:cubicBezTo>
                <a:cubicBezTo>
                  <a:pt x="1095" y="1380"/>
                  <a:pt x="1095" y="1380"/>
                  <a:pt x="1106" y="1380"/>
                </a:cubicBezTo>
                <a:cubicBezTo>
                  <a:pt x="1106" y="1380"/>
                  <a:pt x="1106" y="1380"/>
                  <a:pt x="1106" y="1306"/>
                </a:cubicBezTo>
                <a:close/>
                <a:moveTo>
                  <a:pt x="1153" y="1306"/>
                </a:moveTo>
                <a:cubicBezTo>
                  <a:pt x="1153" y="1306"/>
                  <a:pt x="1153" y="1306"/>
                  <a:pt x="1153" y="1306"/>
                </a:cubicBezTo>
                <a:cubicBezTo>
                  <a:pt x="1148" y="1306"/>
                  <a:pt x="1148" y="1306"/>
                  <a:pt x="1148" y="1306"/>
                </a:cubicBezTo>
                <a:cubicBezTo>
                  <a:pt x="1146" y="1308"/>
                  <a:pt x="1145" y="1309"/>
                  <a:pt x="1143" y="1310"/>
                </a:cubicBezTo>
                <a:cubicBezTo>
                  <a:pt x="1141" y="1312"/>
                  <a:pt x="1139" y="1312"/>
                  <a:pt x="1137" y="1313"/>
                </a:cubicBezTo>
                <a:cubicBezTo>
                  <a:pt x="1135" y="1314"/>
                  <a:pt x="1134" y="1315"/>
                  <a:pt x="1132" y="1316"/>
                </a:cubicBezTo>
                <a:cubicBezTo>
                  <a:pt x="1130" y="1317"/>
                  <a:pt x="1128" y="1317"/>
                  <a:pt x="1126" y="1317"/>
                </a:cubicBezTo>
                <a:cubicBezTo>
                  <a:pt x="1126" y="1317"/>
                  <a:pt x="1126" y="1317"/>
                  <a:pt x="1126" y="1328"/>
                </a:cubicBezTo>
                <a:cubicBezTo>
                  <a:pt x="1129" y="1327"/>
                  <a:pt x="1132" y="1326"/>
                  <a:pt x="1134" y="1325"/>
                </a:cubicBezTo>
                <a:cubicBezTo>
                  <a:pt x="1137" y="1324"/>
                  <a:pt x="1140" y="1322"/>
                  <a:pt x="1141" y="1321"/>
                </a:cubicBezTo>
                <a:cubicBezTo>
                  <a:pt x="1141" y="1321"/>
                  <a:pt x="1141" y="1321"/>
                  <a:pt x="1141" y="1380"/>
                </a:cubicBezTo>
                <a:cubicBezTo>
                  <a:pt x="1141" y="1380"/>
                  <a:pt x="1141" y="1380"/>
                  <a:pt x="1153" y="1380"/>
                </a:cubicBezTo>
                <a:cubicBezTo>
                  <a:pt x="1153" y="1380"/>
                  <a:pt x="1153" y="1380"/>
                  <a:pt x="1153" y="1306"/>
                </a:cubicBezTo>
                <a:close/>
                <a:moveTo>
                  <a:pt x="1200" y="1306"/>
                </a:moveTo>
                <a:cubicBezTo>
                  <a:pt x="1200" y="1306"/>
                  <a:pt x="1200" y="1306"/>
                  <a:pt x="1200" y="1306"/>
                </a:cubicBezTo>
                <a:cubicBezTo>
                  <a:pt x="1195" y="1306"/>
                  <a:pt x="1195" y="1306"/>
                  <a:pt x="1195" y="1306"/>
                </a:cubicBezTo>
                <a:cubicBezTo>
                  <a:pt x="1193" y="1308"/>
                  <a:pt x="1191" y="1309"/>
                  <a:pt x="1189" y="1310"/>
                </a:cubicBezTo>
                <a:cubicBezTo>
                  <a:pt x="1188" y="1312"/>
                  <a:pt x="1186" y="1312"/>
                  <a:pt x="1184" y="1313"/>
                </a:cubicBezTo>
                <a:cubicBezTo>
                  <a:pt x="1183" y="1314"/>
                  <a:pt x="1180" y="1315"/>
                  <a:pt x="1179" y="1316"/>
                </a:cubicBezTo>
                <a:cubicBezTo>
                  <a:pt x="1177" y="1317"/>
                  <a:pt x="1175" y="1317"/>
                  <a:pt x="1173" y="1317"/>
                </a:cubicBezTo>
                <a:cubicBezTo>
                  <a:pt x="1173" y="1317"/>
                  <a:pt x="1173" y="1317"/>
                  <a:pt x="1173" y="1328"/>
                </a:cubicBezTo>
                <a:cubicBezTo>
                  <a:pt x="1176" y="1327"/>
                  <a:pt x="1179" y="1326"/>
                  <a:pt x="1181" y="1325"/>
                </a:cubicBezTo>
                <a:cubicBezTo>
                  <a:pt x="1184" y="1324"/>
                  <a:pt x="1186" y="1322"/>
                  <a:pt x="1189" y="1321"/>
                </a:cubicBezTo>
                <a:cubicBezTo>
                  <a:pt x="1189" y="1321"/>
                  <a:pt x="1189" y="1321"/>
                  <a:pt x="1189" y="1380"/>
                </a:cubicBezTo>
                <a:cubicBezTo>
                  <a:pt x="1189" y="1380"/>
                  <a:pt x="1189" y="1380"/>
                  <a:pt x="1200" y="1380"/>
                </a:cubicBezTo>
                <a:cubicBezTo>
                  <a:pt x="1200" y="1380"/>
                  <a:pt x="1200" y="1380"/>
                  <a:pt x="1200" y="1306"/>
                </a:cubicBezTo>
                <a:close/>
                <a:moveTo>
                  <a:pt x="1323" y="1306"/>
                </a:moveTo>
                <a:cubicBezTo>
                  <a:pt x="1323" y="1306"/>
                  <a:pt x="1323" y="1306"/>
                  <a:pt x="1323" y="1306"/>
                </a:cubicBezTo>
                <a:cubicBezTo>
                  <a:pt x="1318" y="1306"/>
                  <a:pt x="1318" y="1306"/>
                  <a:pt x="1318" y="1306"/>
                </a:cubicBezTo>
                <a:cubicBezTo>
                  <a:pt x="1316" y="1308"/>
                  <a:pt x="1314" y="1309"/>
                  <a:pt x="1312" y="1310"/>
                </a:cubicBezTo>
                <a:cubicBezTo>
                  <a:pt x="1311" y="1312"/>
                  <a:pt x="1309" y="1312"/>
                  <a:pt x="1307" y="1313"/>
                </a:cubicBezTo>
                <a:cubicBezTo>
                  <a:pt x="1306" y="1314"/>
                  <a:pt x="1304" y="1315"/>
                  <a:pt x="1302" y="1316"/>
                </a:cubicBezTo>
                <a:cubicBezTo>
                  <a:pt x="1300" y="1317"/>
                  <a:pt x="1299" y="1317"/>
                  <a:pt x="1296" y="1317"/>
                </a:cubicBezTo>
                <a:cubicBezTo>
                  <a:pt x="1296" y="1317"/>
                  <a:pt x="1296" y="1317"/>
                  <a:pt x="1296" y="1328"/>
                </a:cubicBezTo>
                <a:cubicBezTo>
                  <a:pt x="1299" y="1327"/>
                  <a:pt x="1302" y="1326"/>
                  <a:pt x="1305" y="1325"/>
                </a:cubicBezTo>
                <a:cubicBezTo>
                  <a:pt x="1307" y="1324"/>
                  <a:pt x="1309" y="1322"/>
                  <a:pt x="1312" y="1321"/>
                </a:cubicBezTo>
                <a:cubicBezTo>
                  <a:pt x="1312" y="1321"/>
                  <a:pt x="1312" y="1321"/>
                  <a:pt x="1312" y="1380"/>
                </a:cubicBezTo>
                <a:cubicBezTo>
                  <a:pt x="1312" y="1380"/>
                  <a:pt x="1312" y="1380"/>
                  <a:pt x="1323" y="1380"/>
                </a:cubicBezTo>
                <a:cubicBezTo>
                  <a:pt x="1323" y="1380"/>
                  <a:pt x="1323" y="1380"/>
                  <a:pt x="1323" y="1306"/>
                </a:cubicBezTo>
                <a:close/>
                <a:moveTo>
                  <a:pt x="1371" y="1306"/>
                </a:moveTo>
                <a:cubicBezTo>
                  <a:pt x="1371" y="1306"/>
                  <a:pt x="1371" y="1306"/>
                  <a:pt x="1371" y="1306"/>
                </a:cubicBezTo>
                <a:cubicBezTo>
                  <a:pt x="1366" y="1306"/>
                  <a:pt x="1366" y="1306"/>
                  <a:pt x="1366" y="1306"/>
                </a:cubicBezTo>
                <a:cubicBezTo>
                  <a:pt x="1363" y="1308"/>
                  <a:pt x="1362" y="1309"/>
                  <a:pt x="1360" y="1310"/>
                </a:cubicBezTo>
                <a:cubicBezTo>
                  <a:pt x="1358" y="1312"/>
                  <a:pt x="1356" y="1312"/>
                  <a:pt x="1355" y="1313"/>
                </a:cubicBezTo>
                <a:cubicBezTo>
                  <a:pt x="1353" y="1314"/>
                  <a:pt x="1351" y="1315"/>
                  <a:pt x="1350" y="1316"/>
                </a:cubicBezTo>
                <a:cubicBezTo>
                  <a:pt x="1347" y="1317"/>
                  <a:pt x="1346" y="1317"/>
                  <a:pt x="1344" y="1317"/>
                </a:cubicBezTo>
                <a:cubicBezTo>
                  <a:pt x="1344" y="1317"/>
                  <a:pt x="1344" y="1317"/>
                  <a:pt x="1344" y="1328"/>
                </a:cubicBezTo>
                <a:cubicBezTo>
                  <a:pt x="1347" y="1327"/>
                  <a:pt x="1350" y="1326"/>
                  <a:pt x="1352" y="1325"/>
                </a:cubicBezTo>
                <a:cubicBezTo>
                  <a:pt x="1355" y="1324"/>
                  <a:pt x="1357" y="1322"/>
                  <a:pt x="1359" y="1321"/>
                </a:cubicBezTo>
                <a:cubicBezTo>
                  <a:pt x="1359" y="1321"/>
                  <a:pt x="1359" y="1321"/>
                  <a:pt x="1359" y="1380"/>
                </a:cubicBezTo>
                <a:cubicBezTo>
                  <a:pt x="1359" y="1380"/>
                  <a:pt x="1359" y="1380"/>
                  <a:pt x="1371" y="1380"/>
                </a:cubicBezTo>
                <a:cubicBezTo>
                  <a:pt x="1371" y="1380"/>
                  <a:pt x="1371" y="1380"/>
                  <a:pt x="1371" y="1306"/>
                </a:cubicBezTo>
                <a:close/>
                <a:moveTo>
                  <a:pt x="1419" y="1306"/>
                </a:moveTo>
                <a:cubicBezTo>
                  <a:pt x="1419" y="1306"/>
                  <a:pt x="1419" y="1306"/>
                  <a:pt x="1419" y="1306"/>
                </a:cubicBezTo>
                <a:cubicBezTo>
                  <a:pt x="1414" y="1306"/>
                  <a:pt x="1414" y="1306"/>
                  <a:pt x="1414" y="1306"/>
                </a:cubicBezTo>
                <a:cubicBezTo>
                  <a:pt x="1412" y="1308"/>
                  <a:pt x="1410" y="1309"/>
                  <a:pt x="1408" y="1310"/>
                </a:cubicBezTo>
                <a:cubicBezTo>
                  <a:pt x="1406" y="1312"/>
                  <a:pt x="1405" y="1312"/>
                  <a:pt x="1402" y="1313"/>
                </a:cubicBezTo>
                <a:cubicBezTo>
                  <a:pt x="1401" y="1314"/>
                  <a:pt x="1399" y="1315"/>
                  <a:pt x="1397" y="1316"/>
                </a:cubicBezTo>
                <a:cubicBezTo>
                  <a:pt x="1395" y="1317"/>
                  <a:pt x="1394" y="1317"/>
                  <a:pt x="1391" y="1317"/>
                </a:cubicBezTo>
                <a:cubicBezTo>
                  <a:pt x="1391" y="1317"/>
                  <a:pt x="1391" y="1317"/>
                  <a:pt x="1391" y="1328"/>
                </a:cubicBezTo>
                <a:cubicBezTo>
                  <a:pt x="1394" y="1327"/>
                  <a:pt x="1397" y="1326"/>
                  <a:pt x="1400" y="1325"/>
                </a:cubicBezTo>
                <a:cubicBezTo>
                  <a:pt x="1402" y="1324"/>
                  <a:pt x="1405" y="1322"/>
                  <a:pt x="1407" y="1321"/>
                </a:cubicBezTo>
                <a:cubicBezTo>
                  <a:pt x="1407" y="1321"/>
                  <a:pt x="1407" y="1321"/>
                  <a:pt x="1407" y="1380"/>
                </a:cubicBezTo>
                <a:cubicBezTo>
                  <a:pt x="1407" y="1380"/>
                  <a:pt x="1407" y="1380"/>
                  <a:pt x="1419" y="1380"/>
                </a:cubicBezTo>
                <a:cubicBezTo>
                  <a:pt x="1419" y="1380"/>
                  <a:pt x="1419" y="1380"/>
                  <a:pt x="1419" y="1306"/>
                </a:cubicBezTo>
                <a:close/>
                <a:moveTo>
                  <a:pt x="1465" y="1306"/>
                </a:moveTo>
                <a:cubicBezTo>
                  <a:pt x="1465" y="1306"/>
                  <a:pt x="1465" y="1306"/>
                  <a:pt x="1465" y="1306"/>
                </a:cubicBezTo>
                <a:cubicBezTo>
                  <a:pt x="1461" y="1306"/>
                  <a:pt x="1461" y="1306"/>
                  <a:pt x="1461" y="1306"/>
                </a:cubicBezTo>
                <a:cubicBezTo>
                  <a:pt x="1459" y="1308"/>
                  <a:pt x="1457" y="1309"/>
                  <a:pt x="1455" y="1310"/>
                </a:cubicBezTo>
                <a:cubicBezTo>
                  <a:pt x="1454" y="1312"/>
                  <a:pt x="1451" y="1312"/>
                  <a:pt x="1450" y="1313"/>
                </a:cubicBezTo>
                <a:cubicBezTo>
                  <a:pt x="1448" y="1314"/>
                  <a:pt x="1446" y="1314"/>
                  <a:pt x="1444" y="1315"/>
                </a:cubicBezTo>
                <a:cubicBezTo>
                  <a:pt x="1443" y="1316"/>
                  <a:pt x="1440" y="1317"/>
                  <a:pt x="1439" y="1317"/>
                </a:cubicBezTo>
                <a:cubicBezTo>
                  <a:pt x="1439" y="1317"/>
                  <a:pt x="1439" y="1317"/>
                  <a:pt x="1439" y="1328"/>
                </a:cubicBezTo>
                <a:cubicBezTo>
                  <a:pt x="1442" y="1327"/>
                  <a:pt x="1445" y="1325"/>
                  <a:pt x="1447" y="1325"/>
                </a:cubicBezTo>
                <a:cubicBezTo>
                  <a:pt x="1449" y="1324"/>
                  <a:pt x="1452" y="1322"/>
                  <a:pt x="1454" y="1321"/>
                </a:cubicBezTo>
                <a:cubicBezTo>
                  <a:pt x="1454" y="1321"/>
                  <a:pt x="1454" y="1321"/>
                  <a:pt x="1454" y="1380"/>
                </a:cubicBezTo>
                <a:cubicBezTo>
                  <a:pt x="1454" y="1380"/>
                  <a:pt x="1454" y="1380"/>
                  <a:pt x="1465" y="1380"/>
                </a:cubicBezTo>
                <a:cubicBezTo>
                  <a:pt x="1465" y="1380"/>
                  <a:pt x="1465" y="1380"/>
                  <a:pt x="1465" y="1306"/>
                </a:cubicBezTo>
                <a:close/>
                <a:moveTo>
                  <a:pt x="1221" y="1339"/>
                </a:moveTo>
                <a:cubicBezTo>
                  <a:pt x="1221" y="1339"/>
                  <a:pt x="1221" y="1339"/>
                  <a:pt x="1221" y="1339"/>
                </a:cubicBezTo>
                <a:cubicBezTo>
                  <a:pt x="1220" y="1347"/>
                  <a:pt x="1220" y="1347"/>
                  <a:pt x="1220" y="1347"/>
                </a:cubicBezTo>
                <a:cubicBezTo>
                  <a:pt x="1227" y="1347"/>
                  <a:pt x="1228" y="1350"/>
                  <a:pt x="1228" y="1353"/>
                </a:cubicBezTo>
                <a:cubicBezTo>
                  <a:pt x="1228" y="1355"/>
                  <a:pt x="1227" y="1357"/>
                  <a:pt x="1227" y="1360"/>
                </a:cubicBezTo>
                <a:cubicBezTo>
                  <a:pt x="1227" y="1363"/>
                  <a:pt x="1227" y="1365"/>
                  <a:pt x="1227" y="1367"/>
                </a:cubicBezTo>
                <a:cubicBezTo>
                  <a:pt x="1227" y="1377"/>
                  <a:pt x="1233" y="1380"/>
                  <a:pt x="1241" y="1380"/>
                </a:cubicBezTo>
                <a:cubicBezTo>
                  <a:pt x="1241" y="1380"/>
                  <a:pt x="1241" y="1380"/>
                  <a:pt x="1245" y="1380"/>
                </a:cubicBezTo>
                <a:cubicBezTo>
                  <a:pt x="1245" y="1380"/>
                  <a:pt x="1245" y="1380"/>
                  <a:pt x="1245" y="1371"/>
                </a:cubicBezTo>
                <a:cubicBezTo>
                  <a:pt x="1245" y="1371"/>
                  <a:pt x="1245" y="1371"/>
                  <a:pt x="1243" y="1371"/>
                </a:cubicBezTo>
                <a:cubicBezTo>
                  <a:pt x="1240" y="1371"/>
                  <a:pt x="1239" y="1368"/>
                  <a:pt x="1239" y="1365"/>
                </a:cubicBezTo>
                <a:cubicBezTo>
                  <a:pt x="1239" y="1363"/>
                  <a:pt x="1239" y="1362"/>
                  <a:pt x="1239" y="1360"/>
                </a:cubicBezTo>
                <a:cubicBezTo>
                  <a:pt x="1239" y="1359"/>
                  <a:pt x="1239" y="1356"/>
                  <a:pt x="1239" y="1354"/>
                </a:cubicBezTo>
                <a:cubicBezTo>
                  <a:pt x="1239" y="1347"/>
                  <a:pt x="1236" y="1344"/>
                  <a:pt x="1231" y="1343"/>
                </a:cubicBezTo>
                <a:cubicBezTo>
                  <a:pt x="1231" y="1343"/>
                  <a:pt x="1231" y="1343"/>
                  <a:pt x="1231" y="1342"/>
                </a:cubicBezTo>
                <a:cubicBezTo>
                  <a:pt x="1236" y="1341"/>
                  <a:pt x="1239" y="1339"/>
                  <a:pt x="1239" y="1332"/>
                </a:cubicBezTo>
                <a:cubicBezTo>
                  <a:pt x="1239" y="1329"/>
                  <a:pt x="1239" y="1327"/>
                  <a:pt x="1239" y="1325"/>
                </a:cubicBezTo>
                <a:cubicBezTo>
                  <a:pt x="1239" y="1324"/>
                  <a:pt x="1239" y="1322"/>
                  <a:pt x="1239" y="1321"/>
                </a:cubicBezTo>
                <a:cubicBezTo>
                  <a:pt x="1239" y="1317"/>
                  <a:pt x="1240" y="1315"/>
                  <a:pt x="1243" y="1315"/>
                </a:cubicBezTo>
                <a:cubicBezTo>
                  <a:pt x="1243" y="1315"/>
                  <a:pt x="1243" y="1315"/>
                  <a:pt x="1245" y="1315"/>
                </a:cubicBezTo>
                <a:cubicBezTo>
                  <a:pt x="1245" y="1315"/>
                  <a:pt x="1245" y="1315"/>
                  <a:pt x="1245" y="1305"/>
                </a:cubicBezTo>
                <a:cubicBezTo>
                  <a:pt x="1245" y="1305"/>
                  <a:pt x="1245" y="1305"/>
                  <a:pt x="1241" y="1305"/>
                </a:cubicBezTo>
                <a:cubicBezTo>
                  <a:pt x="1232" y="1305"/>
                  <a:pt x="1227" y="1310"/>
                  <a:pt x="1227" y="1318"/>
                </a:cubicBezTo>
                <a:cubicBezTo>
                  <a:pt x="1227" y="1320"/>
                  <a:pt x="1227" y="1323"/>
                  <a:pt x="1227" y="1326"/>
                </a:cubicBezTo>
                <a:cubicBezTo>
                  <a:pt x="1227" y="1328"/>
                  <a:pt x="1228" y="1331"/>
                  <a:pt x="1228" y="1332"/>
                </a:cubicBezTo>
                <a:cubicBezTo>
                  <a:pt x="1228" y="1335"/>
                  <a:pt x="1227" y="1338"/>
                  <a:pt x="1221" y="1339"/>
                </a:cubicBezTo>
                <a:close/>
                <a:moveTo>
                  <a:pt x="1276" y="1347"/>
                </a:moveTo>
                <a:cubicBezTo>
                  <a:pt x="1276" y="1347"/>
                  <a:pt x="1276" y="1347"/>
                  <a:pt x="1276" y="1347"/>
                </a:cubicBezTo>
                <a:cubicBezTo>
                  <a:pt x="1276" y="1339"/>
                  <a:pt x="1276" y="1339"/>
                  <a:pt x="1276" y="1339"/>
                </a:cubicBezTo>
                <a:cubicBezTo>
                  <a:pt x="1269" y="1338"/>
                  <a:pt x="1269" y="1335"/>
                  <a:pt x="1269" y="1332"/>
                </a:cubicBezTo>
                <a:cubicBezTo>
                  <a:pt x="1269" y="1331"/>
                  <a:pt x="1269" y="1328"/>
                  <a:pt x="1269" y="1326"/>
                </a:cubicBezTo>
                <a:cubicBezTo>
                  <a:pt x="1270" y="1323"/>
                  <a:pt x="1270" y="1320"/>
                  <a:pt x="1270" y="1318"/>
                </a:cubicBezTo>
                <a:cubicBezTo>
                  <a:pt x="1270" y="1310"/>
                  <a:pt x="1265" y="1305"/>
                  <a:pt x="1255" y="1305"/>
                </a:cubicBezTo>
                <a:cubicBezTo>
                  <a:pt x="1255" y="1305"/>
                  <a:pt x="1255" y="1305"/>
                  <a:pt x="1252" y="1305"/>
                </a:cubicBezTo>
                <a:cubicBezTo>
                  <a:pt x="1252" y="1305"/>
                  <a:pt x="1252" y="1305"/>
                  <a:pt x="1252" y="1315"/>
                </a:cubicBezTo>
                <a:cubicBezTo>
                  <a:pt x="1252" y="1315"/>
                  <a:pt x="1252" y="1315"/>
                  <a:pt x="1253" y="1315"/>
                </a:cubicBezTo>
                <a:cubicBezTo>
                  <a:pt x="1257" y="1315"/>
                  <a:pt x="1258" y="1317"/>
                  <a:pt x="1258" y="1321"/>
                </a:cubicBezTo>
                <a:cubicBezTo>
                  <a:pt x="1258" y="1322"/>
                  <a:pt x="1258" y="1324"/>
                  <a:pt x="1258" y="1325"/>
                </a:cubicBezTo>
                <a:cubicBezTo>
                  <a:pt x="1258" y="1327"/>
                  <a:pt x="1258" y="1329"/>
                  <a:pt x="1258" y="1332"/>
                </a:cubicBezTo>
                <a:cubicBezTo>
                  <a:pt x="1258" y="1339"/>
                  <a:pt x="1260" y="1341"/>
                  <a:pt x="1266" y="1342"/>
                </a:cubicBezTo>
                <a:cubicBezTo>
                  <a:pt x="1266" y="1342"/>
                  <a:pt x="1266" y="1342"/>
                  <a:pt x="1266" y="1343"/>
                </a:cubicBezTo>
                <a:cubicBezTo>
                  <a:pt x="1260" y="1344"/>
                  <a:pt x="1258" y="1347"/>
                  <a:pt x="1258" y="1354"/>
                </a:cubicBezTo>
                <a:cubicBezTo>
                  <a:pt x="1258" y="1356"/>
                  <a:pt x="1258" y="1359"/>
                  <a:pt x="1258" y="1360"/>
                </a:cubicBezTo>
                <a:cubicBezTo>
                  <a:pt x="1258" y="1362"/>
                  <a:pt x="1258" y="1363"/>
                  <a:pt x="1258" y="1365"/>
                </a:cubicBezTo>
                <a:cubicBezTo>
                  <a:pt x="1258" y="1368"/>
                  <a:pt x="1257" y="1371"/>
                  <a:pt x="1253" y="1371"/>
                </a:cubicBezTo>
                <a:cubicBezTo>
                  <a:pt x="1253" y="1371"/>
                  <a:pt x="1253" y="1371"/>
                  <a:pt x="1252" y="1371"/>
                </a:cubicBezTo>
                <a:cubicBezTo>
                  <a:pt x="1252" y="1371"/>
                  <a:pt x="1252" y="1371"/>
                  <a:pt x="1252" y="1380"/>
                </a:cubicBezTo>
                <a:cubicBezTo>
                  <a:pt x="1252" y="1380"/>
                  <a:pt x="1252" y="1380"/>
                  <a:pt x="1255" y="1380"/>
                </a:cubicBezTo>
                <a:cubicBezTo>
                  <a:pt x="1264" y="1380"/>
                  <a:pt x="1270" y="1377"/>
                  <a:pt x="1270" y="1367"/>
                </a:cubicBezTo>
                <a:cubicBezTo>
                  <a:pt x="1270" y="1365"/>
                  <a:pt x="1270" y="1363"/>
                  <a:pt x="1269" y="1360"/>
                </a:cubicBezTo>
                <a:cubicBezTo>
                  <a:pt x="1269" y="1357"/>
                  <a:pt x="1269" y="1355"/>
                  <a:pt x="1269" y="1353"/>
                </a:cubicBezTo>
                <a:cubicBezTo>
                  <a:pt x="1269" y="1350"/>
                  <a:pt x="1269" y="1347"/>
                  <a:pt x="1276" y="1347"/>
                </a:cubicBezTo>
                <a:close/>
                <a:moveTo>
                  <a:pt x="1603" y="1339"/>
                </a:moveTo>
                <a:cubicBezTo>
                  <a:pt x="1603" y="1339"/>
                  <a:pt x="1603" y="1339"/>
                  <a:pt x="1603" y="1339"/>
                </a:cubicBezTo>
                <a:cubicBezTo>
                  <a:pt x="1603" y="1347"/>
                  <a:pt x="1603" y="1347"/>
                  <a:pt x="1603" y="1347"/>
                </a:cubicBezTo>
                <a:cubicBezTo>
                  <a:pt x="1609" y="1347"/>
                  <a:pt x="1610" y="1350"/>
                  <a:pt x="1610" y="1353"/>
                </a:cubicBezTo>
                <a:cubicBezTo>
                  <a:pt x="1610" y="1355"/>
                  <a:pt x="1610" y="1357"/>
                  <a:pt x="1610" y="1360"/>
                </a:cubicBezTo>
                <a:cubicBezTo>
                  <a:pt x="1609" y="1363"/>
                  <a:pt x="1609" y="1365"/>
                  <a:pt x="1609" y="1367"/>
                </a:cubicBezTo>
                <a:cubicBezTo>
                  <a:pt x="1609" y="1377"/>
                  <a:pt x="1615" y="1380"/>
                  <a:pt x="1623" y="1380"/>
                </a:cubicBezTo>
                <a:cubicBezTo>
                  <a:pt x="1623" y="1380"/>
                  <a:pt x="1623" y="1380"/>
                  <a:pt x="1627" y="1380"/>
                </a:cubicBezTo>
                <a:cubicBezTo>
                  <a:pt x="1627" y="1380"/>
                  <a:pt x="1627" y="1380"/>
                  <a:pt x="1627" y="1371"/>
                </a:cubicBezTo>
                <a:cubicBezTo>
                  <a:pt x="1627" y="1371"/>
                  <a:pt x="1627" y="1371"/>
                  <a:pt x="1626" y="1371"/>
                </a:cubicBezTo>
                <a:cubicBezTo>
                  <a:pt x="1622" y="1371"/>
                  <a:pt x="1621" y="1368"/>
                  <a:pt x="1621" y="1365"/>
                </a:cubicBezTo>
                <a:cubicBezTo>
                  <a:pt x="1621" y="1363"/>
                  <a:pt x="1621" y="1362"/>
                  <a:pt x="1621" y="1360"/>
                </a:cubicBezTo>
                <a:cubicBezTo>
                  <a:pt x="1621" y="1359"/>
                  <a:pt x="1622" y="1356"/>
                  <a:pt x="1622" y="1354"/>
                </a:cubicBezTo>
                <a:cubicBezTo>
                  <a:pt x="1622" y="1347"/>
                  <a:pt x="1619" y="1344"/>
                  <a:pt x="1613" y="1343"/>
                </a:cubicBezTo>
                <a:cubicBezTo>
                  <a:pt x="1613" y="1343"/>
                  <a:pt x="1613" y="1343"/>
                  <a:pt x="1613" y="1342"/>
                </a:cubicBezTo>
                <a:cubicBezTo>
                  <a:pt x="1619" y="1341"/>
                  <a:pt x="1622" y="1339"/>
                  <a:pt x="1622" y="1332"/>
                </a:cubicBezTo>
                <a:cubicBezTo>
                  <a:pt x="1622" y="1329"/>
                  <a:pt x="1621" y="1327"/>
                  <a:pt x="1621" y="1325"/>
                </a:cubicBezTo>
                <a:cubicBezTo>
                  <a:pt x="1621" y="1324"/>
                  <a:pt x="1621" y="1322"/>
                  <a:pt x="1621" y="1321"/>
                </a:cubicBezTo>
                <a:cubicBezTo>
                  <a:pt x="1621" y="1317"/>
                  <a:pt x="1622" y="1315"/>
                  <a:pt x="1626" y="1315"/>
                </a:cubicBezTo>
                <a:cubicBezTo>
                  <a:pt x="1626" y="1315"/>
                  <a:pt x="1626" y="1315"/>
                  <a:pt x="1627" y="1315"/>
                </a:cubicBezTo>
                <a:cubicBezTo>
                  <a:pt x="1627" y="1315"/>
                  <a:pt x="1627" y="1315"/>
                  <a:pt x="1627" y="1305"/>
                </a:cubicBezTo>
                <a:cubicBezTo>
                  <a:pt x="1627" y="1305"/>
                  <a:pt x="1627" y="1305"/>
                  <a:pt x="1623" y="1305"/>
                </a:cubicBezTo>
                <a:cubicBezTo>
                  <a:pt x="1614" y="1305"/>
                  <a:pt x="1609" y="1310"/>
                  <a:pt x="1609" y="1318"/>
                </a:cubicBezTo>
                <a:cubicBezTo>
                  <a:pt x="1609" y="1320"/>
                  <a:pt x="1609" y="1323"/>
                  <a:pt x="1609" y="1326"/>
                </a:cubicBezTo>
                <a:cubicBezTo>
                  <a:pt x="1610" y="1328"/>
                  <a:pt x="1610" y="1331"/>
                  <a:pt x="1610" y="1332"/>
                </a:cubicBezTo>
                <a:cubicBezTo>
                  <a:pt x="1610" y="1335"/>
                  <a:pt x="1609" y="1338"/>
                  <a:pt x="1603" y="1339"/>
                </a:cubicBezTo>
                <a:close/>
                <a:moveTo>
                  <a:pt x="1658" y="1347"/>
                </a:moveTo>
                <a:cubicBezTo>
                  <a:pt x="1658" y="1347"/>
                  <a:pt x="1658" y="1347"/>
                  <a:pt x="1658" y="1347"/>
                </a:cubicBezTo>
                <a:cubicBezTo>
                  <a:pt x="1658" y="1339"/>
                  <a:pt x="1658" y="1339"/>
                  <a:pt x="1658" y="1339"/>
                </a:cubicBezTo>
                <a:cubicBezTo>
                  <a:pt x="1651" y="1338"/>
                  <a:pt x="1651" y="1335"/>
                  <a:pt x="1651" y="1332"/>
                </a:cubicBezTo>
                <a:cubicBezTo>
                  <a:pt x="1651" y="1331"/>
                  <a:pt x="1651" y="1328"/>
                  <a:pt x="1651" y="1326"/>
                </a:cubicBezTo>
                <a:cubicBezTo>
                  <a:pt x="1652" y="1323"/>
                  <a:pt x="1652" y="1320"/>
                  <a:pt x="1652" y="1318"/>
                </a:cubicBezTo>
                <a:cubicBezTo>
                  <a:pt x="1652" y="1310"/>
                  <a:pt x="1647" y="1305"/>
                  <a:pt x="1637" y="1305"/>
                </a:cubicBezTo>
                <a:cubicBezTo>
                  <a:pt x="1637" y="1305"/>
                  <a:pt x="1637" y="1305"/>
                  <a:pt x="1634" y="1305"/>
                </a:cubicBezTo>
                <a:cubicBezTo>
                  <a:pt x="1634" y="1305"/>
                  <a:pt x="1634" y="1305"/>
                  <a:pt x="1634" y="1315"/>
                </a:cubicBezTo>
                <a:cubicBezTo>
                  <a:pt x="1634" y="1315"/>
                  <a:pt x="1634" y="1315"/>
                  <a:pt x="1635" y="1315"/>
                </a:cubicBezTo>
                <a:cubicBezTo>
                  <a:pt x="1639" y="1315"/>
                  <a:pt x="1640" y="1317"/>
                  <a:pt x="1640" y="1321"/>
                </a:cubicBezTo>
                <a:cubicBezTo>
                  <a:pt x="1640" y="1322"/>
                  <a:pt x="1640" y="1324"/>
                  <a:pt x="1640" y="1325"/>
                </a:cubicBezTo>
                <a:cubicBezTo>
                  <a:pt x="1640" y="1327"/>
                  <a:pt x="1640" y="1329"/>
                  <a:pt x="1640" y="1332"/>
                </a:cubicBezTo>
                <a:cubicBezTo>
                  <a:pt x="1640" y="1339"/>
                  <a:pt x="1642" y="1341"/>
                  <a:pt x="1648" y="1342"/>
                </a:cubicBezTo>
                <a:cubicBezTo>
                  <a:pt x="1648" y="1342"/>
                  <a:pt x="1648" y="1342"/>
                  <a:pt x="1648" y="1343"/>
                </a:cubicBezTo>
                <a:cubicBezTo>
                  <a:pt x="1642" y="1344"/>
                  <a:pt x="1640" y="1347"/>
                  <a:pt x="1640" y="1354"/>
                </a:cubicBezTo>
                <a:cubicBezTo>
                  <a:pt x="1640" y="1356"/>
                  <a:pt x="1640" y="1359"/>
                  <a:pt x="1640" y="1360"/>
                </a:cubicBezTo>
                <a:cubicBezTo>
                  <a:pt x="1640" y="1362"/>
                  <a:pt x="1640" y="1363"/>
                  <a:pt x="1640" y="1365"/>
                </a:cubicBezTo>
                <a:cubicBezTo>
                  <a:pt x="1640" y="1368"/>
                  <a:pt x="1639" y="1371"/>
                  <a:pt x="1635" y="1371"/>
                </a:cubicBezTo>
                <a:cubicBezTo>
                  <a:pt x="1635" y="1371"/>
                  <a:pt x="1635" y="1371"/>
                  <a:pt x="1634" y="1371"/>
                </a:cubicBezTo>
                <a:cubicBezTo>
                  <a:pt x="1634" y="1371"/>
                  <a:pt x="1634" y="1371"/>
                  <a:pt x="1634" y="1380"/>
                </a:cubicBezTo>
                <a:cubicBezTo>
                  <a:pt x="1634" y="1380"/>
                  <a:pt x="1634" y="1380"/>
                  <a:pt x="1637" y="1380"/>
                </a:cubicBezTo>
                <a:cubicBezTo>
                  <a:pt x="1646" y="1380"/>
                  <a:pt x="1652" y="1377"/>
                  <a:pt x="1652" y="1367"/>
                </a:cubicBezTo>
                <a:cubicBezTo>
                  <a:pt x="1652" y="1365"/>
                  <a:pt x="1652" y="1363"/>
                  <a:pt x="1651" y="1360"/>
                </a:cubicBezTo>
                <a:cubicBezTo>
                  <a:pt x="1651" y="1357"/>
                  <a:pt x="1651" y="1355"/>
                  <a:pt x="1651" y="1353"/>
                </a:cubicBezTo>
                <a:cubicBezTo>
                  <a:pt x="1651" y="1350"/>
                  <a:pt x="1651" y="1347"/>
                  <a:pt x="1658" y="1347"/>
                </a:cubicBezTo>
                <a:close/>
                <a:moveTo>
                  <a:pt x="1705" y="1306"/>
                </a:moveTo>
                <a:cubicBezTo>
                  <a:pt x="1705" y="1306"/>
                  <a:pt x="1705" y="1306"/>
                  <a:pt x="1705" y="1306"/>
                </a:cubicBezTo>
                <a:cubicBezTo>
                  <a:pt x="1700" y="1306"/>
                  <a:pt x="1700" y="1306"/>
                  <a:pt x="1700" y="1306"/>
                </a:cubicBezTo>
                <a:cubicBezTo>
                  <a:pt x="1698" y="1308"/>
                  <a:pt x="1697" y="1309"/>
                  <a:pt x="1694" y="1310"/>
                </a:cubicBezTo>
                <a:cubicBezTo>
                  <a:pt x="1693" y="1312"/>
                  <a:pt x="1691" y="1312"/>
                  <a:pt x="1689" y="1313"/>
                </a:cubicBezTo>
                <a:cubicBezTo>
                  <a:pt x="1687" y="1314"/>
                  <a:pt x="1686" y="1314"/>
                  <a:pt x="1684" y="1315"/>
                </a:cubicBezTo>
                <a:cubicBezTo>
                  <a:pt x="1682" y="1316"/>
                  <a:pt x="1681" y="1317"/>
                  <a:pt x="1678" y="1317"/>
                </a:cubicBezTo>
                <a:cubicBezTo>
                  <a:pt x="1678" y="1317"/>
                  <a:pt x="1678" y="1317"/>
                  <a:pt x="1678" y="1328"/>
                </a:cubicBezTo>
                <a:cubicBezTo>
                  <a:pt x="1681" y="1327"/>
                  <a:pt x="1684" y="1325"/>
                  <a:pt x="1686" y="1325"/>
                </a:cubicBezTo>
                <a:cubicBezTo>
                  <a:pt x="1689" y="1324"/>
                  <a:pt x="1691" y="1322"/>
                  <a:pt x="1694" y="1321"/>
                </a:cubicBezTo>
                <a:cubicBezTo>
                  <a:pt x="1694" y="1321"/>
                  <a:pt x="1694" y="1321"/>
                  <a:pt x="1694" y="1380"/>
                </a:cubicBezTo>
                <a:cubicBezTo>
                  <a:pt x="1694" y="1380"/>
                  <a:pt x="1694" y="1380"/>
                  <a:pt x="1705" y="1380"/>
                </a:cubicBezTo>
                <a:cubicBezTo>
                  <a:pt x="1705" y="1380"/>
                  <a:pt x="1705" y="1380"/>
                  <a:pt x="1705" y="1306"/>
                </a:cubicBezTo>
                <a:close/>
                <a:moveTo>
                  <a:pt x="1752" y="1306"/>
                </a:moveTo>
                <a:cubicBezTo>
                  <a:pt x="1752" y="1306"/>
                  <a:pt x="1752" y="1306"/>
                  <a:pt x="1752" y="1306"/>
                </a:cubicBezTo>
                <a:cubicBezTo>
                  <a:pt x="1747" y="1306"/>
                  <a:pt x="1747" y="1306"/>
                  <a:pt x="1747" y="1306"/>
                </a:cubicBezTo>
                <a:cubicBezTo>
                  <a:pt x="1745" y="1308"/>
                  <a:pt x="1744" y="1309"/>
                  <a:pt x="1742" y="1310"/>
                </a:cubicBezTo>
                <a:cubicBezTo>
                  <a:pt x="1740" y="1312"/>
                  <a:pt x="1738" y="1312"/>
                  <a:pt x="1737" y="1313"/>
                </a:cubicBezTo>
                <a:cubicBezTo>
                  <a:pt x="1735" y="1314"/>
                  <a:pt x="1733" y="1315"/>
                  <a:pt x="1732" y="1316"/>
                </a:cubicBezTo>
                <a:cubicBezTo>
                  <a:pt x="1730" y="1317"/>
                  <a:pt x="1728" y="1317"/>
                  <a:pt x="1726" y="1317"/>
                </a:cubicBezTo>
                <a:cubicBezTo>
                  <a:pt x="1726" y="1317"/>
                  <a:pt x="1726" y="1317"/>
                  <a:pt x="1726" y="1328"/>
                </a:cubicBezTo>
                <a:cubicBezTo>
                  <a:pt x="1729" y="1327"/>
                  <a:pt x="1732" y="1326"/>
                  <a:pt x="1734" y="1325"/>
                </a:cubicBezTo>
                <a:cubicBezTo>
                  <a:pt x="1737" y="1324"/>
                  <a:pt x="1739" y="1322"/>
                  <a:pt x="1741" y="1321"/>
                </a:cubicBezTo>
                <a:cubicBezTo>
                  <a:pt x="1741" y="1321"/>
                  <a:pt x="1741" y="1321"/>
                  <a:pt x="1741" y="1380"/>
                </a:cubicBezTo>
                <a:cubicBezTo>
                  <a:pt x="1741" y="1380"/>
                  <a:pt x="1741" y="1380"/>
                  <a:pt x="1752" y="1380"/>
                </a:cubicBezTo>
                <a:cubicBezTo>
                  <a:pt x="1752" y="1380"/>
                  <a:pt x="1752" y="1380"/>
                  <a:pt x="1752" y="1306"/>
                </a:cubicBezTo>
                <a:close/>
                <a:moveTo>
                  <a:pt x="1799" y="1306"/>
                </a:moveTo>
                <a:cubicBezTo>
                  <a:pt x="1799" y="1306"/>
                  <a:pt x="1799" y="1306"/>
                  <a:pt x="1799" y="1306"/>
                </a:cubicBezTo>
                <a:cubicBezTo>
                  <a:pt x="1795" y="1306"/>
                  <a:pt x="1795" y="1306"/>
                  <a:pt x="1795" y="1306"/>
                </a:cubicBezTo>
                <a:cubicBezTo>
                  <a:pt x="1792" y="1308"/>
                  <a:pt x="1791" y="1309"/>
                  <a:pt x="1789" y="1310"/>
                </a:cubicBezTo>
                <a:cubicBezTo>
                  <a:pt x="1787" y="1312"/>
                  <a:pt x="1785" y="1312"/>
                  <a:pt x="1784" y="1313"/>
                </a:cubicBezTo>
                <a:cubicBezTo>
                  <a:pt x="1782" y="1314"/>
                  <a:pt x="1780" y="1315"/>
                  <a:pt x="1778" y="1316"/>
                </a:cubicBezTo>
                <a:cubicBezTo>
                  <a:pt x="1777" y="1317"/>
                  <a:pt x="1774" y="1317"/>
                  <a:pt x="1773" y="1317"/>
                </a:cubicBezTo>
                <a:cubicBezTo>
                  <a:pt x="1773" y="1317"/>
                  <a:pt x="1773" y="1317"/>
                  <a:pt x="1773" y="1328"/>
                </a:cubicBezTo>
                <a:cubicBezTo>
                  <a:pt x="1776" y="1327"/>
                  <a:pt x="1779" y="1326"/>
                  <a:pt x="1781" y="1325"/>
                </a:cubicBezTo>
                <a:cubicBezTo>
                  <a:pt x="1783" y="1324"/>
                  <a:pt x="1786" y="1322"/>
                  <a:pt x="1787" y="1321"/>
                </a:cubicBezTo>
                <a:cubicBezTo>
                  <a:pt x="1787" y="1321"/>
                  <a:pt x="1787" y="1321"/>
                  <a:pt x="1787" y="1380"/>
                </a:cubicBezTo>
                <a:cubicBezTo>
                  <a:pt x="1787" y="1380"/>
                  <a:pt x="1787" y="1380"/>
                  <a:pt x="1799" y="1380"/>
                </a:cubicBezTo>
                <a:cubicBezTo>
                  <a:pt x="1799" y="1380"/>
                  <a:pt x="1799" y="1380"/>
                  <a:pt x="1799" y="1306"/>
                </a:cubicBezTo>
                <a:close/>
                <a:moveTo>
                  <a:pt x="1922" y="1306"/>
                </a:moveTo>
                <a:cubicBezTo>
                  <a:pt x="1922" y="1306"/>
                  <a:pt x="1922" y="1306"/>
                  <a:pt x="1922" y="1306"/>
                </a:cubicBezTo>
                <a:cubicBezTo>
                  <a:pt x="1917" y="1306"/>
                  <a:pt x="1917" y="1306"/>
                  <a:pt x="1917" y="1306"/>
                </a:cubicBezTo>
                <a:cubicBezTo>
                  <a:pt x="1915" y="1308"/>
                  <a:pt x="1914" y="1309"/>
                  <a:pt x="1911" y="1310"/>
                </a:cubicBezTo>
                <a:cubicBezTo>
                  <a:pt x="1910" y="1312"/>
                  <a:pt x="1908" y="1312"/>
                  <a:pt x="1906" y="1313"/>
                </a:cubicBezTo>
                <a:cubicBezTo>
                  <a:pt x="1905" y="1314"/>
                  <a:pt x="1903" y="1315"/>
                  <a:pt x="1901" y="1316"/>
                </a:cubicBezTo>
                <a:cubicBezTo>
                  <a:pt x="1899" y="1317"/>
                  <a:pt x="1898" y="1317"/>
                  <a:pt x="1895" y="1317"/>
                </a:cubicBezTo>
                <a:cubicBezTo>
                  <a:pt x="1895" y="1317"/>
                  <a:pt x="1895" y="1317"/>
                  <a:pt x="1895" y="1328"/>
                </a:cubicBezTo>
                <a:cubicBezTo>
                  <a:pt x="1898" y="1327"/>
                  <a:pt x="1901" y="1326"/>
                  <a:pt x="1904" y="1325"/>
                </a:cubicBezTo>
                <a:cubicBezTo>
                  <a:pt x="1906" y="1324"/>
                  <a:pt x="1908" y="1322"/>
                  <a:pt x="1911" y="1321"/>
                </a:cubicBezTo>
                <a:cubicBezTo>
                  <a:pt x="1911" y="1321"/>
                  <a:pt x="1911" y="1321"/>
                  <a:pt x="1911" y="1380"/>
                </a:cubicBezTo>
                <a:cubicBezTo>
                  <a:pt x="1911" y="1380"/>
                  <a:pt x="1911" y="1380"/>
                  <a:pt x="1922" y="1380"/>
                </a:cubicBezTo>
                <a:cubicBezTo>
                  <a:pt x="1922" y="1380"/>
                  <a:pt x="1922" y="1380"/>
                  <a:pt x="1922" y="1306"/>
                </a:cubicBezTo>
                <a:close/>
                <a:moveTo>
                  <a:pt x="1820" y="1339"/>
                </a:moveTo>
                <a:cubicBezTo>
                  <a:pt x="1820" y="1339"/>
                  <a:pt x="1820" y="1339"/>
                  <a:pt x="1820" y="1339"/>
                </a:cubicBezTo>
                <a:cubicBezTo>
                  <a:pt x="1820" y="1347"/>
                  <a:pt x="1820" y="1347"/>
                  <a:pt x="1820" y="1347"/>
                </a:cubicBezTo>
                <a:cubicBezTo>
                  <a:pt x="1826" y="1347"/>
                  <a:pt x="1827" y="1350"/>
                  <a:pt x="1827" y="1353"/>
                </a:cubicBezTo>
                <a:cubicBezTo>
                  <a:pt x="1827" y="1355"/>
                  <a:pt x="1826" y="1357"/>
                  <a:pt x="1826" y="1360"/>
                </a:cubicBezTo>
                <a:cubicBezTo>
                  <a:pt x="1826" y="1363"/>
                  <a:pt x="1826" y="1365"/>
                  <a:pt x="1826" y="1367"/>
                </a:cubicBezTo>
                <a:cubicBezTo>
                  <a:pt x="1826" y="1377"/>
                  <a:pt x="1832" y="1380"/>
                  <a:pt x="1840" y="1380"/>
                </a:cubicBezTo>
                <a:cubicBezTo>
                  <a:pt x="1840" y="1380"/>
                  <a:pt x="1840" y="1380"/>
                  <a:pt x="1844" y="1380"/>
                </a:cubicBezTo>
                <a:cubicBezTo>
                  <a:pt x="1844" y="1380"/>
                  <a:pt x="1844" y="1380"/>
                  <a:pt x="1844" y="1371"/>
                </a:cubicBezTo>
                <a:cubicBezTo>
                  <a:pt x="1844" y="1371"/>
                  <a:pt x="1844" y="1371"/>
                  <a:pt x="1843" y="1371"/>
                </a:cubicBezTo>
                <a:cubicBezTo>
                  <a:pt x="1839" y="1371"/>
                  <a:pt x="1838" y="1368"/>
                  <a:pt x="1838" y="1365"/>
                </a:cubicBezTo>
                <a:cubicBezTo>
                  <a:pt x="1838" y="1363"/>
                  <a:pt x="1838" y="1362"/>
                  <a:pt x="1838" y="1360"/>
                </a:cubicBezTo>
                <a:cubicBezTo>
                  <a:pt x="1838" y="1359"/>
                  <a:pt x="1838" y="1356"/>
                  <a:pt x="1838" y="1354"/>
                </a:cubicBezTo>
                <a:cubicBezTo>
                  <a:pt x="1838" y="1347"/>
                  <a:pt x="1835" y="1344"/>
                  <a:pt x="1830" y="1343"/>
                </a:cubicBezTo>
                <a:cubicBezTo>
                  <a:pt x="1830" y="1343"/>
                  <a:pt x="1830" y="1343"/>
                  <a:pt x="1830" y="1342"/>
                </a:cubicBezTo>
                <a:cubicBezTo>
                  <a:pt x="1835" y="1341"/>
                  <a:pt x="1838" y="1339"/>
                  <a:pt x="1838" y="1332"/>
                </a:cubicBezTo>
                <a:cubicBezTo>
                  <a:pt x="1838" y="1329"/>
                  <a:pt x="1838" y="1327"/>
                  <a:pt x="1838" y="1325"/>
                </a:cubicBezTo>
                <a:cubicBezTo>
                  <a:pt x="1838" y="1324"/>
                  <a:pt x="1838" y="1322"/>
                  <a:pt x="1838" y="1321"/>
                </a:cubicBezTo>
                <a:cubicBezTo>
                  <a:pt x="1838" y="1317"/>
                  <a:pt x="1839" y="1315"/>
                  <a:pt x="1843" y="1315"/>
                </a:cubicBezTo>
                <a:cubicBezTo>
                  <a:pt x="1843" y="1315"/>
                  <a:pt x="1843" y="1315"/>
                  <a:pt x="1844" y="1315"/>
                </a:cubicBezTo>
                <a:cubicBezTo>
                  <a:pt x="1844" y="1315"/>
                  <a:pt x="1844" y="1315"/>
                  <a:pt x="1844" y="1305"/>
                </a:cubicBezTo>
                <a:cubicBezTo>
                  <a:pt x="1844" y="1305"/>
                  <a:pt x="1844" y="1305"/>
                  <a:pt x="1840" y="1305"/>
                </a:cubicBezTo>
                <a:cubicBezTo>
                  <a:pt x="1831" y="1305"/>
                  <a:pt x="1826" y="1310"/>
                  <a:pt x="1826" y="1318"/>
                </a:cubicBezTo>
                <a:cubicBezTo>
                  <a:pt x="1826" y="1320"/>
                  <a:pt x="1826" y="1323"/>
                  <a:pt x="1826" y="1326"/>
                </a:cubicBezTo>
                <a:cubicBezTo>
                  <a:pt x="1826" y="1328"/>
                  <a:pt x="1827" y="1331"/>
                  <a:pt x="1827" y="1332"/>
                </a:cubicBezTo>
                <a:cubicBezTo>
                  <a:pt x="1827" y="1335"/>
                  <a:pt x="1826" y="1338"/>
                  <a:pt x="1820" y="1339"/>
                </a:cubicBezTo>
                <a:close/>
                <a:moveTo>
                  <a:pt x="1875" y="1347"/>
                </a:moveTo>
                <a:cubicBezTo>
                  <a:pt x="1875" y="1347"/>
                  <a:pt x="1875" y="1347"/>
                  <a:pt x="1875" y="1347"/>
                </a:cubicBezTo>
                <a:cubicBezTo>
                  <a:pt x="1875" y="1339"/>
                  <a:pt x="1875" y="1339"/>
                  <a:pt x="1875" y="1339"/>
                </a:cubicBezTo>
                <a:cubicBezTo>
                  <a:pt x="1868" y="1338"/>
                  <a:pt x="1868" y="1335"/>
                  <a:pt x="1868" y="1332"/>
                </a:cubicBezTo>
                <a:cubicBezTo>
                  <a:pt x="1868" y="1331"/>
                  <a:pt x="1868" y="1328"/>
                  <a:pt x="1868" y="1326"/>
                </a:cubicBezTo>
                <a:cubicBezTo>
                  <a:pt x="1869" y="1323"/>
                  <a:pt x="1869" y="1320"/>
                  <a:pt x="1869" y="1318"/>
                </a:cubicBezTo>
                <a:cubicBezTo>
                  <a:pt x="1869" y="1310"/>
                  <a:pt x="1864" y="1305"/>
                  <a:pt x="1854" y="1305"/>
                </a:cubicBezTo>
                <a:cubicBezTo>
                  <a:pt x="1854" y="1305"/>
                  <a:pt x="1854" y="1305"/>
                  <a:pt x="1851" y="1305"/>
                </a:cubicBezTo>
                <a:cubicBezTo>
                  <a:pt x="1851" y="1305"/>
                  <a:pt x="1851" y="1305"/>
                  <a:pt x="1851" y="1315"/>
                </a:cubicBezTo>
                <a:cubicBezTo>
                  <a:pt x="1851" y="1315"/>
                  <a:pt x="1851" y="1315"/>
                  <a:pt x="1852" y="1315"/>
                </a:cubicBezTo>
                <a:cubicBezTo>
                  <a:pt x="1856" y="1315"/>
                  <a:pt x="1857" y="1317"/>
                  <a:pt x="1857" y="1321"/>
                </a:cubicBezTo>
                <a:cubicBezTo>
                  <a:pt x="1857" y="1322"/>
                  <a:pt x="1857" y="1324"/>
                  <a:pt x="1857" y="1325"/>
                </a:cubicBezTo>
                <a:cubicBezTo>
                  <a:pt x="1857" y="1327"/>
                  <a:pt x="1857" y="1329"/>
                  <a:pt x="1857" y="1332"/>
                </a:cubicBezTo>
                <a:cubicBezTo>
                  <a:pt x="1857" y="1339"/>
                  <a:pt x="1859" y="1341"/>
                  <a:pt x="1865" y="1342"/>
                </a:cubicBezTo>
                <a:cubicBezTo>
                  <a:pt x="1865" y="1342"/>
                  <a:pt x="1865" y="1342"/>
                  <a:pt x="1865" y="1343"/>
                </a:cubicBezTo>
                <a:cubicBezTo>
                  <a:pt x="1859" y="1344"/>
                  <a:pt x="1857" y="1347"/>
                  <a:pt x="1857" y="1354"/>
                </a:cubicBezTo>
                <a:cubicBezTo>
                  <a:pt x="1857" y="1356"/>
                  <a:pt x="1857" y="1359"/>
                  <a:pt x="1857" y="1360"/>
                </a:cubicBezTo>
                <a:cubicBezTo>
                  <a:pt x="1857" y="1362"/>
                  <a:pt x="1857" y="1363"/>
                  <a:pt x="1857" y="1365"/>
                </a:cubicBezTo>
                <a:cubicBezTo>
                  <a:pt x="1857" y="1368"/>
                  <a:pt x="1856" y="1371"/>
                  <a:pt x="1852" y="1371"/>
                </a:cubicBezTo>
                <a:cubicBezTo>
                  <a:pt x="1852" y="1371"/>
                  <a:pt x="1852" y="1371"/>
                  <a:pt x="1851" y="1371"/>
                </a:cubicBezTo>
                <a:cubicBezTo>
                  <a:pt x="1851" y="1371"/>
                  <a:pt x="1851" y="1371"/>
                  <a:pt x="1851" y="1380"/>
                </a:cubicBezTo>
                <a:cubicBezTo>
                  <a:pt x="1851" y="1380"/>
                  <a:pt x="1851" y="1380"/>
                  <a:pt x="1854" y="1380"/>
                </a:cubicBezTo>
                <a:cubicBezTo>
                  <a:pt x="1863" y="1380"/>
                  <a:pt x="1869" y="1377"/>
                  <a:pt x="1869" y="1367"/>
                </a:cubicBezTo>
                <a:cubicBezTo>
                  <a:pt x="1869" y="1365"/>
                  <a:pt x="1869" y="1363"/>
                  <a:pt x="1868" y="1360"/>
                </a:cubicBezTo>
                <a:cubicBezTo>
                  <a:pt x="1868" y="1357"/>
                  <a:pt x="1868" y="1355"/>
                  <a:pt x="1868" y="1353"/>
                </a:cubicBezTo>
                <a:cubicBezTo>
                  <a:pt x="1868" y="1350"/>
                  <a:pt x="1868" y="1347"/>
                  <a:pt x="1875" y="1347"/>
                </a:cubicBezTo>
                <a:close/>
                <a:moveTo>
                  <a:pt x="1016" y="1258"/>
                </a:moveTo>
                <a:cubicBezTo>
                  <a:pt x="1016" y="1259"/>
                  <a:pt x="1017" y="1261"/>
                  <a:pt x="1017" y="1262"/>
                </a:cubicBezTo>
                <a:cubicBezTo>
                  <a:pt x="1018" y="1264"/>
                  <a:pt x="1018" y="1266"/>
                  <a:pt x="1019" y="1267"/>
                </a:cubicBezTo>
                <a:cubicBezTo>
                  <a:pt x="1019" y="1269"/>
                  <a:pt x="1019" y="1270"/>
                  <a:pt x="1019" y="1272"/>
                </a:cubicBezTo>
                <a:cubicBezTo>
                  <a:pt x="1020" y="1275"/>
                  <a:pt x="1019" y="1277"/>
                  <a:pt x="1015" y="1277"/>
                </a:cubicBezTo>
                <a:cubicBezTo>
                  <a:pt x="1013" y="1277"/>
                  <a:pt x="1010" y="1276"/>
                  <a:pt x="1007" y="1276"/>
                </a:cubicBezTo>
                <a:cubicBezTo>
                  <a:pt x="1007" y="1276"/>
                  <a:pt x="1006" y="1276"/>
                  <a:pt x="1006" y="1277"/>
                </a:cubicBezTo>
                <a:cubicBezTo>
                  <a:pt x="1004" y="1278"/>
                  <a:pt x="1002" y="1280"/>
                  <a:pt x="1001" y="1281"/>
                </a:cubicBezTo>
                <a:cubicBezTo>
                  <a:pt x="999" y="1283"/>
                  <a:pt x="996" y="1284"/>
                  <a:pt x="994" y="1282"/>
                </a:cubicBezTo>
                <a:cubicBezTo>
                  <a:pt x="992" y="1280"/>
                  <a:pt x="991" y="1277"/>
                  <a:pt x="989" y="1274"/>
                </a:cubicBezTo>
                <a:cubicBezTo>
                  <a:pt x="988" y="1273"/>
                  <a:pt x="989" y="1271"/>
                  <a:pt x="991" y="1270"/>
                </a:cubicBezTo>
                <a:cubicBezTo>
                  <a:pt x="988" y="1270"/>
                  <a:pt x="987" y="1270"/>
                  <a:pt x="985" y="1270"/>
                </a:cubicBezTo>
                <a:cubicBezTo>
                  <a:pt x="984" y="1272"/>
                  <a:pt x="983" y="1274"/>
                  <a:pt x="982" y="1276"/>
                </a:cubicBezTo>
                <a:cubicBezTo>
                  <a:pt x="982" y="1276"/>
                  <a:pt x="982" y="1277"/>
                  <a:pt x="982" y="1278"/>
                </a:cubicBezTo>
                <a:cubicBezTo>
                  <a:pt x="982" y="1281"/>
                  <a:pt x="981" y="1282"/>
                  <a:pt x="978" y="1282"/>
                </a:cubicBezTo>
                <a:cubicBezTo>
                  <a:pt x="974" y="1282"/>
                  <a:pt x="972" y="1281"/>
                  <a:pt x="969" y="1280"/>
                </a:cubicBezTo>
                <a:cubicBezTo>
                  <a:pt x="967" y="1279"/>
                  <a:pt x="966" y="1278"/>
                  <a:pt x="967" y="1276"/>
                </a:cubicBezTo>
                <a:cubicBezTo>
                  <a:pt x="967" y="1275"/>
                  <a:pt x="967" y="1274"/>
                  <a:pt x="967" y="1274"/>
                </a:cubicBezTo>
                <a:cubicBezTo>
                  <a:pt x="965" y="1273"/>
                  <a:pt x="963" y="1272"/>
                  <a:pt x="961" y="1270"/>
                </a:cubicBezTo>
                <a:cubicBezTo>
                  <a:pt x="959" y="1270"/>
                  <a:pt x="958" y="1268"/>
                  <a:pt x="958" y="1266"/>
                </a:cubicBezTo>
                <a:cubicBezTo>
                  <a:pt x="957" y="1264"/>
                  <a:pt x="957" y="1263"/>
                  <a:pt x="959" y="1261"/>
                </a:cubicBezTo>
                <a:cubicBezTo>
                  <a:pt x="962" y="1259"/>
                  <a:pt x="963" y="1256"/>
                  <a:pt x="962" y="1252"/>
                </a:cubicBezTo>
                <a:cubicBezTo>
                  <a:pt x="962" y="1250"/>
                  <a:pt x="962" y="1247"/>
                  <a:pt x="962" y="1246"/>
                </a:cubicBezTo>
                <a:cubicBezTo>
                  <a:pt x="961" y="1245"/>
                  <a:pt x="959" y="1245"/>
                  <a:pt x="958" y="1244"/>
                </a:cubicBezTo>
                <a:cubicBezTo>
                  <a:pt x="957" y="1242"/>
                  <a:pt x="956" y="1240"/>
                  <a:pt x="956" y="1238"/>
                </a:cubicBezTo>
                <a:cubicBezTo>
                  <a:pt x="956" y="1235"/>
                  <a:pt x="959" y="1232"/>
                  <a:pt x="962" y="1232"/>
                </a:cubicBezTo>
                <a:cubicBezTo>
                  <a:pt x="962" y="1232"/>
                  <a:pt x="962" y="1233"/>
                  <a:pt x="963" y="1234"/>
                </a:cubicBezTo>
                <a:cubicBezTo>
                  <a:pt x="963" y="1235"/>
                  <a:pt x="963" y="1236"/>
                  <a:pt x="963" y="1237"/>
                </a:cubicBezTo>
                <a:cubicBezTo>
                  <a:pt x="962" y="1237"/>
                  <a:pt x="962" y="1237"/>
                  <a:pt x="961" y="1237"/>
                </a:cubicBezTo>
                <a:cubicBezTo>
                  <a:pt x="961" y="1238"/>
                  <a:pt x="961" y="1239"/>
                  <a:pt x="960" y="1241"/>
                </a:cubicBezTo>
                <a:cubicBezTo>
                  <a:pt x="961" y="1241"/>
                  <a:pt x="962" y="1241"/>
                  <a:pt x="962" y="1240"/>
                </a:cubicBezTo>
                <a:cubicBezTo>
                  <a:pt x="963" y="1239"/>
                  <a:pt x="964" y="1238"/>
                  <a:pt x="965" y="1237"/>
                </a:cubicBezTo>
                <a:cubicBezTo>
                  <a:pt x="969" y="1230"/>
                  <a:pt x="975" y="1226"/>
                  <a:pt x="983" y="1225"/>
                </a:cubicBezTo>
                <a:cubicBezTo>
                  <a:pt x="986" y="1224"/>
                  <a:pt x="989" y="1223"/>
                  <a:pt x="992" y="1221"/>
                </a:cubicBezTo>
                <a:cubicBezTo>
                  <a:pt x="992" y="1220"/>
                  <a:pt x="993" y="1220"/>
                  <a:pt x="993" y="1220"/>
                </a:cubicBezTo>
                <a:cubicBezTo>
                  <a:pt x="996" y="1219"/>
                  <a:pt x="997" y="1217"/>
                  <a:pt x="999" y="1215"/>
                </a:cubicBezTo>
                <a:cubicBezTo>
                  <a:pt x="1007" y="1207"/>
                  <a:pt x="1019" y="1207"/>
                  <a:pt x="1026" y="1214"/>
                </a:cubicBezTo>
                <a:cubicBezTo>
                  <a:pt x="1029" y="1216"/>
                  <a:pt x="1032" y="1218"/>
                  <a:pt x="1034" y="1220"/>
                </a:cubicBezTo>
                <a:cubicBezTo>
                  <a:pt x="1036" y="1221"/>
                  <a:pt x="1037" y="1223"/>
                  <a:pt x="1038" y="1224"/>
                </a:cubicBezTo>
                <a:cubicBezTo>
                  <a:pt x="1039" y="1226"/>
                  <a:pt x="1039" y="1226"/>
                  <a:pt x="1041" y="1225"/>
                </a:cubicBezTo>
                <a:cubicBezTo>
                  <a:pt x="1041" y="1224"/>
                  <a:pt x="1042" y="1224"/>
                  <a:pt x="1043" y="1223"/>
                </a:cubicBezTo>
                <a:cubicBezTo>
                  <a:pt x="1045" y="1220"/>
                  <a:pt x="1048" y="1220"/>
                  <a:pt x="1049" y="1223"/>
                </a:cubicBezTo>
                <a:cubicBezTo>
                  <a:pt x="1051" y="1226"/>
                  <a:pt x="1051" y="1229"/>
                  <a:pt x="1052" y="1232"/>
                </a:cubicBezTo>
                <a:cubicBezTo>
                  <a:pt x="1052" y="1237"/>
                  <a:pt x="1052" y="1241"/>
                  <a:pt x="1051" y="1245"/>
                </a:cubicBezTo>
                <a:cubicBezTo>
                  <a:pt x="1048" y="1252"/>
                  <a:pt x="1043" y="1255"/>
                  <a:pt x="1037" y="1255"/>
                </a:cubicBezTo>
                <a:cubicBezTo>
                  <a:pt x="1036" y="1255"/>
                  <a:pt x="1036" y="1255"/>
                  <a:pt x="1035" y="1255"/>
                </a:cubicBezTo>
                <a:cubicBezTo>
                  <a:pt x="1032" y="1255"/>
                  <a:pt x="1031" y="1255"/>
                  <a:pt x="1030" y="1258"/>
                </a:cubicBezTo>
                <a:cubicBezTo>
                  <a:pt x="1029" y="1262"/>
                  <a:pt x="1023" y="1264"/>
                  <a:pt x="1020" y="1261"/>
                </a:cubicBezTo>
                <a:cubicBezTo>
                  <a:pt x="1019" y="1259"/>
                  <a:pt x="1018" y="1259"/>
                  <a:pt x="1017" y="1257"/>
                </a:cubicBezTo>
                <a:cubicBezTo>
                  <a:pt x="1016" y="1258"/>
                  <a:pt x="1016" y="1258"/>
                  <a:pt x="1016" y="1258"/>
                </a:cubicBezTo>
                <a:close/>
                <a:moveTo>
                  <a:pt x="1010" y="1253"/>
                </a:moveTo>
                <a:cubicBezTo>
                  <a:pt x="1014" y="1255"/>
                  <a:pt x="1017" y="1256"/>
                  <a:pt x="1020" y="1259"/>
                </a:cubicBezTo>
                <a:cubicBezTo>
                  <a:pt x="1022" y="1261"/>
                  <a:pt x="1024" y="1261"/>
                  <a:pt x="1026" y="1261"/>
                </a:cubicBezTo>
                <a:cubicBezTo>
                  <a:pt x="1028" y="1260"/>
                  <a:pt x="1030" y="1258"/>
                  <a:pt x="1030" y="1255"/>
                </a:cubicBezTo>
                <a:cubicBezTo>
                  <a:pt x="1030" y="1255"/>
                  <a:pt x="1029" y="1255"/>
                  <a:pt x="1029" y="1255"/>
                </a:cubicBezTo>
                <a:cubicBezTo>
                  <a:pt x="1028" y="1257"/>
                  <a:pt x="1027" y="1258"/>
                  <a:pt x="1026" y="1259"/>
                </a:cubicBezTo>
                <a:cubicBezTo>
                  <a:pt x="1025" y="1260"/>
                  <a:pt x="1024" y="1260"/>
                  <a:pt x="1023" y="1259"/>
                </a:cubicBezTo>
                <a:cubicBezTo>
                  <a:pt x="1023" y="1259"/>
                  <a:pt x="1022" y="1258"/>
                  <a:pt x="1022" y="1257"/>
                </a:cubicBezTo>
                <a:cubicBezTo>
                  <a:pt x="1022" y="1255"/>
                  <a:pt x="1023" y="1253"/>
                  <a:pt x="1023" y="1251"/>
                </a:cubicBezTo>
                <a:cubicBezTo>
                  <a:pt x="1026" y="1252"/>
                  <a:pt x="1029" y="1253"/>
                  <a:pt x="1033" y="1253"/>
                </a:cubicBezTo>
                <a:cubicBezTo>
                  <a:pt x="1040" y="1255"/>
                  <a:pt x="1046" y="1253"/>
                  <a:pt x="1049" y="1244"/>
                </a:cubicBezTo>
                <a:cubicBezTo>
                  <a:pt x="1051" y="1240"/>
                  <a:pt x="1051" y="1235"/>
                  <a:pt x="1050" y="1230"/>
                </a:cubicBezTo>
                <a:cubicBezTo>
                  <a:pt x="1049" y="1228"/>
                  <a:pt x="1049" y="1226"/>
                  <a:pt x="1048" y="1224"/>
                </a:cubicBezTo>
                <a:cubicBezTo>
                  <a:pt x="1047" y="1223"/>
                  <a:pt x="1046" y="1222"/>
                  <a:pt x="1045" y="1224"/>
                </a:cubicBezTo>
                <a:cubicBezTo>
                  <a:pt x="1043" y="1225"/>
                  <a:pt x="1041" y="1227"/>
                  <a:pt x="1039" y="1228"/>
                </a:cubicBezTo>
                <a:cubicBezTo>
                  <a:pt x="1039" y="1228"/>
                  <a:pt x="1038" y="1229"/>
                  <a:pt x="1038" y="1230"/>
                </a:cubicBezTo>
                <a:cubicBezTo>
                  <a:pt x="1039" y="1233"/>
                  <a:pt x="1038" y="1236"/>
                  <a:pt x="1037" y="1240"/>
                </a:cubicBezTo>
                <a:cubicBezTo>
                  <a:pt x="1037" y="1238"/>
                  <a:pt x="1038" y="1236"/>
                  <a:pt x="1038" y="1234"/>
                </a:cubicBezTo>
                <a:cubicBezTo>
                  <a:pt x="1038" y="1233"/>
                  <a:pt x="1037" y="1233"/>
                  <a:pt x="1037" y="1232"/>
                </a:cubicBezTo>
                <a:cubicBezTo>
                  <a:pt x="1036" y="1233"/>
                  <a:pt x="1036" y="1233"/>
                  <a:pt x="1036" y="1233"/>
                </a:cubicBezTo>
                <a:cubicBezTo>
                  <a:pt x="1035" y="1234"/>
                  <a:pt x="1034" y="1236"/>
                  <a:pt x="1033" y="1237"/>
                </a:cubicBezTo>
                <a:cubicBezTo>
                  <a:pt x="1033" y="1237"/>
                  <a:pt x="1033" y="1237"/>
                  <a:pt x="1033" y="1237"/>
                </a:cubicBezTo>
                <a:cubicBezTo>
                  <a:pt x="1033" y="1236"/>
                  <a:pt x="1034" y="1234"/>
                  <a:pt x="1034" y="1232"/>
                </a:cubicBezTo>
                <a:cubicBezTo>
                  <a:pt x="1033" y="1232"/>
                  <a:pt x="1032" y="1233"/>
                  <a:pt x="1032" y="1234"/>
                </a:cubicBezTo>
                <a:cubicBezTo>
                  <a:pt x="1031" y="1234"/>
                  <a:pt x="1031" y="1235"/>
                  <a:pt x="1030" y="1236"/>
                </a:cubicBezTo>
                <a:cubicBezTo>
                  <a:pt x="1031" y="1232"/>
                  <a:pt x="1031" y="1232"/>
                  <a:pt x="1037" y="1231"/>
                </a:cubicBezTo>
                <a:cubicBezTo>
                  <a:pt x="1037" y="1230"/>
                  <a:pt x="1036" y="1230"/>
                  <a:pt x="1036" y="1230"/>
                </a:cubicBezTo>
                <a:cubicBezTo>
                  <a:pt x="1033" y="1230"/>
                  <a:pt x="1032" y="1229"/>
                  <a:pt x="1032" y="1226"/>
                </a:cubicBezTo>
                <a:cubicBezTo>
                  <a:pt x="1034" y="1226"/>
                  <a:pt x="1035" y="1226"/>
                  <a:pt x="1037" y="1225"/>
                </a:cubicBezTo>
                <a:cubicBezTo>
                  <a:pt x="1035" y="1223"/>
                  <a:pt x="1034" y="1220"/>
                  <a:pt x="1030" y="1220"/>
                </a:cubicBezTo>
                <a:cubicBezTo>
                  <a:pt x="1030" y="1220"/>
                  <a:pt x="1030" y="1219"/>
                  <a:pt x="1030" y="1219"/>
                </a:cubicBezTo>
                <a:cubicBezTo>
                  <a:pt x="1027" y="1217"/>
                  <a:pt x="1025" y="1215"/>
                  <a:pt x="1022" y="1213"/>
                </a:cubicBezTo>
                <a:cubicBezTo>
                  <a:pt x="1020" y="1211"/>
                  <a:pt x="1017" y="1211"/>
                  <a:pt x="1015" y="1211"/>
                </a:cubicBezTo>
                <a:cubicBezTo>
                  <a:pt x="1012" y="1211"/>
                  <a:pt x="1008" y="1212"/>
                  <a:pt x="1005" y="1213"/>
                </a:cubicBezTo>
                <a:cubicBezTo>
                  <a:pt x="1002" y="1214"/>
                  <a:pt x="1000" y="1216"/>
                  <a:pt x="998" y="1219"/>
                </a:cubicBezTo>
                <a:cubicBezTo>
                  <a:pt x="1000" y="1219"/>
                  <a:pt x="1001" y="1219"/>
                  <a:pt x="1002" y="1219"/>
                </a:cubicBezTo>
                <a:cubicBezTo>
                  <a:pt x="1002" y="1219"/>
                  <a:pt x="1001" y="1220"/>
                  <a:pt x="1000" y="1220"/>
                </a:cubicBezTo>
                <a:cubicBezTo>
                  <a:pt x="998" y="1221"/>
                  <a:pt x="995" y="1220"/>
                  <a:pt x="993" y="1222"/>
                </a:cubicBezTo>
                <a:cubicBezTo>
                  <a:pt x="989" y="1226"/>
                  <a:pt x="985" y="1230"/>
                  <a:pt x="982" y="1234"/>
                </a:cubicBezTo>
                <a:cubicBezTo>
                  <a:pt x="980" y="1236"/>
                  <a:pt x="980" y="1238"/>
                  <a:pt x="978" y="1241"/>
                </a:cubicBezTo>
                <a:cubicBezTo>
                  <a:pt x="978" y="1241"/>
                  <a:pt x="978" y="1242"/>
                  <a:pt x="979" y="1242"/>
                </a:cubicBezTo>
                <a:cubicBezTo>
                  <a:pt x="980" y="1244"/>
                  <a:pt x="981" y="1246"/>
                  <a:pt x="983" y="1248"/>
                </a:cubicBezTo>
                <a:cubicBezTo>
                  <a:pt x="984" y="1247"/>
                  <a:pt x="985" y="1245"/>
                  <a:pt x="986" y="1244"/>
                </a:cubicBezTo>
                <a:cubicBezTo>
                  <a:pt x="986" y="1245"/>
                  <a:pt x="985" y="1246"/>
                  <a:pt x="985" y="1248"/>
                </a:cubicBezTo>
                <a:cubicBezTo>
                  <a:pt x="984" y="1249"/>
                  <a:pt x="983" y="1250"/>
                  <a:pt x="983" y="1252"/>
                </a:cubicBezTo>
                <a:cubicBezTo>
                  <a:pt x="982" y="1253"/>
                  <a:pt x="983" y="1254"/>
                  <a:pt x="983" y="1255"/>
                </a:cubicBezTo>
                <a:cubicBezTo>
                  <a:pt x="985" y="1258"/>
                  <a:pt x="989" y="1258"/>
                  <a:pt x="993" y="1256"/>
                </a:cubicBezTo>
                <a:cubicBezTo>
                  <a:pt x="995" y="1255"/>
                  <a:pt x="998" y="1253"/>
                  <a:pt x="1000" y="1253"/>
                </a:cubicBezTo>
                <a:cubicBezTo>
                  <a:pt x="1002" y="1252"/>
                  <a:pt x="1003" y="1251"/>
                  <a:pt x="1003" y="1250"/>
                </a:cubicBezTo>
                <a:cubicBezTo>
                  <a:pt x="1003" y="1247"/>
                  <a:pt x="1003" y="1243"/>
                  <a:pt x="1003" y="1240"/>
                </a:cubicBezTo>
                <a:cubicBezTo>
                  <a:pt x="1003" y="1237"/>
                  <a:pt x="1003" y="1234"/>
                  <a:pt x="1003" y="1231"/>
                </a:cubicBezTo>
                <a:cubicBezTo>
                  <a:pt x="1004" y="1234"/>
                  <a:pt x="1004" y="1236"/>
                  <a:pt x="1005" y="1239"/>
                </a:cubicBezTo>
                <a:cubicBezTo>
                  <a:pt x="1006" y="1244"/>
                  <a:pt x="1006" y="1248"/>
                  <a:pt x="1004" y="1252"/>
                </a:cubicBezTo>
                <a:cubicBezTo>
                  <a:pt x="1004" y="1253"/>
                  <a:pt x="1003" y="1254"/>
                  <a:pt x="1003" y="1254"/>
                </a:cubicBezTo>
                <a:cubicBezTo>
                  <a:pt x="999" y="1254"/>
                  <a:pt x="996" y="1256"/>
                  <a:pt x="993" y="1258"/>
                </a:cubicBezTo>
                <a:cubicBezTo>
                  <a:pt x="988" y="1261"/>
                  <a:pt x="984" y="1259"/>
                  <a:pt x="981" y="1255"/>
                </a:cubicBezTo>
                <a:cubicBezTo>
                  <a:pt x="980" y="1255"/>
                  <a:pt x="980" y="1253"/>
                  <a:pt x="981" y="1253"/>
                </a:cubicBezTo>
                <a:cubicBezTo>
                  <a:pt x="982" y="1251"/>
                  <a:pt x="981" y="1249"/>
                  <a:pt x="979" y="1247"/>
                </a:cubicBezTo>
                <a:cubicBezTo>
                  <a:pt x="978" y="1245"/>
                  <a:pt x="976" y="1242"/>
                  <a:pt x="977" y="1240"/>
                </a:cubicBezTo>
                <a:cubicBezTo>
                  <a:pt x="978" y="1238"/>
                  <a:pt x="979" y="1236"/>
                  <a:pt x="980" y="1234"/>
                </a:cubicBezTo>
                <a:cubicBezTo>
                  <a:pt x="982" y="1232"/>
                  <a:pt x="984" y="1229"/>
                  <a:pt x="986" y="1226"/>
                </a:cubicBezTo>
                <a:cubicBezTo>
                  <a:pt x="985" y="1226"/>
                  <a:pt x="985" y="1226"/>
                  <a:pt x="985" y="1226"/>
                </a:cubicBezTo>
                <a:cubicBezTo>
                  <a:pt x="980" y="1228"/>
                  <a:pt x="975" y="1229"/>
                  <a:pt x="971" y="1232"/>
                </a:cubicBezTo>
                <a:cubicBezTo>
                  <a:pt x="967" y="1237"/>
                  <a:pt x="964" y="1242"/>
                  <a:pt x="963" y="1249"/>
                </a:cubicBezTo>
                <a:cubicBezTo>
                  <a:pt x="963" y="1255"/>
                  <a:pt x="965" y="1261"/>
                  <a:pt x="969" y="1267"/>
                </a:cubicBezTo>
                <a:cubicBezTo>
                  <a:pt x="969" y="1268"/>
                  <a:pt x="970" y="1270"/>
                  <a:pt x="970" y="1271"/>
                </a:cubicBezTo>
                <a:cubicBezTo>
                  <a:pt x="970" y="1272"/>
                  <a:pt x="969" y="1274"/>
                  <a:pt x="969" y="1275"/>
                </a:cubicBezTo>
                <a:cubicBezTo>
                  <a:pt x="968" y="1277"/>
                  <a:pt x="969" y="1278"/>
                  <a:pt x="970" y="1278"/>
                </a:cubicBezTo>
                <a:cubicBezTo>
                  <a:pt x="973" y="1279"/>
                  <a:pt x="976" y="1280"/>
                  <a:pt x="978" y="1280"/>
                </a:cubicBezTo>
                <a:cubicBezTo>
                  <a:pt x="979" y="1280"/>
                  <a:pt x="980" y="1279"/>
                  <a:pt x="980" y="1279"/>
                </a:cubicBezTo>
                <a:cubicBezTo>
                  <a:pt x="980" y="1278"/>
                  <a:pt x="980" y="1276"/>
                  <a:pt x="981" y="1275"/>
                </a:cubicBezTo>
                <a:cubicBezTo>
                  <a:pt x="983" y="1273"/>
                  <a:pt x="983" y="1270"/>
                  <a:pt x="983" y="1267"/>
                </a:cubicBezTo>
                <a:cubicBezTo>
                  <a:pt x="983" y="1267"/>
                  <a:pt x="983" y="1266"/>
                  <a:pt x="983" y="1266"/>
                </a:cubicBezTo>
                <a:cubicBezTo>
                  <a:pt x="983" y="1266"/>
                  <a:pt x="983" y="1266"/>
                  <a:pt x="983" y="1265"/>
                </a:cubicBezTo>
                <a:cubicBezTo>
                  <a:pt x="984" y="1268"/>
                  <a:pt x="985" y="1268"/>
                  <a:pt x="987" y="1268"/>
                </a:cubicBezTo>
                <a:cubicBezTo>
                  <a:pt x="988" y="1268"/>
                  <a:pt x="989" y="1268"/>
                  <a:pt x="990" y="1268"/>
                </a:cubicBezTo>
                <a:cubicBezTo>
                  <a:pt x="992" y="1268"/>
                  <a:pt x="995" y="1269"/>
                  <a:pt x="996" y="1264"/>
                </a:cubicBezTo>
                <a:cubicBezTo>
                  <a:pt x="996" y="1267"/>
                  <a:pt x="996" y="1268"/>
                  <a:pt x="996" y="1269"/>
                </a:cubicBezTo>
                <a:cubicBezTo>
                  <a:pt x="995" y="1270"/>
                  <a:pt x="993" y="1271"/>
                  <a:pt x="992" y="1271"/>
                </a:cubicBezTo>
                <a:cubicBezTo>
                  <a:pt x="991" y="1272"/>
                  <a:pt x="990" y="1274"/>
                  <a:pt x="991" y="1274"/>
                </a:cubicBezTo>
                <a:cubicBezTo>
                  <a:pt x="992" y="1277"/>
                  <a:pt x="993" y="1279"/>
                  <a:pt x="995" y="1281"/>
                </a:cubicBezTo>
                <a:cubicBezTo>
                  <a:pt x="997" y="1282"/>
                  <a:pt x="998" y="1282"/>
                  <a:pt x="1000" y="1280"/>
                </a:cubicBezTo>
                <a:cubicBezTo>
                  <a:pt x="1000" y="1279"/>
                  <a:pt x="1001" y="1278"/>
                  <a:pt x="1002" y="1278"/>
                </a:cubicBezTo>
                <a:cubicBezTo>
                  <a:pt x="1004" y="1276"/>
                  <a:pt x="1005" y="1275"/>
                  <a:pt x="1007" y="1274"/>
                </a:cubicBezTo>
                <a:cubicBezTo>
                  <a:pt x="1011" y="1270"/>
                  <a:pt x="1013" y="1264"/>
                  <a:pt x="1015" y="1258"/>
                </a:cubicBezTo>
                <a:cubicBezTo>
                  <a:pt x="1015" y="1257"/>
                  <a:pt x="1014" y="1257"/>
                  <a:pt x="1013" y="1256"/>
                </a:cubicBezTo>
                <a:cubicBezTo>
                  <a:pt x="1013" y="1255"/>
                  <a:pt x="1012" y="1254"/>
                  <a:pt x="1010" y="1253"/>
                </a:cubicBezTo>
                <a:close/>
                <a:moveTo>
                  <a:pt x="963" y="1260"/>
                </a:moveTo>
                <a:cubicBezTo>
                  <a:pt x="962" y="1261"/>
                  <a:pt x="961" y="1261"/>
                  <a:pt x="959" y="1263"/>
                </a:cubicBezTo>
                <a:cubicBezTo>
                  <a:pt x="959" y="1263"/>
                  <a:pt x="959" y="1264"/>
                  <a:pt x="959" y="1264"/>
                </a:cubicBezTo>
                <a:cubicBezTo>
                  <a:pt x="959" y="1267"/>
                  <a:pt x="963" y="1272"/>
                  <a:pt x="966" y="1271"/>
                </a:cubicBezTo>
                <a:cubicBezTo>
                  <a:pt x="968" y="1271"/>
                  <a:pt x="969" y="1270"/>
                  <a:pt x="968" y="1268"/>
                </a:cubicBezTo>
                <a:cubicBezTo>
                  <a:pt x="966" y="1265"/>
                  <a:pt x="965" y="1263"/>
                  <a:pt x="963" y="1260"/>
                </a:cubicBezTo>
                <a:close/>
                <a:moveTo>
                  <a:pt x="1016" y="1262"/>
                </a:moveTo>
                <a:cubicBezTo>
                  <a:pt x="1013" y="1266"/>
                  <a:pt x="1011" y="1271"/>
                  <a:pt x="1009" y="1275"/>
                </a:cubicBezTo>
                <a:cubicBezTo>
                  <a:pt x="1012" y="1275"/>
                  <a:pt x="1014" y="1276"/>
                  <a:pt x="1017" y="1275"/>
                </a:cubicBezTo>
                <a:cubicBezTo>
                  <a:pt x="1017" y="1275"/>
                  <a:pt x="1017" y="1274"/>
                  <a:pt x="1017" y="1274"/>
                </a:cubicBezTo>
                <a:cubicBezTo>
                  <a:pt x="1017" y="1271"/>
                  <a:pt x="1017" y="1268"/>
                  <a:pt x="1017" y="1266"/>
                </a:cubicBezTo>
                <a:cubicBezTo>
                  <a:pt x="1017" y="1264"/>
                  <a:pt x="1016" y="1263"/>
                  <a:pt x="1016" y="1262"/>
                </a:cubicBezTo>
                <a:close/>
                <a:moveTo>
                  <a:pt x="963" y="1242"/>
                </a:moveTo>
                <a:cubicBezTo>
                  <a:pt x="962" y="1242"/>
                  <a:pt x="961" y="1242"/>
                  <a:pt x="961" y="1242"/>
                </a:cubicBezTo>
                <a:cubicBezTo>
                  <a:pt x="960" y="1242"/>
                  <a:pt x="959" y="1242"/>
                  <a:pt x="959" y="1242"/>
                </a:cubicBezTo>
                <a:cubicBezTo>
                  <a:pt x="959" y="1242"/>
                  <a:pt x="959" y="1241"/>
                  <a:pt x="959" y="1240"/>
                </a:cubicBezTo>
                <a:cubicBezTo>
                  <a:pt x="959" y="1238"/>
                  <a:pt x="960" y="1236"/>
                  <a:pt x="961" y="1234"/>
                </a:cubicBezTo>
                <a:cubicBezTo>
                  <a:pt x="960" y="1234"/>
                  <a:pt x="960" y="1234"/>
                  <a:pt x="960" y="1234"/>
                </a:cubicBezTo>
                <a:cubicBezTo>
                  <a:pt x="959" y="1235"/>
                  <a:pt x="958" y="1236"/>
                  <a:pt x="957" y="1237"/>
                </a:cubicBezTo>
                <a:cubicBezTo>
                  <a:pt x="956" y="1238"/>
                  <a:pt x="958" y="1243"/>
                  <a:pt x="959" y="1244"/>
                </a:cubicBezTo>
                <a:cubicBezTo>
                  <a:pt x="961" y="1245"/>
                  <a:pt x="963" y="1244"/>
                  <a:pt x="963" y="1242"/>
                </a:cubicBezTo>
                <a:close/>
                <a:moveTo>
                  <a:pt x="963" y="1259"/>
                </a:moveTo>
                <a:cubicBezTo>
                  <a:pt x="962" y="1260"/>
                  <a:pt x="961" y="1261"/>
                  <a:pt x="960" y="1262"/>
                </a:cubicBezTo>
                <a:cubicBezTo>
                  <a:pt x="959" y="1263"/>
                  <a:pt x="959" y="1263"/>
                  <a:pt x="959" y="1264"/>
                </a:cubicBezTo>
                <a:cubicBezTo>
                  <a:pt x="959" y="1267"/>
                  <a:pt x="963" y="1271"/>
                  <a:pt x="966" y="1271"/>
                </a:cubicBezTo>
                <a:cubicBezTo>
                  <a:pt x="968" y="1271"/>
                  <a:pt x="968" y="1270"/>
                  <a:pt x="968" y="1268"/>
                </a:cubicBezTo>
                <a:cubicBezTo>
                  <a:pt x="966" y="1265"/>
                  <a:pt x="965" y="1262"/>
                  <a:pt x="963" y="1259"/>
                </a:cubicBezTo>
                <a:close/>
                <a:moveTo>
                  <a:pt x="1016" y="1261"/>
                </a:moveTo>
                <a:cubicBezTo>
                  <a:pt x="1014" y="1266"/>
                  <a:pt x="1011" y="1270"/>
                  <a:pt x="1009" y="1275"/>
                </a:cubicBezTo>
                <a:cubicBezTo>
                  <a:pt x="1012" y="1275"/>
                  <a:pt x="1014" y="1275"/>
                  <a:pt x="1017" y="1275"/>
                </a:cubicBezTo>
                <a:cubicBezTo>
                  <a:pt x="1017" y="1275"/>
                  <a:pt x="1017" y="1274"/>
                  <a:pt x="1017" y="1273"/>
                </a:cubicBezTo>
                <a:cubicBezTo>
                  <a:pt x="1017" y="1270"/>
                  <a:pt x="1017" y="1268"/>
                  <a:pt x="1017" y="1266"/>
                </a:cubicBezTo>
                <a:cubicBezTo>
                  <a:pt x="1017" y="1264"/>
                  <a:pt x="1016" y="1263"/>
                  <a:pt x="1016" y="1261"/>
                </a:cubicBezTo>
                <a:close/>
                <a:moveTo>
                  <a:pt x="963" y="1241"/>
                </a:moveTo>
                <a:cubicBezTo>
                  <a:pt x="962" y="1242"/>
                  <a:pt x="962" y="1242"/>
                  <a:pt x="961" y="1242"/>
                </a:cubicBezTo>
                <a:cubicBezTo>
                  <a:pt x="960" y="1242"/>
                  <a:pt x="960" y="1242"/>
                  <a:pt x="960" y="1242"/>
                </a:cubicBezTo>
                <a:cubicBezTo>
                  <a:pt x="959" y="1241"/>
                  <a:pt x="959" y="1241"/>
                  <a:pt x="959" y="1240"/>
                </a:cubicBezTo>
                <a:cubicBezTo>
                  <a:pt x="960" y="1238"/>
                  <a:pt x="960" y="1236"/>
                  <a:pt x="961" y="1234"/>
                </a:cubicBezTo>
                <a:cubicBezTo>
                  <a:pt x="960" y="1234"/>
                  <a:pt x="960" y="1234"/>
                  <a:pt x="960" y="1234"/>
                </a:cubicBezTo>
                <a:cubicBezTo>
                  <a:pt x="959" y="1235"/>
                  <a:pt x="958" y="1236"/>
                  <a:pt x="957" y="1237"/>
                </a:cubicBezTo>
                <a:cubicBezTo>
                  <a:pt x="956" y="1238"/>
                  <a:pt x="958" y="1243"/>
                  <a:pt x="960" y="1244"/>
                </a:cubicBezTo>
                <a:cubicBezTo>
                  <a:pt x="961" y="1245"/>
                  <a:pt x="963" y="1243"/>
                  <a:pt x="963" y="1241"/>
                </a:cubicBezTo>
                <a:close/>
                <a:moveTo>
                  <a:pt x="1016" y="1233"/>
                </a:moveTo>
                <a:cubicBezTo>
                  <a:pt x="1019" y="1229"/>
                  <a:pt x="1019" y="1229"/>
                  <a:pt x="1022" y="1228"/>
                </a:cubicBezTo>
                <a:cubicBezTo>
                  <a:pt x="1022" y="1230"/>
                  <a:pt x="1024" y="1231"/>
                  <a:pt x="1025" y="1231"/>
                </a:cubicBezTo>
                <a:cubicBezTo>
                  <a:pt x="1023" y="1233"/>
                  <a:pt x="1021" y="1234"/>
                  <a:pt x="1019" y="1235"/>
                </a:cubicBezTo>
                <a:cubicBezTo>
                  <a:pt x="1018" y="1235"/>
                  <a:pt x="1018" y="1234"/>
                  <a:pt x="1017" y="1233"/>
                </a:cubicBezTo>
                <a:cubicBezTo>
                  <a:pt x="1017" y="1233"/>
                  <a:pt x="1016" y="1233"/>
                  <a:pt x="1016" y="1233"/>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003" y="1223"/>
                </a:moveTo>
                <a:cubicBezTo>
                  <a:pt x="996" y="1222"/>
                  <a:pt x="993" y="1225"/>
                  <a:pt x="992" y="1233"/>
                </a:cubicBezTo>
                <a:cubicBezTo>
                  <a:pt x="993" y="1231"/>
                  <a:pt x="994" y="1228"/>
                  <a:pt x="996" y="1226"/>
                </a:cubicBezTo>
                <a:cubicBezTo>
                  <a:pt x="996" y="1226"/>
                  <a:pt x="996" y="1226"/>
                  <a:pt x="996" y="1226"/>
                </a:cubicBezTo>
                <a:cubicBezTo>
                  <a:pt x="996" y="1227"/>
                  <a:pt x="996" y="1228"/>
                  <a:pt x="996" y="1229"/>
                </a:cubicBezTo>
                <a:cubicBezTo>
                  <a:pt x="997" y="1226"/>
                  <a:pt x="999" y="1224"/>
                  <a:pt x="1003" y="1223"/>
                </a:cubicBezTo>
                <a:close/>
                <a:moveTo>
                  <a:pt x="1046" y="1225"/>
                </a:moveTo>
                <a:cubicBezTo>
                  <a:pt x="1044" y="1226"/>
                  <a:pt x="1042" y="1228"/>
                  <a:pt x="1040" y="1229"/>
                </a:cubicBezTo>
                <a:cubicBezTo>
                  <a:pt x="1043" y="1229"/>
                  <a:pt x="1045" y="1228"/>
                  <a:pt x="1046" y="1225"/>
                </a:cubicBezTo>
                <a:close/>
                <a:moveTo>
                  <a:pt x="1013" y="1227"/>
                </a:moveTo>
                <a:cubicBezTo>
                  <a:pt x="1014" y="1226"/>
                  <a:pt x="1015" y="1224"/>
                  <a:pt x="1016" y="1223"/>
                </a:cubicBezTo>
                <a:cubicBezTo>
                  <a:pt x="1013" y="1224"/>
                  <a:pt x="1012" y="1225"/>
                  <a:pt x="1013" y="1227"/>
                </a:cubicBezTo>
                <a:close/>
                <a:moveTo>
                  <a:pt x="1023" y="1248"/>
                </a:moveTo>
                <a:cubicBezTo>
                  <a:pt x="1021" y="1248"/>
                  <a:pt x="1020" y="1249"/>
                  <a:pt x="1020" y="1250"/>
                </a:cubicBezTo>
                <a:cubicBezTo>
                  <a:pt x="1020" y="1249"/>
                  <a:pt x="1022" y="1249"/>
                  <a:pt x="1023" y="1248"/>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546" y="1354"/>
                </a:moveTo>
                <a:cubicBezTo>
                  <a:pt x="1546" y="1355"/>
                  <a:pt x="1547" y="1357"/>
                  <a:pt x="1547" y="1358"/>
                </a:cubicBezTo>
                <a:cubicBezTo>
                  <a:pt x="1548" y="1360"/>
                  <a:pt x="1548" y="1362"/>
                  <a:pt x="1549" y="1363"/>
                </a:cubicBezTo>
                <a:cubicBezTo>
                  <a:pt x="1549" y="1365"/>
                  <a:pt x="1549" y="1366"/>
                  <a:pt x="1549" y="1368"/>
                </a:cubicBezTo>
                <a:cubicBezTo>
                  <a:pt x="1550" y="1371"/>
                  <a:pt x="1549" y="1373"/>
                  <a:pt x="1545" y="1373"/>
                </a:cubicBezTo>
                <a:cubicBezTo>
                  <a:pt x="1543" y="1373"/>
                  <a:pt x="1540" y="1372"/>
                  <a:pt x="1537" y="1372"/>
                </a:cubicBezTo>
                <a:cubicBezTo>
                  <a:pt x="1537" y="1372"/>
                  <a:pt x="1536" y="1372"/>
                  <a:pt x="1536" y="1373"/>
                </a:cubicBezTo>
                <a:cubicBezTo>
                  <a:pt x="1534" y="1374"/>
                  <a:pt x="1532" y="1376"/>
                  <a:pt x="1531" y="1377"/>
                </a:cubicBezTo>
                <a:cubicBezTo>
                  <a:pt x="1529" y="1379"/>
                  <a:pt x="1526" y="1380"/>
                  <a:pt x="1524" y="1378"/>
                </a:cubicBezTo>
                <a:cubicBezTo>
                  <a:pt x="1522" y="1376"/>
                  <a:pt x="1521" y="1373"/>
                  <a:pt x="1519" y="1370"/>
                </a:cubicBezTo>
                <a:cubicBezTo>
                  <a:pt x="1518" y="1369"/>
                  <a:pt x="1519" y="1367"/>
                  <a:pt x="1521" y="1366"/>
                </a:cubicBezTo>
                <a:cubicBezTo>
                  <a:pt x="1518" y="1366"/>
                  <a:pt x="1517" y="1366"/>
                  <a:pt x="1515" y="1366"/>
                </a:cubicBezTo>
                <a:cubicBezTo>
                  <a:pt x="1514" y="1368"/>
                  <a:pt x="1513" y="1370"/>
                  <a:pt x="1512" y="1372"/>
                </a:cubicBezTo>
                <a:cubicBezTo>
                  <a:pt x="1512" y="1372"/>
                  <a:pt x="1512" y="1373"/>
                  <a:pt x="1512" y="1374"/>
                </a:cubicBezTo>
                <a:cubicBezTo>
                  <a:pt x="1512" y="1377"/>
                  <a:pt x="1511" y="1378"/>
                  <a:pt x="1508" y="1378"/>
                </a:cubicBezTo>
                <a:cubicBezTo>
                  <a:pt x="1504" y="1378"/>
                  <a:pt x="1502" y="1377"/>
                  <a:pt x="1498" y="1376"/>
                </a:cubicBezTo>
                <a:cubicBezTo>
                  <a:pt x="1496" y="1375"/>
                  <a:pt x="1496" y="1374"/>
                  <a:pt x="1496" y="1372"/>
                </a:cubicBezTo>
                <a:cubicBezTo>
                  <a:pt x="1497" y="1371"/>
                  <a:pt x="1497" y="1370"/>
                  <a:pt x="1497" y="1370"/>
                </a:cubicBezTo>
                <a:cubicBezTo>
                  <a:pt x="1495" y="1369"/>
                  <a:pt x="1493" y="1368"/>
                  <a:pt x="1491" y="1366"/>
                </a:cubicBezTo>
                <a:cubicBezTo>
                  <a:pt x="1489" y="1366"/>
                  <a:pt x="1488" y="1364"/>
                  <a:pt x="1487" y="1362"/>
                </a:cubicBezTo>
                <a:cubicBezTo>
                  <a:pt x="1487" y="1360"/>
                  <a:pt x="1487" y="1359"/>
                  <a:pt x="1489" y="1357"/>
                </a:cubicBezTo>
                <a:cubicBezTo>
                  <a:pt x="1492" y="1355"/>
                  <a:pt x="1493" y="1352"/>
                  <a:pt x="1492" y="1348"/>
                </a:cubicBezTo>
                <a:cubicBezTo>
                  <a:pt x="1492" y="1346"/>
                  <a:pt x="1492" y="1343"/>
                  <a:pt x="1492" y="1342"/>
                </a:cubicBezTo>
                <a:cubicBezTo>
                  <a:pt x="1491" y="1341"/>
                  <a:pt x="1489" y="1341"/>
                  <a:pt x="1488" y="1340"/>
                </a:cubicBezTo>
                <a:cubicBezTo>
                  <a:pt x="1487" y="1338"/>
                  <a:pt x="1486" y="1336"/>
                  <a:pt x="1486" y="1334"/>
                </a:cubicBezTo>
                <a:cubicBezTo>
                  <a:pt x="1485" y="1331"/>
                  <a:pt x="1489" y="1328"/>
                  <a:pt x="1492" y="1328"/>
                </a:cubicBezTo>
                <a:cubicBezTo>
                  <a:pt x="1492" y="1328"/>
                  <a:pt x="1492" y="1329"/>
                  <a:pt x="1493" y="1330"/>
                </a:cubicBezTo>
                <a:cubicBezTo>
                  <a:pt x="1493" y="1331"/>
                  <a:pt x="1493" y="1332"/>
                  <a:pt x="1493" y="1333"/>
                </a:cubicBezTo>
                <a:cubicBezTo>
                  <a:pt x="1492" y="1333"/>
                  <a:pt x="1492" y="1333"/>
                  <a:pt x="1491" y="1333"/>
                </a:cubicBezTo>
                <a:cubicBezTo>
                  <a:pt x="1491" y="1334"/>
                  <a:pt x="1491" y="1335"/>
                  <a:pt x="1490" y="1337"/>
                </a:cubicBezTo>
                <a:cubicBezTo>
                  <a:pt x="1491" y="1337"/>
                  <a:pt x="1492" y="1337"/>
                  <a:pt x="1492" y="1336"/>
                </a:cubicBezTo>
                <a:cubicBezTo>
                  <a:pt x="1493" y="1335"/>
                  <a:pt x="1494" y="1334"/>
                  <a:pt x="1495" y="1333"/>
                </a:cubicBezTo>
                <a:cubicBezTo>
                  <a:pt x="1499" y="1326"/>
                  <a:pt x="1505" y="1322"/>
                  <a:pt x="1513" y="1321"/>
                </a:cubicBezTo>
                <a:cubicBezTo>
                  <a:pt x="1516" y="1320"/>
                  <a:pt x="1519" y="1319"/>
                  <a:pt x="1522" y="1317"/>
                </a:cubicBezTo>
                <a:cubicBezTo>
                  <a:pt x="1522" y="1316"/>
                  <a:pt x="1523" y="1316"/>
                  <a:pt x="1523" y="1316"/>
                </a:cubicBezTo>
                <a:cubicBezTo>
                  <a:pt x="1526" y="1315"/>
                  <a:pt x="1527" y="1313"/>
                  <a:pt x="1529" y="1311"/>
                </a:cubicBezTo>
                <a:cubicBezTo>
                  <a:pt x="1537" y="1303"/>
                  <a:pt x="1549" y="1303"/>
                  <a:pt x="1556" y="1310"/>
                </a:cubicBezTo>
                <a:cubicBezTo>
                  <a:pt x="1559" y="1312"/>
                  <a:pt x="1562" y="1314"/>
                  <a:pt x="1564" y="1316"/>
                </a:cubicBezTo>
                <a:cubicBezTo>
                  <a:pt x="1565" y="1317"/>
                  <a:pt x="1567" y="1319"/>
                  <a:pt x="1568" y="1320"/>
                </a:cubicBezTo>
                <a:cubicBezTo>
                  <a:pt x="1569" y="1322"/>
                  <a:pt x="1569" y="1322"/>
                  <a:pt x="1571" y="1321"/>
                </a:cubicBezTo>
                <a:cubicBezTo>
                  <a:pt x="1571" y="1320"/>
                  <a:pt x="1572" y="1320"/>
                  <a:pt x="1573" y="1319"/>
                </a:cubicBezTo>
                <a:cubicBezTo>
                  <a:pt x="1575" y="1316"/>
                  <a:pt x="1578" y="1316"/>
                  <a:pt x="1579" y="1319"/>
                </a:cubicBezTo>
                <a:cubicBezTo>
                  <a:pt x="1580" y="1322"/>
                  <a:pt x="1581" y="1325"/>
                  <a:pt x="1582" y="1328"/>
                </a:cubicBezTo>
                <a:cubicBezTo>
                  <a:pt x="1582" y="1333"/>
                  <a:pt x="1582" y="1337"/>
                  <a:pt x="1580" y="1341"/>
                </a:cubicBezTo>
                <a:cubicBezTo>
                  <a:pt x="1578" y="1348"/>
                  <a:pt x="1573" y="1351"/>
                  <a:pt x="1567" y="1351"/>
                </a:cubicBezTo>
                <a:cubicBezTo>
                  <a:pt x="1566" y="1351"/>
                  <a:pt x="1565" y="1351"/>
                  <a:pt x="1565" y="1351"/>
                </a:cubicBezTo>
                <a:cubicBezTo>
                  <a:pt x="1562" y="1351"/>
                  <a:pt x="1561" y="1351"/>
                  <a:pt x="1560" y="1354"/>
                </a:cubicBezTo>
                <a:cubicBezTo>
                  <a:pt x="1559" y="1358"/>
                  <a:pt x="1553" y="1360"/>
                  <a:pt x="1550" y="1357"/>
                </a:cubicBezTo>
                <a:cubicBezTo>
                  <a:pt x="1549" y="1355"/>
                  <a:pt x="1548" y="1355"/>
                  <a:pt x="1547" y="1353"/>
                </a:cubicBezTo>
                <a:cubicBezTo>
                  <a:pt x="1546" y="1354"/>
                  <a:pt x="1546" y="1354"/>
                  <a:pt x="1546" y="1354"/>
                </a:cubicBezTo>
                <a:close/>
                <a:moveTo>
                  <a:pt x="1540" y="1349"/>
                </a:moveTo>
                <a:cubicBezTo>
                  <a:pt x="1544" y="1351"/>
                  <a:pt x="1547" y="1352"/>
                  <a:pt x="1550" y="1355"/>
                </a:cubicBezTo>
                <a:cubicBezTo>
                  <a:pt x="1552" y="1357"/>
                  <a:pt x="1554" y="1357"/>
                  <a:pt x="1556" y="1357"/>
                </a:cubicBezTo>
                <a:cubicBezTo>
                  <a:pt x="1558" y="1356"/>
                  <a:pt x="1560" y="1354"/>
                  <a:pt x="1560" y="1351"/>
                </a:cubicBezTo>
                <a:cubicBezTo>
                  <a:pt x="1560" y="1351"/>
                  <a:pt x="1559" y="1351"/>
                  <a:pt x="1559" y="1351"/>
                </a:cubicBezTo>
                <a:cubicBezTo>
                  <a:pt x="1558" y="1353"/>
                  <a:pt x="1557" y="1354"/>
                  <a:pt x="1556" y="1355"/>
                </a:cubicBezTo>
                <a:cubicBezTo>
                  <a:pt x="1555" y="1356"/>
                  <a:pt x="1554" y="1356"/>
                  <a:pt x="1553" y="1355"/>
                </a:cubicBezTo>
                <a:cubicBezTo>
                  <a:pt x="1552" y="1355"/>
                  <a:pt x="1552" y="1354"/>
                  <a:pt x="1552" y="1353"/>
                </a:cubicBezTo>
                <a:cubicBezTo>
                  <a:pt x="1552" y="1351"/>
                  <a:pt x="1552" y="1349"/>
                  <a:pt x="1553" y="1347"/>
                </a:cubicBezTo>
                <a:cubicBezTo>
                  <a:pt x="1556" y="1348"/>
                  <a:pt x="1559" y="1349"/>
                  <a:pt x="1563" y="1349"/>
                </a:cubicBezTo>
                <a:cubicBezTo>
                  <a:pt x="1570" y="1351"/>
                  <a:pt x="1576" y="1349"/>
                  <a:pt x="1579" y="1340"/>
                </a:cubicBezTo>
                <a:cubicBezTo>
                  <a:pt x="1581" y="1336"/>
                  <a:pt x="1580" y="1331"/>
                  <a:pt x="1580" y="1326"/>
                </a:cubicBezTo>
                <a:cubicBezTo>
                  <a:pt x="1579" y="1324"/>
                  <a:pt x="1578" y="1322"/>
                  <a:pt x="1578" y="1320"/>
                </a:cubicBezTo>
                <a:cubicBezTo>
                  <a:pt x="1577" y="1319"/>
                  <a:pt x="1576" y="1318"/>
                  <a:pt x="1575" y="1320"/>
                </a:cubicBezTo>
                <a:cubicBezTo>
                  <a:pt x="1573" y="1321"/>
                  <a:pt x="1571" y="1323"/>
                  <a:pt x="1569" y="1324"/>
                </a:cubicBezTo>
                <a:cubicBezTo>
                  <a:pt x="1569" y="1324"/>
                  <a:pt x="1568" y="1325"/>
                  <a:pt x="1568" y="1326"/>
                </a:cubicBezTo>
                <a:cubicBezTo>
                  <a:pt x="1569" y="1329"/>
                  <a:pt x="1568" y="1332"/>
                  <a:pt x="1567" y="1336"/>
                </a:cubicBezTo>
                <a:cubicBezTo>
                  <a:pt x="1567" y="1334"/>
                  <a:pt x="1567" y="1332"/>
                  <a:pt x="1567" y="1330"/>
                </a:cubicBezTo>
                <a:cubicBezTo>
                  <a:pt x="1567" y="1329"/>
                  <a:pt x="1567" y="1329"/>
                  <a:pt x="1567" y="1328"/>
                </a:cubicBezTo>
                <a:cubicBezTo>
                  <a:pt x="1566" y="1329"/>
                  <a:pt x="1565" y="1329"/>
                  <a:pt x="1565" y="1329"/>
                </a:cubicBezTo>
                <a:cubicBezTo>
                  <a:pt x="1565" y="1330"/>
                  <a:pt x="1564" y="1332"/>
                  <a:pt x="1563" y="1333"/>
                </a:cubicBezTo>
                <a:cubicBezTo>
                  <a:pt x="1563" y="1333"/>
                  <a:pt x="1563" y="1333"/>
                  <a:pt x="1563" y="1333"/>
                </a:cubicBezTo>
                <a:cubicBezTo>
                  <a:pt x="1563" y="1332"/>
                  <a:pt x="1563" y="1330"/>
                  <a:pt x="1564" y="1328"/>
                </a:cubicBezTo>
                <a:cubicBezTo>
                  <a:pt x="1563" y="1328"/>
                  <a:pt x="1562" y="1329"/>
                  <a:pt x="1562" y="1330"/>
                </a:cubicBezTo>
                <a:cubicBezTo>
                  <a:pt x="1561" y="1330"/>
                  <a:pt x="1561" y="1331"/>
                  <a:pt x="1560" y="1332"/>
                </a:cubicBezTo>
                <a:cubicBezTo>
                  <a:pt x="1561" y="1328"/>
                  <a:pt x="1561" y="1328"/>
                  <a:pt x="1567" y="1327"/>
                </a:cubicBezTo>
                <a:cubicBezTo>
                  <a:pt x="1567" y="1326"/>
                  <a:pt x="1566" y="1326"/>
                  <a:pt x="1566" y="1326"/>
                </a:cubicBezTo>
                <a:cubicBezTo>
                  <a:pt x="1563" y="1326"/>
                  <a:pt x="1562" y="1325"/>
                  <a:pt x="1562" y="1322"/>
                </a:cubicBezTo>
                <a:cubicBezTo>
                  <a:pt x="1563" y="1322"/>
                  <a:pt x="1565" y="1322"/>
                  <a:pt x="1567" y="1321"/>
                </a:cubicBezTo>
                <a:cubicBezTo>
                  <a:pt x="1565" y="1319"/>
                  <a:pt x="1563" y="1316"/>
                  <a:pt x="1560" y="1316"/>
                </a:cubicBezTo>
                <a:cubicBezTo>
                  <a:pt x="1560" y="1316"/>
                  <a:pt x="1560" y="1315"/>
                  <a:pt x="1560" y="1315"/>
                </a:cubicBezTo>
                <a:cubicBezTo>
                  <a:pt x="1557" y="1313"/>
                  <a:pt x="1555" y="1311"/>
                  <a:pt x="1552" y="1309"/>
                </a:cubicBezTo>
                <a:cubicBezTo>
                  <a:pt x="1550" y="1307"/>
                  <a:pt x="1547" y="1307"/>
                  <a:pt x="1545" y="1307"/>
                </a:cubicBezTo>
                <a:cubicBezTo>
                  <a:pt x="1541" y="1307"/>
                  <a:pt x="1538" y="1308"/>
                  <a:pt x="1535" y="1309"/>
                </a:cubicBezTo>
                <a:cubicBezTo>
                  <a:pt x="1532" y="1310"/>
                  <a:pt x="1530" y="1312"/>
                  <a:pt x="1528" y="1315"/>
                </a:cubicBezTo>
                <a:cubicBezTo>
                  <a:pt x="1530" y="1315"/>
                  <a:pt x="1531" y="1315"/>
                  <a:pt x="1532" y="1315"/>
                </a:cubicBezTo>
                <a:cubicBezTo>
                  <a:pt x="1532" y="1315"/>
                  <a:pt x="1531" y="1316"/>
                  <a:pt x="1530" y="1316"/>
                </a:cubicBezTo>
                <a:cubicBezTo>
                  <a:pt x="1528" y="1317"/>
                  <a:pt x="1525" y="1316"/>
                  <a:pt x="1523" y="1318"/>
                </a:cubicBezTo>
                <a:cubicBezTo>
                  <a:pt x="1519" y="1322"/>
                  <a:pt x="1515" y="1326"/>
                  <a:pt x="1512" y="1330"/>
                </a:cubicBezTo>
                <a:cubicBezTo>
                  <a:pt x="1510" y="1332"/>
                  <a:pt x="1509" y="1334"/>
                  <a:pt x="1508" y="1337"/>
                </a:cubicBezTo>
                <a:cubicBezTo>
                  <a:pt x="1508" y="1337"/>
                  <a:pt x="1508" y="1338"/>
                  <a:pt x="1509" y="1338"/>
                </a:cubicBezTo>
                <a:cubicBezTo>
                  <a:pt x="1510" y="1340"/>
                  <a:pt x="1511" y="1342"/>
                  <a:pt x="1513" y="1344"/>
                </a:cubicBezTo>
                <a:cubicBezTo>
                  <a:pt x="1514" y="1343"/>
                  <a:pt x="1515" y="1341"/>
                  <a:pt x="1516" y="1340"/>
                </a:cubicBezTo>
                <a:cubicBezTo>
                  <a:pt x="1516" y="1341"/>
                  <a:pt x="1515" y="1342"/>
                  <a:pt x="1515" y="1344"/>
                </a:cubicBezTo>
                <a:cubicBezTo>
                  <a:pt x="1514" y="1345"/>
                  <a:pt x="1513" y="1346"/>
                  <a:pt x="1513" y="1348"/>
                </a:cubicBezTo>
                <a:cubicBezTo>
                  <a:pt x="1512" y="1349"/>
                  <a:pt x="1513" y="1350"/>
                  <a:pt x="1513" y="1351"/>
                </a:cubicBezTo>
                <a:cubicBezTo>
                  <a:pt x="1515" y="1354"/>
                  <a:pt x="1519" y="1354"/>
                  <a:pt x="1523" y="1352"/>
                </a:cubicBezTo>
                <a:cubicBezTo>
                  <a:pt x="1525" y="1351"/>
                  <a:pt x="1528" y="1349"/>
                  <a:pt x="1530" y="1349"/>
                </a:cubicBezTo>
                <a:cubicBezTo>
                  <a:pt x="1532" y="1348"/>
                  <a:pt x="1533" y="1347"/>
                  <a:pt x="1533" y="1346"/>
                </a:cubicBezTo>
                <a:cubicBezTo>
                  <a:pt x="1533" y="1343"/>
                  <a:pt x="1533" y="1339"/>
                  <a:pt x="1533" y="1336"/>
                </a:cubicBezTo>
                <a:cubicBezTo>
                  <a:pt x="1533" y="1333"/>
                  <a:pt x="1533" y="1330"/>
                  <a:pt x="1533" y="1327"/>
                </a:cubicBezTo>
                <a:cubicBezTo>
                  <a:pt x="1534" y="1330"/>
                  <a:pt x="1534" y="1332"/>
                  <a:pt x="1535" y="1335"/>
                </a:cubicBezTo>
                <a:cubicBezTo>
                  <a:pt x="1536" y="1340"/>
                  <a:pt x="1536" y="1344"/>
                  <a:pt x="1534" y="1348"/>
                </a:cubicBezTo>
                <a:cubicBezTo>
                  <a:pt x="1534" y="1349"/>
                  <a:pt x="1533" y="1350"/>
                  <a:pt x="1533" y="1350"/>
                </a:cubicBezTo>
                <a:cubicBezTo>
                  <a:pt x="1529" y="1350"/>
                  <a:pt x="1526" y="1352"/>
                  <a:pt x="1523" y="1354"/>
                </a:cubicBezTo>
                <a:cubicBezTo>
                  <a:pt x="1518" y="1357"/>
                  <a:pt x="1514" y="1355"/>
                  <a:pt x="1511" y="1351"/>
                </a:cubicBezTo>
                <a:cubicBezTo>
                  <a:pt x="1510" y="1351"/>
                  <a:pt x="1510" y="1349"/>
                  <a:pt x="1511" y="1349"/>
                </a:cubicBezTo>
                <a:cubicBezTo>
                  <a:pt x="1512" y="1347"/>
                  <a:pt x="1511" y="1345"/>
                  <a:pt x="1509" y="1343"/>
                </a:cubicBezTo>
                <a:cubicBezTo>
                  <a:pt x="1508" y="1341"/>
                  <a:pt x="1506" y="1338"/>
                  <a:pt x="1507" y="1336"/>
                </a:cubicBezTo>
                <a:cubicBezTo>
                  <a:pt x="1508" y="1334"/>
                  <a:pt x="1509" y="1332"/>
                  <a:pt x="1510" y="1330"/>
                </a:cubicBezTo>
                <a:cubicBezTo>
                  <a:pt x="1511" y="1328"/>
                  <a:pt x="1514" y="1325"/>
                  <a:pt x="1516" y="1322"/>
                </a:cubicBezTo>
                <a:cubicBezTo>
                  <a:pt x="1515" y="1322"/>
                  <a:pt x="1515" y="1322"/>
                  <a:pt x="1515" y="1322"/>
                </a:cubicBezTo>
                <a:cubicBezTo>
                  <a:pt x="1509" y="1324"/>
                  <a:pt x="1505" y="1325"/>
                  <a:pt x="1501" y="1328"/>
                </a:cubicBezTo>
                <a:cubicBezTo>
                  <a:pt x="1496" y="1333"/>
                  <a:pt x="1494" y="1338"/>
                  <a:pt x="1493" y="1345"/>
                </a:cubicBezTo>
                <a:cubicBezTo>
                  <a:pt x="1493" y="1351"/>
                  <a:pt x="1495" y="1357"/>
                  <a:pt x="1499" y="1363"/>
                </a:cubicBezTo>
                <a:cubicBezTo>
                  <a:pt x="1499" y="1364"/>
                  <a:pt x="1500" y="1366"/>
                  <a:pt x="1500" y="1367"/>
                </a:cubicBezTo>
                <a:cubicBezTo>
                  <a:pt x="1500" y="1368"/>
                  <a:pt x="1499" y="1370"/>
                  <a:pt x="1498" y="1371"/>
                </a:cubicBezTo>
                <a:cubicBezTo>
                  <a:pt x="1498" y="1373"/>
                  <a:pt x="1498" y="1374"/>
                  <a:pt x="1500" y="1374"/>
                </a:cubicBezTo>
                <a:cubicBezTo>
                  <a:pt x="1503" y="1375"/>
                  <a:pt x="1506" y="1376"/>
                  <a:pt x="1508" y="1376"/>
                </a:cubicBezTo>
                <a:cubicBezTo>
                  <a:pt x="1509" y="1376"/>
                  <a:pt x="1510" y="1375"/>
                  <a:pt x="1510" y="1375"/>
                </a:cubicBezTo>
                <a:cubicBezTo>
                  <a:pt x="1510" y="1374"/>
                  <a:pt x="1510" y="1372"/>
                  <a:pt x="1511" y="1371"/>
                </a:cubicBezTo>
                <a:cubicBezTo>
                  <a:pt x="1513" y="1369"/>
                  <a:pt x="1513" y="1366"/>
                  <a:pt x="1513" y="1363"/>
                </a:cubicBezTo>
                <a:cubicBezTo>
                  <a:pt x="1513" y="1363"/>
                  <a:pt x="1513" y="1362"/>
                  <a:pt x="1513" y="1362"/>
                </a:cubicBezTo>
                <a:cubicBezTo>
                  <a:pt x="1513" y="1362"/>
                  <a:pt x="1513" y="1362"/>
                  <a:pt x="1513" y="1361"/>
                </a:cubicBezTo>
                <a:cubicBezTo>
                  <a:pt x="1513" y="1364"/>
                  <a:pt x="1515" y="1364"/>
                  <a:pt x="1517" y="1364"/>
                </a:cubicBezTo>
                <a:cubicBezTo>
                  <a:pt x="1518" y="1364"/>
                  <a:pt x="1519" y="1364"/>
                  <a:pt x="1520" y="1364"/>
                </a:cubicBezTo>
                <a:cubicBezTo>
                  <a:pt x="1522" y="1364"/>
                  <a:pt x="1525" y="1365"/>
                  <a:pt x="1526" y="1360"/>
                </a:cubicBezTo>
                <a:cubicBezTo>
                  <a:pt x="1526" y="1363"/>
                  <a:pt x="1526" y="1364"/>
                  <a:pt x="1526" y="1365"/>
                </a:cubicBezTo>
                <a:cubicBezTo>
                  <a:pt x="1524" y="1366"/>
                  <a:pt x="1523" y="1367"/>
                  <a:pt x="1522" y="1367"/>
                </a:cubicBezTo>
                <a:cubicBezTo>
                  <a:pt x="1521" y="1368"/>
                  <a:pt x="1520" y="1370"/>
                  <a:pt x="1521" y="1370"/>
                </a:cubicBezTo>
                <a:cubicBezTo>
                  <a:pt x="1522" y="1373"/>
                  <a:pt x="1523" y="1375"/>
                  <a:pt x="1525" y="1377"/>
                </a:cubicBezTo>
                <a:cubicBezTo>
                  <a:pt x="1526" y="1378"/>
                  <a:pt x="1528" y="1378"/>
                  <a:pt x="1530" y="1376"/>
                </a:cubicBezTo>
                <a:cubicBezTo>
                  <a:pt x="1530" y="1375"/>
                  <a:pt x="1531" y="1374"/>
                  <a:pt x="1532" y="1374"/>
                </a:cubicBezTo>
                <a:cubicBezTo>
                  <a:pt x="1534" y="1372"/>
                  <a:pt x="1535" y="1371"/>
                  <a:pt x="1537" y="1370"/>
                </a:cubicBezTo>
                <a:cubicBezTo>
                  <a:pt x="1541" y="1366"/>
                  <a:pt x="1543" y="1360"/>
                  <a:pt x="1545" y="1354"/>
                </a:cubicBezTo>
                <a:cubicBezTo>
                  <a:pt x="1545" y="1353"/>
                  <a:pt x="1544" y="1353"/>
                  <a:pt x="1543" y="1352"/>
                </a:cubicBezTo>
                <a:cubicBezTo>
                  <a:pt x="1543" y="1351"/>
                  <a:pt x="1541" y="1350"/>
                  <a:pt x="1540" y="1349"/>
                </a:cubicBezTo>
                <a:close/>
                <a:moveTo>
                  <a:pt x="1493" y="1356"/>
                </a:moveTo>
                <a:cubicBezTo>
                  <a:pt x="1492" y="1357"/>
                  <a:pt x="1491" y="1357"/>
                  <a:pt x="1489" y="1359"/>
                </a:cubicBezTo>
                <a:cubicBezTo>
                  <a:pt x="1489" y="1359"/>
                  <a:pt x="1489" y="1360"/>
                  <a:pt x="1489" y="1360"/>
                </a:cubicBezTo>
                <a:cubicBezTo>
                  <a:pt x="1489" y="1363"/>
                  <a:pt x="1493" y="1368"/>
                  <a:pt x="1496" y="1367"/>
                </a:cubicBezTo>
                <a:cubicBezTo>
                  <a:pt x="1498" y="1367"/>
                  <a:pt x="1498" y="1366"/>
                  <a:pt x="1498" y="1364"/>
                </a:cubicBezTo>
                <a:cubicBezTo>
                  <a:pt x="1496" y="1361"/>
                  <a:pt x="1495" y="1359"/>
                  <a:pt x="1493" y="1356"/>
                </a:cubicBezTo>
                <a:close/>
                <a:moveTo>
                  <a:pt x="1546" y="1358"/>
                </a:moveTo>
                <a:cubicBezTo>
                  <a:pt x="1543" y="1362"/>
                  <a:pt x="1541" y="1367"/>
                  <a:pt x="1539" y="1371"/>
                </a:cubicBezTo>
                <a:cubicBezTo>
                  <a:pt x="1541" y="1371"/>
                  <a:pt x="1544" y="1372"/>
                  <a:pt x="1547" y="1371"/>
                </a:cubicBezTo>
                <a:cubicBezTo>
                  <a:pt x="1547" y="1371"/>
                  <a:pt x="1547" y="1370"/>
                  <a:pt x="1547" y="1370"/>
                </a:cubicBezTo>
                <a:cubicBezTo>
                  <a:pt x="1547" y="1367"/>
                  <a:pt x="1547" y="1364"/>
                  <a:pt x="1547" y="1362"/>
                </a:cubicBezTo>
                <a:cubicBezTo>
                  <a:pt x="1547" y="1360"/>
                  <a:pt x="1546" y="1359"/>
                  <a:pt x="1546" y="1358"/>
                </a:cubicBezTo>
                <a:close/>
                <a:moveTo>
                  <a:pt x="1493" y="1338"/>
                </a:moveTo>
                <a:cubicBezTo>
                  <a:pt x="1492" y="1338"/>
                  <a:pt x="1491" y="1338"/>
                  <a:pt x="1491" y="1338"/>
                </a:cubicBezTo>
                <a:cubicBezTo>
                  <a:pt x="1490" y="1338"/>
                  <a:pt x="1489" y="1338"/>
                  <a:pt x="1489" y="1338"/>
                </a:cubicBezTo>
                <a:cubicBezTo>
                  <a:pt x="1489" y="1338"/>
                  <a:pt x="1489" y="1337"/>
                  <a:pt x="1489" y="1336"/>
                </a:cubicBezTo>
                <a:cubicBezTo>
                  <a:pt x="1489" y="1334"/>
                  <a:pt x="1490" y="1332"/>
                  <a:pt x="1491" y="1330"/>
                </a:cubicBezTo>
                <a:cubicBezTo>
                  <a:pt x="1490" y="1330"/>
                  <a:pt x="1490" y="1330"/>
                  <a:pt x="1490" y="1330"/>
                </a:cubicBezTo>
                <a:cubicBezTo>
                  <a:pt x="1489" y="1331"/>
                  <a:pt x="1488" y="1332"/>
                  <a:pt x="1487" y="1333"/>
                </a:cubicBezTo>
                <a:cubicBezTo>
                  <a:pt x="1486" y="1334"/>
                  <a:pt x="1488" y="1339"/>
                  <a:pt x="1489" y="1340"/>
                </a:cubicBezTo>
                <a:cubicBezTo>
                  <a:pt x="1491" y="1341"/>
                  <a:pt x="1493" y="1340"/>
                  <a:pt x="1493" y="1338"/>
                </a:cubicBezTo>
                <a:close/>
                <a:moveTo>
                  <a:pt x="1493" y="1355"/>
                </a:moveTo>
                <a:cubicBezTo>
                  <a:pt x="1492" y="1356"/>
                  <a:pt x="1491" y="1357"/>
                  <a:pt x="1490" y="1358"/>
                </a:cubicBezTo>
                <a:cubicBezTo>
                  <a:pt x="1489" y="1359"/>
                  <a:pt x="1489" y="1359"/>
                  <a:pt x="1489" y="1360"/>
                </a:cubicBezTo>
                <a:cubicBezTo>
                  <a:pt x="1489" y="1363"/>
                  <a:pt x="1493" y="1367"/>
                  <a:pt x="1496" y="1367"/>
                </a:cubicBezTo>
                <a:cubicBezTo>
                  <a:pt x="1498" y="1367"/>
                  <a:pt x="1498" y="1366"/>
                  <a:pt x="1498" y="1364"/>
                </a:cubicBezTo>
                <a:cubicBezTo>
                  <a:pt x="1496" y="1361"/>
                  <a:pt x="1495" y="1358"/>
                  <a:pt x="1493" y="1355"/>
                </a:cubicBezTo>
                <a:close/>
                <a:moveTo>
                  <a:pt x="1546" y="1357"/>
                </a:moveTo>
                <a:cubicBezTo>
                  <a:pt x="1543" y="1362"/>
                  <a:pt x="1541" y="1366"/>
                  <a:pt x="1539" y="1371"/>
                </a:cubicBezTo>
                <a:cubicBezTo>
                  <a:pt x="1541" y="1371"/>
                  <a:pt x="1544" y="1371"/>
                  <a:pt x="1547" y="1371"/>
                </a:cubicBezTo>
                <a:cubicBezTo>
                  <a:pt x="1547" y="1371"/>
                  <a:pt x="1547" y="1370"/>
                  <a:pt x="1547" y="1369"/>
                </a:cubicBezTo>
                <a:cubicBezTo>
                  <a:pt x="1547" y="1366"/>
                  <a:pt x="1547" y="1364"/>
                  <a:pt x="1547" y="1362"/>
                </a:cubicBezTo>
                <a:cubicBezTo>
                  <a:pt x="1547" y="1360"/>
                  <a:pt x="1546" y="1359"/>
                  <a:pt x="1546" y="1357"/>
                </a:cubicBezTo>
                <a:close/>
                <a:moveTo>
                  <a:pt x="1493" y="1337"/>
                </a:moveTo>
                <a:cubicBezTo>
                  <a:pt x="1492" y="1338"/>
                  <a:pt x="1492" y="1338"/>
                  <a:pt x="1491" y="1338"/>
                </a:cubicBezTo>
                <a:cubicBezTo>
                  <a:pt x="1490" y="1338"/>
                  <a:pt x="1490" y="1338"/>
                  <a:pt x="1490" y="1338"/>
                </a:cubicBezTo>
                <a:cubicBezTo>
                  <a:pt x="1489" y="1337"/>
                  <a:pt x="1489" y="1337"/>
                  <a:pt x="1489" y="1336"/>
                </a:cubicBezTo>
                <a:cubicBezTo>
                  <a:pt x="1490" y="1334"/>
                  <a:pt x="1490" y="1332"/>
                  <a:pt x="1491" y="1330"/>
                </a:cubicBezTo>
                <a:cubicBezTo>
                  <a:pt x="1490" y="1330"/>
                  <a:pt x="1490" y="1330"/>
                  <a:pt x="1490" y="1330"/>
                </a:cubicBezTo>
                <a:cubicBezTo>
                  <a:pt x="1489" y="1331"/>
                  <a:pt x="1488" y="1332"/>
                  <a:pt x="1487" y="1333"/>
                </a:cubicBezTo>
                <a:cubicBezTo>
                  <a:pt x="1486" y="1334"/>
                  <a:pt x="1488" y="1339"/>
                  <a:pt x="1490" y="1340"/>
                </a:cubicBezTo>
                <a:cubicBezTo>
                  <a:pt x="1491" y="1341"/>
                  <a:pt x="1493" y="1339"/>
                  <a:pt x="1493" y="1337"/>
                </a:cubicBezTo>
                <a:close/>
                <a:moveTo>
                  <a:pt x="1545" y="1329"/>
                </a:moveTo>
                <a:cubicBezTo>
                  <a:pt x="1549" y="1325"/>
                  <a:pt x="1549" y="1325"/>
                  <a:pt x="1552" y="1324"/>
                </a:cubicBezTo>
                <a:cubicBezTo>
                  <a:pt x="1552" y="1326"/>
                  <a:pt x="1554" y="1327"/>
                  <a:pt x="1555" y="1327"/>
                </a:cubicBezTo>
                <a:cubicBezTo>
                  <a:pt x="1553" y="1329"/>
                  <a:pt x="1551" y="1330"/>
                  <a:pt x="1549" y="1331"/>
                </a:cubicBezTo>
                <a:cubicBezTo>
                  <a:pt x="1548" y="1331"/>
                  <a:pt x="1548" y="1330"/>
                  <a:pt x="1547" y="1329"/>
                </a:cubicBezTo>
                <a:cubicBezTo>
                  <a:pt x="1547" y="1329"/>
                  <a:pt x="1546" y="1329"/>
                  <a:pt x="1545" y="1329"/>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532" y="1319"/>
                </a:moveTo>
                <a:cubicBezTo>
                  <a:pt x="1526" y="1318"/>
                  <a:pt x="1523" y="1321"/>
                  <a:pt x="1522" y="1329"/>
                </a:cubicBezTo>
                <a:cubicBezTo>
                  <a:pt x="1523" y="1327"/>
                  <a:pt x="1524" y="1324"/>
                  <a:pt x="1525" y="1322"/>
                </a:cubicBezTo>
                <a:cubicBezTo>
                  <a:pt x="1526" y="1322"/>
                  <a:pt x="1526" y="1322"/>
                  <a:pt x="1526" y="1322"/>
                </a:cubicBezTo>
                <a:cubicBezTo>
                  <a:pt x="1526" y="1323"/>
                  <a:pt x="1526" y="1324"/>
                  <a:pt x="1526" y="1325"/>
                </a:cubicBezTo>
                <a:cubicBezTo>
                  <a:pt x="1527" y="1322"/>
                  <a:pt x="1529" y="1320"/>
                  <a:pt x="1532" y="1319"/>
                </a:cubicBezTo>
                <a:close/>
                <a:moveTo>
                  <a:pt x="1576" y="1321"/>
                </a:moveTo>
                <a:cubicBezTo>
                  <a:pt x="1574" y="1322"/>
                  <a:pt x="1572" y="1324"/>
                  <a:pt x="1570" y="1325"/>
                </a:cubicBezTo>
                <a:cubicBezTo>
                  <a:pt x="1572" y="1325"/>
                  <a:pt x="1575" y="1324"/>
                  <a:pt x="1576" y="1321"/>
                </a:cubicBezTo>
                <a:close/>
                <a:moveTo>
                  <a:pt x="1542" y="1323"/>
                </a:moveTo>
                <a:cubicBezTo>
                  <a:pt x="1544" y="1322"/>
                  <a:pt x="1545" y="1320"/>
                  <a:pt x="1546" y="1319"/>
                </a:cubicBezTo>
                <a:cubicBezTo>
                  <a:pt x="1543" y="1320"/>
                  <a:pt x="1542" y="1321"/>
                  <a:pt x="1542" y="1323"/>
                </a:cubicBezTo>
                <a:close/>
                <a:moveTo>
                  <a:pt x="1553" y="1344"/>
                </a:moveTo>
                <a:cubicBezTo>
                  <a:pt x="1551" y="1344"/>
                  <a:pt x="1550" y="1345"/>
                  <a:pt x="1550" y="1346"/>
                </a:cubicBezTo>
                <a:cubicBezTo>
                  <a:pt x="1550" y="1345"/>
                  <a:pt x="1552" y="1345"/>
                  <a:pt x="1553" y="1344"/>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099" y="1210"/>
                </a:moveTo>
                <a:cubicBezTo>
                  <a:pt x="1099" y="1210"/>
                  <a:pt x="1099" y="1210"/>
                  <a:pt x="1099" y="1210"/>
                </a:cubicBezTo>
                <a:cubicBezTo>
                  <a:pt x="1094" y="1210"/>
                  <a:pt x="1094" y="1210"/>
                  <a:pt x="1094" y="1210"/>
                </a:cubicBezTo>
                <a:cubicBezTo>
                  <a:pt x="1092" y="1212"/>
                  <a:pt x="1090" y="1213"/>
                  <a:pt x="1088" y="1214"/>
                </a:cubicBezTo>
                <a:cubicBezTo>
                  <a:pt x="1087" y="1216"/>
                  <a:pt x="1085" y="1216"/>
                  <a:pt x="1083" y="1217"/>
                </a:cubicBezTo>
                <a:cubicBezTo>
                  <a:pt x="1082" y="1218"/>
                  <a:pt x="1079" y="1219"/>
                  <a:pt x="1078" y="1220"/>
                </a:cubicBezTo>
                <a:cubicBezTo>
                  <a:pt x="1076" y="1221"/>
                  <a:pt x="1074" y="1221"/>
                  <a:pt x="1072" y="1221"/>
                </a:cubicBezTo>
                <a:cubicBezTo>
                  <a:pt x="1072" y="1221"/>
                  <a:pt x="1072" y="1221"/>
                  <a:pt x="1072" y="1232"/>
                </a:cubicBezTo>
                <a:cubicBezTo>
                  <a:pt x="1075" y="1231"/>
                  <a:pt x="1078" y="1230"/>
                  <a:pt x="1080" y="1229"/>
                </a:cubicBezTo>
                <a:cubicBezTo>
                  <a:pt x="1083" y="1228"/>
                  <a:pt x="1085" y="1226"/>
                  <a:pt x="1087" y="1225"/>
                </a:cubicBezTo>
                <a:cubicBezTo>
                  <a:pt x="1087" y="1225"/>
                  <a:pt x="1087" y="1225"/>
                  <a:pt x="1087" y="1284"/>
                </a:cubicBezTo>
                <a:cubicBezTo>
                  <a:pt x="1087" y="1284"/>
                  <a:pt x="1087" y="1284"/>
                  <a:pt x="1099" y="1284"/>
                </a:cubicBezTo>
                <a:cubicBezTo>
                  <a:pt x="1099" y="1284"/>
                  <a:pt x="1099" y="1284"/>
                  <a:pt x="1099" y="1210"/>
                </a:cubicBezTo>
                <a:close/>
                <a:moveTo>
                  <a:pt x="1146" y="1210"/>
                </a:moveTo>
                <a:cubicBezTo>
                  <a:pt x="1146" y="1210"/>
                  <a:pt x="1146" y="1210"/>
                  <a:pt x="1146" y="1210"/>
                </a:cubicBezTo>
                <a:cubicBezTo>
                  <a:pt x="1141" y="1210"/>
                  <a:pt x="1141" y="1210"/>
                  <a:pt x="1141" y="1210"/>
                </a:cubicBezTo>
                <a:cubicBezTo>
                  <a:pt x="1140" y="1212"/>
                  <a:pt x="1137" y="1213"/>
                  <a:pt x="1136" y="1214"/>
                </a:cubicBezTo>
                <a:cubicBezTo>
                  <a:pt x="1134" y="1216"/>
                  <a:pt x="1132" y="1216"/>
                  <a:pt x="1130" y="1217"/>
                </a:cubicBezTo>
                <a:cubicBezTo>
                  <a:pt x="1129" y="1218"/>
                  <a:pt x="1126" y="1219"/>
                  <a:pt x="1125" y="1220"/>
                </a:cubicBezTo>
                <a:cubicBezTo>
                  <a:pt x="1123" y="1221"/>
                  <a:pt x="1121" y="1221"/>
                  <a:pt x="1119" y="1221"/>
                </a:cubicBezTo>
                <a:cubicBezTo>
                  <a:pt x="1119" y="1221"/>
                  <a:pt x="1119" y="1221"/>
                  <a:pt x="1119" y="1232"/>
                </a:cubicBezTo>
                <a:cubicBezTo>
                  <a:pt x="1122" y="1231"/>
                  <a:pt x="1125" y="1230"/>
                  <a:pt x="1128" y="1229"/>
                </a:cubicBezTo>
                <a:cubicBezTo>
                  <a:pt x="1130" y="1228"/>
                  <a:pt x="1132" y="1226"/>
                  <a:pt x="1134" y="1225"/>
                </a:cubicBezTo>
                <a:cubicBezTo>
                  <a:pt x="1134" y="1225"/>
                  <a:pt x="1134" y="1225"/>
                  <a:pt x="1134" y="1284"/>
                </a:cubicBezTo>
                <a:cubicBezTo>
                  <a:pt x="1134" y="1284"/>
                  <a:pt x="1134" y="1284"/>
                  <a:pt x="1146" y="1284"/>
                </a:cubicBezTo>
                <a:cubicBezTo>
                  <a:pt x="1146" y="1284"/>
                  <a:pt x="1146" y="1284"/>
                  <a:pt x="1146" y="1210"/>
                </a:cubicBezTo>
                <a:close/>
                <a:moveTo>
                  <a:pt x="1192" y="1210"/>
                </a:moveTo>
                <a:cubicBezTo>
                  <a:pt x="1192" y="1210"/>
                  <a:pt x="1192" y="1210"/>
                  <a:pt x="1192" y="1210"/>
                </a:cubicBezTo>
                <a:cubicBezTo>
                  <a:pt x="1188" y="1210"/>
                  <a:pt x="1188" y="1210"/>
                  <a:pt x="1188" y="1210"/>
                </a:cubicBezTo>
                <a:cubicBezTo>
                  <a:pt x="1186" y="1212"/>
                  <a:pt x="1184" y="1213"/>
                  <a:pt x="1182" y="1214"/>
                </a:cubicBezTo>
                <a:cubicBezTo>
                  <a:pt x="1181" y="1216"/>
                  <a:pt x="1178" y="1216"/>
                  <a:pt x="1177" y="1217"/>
                </a:cubicBezTo>
                <a:cubicBezTo>
                  <a:pt x="1175" y="1218"/>
                  <a:pt x="1173" y="1218"/>
                  <a:pt x="1171" y="1219"/>
                </a:cubicBezTo>
                <a:cubicBezTo>
                  <a:pt x="1170" y="1220"/>
                  <a:pt x="1168" y="1221"/>
                  <a:pt x="1166" y="1221"/>
                </a:cubicBezTo>
                <a:cubicBezTo>
                  <a:pt x="1166" y="1221"/>
                  <a:pt x="1166" y="1221"/>
                  <a:pt x="1166" y="1232"/>
                </a:cubicBezTo>
                <a:cubicBezTo>
                  <a:pt x="1169" y="1231"/>
                  <a:pt x="1172" y="1229"/>
                  <a:pt x="1174" y="1229"/>
                </a:cubicBezTo>
                <a:cubicBezTo>
                  <a:pt x="1176" y="1228"/>
                  <a:pt x="1179" y="1226"/>
                  <a:pt x="1181" y="1225"/>
                </a:cubicBezTo>
                <a:cubicBezTo>
                  <a:pt x="1181" y="1225"/>
                  <a:pt x="1181" y="1225"/>
                  <a:pt x="1181" y="1284"/>
                </a:cubicBezTo>
                <a:cubicBezTo>
                  <a:pt x="1181" y="1284"/>
                  <a:pt x="1181" y="1284"/>
                  <a:pt x="1192" y="1284"/>
                </a:cubicBezTo>
                <a:cubicBezTo>
                  <a:pt x="1192" y="1284"/>
                  <a:pt x="1192" y="1284"/>
                  <a:pt x="1192" y="1210"/>
                </a:cubicBezTo>
                <a:close/>
                <a:moveTo>
                  <a:pt x="1329" y="1243"/>
                </a:moveTo>
                <a:cubicBezTo>
                  <a:pt x="1329" y="1243"/>
                  <a:pt x="1329" y="1243"/>
                  <a:pt x="1329" y="1243"/>
                </a:cubicBezTo>
                <a:cubicBezTo>
                  <a:pt x="1328" y="1251"/>
                  <a:pt x="1328" y="1251"/>
                  <a:pt x="1328" y="1251"/>
                </a:cubicBezTo>
                <a:cubicBezTo>
                  <a:pt x="1335" y="1251"/>
                  <a:pt x="1336" y="1254"/>
                  <a:pt x="1336" y="1257"/>
                </a:cubicBezTo>
                <a:cubicBezTo>
                  <a:pt x="1336" y="1259"/>
                  <a:pt x="1335" y="1261"/>
                  <a:pt x="1335" y="1264"/>
                </a:cubicBezTo>
                <a:cubicBezTo>
                  <a:pt x="1335" y="1267"/>
                  <a:pt x="1334" y="1269"/>
                  <a:pt x="1334" y="1271"/>
                </a:cubicBezTo>
                <a:cubicBezTo>
                  <a:pt x="1334" y="1281"/>
                  <a:pt x="1340" y="1284"/>
                  <a:pt x="1349" y="1284"/>
                </a:cubicBezTo>
                <a:cubicBezTo>
                  <a:pt x="1349" y="1284"/>
                  <a:pt x="1349" y="1284"/>
                  <a:pt x="1352" y="1284"/>
                </a:cubicBezTo>
                <a:cubicBezTo>
                  <a:pt x="1352" y="1284"/>
                  <a:pt x="1352" y="1284"/>
                  <a:pt x="1352" y="1275"/>
                </a:cubicBezTo>
                <a:cubicBezTo>
                  <a:pt x="1352" y="1275"/>
                  <a:pt x="1352" y="1275"/>
                  <a:pt x="1351" y="1275"/>
                </a:cubicBezTo>
                <a:cubicBezTo>
                  <a:pt x="1347" y="1275"/>
                  <a:pt x="1346" y="1272"/>
                  <a:pt x="1346" y="1269"/>
                </a:cubicBezTo>
                <a:cubicBezTo>
                  <a:pt x="1346" y="1267"/>
                  <a:pt x="1346" y="1266"/>
                  <a:pt x="1347" y="1264"/>
                </a:cubicBezTo>
                <a:cubicBezTo>
                  <a:pt x="1347" y="1263"/>
                  <a:pt x="1347" y="1260"/>
                  <a:pt x="1347" y="1258"/>
                </a:cubicBezTo>
                <a:cubicBezTo>
                  <a:pt x="1347" y="1251"/>
                  <a:pt x="1344" y="1248"/>
                  <a:pt x="1338" y="1247"/>
                </a:cubicBezTo>
                <a:cubicBezTo>
                  <a:pt x="1338" y="1247"/>
                  <a:pt x="1338" y="1247"/>
                  <a:pt x="1338" y="1246"/>
                </a:cubicBezTo>
                <a:cubicBezTo>
                  <a:pt x="1344" y="1245"/>
                  <a:pt x="1347" y="1243"/>
                  <a:pt x="1347" y="1236"/>
                </a:cubicBezTo>
                <a:cubicBezTo>
                  <a:pt x="1347" y="1233"/>
                  <a:pt x="1347" y="1231"/>
                  <a:pt x="1347" y="1229"/>
                </a:cubicBezTo>
                <a:cubicBezTo>
                  <a:pt x="1346" y="1228"/>
                  <a:pt x="1346" y="1226"/>
                  <a:pt x="1346" y="1225"/>
                </a:cubicBezTo>
                <a:cubicBezTo>
                  <a:pt x="1346" y="1221"/>
                  <a:pt x="1347" y="1219"/>
                  <a:pt x="1351" y="1219"/>
                </a:cubicBezTo>
                <a:cubicBezTo>
                  <a:pt x="1351" y="1219"/>
                  <a:pt x="1351" y="1219"/>
                  <a:pt x="1352" y="1219"/>
                </a:cubicBezTo>
                <a:cubicBezTo>
                  <a:pt x="1352" y="1219"/>
                  <a:pt x="1352" y="1219"/>
                  <a:pt x="1352" y="1209"/>
                </a:cubicBezTo>
                <a:cubicBezTo>
                  <a:pt x="1352" y="1209"/>
                  <a:pt x="1352" y="1209"/>
                  <a:pt x="1349" y="1209"/>
                </a:cubicBezTo>
                <a:cubicBezTo>
                  <a:pt x="1340" y="1209"/>
                  <a:pt x="1334" y="1214"/>
                  <a:pt x="1334" y="1222"/>
                </a:cubicBezTo>
                <a:cubicBezTo>
                  <a:pt x="1334" y="1224"/>
                  <a:pt x="1335" y="1227"/>
                  <a:pt x="1335" y="1230"/>
                </a:cubicBezTo>
                <a:cubicBezTo>
                  <a:pt x="1335" y="1232"/>
                  <a:pt x="1336" y="1235"/>
                  <a:pt x="1336" y="1236"/>
                </a:cubicBezTo>
                <a:cubicBezTo>
                  <a:pt x="1336" y="1239"/>
                  <a:pt x="1335" y="1242"/>
                  <a:pt x="1329" y="1243"/>
                </a:cubicBezTo>
                <a:close/>
                <a:moveTo>
                  <a:pt x="1384" y="1251"/>
                </a:moveTo>
                <a:cubicBezTo>
                  <a:pt x="1384" y="1251"/>
                  <a:pt x="1384" y="1251"/>
                  <a:pt x="1384" y="1251"/>
                </a:cubicBezTo>
                <a:cubicBezTo>
                  <a:pt x="1384" y="1243"/>
                  <a:pt x="1384" y="1243"/>
                  <a:pt x="1384" y="1243"/>
                </a:cubicBezTo>
                <a:cubicBezTo>
                  <a:pt x="1377" y="1242"/>
                  <a:pt x="1377" y="1239"/>
                  <a:pt x="1377" y="1236"/>
                </a:cubicBezTo>
                <a:cubicBezTo>
                  <a:pt x="1377" y="1235"/>
                  <a:pt x="1377" y="1232"/>
                  <a:pt x="1377" y="1230"/>
                </a:cubicBezTo>
                <a:cubicBezTo>
                  <a:pt x="1378" y="1227"/>
                  <a:pt x="1378" y="1224"/>
                  <a:pt x="1378" y="1222"/>
                </a:cubicBezTo>
                <a:cubicBezTo>
                  <a:pt x="1378" y="1214"/>
                  <a:pt x="1372" y="1209"/>
                  <a:pt x="1363" y="1209"/>
                </a:cubicBezTo>
                <a:cubicBezTo>
                  <a:pt x="1363" y="1209"/>
                  <a:pt x="1363" y="1209"/>
                  <a:pt x="1359" y="1209"/>
                </a:cubicBezTo>
                <a:cubicBezTo>
                  <a:pt x="1359" y="1209"/>
                  <a:pt x="1359" y="1209"/>
                  <a:pt x="1359" y="1219"/>
                </a:cubicBezTo>
                <a:cubicBezTo>
                  <a:pt x="1359" y="1219"/>
                  <a:pt x="1359" y="1219"/>
                  <a:pt x="1361" y="1219"/>
                </a:cubicBezTo>
                <a:cubicBezTo>
                  <a:pt x="1364" y="1219"/>
                  <a:pt x="1366" y="1221"/>
                  <a:pt x="1366" y="1225"/>
                </a:cubicBezTo>
                <a:cubicBezTo>
                  <a:pt x="1366" y="1226"/>
                  <a:pt x="1366" y="1228"/>
                  <a:pt x="1366" y="1229"/>
                </a:cubicBezTo>
                <a:cubicBezTo>
                  <a:pt x="1365" y="1231"/>
                  <a:pt x="1365" y="1233"/>
                  <a:pt x="1365" y="1236"/>
                </a:cubicBezTo>
                <a:cubicBezTo>
                  <a:pt x="1365" y="1243"/>
                  <a:pt x="1368" y="1245"/>
                  <a:pt x="1374" y="1246"/>
                </a:cubicBezTo>
                <a:cubicBezTo>
                  <a:pt x="1374" y="1246"/>
                  <a:pt x="1374" y="1246"/>
                  <a:pt x="1374" y="1247"/>
                </a:cubicBezTo>
                <a:cubicBezTo>
                  <a:pt x="1368" y="1248"/>
                  <a:pt x="1365" y="1251"/>
                  <a:pt x="1365" y="1258"/>
                </a:cubicBezTo>
                <a:cubicBezTo>
                  <a:pt x="1365" y="1260"/>
                  <a:pt x="1365" y="1263"/>
                  <a:pt x="1366" y="1264"/>
                </a:cubicBezTo>
                <a:cubicBezTo>
                  <a:pt x="1366" y="1266"/>
                  <a:pt x="1366" y="1267"/>
                  <a:pt x="1366" y="1269"/>
                </a:cubicBezTo>
                <a:cubicBezTo>
                  <a:pt x="1366" y="1272"/>
                  <a:pt x="1365" y="1275"/>
                  <a:pt x="1361" y="1275"/>
                </a:cubicBezTo>
                <a:cubicBezTo>
                  <a:pt x="1361" y="1275"/>
                  <a:pt x="1361" y="1275"/>
                  <a:pt x="1359" y="1275"/>
                </a:cubicBezTo>
                <a:cubicBezTo>
                  <a:pt x="1359" y="1275"/>
                  <a:pt x="1359" y="1275"/>
                  <a:pt x="1359" y="1284"/>
                </a:cubicBezTo>
                <a:cubicBezTo>
                  <a:pt x="1359" y="1284"/>
                  <a:pt x="1359" y="1284"/>
                  <a:pt x="1363" y="1284"/>
                </a:cubicBezTo>
                <a:cubicBezTo>
                  <a:pt x="1372" y="1284"/>
                  <a:pt x="1378" y="1281"/>
                  <a:pt x="1378" y="1271"/>
                </a:cubicBezTo>
                <a:cubicBezTo>
                  <a:pt x="1378" y="1269"/>
                  <a:pt x="1378" y="1267"/>
                  <a:pt x="1377" y="1264"/>
                </a:cubicBezTo>
                <a:cubicBezTo>
                  <a:pt x="1377" y="1261"/>
                  <a:pt x="1377" y="1259"/>
                  <a:pt x="1377" y="1257"/>
                </a:cubicBezTo>
                <a:cubicBezTo>
                  <a:pt x="1377" y="1254"/>
                  <a:pt x="1377" y="1251"/>
                  <a:pt x="1384" y="1251"/>
                </a:cubicBezTo>
                <a:close/>
                <a:moveTo>
                  <a:pt x="1430" y="1210"/>
                </a:moveTo>
                <a:cubicBezTo>
                  <a:pt x="1430" y="1210"/>
                  <a:pt x="1430" y="1210"/>
                  <a:pt x="1430" y="1210"/>
                </a:cubicBezTo>
                <a:cubicBezTo>
                  <a:pt x="1425" y="1210"/>
                  <a:pt x="1425" y="1210"/>
                  <a:pt x="1425" y="1210"/>
                </a:cubicBezTo>
                <a:cubicBezTo>
                  <a:pt x="1423" y="1212"/>
                  <a:pt x="1422" y="1213"/>
                  <a:pt x="1419" y="1214"/>
                </a:cubicBezTo>
                <a:cubicBezTo>
                  <a:pt x="1418" y="1216"/>
                  <a:pt x="1416" y="1216"/>
                  <a:pt x="1414" y="1217"/>
                </a:cubicBezTo>
                <a:cubicBezTo>
                  <a:pt x="1412" y="1218"/>
                  <a:pt x="1411" y="1218"/>
                  <a:pt x="1409" y="1219"/>
                </a:cubicBezTo>
                <a:cubicBezTo>
                  <a:pt x="1407" y="1220"/>
                  <a:pt x="1406" y="1221"/>
                  <a:pt x="1403" y="1221"/>
                </a:cubicBezTo>
                <a:cubicBezTo>
                  <a:pt x="1403" y="1221"/>
                  <a:pt x="1403" y="1221"/>
                  <a:pt x="1403" y="1232"/>
                </a:cubicBezTo>
                <a:cubicBezTo>
                  <a:pt x="1406" y="1231"/>
                  <a:pt x="1409" y="1229"/>
                  <a:pt x="1411" y="1229"/>
                </a:cubicBezTo>
                <a:cubicBezTo>
                  <a:pt x="1414" y="1228"/>
                  <a:pt x="1416" y="1226"/>
                  <a:pt x="1419" y="1225"/>
                </a:cubicBezTo>
                <a:cubicBezTo>
                  <a:pt x="1419" y="1225"/>
                  <a:pt x="1419" y="1225"/>
                  <a:pt x="1419" y="1284"/>
                </a:cubicBezTo>
                <a:cubicBezTo>
                  <a:pt x="1419" y="1284"/>
                  <a:pt x="1419" y="1284"/>
                  <a:pt x="1430" y="1284"/>
                </a:cubicBezTo>
                <a:cubicBezTo>
                  <a:pt x="1430" y="1284"/>
                  <a:pt x="1430" y="1284"/>
                  <a:pt x="1430" y="1210"/>
                </a:cubicBezTo>
                <a:close/>
                <a:moveTo>
                  <a:pt x="1477" y="1210"/>
                </a:moveTo>
                <a:cubicBezTo>
                  <a:pt x="1477" y="1210"/>
                  <a:pt x="1477" y="1210"/>
                  <a:pt x="1477" y="1210"/>
                </a:cubicBezTo>
                <a:cubicBezTo>
                  <a:pt x="1472" y="1210"/>
                  <a:pt x="1472" y="1210"/>
                  <a:pt x="1472" y="1210"/>
                </a:cubicBezTo>
                <a:cubicBezTo>
                  <a:pt x="1470" y="1212"/>
                  <a:pt x="1468" y="1213"/>
                  <a:pt x="1466" y="1214"/>
                </a:cubicBezTo>
                <a:cubicBezTo>
                  <a:pt x="1465" y="1216"/>
                  <a:pt x="1463" y="1216"/>
                  <a:pt x="1461" y="1217"/>
                </a:cubicBezTo>
                <a:cubicBezTo>
                  <a:pt x="1460" y="1218"/>
                  <a:pt x="1458" y="1219"/>
                  <a:pt x="1456" y="1220"/>
                </a:cubicBezTo>
                <a:cubicBezTo>
                  <a:pt x="1454" y="1221"/>
                  <a:pt x="1453" y="1221"/>
                  <a:pt x="1450" y="1221"/>
                </a:cubicBezTo>
                <a:cubicBezTo>
                  <a:pt x="1450" y="1221"/>
                  <a:pt x="1450" y="1221"/>
                  <a:pt x="1450" y="1232"/>
                </a:cubicBezTo>
                <a:cubicBezTo>
                  <a:pt x="1453" y="1231"/>
                  <a:pt x="1456" y="1230"/>
                  <a:pt x="1458" y="1229"/>
                </a:cubicBezTo>
                <a:cubicBezTo>
                  <a:pt x="1461" y="1228"/>
                  <a:pt x="1463" y="1226"/>
                  <a:pt x="1465" y="1225"/>
                </a:cubicBezTo>
                <a:cubicBezTo>
                  <a:pt x="1465" y="1225"/>
                  <a:pt x="1465" y="1225"/>
                  <a:pt x="1465" y="1284"/>
                </a:cubicBezTo>
                <a:cubicBezTo>
                  <a:pt x="1465" y="1284"/>
                  <a:pt x="1465" y="1284"/>
                  <a:pt x="1477" y="1284"/>
                </a:cubicBezTo>
                <a:cubicBezTo>
                  <a:pt x="1477" y="1284"/>
                  <a:pt x="1477" y="1284"/>
                  <a:pt x="1477" y="1210"/>
                </a:cubicBezTo>
                <a:close/>
                <a:moveTo>
                  <a:pt x="1522" y="1210"/>
                </a:moveTo>
                <a:cubicBezTo>
                  <a:pt x="1522" y="1210"/>
                  <a:pt x="1522" y="1210"/>
                  <a:pt x="1522" y="1210"/>
                </a:cubicBezTo>
                <a:cubicBezTo>
                  <a:pt x="1518" y="1210"/>
                  <a:pt x="1518" y="1210"/>
                  <a:pt x="1518" y="1210"/>
                </a:cubicBezTo>
                <a:cubicBezTo>
                  <a:pt x="1516" y="1212"/>
                  <a:pt x="1514" y="1213"/>
                  <a:pt x="1512" y="1214"/>
                </a:cubicBezTo>
                <a:cubicBezTo>
                  <a:pt x="1511" y="1216"/>
                  <a:pt x="1509" y="1216"/>
                  <a:pt x="1507" y="1217"/>
                </a:cubicBezTo>
                <a:cubicBezTo>
                  <a:pt x="1505" y="1218"/>
                  <a:pt x="1504" y="1219"/>
                  <a:pt x="1502" y="1220"/>
                </a:cubicBezTo>
                <a:cubicBezTo>
                  <a:pt x="1500" y="1221"/>
                  <a:pt x="1498" y="1221"/>
                  <a:pt x="1496" y="1221"/>
                </a:cubicBezTo>
                <a:cubicBezTo>
                  <a:pt x="1496" y="1221"/>
                  <a:pt x="1496" y="1221"/>
                  <a:pt x="1496" y="1232"/>
                </a:cubicBezTo>
                <a:cubicBezTo>
                  <a:pt x="1499" y="1231"/>
                  <a:pt x="1502" y="1230"/>
                  <a:pt x="1504" y="1229"/>
                </a:cubicBezTo>
                <a:cubicBezTo>
                  <a:pt x="1507" y="1228"/>
                  <a:pt x="1509" y="1226"/>
                  <a:pt x="1511" y="1225"/>
                </a:cubicBezTo>
                <a:cubicBezTo>
                  <a:pt x="1511" y="1225"/>
                  <a:pt x="1511" y="1225"/>
                  <a:pt x="1511" y="1284"/>
                </a:cubicBezTo>
                <a:cubicBezTo>
                  <a:pt x="1511" y="1284"/>
                  <a:pt x="1511" y="1284"/>
                  <a:pt x="1522" y="1284"/>
                </a:cubicBezTo>
                <a:cubicBezTo>
                  <a:pt x="1522" y="1284"/>
                  <a:pt x="1522" y="1284"/>
                  <a:pt x="1522" y="1210"/>
                </a:cubicBezTo>
                <a:close/>
                <a:moveTo>
                  <a:pt x="1272" y="1258"/>
                </a:moveTo>
                <a:cubicBezTo>
                  <a:pt x="1273" y="1259"/>
                  <a:pt x="1273" y="1261"/>
                  <a:pt x="1274" y="1262"/>
                </a:cubicBezTo>
                <a:cubicBezTo>
                  <a:pt x="1274" y="1264"/>
                  <a:pt x="1275" y="1266"/>
                  <a:pt x="1275" y="1267"/>
                </a:cubicBezTo>
                <a:cubicBezTo>
                  <a:pt x="1275" y="1269"/>
                  <a:pt x="1275" y="1270"/>
                  <a:pt x="1275" y="1272"/>
                </a:cubicBezTo>
                <a:cubicBezTo>
                  <a:pt x="1276" y="1275"/>
                  <a:pt x="1275" y="1277"/>
                  <a:pt x="1272" y="1277"/>
                </a:cubicBezTo>
                <a:cubicBezTo>
                  <a:pt x="1269" y="1277"/>
                  <a:pt x="1266" y="1276"/>
                  <a:pt x="1263" y="1276"/>
                </a:cubicBezTo>
                <a:cubicBezTo>
                  <a:pt x="1263" y="1276"/>
                  <a:pt x="1262" y="1276"/>
                  <a:pt x="1262" y="1277"/>
                </a:cubicBezTo>
                <a:cubicBezTo>
                  <a:pt x="1260" y="1278"/>
                  <a:pt x="1259" y="1280"/>
                  <a:pt x="1258" y="1281"/>
                </a:cubicBezTo>
                <a:cubicBezTo>
                  <a:pt x="1256" y="1283"/>
                  <a:pt x="1252" y="1284"/>
                  <a:pt x="1250" y="1282"/>
                </a:cubicBezTo>
                <a:cubicBezTo>
                  <a:pt x="1248" y="1280"/>
                  <a:pt x="1247" y="1277"/>
                  <a:pt x="1245" y="1274"/>
                </a:cubicBezTo>
                <a:cubicBezTo>
                  <a:pt x="1245" y="1273"/>
                  <a:pt x="1245" y="1271"/>
                  <a:pt x="1247" y="1270"/>
                </a:cubicBezTo>
                <a:cubicBezTo>
                  <a:pt x="1245" y="1270"/>
                  <a:pt x="1243" y="1270"/>
                  <a:pt x="1241" y="1270"/>
                </a:cubicBezTo>
                <a:cubicBezTo>
                  <a:pt x="1241" y="1272"/>
                  <a:pt x="1239" y="1274"/>
                  <a:pt x="1239" y="1276"/>
                </a:cubicBezTo>
                <a:cubicBezTo>
                  <a:pt x="1239" y="1276"/>
                  <a:pt x="1238" y="1277"/>
                  <a:pt x="1238" y="1278"/>
                </a:cubicBezTo>
                <a:cubicBezTo>
                  <a:pt x="1238" y="1281"/>
                  <a:pt x="1237" y="1282"/>
                  <a:pt x="1234" y="1282"/>
                </a:cubicBezTo>
                <a:cubicBezTo>
                  <a:pt x="1231" y="1282"/>
                  <a:pt x="1228" y="1281"/>
                  <a:pt x="1225" y="1280"/>
                </a:cubicBezTo>
                <a:cubicBezTo>
                  <a:pt x="1223" y="1279"/>
                  <a:pt x="1222" y="1278"/>
                  <a:pt x="1223" y="1276"/>
                </a:cubicBezTo>
                <a:cubicBezTo>
                  <a:pt x="1223" y="1275"/>
                  <a:pt x="1223" y="1274"/>
                  <a:pt x="1224" y="1274"/>
                </a:cubicBezTo>
                <a:cubicBezTo>
                  <a:pt x="1221" y="1273"/>
                  <a:pt x="1219" y="1272"/>
                  <a:pt x="1217" y="1270"/>
                </a:cubicBezTo>
                <a:cubicBezTo>
                  <a:pt x="1216" y="1270"/>
                  <a:pt x="1215" y="1268"/>
                  <a:pt x="1214" y="1266"/>
                </a:cubicBezTo>
                <a:cubicBezTo>
                  <a:pt x="1213" y="1264"/>
                  <a:pt x="1213" y="1263"/>
                  <a:pt x="1215" y="1261"/>
                </a:cubicBezTo>
                <a:cubicBezTo>
                  <a:pt x="1218" y="1259"/>
                  <a:pt x="1219" y="1256"/>
                  <a:pt x="1218" y="1252"/>
                </a:cubicBezTo>
                <a:cubicBezTo>
                  <a:pt x="1218" y="1250"/>
                  <a:pt x="1218" y="1247"/>
                  <a:pt x="1218" y="1246"/>
                </a:cubicBezTo>
                <a:cubicBezTo>
                  <a:pt x="1217" y="1245"/>
                  <a:pt x="1215" y="1245"/>
                  <a:pt x="1214" y="1244"/>
                </a:cubicBezTo>
                <a:cubicBezTo>
                  <a:pt x="1213" y="1242"/>
                  <a:pt x="1212" y="1240"/>
                  <a:pt x="1212" y="1238"/>
                </a:cubicBezTo>
                <a:cubicBezTo>
                  <a:pt x="1212" y="1235"/>
                  <a:pt x="1215" y="1232"/>
                  <a:pt x="1218" y="1232"/>
                </a:cubicBezTo>
                <a:cubicBezTo>
                  <a:pt x="1219" y="1232"/>
                  <a:pt x="1219" y="1233"/>
                  <a:pt x="1219" y="1234"/>
                </a:cubicBezTo>
                <a:cubicBezTo>
                  <a:pt x="1219" y="1235"/>
                  <a:pt x="1219" y="1236"/>
                  <a:pt x="1219" y="1237"/>
                </a:cubicBezTo>
                <a:cubicBezTo>
                  <a:pt x="1219" y="1237"/>
                  <a:pt x="1218" y="1237"/>
                  <a:pt x="1218" y="1237"/>
                </a:cubicBezTo>
                <a:cubicBezTo>
                  <a:pt x="1217" y="1238"/>
                  <a:pt x="1217" y="1239"/>
                  <a:pt x="1216" y="1241"/>
                </a:cubicBezTo>
                <a:cubicBezTo>
                  <a:pt x="1217" y="1241"/>
                  <a:pt x="1218" y="1241"/>
                  <a:pt x="1219" y="1240"/>
                </a:cubicBezTo>
                <a:cubicBezTo>
                  <a:pt x="1220" y="1239"/>
                  <a:pt x="1221" y="1238"/>
                  <a:pt x="1221" y="1237"/>
                </a:cubicBezTo>
                <a:cubicBezTo>
                  <a:pt x="1226" y="1230"/>
                  <a:pt x="1232" y="1226"/>
                  <a:pt x="1239" y="1225"/>
                </a:cubicBezTo>
                <a:cubicBezTo>
                  <a:pt x="1243" y="1224"/>
                  <a:pt x="1246" y="1223"/>
                  <a:pt x="1248" y="1221"/>
                </a:cubicBezTo>
                <a:cubicBezTo>
                  <a:pt x="1248" y="1220"/>
                  <a:pt x="1249" y="1220"/>
                  <a:pt x="1249" y="1220"/>
                </a:cubicBezTo>
                <a:cubicBezTo>
                  <a:pt x="1252" y="1219"/>
                  <a:pt x="1254" y="1217"/>
                  <a:pt x="1256" y="1215"/>
                </a:cubicBezTo>
                <a:cubicBezTo>
                  <a:pt x="1263" y="1207"/>
                  <a:pt x="1275" y="1207"/>
                  <a:pt x="1283" y="1214"/>
                </a:cubicBezTo>
                <a:cubicBezTo>
                  <a:pt x="1285" y="1216"/>
                  <a:pt x="1288" y="1218"/>
                  <a:pt x="1290" y="1220"/>
                </a:cubicBezTo>
                <a:cubicBezTo>
                  <a:pt x="1292" y="1221"/>
                  <a:pt x="1293" y="1223"/>
                  <a:pt x="1294" y="1224"/>
                </a:cubicBezTo>
                <a:cubicBezTo>
                  <a:pt x="1295" y="1226"/>
                  <a:pt x="1296" y="1226"/>
                  <a:pt x="1297" y="1225"/>
                </a:cubicBezTo>
                <a:cubicBezTo>
                  <a:pt x="1298" y="1224"/>
                  <a:pt x="1299" y="1224"/>
                  <a:pt x="1299" y="1223"/>
                </a:cubicBezTo>
                <a:cubicBezTo>
                  <a:pt x="1301" y="1220"/>
                  <a:pt x="1304" y="1220"/>
                  <a:pt x="1306" y="1223"/>
                </a:cubicBezTo>
                <a:cubicBezTo>
                  <a:pt x="1307" y="1226"/>
                  <a:pt x="1308" y="1229"/>
                  <a:pt x="1308" y="1232"/>
                </a:cubicBezTo>
                <a:cubicBezTo>
                  <a:pt x="1309" y="1237"/>
                  <a:pt x="1308" y="1241"/>
                  <a:pt x="1307" y="1245"/>
                </a:cubicBezTo>
                <a:cubicBezTo>
                  <a:pt x="1304" y="1252"/>
                  <a:pt x="1300" y="1255"/>
                  <a:pt x="1293" y="1255"/>
                </a:cubicBezTo>
                <a:cubicBezTo>
                  <a:pt x="1292" y="1255"/>
                  <a:pt x="1292" y="1255"/>
                  <a:pt x="1291" y="1255"/>
                </a:cubicBezTo>
                <a:cubicBezTo>
                  <a:pt x="1289" y="1255"/>
                  <a:pt x="1288" y="1255"/>
                  <a:pt x="1287" y="1258"/>
                </a:cubicBezTo>
                <a:cubicBezTo>
                  <a:pt x="1285" y="1262"/>
                  <a:pt x="1280" y="1264"/>
                  <a:pt x="1276" y="1261"/>
                </a:cubicBezTo>
                <a:cubicBezTo>
                  <a:pt x="1275" y="1259"/>
                  <a:pt x="1274" y="1259"/>
                  <a:pt x="1273" y="1257"/>
                </a:cubicBezTo>
                <a:cubicBezTo>
                  <a:pt x="1273" y="1258"/>
                  <a:pt x="1273" y="1258"/>
                  <a:pt x="1272" y="1258"/>
                </a:cubicBezTo>
                <a:close/>
                <a:moveTo>
                  <a:pt x="1267" y="1253"/>
                </a:moveTo>
                <a:cubicBezTo>
                  <a:pt x="1270" y="1255"/>
                  <a:pt x="1274" y="1256"/>
                  <a:pt x="1276" y="1259"/>
                </a:cubicBezTo>
                <a:cubicBezTo>
                  <a:pt x="1278" y="1261"/>
                  <a:pt x="1280" y="1261"/>
                  <a:pt x="1282" y="1261"/>
                </a:cubicBezTo>
                <a:cubicBezTo>
                  <a:pt x="1285" y="1260"/>
                  <a:pt x="1286" y="1258"/>
                  <a:pt x="1286" y="1255"/>
                </a:cubicBezTo>
                <a:cubicBezTo>
                  <a:pt x="1286" y="1255"/>
                  <a:pt x="1285" y="1255"/>
                  <a:pt x="1285" y="1255"/>
                </a:cubicBezTo>
                <a:cubicBezTo>
                  <a:pt x="1285" y="1257"/>
                  <a:pt x="1284" y="1258"/>
                  <a:pt x="1283" y="1259"/>
                </a:cubicBezTo>
                <a:cubicBezTo>
                  <a:pt x="1282" y="1260"/>
                  <a:pt x="1280" y="1260"/>
                  <a:pt x="1280" y="1259"/>
                </a:cubicBezTo>
                <a:cubicBezTo>
                  <a:pt x="1279" y="1259"/>
                  <a:pt x="1278" y="1258"/>
                  <a:pt x="1278" y="1257"/>
                </a:cubicBezTo>
                <a:cubicBezTo>
                  <a:pt x="1278" y="1255"/>
                  <a:pt x="1279" y="1253"/>
                  <a:pt x="1279" y="1251"/>
                </a:cubicBezTo>
                <a:cubicBezTo>
                  <a:pt x="1282" y="1252"/>
                  <a:pt x="1286" y="1253"/>
                  <a:pt x="1289" y="1253"/>
                </a:cubicBezTo>
                <a:cubicBezTo>
                  <a:pt x="1297" y="1255"/>
                  <a:pt x="1303" y="1253"/>
                  <a:pt x="1306" y="1244"/>
                </a:cubicBezTo>
                <a:cubicBezTo>
                  <a:pt x="1307" y="1240"/>
                  <a:pt x="1307" y="1235"/>
                  <a:pt x="1306" y="1230"/>
                </a:cubicBezTo>
                <a:cubicBezTo>
                  <a:pt x="1306" y="1228"/>
                  <a:pt x="1305" y="1226"/>
                  <a:pt x="1304" y="1224"/>
                </a:cubicBezTo>
                <a:cubicBezTo>
                  <a:pt x="1303" y="1223"/>
                  <a:pt x="1302" y="1222"/>
                  <a:pt x="1301" y="1224"/>
                </a:cubicBezTo>
                <a:cubicBezTo>
                  <a:pt x="1299" y="1225"/>
                  <a:pt x="1298" y="1227"/>
                  <a:pt x="1296" y="1228"/>
                </a:cubicBezTo>
                <a:cubicBezTo>
                  <a:pt x="1295" y="1228"/>
                  <a:pt x="1294" y="1229"/>
                  <a:pt x="1295" y="1230"/>
                </a:cubicBezTo>
                <a:cubicBezTo>
                  <a:pt x="1295" y="1233"/>
                  <a:pt x="1295" y="1236"/>
                  <a:pt x="1293" y="1240"/>
                </a:cubicBezTo>
                <a:cubicBezTo>
                  <a:pt x="1293" y="1238"/>
                  <a:pt x="1294" y="1236"/>
                  <a:pt x="1294" y="1234"/>
                </a:cubicBezTo>
                <a:cubicBezTo>
                  <a:pt x="1294" y="1233"/>
                  <a:pt x="1293" y="1233"/>
                  <a:pt x="1293" y="1232"/>
                </a:cubicBezTo>
                <a:cubicBezTo>
                  <a:pt x="1293" y="1233"/>
                  <a:pt x="1292" y="1233"/>
                  <a:pt x="1292" y="1233"/>
                </a:cubicBezTo>
                <a:cubicBezTo>
                  <a:pt x="1291" y="1234"/>
                  <a:pt x="1290" y="1236"/>
                  <a:pt x="1290" y="1237"/>
                </a:cubicBezTo>
                <a:cubicBezTo>
                  <a:pt x="1289" y="1237"/>
                  <a:pt x="1289" y="1237"/>
                  <a:pt x="1289" y="1237"/>
                </a:cubicBezTo>
                <a:cubicBezTo>
                  <a:pt x="1290" y="1236"/>
                  <a:pt x="1290" y="1234"/>
                  <a:pt x="1290" y="1232"/>
                </a:cubicBezTo>
                <a:cubicBezTo>
                  <a:pt x="1289" y="1232"/>
                  <a:pt x="1289" y="1233"/>
                  <a:pt x="1288" y="1234"/>
                </a:cubicBezTo>
                <a:cubicBezTo>
                  <a:pt x="1288" y="1234"/>
                  <a:pt x="1287" y="1235"/>
                  <a:pt x="1287" y="1236"/>
                </a:cubicBezTo>
                <a:cubicBezTo>
                  <a:pt x="1287" y="1232"/>
                  <a:pt x="1288" y="1232"/>
                  <a:pt x="1293" y="1231"/>
                </a:cubicBezTo>
                <a:cubicBezTo>
                  <a:pt x="1293" y="1230"/>
                  <a:pt x="1292" y="1230"/>
                  <a:pt x="1292" y="1230"/>
                </a:cubicBezTo>
                <a:cubicBezTo>
                  <a:pt x="1290" y="1230"/>
                  <a:pt x="1289" y="1229"/>
                  <a:pt x="1288" y="1226"/>
                </a:cubicBezTo>
                <a:cubicBezTo>
                  <a:pt x="1290" y="1226"/>
                  <a:pt x="1291" y="1226"/>
                  <a:pt x="1293" y="1225"/>
                </a:cubicBezTo>
                <a:cubicBezTo>
                  <a:pt x="1291" y="1223"/>
                  <a:pt x="1290" y="1220"/>
                  <a:pt x="1287" y="1220"/>
                </a:cubicBezTo>
                <a:cubicBezTo>
                  <a:pt x="1286" y="1220"/>
                  <a:pt x="1286" y="1219"/>
                  <a:pt x="1286" y="1219"/>
                </a:cubicBezTo>
                <a:cubicBezTo>
                  <a:pt x="1284" y="1217"/>
                  <a:pt x="1281" y="1215"/>
                  <a:pt x="1278" y="1213"/>
                </a:cubicBezTo>
                <a:cubicBezTo>
                  <a:pt x="1276" y="1211"/>
                  <a:pt x="1273" y="1211"/>
                  <a:pt x="1271" y="1211"/>
                </a:cubicBezTo>
                <a:cubicBezTo>
                  <a:pt x="1268" y="1211"/>
                  <a:pt x="1265" y="1212"/>
                  <a:pt x="1262" y="1213"/>
                </a:cubicBezTo>
                <a:cubicBezTo>
                  <a:pt x="1259" y="1214"/>
                  <a:pt x="1256" y="1216"/>
                  <a:pt x="1254" y="1219"/>
                </a:cubicBezTo>
                <a:cubicBezTo>
                  <a:pt x="1256" y="1219"/>
                  <a:pt x="1257" y="1219"/>
                  <a:pt x="1258" y="1219"/>
                </a:cubicBezTo>
                <a:cubicBezTo>
                  <a:pt x="1258" y="1219"/>
                  <a:pt x="1257" y="1220"/>
                  <a:pt x="1256" y="1220"/>
                </a:cubicBezTo>
                <a:cubicBezTo>
                  <a:pt x="1254" y="1221"/>
                  <a:pt x="1251" y="1220"/>
                  <a:pt x="1249" y="1222"/>
                </a:cubicBezTo>
                <a:cubicBezTo>
                  <a:pt x="1246" y="1226"/>
                  <a:pt x="1242" y="1230"/>
                  <a:pt x="1238" y="1234"/>
                </a:cubicBezTo>
                <a:cubicBezTo>
                  <a:pt x="1237" y="1236"/>
                  <a:pt x="1236" y="1238"/>
                  <a:pt x="1235" y="1241"/>
                </a:cubicBezTo>
                <a:cubicBezTo>
                  <a:pt x="1235" y="1241"/>
                  <a:pt x="1235" y="1242"/>
                  <a:pt x="1235" y="1242"/>
                </a:cubicBezTo>
                <a:cubicBezTo>
                  <a:pt x="1236" y="1244"/>
                  <a:pt x="1237" y="1246"/>
                  <a:pt x="1239" y="1248"/>
                </a:cubicBezTo>
                <a:cubicBezTo>
                  <a:pt x="1240" y="1247"/>
                  <a:pt x="1241" y="1245"/>
                  <a:pt x="1243" y="1244"/>
                </a:cubicBezTo>
                <a:cubicBezTo>
                  <a:pt x="1242" y="1245"/>
                  <a:pt x="1242" y="1246"/>
                  <a:pt x="1241" y="1248"/>
                </a:cubicBezTo>
                <a:cubicBezTo>
                  <a:pt x="1240" y="1249"/>
                  <a:pt x="1239" y="1250"/>
                  <a:pt x="1239" y="1252"/>
                </a:cubicBezTo>
                <a:cubicBezTo>
                  <a:pt x="1239" y="1253"/>
                  <a:pt x="1239" y="1254"/>
                  <a:pt x="1239" y="1255"/>
                </a:cubicBezTo>
                <a:cubicBezTo>
                  <a:pt x="1242" y="1258"/>
                  <a:pt x="1245" y="1258"/>
                  <a:pt x="1249" y="1256"/>
                </a:cubicBezTo>
                <a:cubicBezTo>
                  <a:pt x="1251" y="1255"/>
                  <a:pt x="1254" y="1253"/>
                  <a:pt x="1257" y="1253"/>
                </a:cubicBezTo>
                <a:cubicBezTo>
                  <a:pt x="1258" y="1252"/>
                  <a:pt x="1260" y="1251"/>
                  <a:pt x="1260" y="1250"/>
                </a:cubicBezTo>
                <a:cubicBezTo>
                  <a:pt x="1260" y="1247"/>
                  <a:pt x="1260" y="1243"/>
                  <a:pt x="1260" y="1240"/>
                </a:cubicBezTo>
                <a:cubicBezTo>
                  <a:pt x="1260" y="1237"/>
                  <a:pt x="1260" y="1234"/>
                  <a:pt x="1260" y="1231"/>
                </a:cubicBezTo>
                <a:cubicBezTo>
                  <a:pt x="1260" y="1234"/>
                  <a:pt x="1261" y="1236"/>
                  <a:pt x="1261" y="1239"/>
                </a:cubicBezTo>
                <a:cubicBezTo>
                  <a:pt x="1262" y="1244"/>
                  <a:pt x="1262" y="1248"/>
                  <a:pt x="1261" y="1252"/>
                </a:cubicBezTo>
                <a:cubicBezTo>
                  <a:pt x="1260" y="1253"/>
                  <a:pt x="1260" y="1254"/>
                  <a:pt x="1259" y="1254"/>
                </a:cubicBezTo>
                <a:cubicBezTo>
                  <a:pt x="1256" y="1254"/>
                  <a:pt x="1252" y="1256"/>
                  <a:pt x="1249" y="1258"/>
                </a:cubicBezTo>
                <a:cubicBezTo>
                  <a:pt x="1244" y="1261"/>
                  <a:pt x="1241" y="1259"/>
                  <a:pt x="1237" y="1255"/>
                </a:cubicBezTo>
                <a:cubicBezTo>
                  <a:pt x="1237" y="1255"/>
                  <a:pt x="1237" y="1253"/>
                  <a:pt x="1237" y="1253"/>
                </a:cubicBezTo>
                <a:cubicBezTo>
                  <a:pt x="1238" y="1251"/>
                  <a:pt x="1237" y="1249"/>
                  <a:pt x="1236" y="1247"/>
                </a:cubicBezTo>
                <a:cubicBezTo>
                  <a:pt x="1234" y="1245"/>
                  <a:pt x="1232" y="1242"/>
                  <a:pt x="1234" y="1240"/>
                </a:cubicBezTo>
                <a:cubicBezTo>
                  <a:pt x="1234" y="1238"/>
                  <a:pt x="1235" y="1236"/>
                  <a:pt x="1236" y="1234"/>
                </a:cubicBezTo>
                <a:cubicBezTo>
                  <a:pt x="1238" y="1232"/>
                  <a:pt x="1240" y="1229"/>
                  <a:pt x="1242" y="1226"/>
                </a:cubicBezTo>
                <a:cubicBezTo>
                  <a:pt x="1242" y="1226"/>
                  <a:pt x="1241" y="1226"/>
                  <a:pt x="1241" y="1226"/>
                </a:cubicBezTo>
                <a:cubicBezTo>
                  <a:pt x="1236" y="1228"/>
                  <a:pt x="1232" y="1229"/>
                  <a:pt x="1228" y="1232"/>
                </a:cubicBezTo>
                <a:cubicBezTo>
                  <a:pt x="1223" y="1237"/>
                  <a:pt x="1220" y="1242"/>
                  <a:pt x="1220" y="1249"/>
                </a:cubicBezTo>
                <a:cubicBezTo>
                  <a:pt x="1219" y="1255"/>
                  <a:pt x="1222" y="1261"/>
                  <a:pt x="1225" y="1267"/>
                </a:cubicBezTo>
                <a:cubicBezTo>
                  <a:pt x="1226" y="1268"/>
                  <a:pt x="1226" y="1270"/>
                  <a:pt x="1226" y="1271"/>
                </a:cubicBezTo>
                <a:cubicBezTo>
                  <a:pt x="1226" y="1272"/>
                  <a:pt x="1226" y="1274"/>
                  <a:pt x="1225" y="1275"/>
                </a:cubicBezTo>
                <a:cubicBezTo>
                  <a:pt x="1224" y="1277"/>
                  <a:pt x="1225" y="1278"/>
                  <a:pt x="1226" y="1278"/>
                </a:cubicBezTo>
                <a:cubicBezTo>
                  <a:pt x="1229" y="1279"/>
                  <a:pt x="1232" y="1280"/>
                  <a:pt x="1235" y="1280"/>
                </a:cubicBezTo>
                <a:cubicBezTo>
                  <a:pt x="1236" y="1280"/>
                  <a:pt x="1236" y="1279"/>
                  <a:pt x="1236" y="1279"/>
                </a:cubicBezTo>
                <a:cubicBezTo>
                  <a:pt x="1237" y="1278"/>
                  <a:pt x="1237" y="1276"/>
                  <a:pt x="1237" y="1275"/>
                </a:cubicBezTo>
                <a:cubicBezTo>
                  <a:pt x="1239" y="1273"/>
                  <a:pt x="1239" y="1270"/>
                  <a:pt x="1239" y="1267"/>
                </a:cubicBezTo>
                <a:cubicBezTo>
                  <a:pt x="1239" y="1267"/>
                  <a:pt x="1239" y="1266"/>
                  <a:pt x="1239" y="1266"/>
                </a:cubicBezTo>
                <a:cubicBezTo>
                  <a:pt x="1239" y="1266"/>
                  <a:pt x="1239" y="1266"/>
                  <a:pt x="1239" y="1265"/>
                </a:cubicBezTo>
                <a:cubicBezTo>
                  <a:pt x="1240" y="1268"/>
                  <a:pt x="1241" y="1268"/>
                  <a:pt x="1243" y="1268"/>
                </a:cubicBezTo>
                <a:cubicBezTo>
                  <a:pt x="1244" y="1268"/>
                  <a:pt x="1245" y="1268"/>
                  <a:pt x="1246" y="1268"/>
                </a:cubicBezTo>
                <a:cubicBezTo>
                  <a:pt x="1249" y="1268"/>
                  <a:pt x="1252" y="1269"/>
                  <a:pt x="1252" y="1264"/>
                </a:cubicBezTo>
                <a:cubicBezTo>
                  <a:pt x="1252" y="1267"/>
                  <a:pt x="1252" y="1268"/>
                  <a:pt x="1252" y="1269"/>
                </a:cubicBezTo>
                <a:cubicBezTo>
                  <a:pt x="1251" y="1270"/>
                  <a:pt x="1250" y="1271"/>
                  <a:pt x="1249" y="1271"/>
                </a:cubicBezTo>
                <a:cubicBezTo>
                  <a:pt x="1247" y="1272"/>
                  <a:pt x="1247" y="1274"/>
                  <a:pt x="1247" y="1274"/>
                </a:cubicBezTo>
                <a:cubicBezTo>
                  <a:pt x="1249" y="1277"/>
                  <a:pt x="1250" y="1279"/>
                  <a:pt x="1251" y="1281"/>
                </a:cubicBezTo>
                <a:cubicBezTo>
                  <a:pt x="1253" y="1282"/>
                  <a:pt x="1255" y="1282"/>
                  <a:pt x="1256" y="1280"/>
                </a:cubicBezTo>
                <a:cubicBezTo>
                  <a:pt x="1257" y="1279"/>
                  <a:pt x="1258" y="1278"/>
                  <a:pt x="1258" y="1278"/>
                </a:cubicBezTo>
                <a:cubicBezTo>
                  <a:pt x="1260" y="1276"/>
                  <a:pt x="1262" y="1275"/>
                  <a:pt x="1263" y="1274"/>
                </a:cubicBezTo>
                <a:cubicBezTo>
                  <a:pt x="1267" y="1270"/>
                  <a:pt x="1269" y="1264"/>
                  <a:pt x="1271" y="1258"/>
                </a:cubicBezTo>
                <a:cubicBezTo>
                  <a:pt x="1271" y="1257"/>
                  <a:pt x="1270" y="1257"/>
                  <a:pt x="1270" y="1256"/>
                </a:cubicBezTo>
                <a:cubicBezTo>
                  <a:pt x="1269" y="1255"/>
                  <a:pt x="1268" y="1254"/>
                  <a:pt x="1267" y="1253"/>
                </a:cubicBezTo>
                <a:close/>
                <a:moveTo>
                  <a:pt x="1219" y="1260"/>
                </a:moveTo>
                <a:cubicBezTo>
                  <a:pt x="1219" y="1261"/>
                  <a:pt x="1217" y="1261"/>
                  <a:pt x="1216" y="1263"/>
                </a:cubicBezTo>
                <a:cubicBezTo>
                  <a:pt x="1215" y="1263"/>
                  <a:pt x="1215" y="1264"/>
                  <a:pt x="1215" y="1264"/>
                </a:cubicBezTo>
                <a:cubicBezTo>
                  <a:pt x="1215" y="1267"/>
                  <a:pt x="1219" y="1272"/>
                  <a:pt x="1222" y="1271"/>
                </a:cubicBezTo>
                <a:cubicBezTo>
                  <a:pt x="1224" y="1271"/>
                  <a:pt x="1225" y="1270"/>
                  <a:pt x="1224" y="1268"/>
                </a:cubicBezTo>
                <a:cubicBezTo>
                  <a:pt x="1222" y="1265"/>
                  <a:pt x="1221" y="1263"/>
                  <a:pt x="1219" y="1260"/>
                </a:cubicBezTo>
                <a:close/>
                <a:moveTo>
                  <a:pt x="1272" y="1262"/>
                </a:moveTo>
                <a:cubicBezTo>
                  <a:pt x="1270" y="1266"/>
                  <a:pt x="1267" y="1271"/>
                  <a:pt x="1265" y="1275"/>
                </a:cubicBezTo>
                <a:cubicBezTo>
                  <a:pt x="1268" y="1275"/>
                  <a:pt x="1270" y="1276"/>
                  <a:pt x="1273" y="1275"/>
                </a:cubicBezTo>
                <a:cubicBezTo>
                  <a:pt x="1273" y="1275"/>
                  <a:pt x="1274" y="1274"/>
                  <a:pt x="1274" y="1274"/>
                </a:cubicBezTo>
                <a:cubicBezTo>
                  <a:pt x="1274" y="1271"/>
                  <a:pt x="1274" y="1268"/>
                  <a:pt x="1273" y="1266"/>
                </a:cubicBezTo>
                <a:cubicBezTo>
                  <a:pt x="1273" y="1264"/>
                  <a:pt x="1273" y="1263"/>
                  <a:pt x="1272" y="1262"/>
                </a:cubicBezTo>
                <a:close/>
                <a:moveTo>
                  <a:pt x="1219" y="1242"/>
                </a:moveTo>
                <a:cubicBezTo>
                  <a:pt x="1219" y="1242"/>
                  <a:pt x="1218" y="1242"/>
                  <a:pt x="1217" y="1242"/>
                </a:cubicBezTo>
                <a:cubicBezTo>
                  <a:pt x="1217" y="1242"/>
                  <a:pt x="1216" y="1242"/>
                  <a:pt x="1216" y="1242"/>
                </a:cubicBezTo>
                <a:cubicBezTo>
                  <a:pt x="1215" y="1242"/>
                  <a:pt x="1215" y="1241"/>
                  <a:pt x="1215" y="1240"/>
                </a:cubicBezTo>
                <a:cubicBezTo>
                  <a:pt x="1216" y="1238"/>
                  <a:pt x="1216" y="1236"/>
                  <a:pt x="1217" y="1234"/>
                </a:cubicBezTo>
                <a:cubicBezTo>
                  <a:pt x="1217" y="1234"/>
                  <a:pt x="1217" y="1234"/>
                  <a:pt x="1216" y="1234"/>
                </a:cubicBezTo>
                <a:cubicBezTo>
                  <a:pt x="1215" y="1235"/>
                  <a:pt x="1214" y="1236"/>
                  <a:pt x="1213" y="1237"/>
                </a:cubicBezTo>
                <a:cubicBezTo>
                  <a:pt x="1213" y="1238"/>
                  <a:pt x="1214" y="1243"/>
                  <a:pt x="1216" y="1244"/>
                </a:cubicBezTo>
                <a:cubicBezTo>
                  <a:pt x="1217" y="1245"/>
                  <a:pt x="1219" y="1244"/>
                  <a:pt x="1219" y="1242"/>
                </a:cubicBezTo>
                <a:close/>
                <a:moveTo>
                  <a:pt x="1219" y="1259"/>
                </a:moveTo>
                <a:cubicBezTo>
                  <a:pt x="1219" y="1260"/>
                  <a:pt x="1217" y="1261"/>
                  <a:pt x="1216" y="1262"/>
                </a:cubicBezTo>
                <a:cubicBezTo>
                  <a:pt x="1216" y="1263"/>
                  <a:pt x="1215" y="1263"/>
                  <a:pt x="1215" y="1264"/>
                </a:cubicBezTo>
                <a:cubicBezTo>
                  <a:pt x="1215" y="1267"/>
                  <a:pt x="1219" y="1271"/>
                  <a:pt x="1223" y="1271"/>
                </a:cubicBezTo>
                <a:cubicBezTo>
                  <a:pt x="1224" y="1271"/>
                  <a:pt x="1225" y="1270"/>
                  <a:pt x="1224" y="1268"/>
                </a:cubicBezTo>
                <a:cubicBezTo>
                  <a:pt x="1223" y="1265"/>
                  <a:pt x="1221" y="1262"/>
                  <a:pt x="1219" y="1259"/>
                </a:cubicBezTo>
                <a:close/>
                <a:moveTo>
                  <a:pt x="1272" y="1261"/>
                </a:moveTo>
                <a:cubicBezTo>
                  <a:pt x="1270" y="1266"/>
                  <a:pt x="1267" y="1270"/>
                  <a:pt x="1265" y="1275"/>
                </a:cubicBezTo>
                <a:cubicBezTo>
                  <a:pt x="1268" y="1275"/>
                  <a:pt x="1270" y="1275"/>
                  <a:pt x="1273" y="1275"/>
                </a:cubicBezTo>
                <a:cubicBezTo>
                  <a:pt x="1273" y="1275"/>
                  <a:pt x="1274" y="1274"/>
                  <a:pt x="1274" y="1273"/>
                </a:cubicBezTo>
                <a:cubicBezTo>
                  <a:pt x="1274" y="1270"/>
                  <a:pt x="1274" y="1268"/>
                  <a:pt x="1273" y="1266"/>
                </a:cubicBezTo>
                <a:cubicBezTo>
                  <a:pt x="1273" y="1264"/>
                  <a:pt x="1273" y="1263"/>
                  <a:pt x="1272" y="1261"/>
                </a:cubicBezTo>
                <a:close/>
                <a:moveTo>
                  <a:pt x="1220" y="1241"/>
                </a:moveTo>
                <a:cubicBezTo>
                  <a:pt x="1219" y="1242"/>
                  <a:pt x="1218" y="1242"/>
                  <a:pt x="1218" y="1242"/>
                </a:cubicBezTo>
                <a:cubicBezTo>
                  <a:pt x="1217" y="1242"/>
                  <a:pt x="1216" y="1242"/>
                  <a:pt x="1216" y="1242"/>
                </a:cubicBezTo>
                <a:cubicBezTo>
                  <a:pt x="1216" y="1241"/>
                  <a:pt x="1215" y="1241"/>
                  <a:pt x="1215" y="1240"/>
                </a:cubicBezTo>
                <a:cubicBezTo>
                  <a:pt x="1216" y="1238"/>
                  <a:pt x="1216" y="1236"/>
                  <a:pt x="1217" y="1234"/>
                </a:cubicBezTo>
                <a:cubicBezTo>
                  <a:pt x="1217" y="1234"/>
                  <a:pt x="1217" y="1234"/>
                  <a:pt x="1216" y="1234"/>
                </a:cubicBezTo>
                <a:cubicBezTo>
                  <a:pt x="1216" y="1235"/>
                  <a:pt x="1214" y="1236"/>
                  <a:pt x="1214" y="1237"/>
                </a:cubicBezTo>
                <a:cubicBezTo>
                  <a:pt x="1213" y="1238"/>
                  <a:pt x="1214" y="1243"/>
                  <a:pt x="1216" y="1244"/>
                </a:cubicBezTo>
                <a:cubicBezTo>
                  <a:pt x="1218" y="1245"/>
                  <a:pt x="1220" y="1243"/>
                  <a:pt x="1220" y="1241"/>
                </a:cubicBezTo>
                <a:close/>
                <a:moveTo>
                  <a:pt x="1271" y="1233"/>
                </a:moveTo>
                <a:cubicBezTo>
                  <a:pt x="1275" y="1229"/>
                  <a:pt x="1275" y="1229"/>
                  <a:pt x="1279" y="1228"/>
                </a:cubicBezTo>
                <a:cubicBezTo>
                  <a:pt x="1279" y="1230"/>
                  <a:pt x="1280" y="1231"/>
                  <a:pt x="1281" y="1231"/>
                </a:cubicBezTo>
                <a:cubicBezTo>
                  <a:pt x="1279" y="1233"/>
                  <a:pt x="1277" y="1234"/>
                  <a:pt x="1275" y="1235"/>
                </a:cubicBezTo>
                <a:cubicBezTo>
                  <a:pt x="1274" y="1235"/>
                  <a:pt x="1274" y="1234"/>
                  <a:pt x="1273" y="1233"/>
                </a:cubicBezTo>
                <a:cubicBezTo>
                  <a:pt x="1273" y="1233"/>
                  <a:pt x="1272" y="1233"/>
                  <a:pt x="1271" y="1233"/>
                </a:cubicBezTo>
                <a:close/>
                <a:moveTo>
                  <a:pt x="1277" y="1233"/>
                </a:moveTo>
                <a:cubicBezTo>
                  <a:pt x="1277" y="1232"/>
                  <a:pt x="1276" y="1232"/>
                  <a:pt x="1275" y="1232"/>
                </a:cubicBezTo>
                <a:cubicBezTo>
                  <a:pt x="1275" y="1232"/>
                  <a:pt x="1274" y="1233"/>
                  <a:pt x="1274" y="1233"/>
                </a:cubicBezTo>
                <a:cubicBezTo>
                  <a:pt x="1274" y="1233"/>
                  <a:pt x="1275" y="1234"/>
                  <a:pt x="1275" y="1234"/>
                </a:cubicBezTo>
                <a:cubicBezTo>
                  <a:pt x="1276" y="1234"/>
                  <a:pt x="1276" y="1233"/>
                  <a:pt x="1277" y="1233"/>
                </a:cubicBezTo>
                <a:close/>
                <a:moveTo>
                  <a:pt x="1259" y="1223"/>
                </a:moveTo>
                <a:cubicBezTo>
                  <a:pt x="1252" y="1222"/>
                  <a:pt x="1249" y="1225"/>
                  <a:pt x="1248" y="1233"/>
                </a:cubicBezTo>
                <a:cubicBezTo>
                  <a:pt x="1249" y="1231"/>
                  <a:pt x="1250" y="1228"/>
                  <a:pt x="1252" y="1226"/>
                </a:cubicBezTo>
                <a:cubicBezTo>
                  <a:pt x="1252" y="1226"/>
                  <a:pt x="1252" y="1226"/>
                  <a:pt x="1252" y="1226"/>
                </a:cubicBezTo>
                <a:cubicBezTo>
                  <a:pt x="1252" y="1227"/>
                  <a:pt x="1252" y="1228"/>
                  <a:pt x="1252" y="1229"/>
                </a:cubicBezTo>
                <a:cubicBezTo>
                  <a:pt x="1254" y="1226"/>
                  <a:pt x="1255" y="1224"/>
                  <a:pt x="1259" y="1223"/>
                </a:cubicBezTo>
                <a:close/>
                <a:moveTo>
                  <a:pt x="1302" y="1225"/>
                </a:moveTo>
                <a:cubicBezTo>
                  <a:pt x="1300" y="1226"/>
                  <a:pt x="1298" y="1228"/>
                  <a:pt x="1297" y="1229"/>
                </a:cubicBezTo>
                <a:cubicBezTo>
                  <a:pt x="1299" y="1229"/>
                  <a:pt x="1301" y="1228"/>
                  <a:pt x="1302" y="1225"/>
                </a:cubicBezTo>
                <a:close/>
                <a:moveTo>
                  <a:pt x="1269" y="1227"/>
                </a:moveTo>
                <a:cubicBezTo>
                  <a:pt x="1270" y="1226"/>
                  <a:pt x="1271" y="1224"/>
                  <a:pt x="1272" y="1223"/>
                </a:cubicBezTo>
                <a:cubicBezTo>
                  <a:pt x="1269" y="1224"/>
                  <a:pt x="1268" y="1225"/>
                  <a:pt x="1269" y="1227"/>
                </a:cubicBezTo>
                <a:close/>
                <a:moveTo>
                  <a:pt x="1279" y="1248"/>
                </a:moveTo>
                <a:cubicBezTo>
                  <a:pt x="1277" y="1248"/>
                  <a:pt x="1276" y="1249"/>
                  <a:pt x="1276" y="1250"/>
                </a:cubicBezTo>
                <a:cubicBezTo>
                  <a:pt x="1277" y="1249"/>
                  <a:pt x="1278" y="1249"/>
                  <a:pt x="1279" y="1248"/>
                </a:cubicBezTo>
                <a:close/>
                <a:moveTo>
                  <a:pt x="1278" y="1233"/>
                </a:moveTo>
                <a:cubicBezTo>
                  <a:pt x="1277" y="1232"/>
                  <a:pt x="1276" y="1232"/>
                  <a:pt x="1276" y="1232"/>
                </a:cubicBezTo>
                <a:cubicBezTo>
                  <a:pt x="1275" y="1232"/>
                  <a:pt x="1274" y="1233"/>
                  <a:pt x="1274" y="1233"/>
                </a:cubicBezTo>
                <a:cubicBezTo>
                  <a:pt x="1274" y="1233"/>
                  <a:pt x="1275" y="1234"/>
                  <a:pt x="1275" y="1234"/>
                </a:cubicBezTo>
                <a:cubicBezTo>
                  <a:pt x="1276" y="1234"/>
                  <a:pt x="1276" y="1233"/>
                  <a:pt x="1278" y="1233"/>
                </a:cubicBezTo>
                <a:close/>
                <a:moveTo>
                  <a:pt x="1568" y="1210"/>
                </a:moveTo>
                <a:cubicBezTo>
                  <a:pt x="1568" y="1210"/>
                  <a:pt x="1568" y="1210"/>
                  <a:pt x="1568" y="1210"/>
                </a:cubicBezTo>
                <a:cubicBezTo>
                  <a:pt x="1564" y="1210"/>
                  <a:pt x="1564" y="1210"/>
                  <a:pt x="1564" y="1210"/>
                </a:cubicBezTo>
                <a:cubicBezTo>
                  <a:pt x="1562" y="1212"/>
                  <a:pt x="1561" y="1213"/>
                  <a:pt x="1558" y="1214"/>
                </a:cubicBezTo>
                <a:cubicBezTo>
                  <a:pt x="1557" y="1216"/>
                  <a:pt x="1555" y="1216"/>
                  <a:pt x="1553" y="1217"/>
                </a:cubicBezTo>
                <a:cubicBezTo>
                  <a:pt x="1551" y="1218"/>
                  <a:pt x="1550" y="1219"/>
                  <a:pt x="1548" y="1220"/>
                </a:cubicBezTo>
                <a:cubicBezTo>
                  <a:pt x="1546" y="1221"/>
                  <a:pt x="1544" y="1221"/>
                  <a:pt x="1543" y="1221"/>
                </a:cubicBezTo>
                <a:cubicBezTo>
                  <a:pt x="1543" y="1221"/>
                  <a:pt x="1543" y="1221"/>
                  <a:pt x="1543" y="1232"/>
                </a:cubicBezTo>
                <a:cubicBezTo>
                  <a:pt x="1545" y="1231"/>
                  <a:pt x="1548" y="1230"/>
                  <a:pt x="1550" y="1229"/>
                </a:cubicBezTo>
                <a:cubicBezTo>
                  <a:pt x="1553" y="1228"/>
                  <a:pt x="1556" y="1226"/>
                  <a:pt x="1557" y="1225"/>
                </a:cubicBezTo>
                <a:cubicBezTo>
                  <a:pt x="1557" y="1225"/>
                  <a:pt x="1557" y="1225"/>
                  <a:pt x="1557" y="1284"/>
                </a:cubicBezTo>
                <a:cubicBezTo>
                  <a:pt x="1557" y="1284"/>
                  <a:pt x="1557" y="1284"/>
                  <a:pt x="1568" y="1284"/>
                </a:cubicBezTo>
                <a:cubicBezTo>
                  <a:pt x="1568" y="1284"/>
                  <a:pt x="1568" y="1284"/>
                  <a:pt x="1568" y="1210"/>
                </a:cubicBezTo>
                <a:close/>
                <a:moveTo>
                  <a:pt x="1690" y="1210"/>
                </a:moveTo>
                <a:cubicBezTo>
                  <a:pt x="1690" y="1210"/>
                  <a:pt x="1690" y="1210"/>
                  <a:pt x="1690" y="1210"/>
                </a:cubicBezTo>
                <a:cubicBezTo>
                  <a:pt x="1685" y="1210"/>
                  <a:pt x="1685" y="1210"/>
                  <a:pt x="1685" y="1210"/>
                </a:cubicBezTo>
                <a:cubicBezTo>
                  <a:pt x="1683" y="1212"/>
                  <a:pt x="1682" y="1213"/>
                  <a:pt x="1679" y="1214"/>
                </a:cubicBezTo>
                <a:cubicBezTo>
                  <a:pt x="1678" y="1216"/>
                  <a:pt x="1676" y="1216"/>
                  <a:pt x="1674" y="1217"/>
                </a:cubicBezTo>
                <a:cubicBezTo>
                  <a:pt x="1673" y="1218"/>
                  <a:pt x="1670" y="1219"/>
                  <a:pt x="1669" y="1220"/>
                </a:cubicBezTo>
                <a:cubicBezTo>
                  <a:pt x="1667" y="1221"/>
                  <a:pt x="1665" y="1221"/>
                  <a:pt x="1663" y="1221"/>
                </a:cubicBezTo>
                <a:cubicBezTo>
                  <a:pt x="1663" y="1221"/>
                  <a:pt x="1663" y="1221"/>
                  <a:pt x="1663" y="1232"/>
                </a:cubicBezTo>
                <a:cubicBezTo>
                  <a:pt x="1666" y="1231"/>
                  <a:pt x="1669" y="1230"/>
                  <a:pt x="1672" y="1229"/>
                </a:cubicBezTo>
                <a:cubicBezTo>
                  <a:pt x="1674" y="1228"/>
                  <a:pt x="1676" y="1226"/>
                  <a:pt x="1679" y="1225"/>
                </a:cubicBezTo>
                <a:cubicBezTo>
                  <a:pt x="1679" y="1225"/>
                  <a:pt x="1679" y="1225"/>
                  <a:pt x="1679" y="1284"/>
                </a:cubicBezTo>
                <a:cubicBezTo>
                  <a:pt x="1679" y="1284"/>
                  <a:pt x="1679" y="1284"/>
                  <a:pt x="1690" y="1284"/>
                </a:cubicBezTo>
                <a:cubicBezTo>
                  <a:pt x="1690" y="1284"/>
                  <a:pt x="1690" y="1284"/>
                  <a:pt x="1690" y="1210"/>
                </a:cubicBezTo>
                <a:close/>
                <a:moveTo>
                  <a:pt x="1737" y="1210"/>
                </a:moveTo>
                <a:cubicBezTo>
                  <a:pt x="1737" y="1210"/>
                  <a:pt x="1737" y="1210"/>
                  <a:pt x="1737" y="1210"/>
                </a:cubicBezTo>
                <a:cubicBezTo>
                  <a:pt x="1732" y="1210"/>
                  <a:pt x="1732" y="1210"/>
                  <a:pt x="1732" y="1210"/>
                </a:cubicBezTo>
                <a:cubicBezTo>
                  <a:pt x="1730" y="1212"/>
                  <a:pt x="1728" y="1213"/>
                  <a:pt x="1726" y="1214"/>
                </a:cubicBezTo>
                <a:cubicBezTo>
                  <a:pt x="1725" y="1216"/>
                  <a:pt x="1722" y="1216"/>
                  <a:pt x="1721" y="1217"/>
                </a:cubicBezTo>
                <a:cubicBezTo>
                  <a:pt x="1720" y="1218"/>
                  <a:pt x="1717" y="1219"/>
                  <a:pt x="1716" y="1220"/>
                </a:cubicBezTo>
                <a:cubicBezTo>
                  <a:pt x="1714" y="1221"/>
                  <a:pt x="1712" y="1221"/>
                  <a:pt x="1710" y="1221"/>
                </a:cubicBezTo>
                <a:cubicBezTo>
                  <a:pt x="1710" y="1221"/>
                  <a:pt x="1710" y="1221"/>
                  <a:pt x="1710" y="1232"/>
                </a:cubicBezTo>
                <a:cubicBezTo>
                  <a:pt x="1713" y="1231"/>
                  <a:pt x="1716" y="1230"/>
                  <a:pt x="1718" y="1229"/>
                </a:cubicBezTo>
                <a:cubicBezTo>
                  <a:pt x="1721" y="1228"/>
                  <a:pt x="1723" y="1226"/>
                  <a:pt x="1725" y="1225"/>
                </a:cubicBezTo>
                <a:cubicBezTo>
                  <a:pt x="1725" y="1225"/>
                  <a:pt x="1725" y="1225"/>
                  <a:pt x="1725" y="1284"/>
                </a:cubicBezTo>
                <a:cubicBezTo>
                  <a:pt x="1725" y="1284"/>
                  <a:pt x="1725" y="1284"/>
                  <a:pt x="1737" y="1284"/>
                </a:cubicBezTo>
                <a:cubicBezTo>
                  <a:pt x="1737" y="1284"/>
                  <a:pt x="1737" y="1284"/>
                  <a:pt x="1737" y="1210"/>
                </a:cubicBezTo>
                <a:close/>
                <a:moveTo>
                  <a:pt x="1783" y="1210"/>
                </a:moveTo>
                <a:cubicBezTo>
                  <a:pt x="1783" y="1210"/>
                  <a:pt x="1783" y="1210"/>
                  <a:pt x="1783" y="1210"/>
                </a:cubicBezTo>
                <a:cubicBezTo>
                  <a:pt x="1779" y="1210"/>
                  <a:pt x="1779" y="1210"/>
                  <a:pt x="1779" y="1210"/>
                </a:cubicBezTo>
                <a:cubicBezTo>
                  <a:pt x="1777" y="1212"/>
                  <a:pt x="1775" y="1213"/>
                  <a:pt x="1773" y="1214"/>
                </a:cubicBezTo>
                <a:cubicBezTo>
                  <a:pt x="1772" y="1216"/>
                  <a:pt x="1769" y="1216"/>
                  <a:pt x="1768" y="1217"/>
                </a:cubicBezTo>
                <a:cubicBezTo>
                  <a:pt x="1766" y="1218"/>
                  <a:pt x="1764" y="1218"/>
                  <a:pt x="1762" y="1219"/>
                </a:cubicBezTo>
                <a:cubicBezTo>
                  <a:pt x="1761" y="1220"/>
                  <a:pt x="1759" y="1221"/>
                  <a:pt x="1757" y="1221"/>
                </a:cubicBezTo>
                <a:cubicBezTo>
                  <a:pt x="1757" y="1221"/>
                  <a:pt x="1757" y="1221"/>
                  <a:pt x="1757" y="1232"/>
                </a:cubicBezTo>
                <a:cubicBezTo>
                  <a:pt x="1760" y="1231"/>
                  <a:pt x="1763" y="1229"/>
                  <a:pt x="1765" y="1229"/>
                </a:cubicBezTo>
                <a:cubicBezTo>
                  <a:pt x="1767" y="1228"/>
                  <a:pt x="1770" y="1226"/>
                  <a:pt x="1772" y="1225"/>
                </a:cubicBezTo>
                <a:cubicBezTo>
                  <a:pt x="1772" y="1225"/>
                  <a:pt x="1772" y="1225"/>
                  <a:pt x="1772" y="1284"/>
                </a:cubicBezTo>
                <a:cubicBezTo>
                  <a:pt x="1772" y="1284"/>
                  <a:pt x="1772" y="1284"/>
                  <a:pt x="1783" y="1284"/>
                </a:cubicBezTo>
                <a:cubicBezTo>
                  <a:pt x="1783" y="1284"/>
                  <a:pt x="1783" y="1284"/>
                  <a:pt x="1783" y="1210"/>
                </a:cubicBezTo>
                <a:close/>
                <a:moveTo>
                  <a:pt x="1589" y="1243"/>
                </a:moveTo>
                <a:cubicBezTo>
                  <a:pt x="1589" y="1243"/>
                  <a:pt x="1589" y="1243"/>
                  <a:pt x="1589" y="1243"/>
                </a:cubicBezTo>
                <a:cubicBezTo>
                  <a:pt x="1588" y="1251"/>
                  <a:pt x="1588" y="1251"/>
                  <a:pt x="1588" y="1251"/>
                </a:cubicBezTo>
                <a:cubicBezTo>
                  <a:pt x="1595" y="1251"/>
                  <a:pt x="1595" y="1254"/>
                  <a:pt x="1595" y="1257"/>
                </a:cubicBezTo>
                <a:cubicBezTo>
                  <a:pt x="1595" y="1259"/>
                  <a:pt x="1595" y="1261"/>
                  <a:pt x="1595" y="1264"/>
                </a:cubicBezTo>
                <a:cubicBezTo>
                  <a:pt x="1595" y="1267"/>
                  <a:pt x="1594" y="1269"/>
                  <a:pt x="1594" y="1271"/>
                </a:cubicBezTo>
                <a:cubicBezTo>
                  <a:pt x="1594" y="1281"/>
                  <a:pt x="1600" y="1284"/>
                  <a:pt x="1609" y="1284"/>
                </a:cubicBezTo>
                <a:cubicBezTo>
                  <a:pt x="1609" y="1284"/>
                  <a:pt x="1609" y="1284"/>
                  <a:pt x="1613" y="1284"/>
                </a:cubicBezTo>
                <a:cubicBezTo>
                  <a:pt x="1613" y="1284"/>
                  <a:pt x="1613" y="1284"/>
                  <a:pt x="1613" y="1275"/>
                </a:cubicBezTo>
                <a:cubicBezTo>
                  <a:pt x="1613" y="1275"/>
                  <a:pt x="1613" y="1275"/>
                  <a:pt x="1611" y="1275"/>
                </a:cubicBezTo>
                <a:cubicBezTo>
                  <a:pt x="1607" y="1275"/>
                  <a:pt x="1606" y="1272"/>
                  <a:pt x="1606" y="1269"/>
                </a:cubicBezTo>
                <a:cubicBezTo>
                  <a:pt x="1606" y="1267"/>
                  <a:pt x="1606" y="1266"/>
                  <a:pt x="1607" y="1264"/>
                </a:cubicBezTo>
                <a:cubicBezTo>
                  <a:pt x="1607" y="1263"/>
                  <a:pt x="1607" y="1260"/>
                  <a:pt x="1607" y="1258"/>
                </a:cubicBezTo>
                <a:cubicBezTo>
                  <a:pt x="1607" y="1251"/>
                  <a:pt x="1604" y="1248"/>
                  <a:pt x="1598" y="1247"/>
                </a:cubicBezTo>
                <a:cubicBezTo>
                  <a:pt x="1598" y="1247"/>
                  <a:pt x="1598" y="1247"/>
                  <a:pt x="1598" y="1246"/>
                </a:cubicBezTo>
                <a:cubicBezTo>
                  <a:pt x="1604" y="1245"/>
                  <a:pt x="1607" y="1243"/>
                  <a:pt x="1607" y="1236"/>
                </a:cubicBezTo>
                <a:cubicBezTo>
                  <a:pt x="1607" y="1233"/>
                  <a:pt x="1607" y="1231"/>
                  <a:pt x="1607" y="1229"/>
                </a:cubicBezTo>
                <a:cubicBezTo>
                  <a:pt x="1606" y="1228"/>
                  <a:pt x="1606" y="1226"/>
                  <a:pt x="1606" y="1225"/>
                </a:cubicBezTo>
                <a:cubicBezTo>
                  <a:pt x="1606" y="1221"/>
                  <a:pt x="1607" y="1219"/>
                  <a:pt x="1611" y="1219"/>
                </a:cubicBezTo>
                <a:cubicBezTo>
                  <a:pt x="1611" y="1219"/>
                  <a:pt x="1611" y="1219"/>
                  <a:pt x="1613" y="1219"/>
                </a:cubicBezTo>
                <a:cubicBezTo>
                  <a:pt x="1613" y="1219"/>
                  <a:pt x="1613" y="1219"/>
                  <a:pt x="1613" y="1209"/>
                </a:cubicBezTo>
                <a:cubicBezTo>
                  <a:pt x="1613" y="1209"/>
                  <a:pt x="1613" y="1209"/>
                  <a:pt x="1609" y="1209"/>
                </a:cubicBezTo>
                <a:cubicBezTo>
                  <a:pt x="1600" y="1209"/>
                  <a:pt x="1594" y="1214"/>
                  <a:pt x="1594" y="1222"/>
                </a:cubicBezTo>
                <a:cubicBezTo>
                  <a:pt x="1594" y="1224"/>
                  <a:pt x="1595" y="1227"/>
                  <a:pt x="1595" y="1230"/>
                </a:cubicBezTo>
                <a:cubicBezTo>
                  <a:pt x="1595" y="1232"/>
                  <a:pt x="1595" y="1235"/>
                  <a:pt x="1595" y="1236"/>
                </a:cubicBezTo>
                <a:cubicBezTo>
                  <a:pt x="1595" y="1239"/>
                  <a:pt x="1595" y="1242"/>
                  <a:pt x="1589" y="1243"/>
                </a:cubicBezTo>
                <a:close/>
                <a:moveTo>
                  <a:pt x="1643" y="1251"/>
                </a:moveTo>
                <a:cubicBezTo>
                  <a:pt x="1643" y="1251"/>
                  <a:pt x="1643" y="1251"/>
                  <a:pt x="1643" y="1251"/>
                </a:cubicBezTo>
                <a:cubicBezTo>
                  <a:pt x="1643" y="1243"/>
                  <a:pt x="1643" y="1243"/>
                  <a:pt x="1643" y="1243"/>
                </a:cubicBezTo>
                <a:cubicBezTo>
                  <a:pt x="1637" y="1242"/>
                  <a:pt x="1637" y="1239"/>
                  <a:pt x="1637" y="1236"/>
                </a:cubicBezTo>
                <a:cubicBezTo>
                  <a:pt x="1637" y="1235"/>
                  <a:pt x="1637" y="1232"/>
                  <a:pt x="1637" y="1230"/>
                </a:cubicBezTo>
                <a:cubicBezTo>
                  <a:pt x="1637" y="1227"/>
                  <a:pt x="1637" y="1224"/>
                  <a:pt x="1637" y="1222"/>
                </a:cubicBezTo>
                <a:cubicBezTo>
                  <a:pt x="1637" y="1214"/>
                  <a:pt x="1632" y="1209"/>
                  <a:pt x="1623" y="1209"/>
                </a:cubicBezTo>
                <a:cubicBezTo>
                  <a:pt x="1623" y="1209"/>
                  <a:pt x="1623" y="1209"/>
                  <a:pt x="1619" y="1209"/>
                </a:cubicBezTo>
                <a:cubicBezTo>
                  <a:pt x="1619" y="1209"/>
                  <a:pt x="1619" y="1209"/>
                  <a:pt x="1619" y="1219"/>
                </a:cubicBezTo>
                <a:cubicBezTo>
                  <a:pt x="1619" y="1219"/>
                  <a:pt x="1619" y="1219"/>
                  <a:pt x="1621" y="1219"/>
                </a:cubicBezTo>
                <a:cubicBezTo>
                  <a:pt x="1625" y="1219"/>
                  <a:pt x="1626" y="1221"/>
                  <a:pt x="1626" y="1225"/>
                </a:cubicBezTo>
                <a:cubicBezTo>
                  <a:pt x="1626" y="1226"/>
                  <a:pt x="1626" y="1228"/>
                  <a:pt x="1626" y="1229"/>
                </a:cubicBezTo>
                <a:cubicBezTo>
                  <a:pt x="1625" y="1231"/>
                  <a:pt x="1625" y="1233"/>
                  <a:pt x="1625" y="1236"/>
                </a:cubicBezTo>
                <a:cubicBezTo>
                  <a:pt x="1625" y="1243"/>
                  <a:pt x="1628" y="1245"/>
                  <a:pt x="1634" y="1246"/>
                </a:cubicBezTo>
                <a:cubicBezTo>
                  <a:pt x="1634" y="1246"/>
                  <a:pt x="1634" y="1246"/>
                  <a:pt x="1634" y="1247"/>
                </a:cubicBezTo>
                <a:cubicBezTo>
                  <a:pt x="1628" y="1248"/>
                  <a:pt x="1625" y="1251"/>
                  <a:pt x="1625" y="1258"/>
                </a:cubicBezTo>
                <a:cubicBezTo>
                  <a:pt x="1625" y="1260"/>
                  <a:pt x="1625" y="1263"/>
                  <a:pt x="1626" y="1264"/>
                </a:cubicBezTo>
                <a:cubicBezTo>
                  <a:pt x="1626" y="1266"/>
                  <a:pt x="1626" y="1267"/>
                  <a:pt x="1626" y="1269"/>
                </a:cubicBezTo>
                <a:cubicBezTo>
                  <a:pt x="1626" y="1272"/>
                  <a:pt x="1625" y="1275"/>
                  <a:pt x="1621" y="1275"/>
                </a:cubicBezTo>
                <a:cubicBezTo>
                  <a:pt x="1621" y="1275"/>
                  <a:pt x="1621" y="1275"/>
                  <a:pt x="1619" y="1275"/>
                </a:cubicBezTo>
                <a:cubicBezTo>
                  <a:pt x="1619" y="1275"/>
                  <a:pt x="1619" y="1275"/>
                  <a:pt x="1619" y="1284"/>
                </a:cubicBezTo>
                <a:cubicBezTo>
                  <a:pt x="1619" y="1284"/>
                  <a:pt x="1619" y="1284"/>
                  <a:pt x="1623" y="1284"/>
                </a:cubicBezTo>
                <a:cubicBezTo>
                  <a:pt x="1632" y="1284"/>
                  <a:pt x="1637" y="1281"/>
                  <a:pt x="1637" y="1271"/>
                </a:cubicBezTo>
                <a:cubicBezTo>
                  <a:pt x="1637" y="1269"/>
                  <a:pt x="1637" y="1267"/>
                  <a:pt x="1637" y="1264"/>
                </a:cubicBezTo>
                <a:cubicBezTo>
                  <a:pt x="1637" y="1261"/>
                  <a:pt x="1637" y="1259"/>
                  <a:pt x="1637" y="1257"/>
                </a:cubicBezTo>
                <a:cubicBezTo>
                  <a:pt x="1637" y="1254"/>
                  <a:pt x="1637" y="1251"/>
                  <a:pt x="1643" y="1251"/>
                </a:cubicBezTo>
                <a:close/>
                <a:moveTo>
                  <a:pt x="1827" y="1284"/>
                </a:moveTo>
                <a:cubicBezTo>
                  <a:pt x="1820" y="1284"/>
                  <a:pt x="1813" y="1281"/>
                  <a:pt x="1809" y="1275"/>
                </a:cubicBezTo>
                <a:cubicBezTo>
                  <a:pt x="1805" y="1268"/>
                  <a:pt x="1803" y="1260"/>
                  <a:pt x="1803" y="1247"/>
                </a:cubicBezTo>
                <a:cubicBezTo>
                  <a:pt x="1803" y="1234"/>
                  <a:pt x="1805" y="1224"/>
                  <a:pt x="1809" y="1218"/>
                </a:cubicBezTo>
                <a:cubicBezTo>
                  <a:pt x="1814" y="1211"/>
                  <a:pt x="1820" y="1208"/>
                  <a:pt x="1829" y="1208"/>
                </a:cubicBezTo>
                <a:cubicBezTo>
                  <a:pt x="1846" y="1208"/>
                  <a:pt x="1854" y="1220"/>
                  <a:pt x="1854" y="1246"/>
                </a:cubicBezTo>
                <a:cubicBezTo>
                  <a:pt x="1854" y="1258"/>
                  <a:pt x="1851" y="1268"/>
                  <a:pt x="1846" y="1274"/>
                </a:cubicBezTo>
                <a:cubicBezTo>
                  <a:pt x="1842" y="1281"/>
                  <a:pt x="1835" y="1284"/>
                  <a:pt x="1827" y="1284"/>
                </a:cubicBezTo>
                <a:close/>
                <a:moveTo>
                  <a:pt x="1829" y="1217"/>
                </a:moveTo>
                <a:cubicBezTo>
                  <a:pt x="1819" y="1217"/>
                  <a:pt x="1815" y="1227"/>
                  <a:pt x="1815" y="1247"/>
                </a:cubicBezTo>
                <a:cubicBezTo>
                  <a:pt x="1815" y="1266"/>
                  <a:pt x="1819" y="1274"/>
                  <a:pt x="1828" y="1274"/>
                </a:cubicBezTo>
                <a:cubicBezTo>
                  <a:pt x="1837" y="1274"/>
                  <a:pt x="1841" y="1266"/>
                  <a:pt x="1841" y="1246"/>
                </a:cubicBezTo>
                <a:cubicBezTo>
                  <a:pt x="1841" y="1227"/>
                  <a:pt x="1837" y="1217"/>
                  <a:pt x="1829" y="1217"/>
                </a:cubicBezTo>
                <a:close/>
                <a:moveTo>
                  <a:pt x="1897" y="1284"/>
                </a:moveTo>
                <a:cubicBezTo>
                  <a:pt x="1890" y="1284"/>
                  <a:pt x="1884" y="1281"/>
                  <a:pt x="1880" y="1275"/>
                </a:cubicBezTo>
                <a:cubicBezTo>
                  <a:pt x="1875" y="1268"/>
                  <a:pt x="1873" y="1260"/>
                  <a:pt x="1873" y="1247"/>
                </a:cubicBezTo>
                <a:cubicBezTo>
                  <a:pt x="1873" y="1234"/>
                  <a:pt x="1875" y="1224"/>
                  <a:pt x="1880" y="1218"/>
                </a:cubicBezTo>
                <a:cubicBezTo>
                  <a:pt x="1884" y="1211"/>
                  <a:pt x="1891" y="1208"/>
                  <a:pt x="1900" y="1208"/>
                </a:cubicBezTo>
                <a:cubicBezTo>
                  <a:pt x="1916" y="1208"/>
                  <a:pt x="1924" y="1220"/>
                  <a:pt x="1924" y="1246"/>
                </a:cubicBezTo>
                <a:cubicBezTo>
                  <a:pt x="1924" y="1258"/>
                  <a:pt x="1922" y="1268"/>
                  <a:pt x="1917" y="1274"/>
                </a:cubicBezTo>
                <a:cubicBezTo>
                  <a:pt x="1912" y="1281"/>
                  <a:pt x="1906" y="1284"/>
                  <a:pt x="1897" y="1284"/>
                </a:cubicBezTo>
                <a:close/>
                <a:moveTo>
                  <a:pt x="1899" y="1217"/>
                </a:moveTo>
                <a:cubicBezTo>
                  <a:pt x="1890" y="1217"/>
                  <a:pt x="1885" y="1227"/>
                  <a:pt x="1885" y="1247"/>
                </a:cubicBezTo>
                <a:cubicBezTo>
                  <a:pt x="1885" y="1266"/>
                  <a:pt x="1889" y="1274"/>
                  <a:pt x="1898" y="1274"/>
                </a:cubicBezTo>
                <a:cubicBezTo>
                  <a:pt x="1907" y="1274"/>
                  <a:pt x="1911" y="1266"/>
                  <a:pt x="1911" y="1246"/>
                </a:cubicBezTo>
                <a:cubicBezTo>
                  <a:pt x="1911" y="1227"/>
                  <a:pt x="1907" y="1217"/>
                  <a:pt x="1899" y="1217"/>
                </a:cubicBezTo>
                <a:close/>
                <a:moveTo>
                  <a:pt x="43" y="1306"/>
                </a:moveTo>
                <a:cubicBezTo>
                  <a:pt x="43" y="1306"/>
                  <a:pt x="43" y="1306"/>
                  <a:pt x="43" y="1306"/>
                </a:cubicBezTo>
                <a:cubicBezTo>
                  <a:pt x="37" y="1306"/>
                  <a:pt x="37" y="1306"/>
                  <a:pt x="37" y="1306"/>
                </a:cubicBezTo>
                <a:cubicBezTo>
                  <a:pt x="35" y="1308"/>
                  <a:pt x="34" y="1309"/>
                  <a:pt x="32" y="1310"/>
                </a:cubicBezTo>
                <a:cubicBezTo>
                  <a:pt x="30" y="1312"/>
                  <a:pt x="29" y="1312"/>
                  <a:pt x="27" y="1313"/>
                </a:cubicBezTo>
                <a:cubicBezTo>
                  <a:pt x="25" y="1314"/>
                  <a:pt x="23" y="1315"/>
                  <a:pt x="22" y="1316"/>
                </a:cubicBezTo>
                <a:cubicBezTo>
                  <a:pt x="19" y="1317"/>
                  <a:pt x="18" y="1317"/>
                  <a:pt x="16" y="1317"/>
                </a:cubicBezTo>
                <a:cubicBezTo>
                  <a:pt x="16" y="1317"/>
                  <a:pt x="16" y="1317"/>
                  <a:pt x="16" y="1328"/>
                </a:cubicBezTo>
                <a:cubicBezTo>
                  <a:pt x="19" y="1327"/>
                  <a:pt x="22" y="1326"/>
                  <a:pt x="24" y="1325"/>
                </a:cubicBezTo>
                <a:cubicBezTo>
                  <a:pt x="27" y="1324"/>
                  <a:pt x="29" y="1322"/>
                  <a:pt x="31" y="1321"/>
                </a:cubicBezTo>
                <a:cubicBezTo>
                  <a:pt x="31" y="1321"/>
                  <a:pt x="31" y="1321"/>
                  <a:pt x="31" y="1380"/>
                </a:cubicBezTo>
                <a:cubicBezTo>
                  <a:pt x="31" y="1380"/>
                  <a:pt x="31" y="1380"/>
                  <a:pt x="43" y="1380"/>
                </a:cubicBezTo>
                <a:cubicBezTo>
                  <a:pt x="43" y="1380"/>
                  <a:pt x="43" y="1380"/>
                  <a:pt x="43" y="1306"/>
                </a:cubicBezTo>
                <a:close/>
                <a:moveTo>
                  <a:pt x="91" y="1306"/>
                </a:moveTo>
                <a:cubicBezTo>
                  <a:pt x="91" y="1306"/>
                  <a:pt x="91" y="1306"/>
                  <a:pt x="91" y="1306"/>
                </a:cubicBezTo>
                <a:cubicBezTo>
                  <a:pt x="85" y="1306"/>
                  <a:pt x="85" y="1306"/>
                  <a:pt x="85" y="1306"/>
                </a:cubicBezTo>
                <a:cubicBezTo>
                  <a:pt x="83" y="1308"/>
                  <a:pt x="82" y="1309"/>
                  <a:pt x="79" y="1310"/>
                </a:cubicBezTo>
                <a:cubicBezTo>
                  <a:pt x="78" y="1312"/>
                  <a:pt x="76" y="1312"/>
                  <a:pt x="74" y="1313"/>
                </a:cubicBezTo>
                <a:cubicBezTo>
                  <a:pt x="73" y="1314"/>
                  <a:pt x="71" y="1315"/>
                  <a:pt x="69" y="1316"/>
                </a:cubicBezTo>
                <a:cubicBezTo>
                  <a:pt x="67" y="1317"/>
                  <a:pt x="65" y="1317"/>
                  <a:pt x="63" y="1317"/>
                </a:cubicBezTo>
                <a:cubicBezTo>
                  <a:pt x="63" y="1317"/>
                  <a:pt x="63" y="1317"/>
                  <a:pt x="63" y="1328"/>
                </a:cubicBezTo>
                <a:cubicBezTo>
                  <a:pt x="66" y="1327"/>
                  <a:pt x="69" y="1326"/>
                  <a:pt x="71" y="1325"/>
                </a:cubicBezTo>
                <a:cubicBezTo>
                  <a:pt x="74" y="1324"/>
                  <a:pt x="77" y="1322"/>
                  <a:pt x="79" y="1321"/>
                </a:cubicBezTo>
                <a:cubicBezTo>
                  <a:pt x="79" y="1321"/>
                  <a:pt x="79" y="1321"/>
                  <a:pt x="79" y="1380"/>
                </a:cubicBezTo>
                <a:cubicBezTo>
                  <a:pt x="79" y="1380"/>
                  <a:pt x="79" y="1380"/>
                  <a:pt x="91" y="1380"/>
                </a:cubicBezTo>
                <a:cubicBezTo>
                  <a:pt x="91" y="1380"/>
                  <a:pt x="91" y="1380"/>
                  <a:pt x="91" y="1306"/>
                </a:cubicBezTo>
                <a:close/>
                <a:moveTo>
                  <a:pt x="137" y="1306"/>
                </a:moveTo>
                <a:cubicBezTo>
                  <a:pt x="137" y="1306"/>
                  <a:pt x="137" y="1306"/>
                  <a:pt x="137" y="1306"/>
                </a:cubicBezTo>
                <a:cubicBezTo>
                  <a:pt x="133" y="1306"/>
                  <a:pt x="133" y="1306"/>
                  <a:pt x="133" y="1306"/>
                </a:cubicBezTo>
                <a:cubicBezTo>
                  <a:pt x="131" y="1308"/>
                  <a:pt x="129" y="1309"/>
                  <a:pt x="127" y="1310"/>
                </a:cubicBezTo>
                <a:cubicBezTo>
                  <a:pt x="125" y="1312"/>
                  <a:pt x="123" y="1312"/>
                  <a:pt x="122" y="1313"/>
                </a:cubicBezTo>
                <a:cubicBezTo>
                  <a:pt x="120" y="1314"/>
                  <a:pt x="118" y="1314"/>
                  <a:pt x="116" y="1315"/>
                </a:cubicBezTo>
                <a:cubicBezTo>
                  <a:pt x="114" y="1316"/>
                  <a:pt x="112" y="1317"/>
                  <a:pt x="111" y="1317"/>
                </a:cubicBezTo>
                <a:cubicBezTo>
                  <a:pt x="111" y="1317"/>
                  <a:pt x="111" y="1317"/>
                  <a:pt x="111" y="1328"/>
                </a:cubicBezTo>
                <a:cubicBezTo>
                  <a:pt x="114" y="1327"/>
                  <a:pt x="117" y="1325"/>
                  <a:pt x="119" y="1325"/>
                </a:cubicBezTo>
                <a:cubicBezTo>
                  <a:pt x="121" y="1324"/>
                  <a:pt x="124" y="1322"/>
                  <a:pt x="125" y="1321"/>
                </a:cubicBezTo>
                <a:cubicBezTo>
                  <a:pt x="125" y="1321"/>
                  <a:pt x="125" y="1321"/>
                  <a:pt x="125" y="1380"/>
                </a:cubicBezTo>
                <a:cubicBezTo>
                  <a:pt x="125" y="1380"/>
                  <a:pt x="125" y="1380"/>
                  <a:pt x="137" y="1380"/>
                </a:cubicBezTo>
                <a:cubicBezTo>
                  <a:pt x="137" y="1380"/>
                  <a:pt x="137" y="1380"/>
                  <a:pt x="137" y="1306"/>
                </a:cubicBezTo>
                <a:close/>
                <a:moveTo>
                  <a:pt x="182" y="1380"/>
                </a:moveTo>
                <a:cubicBezTo>
                  <a:pt x="174" y="1380"/>
                  <a:pt x="168" y="1377"/>
                  <a:pt x="163" y="1371"/>
                </a:cubicBezTo>
                <a:cubicBezTo>
                  <a:pt x="160" y="1364"/>
                  <a:pt x="157" y="1356"/>
                  <a:pt x="157" y="1343"/>
                </a:cubicBezTo>
                <a:cubicBezTo>
                  <a:pt x="157" y="1330"/>
                  <a:pt x="160" y="1320"/>
                  <a:pt x="164" y="1314"/>
                </a:cubicBezTo>
                <a:cubicBezTo>
                  <a:pt x="168" y="1307"/>
                  <a:pt x="175" y="1304"/>
                  <a:pt x="184" y="1304"/>
                </a:cubicBezTo>
                <a:cubicBezTo>
                  <a:pt x="200" y="1304"/>
                  <a:pt x="208" y="1316"/>
                  <a:pt x="208" y="1342"/>
                </a:cubicBezTo>
                <a:cubicBezTo>
                  <a:pt x="208" y="1354"/>
                  <a:pt x="206" y="1364"/>
                  <a:pt x="201" y="1370"/>
                </a:cubicBezTo>
                <a:cubicBezTo>
                  <a:pt x="196" y="1377"/>
                  <a:pt x="190" y="1380"/>
                  <a:pt x="182" y="1380"/>
                </a:cubicBezTo>
                <a:close/>
                <a:moveTo>
                  <a:pt x="183" y="1313"/>
                </a:moveTo>
                <a:cubicBezTo>
                  <a:pt x="174" y="1313"/>
                  <a:pt x="169" y="1323"/>
                  <a:pt x="169" y="1343"/>
                </a:cubicBezTo>
                <a:cubicBezTo>
                  <a:pt x="169" y="1362"/>
                  <a:pt x="174" y="1370"/>
                  <a:pt x="182" y="1370"/>
                </a:cubicBezTo>
                <a:cubicBezTo>
                  <a:pt x="191" y="1370"/>
                  <a:pt x="196" y="1362"/>
                  <a:pt x="196" y="1342"/>
                </a:cubicBezTo>
                <a:cubicBezTo>
                  <a:pt x="196" y="1323"/>
                  <a:pt x="191" y="1313"/>
                  <a:pt x="183" y="1313"/>
                </a:cubicBezTo>
                <a:close/>
                <a:moveTo>
                  <a:pt x="253" y="1380"/>
                </a:moveTo>
                <a:cubicBezTo>
                  <a:pt x="245" y="1380"/>
                  <a:pt x="239" y="1377"/>
                  <a:pt x="235" y="1371"/>
                </a:cubicBezTo>
                <a:cubicBezTo>
                  <a:pt x="231" y="1364"/>
                  <a:pt x="228" y="1356"/>
                  <a:pt x="228" y="1343"/>
                </a:cubicBezTo>
                <a:cubicBezTo>
                  <a:pt x="228" y="1330"/>
                  <a:pt x="231" y="1320"/>
                  <a:pt x="235" y="1314"/>
                </a:cubicBezTo>
                <a:cubicBezTo>
                  <a:pt x="239" y="1307"/>
                  <a:pt x="246" y="1304"/>
                  <a:pt x="255" y="1304"/>
                </a:cubicBezTo>
                <a:cubicBezTo>
                  <a:pt x="271" y="1304"/>
                  <a:pt x="279" y="1316"/>
                  <a:pt x="279" y="1342"/>
                </a:cubicBezTo>
                <a:cubicBezTo>
                  <a:pt x="279" y="1354"/>
                  <a:pt x="277" y="1364"/>
                  <a:pt x="273" y="1370"/>
                </a:cubicBezTo>
                <a:cubicBezTo>
                  <a:pt x="267" y="1377"/>
                  <a:pt x="262" y="1380"/>
                  <a:pt x="253" y="1380"/>
                </a:cubicBezTo>
                <a:close/>
                <a:moveTo>
                  <a:pt x="254" y="1313"/>
                </a:moveTo>
                <a:cubicBezTo>
                  <a:pt x="245" y="1313"/>
                  <a:pt x="240" y="1323"/>
                  <a:pt x="240" y="1343"/>
                </a:cubicBezTo>
                <a:cubicBezTo>
                  <a:pt x="240" y="1362"/>
                  <a:pt x="245" y="1370"/>
                  <a:pt x="253" y="1370"/>
                </a:cubicBezTo>
                <a:cubicBezTo>
                  <a:pt x="262" y="1370"/>
                  <a:pt x="267" y="1362"/>
                  <a:pt x="267" y="1342"/>
                </a:cubicBezTo>
                <a:cubicBezTo>
                  <a:pt x="267" y="1323"/>
                  <a:pt x="262" y="1313"/>
                  <a:pt x="254" y="1313"/>
                </a:cubicBezTo>
                <a:close/>
                <a:moveTo>
                  <a:pt x="466" y="1380"/>
                </a:moveTo>
                <a:cubicBezTo>
                  <a:pt x="458" y="1380"/>
                  <a:pt x="452" y="1377"/>
                  <a:pt x="448" y="1370"/>
                </a:cubicBezTo>
                <a:cubicBezTo>
                  <a:pt x="444" y="1364"/>
                  <a:pt x="441" y="1355"/>
                  <a:pt x="441" y="1343"/>
                </a:cubicBezTo>
                <a:cubicBezTo>
                  <a:pt x="441" y="1330"/>
                  <a:pt x="444" y="1320"/>
                  <a:pt x="448" y="1313"/>
                </a:cubicBezTo>
                <a:cubicBezTo>
                  <a:pt x="452" y="1306"/>
                  <a:pt x="459" y="1304"/>
                  <a:pt x="468" y="1304"/>
                </a:cubicBezTo>
                <a:cubicBezTo>
                  <a:pt x="484" y="1304"/>
                  <a:pt x="492" y="1316"/>
                  <a:pt x="492" y="1341"/>
                </a:cubicBezTo>
                <a:cubicBezTo>
                  <a:pt x="492" y="1354"/>
                  <a:pt x="490" y="1364"/>
                  <a:pt x="485" y="1370"/>
                </a:cubicBezTo>
                <a:cubicBezTo>
                  <a:pt x="480" y="1377"/>
                  <a:pt x="474" y="1380"/>
                  <a:pt x="466" y="1380"/>
                </a:cubicBezTo>
                <a:close/>
                <a:moveTo>
                  <a:pt x="467" y="1313"/>
                </a:moveTo>
                <a:cubicBezTo>
                  <a:pt x="458" y="1313"/>
                  <a:pt x="454" y="1323"/>
                  <a:pt x="454" y="1342"/>
                </a:cubicBezTo>
                <a:cubicBezTo>
                  <a:pt x="454" y="1361"/>
                  <a:pt x="458" y="1370"/>
                  <a:pt x="467" y="1370"/>
                </a:cubicBezTo>
                <a:cubicBezTo>
                  <a:pt x="475" y="1370"/>
                  <a:pt x="479" y="1361"/>
                  <a:pt x="479" y="1342"/>
                </a:cubicBezTo>
                <a:cubicBezTo>
                  <a:pt x="479" y="1323"/>
                  <a:pt x="476" y="1313"/>
                  <a:pt x="467" y="1313"/>
                </a:cubicBezTo>
                <a:close/>
                <a:moveTo>
                  <a:pt x="584" y="1380"/>
                </a:moveTo>
                <a:cubicBezTo>
                  <a:pt x="576" y="1380"/>
                  <a:pt x="570" y="1377"/>
                  <a:pt x="566" y="1370"/>
                </a:cubicBezTo>
                <a:cubicBezTo>
                  <a:pt x="562" y="1364"/>
                  <a:pt x="560" y="1355"/>
                  <a:pt x="560" y="1343"/>
                </a:cubicBezTo>
                <a:cubicBezTo>
                  <a:pt x="560" y="1330"/>
                  <a:pt x="562" y="1320"/>
                  <a:pt x="566" y="1313"/>
                </a:cubicBezTo>
                <a:cubicBezTo>
                  <a:pt x="570" y="1306"/>
                  <a:pt x="577" y="1304"/>
                  <a:pt x="586" y="1304"/>
                </a:cubicBezTo>
                <a:cubicBezTo>
                  <a:pt x="602" y="1304"/>
                  <a:pt x="610" y="1316"/>
                  <a:pt x="610" y="1341"/>
                </a:cubicBezTo>
                <a:cubicBezTo>
                  <a:pt x="610" y="1354"/>
                  <a:pt x="608" y="1364"/>
                  <a:pt x="603" y="1370"/>
                </a:cubicBezTo>
                <a:cubicBezTo>
                  <a:pt x="598" y="1377"/>
                  <a:pt x="592" y="1380"/>
                  <a:pt x="584" y="1380"/>
                </a:cubicBezTo>
                <a:close/>
                <a:moveTo>
                  <a:pt x="585" y="1313"/>
                </a:moveTo>
                <a:cubicBezTo>
                  <a:pt x="576" y="1313"/>
                  <a:pt x="572" y="1323"/>
                  <a:pt x="572" y="1342"/>
                </a:cubicBezTo>
                <a:cubicBezTo>
                  <a:pt x="572" y="1361"/>
                  <a:pt x="576" y="1370"/>
                  <a:pt x="585" y="1370"/>
                </a:cubicBezTo>
                <a:cubicBezTo>
                  <a:pt x="593" y="1370"/>
                  <a:pt x="598" y="1361"/>
                  <a:pt x="598" y="1342"/>
                </a:cubicBezTo>
                <a:cubicBezTo>
                  <a:pt x="598" y="1323"/>
                  <a:pt x="594" y="1313"/>
                  <a:pt x="585" y="1313"/>
                </a:cubicBezTo>
                <a:close/>
                <a:moveTo>
                  <a:pt x="539" y="1306"/>
                </a:moveTo>
                <a:cubicBezTo>
                  <a:pt x="539" y="1306"/>
                  <a:pt x="539" y="1306"/>
                  <a:pt x="539" y="1306"/>
                </a:cubicBezTo>
                <a:cubicBezTo>
                  <a:pt x="534" y="1306"/>
                  <a:pt x="534" y="1306"/>
                  <a:pt x="534" y="1306"/>
                </a:cubicBezTo>
                <a:cubicBezTo>
                  <a:pt x="532" y="1308"/>
                  <a:pt x="530" y="1309"/>
                  <a:pt x="528" y="1310"/>
                </a:cubicBezTo>
                <a:cubicBezTo>
                  <a:pt x="527" y="1312"/>
                  <a:pt x="525" y="1312"/>
                  <a:pt x="523" y="1313"/>
                </a:cubicBezTo>
                <a:cubicBezTo>
                  <a:pt x="522" y="1314"/>
                  <a:pt x="520" y="1314"/>
                  <a:pt x="518" y="1315"/>
                </a:cubicBezTo>
                <a:cubicBezTo>
                  <a:pt x="516" y="1316"/>
                  <a:pt x="515" y="1317"/>
                  <a:pt x="512" y="1317"/>
                </a:cubicBezTo>
                <a:cubicBezTo>
                  <a:pt x="512" y="1317"/>
                  <a:pt x="512" y="1317"/>
                  <a:pt x="512" y="1328"/>
                </a:cubicBezTo>
                <a:cubicBezTo>
                  <a:pt x="515" y="1327"/>
                  <a:pt x="518" y="1325"/>
                  <a:pt x="520" y="1325"/>
                </a:cubicBezTo>
                <a:cubicBezTo>
                  <a:pt x="523" y="1324"/>
                  <a:pt x="525" y="1322"/>
                  <a:pt x="527" y="1321"/>
                </a:cubicBezTo>
                <a:cubicBezTo>
                  <a:pt x="527" y="1321"/>
                  <a:pt x="527" y="1321"/>
                  <a:pt x="527" y="1380"/>
                </a:cubicBezTo>
                <a:cubicBezTo>
                  <a:pt x="527" y="1380"/>
                  <a:pt x="527" y="1380"/>
                  <a:pt x="539" y="1380"/>
                </a:cubicBezTo>
                <a:cubicBezTo>
                  <a:pt x="539" y="1380"/>
                  <a:pt x="539" y="1380"/>
                  <a:pt x="539" y="1306"/>
                </a:cubicBezTo>
                <a:close/>
                <a:moveTo>
                  <a:pt x="655" y="1380"/>
                </a:moveTo>
                <a:cubicBezTo>
                  <a:pt x="647" y="1380"/>
                  <a:pt x="641" y="1377"/>
                  <a:pt x="637" y="1371"/>
                </a:cubicBezTo>
                <a:cubicBezTo>
                  <a:pt x="633" y="1364"/>
                  <a:pt x="631" y="1356"/>
                  <a:pt x="631" y="1343"/>
                </a:cubicBezTo>
                <a:cubicBezTo>
                  <a:pt x="631" y="1330"/>
                  <a:pt x="633" y="1320"/>
                  <a:pt x="637" y="1314"/>
                </a:cubicBezTo>
                <a:cubicBezTo>
                  <a:pt x="642" y="1307"/>
                  <a:pt x="648" y="1304"/>
                  <a:pt x="657" y="1304"/>
                </a:cubicBezTo>
                <a:cubicBezTo>
                  <a:pt x="673" y="1304"/>
                  <a:pt x="681" y="1316"/>
                  <a:pt x="681" y="1342"/>
                </a:cubicBezTo>
                <a:cubicBezTo>
                  <a:pt x="681" y="1354"/>
                  <a:pt x="679" y="1364"/>
                  <a:pt x="674" y="1370"/>
                </a:cubicBezTo>
                <a:cubicBezTo>
                  <a:pt x="669" y="1377"/>
                  <a:pt x="663" y="1380"/>
                  <a:pt x="655" y="1380"/>
                </a:cubicBezTo>
                <a:close/>
                <a:moveTo>
                  <a:pt x="656" y="1313"/>
                </a:moveTo>
                <a:cubicBezTo>
                  <a:pt x="647" y="1313"/>
                  <a:pt x="642" y="1323"/>
                  <a:pt x="642" y="1343"/>
                </a:cubicBezTo>
                <a:cubicBezTo>
                  <a:pt x="642" y="1362"/>
                  <a:pt x="647" y="1370"/>
                  <a:pt x="655" y="1370"/>
                </a:cubicBezTo>
                <a:cubicBezTo>
                  <a:pt x="664" y="1370"/>
                  <a:pt x="669" y="1362"/>
                  <a:pt x="669" y="1342"/>
                </a:cubicBezTo>
                <a:cubicBezTo>
                  <a:pt x="669" y="1323"/>
                  <a:pt x="664" y="1313"/>
                  <a:pt x="656" y="1313"/>
                </a:cubicBezTo>
                <a:close/>
                <a:moveTo>
                  <a:pt x="702" y="1339"/>
                </a:moveTo>
                <a:cubicBezTo>
                  <a:pt x="702" y="1339"/>
                  <a:pt x="702" y="1339"/>
                  <a:pt x="702" y="1339"/>
                </a:cubicBezTo>
                <a:cubicBezTo>
                  <a:pt x="702" y="1347"/>
                  <a:pt x="702" y="1347"/>
                  <a:pt x="702" y="1347"/>
                </a:cubicBezTo>
                <a:cubicBezTo>
                  <a:pt x="708" y="1347"/>
                  <a:pt x="709" y="1350"/>
                  <a:pt x="709" y="1353"/>
                </a:cubicBezTo>
                <a:cubicBezTo>
                  <a:pt x="709" y="1355"/>
                  <a:pt x="708" y="1357"/>
                  <a:pt x="708" y="1360"/>
                </a:cubicBezTo>
                <a:cubicBezTo>
                  <a:pt x="708" y="1363"/>
                  <a:pt x="708" y="1365"/>
                  <a:pt x="708" y="1367"/>
                </a:cubicBezTo>
                <a:cubicBezTo>
                  <a:pt x="708" y="1377"/>
                  <a:pt x="713" y="1380"/>
                  <a:pt x="722" y="1380"/>
                </a:cubicBezTo>
                <a:cubicBezTo>
                  <a:pt x="722" y="1380"/>
                  <a:pt x="722" y="1380"/>
                  <a:pt x="726" y="1380"/>
                </a:cubicBezTo>
                <a:cubicBezTo>
                  <a:pt x="726" y="1380"/>
                  <a:pt x="726" y="1380"/>
                  <a:pt x="726" y="1371"/>
                </a:cubicBezTo>
                <a:cubicBezTo>
                  <a:pt x="726" y="1371"/>
                  <a:pt x="726" y="1371"/>
                  <a:pt x="724" y="1371"/>
                </a:cubicBezTo>
                <a:cubicBezTo>
                  <a:pt x="720" y="1371"/>
                  <a:pt x="719" y="1368"/>
                  <a:pt x="719" y="1365"/>
                </a:cubicBezTo>
                <a:cubicBezTo>
                  <a:pt x="719" y="1363"/>
                  <a:pt x="719" y="1362"/>
                  <a:pt x="720" y="1360"/>
                </a:cubicBezTo>
                <a:cubicBezTo>
                  <a:pt x="720" y="1359"/>
                  <a:pt x="720" y="1356"/>
                  <a:pt x="720" y="1354"/>
                </a:cubicBezTo>
                <a:cubicBezTo>
                  <a:pt x="720" y="1347"/>
                  <a:pt x="717" y="1344"/>
                  <a:pt x="712" y="1343"/>
                </a:cubicBezTo>
                <a:cubicBezTo>
                  <a:pt x="712" y="1343"/>
                  <a:pt x="712" y="1343"/>
                  <a:pt x="712" y="1342"/>
                </a:cubicBezTo>
                <a:cubicBezTo>
                  <a:pt x="717" y="1341"/>
                  <a:pt x="720" y="1339"/>
                  <a:pt x="720" y="1332"/>
                </a:cubicBezTo>
                <a:cubicBezTo>
                  <a:pt x="720" y="1329"/>
                  <a:pt x="720" y="1327"/>
                  <a:pt x="720" y="1325"/>
                </a:cubicBezTo>
                <a:cubicBezTo>
                  <a:pt x="719" y="1324"/>
                  <a:pt x="719" y="1322"/>
                  <a:pt x="719" y="1321"/>
                </a:cubicBezTo>
                <a:cubicBezTo>
                  <a:pt x="719" y="1317"/>
                  <a:pt x="720" y="1315"/>
                  <a:pt x="724" y="1315"/>
                </a:cubicBezTo>
                <a:cubicBezTo>
                  <a:pt x="724" y="1315"/>
                  <a:pt x="724" y="1315"/>
                  <a:pt x="726" y="1315"/>
                </a:cubicBezTo>
                <a:cubicBezTo>
                  <a:pt x="726" y="1315"/>
                  <a:pt x="726" y="1315"/>
                  <a:pt x="726" y="1305"/>
                </a:cubicBezTo>
                <a:cubicBezTo>
                  <a:pt x="726" y="1305"/>
                  <a:pt x="726" y="1305"/>
                  <a:pt x="722" y="1305"/>
                </a:cubicBezTo>
                <a:cubicBezTo>
                  <a:pt x="713" y="1305"/>
                  <a:pt x="708" y="1310"/>
                  <a:pt x="708" y="1318"/>
                </a:cubicBezTo>
                <a:cubicBezTo>
                  <a:pt x="708" y="1320"/>
                  <a:pt x="708" y="1323"/>
                  <a:pt x="708" y="1326"/>
                </a:cubicBezTo>
                <a:cubicBezTo>
                  <a:pt x="708" y="1328"/>
                  <a:pt x="709" y="1331"/>
                  <a:pt x="709" y="1332"/>
                </a:cubicBezTo>
                <a:cubicBezTo>
                  <a:pt x="709" y="1335"/>
                  <a:pt x="708" y="1338"/>
                  <a:pt x="702" y="1339"/>
                </a:cubicBezTo>
                <a:close/>
                <a:moveTo>
                  <a:pt x="756" y="1347"/>
                </a:moveTo>
                <a:cubicBezTo>
                  <a:pt x="756" y="1347"/>
                  <a:pt x="756" y="1347"/>
                  <a:pt x="756" y="1347"/>
                </a:cubicBezTo>
                <a:cubicBezTo>
                  <a:pt x="756" y="1339"/>
                  <a:pt x="756" y="1339"/>
                  <a:pt x="756" y="1339"/>
                </a:cubicBezTo>
                <a:cubicBezTo>
                  <a:pt x="750" y="1338"/>
                  <a:pt x="750" y="1335"/>
                  <a:pt x="750" y="1332"/>
                </a:cubicBezTo>
                <a:cubicBezTo>
                  <a:pt x="750" y="1331"/>
                  <a:pt x="750" y="1328"/>
                  <a:pt x="750" y="1326"/>
                </a:cubicBezTo>
                <a:cubicBezTo>
                  <a:pt x="750" y="1323"/>
                  <a:pt x="750" y="1320"/>
                  <a:pt x="750" y="1318"/>
                </a:cubicBezTo>
                <a:cubicBezTo>
                  <a:pt x="750" y="1310"/>
                  <a:pt x="745" y="1305"/>
                  <a:pt x="736" y="1305"/>
                </a:cubicBezTo>
                <a:cubicBezTo>
                  <a:pt x="736" y="1305"/>
                  <a:pt x="736" y="1305"/>
                  <a:pt x="732" y="1305"/>
                </a:cubicBezTo>
                <a:cubicBezTo>
                  <a:pt x="732" y="1305"/>
                  <a:pt x="732" y="1305"/>
                  <a:pt x="732" y="1315"/>
                </a:cubicBezTo>
                <a:cubicBezTo>
                  <a:pt x="732" y="1315"/>
                  <a:pt x="732" y="1315"/>
                  <a:pt x="734" y="1315"/>
                </a:cubicBezTo>
                <a:cubicBezTo>
                  <a:pt x="738" y="1315"/>
                  <a:pt x="739" y="1317"/>
                  <a:pt x="739" y="1321"/>
                </a:cubicBezTo>
                <a:cubicBezTo>
                  <a:pt x="739" y="1322"/>
                  <a:pt x="739" y="1324"/>
                  <a:pt x="739" y="1325"/>
                </a:cubicBezTo>
                <a:cubicBezTo>
                  <a:pt x="738" y="1327"/>
                  <a:pt x="738" y="1329"/>
                  <a:pt x="738" y="1332"/>
                </a:cubicBezTo>
                <a:cubicBezTo>
                  <a:pt x="738" y="1339"/>
                  <a:pt x="741" y="1341"/>
                  <a:pt x="747" y="1342"/>
                </a:cubicBezTo>
                <a:cubicBezTo>
                  <a:pt x="747" y="1342"/>
                  <a:pt x="747" y="1342"/>
                  <a:pt x="747" y="1343"/>
                </a:cubicBezTo>
                <a:cubicBezTo>
                  <a:pt x="741" y="1344"/>
                  <a:pt x="738" y="1347"/>
                  <a:pt x="738" y="1354"/>
                </a:cubicBezTo>
                <a:cubicBezTo>
                  <a:pt x="738" y="1356"/>
                  <a:pt x="738" y="1359"/>
                  <a:pt x="739" y="1360"/>
                </a:cubicBezTo>
                <a:cubicBezTo>
                  <a:pt x="739" y="1362"/>
                  <a:pt x="739" y="1363"/>
                  <a:pt x="739" y="1365"/>
                </a:cubicBezTo>
                <a:cubicBezTo>
                  <a:pt x="739" y="1368"/>
                  <a:pt x="738" y="1371"/>
                  <a:pt x="734" y="1371"/>
                </a:cubicBezTo>
                <a:cubicBezTo>
                  <a:pt x="734" y="1371"/>
                  <a:pt x="734" y="1371"/>
                  <a:pt x="732" y="1371"/>
                </a:cubicBezTo>
                <a:cubicBezTo>
                  <a:pt x="732" y="1371"/>
                  <a:pt x="732" y="1371"/>
                  <a:pt x="732" y="1380"/>
                </a:cubicBezTo>
                <a:cubicBezTo>
                  <a:pt x="732" y="1380"/>
                  <a:pt x="732" y="1380"/>
                  <a:pt x="736" y="1380"/>
                </a:cubicBezTo>
                <a:cubicBezTo>
                  <a:pt x="745" y="1380"/>
                  <a:pt x="750" y="1377"/>
                  <a:pt x="750" y="1367"/>
                </a:cubicBezTo>
                <a:cubicBezTo>
                  <a:pt x="750" y="1365"/>
                  <a:pt x="750" y="1363"/>
                  <a:pt x="750" y="1360"/>
                </a:cubicBezTo>
                <a:cubicBezTo>
                  <a:pt x="750" y="1357"/>
                  <a:pt x="750" y="1355"/>
                  <a:pt x="750" y="1353"/>
                </a:cubicBezTo>
                <a:cubicBezTo>
                  <a:pt x="750" y="1350"/>
                  <a:pt x="750" y="1347"/>
                  <a:pt x="756" y="1347"/>
                </a:cubicBezTo>
                <a:close/>
                <a:moveTo>
                  <a:pt x="877" y="1380"/>
                </a:moveTo>
                <a:cubicBezTo>
                  <a:pt x="870" y="1380"/>
                  <a:pt x="863" y="1377"/>
                  <a:pt x="859" y="1371"/>
                </a:cubicBezTo>
                <a:cubicBezTo>
                  <a:pt x="855" y="1364"/>
                  <a:pt x="853" y="1356"/>
                  <a:pt x="853" y="1343"/>
                </a:cubicBezTo>
                <a:cubicBezTo>
                  <a:pt x="853" y="1330"/>
                  <a:pt x="855" y="1320"/>
                  <a:pt x="859" y="1314"/>
                </a:cubicBezTo>
                <a:cubicBezTo>
                  <a:pt x="864" y="1307"/>
                  <a:pt x="870" y="1304"/>
                  <a:pt x="879" y="1304"/>
                </a:cubicBezTo>
                <a:cubicBezTo>
                  <a:pt x="895" y="1304"/>
                  <a:pt x="903" y="1316"/>
                  <a:pt x="903" y="1342"/>
                </a:cubicBezTo>
                <a:cubicBezTo>
                  <a:pt x="903" y="1354"/>
                  <a:pt x="901" y="1364"/>
                  <a:pt x="896" y="1370"/>
                </a:cubicBezTo>
                <a:cubicBezTo>
                  <a:pt x="892" y="1377"/>
                  <a:pt x="885" y="1380"/>
                  <a:pt x="877" y="1380"/>
                </a:cubicBezTo>
                <a:close/>
                <a:moveTo>
                  <a:pt x="878" y="1313"/>
                </a:moveTo>
                <a:cubicBezTo>
                  <a:pt x="869" y="1313"/>
                  <a:pt x="865" y="1323"/>
                  <a:pt x="865" y="1343"/>
                </a:cubicBezTo>
                <a:cubicBezTo>
                  <a:pt x="865" y="1362"/>
                  <a:pt x="869" y="1370"/>
                  <a:pt x="878" y="1370"/>
                </a:cubicBezTo>
                <a:cubicBezTo>
                  <a:pt x="886" y="1370"/>
                  <a:pt x="891" y="1362"/>
                  <a:pt x="891" y="1342"/>
                </a:cubicBezTo>
                <a:cubicBezTo>
                  <a:pt x="891" y="1323"/>
                  <a:pt x="886" y="1313"/>
                  <a:pt x="878" y="1313"/>
                </a:cubicBezTo>
                <a:close/>
                <a:moveTo>
                  <a:pt x="951" y="1306"/>
                </a:moveTo>
                <a:cubicBezTo>
                  <a:pt x="951" y="1306"/>
                  <a:pt x="951" y="1306"/>
                  <a:pt x="951" y="1306"/>
                </a:cubicBezTo>
                <a:cubicBezTo>
                  <a:pt x="946" y="1306"/>
                  <a:pt x="946" y="1306"/>
                  <a:pt x="946" y="1306"/>
                </a:cubicBezTo>
                <a:cubicBezTo>
                  <a:pt x="943" y="1308"/>
                  <a:pt x="942" y="1309"/>
                  <a:pt x="940" y="1310"/>
                </a:cubicBezTo>
                <a:cubicBezTo>
                  <a:pt x="938" y="1312"/>
                  <a:pt x="936" y="1312"/>
                  <a:pt x="935" y="1313"/>
                </a:cubicBezTo>
                <a:cubicBezTo>
                  <a:pt x="933" y="1314"/>
                  <a:pt x="931" y="1314"/>
                  <a:pt x="930" y="1315"/>
                </a:cubicBezTo>
                <a:cubicBezTo>
                  <a:pt x="927" y="1316"/>
                  <a:pt x="926" y="1317"/>
                  <a:pt x="924" y="1317"/>
                </a:cubicBezTo>
                <a:cubicBezTo>
                  <a:pt x="924" y="1317"/>
                  <a:pt x="924" y="1317"/>
                  <a:pt x="924" y="1328"/>
                </a:cubicBezTo>
                <a:cubicBezTo>
                  <a:pt x="927" y="1327"/>
                  <a:pt x="930" y="1325"/>
                  <a:pt x="932" y="1325"/>
                </a:cubicBezTo>
                <a:cubicBezTo>
                  <a:pt x="935" y="1324"/>
                  <a:pt x="937" y="1322"/>
                  <a:pt x="939" y="1321"/>
                </a:cubicBezTo>
                <a:cubicBezTo>
                  <a:pt x="939" y="1321"/>
                  <a:pt x="939" y="1321"/>
                  <a:pt x="939" y="1380"/>
                </a:cubicBezTo>
                <a:cubicBezTo>
                  <a:pt x="939" y="1380"/>
                  <a:pt x="939" y="1380"/>
                  <a:pt x="951" y="1380"/>
                </a:cubicBezTo>
                <a:cubicBezTo>
                  <a:pt x="951" y="1380"/>
                  <a:pt x="951" y="1380"/>
                  <a:pt x="951" y="1306"/>
                </a:cubicBezTo>
                <a:close/>
                <a:moveTo>
                  <a:pt x="783" y="1380"/>
                </a:moveTo>
                <a:cubicBezTo>
                  <a:pt x="786" y="1361"/>
                  <a:pt x="786" y="1361"/>
                  <a:pt x="786" y="1361"/>
                </a:cubicBezTo>
                <a:cubicBezTo>
                  <a:pt x="777" y="1361"/>
                  <a:pt x="777" y="1361"/>
                  <a:pt x="777" y="1361"/>
                </a:cubicBezTo>
                <a:cubicBezTo>
                  <a:pt x="777" y="1349"/>
                  <a:pt x="777" y="1349"/>
                  <a:pt x="777" y="1349"/>
                </a:cubicBezTo>
                <a:cubicBezTo>
                  <a:pt x="788" y="1349"/>
                  <a:pt x="788" y="1349"/>
                  <a:pt x="788" y="1349"/>
                </a:cubicBezTo>
                <a:cubicBezTo>
                  <a:pt x="789" y="1338"/>
                  <a:pt x="789" y="1338"/>
                  <a:pt x="789" y="1338"/>
                </a:cubicBezTo>
                <a:cubicBezTo>
                  <a:pt x="780" y="1338"/>
                  <a:pt x="780" y="1338"/>
                  <a:pt x="780" y="1338"/>
                </a:cubicBezTo>
                <a:cubicBezTo>
                  <a:pt x="780" y="1326"/>
                  <a:pt x="780" y="1326"/>
                  <a:pt x="780" y="1326"/>
                </a:cubicBezTo>
                <a:cubicBezTo>
                  <a:pt x="791" y="1326"/>
                  <a:pt x="791" y="1326"/>
                  <a:pt x="791" y="1326"/>
                </a:cubicBezTo>
                <a:cubicBezTo>
                  <a:pt x="794" y="1307"/>
                  <a:pt x="794" y="1307"/>
                  <a:pt x="794" y="1307"/>
                </a:cubicBezTo>
                <a:cubicBezTo>
                  <a:pt x="805" y="1307"/>
                  <a:pt x="805" y="1307"/>
                  <a:pt x="805" y="1307"/>
                </a:cubicBezTo>
                <a:cubicBezTo>
                  <a:pt x="802" y="1326"/>
                  <a:pt x="802" y="1326"/>
                  <a:pt x="802" y="1326"/>
                </a:cubicBezTo>
                <a:cubicBezTo>
                  <a:pt x="812" y="1326"/>
                  <a:pt x="812" y="1326"/>
                  <a:pt x="812" y="1326"/>
                </a:cubicBezTo>
                <a:cubicBezTo>
                  <a:pt x="815" y="1307"/>
                  <a:pt x="815" y="1307"/>
                  <a:pt x="815" y="1307"/>
                </a:cubicBezTo>
                <a:cubicBezTo>
                  <a:pt x="826" y="1307"/>
                  <a:pt x="826" y="1307"/>
                  <a:pt x="826" y="1307"/>
                </a:cubicBezTo>
                <a:cubicBezTo>
                  <a:pt x="823" y="1326"/>
                  <a:pt x="823" y="1326"/>
                  <a:pt x="823" y="1326"/>
                </a:cubicBezTo>
                <a:cubicBezTo>
                  <a:pt x="832" y="1326"/>
                  <a:pt x="832" y="1326"/>
                  <a:pt x="832" y="1326"/>
                </a:cubicBezTo>
                <a:cubicBezTo>
                  <a:pt x="832" y="1338"/>
                  <a:pt x="832" y="1338"/>
                  <a:pt x="832" y="1338"/>
                </a:cubicBezTo>
                <a:cubicBezTo>
                  <a:pt x="821" y="1338"/>
                  <a:pt x="821" y="1338"/>
                  <a:pt x="821" y="1338"/>
                </a:cubicBezTo>
                <a:cubicBezTo>
                  <a:pt x="820" y="1349"/>
                  <a:pt x="820" y="1349"/>
                  <a:pt x="820" y="1349"/>
                </a:cubicBezTo>
                <a:cubicBezTo>
                  <a:pt x="829" y="1349"/>
                  <a:pt x="829" y="1349"/>
                  <a:pt x="829" y="1349"/>
                </a:cubicBezTo>
                <a:cubicBezTo>
                  <a:pt x="829" y="1361"/>
                  <a:pt x="829" y="1361"/>
                  <a:pt x="829" y="1361"/>
                </a:cubicBezTo>
                <a:cubicBezTo>
                  <a:pt x="818" y="1361"/>
                  <a:pt x="818" y="1361"/>
                  <a:pt x="818" y="1361"/>
                </a:cubicBezTo>
                <a:cubicBezTo>
                  <a:pt x="815" y="1380"/>
                  <a:pt x="815" y="1380"/>
                  <a:pt x="815" y="1380"/>
                </a:cubicBezTo>
                <a:cubicBezTo>
                  <a:pt x="804" y="1380"/>
                  <a:pt x="804" y="1380"/>
                  <a:pt x="804" y="1380"/>
                </a:cubicBezTo>
                <a:cubicBezTo>
                  <a:pt x="807" y="1361"/>
                  <a:pt x="807" y="1361"/>
                  <a:pt x="807" y="1361"/>
                </a:cubicBezTo>
                <a:cubicBezTo>
                  <a:pt x="797" y="1361"/>
                  <a:pt x="797" y="1361"/>
                  <a:pt x="797" y="1361"/>
                </a:cubicBezTo>
                <a:cubicBezTo>
                  <a:pt x="794" y="1380"/>
                  <a:pt x="794" y="1380"/>
                  <a:pt x="794" y="1380"/>
                </a:cubicBezTo>
                <a:cubicBezTo>
                  <a:pt x="783" y="1380"/>
                  <a:pt x="783" y="1380"/>
                  <a:pt x="783" y="1380"/>
                </a:cubicBezTo>
                <a:cubicBezTo>
                  <a:pt x="783" y="1380"/>
                  <a:pt x="783" y="1380"/>
                  <a:pt x="783" y="1380"/>
                </a:cubicBezTo>
                <a:close/>
                <a:moveTo>
                  <a:pt x="809" y="1349"/>
                </a:moveTo>
                <a:cubicBezTo>
                  <a:pt x="810" y="1338"/>
                  <a:pt x="810" y="1338"/>
                  <a:pt x="810" y="1338"/>
                </a:cubicBezTo>
                <a:cubicBezTo>
                  <a:pt x="800" y="1338"/>
                  <a:pt x="800" y="1338"/>
                  <a:pt x="800" y="1338"/>
                </a:cubicBezTo>
                <a:cubicBezTo>
                  <a:pt x="799" y="1349"/>
                  <a:pt x="799" y="1349"/>
                  <a:pt x="799" y="1349"/>
                </a:cubicBezTo>
                <a:cubicBezTo>
                  <a:pt x="809" y="1349"/>
                  <a:pt x="809" y="1349"/>
                  <a:pt x="809" y="1349"/>
                </a:cubicBezTo>
                <a:cubicBezTo>
                  <a:pt x="809" y="1349"/>
                  <a:pt x="809" y="1349"/>
                  <a:pt x="809" y="1349"/>
                </a:cubicBezTo>
                <a:close/>
                <a:moveTo>
                  <a:pt x="327" y="1306"/>
                </a:moveTo>
                <a:cubicBezTo>
                  <a:pt x="327" y="1306"/>
                  <a:pt x="327" y="1306"/>
                  <a:pt x="327" y="1306"/>
                </a:cubicBezTo>
                <a:cubicBezTo>
                  <a:pt x="322" y="1306"/>
                  <a:pt x="322" y="1306"/>
                  <a:pt x="322" y="1306"/>
                </a:cubicBezTo>
                <a:cubicBezTo>
                  <a:pt x="319" y="1308"/>
                  <a:pt x="318" y="1309"/>
                  <a:pt x="316" y="1310"/>
                </a:cubicBezTo>
                <a:cubicBezTo>
                  <a:pt x="314" y="1312"/>
                  <a:pt x="313" y="1312"/>
                  <a:pt x="310" y="1313"/>
                </a:cubicBezTo>
                <a:cubicBezTo>
                  <a:pt x="309" y="1314"/>
                  <a:pt x="307" y="1315"/>
                  <a:pt x="305" y="1316"/>
                </a:cubicBezTo>
                <a:cubicBezTo>
                  <a:pt x="303" y="1317"/>
                  <a:pt x="302" y="1317"/>
                  <a:pt x="299" y="1317"/>
                </a:cubicBezTo>
                <a:cubicBezTo>
                  <a:pt x="299" y="1317"/>
                  <a:pt x="299" y="1317"/>
                  <a:pt x="299" y="1328"/>
                </a:cubicBezTo>
                <a:cubicBezTo>
                  <a:pt x="302" y="1327"/>
                  <a:pt x="305" y="1326"/>
                  <a:pt x="308" y="1325"/>
                </a:cubicBezTo>
                <a:cubicBezTo>
                  <a:pt x="310" y="1324"/>
                  <a:pt x="313" y="1322"/>
                  <a:pt x="315" y="1321"/>
                </a:cubicBezTo>
                <a:cubicBezTo>
                  <a:pt x="315" y="1321"/>
                  <a:pt x="315" y="1321"/>
                  <a:pt x="315" y="1380"/>
                </a:cubicBezTo>
                <a:cubicBezTo>
                  <a:pt x="315" y="1380"/>
                  <a:pt x="315" y="1380"/>
                  <a:pt x="327" y="1380"/>
                </a:cubicBezTo>
                <a:cubicBezTo>
                  <a:pt x="327" y="1380"/>
                  <a:pt x="327" y="1380"/>
                  <a:pt x="327" y="1306"/>
                </a:cubicBezTo>
                <a:close/>
                <a:moveTo>
                  <a:pt x="374" y="1306"/>
                </a:moveTo>
                <a:cubicBezTo>
                  <a:pt x="374" y="1306"/>
                  <a:pt x="374" y="1306"/>
                  <a:pt x="374" y="1306"/>
                </a:cubicBezTo>
                <a:cubicBezTo>
                  <a:pt x="369" y="1306"/>
                  <a:pt x="369" y="1306"/>
                  <a:pt x="369" y="1306"/>
                </a:cubicBezTo>
                <a:cubicBezTo>
                  <a:pt x="367" y="1308"/>
                  <a:pt x="365" y="1309"/>
                  <a:pt x="363" y="1310"/>
                </a:cubicBezTo>
                <a:cubicBezTo>
                  <a:pt x="362" y="1312"/>
                  <a:pt x="359" y="1312"/>
                  <a:pt x="358" y="1313"/>
                </a:cubicBezTo>
                <a:cubicBezTo>
                  <a:pt x="357" y="1314"/>
                  <a:pt x="354" y="1315"/>
                  <a:pt x="353" y="1316"/>
                </a:cubicBezTo>
                <a:cubicBezTo>
                  <a:pt x="351" y="1317"/>
                  <a:pt x="349" y="1317"/>
                  <a:pt x="347" y="1317"/>
                </a:cubicBezTo>
                <a:cubicBezTo>
                  <a:pt x="347" y="1317"/>
                  <a:pt x="347" y="1317"/>
                  <a:pt x="347" y="1328"/>
                </a:cubicBezTo>
                <a:cubicBezTo>
                  <a:pt x="350" y="1327"/>
                  <a:pt x="353" y="1326"/>
                  <a:pt x="355" y="1325"/>
                </a:cubicBezTo>
                <a:cubicBezTo>
                  <a:pt x="358" y="1324"/>
                  <a:pt x="360" y="1322"/>
                  <a:pt x="362" y="1321"/>
                </a:cubicBezTo>
                <a:cubicBezTo>
                  <a:pt x="362" y="1321"/>
                  <a:pt x="362" y="1321"/>
                  <a:pt x="362" y="1380"/>
                </a:cubicBezTo>
                <a:cubicBezTo>
                  <a:pt x="362" y="1380"/>
                  <a:pt x="362" y="1380"/>
                  <a:pt x="374" y="1380"/>
                </a:cubicBezTo>
                <a:cubicBezTo>
                  <a:pt x="374" y="1380"/>
                  <a:pt x="374" y="1380"/>
                  <a:pt x="374" y="1306"/>
                </a:cubicBezTo>
                <a:close/>
                <a:moveTo>
                  <a:pt x="421" y="1306"/>
                </a:moveTo>
                <a:cubicBezTo>
                  <a:pt x="421" y="1306"/>
                  <a:pt x="421" y="1306"/>
                  <a:pt x="421" y="1306"/>
                </a:cubicBezTo>
                <a:cubicBezTo>
                  <a:pt x="416" y="1306"/>
                  <a:pt x="416" y="1306"/>
                  <a:pt x="416" y="1306"/>
                </a:cubicBezTo>
                <a:cubicBezTo>
                  <a:pt x="414" y="1308"/>
                  <a:pt x="413" y="1309"/>
                  <a:pt x="411" y="1310"/>
                </a:cubicBezTo>
                <a:cubicBezTo>
                  <a:pt x="409" y="1312"/>
                  <a:pt x="407" y="1312"/>
                  <a:pt x="406" y="1313"/>
                </a:cubicBezTo>
                <a:cubicBezTo>
                  <a:pt x="404" y="1314"/>
                  <a:pt x="402" y="1314"/>
                  <a:pt x="400" y="1315"/>
                </a:cubicBezTo>
                <a:cubicBezTo>
                  <a:pt x="398" y="1316"/>
                  <a:pt x="396" y="1317"/>
                  <a:pt x="395" y="1317"/>
                </a:cubicBezTo>
                <a:cubicBezTo>
                  <a:pt x="395" y="1317"/>
                  <a:pt x="395" y="1317"/>
                  <a:pt x="395" y="1328"/>
                </a:cubicBezTo>
                <a:cubicBezTo>
                  <a:pt x="398" y="1327"/>
                  <a:pt x="401" y="1325"/>
                  <a:pt x="403" y="1325"/>
                </a:cubicBezTo>
                <a:cubicBezTo>
                  <a:pt x="405" y="1324"/>
                  <a:pt x="408" y="1322"/>
                  <a:pt x="409" y="1321"/>
                </a:cubicBezTo>
                <a:cubicBezTo>
                  <a:pt x="409" y="1321"/>
                  <a:pt x="409" y="1321"/>
                  <a:pt x="409" y="1380"/>
                </a:cubicBezTo>
                <a:cubicBezTo>
                  <a:pt x="409" y="1380"/>
                  <a:pt x="409" y="1380"/>
                  <a:pt x="421" y="1380"/>
                </a:cubicBezTo>
                <a:cubicBezTo>
                  <a:pt x="421" y="1380"/>
                  <a:pt x="421" y="1380"/>
                  <a:pt x="421" y="1306"/>
                </a:cubicBezTo>
                <a:close/>
                <a:moveTo>
                  <a:pt x="628" y="1210"/>
                </a:moveTo>
                <a:cubicBezTo>
                  <a:pt x="628" y="1210"/>
                  <a:pt x="628" y="1210"/>
                  <a:pt x="628" y="1210"/>
                </a:cubicBezTo>
                <a:cubicBezTo>
                  <a:pt x="623" y="1210"/>
                  <a:pt x="623" y="1210"/>
                  <a:pt x="623" y="1210"/>
                </a:cubicBezTo>
                <a:cubicBezTo>
                  <a:pt x="621" y="1212"/>
                  <a:pt x="619" y="1213"/>
                  <a:pt x="617" y="1214"/>
                </a:cubicBezTo>
                <a:cubicBezTo>
                  <a:pt x="616" y="1216"/>
                  <a:pt x="613" y="1216"/>
                  <a:pt x="612" y="1217"/>
                </a:cubicBezTo>
                <a:cubicBezTo>
                  <a:pt x="610" y="1218"/>
                  <a:pt x="608" y="1218"/>
                  <a:pt x="607" y="1219"/>
                </a:cubicBezTo>
                <a:cubicBezTo>
                  <a:pt x="605" y="1220"/>
                  <a:pt x="603" y="1221"/>
                  <a:pt x="601" y="1221"/>
                </a:cubicBezTo>
                <a:cubicBezTo>
                  <a:pt x="601" y="1221"/>
                  <a:pt x="601" y="1221"/>
                  <a:pt x="601" y="1232"/>
                </a:cubicBezTo>
                <a:cubicBezTo>
                  <a:pt x="604" y="1231"/>
                  <a:pt x="607" y="1229"/>
                  <a:pt x="609" y="1229"/>
                </a:cubicBezTo>
                <a:cubicBezTo>
                  <a:pt x="612" y="1228"/>
                  <a:pt x="614" y="1226"/>
                  <a:pt x="616" y="1225"/>
                </a:cubicBezTo>
                <a:cubicBezTo>
                  <a:pt x="616" y="1225"/>
                  <a:pt x="616" y="1225"/>
                  <a:pt x="616" y="1284"/>
                </a:cubicBezTo>
                <a:cubicBezTo>
                  <a:pt x="616" y="1284"/>
                  <a:pt x="616" y="1284"/>
                  <a:pt x="628" y="1284"/>
                </a:cubicBezTo>
                <a:cubicBezTo>
                  <a:pt x="628" y="1284"/>
                  <a:pt x="628" y="1284"/>
                  <a:pt x="628" y="1210"/>
                </a:cubicBezTo>
                <a:close/>
                <a:moveTo>
                  <a:pt x="674" y="1210"/>
                </a:moveTo>
                <a:cubicBezTo>
                  <a:pt x="674" y="1210"/>
                  <a:pt x="674" y="1210"/>
                  <a:pt x="674" y="1210"/>
                </a:cubicBezTo>
                <a:cubicBezTo>
                  <a:pt x="669" y="1210"/>
                  <a:pt x="669" y="1210"/>
                  <a:pt x="669" y="1210"/>
                </a:cubicBezTo>
                <a:cubicBezTo>
                  <a:pt x="667" y="1212"/>
                  <a:pt x="666" y="1213"/>
                  <a:pt x="664" y="1214"/>
                </a:cubicBezTo>
                <a:cubicBezTo>
                  <a:pt x="662" y="1216"/>
                  <a:pt x="660" y="1216"/>
                  <a:pt x="659" y="1217"/>
                </a:cubicBezTo>
                <a:cubicBezTo>
                  <a:pt x="657" y="1218"/>
                  <a:pt x="655" y="1219"/>
                  <a:pt x="654" y="1220"/>
                </a:cubicBezTo>
                <a:cubicBezTo>
                  <a:pt x="651" y="1221"/>
                  <a:pt x="650" y="1221"/>
                  <a:pt x="648" y="1221"/>
                </a:cubicBezTo>
                <a:cubicBezTo>
                  <a:pt x="648" y="1221"/>
                  <a:pt x="648" y="1221"/>
                  <a:pt x="648" y="1232"/>
                </a:cubicBezTo>
                <a:cubicBezTo>
                  <a:pt x="651" y="1231"/>
                  <a:pt x="654" y="1230"/>
                  <a:pt x="656" y="1229"/>
                </a:cubicBezTo>
                <a:cubicBezTo>
                  <a:pt x="659" y="1228"/>
                  <a:pt x="661" y="1226"/>
                  <a:pt x="663" y="1225"/>
                </a:cubicBezTo>
                <a:cubicBezTo>
                  <a:pt x="663" y="1225"/>
                  <a:pt x="663" y="1225"/>
                  <a:pt x="663" y="1284"/>
                </a:cubicBezTo>
                <a:cubicBezTo>
                  <a:pt x="663" y="1284"/>
                  <a:pt x="663" y="1284"/>
                  <a:pt x="674" y="1284"/>
                </a:cubicBezTo>
                <a:cubicBezTo>
                  <a:pt x="674" y="1284"/>
                  <a:pt x="674" y="1284"/>
                  <a:pt x="674" y="1210"/>
                </a:cubicBezTo>
                <a:close/>
                <a:moveTo>
                  <a:pt x="720" y="1210"/>
                </a:moveTo>
                <a:cubicBezTo>
                  <a:pt x="720" y="1210"/>
                  <a:pt x="720" y="1210"/>
                  <a:pt x="720" y="1210"/>
                </a:cubicBezTo>
                <a:cubicBezTo>
                  <a:pt x="716" y="1210"/>
                  <a:pt x="716" y="1210"/>
                  <a:pt x="716" y="1210"/>
                </a:cubicBezTo>
                <a:cubicBezTo>
                  <a:pt x="714" y="1212"/>
                  <a:pt x="712" y="1213"/>
                  <a:pt x="710" y="1214"/>
                </a:cubicBezTo>
                <a:cubicBezTo>
                  <a:pt x="709" y="1216"/>
                  <a:pt x="707" y="1216"/>
                  <a:pt x="705" y="1217"/>
                </a:cubicBezTo>
                <a:cubicBezTo>
                  <a:pt x="703" y="1218"/>
                  <a:pt x="702" y="1219"/>
                  <a:pt x="699" y="1220"/>
                </a:cubicBezTo>
                <a:cubicBezTo>
                  <a:pt x="698" y="1221"/>
                  <a:pt x="696" y="1221"/>
                  <a:pt x="694" y="1221"/>
                </a:cubicBezTo>
                <a:cubicBezTo>
                  <a:pt x="694" y="1221"/>
                  <a:pt x="694" y="1221"/>
                  <a:pt x="694" y="1232"/>
                </a:cubicBezTo>
                <a:cubicBezTo>
                  <a:pt x="697" y="1231"/>
                  <a:pt x="700" y="1230"/>
                  <a:pt x="702" y="1229"/>
                </a:cubicBezTo>
                <a:cubicBezTo>
                  <a:pt x="704" y="1228"/>
                  <a:pt x="707" y="1226"/>
                  <a:pt x="709" y="1225"/>
                </a:cubicBezTo>
                <a:cubicBezTo>
                  <a:pt x="709" y="1225"/>
                  <a:pt x="709" y="1225"/>
                  <a:pt x="709" y="1284"/>
                </a:cubicBezTo>
                <a:cubicBezTo>
                  <a:pt x="709" y="1284"/>
                  <a:pt x="709" y="1284"/>
                  <a:pt x="720" y="1284"/>
                </a:cubicBezTo>
                <a:cubicBezTo>
                  <a:pt x="720" y="1284"/>
                  <a:pt x="720" y="1284"/>
                  <a:pt x="720" y="1210"/>
                </a:cubicBezTo>
                <a:close/>
                <a:moveTo>
                  <a:pt x="767" y="1210"/>
                </a:moveTo>
                <a:cubicBezTo>
                  <a:pt x="767" y="1210"/>
                  <a:pt x="767" y="1210"/>
                  <a:pt x="767" y="1210"/>
                </a:cubicBezTo>
                <a:cubicBezTo>
                  <a:pt x="762" y="1210"/>
                  <a:pt x="762" y="1210"/>
                  <a:pt x="762" y="1210"/>
                </a:cubicBezTo>
                <a:cubicBezTo>
                  <a:pt x="760" y="1212"/>
                  <a:pt x="758" y="1213"/>
                  <a:pt x="756" y="1214"/>
                </a:cubicBezTo>
                <a:cubicBezTo>
                  <a:pt x="755" y="1216"/>
                  <a:pt x="753" y="1216"/>
                  <a:pt x="751" y="1217"/>
                </a:cubicBezTo>
                <a:cubicBezTo>
                  <a:pt x="750" y="1218"/>
                  <a:pt x="747" y="1219"/>
                  <a:pt x="746" y="1220"/>
                </a:cubicBezTo>
                <a:cubicBezTo>
                  <a:pt x="744" y="1221"/>
                  <a:pt x="742" y="1221"/>
                  <a:pt x="740" y="1221"/>
                </a:cubicBezTo>
                <a:cubicBezTo>
                  <a:pt x="740" y="1221"/>
                  <a:pt x="740" y="1221"/>
                  <a:pt x="740" y="1232"/>
                </a:cubicBezTo>
                <a:cubicBezTo>
                  <a:pt x="743" y="1231"/>
                  <a:pt x="746" y="1230"/>
                  <a:pt x="748" y="1229"/>
                </a:cubicBezTo>
                <a:cubicBezTo>
                  <a:pt x="751" y="1228"/>
                  <a:pt x="753" y="1226"/>
                  <a:pt x="756" y="1225"/>
                </a:cubicBezTo>
                <a:cubicBezTo>
                  <a:pt x="756" y="1225"/>
                  <a:pt x="756" y="1225"/>
                  <a:pt x="756" y="1284"/>
                </a:cubicBezTo>
                <a:cubicBezTo>
                  <a:pt x="756" y="1284"/>
                  <a:pt x="756" y="1284"/>
                  <a:pt x="767" y="1284"/>
                </a:cubicBezTo>
                <a:cubicBezTo>
                  <a:pt x="767" y="1284"/>
                  <a:pt x="767" y="1284"/>
                  <a:pt x="767" y="1210"/>
                </a:cubicBezTo>
                <a:close/>
                <a:moveTo>
                  <a:pt x="889" y="1210"/>
                </a:moveTo>
                <a:cubicBezTo>
                  <a:pt x="889" y="1210"/>
                  <a:pt x="889" y="1210"/>
                  <a:pt x="889" y="1210"/>
                </a:cubicBezTo>
                <a:cubicBezTo>
                  <a:pt x="884" y="1210"/>
                  <a:pt x="884" y="1210"/>
                  <a:pt x="884" y="1210"/>
                </a:cubicBezTo>
                <a:cubicBezTo>
                  <a:pt x="882" y="1212"/>
                  <a:pt x="880" y="1213"/>
                  <a:pt x="878" y="1214"/>
                </a:cubicBezTo>
                <a:cubicBezTo>
                  <a:pt x="876" y="1216"/>
                  <a:pt x="875" y="1216"/>
                  <a:pt x="873" y="1217"/>
                </a:cubicBezTo>
                <a:cubicBezTo>
                  <a:pt x="871" y="1218"/>
                  <a:pt x="869" y="1219"/>
                  <a:pt x="868" y="1220"/>
                </a:cubicBezTo>
                <a:cubicBezTo>
                  <a:pt x="866" y="1221"/>
                  <a:pt x="864" y="1221"/>
                  <a:pt x="862" y="1221"/>
                </a:cubicBezTo>
                <a:cubicBezTo>
                  <a:pt x="862" y="1221"/>
                  <a:pt x="862" y="1221"/>
                  <a:pt x="862" y="1232"/>
                </a:cubicBezTo>
                <a:cubicBezTo>
                  <a:pt x="865" y="1231"/>
                  <a:pt x="868" y="1230"/>
                  <a:pt x="871" y="1229"/>
                </a:cubicBezTo>
                <a:cubicBezTo>
                  <a:pt x="873" y="1228"/>
                  <a:pt x="875" y="1226"/>
                  <a:pt x="877" y="1225"/>
                </a:cubicBezTo>
                <a:cubicBezTo>
                  <a:pt x="877" y="1225"/>
                  <a:pt x="877" y="1225"/>
                  <a:pt x="877" y="1284"/>
                </a:cubicBezTo>
                <a:cubicBezTo>
                  <a:pt x="877" y="1284"/>
                  <a:pt x="877" y="1284"/>
                  <a:pt x="889" y="1284"/>
                </a:cubicBezTo>
                <a:cubicBezTo>
                  <a:pt x="889" y="1284"/>
                  <a:pt x="889" y="1284"/>
                  <a:pt x="889" y="1210"/>
                </a:cubicBezTo>
                <a:close/>
                <a:moveTo>
                  <a:pt x="936" y="1210"/>
                </a:moveTo>
                <a:cubicBezTo>
                  <a:pt x="936" y="1210"/>
                  <a:pt x="936" y="1210"/>
                  <a:pt x="936" y="1210"/>
                </a:cubicBezTo>
                <a:cubicBezTo>
                  <a:pt x="931" y="1210"/>
                  <a:pt x="931" y="1210"/>
                  <a:pt x="931" y="1210"/>
                </a:cubicBezTo>
                <a:cubicBezTo>
                  <a:pt x="929" y="1212"/>
                  <a:pt x="927" y="1213"/>
                  <a:pt x="925" y="1214"/>
                </a:cubicBezTo>
                <a:cubicBezTo>
                  <a:pt x="924" y="1216"/>
                  <a:pt x="921" y="1216"/>
                  <a:pt x="920" y="1217"/>
                </a:cubicBezTo>
                <a:cubicBezTo>
                  <a:pt x="918" y="1218"/>
                  <a:pt x="916" y="1219"/>
                  <a:pt x="915" y="1220"/>
                </a:cubicBezTo>
                <a:cubicBezTo>
                  <a:pt x="913" y="1221"/>
                  <a:pt x="911" y="1221"/>
                  <a:pt x="909" y="1221"/>
                </a:cubicBezTo>
                <a:cubicBezTo>
                  <a:pt x="909" y="1221"/>
                  <a:pt x="909" y="1221"/>
                  <a:pt x="909" y="1232"/>
                </a:cubicBezTo>
                <a:cubicBezTo>
                  <a:pt x="912" y="1231"/>
                  <a:pt x="915" y="1230"/>
                  <a:pt x="917" y="1229"/>
                </a:cubicBezTo>
                <a:cubicBezTo>
                  <a:pt x="920" y="1228"/>
                  <a:pt x="922" y="1226"/>
                  <a:pt x="924" y="1225"/>
                </a:cubicBezTo>
                <a:cubicBezTo>
                  <a:pt x="924" y="1225"/>
                  <a:pt x="924" y="1225"/>
                  <a:pt x="924" y="1284"/>
                </a:cubicBezTo>
                <a:cubicBezTo>
                  <a:pt x="924" y="1284"/>
                  <a:pt x="924" y="1284"/>
                  <a:pt x="936" y="1284"/>
                </a:cubicBezTo>
                <a:cubicBezTo>
                  <a:pt x="936" y="1284"/>
                  <a:pt x="936" y="1284"/>
                  <a:pt x="936" y="1210"/>
                </a:cubicBezTo>
                <a:close/>
                <a:moveTo>
                  <a:pt x="787" y="1243"/>
                </a:moveTo>
                <a:cubicBezTo>
                  <a:pt x="787" y="1243"/>
                  <a:pt x="787" y="1243"/>
                  <a:pt x="787" y="1243"/>
                </a:cubicBezTo>
                <a:cubicBezTo>
                  <a:pt x="787" y="1251"/>
                  <a:pt x="787" y="1251"/>
                  <a:pt x="787" y="1251"/>
                </a:cubicBezTo>
                <a:cubicBezTo>
                  <a:pt x="793" y="1251"/>
                  <a:pt x="794" y="1254"/>
                  <a:pt x="794" y="1257"/>
                </a:cubicBezTo>
                <a:cubicBezTo>
                  <a:pt x="794" y="1259"/>
                  <a:pt x="794" y="1261"/>
                  <a:pt x="794" y="1264"/>
                </a:cubicBezTo>
                <a:cubicBezTo>
                  <a:pt x="793" y="1267"/>
                  <a:pt x="793" y="1269"/>
                  <a:pt x="793" y="1271"/>
                </a:cubicBezTo>
                <a:cubicBezTo>
                  <a:pt x="793" y="1281"/>
                  <a:pt x="799" y="1284"/>
                  <a:pt x="807" y="1284"/>
                </a:cubicBezTo>
                <a:cubicBezTo>
                  <a:pt x="807" y="1284"/>
                  <a:pt x="807" y="1284"/>
                  <a:pt x="811" y="1284"/>
                </a:cubicBezTo>
                <a:cubicBezTo>
                  <a:pt x="811" y="1284"/>
                  <a:pt x="811" y="1284"/>
                  <a:pt x="811" y="1275"/>
                </a:cubicBezTo>
                <a:cubicBezTo>
                  <a:pt x="811" y="1275"/>
                  <a:pt x="811" y="1275"/>
                  <a:pt x="810" y="1275"/>
                </a:cubicBezTo>
                <a:cubicBezTo>
                  <a:pt x="806" y="1275"/>
                  <a:pt x="805" y="1272"/>
                  <a:pt x="805" y="1269"/>
                </a:cubicBezTo>
                <a:cubicBezTo>
                  <a:pt x="805" y="1267"/>
                  <a:pt x="805" y="1266"/>
                  <a:pt x="805" y="1264"/>
                </a:cubicBezTo>
                <a:cubicBezTo>
                  <a:pt x="805" y="1263"/>
                  <a:pt x="806" y="1260"/>
                  <a:pt x="806" y="1258"/>
                </a:cubicBezTo>
                <a:cubicBezTo>
                  <a:pt x="806" y="1251"/>
                  <a:pt x="803" y="1248"/>
                  <a:pt x="797" y="1247"/>
                </a:cubicBezTo>
                <a:cubicBezTo>
                  <a:pt x="797" y="1247"/>
                  <a:pt x="797" y="1247"/>
                  <a:pt x="797" y="1246"/>
                </a:cubicBezTo>
                <a:cubicBezTo>
                  <a:pt x="803" y="1245"/>
                  <a:pt x="806" y="1243"/>
                  <a:pt x="806" y="1236"/>
                </a:cubicBezTo>
                <a:cubicBezTo>
                  <a:pt x="806" y="1233"/>
                  <a:pt x="805" y="1231"/>
                  <a:pt x="805" y="1229"/>
                </a:cubicBezTo>
                <a:cubicBezTo>
                  <a:pt x="805" y="1228"/>
                  <a:pt x="805" y="1226"/>
                  <a:pt x="805" y="1225"/>
                </a:cubicBezTo>
                <a:cubicBezTo>
                  <a:pt x="805" y="1221"/>
                  <a:pt x="806" y="1219"/>
                  <a:pt x="810" y="1219"/>
                </a:cubicBezTo>
                <a:cubicBezTo>
                  <a:pt x="810" y="1219"/>
                  <a:pt x="810" y="1219"/>
                  <a:pt x="811" y="1219"/>
                </a:cubicBezTo>
                <a:cubicBezTo>
                  <a:pt x="811" y="1219"/>
                  <a:pt x="811" y="1219"/>
                  <a:pt x="811" y="1209"/>
                </a:cubicBezTo>
                <a:cubicBezTo>
                  <a:pt x="811" y="1209"/>
                  <a:pt x="811" y="1209"/>
                  <a:pt x="807" y="1209"/>
                </a:cubicBezTo>
                <a:cubicBezTo>
                  <a:pt x="798" y="1209"/>
                  <a:pt x="793" y="1214"/>
                  <a:pt x="793" y="1222"/>
                </a:cubicBezTo>
                <a:cubicBezTo>
                  <a:pt x="793" y="1224"/>
                  <a:pt x="793" y="1227"/>
                  <a:pt x="793" y="1230"/>
                </a:cubicBezTo>
                <a:cubicBezTo>
                  <a:pt x="794" y="1232"/>
                  <a:pt x="794" y="1235"/>
                  <a:pt x="794" y="1236"/>
                </a:cubicBezTo>
                <a:cubicBezTo>
                  <a:pt x="794" y="1239"/>
                  <a:pt x="793" y="1242"/>
                  <a:pt x="787" y="1243"/>
                </a:cubicBezTo>
                <a:close/>
                <a:moveTo>
                  <a:pt x="842" y="1251"/>
                </a:moveTo>
                <a:cubicBezTo>
                  <a:pt x="842" y="1251"/>
                  <a:pt x="842" y="1251"/>
                  <a:pt x="842" y="1251"/>
                </a:cubicBezTo>
                <a:cubicBezTo>
                  <a:pt x="842" y="1243"/>
                  <a:pt x="842" y="1243"/>
                  <a:pt x="842" y="1243"/>
                </a:cubicBezTo>
                <a:cubicBezTo>
                  <a:pt x="836" y="1242"/>
                  <a:pt x="835" y="1239"/>
                  <a:pt x="835" y="1236"/>
                </a:cubicBezTo>
                <a:cubicBezTo>
                  <a:pt x="835" y="1235"/>
                  <a:pt x="835" y="1232"/>
                  <a:pt x="836" y="1230"/>
                </a:cubicBezTo>
                <a:cubicBezTo>
                  <a:pt x="836" y="1227"/>
                  <a:pt x="836" y="1224"/>
                  <a:pt x="836" y="1222"/>
                </a:cubicBezTo>
                <a:cubicBezTo>
                  <a:pt x="836" y="1214"/>
                  <a:pt x="831" y="1209"/>
                  <a:pt x="822" y="1209"/>
                </a:cubicBezTo>
                <a:cubicBezTo>
                  <a:pt x="822" y="1209"/>
                  <a:pt x="822" y="1209"/>
                  <a:pt x="818" y="1209"/>
                </a:cubicBezTo>
                <a:cubicBezTo>
                  <a:pt x="818" y="1209"/>
                  <a:pt x="818" y="1209"/>
                  <a:pt x="818" y="1219"/>
                </a:cubicBezTo>
                <a:cubicBezTo>
                  <a:pt x="818" y="1219"/>
                  <a:pt x="818" y="1219"/>
                  <a:pt x="819" y="1219"/>
                </a:cubicBezTo>
                <a:cubicBezTo>
                  <a:pt x="823" y="1219"/>
                  <a:pt x="825" y="1221"/>
                  <a:pt x="825" y="1225"/>
                </a:cubicBezTo>
                <a:cubicBezTo>
                  <a:pt x="825" y="1226"/>
                  <a:pt x="824" y="1228"/>
                  <a:pt x="824" y="1229"/>
                </a:cubicBezTo>
                <a:cubicBezTo>
                  <a:pt x="824" y="1231"/>
                  <a:pt x="824" y="1233"/>
                  <a:pt x="824" y="1236"/>
                </a:cubicBezTo>
                <a:cubicBezTo>
                  <a:pt x="824" y="1243"/>
                  <a:pt x="826" y="1245"/>
                  <a:pt x="832" y="1246"/>
                </a:cubicBezTo>
                <a:cubicBezTo>
                  <a:pt x="832" y="1246"/>
                  <a:pt x="832" y="1246"/>
                  <a:pt x="832" y="1247"/>
                </a:cubicBezTo>
                <a:cubicBezTo>
                  <a:pt x="826" y="1248"/>
                  <a:pt x="824" y="1251"/>
                  <a:pt x="824" y="1258"/>
                </a:cubicBezTo>
                <a:cubicBezTo>
                  <a:pt x="824" y="1260"/>
                  <a:pt x="824" y="1263"/>
                  <a:pt x="824" y="1264"/>
                </a:cubicBezTo>
                <a:cubicBezTo>
                  <a:pt x="824" y="1266"/>
                  <a:pt x="825" y="1267"/>
                  <a:pt x="825" y="1269"/>
                </a:cubicBezTo>
                <a:cubicBezTo>
                  <a:pt x="825" y="1272"/>
                  <a:pt x="823" y="1275"/>
                  <a:pt x="819" y="1275"/>
                </a:cubicBezTo>
                <a:cubicBezTo>
                  <a:pt x="819" y="1275"/>
                  <a:pt x="819" y="1275"/>
                  <a:pt x="818" y="1275"/>
                </a:cubicBezTo>
                <a:cubicBezTo>
                  <a:pt x="818" y="1275"/>
                  <a:pt x="818" y="1275"/>
                  <a:pt x="818" y="1284"/>
                </a:cubicBezTo>
                <a:cubicBezTo>
                  <a:pt x="818" y="1284"/>
                  <a:pt x="818" y="1284"/>
                  <a:pt x="822" y="1284"/>
                </a:cubicBezTo>
                <a:cubicBezTo>
                  <a:pt x="831" y="1284"/>
                  <a:pt x="836" y="1281"/>
                  <a:pt x="836" y="1271"/>
                </a:cubicBezTo>
                <a:cubicBezTo>
                  <a:pt x="836" y="1269"/>
                  <a:pt x="836" y="1267"/>
                  <a:pt x="836" y="1264"/>
                </a:cubicBezTo>
                <a:cubicBezTo>
                  <a:pt x="835" y="1261"/>
                  <a:pt x="835" y="1259"/>
                  <a:pt x="835" y="1257"/>
                </a:cubicBezTo>
                <a:cubicBezTo>
                  <a:pt x="835" y="1254"/>
                  <a:pt x="836" y="1251"/>
                  <a:pt x="842" y="1251"/>
                </a:cubicBezTo>
                <a:close/>
                <a:moveTo>
                  <a:pt x="228" y="1284"/>
                </a:moveTo>
                <a:cubicBezTo>
                  <a:pt x="221" y="1284"/>
                  <a:pt x="214" y="1281"/>
                  <a:pt x="210" y="1275"/>
                </a:cubicBezTo>
                <a:cubicBezTo>
                  <a:pt x="206" y="1268"/>
                  <a:pt x="204" y="1260"/>
                  <a:pt x="204" y="1247"/>
                </a:cubicBezTo>
                <a:cubicBezTo>
                  <a:pt x="204" y="1234"/>
                  <a:pt x="206" y="1224"/>
                  <a:pt x="210" y="1218"/>
                </a:cubicBezTo>
                <a:cubicBezTo>
                  <a:pt x="215" y="1211"/>
                  <a:pt x="221" y="1208"/>
                  <a:pt x="230" y="1208"/>
                </a:cubicBezTo>
                <a:cubicBezTo>
                  <a:pt x="246" y="1208"/>
                  <a:pt x="254" y="1220"/>
                  <a:pt x="254" y="1246"/>
                </a:cubicBezTo>
                <a:cubicBezTo>
                  <a:pt x="254" y="1258"/>
                  <a:pt x="252" y="1268"/>
                  <a:pt x="247" y="1274"/>
                </a:cubicBezTo>
                <a:cubicBezTo>
                  <a:pt x="243" y="1281"/>
                  <a:pt x="236" y="1284"/>
                  <a:pt x="228" y="1284"/>
                </a:cubicBezTo>
                <a:close/>
                <a:moveTo>
                  <a:pt x="229" y="1217"/>
                </a:moveTo>
                <a:cubicBezTo>
                  <a:pt x="220" y="1217"/>
                  <a:pt x="216" y="1227"/>
                  <a:pt x="216" y="1247"/>
                </a:cubicBezTo>
                <a:cubicBezTo>
                  <a:pt x="216" y="1266"/>
                  <a:pt x="220" y="1274"/>
                  <a:pt x="229" y="1274"/>
                </a:cubicBezTo>
                <a:cubicBezTo>
                  <a:pt x="237" y="1274"/>
                  <a:pt x="242" y="1266"/>
                  <a:pt x="242" y="1246"/>
                </a:cubicBezTo>
                <a:cubicBezTo>
                  <a:pt x="242" y="1227"/>
                  <a:pt x="237" y="1217"/>
                  <a:pt x="229" y="1217"/>
                </a:cubicBezTo>
                <a:close/>
                <a:moveTo>
                  <a:pt x="298" y="1284"/>
                </a:moveTo>
                <a:cubicBezTo>
                  <a:pt x="291" y="1284"/>
                  <a:pt x="284" y="1281"/>
                  <a:pt x="281" y="1275"/>
                </a:cubicBezTo>
                <a:cubicBezTo>
                  <a:pt x="276" y="1268"/>
                  <a:pt x="274" y="1260"/>
                  <a:pt x="274" y="1247"/>
                </a:cubicBezTo>
                <a:cubicBezTo>
                  <a:pt x="274" y="1234"/>
                  <a:pt x="276" y="1224"/>
                  <a:pt x="281" y="1218"/>
                </a:cubicBezTo>
                <a:cubicBezTo>
                  <a:pt x="285" y="1211"/>
                  <a:pt x="292" y="1208"/>
                  <a:pt x="300" y="1208"/>
                </a:cubicBezTo>
                <a:cubicBezTo>
                  <a:pt x="317" y="1208"/>
                  <a:pt x="325" y="1220"/>
                  <a:pt x="325" y="1246"/>
                </a:cubicBezTo>
                <a:cubicBezTo>
                  <a:pt x="325" y="1258"/>
                  <a:pt x="323" y="1268"/>
                  <a:pt x="318" y="1274"/>
                </a:cubicBezTo>
                <a:cubicBezTo>
                  <a:pt x="313" y="1281"/>
                  <a:pt x="307" y="1284"/>
                  <a:pt x="298" y="1284"/>
                </a:cubicBezTo>
                <a:close/>
                <a:moveTo>
                  <a:pt x="300" y="1217"/>
                </a:moveTo>
                <a:cubicBezTo>
                  <a:pt x="291" y="1217"/>
                  <a:pt x="286" y="1227"/>
                  <a:pt x="286" y="1247"/>
                </a:cubicBezTo>
                <a:cubicBezTo>
                  <a:pt x="286" y="1266"/>
                  <a:pt x="290" y="1274"/>
                  <a:pt x="299" y="1274"/>
                </a:cubicBezTo>
                <a:cubicBezTo>
                  <a:pt x="308" y="1274"/>
                  <a:pt x="312" y="1266"/>
                  <a:pt x="312" y="1246"/>
                </a:cubicBezTo>
                <a:cubicBezTo>
                  <a:pt x="312" y="1227"/>
                  <a:pt x="308" y="1217"/>
                  <a:pt x="300" y="1217"/>
                </a:cubicBezTo>
                <a:close/>
                <a:moveTo>
                  <a:pt x="508" y="1284"/>
                </a:moveTo>
                <a:cubicBezTo>
                  <a:pt x="501" y="1284"/>
                  <a:pt x="495" y="1281"/>
                  <a:pt x="491" y="1274"/>
                </a:cubicBezTo>
                <a:cubicBezTo>
                  <a:pt x="486" y="1268"/>
                  <a:pt x="484" y="1259"/>
                  <a:pt x="484" y="1247"/>
                </a:cubicBezTo>
                <a:cubicBezTo>
                  <a:pt x="484" y="1234"/>
                  <a:pt x="486" y="1224"/>
                  <a:pt x="491" y="1217"/>
                </a:cubicBezTo>
                <a:cubicBezTo>
                  <a:pt x="495" y="1210"/>
                  <a:pt x="502" y="1208"/>
                  <a:pt x="510" y="1208"/>
                </a:cubicBezTo>
                <a:cubicBezTo>
                  <a:pt x="527" y="1208"/>
                  <a:pt x="535" y="1220"/>
                  <a:pt x="535" y="1245"/>
                </a:cubicBezTo>
                <a:cubicBezTo>
                  <a:pt x="535" y="1258"/>
                  <a:pt x="532" y="1268"/>
                  <a:pt x="528" y="1274"/>
                </a:cubicBezTo>
                <a:cubicBezTo>
                  <a:pt x="523" y="1281"/>
                  <a:pt x="517" y="1284"/>
                  <a:pt x="508" y="1284"/>
                </a:cubicBezTo>
                <a:close/>
                <a:moveTo>
                  <a:pt x="510" y="1217"/>
                </a:moveTo>
                <a:cubicBezTo>
                  <a:pt x="501" y="1217"/>
                  <a:pt x="497" y="1227"/>
                  <a:pt x="497" y="1246"/>
                </a:cubicBezTo>
                <a:cubicBezTo>
                  <a:pt x="497" y="1265"/>
                  <a:pt x="501" y="1274"/>
                  <a:pt x="510" y="1274"/>
                </a:cubicBezTo>
                <a:cubicBezTo>
                  <a:pt x="518" y="1274"/>
                  <a:pt x="522" y="1265"/>
                  <a:pt x="522" y="1246"/>
                </a:cubicBezTo>
                <a:cubicBezTo>
                  <a:pt x="522" y="1227"/>
                  <a:pt x="519" y="1217"/>
                  <a:pt x="510" y="1217"/>
                </a:cubicBezTo>
                <a:close/>
                <a:moveTo>
                  <a:pt x="581" y="1210"/>
                </a:moveTo>
                <a:cubicBezTo>
                  <a:pt x="581" y="1210"/>
                  <a:pt x="581" y="1210"/>
                  <a:pt x="581" y="1210"/>
                </a:cubicBezTo>
                <a:cubicBezTo>
                  <a:pt x="576" y="1210"/>
                  <a:pt x="576" y="1210"/>
                  <a:pt x="576" y="1210"/>
                </a:cubicBezTo>
                <a:cubicBezTo>
                  <a:pt x="574" y="1212"/>
                  <a:pt x="573" y="1213"/>
                  <a:pt x="570" y="1214"/>
                </a:cubicBezTo>
                <a:cubicBezTo>
                  <a:pt x="569" y="1216"/>
                  <a:pt x="567" y="1216"/>
                  <a:pt x="565" y="1217"/>
                </a:cubicBezTo>
                <a:cubicBezTo>
                  <a:pt x="564" y="1218"/>
                  <a:pt x="562" y="1218"/>
                  <a:pt x="560" y="1219"/>
                </a:cubicBezTo>
                <a:cubicBezTo>
                  <a:pt x="558" y="1220"/>
                  <a:pt x="557" y="1221"/>
                  <a:pt x="555" y="1221"/>
                </a:cubicBezTo>
                <a:cubicBezTo>
                  <a:pt x="555" y="1221"/>
                  <a:pt x="555" y="1221"/>
                  <a:pt x="555" y="1232"/>
                </a:cubicBezTo>
                <a:cubicBezTo>
                  <a:pt x="558" y="1231"/>
                  <a:pt x="560" y="1229"/>
                  <a:pt x="563" y="1229"/>
                </a:cubicBezTo>
                <a:cubicBezTo>
                  <a:pt x="565" y="1228"/>
                  <a:pt x="568" y="1226"/>
                  <a:pt x="570" y="1225"/>
                </a:cubicBezTo>
                <a:cubicBezTo>
                  <a:pt x="570" y="1225"/>
                  <a:pt x="570" y="1225"/>
                  <a:pt x="570" y="1284"/>
                </a:cubicBezTo>
                <a:cubicBezTo>
                  <a:pt x="570" y="1284"/>
                  <a:pt x="570" y="1284"/>
                  <a:pt x="581" y="1284"/>
                </a:cubicBezTo>
                <a:cubicBezTo>
                  <a:pt x="581" y="1284"/>
                  <a:pt x="581" y="1284"/>
                  <a:pt x="581" y="1210"/>
                </a:cubicBezTo>
                <a:close/>
                <a:moveTo>
                  <a:pt x="371" y="1210"/>
                </a:moveTo>
                <a:cubicBezTo>
                  <a:pt x="371" y="1210"/>
                  <a:pt x="371" y="1210"/>
                  <a:pt x="371" y="1210"/>
                </a:cubicBezTo>
                <a:cubicBezTo>
                  <a:pt x="366" y="1210"/>
                  <a:pt x="366" y="1210"/>
                  <a:pt x="366" y="1210"/>
                </a:cubicBezTo>
                <a:cubicBezTo>
                  <a:pt x="364" y="1212"/>
                  <a:pt x="363" y="1213"/>
                  <a:pt x="360" y="1214"/>
                </a:cubicBezTo>
                <a:cubicBezTo>
                  <a:pt x="359" y="1216"/>
                  <a:pt x="358" y="1216"/>
                  <a:pt x="355" y="1217"/>
                </a:cubicBezTo>
                <a:cubicBezTo>
                  <a:pt x="354" y="1218"/>
                  <a:pt x="352" y="1219"/>
                  <a:pt x="350" y="1220"/>
                </a:cubicBezTo>
                <a:cubicBezTo>
                  <a:pt x="348" y="1221"/>
                  <a:pt x="347" y="1221"/>
                  <a:pt x="344" y="1221"/>
                </a:cubicBezTo>
                <a:cubicBezTo>
                  <a:pt x="344" y="1221"/>
                  <a:pt x="344" y="1221"/>
                  <a:pt x="344" y="1232"/>
                </a:cubicBezTo>
                <a:cubicBezTo>
                  <a:pt x="347" y="1231"/>
                  <a:pt x="350" y="1230"/>
                  <a:pt x="353" y="1229"/>
                </a:cubicBezTo>
                <a:cubicBezTo>
                  <a:pt x="355" y="1228"/>
                  <a:pt x="358" y="1226"/>
                  <a:pt x="360" y="1225"/>
                </a:cubicBezTo>
                <a:cubicBezTo>
                  <a:pt x="360" y="1225"/>
                  <a:pt x="360" y="1225"/>
                  <a:pt x="360" y="1284"/>
                </a:cubicBezTo>
                <a:cubicBezTo>
                  <a:pt x="360" y="1284"/>
                  <a:pt x="360" y="1284"/>
                  <a:pt x="371" y="1284"/>
                </a:cubicBezTo>
                <a:cubicBezTo>
                  <a:pt x="371" y="1284"/>
                  <a:pt x="371" y="1284"/>
                  <a:pt x="371" y="1210"/>
                </a:cubicBezTo>
                <a:close/>
                <a:moveTo>
                  <a:pt x="418" y="1210"/>
                </a:moveTo>
                <a:cubicBezTo>
                  <a:pt x="418" y="1210"/>
                  <a:pt x="418" y="1210"/>
                  <a:pt x="418" y="1210"/>
                </a:cubicBezTo>
                <a:cubicBezTo>
                  <a:pt x="413" y="1210"/>
                  <a:pt x="413" y="1210"/>
                  <a:pt x="413" y="1210"/>
                </a:cubicBezTo>
                <a:cubicBezTo>
                  <a:pt x="411" y="1212"/>
                  <a:pt x="410" y="1213"/>
                  <a:pt x="408" y="1214"/>
                </a:cubicBezTo>
                <a:cubicBezTo>
                  <a:pt x="406" y="1216"/>
                  <a:pt x="404" y="1216"/>
                  <a:pt x="402" y="1217"/>
                </a:cubicBezTo>
                <a:cubicBezTo>
                  <a:pt x="401" y="1218"/>
                  <a:pt x="399" y="1219"/>
                  <a:pt x="397" y="1220"/>
                </a:cubicBezTo>
                <a:cubicBezTo>
                  <a:pt x="395" y="1221"/>
                  <a:pt x="394" y="1221"/>
                  <a:pt x="392" y="1221"/>
                </a:cubicBezTo>
                <a:cubicBezTo>
                  <a:pt x="392" y="1221"/>
                  <a:pt x="392" y="1221"/>
                  <a:pt x="392" y="1232"/>
                </a:cubicBezTo>
                <a:cubicBezTo>
                  <a:pt x="394" y="1231"/>
                  <a:pt x="397" y="1230"/>
                  <a:pt x="400" y="1229"/>
                </a:cubicBezTo>
                <a:cubicBezTo>
                  <a:pt x="402" y="1228"/>
                  <a:pt x="405" y="1226"/>
                  <a:pt x="407" y="1225"/>
                </a:cubicBezTo>
                <a:cubicBezTo>
                  <a:pt x="407" y="1225"/>
                  <a:pt x="407" y="1225"/>
                  <a:pt x="407" y="1284"/>
                </a:cubicBezTo>
                <a:cubicBezTo>
                  <a:pt x="407" y="1284"/>
                  <a:pt x="407" y="1284"/>
                  <a:pt x="418" y="1284"/>
                </a:cubicBezTo>
                <a:cubicBezTo>
                  <a:pt x="418" y="1284"/>
                  <a:pt x="418" y="1284"/>
                  <a:pt x="418" y="1210"/>
                </a:cubicBezTo>
                <a:close/>
                <a:moveTo>
                  <a:pt x="464" y="1210"/>
                </a:moveTo>
                <a:cubicBezTo>
                  <a:pt x="464" y="1210"/>
                  <a:pt x="464" y="1210"/>
                  <a:pt x="464" y="1210"/>
                </a:cubicBezTo>
                <a:cubicBezTo>
                  <a:pt x="460" y="1210"/>
                  <a:pt x="460" y="1210"/>
                  <a:pt x="460" y="1210"/>
                </a:cubicBezTo>
                <a:cubicBezTo>
                  <a:pt x="458" y="1212"/>
                  <a:pt x="456" y="1213"/>
                  <a:pt x="454" y="1214"/>
                </a:cubicBezTo>
                <a:cubicBezTo>
                  <a:pt x="453" y="1216"/>
                  <a:pt x="451" y="1216"/>
                  <a:pt x="449" y="1217"/>
                </a:cubicBezTo>
                <a:cubicBezTo>
                  <a:pt x="447" y="1218"/>
                  <a:pt x="445" y="1218"/>
                  <a:pt x="443" y="1219"/>
                </a:cubicBezTo>
                <a:cubicBezTo>
                  <a:pt x="442" y="1220"/>
                  <a:pt x="440" y="1221"/>
                  <a:pt x="438" y="1221"/>
                </a:cubicBezTo>
                <a:cubicBezTo>
                  <a:pt x="438" y="1221"/>
                  <a:pt x="438" y="1221"/>
                  <a:pt x="438" y="1232"/>
                </a:cubicBezTo>
                <a:cubicBezTo>
                  <a:pt x="441" y="1231"/>
                  <a:pt x="444" y="1229"/>
                  <a:pt x="446" y="1229"/>
                </a:cubicBezTo>
                <a:cubicBezTo>
                  <a:pt x="448" y="1228"/>
                  <a:pt x="451" y="1226"/>
                  <a:pt x="453" y="1225"/>
                </a:cubicBezTo>
                <a:cubicBezTo>
                  <a:pt x="453" y="1225"/>
                  <a:pt x="453" y="1225"/>
                  <a:pt x="453" y="1284"/>
                </a:cubicBezTo>
                <a:cubicBezTo>
                  <a:pt x="453" y="1284"/>
                  <a:pt x="453" y="1284"/>
                  <a:pt x="464" y="1284"/>
                </a:cubicBezTo>
                <a:cubicBezTo>
                  <a:pt x="464" y="1284"/>
                  <a:pt x="464" y="1284"/>
                  <a:pt x="464" y="1210"/>
                </a:cubicBezTo>
                <a:close/>
                <a:moveTo>
                  <a:pt x="30" y="1284"/>
                </a:moveTo>
                <a:cubicBezTo>
                  <a:pt x="23" y="1284"/>
                  <a:pt x="16" y="1281"/>
                  <a:pt x="12" y="1275"/>
                </a:cubicBezTo>
                <a:cubicBezTo>
                  <a:pt x="8" y="1268"/>
                  <a:pt x="6" y="1260"/>
                  <a:pt x="6" y="1247"/>
                </a:cubicBezTo>
                <a:cubicBezTo>
                  <a:pt x="6" y="1234"/>
                  <a:pt x="8" y="1224"/>
                  <a:pt x="12" y="1218"/>
                </a:cubicBezTo>
                <a:cubicBezTo>
                  <a:pt x="17" y="1211"/>
                  <a:pt x="23" y="1208"/>
                  <a:pt x="32" y="1208"/>
                </a:cubicBezTo>
                <a:cubicBezTo>
                  <a:pt x="48" y="1208"/>
                  <a:pt x="56" y="1220"/>
                  <a:pt x="56" y="1246"/>
                </a:cubicBezTo>
                <a:cubicBezTo>
                  <a:pt x="56" y="1258"/>
                  <a:pt x="54" y="1268"/>
                  <a:pt x="50" y="1274"/>
                </a:cubicBezTo>
                <a:cubicBezTo>
                  <a:pt x="45" y="1281"/>
                  <a:pt x="39" y="1284"/>
                  <a:pt x="30" y="1284"/>
                </a:cubicBezTo>
                <a:close/>
                <a:moveTo>
                  <a:pt x="31" y="1217"/>
                </a:moveTo>
                <a:cubicBezTo>
                  <a:pt x="23" y="1217"/>
                  <a:pt x="17" y="1227"/>
                  <a:pt x="17" y="1247"/>
                </a:cubicBezTo>
                <a:cubicBezTo>
                  <a:pt x="17" y="1266"/>
                  <a:pt x="22" y="1274"/>
                  <a:pt x="31" y="1274"/>
                </a:cubicBezTo>
                <a:cubicBezTo>
                  <a:pt x="40" y="1274"/>
                  <a:pt x="44" y="1266"/>
                  <a:pt x="44" y="1246"/>
                </a:cubicBezTo>
                <a:cubicBezTo>
                  <a:pt x="44" y="1227"/>
                  <a:pt x="40" y="1217"/>
                  <a:pt x="31" y="1217"/>
                </a:cubicBezTo>
                <a:close/>
                <a:moveTo>
                  <a:pt x="91" y="1210"/>
                </a:moveTo>
                <a:cubicBezTo>
                  <a:pt x="91" y="1210"/>
                  <a:pt x="91" y="1210"/>
                  <a:pt x="91" y="1210"/>
                </a:cubicBezTo>
                <a:cubicBezTo>
                  <a:pt x="86" y="1210"/>
                  <a:pt x="86" y="1210"/>
                  <a:pt x="86" y="1210"/>
                </a:cubicBezTo>
                <a:cubicBezTo>
                  <a:pt x="84" y="1212"/>
                  <a:pt x="82" y="1213"/>
                  <a:pt x="80" y="1214"/>
                </a:cubicBezTo>
                <a:cubicBezTo>
                  <a:pt x="79" y="1216"/>
                  <a:pt x="77" y="1216"/>
                  <a:pt x="75" y="1217"/>
                </a:cubicBezTo>
                <a:cubicBezTo>
                  <a:pt x="74" y="1218"/>
                  <a:pt x="71" y="1219"/>
                  <a:pt x="70" y="1220"/>
                </a:cubicBezTo>
                <a:cubicBezTo>
                  <a:pt x="68" y="1221"/>
                  <a:pt x="66" y="1221"/>
                  <a:pt x="64" y="1221"/>
                </a:cubicBezTo>
                <a:cubicBezTo>
                  <a:pt x="64" y="1221"/>
                  <a:pt x="64" y="1221"/>
                  <a:pt x="64" y="1232"/>
                </a:cubicBezTo>
                <a:cubicBezTo>
                  <a:pt x="67" y="1231"/>
                  <a:pt x="70" y="1230"/>
                  <a:pt x="73" y="1229"/>
                </a:cubicBezTo>
                <a:cubicBezTo>
                  <a:pt x="75" y="1228"/>
                  <a:pt x="77" y="1226"/>
                  <a:pt x="79" y="1225"/>
                </a:cubicBezTo>
                <a:cubicBezTo>
                  <a:pt x="79" y="1225"/>
                  <a:pt x="79" y="1225"/>
                  <a:pt x="79" y="1284"/>
                </a:cubicBezTo>
                <a:cubicBezTo>
                  <a:pt x="79" y="1284"/>
                  <a:pt x="79" y="1284"/>
                  <a:pt x="91" y="1284"/>
                </a:cubicBezTo>
                <a:cubicBezTo>
                  <a:pt x="91" y="1284"/>
                  <a:pt x="91" y="1284"/>
                  <a:pt x="91" y="1210"/>
                </a:cubicBezTo>
                <a:close/>
                <a:moveTo>
                  <a:pt x="138" y="1210"/>
                </a:moveTo>
                <a:cubicBezTo>
                  <a:pt x="138" y="1210"/>
                  <a:pt x="138" y="1210"/>
                  <a:pt x="138" y="1210"/>
                </a:cubicBezTo>
                <a:cubicBezTo>
                  <a:pt x="133" y="1210"/>
                  <a:pt x="133" y="1210"/>
                  <a:pt x="133" y="1210"/>
                </a:cubicBezTo>
                <a:cubicBezTo>
                  <a:pt x="131" y="1212"/>
                  <a:pt x="129" y="1213"/>
                  <a:pt x="127" y="1214"/>
                </a:cubicBezTo>
                <a:cubicBezTo>
                  <a:pt x="126" y="1216"/>
                  <a:pt x="124" y="1216"/>
                  <a:pt x="122" y="1217"/>
                </a:cubicBezTo>
                <a:cubicBezTo>
                  <a:pt x="121" y="1218"/>
                  <a:pt x="118" y="1219"/>
                  <a:pt x="117" y="1220"/>
                </a:cubicBezTo>
                <a:cubicBezTo>
                  <a:pt x="115" y="1221"/>
                  <a:pt x="113" y="1221"/>
                  <a:pt x="111" y="1221"/>
                </a:cubicBezTo>
                <a:cubicBezTo>
                  <a:pt x="111" y="1221"/>
                  <a:pt x="111" y="1221"/>
                  <a:pt x="111" y="1232"/>
                </a:cubicBezTo>
                <a:cubicBezTo>
                  <a:pt x="114" y="1231"/>
                  <a:pt x="117" y="1230"/>
                  <a:pt x="119" y="1229"/>
                </a:cubicBezTo>
                <a:cubicBezTo>
                  <a:pt x="122" y="1228"/>
                  <a:pt x="124" y="1226"/>
                  <a:pt x="126" y="1225"/>
                </a:cubicBezTo>
                <a:cubicBezTo>
                  <a:pt x="126" y="1225"/>
                  <a:pt x="126" y="1225"/>
                  <a:pt x="126" y="1284"/>
                </a:cubicBezTo>
                <a:cubicBezTo>
                  <a:pt x="126" y="1284"/>
                  <a:pt x="126" y="1284"/>
                  <a:pt x="138" y="1284"/>
                </a:cubicBezTo>
                <a:cubicBezTo>
                  <a:pt x="138" y="1284"/>
                  <a:pt x="138" y="1284"/>
                  <a:pt x="138" y="1210"/>
                </a:cubicBezTo>
                <a:close/>
                <a:moveTo>
                  <a:pt x="184" y="1210"/>
                </a:moveTo>
                <a:cubicBezTo>
                  <a:pt x="184" y="1210"/>
                  <a:pt x="184" y="1210"/>
                  <a:pt x="184" y="1210"/>
                </a:cubicBezTo>
                <a:cubicBezTo>
                  <a:pt x="180" y="1210"/>
                  <a:pt x="180" y="1210"/>
                  <a:pt x="180" y="1210"/>
                </a:cubicBezTo>
                <a:cubicBezTo>
                  <a:pt x="178" y="1212"/>
                  <a:pt x="176" y="1213"/>
                  <a:pt x="174" y="1214"/>
                </a:cubicBezTo>
                <a:cubicBezTo>
                  <a:pt x="172" y="1216"/>
                  <a:pt x="170" y="1216"/>
                  <a:pt x="169" y="1217"/>
                </a:cubicBezTo>
                <a:cubicBezTo>
                  <a:pt x="167" y="1218"/>
                  <a:pt x="165" y="1218"/>
                  <a:pt x="163" y="1219"/>
                </a:cubicBezTo>
                <a:cubicBezTo>
                  <a:pt x="161" y="1220"/>
                  <a:pt x="159" y="1221"/>
                  <a:pt x="158" y="1221"/>
                </a:cubicBezTo>
                <a:cubicBezTo>
                  <a:pt x="158" y="1221"/>
                  <a:pt x="158" y="1221"/>
                  <a:pt x="158" y="1232"/>
                </a:cubicBezTo>
                <a:cubicBezTo>
                  <a:pt x="161" y="1231"/>
                  <a:pt x="164" y="1229"/>
                  <a:pt x="166" y="1229"/>
                </a:cubicBezTo>
                <a:cubicBezTo>
                  <a:pt x="168" y="1228"/>
                  <a:pt x="171" y="1226"/>
                  <a:pt x="172" y="1225"/>
                </a:cubicBezTo>
                <a:cubicBezTo>
                  <a:pt x="172" y="1225"/>
                  <a:pt x="172" y="1225"/>
                  <a:pt x="172" y="1284"/>
                </a:cubicBezTo>
                <a:cubicBezTo>
                  <a:pt x="172" y="1284"/>
                  <a:pt x="172" y="1284"/>
                  <a:pt x="184" y="1284"/>
                </a:cubicBezTo>
                <a:cubicBezTo>
                  <a:pt x="184" y="1284"/>
                  <a:pt x="184" y="1284"/>
                  <a:pt x="184" y="1210"/>
                </a:cubicBezTo>
                <a:close/>
                <a:moveTo>
                  <a:pt x="99" y="1176"/>
                </a:moveTo>
                <a:cubicBezTo>
                  <a:pt x="92" y="1176"/>
                  <a:pt x="85" y="1173"/>
                  <a:pt x="81" y="1168"/>
                </a:cubicBezTo>
                <a:cubicBezTo>
                  <a:pt x="77" y="1161"/>
                  <a:pt x="75" y="1152"/>
                  <a:pt x="75" y="1140"/>
                </a:cubicBezTo>
                <a:cubicBezTo>
                  <a:pt x="75" y="1127"/>
                  <a:pt x="77" y="1117"/>
                  <a:pt x="81" y="1111"/>
                </a:cubicBezTo>
                <a:cubicBezTo>
                  <a:pt x="86" y="1104"/>
                  <a:pt x="92" y="1101"/>
                  <a:pt x="101" y="1101"/>
                </a:cubicBezTo>
                <a:cubicBezTo>
                  <a:pt x="117" y="1101"/>
                  <a:pt x="125" y="1113"/>
                  <a:pt x="125" y="1138"/>
                </a:cubicBezTo>
                <a:cubicBezTo>
                  <a:pt x="125" y="1151"/>
                  <a:pt x="123" y="1160"/>
                  <a:pt x="118" y="1167"/>
                </a:cubicBezTo>
                <a:cubicBezTo>
                  <a:pt x="113" y="1173"/>
                  <a:pt x="107" y="1176"/>
                  <a:pt x="99" y="1176"/>
                </a:cubicBezTo>
                <a:close/>
                <a:moveTo>
                  <a:pt x="100" y="1110"/>
                </a:moveTo>
                <a:cubicBezTo>
                  <a:pt x="91" y="1110"/>
                  <a:pt x="86" y="1120"/>
                  <a:pt x="86" y="1140"/>
                </a:cubicBezTo>
                <a:cubicBezTo>
                  <a:pt x="86" y="1158"/>
                  <a:pt x="91" y="1167"/>
                  <a:pt x="100" y="1167"/>
                </a:cubicBezTo>
                <a:cubicBezTo>
                  <a:pt x="108" y="1167"/>
                  <a:pt x="113" y="1158"/>
                  <a:pt x="113" y="1139"/>
                </a:cubicBezTo>
                <a:cubicBezTo>
                  <a:pt x="113" y="1119"/>
                  <a:pt x="108" y="1110"/>
                  <a:pt x="100" y="1110"/>
                </a:cubicBezTo>
                <a:close/>
                <a:moveTo>
                  <a:pt x="173" y="1103"/>
                </a:moveTo>
                <a:cubicBezTo>
                  <a:pt x="173" y="1103"/>
                  <a:pt x="173" y="1103"/>
                  <a:pt x="173" y="1103"/>
                </a:cubicBezTo>
                <a:cubicBezTo>
                  <a:pt x="168" y="1103"/>
                  <a:pt x="168" y="1103"/>
                  <a:pt x="168" y="1103"/>
                </a:cubicBezTo>
                <a:cubicBezTo>
                  <a:pt x="165" y="1104"/>
                  <a:pt x="164" y="1106"/>
                  <a:pt x="162" y="1107"/>
                </a:cubicBezTo>
                <a:cubicBezTo>
                  <a:pt x="160" y="1108"/>
                  <a:pt x="158" y="1109"/>
                  <a:pt x="157" y="1109"/>
                </a:cubicBezTo>
                <a:cubicBezTo>
                  <a:pt x="154" y="1110"/>
                  <a:pt x="153" y="1111"/>
                  <a:pt x="152" y="1112"/>
                </a:cubicBezTo>
                <a:cubicBezTo>
                  <a:pt x="149" y="1112"/>
                  <a:pt x="148" y="1113"/>
                  <a:pt x="146" y="1114"/>
                </a:cubicBezTo>
                <a:cubicBezTo>
                  <a:pt x="146" y="1114"/>
                  <a:pt x="146" y="1114"/>
                  <a:pt x="146" y="1124"/>
                </a:cubicBezTo>
                <a:cubicBezTo>
                  <a:pt x="149" y="1123"/>
                  <a:pt x="152" y="1122"/>
                  <a:pt x="154" y="1121"/>
                </a:cubicBezTo>
                <a:cubicBezTo>
                  <a:pt x="157" y="1120"/>
                  <a:pt x="159" y="1119"/>
                  <a:pt x="161" y="1117"/>
                </a:cubicBezTo>
                <a:cubicBezTo>
                  <a:pt x="161" y="1117"/>
                  <a:pt x="161" y="1117"/>
                  <a:pt x="161" y="1176"/>
                </a:cubicBezTo>
                <a:cubicBezTo>
                  <a:pt x="161" y="1176"/>
                  <a:pt x="161" y="1176"/>
                  <a:pt x="173" y="1176"/>
                </a:cubicBezTo>
                <a:cubicBezTo>
                  <a:pt x="173" y="1176"/>
                  <a:pt x="173" y="1176"/>
                  <a:pt x="173" y="1103"/>
                </a:cubicBezTo>
                <a:close/>
                <a:moveTo>
                  <a:pt x="220" y="1103"/>
                </a:moveTo>
                <a:cubicBezTo>
                  <a:pt x="220" y="1103"/>
                  <a:pt x="220" y="1103"/>
                  <a:pt x="220" y="1103"/>
                </a:cubicBezTo>
                <a:cubicBezTo>
                  <a:pt x="215" y="1103"/>
                  <a:pt x="215" y="1103"/>
                  <a:pt x="215" y="1103"/>
                </a:cubicBezTo>
                <a:cubicBezTo>
                  <a:pt x="213" y="1104"/>
                  <a:pt x="211" y="1106"/>
                  <a:pt x="209" y="1107"/>
                </a:cubicBezTo>
                <a:cubicBezTo>
                  <a:pt x="208" y="1108"/>
                  <a:pt x="205" y="1109"/>
                  <a:pt x="204" y="1109"/>
                </a:cubicBezTo>
                <a:cubicBezTo>
                  <a:pt x="203" y="1111"/>
                  <a:pt x="200" y="1112"/>
                  <a:pt x="199" y="1112"/>
                </a:cubicBezTo>
                <a:cubicBezTo>
                  <a:pt x="197" y="1113"/>
                  <a:pt x="195" y="1114"/>
                  <a:pt x="193" y="1114"/>
                </a:cubicBezTo>
                <a:cubicBezTo>
                  <a:pt x="193" y="1114"/>
                  <a:pt x="193" y="1114"/>
                  <a:pt x="193" y="1124"/>
                </a:cubicBezTo>
                <a:cubicBezTo>
                  <a:pt x="196" y="1123"/>
                  <a:pt x="199" y="1123"/>
                  <a:pt x="201" y="1121"/>
                </a:cubicBezTo>
                <a:cubicBezTo>
                  <a:pt x="204" y="1120"/>
                  <a:pt x="206" y="1119"/>
                  <a:pt x="208" y="1117"/>
                </a:cubicBezTo>
                <a:cubicBezTo>
                  <a:pt x="208" y="1117"/>
                  <a:pt x="208" y="1117"/>
                  <a:pt x="208" y="1176"/>
                </a:cubicBezTo>
                <a:cubicBezTo>
                  <a:pt x="208" y="1176"/>
                  <a:pt x="208" y="1176"/>
                  <a:pt x="220" y="1176"/>
                </a:cubicBezTo>
                <a:cubicBezTo>
                  <a:pt x="220" y="1176"/>
                  <a:pt x="220" y="1176"/>
                  <a:pt x="220" y="1103"/>
                </a:cubicBezTo>
                <a:close/>
                <a:moveTo>
                  <a:pt x="266" y="1103"/>
                </a:moveTo>
                <a:cubicBezTo>
                  <a:pt x="266" y="1103"/>
                  <a:pt x="266" y="1103"/>
                  <a:pt x="266" y="1103"/>
                </a:cubicBezTo>
                <a:cubicBezTo>
                  <a:pt x="262" y="1103"/>
                  <a:pt x="262" y="1103"/>
                  <a:pt x="262" y="1103"/>
                </a:cubicBezTo>
                <a:cubicBezTo>
                  <a:pt x="260" y="1104"/>
                  <a:pt x="258" y="1106"/>
                  <a:pt x="256" y="1107"/>
                </a:cubicBezTo>
                <a:cubicBezTo>
                  <a:pt x="255" y="1108"/>
                  <a:pt x="253" y="1109"/>
                  <a:pt x="251" y="1109"/>
                </a:cubicBezTo>
                <a:cubicBezTo>
                  <a:pt x="249" y="1111"/>
                  <a:pt x="248" y="1112"/>
                  <a:pt x="245" y="1112"/>
                </a:cubicBezTo>
                <a:cubicBezTo>
                  <a:pt x="244" y="1113"/>
                  <a:pt x="242" y="1114"/>
                  <a:pt x="240" y="1114"/>
                </a:cubicBezTo>
                <a:cubicBezTo>
                  <a:pt x="240" y="1114"/>
                  <a:pt x="240" y="1114"/>
                  <a:pt x="240" y="1124"/>
                </a:cubicBezTo>
                <a:cubicBezTo>
                  <a:pt x="243" y="1123"/>
                  <a:pt x="246" y="1123"/>
                  <a:pt x="248" y="1121"/>
                </a:cubicBezTo>
                <a:cubicBezTo>
                  <a:pt x="250" y="1120"/>
                  <a:pt x="253" y="1119"/>
                  <a:pt x="255" y="1117"/>
                </a:cubicBezTo>
                <a:cubicBezTo>
                  <a:pt x="255" y="1117"/>
                  <a:pt x="255" y="1117"/>
                  <a:pt x="255" y="1176"/>
                </a:cubicBezTo>
                <a:cubicBezTo>
                  <a:pt x="255" y="1176"/>
                  <a:pt x="255" y="1176"/>
                  <a:pt x="266" y="1176"/>
                </a:cubicBezTo>
                <a:cubicBezTo>
                  <a:pt x="266" y="1176"/>
                  <a:pt x="266" y="1176"/>
                  <a:pt x="266" y="1103"/>
                </a:cubicBezTo>
                <a:close/>
                <a:moveTo>
                  <a:pt x="314" y="1103"/>
                </a:moveTo>
                <a:cubicBezTo>
                  <a:pt x="314" y="1103"/>
                  <a:pt x="314" y="1103"/>
                  <a:pt x="314" y="1103"/>
                </a:cubicBezTo>
                <a:cubicBezTo>
                  <a:pt x="309" y="1103"/>
                  <a:pt x="309" y="1103"/>
                  <a:pt x="309" y="1103"/>
                </a:cubicBezTo>
                <a:cubicBezTo>
                  <a:pt x="307" y="1104"/>
                  <a:pt x="305" y="1106"/>
                  <a:pt x="303" y="1107"/>
                </a:cubicBezTo>
                <a:cubicBezTo>
                  <a:pt x="301" y="1108"/>
                  <a:pt x="300" y="1109"/>
                  <a:pt x="298" y="1109"/>
                </a:cubicBezTo>
                <a:cubicBezTo>
                  <a:pt x="296" y="1111"/>
                  <a:pt x="294" y="1112"/>
                  <a:pt x="293" y="1112"/>
                </a:cubicBezTo>
                <a:cubicBezTo>
                  <a:pt x="291" y="1113"/>
                  <a:pt x="289" y="1114"/>
                  <a:pt x="287" y="1114"/>
                </a:cubicBezTo>
                <a:cubicBezTo>
                  <a:pt x="287" y="1114"/>
                  <a:pt x="287" y="1114"/>
                  <a:pt x="287" y="1124"/>
                </a:cubicBezTo>
                <a:cubicBezTo>
                  <a:pt x="290" y="1123"/>
                  <a:pt x="293" y="1123"/>
                  <a:pt x="295" y="1121"/>
                </a:cubicBezTo>
                <a:cubicBezTo>
                  <a:pt x="298" y="1120"/>
                  <a:pt x="300" y="1119"/>
                  <a:pt x="302" y="1117"/>
                </a:cubicBezTo>
                <a:cubicBezTo>
                  <a:pt x="302" y="1117"/>
                  <a:pt x="302" y="1117"/>
                  <a:pt x="302" y="1176"/>
                </a:cubicBezTo>
                <a:cubicBezTo>
                  <a:pt x="302" y="1176"/>
                  <a:pt x="302" y="1176"/>
                  <a:pt x="314" y="1176"/>
                </a:cubicBezTo>
                <a:cubicBezTo>
                  <a:pt x="314" y="1176"/>
                  <a:pt x="314" y="1176"/>
                  <a:pt x="314" y="1103"/>
                </a:cubicBezTo>
                <a:close/>
                <a:moveTo>
                  <a:pt x="437" y="1103"/>
                </a:moveTo>
                <a:cubicBezTo>
                  <a:pt x="437" y="1103"/>
                  <a:pt x="437" y="1103"/>
                  <a:pt x="437" y="1103"/>
                </a:cubicBezTo>
                <a:cubicBezTo>
                  <a:pt x="432" y="1103"/>
                  <a:pt x="432" y="1103"/>
                  <a:pt x="432" y="1103"/>
                </a:cubicBezTo>
                <a:cubicBezTo>
                  <a:pt x="429" y="1104"/>
                  <a:pt x="428" y="1106"/>
                  <a:pt x="426" y="1107"/>
                </a:cubicBezTo>
                <a:cubicBezTo>
                  <a:pt x="424" y="1108"/>
                  <a:pt x="423" y="1109"/>
                  <a:pt x="421" y="1109"/>
                </a:cubicBezTo>
                <a:cubicBezTo>
                  <a:pt x="419" y="1111"/>
                  <a:pt x="417" y="1112"/>
                  <a:pt x="416" y="1112"/>
                </a:cubicBezTo>
                <a:cubicBezTo>
                  <a:pt x="413" y="1113"/>
                  <a:pt x="412" y="1114"/>
                  <a:pt x="410" y="1114"/>
                </a:cubicBezTo>
                <a:cubicBezTo>
                  <a:pt x="410" y="1114"/>
                  <a:pt x="410" y="1114"/>
                  <a:pt x="410" y="1124"/>
                </a:cubicBezTo>
                <a:cubicBezTo>
                  <a:pt x="413" y="1123"/>
                  <a:pt x="416" y="1123"/>
                  <a:pt x="418" y="1121"/>
                </a:cubicBezTo>
                <a:cubicBezTo>
                  <a:pt x="421" y="1120"/>
                  <a:pt x="423" y="1119"/>
                  <a:pt x="425" y="1117"/>
                </a:cubicBezTo>
                <a:cubicBezTo>
                  <a:pt x="425" y="1117"/>
                  <a:pt x="425" y="1117"/>
                  <a:pt x="425" y="1176"/>
                </a:cubicBezTo>
                <a:cubicBezTo>
                  <a:pt x="425" y="1176"/>
                  <a:pt x="425" y="1176"/>
                  <a:pt x="437" y="1176"/>
                </a:cubicBezTo>
                <a:cubicBezTo>
                  <a:pt x="437" y="1176"/>
                  <a:pt x="437" y="1176"/>
                  <a:pt x="437" y="1103"/>
                </a:cubicBezTo>
                <a:close/>
                <a:moveTo>
                  <a:pt x="484" y="1103"/>
                </a:moveTo>
                <a:cubicBezTo>
                  <a:pt x="484" y="1103"/>
                  <a:pt x="484" y="1103"/>
                  <a:pt x="484" y="1103"/>
                </a:cubicBezTo>
                <a:cubicBezTo>
                  <a:pt x="479" y="1103"/>
                  <a:pt x="479" y="1103"/>
                  <a:pt x="479" y="1103"/>
                </a:cubicBezTo>
                <a:cubicBezTo>
                  <a:pt x="477" y="1104"/>
                  <a:pt x="475" y="1106"/>
                  <a:pt x="473" y="1107"/>
                </a:cubicBezTo>
                <a:cubicBezTo>
                  <a:pt x="472" y="1108"/>
                  <a:pt x="470" y="1109"/>
                  <a:pt x="468" y="1109"/>
                </a:cubicBezTo>
                <a:cubicBezTo>
                  <a:pt x="467" y="1111"/>
                  <a:pt x="465" y="1112"/>
                  <a:pt x="463" y="1112"/>
                </a:cubicBezTo>
                <a:cubicBezTo>
                  <a:pt x="461" y="1113"/>
                  <a:pt x="459" y="1114"/>
                  <a:pt x="457" y="1114"/>
                </a:cubicBezTo>
                <a:cubicBezTo>
                  <a:pt x="457" y="1114"/>
                  <a:pt x="457" y="1114"/>
                  <a:pt x="457" y="1124"/>
                </a:cubicBezTo>
                <a:cubicBezTo>
                  <a:pt x="460" y="1123"/>
                  <a:pt x="463" y="1123"/>
                  <a:pt x="465" y="1121"/>
                </a:cubicBezTo>
                <a:cubicBezTo>
                  <a:pt x="468" y="1120"/>
                  <a:pt x="470" y="1119"/>
                  <a:pt x="473" y="1117"/>
                </a:cubicBezTo>
                <a:cubicBezTo>
                  <a:pt x="473" y="1117"/>
                  <a:pt x="473" y="1117"/>
                  <a:pt x="473" y="1176"/>
                </a:cubicBezTo>
                <a:cubicBezTo>
                  <a:pt x="473" y="1176"/>
                  <a:pt x="473" y="1176"/>
                  <a:pt x="484" y="1176"/>
                </a:cubicBezTo>
                <a:cubicBezTo>
                  <a:pt x="484" y="1176"/>
                  <a:pt x="484" y="1176"/>
                  <a:pt x="484" y="1103"/>
                </a:cubicBezTo>
                <a:close/>
                <a:moveTo>
                  <a:pt x="532" y="1103"/>
                </a:moveTo>
                <a:cubicBezTo>
                  <a:pt x="532" y="1103"/>
                  <a:pt x="532" y="1103"/>
                  <a:pt x="532" y="1103"/>
                </a:cubicBezTo>
                <a:cubicBezTo>
                  <a:pt x="527" y="1103"/>
                  <a:pt x="527" y="1103"/>
                  <a:pt x="527" y="1103"/>
                </a:cubicBezTo>
                <a:cubicBezTo>
                  <a:pt x="525" y="1104"/>
                  <a:pt x="523" y="1106"/>
                  <a:pt x="522" y="1107"/>
                </a:cubicBezTo>
                <a:cubicBezTo>
                  <a:pt x="519" y="1108"/>
                  <a:pt x="518" y="1109"/>
                  <a:pt x="516" y="1109"/>
                </a:cubicBezTo>
                <a:cubicBezTo>
                  <a:pt x="514" y="1111"/>
                  <a:pt x="512" y="1112"/>
                  <a:pt x="511" y="1112"/>
                </a:cubicBezTo>
                <a:cubicBezTo>
                  <a:pt x="508" y="1113"/>
                  <a:pt x="507" y="1114"/>
                  <a:pt x="505" y="1114"/>
                </a:cubicBezTo>
                <a:cubicBezTo>
                  <a:pt x="505" y="1114"/>
                  <a:pt x="505" y="1114"/>
                  <a:pt x="505" y="1124"/>
                </a:cubicBezTo>
                <a:cubicBezTo>
                  <a:pt x="508" y="1123"/>
                  <a:pt x="511" y="1123"/>
                  <a:pt x="514" y="1121"/>
                </a:cubicBezTo>
                <a:cubicBezTo>
                  <a:pt x="516" y="1120"/>
                  <a:pt x="518" y="1119"/>
                  <a:pt x="520" y="1117"/>
                </a:cubicBezTo>
                <a:cubicBezTo>
                  <a:pt x="520" y="1117"/>
                  <a:pt x="520" y="1117"/>
                  <a:pt x="520" y="1176"/>
                </a:cubicBezTo>
                <a:cubicBezTo>
                  <a:pt x="520" y="1176"/>
                  <a:pt x="520" y="1176"/>
                  <a:pt x="532" y="1176"/>
                </a:cubicBezTo>
                <a:cubicBezTo>
                  <a:pt x="532" y="1176"/>
                  <a:pt x="532" y="1176"/>
                  <a:pt x="532" y="1103"/>
                </a:cubicBezTo>
                <a:close/>
                <a:moveTo>
                  <a:pt x="578" y="1103"/>
                </a:moveTo>
                <a:cubicBezTo>
                  <a:pt x="578" y="1103"/>
                  <a:pt x="578" y="1103"/>
                  <a:pt x="578" y="1103"/>
                </a:cubicBezTo>
                <a:cubicBezTo>
                  <a:pt x="574" y="1103"/>
                  <a:pt x="574" y="1103"/>
                  <a:pt x="574" y="1103"/>
                </a:cubicBezTo>
                <a:cubicBezTo>
                  <a:pt x="572" y="1104"/>
                  <a:pt x="570" y="1106"/>
                  <a:pt x="568" y="1107"/>
                </a:cubicBezTo>
                <a:cubicBezTo>
                  <a:pt x="567" y="1108"/>
                  <a:pt x="565" y="1109"/>
                  <a:pt x="563" y="1109"/>
                </a:cubicBezTo>
                <a:cubicBezTo>
                  <a:pt x="561" y="1110"/>
                  <a:pt x="560" y="1111"/>
                  <a:pt x="557" y="1112"/>
                </a:cubicBezTo>
                <a:cubicBezTo>
                  <a:pt x="556" y="1112"/>
                  <a:pt x="554" y="1113"/>
                  <a:pt x="552" y="1114"/>
                </a:cubicBezTo>
                <a:cubicBezTo>
                  <a:pt x="552" y="1114"/>
                  <a:pt x="552" y="1114"/>
                  <a:pt x="552" y="1124"/>
                </a:cubicBezTo>
                <a:cubicBezTo>
                  <a:pt x="555" y="1123"/>
                  <a:pt x="558" y="1122"/>
                  <a:pt x="560" y="1121"/>
                </a:cubicBezTo>
                <a:cubicBezTo>
                  <a:pt x="562" y="1120"/>
                  <a:pt x="565" y="1119"/>
                  <a:pt x="567" y="1117"/>
                </a:cubicBezTo>
                <a:cubicBezTo>
                  <a:pt x="567" y="1117"/>
                  <a:pt x="567" y="1117"/>
                  <a:pt x="567" y="1176"/>
                </a:cubicBezTo>
                <a:cubicBezTo>
                  <a:pt x="567" y="1176"/>
                  <a:pt x="567" y="1176"/>
                  <a:pt x="578" y="1176"/>
                </a:cubicBezTo>
                <a:cubicBezTo>
                  <a:pt x="578" y="1176"/>
                  <a:pt x="578" y="1176"/>
                  <a:pt x="578" y="1103"/>
                </a:cubicBezTo>
                <a:close/>
                <a:moveTo>
                  <a:pt x="335" y="1135"/>
                </a:moveTo>
                <a:cubicBezTo>
                  <a:pt x="335" y="1135"/>
                  <a:pt x="335" y="1135"/>
                  <a:pt x="335" y="1135"/>
                </a:cubicBezTo>
                <a:cubicBezTo>
                  <a:pt x="334" y="1143"/>
                  <a:pt x="334" y="1143"/>
                  <a:pt x="334" y="1143"/>
                </a:cubicBezTo>
                <a:cubicBezTo>
                  <a:pt x="341" y="1144"/>
                  <a:pt x="341" y="1147"/>
                  <a:pt x="341" y="1149"/>
                </a:cubicBezTo>
                <a:cubicBezTo>
                  <a:pt x="341" y="1152"/>
                  <a:pt x="341" y="1154"/>
                  <a:pt x="341" y="1157"/>
                </a:cubicBezTo>
                <a:cubicBezTo>
                  <a:pt x="341" y="1159"/>
                  <a:pt x="340" y="1161"/>
                  <a:pt x="340" y="1164"/>
                </a:cubicBezTo>
                <a:cubicBezTo>
                  <a:pt x="340" y="1173"/>
                  <a:pt x="346" y="1176"/>
                  <a:pt x="355" y="1176"/>
                </a:cubicBezTo>
                <a:cubicBezTo>
                  <a:pt x="355" y="1176"/>
                  <a:pt x="355" y="1176"/>
                  <a:pt x="358" y="1176"/>
                </a:cubicBezTo>
                <a:cubicBezTo>
                  <a:pt x="358" y="1176"/>
                  <a:pt x="358" y="1176"/>
                  <a:pt x="358" y="1167"/>
                </a:cubicBezTo>
                <a:cubicBezTo>
                  <a:pt x="358" y="1167"/>
                  <a:pt x="358" y="1167"/>
                  <a:pt x="357" y="1167"/>
                </a:cubicBezTo>
                <a:cubicBezTo>
                  <a:pt x="353" y="1167"/>
                  <a:pt x="352" y="1165"/>
                  <a:pt x="352" y="1161"/>
                </a:cubicBezTo>
                <a:cubicBezTo>
                  <a:pt x="352" y="1160"/>
                  <a:pt x="352" y="1158"/>
                  <a:pt x="353" y="1157"/>
                </a:cubicBezTo>
                <a:cubicBezTo>
                  <a:pt x="353" y="1155"/>
                  <a:pt x="353" y="1153"/>
                  <a:pt x="353" y="1151"/>
                </a:cubicBezTo>
                <a:cubicBezTo>
                  <a:pt x="353" y="1143"/>
                  <a:pt x="350" y="1140"/>
                  <a:pt x="344" y="1139"/>
                </a:cubicBezTo>
                <a:cubicBezTo>
                  <a:pt x="344" y="1139"/>
                  <a:pt x="344" y="1139"/>
                  <a:pt x="344" y="1139"/>
                </a:cubicBezTo>
                <a:cubicBezTo>
                  <a:pt x="350" y="1138"/>
                  <a:pt x="353" y="1136"/>
                  <a:pt x="353" y="1128"/>
                </a:cubicBezTo>
                <a:cubicBezTo>
                  <a:pt x="353" y="1126"/>
                  <a:pt x="353" y="1124"/>
                  <a:pt x="353" y="1122"/>
                </a:cubicBezTo>
                <a:cubicBezTo>
                  <a:pt x="352" y="1120"/>
                  <a:pt x="352" y="1118"/>
                  <a:pt x="352" y="1117"/>
                </a:cubicBezTo>
                <a:cubicBezTo>
                  <a:pt x="352" y="1114"/>
                  <a:pt x="353" y="1111"/>
                  <a:pt x="357" y="1111"/>
                </a:cubicBezTo>
                <a:cubicBezTo>
                  <a:pt x="357" y="1111"/>
                  <a:pt x="357" y="1111"/>
                  <a:pt x="358" y="1111"/>
                </a:cubicBezTo>
                <a:cubicBezTo>
                  <a:pt x="358" y="1111"/>
                  <a:pt x="358" y="1111"/>
                  <a:pt x="358" y="1102"/>
                </a:cubicBezTo>
                <a:cubicBezTo>
                  <a:pt x="358" y="1102"/>
                  <a:pt x="358" y="1102"/>
                  <a:pt x="355" y="1102"/>
                </a:cubicBezTo>
                <a:cubicBezTo>
                  <a:pt x="346" y="1102"/>
                  <a:pt x="340" y="1106"/>
                  <a:pt x="340" y="1115"/>
                </a:cubicBezTo>
                <a:cubicBezTo>
                  <a:pt x="340" y="1117"/>
                  <a:pt x="341" y="1120"/>
                  <a:pt x="341" y="1122"/>
                </a:cubicBezTo>
                <a:cubicBezTo>
                  <a:pt x="341" y="1124"/>
                  <a:pt x="341" y="1127"/>
                  <a:pt x="341" y="1129"/>
                </a:cubicBezTo>
                <a:cubicBezTo>
                  <a:pt x="341" y="1131"/>
                  <a:pt x="341" y="1135"/>
                  <a:pt x="335" y="1135"/>
                </a:cubicBezTo>
                <a:close/>
                <a:moveTo>
                  <a:pt x="389" y="1143"/>
                </a:moveTo>
                <a:cubicBezTo>
                  <a:pt x="389" y="1143"/>
                  <a:pt x="389" y="1143"/>
                  <a:pt x="389" y="1143"/>
                </a:cubicBezTo>
                <a:cubicBezTo>
                  <a:pt x="389" y="1135"/>
                  <a:pt x="389" y="1135"/>
                  <a:pt x="389" y="1135"/>
                </a:cubicBezTo>
                <a:cubicBezTo>
                  <a:pt x="383" y="1135"/>
                  <a:pt x="382" y="1131"/>
                  <a:pt x="382" y="1129"/>
                </a:cubicBezTo>
                <a:cubicBezTo>
                  <a:pt x="382" y="1127"/>
                  <a:pt x="382" y="1124"/>
                  <a:pt x="383" y="1122"/>
                </a:cubicBezTo>
                <a:cubicBezTo>
                  <a:pt x="383" y="1120"/>
                  <a:pt x="383" y="1117"/>
                  <a:pt x="383" y="1115"/>
                </a:cubicBezTo>
                <a:cubicBezTo>
                  <a:pt x="383" y="1106"/>
                  <a:pt x="378" y="1102"/>
                  <a:pt x="369" y="1102"/>
                </a:cubicBezTo>
                <a:cubicBezTo>
                  <a:pt x="369" y="1102"/>
                  <a:pt x="369" y="1102"/>
                  <a:pt x="365" y="1102"/>
                </a:cubicBezTo>
                <a:cubicBezTo>
                  <a:pt x="365" y="1102"/>
                  <a:pt x="365" y="1102"/>
                  <a:pt x="365" y="1111"/>
                </a:cubicBezTo>
                <a:cubicBezTo>
                  <a:pt x="365" y="1111"/>
                  <a:pt x="365" y="1111"/>
                  <a:pt x="367" y="1111"/>
                </a:cubicBezTo>
                <a:cubicBezTo>
                  <a:pt x="370" y="1111"/>
                  <a:pt x="372" y="1114"/>
                  <a:pt x="372" y="1117"/>
                </a:cubicBezTo>
                <a:cubicBezTo>
                  <a:pt x="372" y="1118"/>
                  <a:pt x="371" y="1120"/>
                  <a:pt x="371" y="1122"/>
                </a:cubicBezTo>
                <a:cubicBezTo>
                  <a:pt x="371" y="1124"/>
                  <a:pt x="371" y="1126"/>
                  <a:pt x="371" y="1128"/>
                </a:cubicBezTo>
                <a:cubicBezTo>
                  <a:pt x="371" y="1136"/>
                  <a:pt x="374" y="1138"/>
                  <a:pt x="380" y="1139"/>
                </a:cubicBezTo>
                <a:cubicBezTo>
                  <a:pt x="380" y="1139"/>
                  <a:pt x="380" y="1139"/>
                  <a:pt x="380" y="1139"/>
                </a:cubicBezTo>
                <a:cubicBezTo>
                  <a:pt x="374" y="1140"/>
                  <a:pt x="371" y="1143"/>
                  <a:pt x="371" y="1151"/>
                </a:cubicBezTo>
                <a:cubicBezTo>
                  <a:pt x="371" y="1153"/>
                  <a:pt x="371" y="1155"/>
                  <a:pt x="371" y="1157"/>
                </a:cubicBezTo>
                <a:cubicBezTo>
                  <a:pt x="371" y="1158"/>
                  <a:pt x="372" y="1160"/>
                  <a:pt x="372" y="1161"/>
                </a:cubicBezTo>
                <a:cubicBezTo>
                  <a:pt x="372" y="1165"/>
                  <a:pt x="371" y="1167"/>
                  <a:pt x="367" y="1167"/>
                </a:cubicBezTo>
                <a:cubicBezTo>
                  <a:pt x="367" y="1167"/>
                  <a:pt x="367" y="1167"/>
                  <a:pt x="365" y="1167"/>
                </a:cubicBezTo>
                <a:cubicBezTo>
                  <a:pt x="365" y="1167"/>
                  <a:pt x="365" y="1167"/>
                  <a:pt x="365" y="1176"/>
                </a:cubicBezTo>
                <a:cubicBezTo>
                  <a:pt x="365" y="1176"/>
                  <a:pt x="365" y="1176"/>
                  <a:pt x="369" y="1176"/>
                </a:cubicBezTo>
                <a:cubicBezTo>
                  <a:pt x="378" y="1176"/>
                  <a:pt x="383" y="1173"/>
                  <a:pt x="383" y="1164"/>
                </a:cubicBezTo>
                <a:cubicBezTo>
                  <a:pt x="383" y="1161"/>
                  <a:pt x="383" y="1159"/>
                  <a:pt x="383" y="1157"/>
                </a:cubicBezTo>
                <a:cubicBezTo>
                  <a:pt x="382" y="1154"/>
                  <a:pt x="382" y="1152"/>
                  <a:pt x="382" y="1149"/>
                </a:cubicBezTo>
                <a:cubicBezTo>
                  <a:pt x="382" y="1147"/>
                  <a:pt x="383" y="1144"/>
                  <a:pt x="389" y="1143"/>
                </a:cubicBezTo>
                <a:close/>
                <a:moveTo>
                  <a:pt x="716" y="1135"/>
                </a:moveTo>
                <a:cubicBezTo>
                  <a:pt x="716" y="1135"/>
                  <a:pt x="716" y="1135"/>
                  <a:pt x="716" y="1135"/>
                </a:cubicBezTo>
                <a:cubicBezTo>
                  <a:pt x="716" y="1143"/>
                  <a:pt x="716" y="1143"/>
                  <a:pt x="716" y="1143"/>
                </a:cubicBezTo>
                <a:cubicBezTo>
                  <a:pt x="722" y="1144"/>
                  <a:pt x="723" y="1147"/>
                  <a:pt x="723" y="1149"/>
                </a:cubicBezTo>
                <a:cubicBezTo>
                  <a:pt x="723" y="1152"/>
                  <a:pt x="723" y="1154"/>
                  <a:pt x="723" y="1157"/>
                </a:cubicBezTo>
                <a:cubicBezTo>
                  <a:pt x="722" y="1159"/>
                  <a:pt x="722" y="1161"/>
                  <a:pt x="722" y="1164"/>
                </a:cubicBezTo>
                <a:cubicBezTo>
                  <a:pt x="722" y="1173"/>
                  <a:pt x="728" y="1176"/>
                  <a:pt x="736" y="1176"/>
                </a:cubicBezTo>
                <a:cubicBezTo>
                  <a:pt x="736" y="1176"/>
                  <a:pt x="736" y="1176"/>
                  <a:pt x="740" y="1176"/>
                </a:cubicBezTo>
                <a:cubicBezTo>
                  <a:pt x="740" y="1176"/>
                  <a:pt x="740" y="1176"/>
                  <a:pt x="740" y="1167"/>
                </a:cubicBezTo>
                <a:cubicBezTo>
                  <a:pt x="740" y="1167"/>
                  <a:pt x="740" y="1167"/>
                  <a:pt x="739" y="1167"/>
                </a:cubicBezTo>
                <a:cubicBezTo>
                  <a:pt x="735" y="1167"/>
                  <a:pt x="734" y="1165"/>
                  <a:pt x="734" y="1161"/>
                </a:cubicBezTo>
                <a:cubicBezTo>
                  <a:pt x="734" y="1160"/>
                  <a:pt x="734" y="1158"/>
                  <a:pt x="734" y="1157"/>
                </a:cubicBezTo>
                <a:cubicBezTo>
                  <a:pt x="734" y="1155"/>
                  <a:pt x="734" y="1153"/>
                  <a:pt x="734" y="1151"/>
                </a:cubicBezTo>
                <a:cubicBezTo>
                  <a:pt x="734" y="1143"/>
                  <a:pt x="732" y="1140"/>
                  <a:pt x="726" y="1139"/>
                </a:cubicBezTo>
                <a:cubicBezTo>
                  <a:pt x="726" y="1139"/>
                  <a:pt x="726" y="1139"/>
                  <a:pt x="726" y="1139"/>
                </a:cubicBezTo>
                <a:cubicBezTo>
                  <a:pt x="732" y="1138"/>
                  <a:pt x="734" y="1136"/>
                  <a:pt x="734" y="1128"/>
                </a:cubicBezTo>
                <a:cubicBezTo>
                  <a:pt x="734" y="1126"/>
                  <a:pt x="734" y="1124"/>
                  <a:pt x="734" y="1122"/>
                </a:cubicBezTo>
                <a:cubicBezTo>
                  <a:pt x="734" y="1120"/>
                  <a:pt x="734" y="1118"/>
                  <a:pt x="734" y="1117"/>
                </a:cubicBezTo>
                <a:cubicBezTo>
                  <a:pt x="734" y="1114"/>
                  <a:pt x="735" y="1111"/>
                  <a:pt x="739" y="1111"/>
                </a:cubicBezTo>
                <a:cubicBezTo>
                  <a:pt x="739" y="1111"/>
                  <a:pt x="739" y="1111"/>
                  <a:pt x="740" y="1111"/>
                </a:cubicBezTo>
                <a:cubicBezTo>
                  <a:pt x="740" y="1111"/>
                  <a:pt x="740" y="1111"/>
                  <a:pt x="740" y="1102"/>
                </a:cubicBezTo>
                <a:cubicBezTo>
                  <a:pt x="740" y="1102"/>
                  <a:pt x="740" y="1102"/>
                  <a:pt x="736" y="1102"/>
                </a:cubicBezTo>
                <a:cubicBezTo>
                  <a:pt x="727" y="1102"/>
                  <a:pt x="722" y="1106"/>
                  <a:pt x="722" y="1115"/>
                </a:cubicBezTo>
                <a:cubicBezTo>
                  <a:pt x="722" y="1117"/>
                  <a:pt x="722" y="1120"/>
                  <a:pt x="722" y="1122"/>
                </a:cubicBezTo>
                <a:cubicBezTo>
                  <a:pt x="723" y="1124"/>
                  <a:pt x="723" y="1127"/>
                  <a:pt x="723" y="1129"/>
                </a:cubicBezTo>
                <a:cubicBezTo>
                  <a:pt x="723" y="1131"/>
                  <a:pt x="722" y="1135"/>
                  <a:pt x="716" y="1135"/>
                </a:cubicBezTo>
                <a:close/>
                <a:moveTo>
                  <a:pt x="771" y="1143"/>
                </a:moveTo>
                <a:cubicBezTo>
                  <a:pt x="771" y="1143"/>
                  <a:pt x="771" y="1143"/>
                  <a:pt x="771" y="1143"/>
                </a:cubicBezTo>
                <a:cubicBezTo>
                  <a:pt x="771" y="1135"/>
                  <a:pt x="771" y="1135"/>
                  <a:pt x="771" y="1135"/>
                </a:cubicBezTo>
                <a:cubicBezTo>
                  <a:pt x="764" y="1135"/>
                  <a:pt x="764" y="1131"/>
                  <a:pt x="764" y="1129"/>
                </a:cubicBezTo>
                <a:cubicBezTo>
                  <a:pt x="764" y="1127"/>
                  <a:pt x="764" y="1124"/>
                  <a:pt x="764" y="1122"/>
                </a:cubicBezTo>
                <a:cubicBezTo>
                  <a:pt x="765" y="1120"/>
                  <a:pt x="765" y="1117"/>
                  <a:pt x="765" y="1115"/>
                </a:cubicBezTo>
                <a:cubicBezTo>
                  <a:pt x="765" y="1106"/>
                  <a:pt x="760" y="1102"/>
                  <a:pt x="750" y="1102"/>
                </a:cubicBezTo>
                <a:cubicBezTo>
                  <a:pt x="750" y="1102"/>
                  <a:pt x="750" y="1102"/>
                  <a:pt x="747" y="1102"/>
                </a:cubicBezTo>
                <a:cubicBezTo>
                  <a:pt x="747" y="1102"/>
                  <a:pt x="747" y="1102"/>
                  <a:pt x="747" y="1111"/>
                </a:cubicBezTo>
                <a:cubicBezTo>
                  <a:pt x="747" y="1111"/>
                  <a:pt x="747" y="1111"/>
                  <a:pt x="748" y="1111"/>
                </a:cubicBezTo>
                <a:cubicBezTo>
                  <a:pt x="752" y="1111"/>
                  <a:pt x="753" y="1114"/>
                  <a:pt x="753" y="1117"/>
                </a:cubicBezTo>
                <a:cubicBezTo>
                  <a:pt x="753" y="1118"/>
                  <a:pt x="753" y="1120"/>
                  <a:pt x="753" y="1122"/>
                </a:cubicBezTo>
                <a:cubicBezTo>
                  <a:pt x="753" y="1124"/>
                  <a:pt x="753" y="1126"/>
                  <a:pt x="753" y="1128"/>
                </a:cubicBezTo>
                <a:cubicBezTo>
                  <a:pt x="753" y="1136"/>
                  <a:pt x="755" y="1138"/>
                  <a:pt x="761" y="1139"/>
                </a:cubicBezTo>
                <a:cubicBezTo>
                  <a:pt x="761" y="1139"/>
                  <a:pt x="761" y="1139"/>
                  <a:pt x="761" y="1139"/>
                </a:cubicBezTo>
                <a:cubicBezTo>
                  <a:pt x="755" y="1140"/>
                  <a:pt x="753" y="1143"/>
                  <a:pt x="753" y="1151"/>
                </a:cubicBezTo>
                <a:cubicBezTo>
                  <a:pt x="753" y="1153"/>
                  <a:pt x="753" y="1155"/>
                  <a:pt x="753" y="1157"/>
                </a:cubicBezTo>
                <a:cubicBezTo>
                  <a:pt x="753" y="1158"/>
                  <a:pt x="753" y="1160"/>
                  <a:pt x="753" y="1161"/>
                </a:cubicBezTo>
                <a:cubicBezTo>
                  <a:pt x="753" y="1165"/>
                  <a:pt x="752" y="1167"/>
                  <a:pt x="748" y="1167"/>
                </a:cubicBezTo>
                <a:cubicBezTo>
                  <a:pt x="748" y="1167"/>
                  <a:pt x="748" y="1167"/>
                  <a:pt x="747" y="1167"/>
                </a:cubicBezTo>
                <a:cubicBezTo>
                  <a:pt x="747" y="1167"/>
                  <a:pt x="747" y="1167"/>
                  <a:pt x="747" y="1176"/>
                </a:cubicBezTo>
                <a:cubicBezTo>
                  <a:pt x="747" y="1176"/>
                  <a:pt x="747" y="1176"/>
                  <a:pt x="750" y="1176"/>
                </a:cubicBezTo>
                <a:cubicBezTo>
                  <a:pt x="759" y="1176"/>
                  <a:pt x="765" y="1173"/>
                  <a:pt x="765" y="1164"/>
                </a:cubicBezTo>
                <a:cubicBezTo>
                  <a:pt x="765" y="1161"/>
                  <a:pt x="765" y="1159"/>
                  <a:pt x="764" y="1157"/>
                </a:cubicBezTo>
                <a:cubicBezTo>
                  <a:pt x="764" y="1154"/>
                  <a:pt x="764" y="1152"/>
                  <a:pt x="764" y="1149"/>
                </a:cubicBezTo>
                <a:cubicBezTo>
                  <a:pt x="764" y="1147"/>
                  <a:pt x="764" y="1144"/>
                  <a:pt x="771" y="1143"/>
                </a:cubicBezTo>
                <a:close/>
                <a:moveTo>
                  <a:pt x="818" y="1103"/>
                </a:moveTo>
                <a:cubicBezTo>
                  <a:pt x="818" y="1103"/>
                  <a:pt x="818" y="1103"/>
                  <a:pt x="818" y="1103"/>
                </a:cubicBezTo>
                <a:cubicBezTo>
                  <a:pt x="813" y="1103"/>
                  <a:pt x="813" y="1103"/>
                  <a:pt x="813" y="1103"/>
                </a:cubicBezTo>
                <a:cubicBezTo>
                  <a:pt x="811" y="1104"/>
                  <a:pt x="810" y="1106"/>
                  <a:pt x="807" y="1107"/>
                </a:cubicBezTo>
                <a:cubicBezTo>
                  <a:pt x="806" y="1108"/>
                  <a:pt x="804" y="1109"/>
                  <a:pt x="802" y="1109"/>
                </a:cubicBezTo>
                <a:cubicBezTo>
                  <a:pt x="800" y="1110"/>
                  <a:pt x="799" y="1111"/>
                  <a:pt x="797" y="1112"/>
                </a:cubicBezTo>
                <a:cubicBezTo>
                  <a:pt x="795" y="1112"/>
                  <a:pt x="794" y="1113"/>
                  <a:pt x="791" y="1114"/>
                </a:cubicBezTo>
                <a:cubicBezTo>
                  <a:pt x="791" y="1114"/>
                  <a:pt x="791" y="1114"/>
                  <a:pt x="791" y="1124"/>
                </a:cubicBezTo>
                <a:cubicBezTo>
                  <a:pt x="794" y="1123"/>
                  <a:pt x="797" y="1122"/>
                  <a:pt x="799" y="1121"/>
                </a:cubicBezTo>
                <a:cubicBezTo>
                  <a:pt x="802" y="1120"/>
                  <a:pt x="804" y="1119"/>
                  <a:pt x="807" y="1117"/>
                </a:cubicBezTo>
                <a:cubicBezTo>
                  <a:pt x="807" y="1117"/>
                  <a:pt x="807" y="1117"/>
                  <a:pt x="807" y="1176"/>
                </a:cubicBezTo>
                <a:cubicBezTo>
                  <a:pt x="807" y="1176"/>
                  <a:pt x="807" y="1176"/>
                  <a:pt x="818" y="1176"/>
                </a:cubicBezTo>
                <a:cubicBezTo>
                  <a:pt x="818" y="1176"/>
                  <a:pt x="818" y="1176"/>
                  <a:pt x="818" y="1103"/>
                </a:cubicBezTo>
                <a:close/>
                <a:moveTo>
                  <a:pt x="865" y="1103"/>
                </a:moveTo>
                <a:cubicBezTo>
                  <a:pt x="865" y="1103"/>
                  <a:pt x="865" y="1103"/>
                  <a:pt x="865" y="1103"/>
                </a:cubicBezTo>
                <a:cubicBezTo>
                  <a:pt x="860" y="1103"/>
                  <a:pt x="860" y="1103"/>
                  <a:pt x="860" y="1103"/>
                </a:cubicBezTo>
                <a:cubicBezTo>
                  <a:pt x="858" y="1104"/>
                  <a:pt x="857" y="1106"/>
                  <a:pt x="855" y="1107"/>
                </a:cubicBezTo>
                <a:cubicBezTo>
                  <a:pt x="853" y="1108"/>
                  <a:pt x="851" y="1109"/>
                  <a:pt x="850" y="1109"/>
                </a:cubicBezTo>
                <a:cubicBezTo>
                  <a:pt x="848" y="1111"/>
                  <a:pt x="846" y="1112"/>
                  <a:pt x="845" y="1112"/>
                </a:cubicBezTo>
                <a:cubicBezTo>
                  <a:pt x="842" y="1113"/>
                  <a:pt x="841" y="1114"/>
                  <a:pt x="839" y="1114"/>
                </a:cubicBezTo>
                <a:cubicBezTo>
                  <a:pt x="839" y="1114"/>
                  <a:pt x="839" y="1114"/>
                  <a:pt x="839" y="1124"/>
                </a:cubicBezTo>
                <a:cubicBezTo>
                  <a:pt x="842" y="1123"/>
                  <a:pt x="845" y="1123"/>
                  <a:pt x="847" y="1121"/>
                </a:cubicBezTo>
                <a:cubicBezTo>
                  <a:pt x="850" y="1120"/>
                  <a:pt x="852" y="1119"/>
                  <a:pt x="854" y="1117"/>
                </a:cubicBezTo>
                <a:cubicBezTo>
                  <a:pt x="854" y="1117"/>
                  <a:pt x="854" y="1117"/>
                  <a:pt x="854" y="1176"/>
                </a:cubicBezTo>
                <a:cubicBezTo>
                  <a:pt x="854" y="1176"/>
                  <a:pt x="854" y="1176"/>
                  <a:pt x="865" y="1176"/>
                </a:cubicBezTo>
                <a:cubicBezTo>
                  <a:pt x="865" y="1176"/>
                  <a:pt x="865" y="1176"/>
                  <a:pt x="865" y="1103"/>
                </a:cubicBezTo>
                <a:close/>
                <a:moveTo>
                  <a:pt x="912" y="1103"/>
                </a:moveTo>
                <a:cubicBezTo>
                  <a:pt x="912" y="1103"/>
                  <a:pt x="912" y="1103"/>
                  <a:pt x="912" y="1103"/>
                </a:cubicBezTo>
                <a:cubicBezTo>
                  <a:pt x="908" y="1103"/>
                  <a:pt x="908" y="1103"/>
                  <a:pt x="908" y="1103"/>
                </a:cubicBezTo>
                <a:cubicBezTo>
                  <a:pt x="905" y="1104"/>
                  <a:pt x="904" y="1106"/>
                  <a:pt x="902" y="1107"/>
                </a:cubicBezTo>
                <a:cubicBezTo>
                  <a:pt x="900" y="1108"/>
                  <a:pt x="898" y="1109"/>
                  <a:pt x="897" y="1109"/>
                </a:cubicBezTo>
                <a:cubicBezTo>
                  <a:pt x="895" y="1111"/>
                  <a:pt x="893" y="1112"/>
                  <a:pt x="891" y="1112"/>
                </a:cubicBezTo>
                <a:cubicBezTo>
                  <a:pt x="890" y="1113"/>
                  <a:pt x="887" y="1114"/>
                  <a:pt x="886" y="1114"/>
                </a:cubicBezTo>
                <a:cubicBezTo>
                  <a:pt x="886" y="1114"/>
                  <a:pt x="886" y="1114"/>
                  <a:pt x="886" y="1124"/>
                </a:cubicBezTo>
                <a:cubicBezTo>
                  <a:pt x="889" y="1123"/>
                  <a:pt x="892" y="1123"/>
                  <a:pt x="894" y="1121"/>
                </a:cubicBezTo>
                <a:cubicBezTo>
                  <a:pt x="896" y="1120"/>
                  <a:pt x="899" y="1119"/>
                  <a:pt x="900" y="1117"/>
                </a:cubicBezTo>
                <a:cubicBezTo>
                  <a:pt x="900" y="1117"/>
                  <a:pt x="900" y="1117"/>
                  <a:pt x="900" y="1176"/>
                </a:cubicBezTo>
                <a:cubicBezTo>
                  <a:pt x="900" y="1176"/>
                  <a:pt x="900" y="1176"/>
                  <a:pt x="912" y="1176"/>
                </a:cubicBezTo>
                <a:cubicBezTo>
                  <a:pt x="912" y="1176"/>
                  <a:pt x="912" y="1176"/>
                  <a:pt x="912" y="1103"/>
                </a:cubicBezTo>
                <a:close/>
                <a:moveTo>
                  <a:pt x="1035" y="1103"/>
                </a:moveTo>
                <a:cubicBezTo>
                  <a:pt x="1035" y="1103"/>
                  <a:pt x="1035" y="1103"/>
                  <a:pt x="1035" y="1103"/>
                </a:cubicBezTo>
                <a:cubicBezTo>
                  <a:pt x="1030" y="1103"/>
                  <a:pt x="1030" y="1103"/>
                  <a:pt x="1030" y="1103"/>
                </a:cubicBezTo>
                <a:cubicBezTo>
                  <a:pt x="1027" y="1104"/>
                  <a:pt x="1026" y="1106"/>
                  <a:pt x="1024" y="1107"/>
                </a:cubicBezTo>
                <a:cubicBezTo>
                  <a:pt x="1022" y="1108"/>
                  <a:pt x="1021" y="1109"/>
                  <a:pt x="1019" y="1109"/>
                </a:cubicBezTo>
                <a:cubicBezTo>
                  <a:pt x="1017" y="1111"/>
                  <a:pt x="1015" y="1112"/>
                  <a:pt x="1014" y="1112"/>
                </a:cubicBezTo>
                <a:cubicBezTo>
                  <a:pt x="1011" y="1113"/>
                  <a:pt x="1010" y="1114"/>
                  <a:pt x="1008" y="1114"/>
                </a:cubicBezTo>
                <a:cubicBezTo>
                  <a:pt x="1008" y="1114"/>
                  <a:pt x="1008" y="1114"/>
                  <a:pt x="1008" y="1124"/>
                </a:cubicBezTo>
                <a:cubicBezTo>
                  <a:pt x="1011" y="1123"/>
                  <a:pt x="1014" y="1123"/>
                  <a:pt x="1017" y="1121"/>
                </a:cubicBezTo>
                <a:cubicBezTo>
                  <a:pt x="1019" y="1120"/>
                  <a:pt x="1021" y="1119"/>
                  <a:pt x="1023" y="1117"/>
                </a:cubicBezTo>
                <a:cubicBezTo>
                  <a:pt x="1023" y="1117"/>
                  <a:pt x="1023" y="1117"/>
                  <a:pt x="1023" y="1176"/>
                </a:cubicBezTo>
                <a:cubicBezTo>
                  <a:pt x="1023" y="1176"/>
                  <a:pt x="1023" y="1176"/>
                  <a:pt x="1035" y="1176"/>
                </a:cubicBezTo>
                <a:cubicBezTo>
                  <a:pt x="1035" y="1176"/>
                  <a:pt x="1035" y="1176"/>
                  <a:pt x="1035" y="1103"/>
                </a:cubicBezTo>
                <a:close/>
                <a:moveTo>
                  <a:pt x="1082" y="1103"/>
                </a:moveTo>
                <a:cubicBezTo>
                  <a:pt x="1082" y="1103"/>
                  <a:pt x="1082" y="1103"/>
                  <a:pt x="1082" y="1103"/>
                </a:cubicBezTo>
                <a:cubicBezTo>
                  <a:pt x="1077" y="1103"/>
                  <a:pt x="1077" y="1103"/>
                  <a:pt x="1077" y="1103"/>
                </a:cubicBezTo>
                <a:cubicBezTo>
                  <a:pt x="1075" y="1104"/>
                  <a:pt x="1074" y="1106"/>
                  <a:pt x="1071" y="1107"/>
                </a:cubicBezTo>
                <a:cubicBezTo>
                  <a:pt x="1070" y="1108"/>
                  <a:pt x="1068" y="1109"/>
                  <a:pt x="1066" y="1109"/>
                </a:cubicBezTo>
                <a:cubicBezTo>
                  <a:pt x="1065" y="1111"/>
                  <a:pt x="1063" y="1112"/>
                  <a:pt x="1061" y="1112"/>
                </a:cubicBezTo>
                <a:cubicBezTo>
                  <a:pt x="1059" y="1113"/>
                  <a:pt x="1058" y="1114"/>
                  <a:pt x="1055" y="1114"/>
                </a:cubicBezTo>
                <a:cubicBezTo>
                  <a:pt x="1055" y="1114"/>
                  <a:pt x="1055" y="1114"/>
                  <a:pt x="1055" y="1124"/>
                </a:cubicBezTo>
                <a:cubicBezTo>
                  <a:pt x="1058" y="1123"/>
                  <a:pt x="1061" y="1123"/>
                  <a:pt x="1063" y="1121"/>
                </a:cubicBezTo>
                <a:cubicBezTo>
                  <a:pt x="1066" y="1120"/>
                  <a:pt x="1068" y="1119"/>
                  <a:pt x="1071" y="1117"/>
                </a:cubicBezTo>
                <a:cubicBezTo>
                  <a:pt x="1071" y="1117"/>
                  <a:pt x="1071" y="1117"/>
                  <a:pt x="1071" y="1176"/>
                </a:cubicBezTo>
                <a:cubicBezTo>
                  <a:pt x="1071" y="1176"/>
                  <a:pt x="1071" y="1176"/>
                  <a:pt x="1082" y="1176"/>
                </a:cubicBezTo>
                <a:cubicBezTo>
                  <a:pt x="1082" y="1176"/>
                  <a:pt x="1082" y="1176"/>
                  <a:pt x="1082" y="1103"/>
                </a:cubicBezTo>
                <a:close/>
                <a:moveTo>
                  <a:pt x="1129" y="1103"/>
                </a:moveTo>
                <a:cubicBezTo>
                  <a:pt x="1129" y="1103"/>
                  <a:pt x="1129" y="1103"/>
                  <a:pt x="1129" y="1103"/>
                </a:cubicBezTo>
                <a:cubicBezTo>
                  <a:pt x="1124" y="1103"/>
                  <a:pt x="1124" y="1103"/>
                  <a:pt x="1124" y="1103"/>
                </a:cubicBezTo>
                <a:cubicBezTo>
                  <a:pt x="1122" y="1104"/>
                  <a:pt x="1121" y="1106"/>
                  <a:pt x="1119" y="1107"/>
                </a:cubicBezTo>
                <a:cubicBezTo>
                  <a:pt x="1117" y="1108"/>
                  <a:pt x="1115" y="1109"/>
                  <a:pt x="1114" y="1109"/>
                </a:cubicBezTo>
                <a:cubicBezTo>
                  <a:pt x="1112" y="1110"/>
                  <a:pt x="1110" y="1111"/>
                  <a:pt x="1108" y="1112"/>
                </a:cubicBezTo>
                <a:cubicBezTo>
                  <a:pt x="1106" y="1112"/>
                  <a:pt x="1104" y="1113"/>
                  <a:pt x="1103" y="1114"/>
                </a:cubicBezTo>
                <a:cubicBezTo>
                  <a:pt x="1103" y="1114"/>
                  <a:pt x="1103" y="1114"/>
                  <a:pt x="1103" y="1124"/>
                </a:cubicBezTo>
                <a:cubicBezTo>
                  <a:pt x="1106" y="1123"/>
                  <a:pt x="1109" y="1122"/>
                  <a:pt x="1111" y="1121"/>
                </a:cubicBezTo>
                <a:cubicBezTo>
                  <a:pt x="1113" y="1120"/>
                  <a:pt x="1116" y="1119"/>
                  <a:pt x="1117" y="1117"/>
                </a:cubicBezTo>
                <a:cubicBezTo>
                  <a:pt x="1117" y="1117"/>
                  <a:pt x="1117" y="1117"/>
                  <a:pt x="1117" y="1176"/>
                </a:cubicBezTo>
                <a:cubicBezTo>
                  <a:pt x="1117" y="1176"/>
                  <a:pt x="1117" y="1176"/>
                  <a:pt x="1129" y="1176"/>
                </a:cubicBezTo>
                <a:cubicBezTo>
                  <a:pt x="1129" y="1176"/>
                  <a:pt x="1129" y="1176"/>
                  <a:pt x="1129" y="1103"/>
                </a:cubicBezTo>
                <a:close/>
                <a:moveTo>
                  <a:pt x="1174" y="1176"/>
                </a:moveTo>
                <a:cubicBezTo>
                  <a:pt x="1166" y="1176"/>
                  <a:pt x="1160" y="1173"/>
                  <a:pt x="1155" y="1168"/>
                </a:cubicBezTo>
                <a:cubicBezTo>
                  <a:pt x="1152" y="1161"/>
                  <a:pt x="1149" y="1152"/>
                  <a:pt x="1149" y="1140"/>
                </a:cubicBezTo>
                <a:cubicBezTo>
                  <a:pt x="1149" y="1127"/>
                  <a:pt x="1152" y="1117"/>
                  <a:pt x="1156" y="1111"/>
                </a:cubicBezTo>
                <a:cubicBezTo>
                  <a:pt x="1160" y="1104"/>
                  <a:pt x="1167" y="1101"/>
                  <a:pt x="1176" y="1101"/>
                </a:cubicBezTo>
                <a:cubicBezTo>
                  <a:pt x="1192" y="1101"/>
                  <a:pt x="1200" y="1113"/>
                  <a:pt x="1200" y="1138"/>
                </a:cubicBezTo>
                <a:cubicBezTo>
                  <a:pt x="1200" y="1151"/>
                  <a:pt x="1198" y="1160"/>
                  <a:pt x="1193" y="1167"/>
                </a:cubicBezTo>
                <a:cubicBezTo>
                  <a:pt x="1188" y="1173"/>
                  <a:pt x="1182" y="1176"/>
                  <a:pt x="1174" y="1176"/>
                </a:cubicBezTo>
                <a:close/>
                <a:moveTo>
                  <a:pt x="1175" y="1110"/>
                </a:moveTo>
                <a:cubicBezTo>
                  <a:pt x="1166" y="1110"/>
                  <a:pt x="1161" y="1120"/>
                  <a:pt x="1161" y="1140"/>
                </a:cubicBezTo>
                <a:cubicBezTo>
                  <a:pt x="1161" y="1158"/>
                  <a:pt x="1166" y="1167"/>
                  <a:pt x="1174" y="1167"/>
                </a:cubicBezTo>
                <a:cubicBezTo>
                  <a:pt x="1183" y="1167"/>
                  <a:pt x="1187" y="1158"/>
                  <a:pt x="1187" y="1139"/>
                </a:cubicBezTo>
                <a:cubicBezTo>
                  <a:pt x="1187" y="1119"/>
                  <a:pt x="1183" y="1110"/>
                  <a:pt x="1175" y="1110"/>
                </a:cubicBezTo>
                <a:close/>
                <a:moveTo>
                  <a:pt x="1245" y="1176"/>
                </a:moveTo>
                <a:cubicBezTo>
                  <a:pt x="1237" y="1176"/>
                  <a:pt x="1231" y="1173"/>
                  <a:pt x="1227" y="1168"/>
                </a:cubicBezTo>
                <a:cubicBezTo>
                  <a:pt x="1223" y="1161"/>
                  <a:pt x="1220" y="1152"/>
                  <a:pt x="1220" y="1140"/>
                </a:cubicBezTo>
                <a:cubicBezTo>
                  <a:pt x="1220" y="1127"/>
                  <a:pt x="1223" y="1117"/>
                  <a:pt x="1227" y="1111"/>
                </a:cubicBezTo>
                <a:cubicBezTo>
                  <a:pt x="1231" y="1104"/>
                  <a:pt x="1238" y="1101"/>
                  <a:pt x="1247" y="1101"/>
                </a:cubicBezTo>
                <a:cubicBezTo>
                  <a:pt x="1263" y="1101"/>
                  <a:pt x="1271" y="1113"/>
                  <a:pt x="1271" y="1138"/>
                </a:cubicBezTo>
                <a:cubicBezTo>
                  <a:pt x="1271" y="1151"/>
                  <a:pt x="1269" y="1160"/>
                  <a:pt x="1264" y="1167"/>
                </a:cubicBezTo>
                <a:cubicBezTo>
                  <a:pt x="1259" y="1173"/>
                  <a:pt x="1253" y="1176"/>
                  <a:pt x="1245" y="1176"/>
                </a:cubicBezTo>
                <a:close/>
                <a:moveTo>
                  <a:pt x="1246" y="1110"/>
                </a:moveTo>
                <a:cubicBezTo>
                  <a:pt x="1237" y="1110"/>
                  <a:pt x="1232" y="1120"/>
                  <a:pt x="1232" y="1140"/>
                </a:cubicBezTo>
                <a:cubicBezTo>
                  <a:pt x="1232" y="1158"/>
                  <a:pt x="1237" y="1167"/>
                  <a:pt x="1245" y="1167"/>
                </a:cubicBezTo>
                <a:cubicBezTo>
                  <a:pt x="1254" y="1167"/>
                  <a:pt x="1258" y="1158"/>
                  <a:pt x="1258" y="1139"/>
                </a:cubicBezTo>
                <a:cubicBezTo>
                  <a:pt x="1258" y="1119"/>
                  <a:pt x="1254" y="1110"/>
                  <a:pt x="1246" y="1110"/>
                </a:cubicBezTo>
                <a:close/>
                <a:moveTo>
                  <a:pt x="933" y="1135"/>
                </a:moveTo>
                <a:cubicBezTo>
                  <a:pt x="933" y="1135"/>
                  <a:pt x="933" y="1135"/>
                  <a:pt x="933" y="1135"/>
                </a:cubicBezTo>
                <a:cubicBezTo>
                  <a:pt x="932" y="1143"/>
                  <a:pt x="932" y="1143"/>
                  <a:pt x="932" y="1143"/>
                </a:cubicBezTo>
                <a:cubicBezTo>
                  <a:pt x="939" y="1144"/>
                  <a:pt x="940" y="1147"/>
                  <a:pt x="940" y="1149"/>
                </a:cubicBezTo>
                <a:cubicBezTo>
                  <a:pt x="940" y="1152"/>
                  <a:pt x="939" y="1154"/>
                  <a:pt x="939" y="1157"/>
                </a:cubicBezTo>
                <a:cubicBezTo>
                  <a:pt x="939" y="1159"/>
                  <a:pt x="938" y="1161"/>
                  <a:pt x="938" y="1164"/>
                </a:cubicBezTo>
                <a:cubicBezTo>
                  <a:pt x="938" y="1173"/>
                  <a:pt x="944" y="1176"/>
                  <a:pt x="953" y="1176"/>
                </a:cubicBezTo>
                <a:cubicBezTo>
                  <a:pt x="953" y="1176"/>
                  <a:pt x="953" y="1176"/>
                  <a:pt x="956" y="1176"/>
                </a:cubicBezTo>
                <a:cubicBezTo>
                  <a:pt x="956" y="1176"/>
                  <a:pt x="956" y="1176"/>
                  <a:pt x="956" y="1167"/>
                </a:cubicBezTo>
                <a:cubicBezTo>
                  <a:pt x="956" y="1167"/>
                  <a:pt x="956" y="1167"/>
                  <a:pt x="955" y="1167"/>
                </a:cubicBezTo>
                <a:cubicBezTo>
                  <a:pt x="951" y="1167"/>
                  <a:pt x="950" y="1165"/>
                  <a:pt x="950" y="1161"/>
                </a:cubicBezTo>
                <a:cubicBezTo>
                  <a:pt x="950" y="1160"/>
                  <a:pt x="950" y="1158"/>
                  <a:pt x="951" y="1157"/>
                </a:cubicBezTo>
                <a:cubicBezTo>
                  <a:pt x="951" y="1155"/>
                  <a:pt x="951" y="1153"/>
                  <a:pt x="951" y="1151"/>
                </a:cubicBezTo>
                <a:cubicBezTo>
                  <a:pt x="951" y="1143"/>
                  <a:pt x="948" y="1140"/>
                  <a:pt x="942" y="1139"/>
                </a:cubicBezTo>
                <a:cubicBezTo>
                  <a:pt x="942" y="1139"/>
                  <a:pt x="942" y="1139"/>
                  <a:pt x="942" y="1139"/>
                </a:cubicBezTo>
                <a:cubicBezTo>
                  <a:pt x="948" y="1138"/>
                  <a:pt x="951" y="1136"/>
                  <a:pt x="951" y="1128"/>
                </a:cubicBezTo>
                <a:cubicBezTo>
                  <a:pt x="951" y="1126"/>
                  <a:pt x="951" y="1124"/>
                  <a:pt x="951" y="1122"/>
                </a:cubicBezTo>
                <a:cubicBezTo>
                  <a:pt x="950" y="1120"/>
                  <a:pt x="950" y="1118"/>
                  <a:pt x="950" y="1117"/>
                </a:cubicBezTo>
                <a:cubicBezTo>
                  <a:pt x="950" y="1114"/>
                  <a:pt x="951" y="1111"/>
                  <a:pt x="955" y="1111"/>
                </a:cubicBezTo>
                <a:cubicBezTo>
                  <a:pt x="955" y="1111"/>
                  <a:pt x="955" y="1111"/>
                  <a:pt x="956" y="1111"/>
                </a:cubicBezTo>
                <a:cubicBezTo>
                  <a:pt x="956" y="1111"/>
                  <a:pt x="956" y="1111"/>
                  <a:pt x="956" y="1102"/>
                </a:cubicBezTo>
                <a:cubicBezTo>
                  <a:pt x="956" y="1102"/>
                  <a:pt x="956" y="1102"/>
                  <a:pt x="953" y="1102"/>
                </a:cubicBezTo>
                <a:cubicBezTo>
                  <a:pt x="944" y="1102"/>
                  <a:pt x="938" y="1106"/>
                  <a:pt x="938" y="1115"/>
                </a:cubicBezTo>
                <a:cubicBezTo>
                  <a:pt x="938" y="1117"/>
                  <a:pt x="939" y="1120"/>
                  <a:pt x="939" y="1122"/>
                </a:cubicBezTo>
                <a:cubicBezTo>
                  <a:pt x="939" y="1124"/>
                  <a:pt x="940" y="1127"/>
                  <a:pt x="940" y="1129"/>
                </a:cubicBezTo>
                <a:cubicBezTo>
                  <a:pt x="940" y="1131"/>
                  <a:pt x="939" y="1135"/>
                  <a:pt x="933" y="1135"/>
                </a:cubicBezTo>
                <a:close/>
                <a:moveTo>
                  <a:pt x="987" y="1143"/>
                </a:moveTo>
                <a:cubicBezTo>
                  <a:pt x="987" y="1143"/>
                  <a:pt x="987" y="1143"/>
                  <a:pt x="987" y="1143"/>
                </a:cubicBezTo>
                <a:cubicBezTo>
                  <a:pt x="987" y="1135"/>
                  <a:pt x="987" y="1135"/>
                  <a:pt x="987" y="1135"/>
                </a:cubicBezTo>
                <a:cubicBezTo>
                  <a:pt x="981" y="1135"/>
                  <a:pt x="981" y="1131"/>
                  <a:pt x="981" y="1129"/>
                </a:cubicBezTo>
                <a:cubicBezTo>
                  <a:pt x="981" y="1127"/>
                  <a:pt x="981" y="1124"/>
                  <a:pt x="981" y="1122"/>
                </a:cubicBezTo>
                <a:cubicBezTo>
                  <a:pt x="981" y="1120"/>
                  <a:pt x="981" y="1117"/>
                  <a:pt x="981" y="1115"/>
                </a:cubicBezTo>
                <a:cubicBezTo>
                  <a:pt x="981" y="1106"/>
                  <a:pt x="976" y="1102"/>
                  <a:pt x="967" y="1102"/>
                </a:cubicBezTo>
                <a:cubicBezTo>
                  <a:pt x="967" y="1102"/>
                  <a:pt x="967" y="1102"/>
                  <a:pt x="963" y="1102"/>
                </a:cubicBezTo>
                <a:cubicBezTo>
                  <a:pt x="963" y="1102"/>
                  <a:pt x="963" y="1102"/>
                  <a:pt x="963" y="1111"/>
                </a:cubicBezTo>
                <a:cubicBezTo>
                  <a:pt x="963" y="1111"/>
                  <a:pt x="963" y="1111"/>
                  <a:pt x="965" y="1111"/>
                </a:cubicBezTo>
                <a:cubicBezTo>
                  <a:pt x="968" y="1111"/>
                  <a:pt x="970" y="1114"/>
                  <a:pt x="970" y="1117"/>
                </a:cubicBezTo>
                <a:cubicBezTo>
                  <a:pt x="970" y="1118"/>
                  <a:pt x="969" y="1120"/>
                  <a:pt x="969" y="1122"/>
                </a:cubicBezTo>
                <a:cubicBezTo>
                  <a:pt x="969" y="1124"/>
                  <a:pt x="969" y="1126"/>
                  <a:pt x="969" y="1128"/>
                </a:cubicBezTo>
                <a:cubicBezTo>
                  <a:pt x="969" y="1136"/>
                  <a:pt x="972" y="1138"/>
                  <a:pt x="978" y="1139"/>
                </a:cubicBezTo>
                <a:cubicBezTo>
                  <a:pt x="978" y="1139"/>
                  <a:pt x="978" y="1139"/>
                  <a:pt x="978" y="1139"/>
                </a:cubicBezTo>
                <a:cubicBezTo>
                  <a:pt x="972" y="1140"/>
                  <a:pt x="969" y="1143"/>
                  <a:pt x="969" y="1151"/>
                </a:cubicBezTo>
                <a:cubicBezTo>
                  <a:pt x="969" y="1153"/>
                  <a:pt x="969" y="1155"/>
                  <a:pt x="969" y="1157"/>
                </a:cubicBezTo>
                <a:cubicBezTo>
                  <a:pt x="969" y="1158"/>
                  <a:pt x="970" y="1160"/>
                  <a:pt x="970" y="1161"/>
                </a:cubicBezTo>
                <a:cubicBezTo>
                  <a:pt x="970" y="1165"/>
                  <a:pt x="969" y="1167"/>
                  <a:pt x="965" y="1167"/>
                </a:cubicBezTo>
                <a:cubicBezTo>
                  <a:pt x="965" y="1167"/>
                  <a:pt x="965" y="1167"/>
                  <a:pt x="963" y="1167"/>
                </a:cubicBezTo>
                <a:cubicBezTo>
                  <a:pt x="963" y="1167"/>
                  <a:pt x="963" y="1167"/>
                  <a:pt x="963" y="1176"/>
                </a:cubicBezTo>
                <a:cubicBezTo>
                  <a:pt x="963" y="1176"/>
                  <a:pt x="963" y="1176"/>
                  <a:pt x="967" y="1176"/>
                </a:cubicBezTo>
                <a:cubicBezTo>
                  <a:pt x="976" y="1176"/>
                  <a:pt x="981" y="1173"/>
                  <a:pt x="981" y="1164"/>
                </a:cubicBezTo>
                <a:cubicBezTo>
                  <a:pt x="981" y="1161"/>
                  <a:pt x="981" y="1159"/>
                  <a:pt x="981" y="1157"/>
                </a:cubicBezTo>
                <a:cubicBezTo>
                  <a:pt x="981" y="1154"/>
                  <a:pt x="981" y="1152"/>
                  <a:pt x="981" y="1149"/>
                </a:cubicBezTo>
                <a:cubicBezTo>
                  <a:pt x="981" y="1147"/>
                  <a:pt x="981" y="1144"/>
                  <a:pt x="987" y="1143"/>
                </a:cubicBezTo>
                <a:close/>
                <a:moveTo>
                  <a:pt x="1457" y="1176"/>
                </a:moveTo>
                <a:cubicBezTo>
                  <a:pt x="1450" y="1176"/>
                  <a:pt x="1444" y="1173"/>
                  <a:pt x="1439" y="1167"/>
                </a:cubicBezTo>
                <a:cubicBezTo>
                  <a:pt x="1435" y="1161"/>
                  <a:pt x="1433" y="1152"/>
                  <a:pt x="1433" y="1140"/>
                </a:cubicBezTo>
                <a:cubicBezTo>
                  <a:pt x="1433" y="1127"/>
                  <a:pt x="1435" y="1117"/>
                  <a:pt x="1439" y="1110"/>
                </a:cubicBezTo>
                <a:cubicBezTo>
                  <a:pt x="1444" y="1103"/>
                  <a:pt x="1450" y="1101"/>
                  <a:pt x="1459" y="1101"/>
                </a:cubicBezTo>
                <a:cubicBezTo>
                  <a:pt x="1475" y="1101"/>
                  <a:pt x="1484" y="1113"/>
                  <a:pt x="1484" y="1138"/>
                </a:cubicBezTo>
                <a:cubicBezTo>
                  <a:pt x="1484" y="1151"/>
                  <a:pt x="1481" y="1160"/>
                  <a:pt x="1477" y="1167"/>
                </a:cubicBezTo>
                <a:cubicBezTo>
                  <a:pt x="1472" y="1173"/>
                  <a:pt x="1466" y="1176"/>
                  <a:pt x="1457" y="1176"/>
                </a:cubicBezTo>
                <a:close/>
                <a:moveTo>
                  <a:pt x="1458" y="1110"/>
                </a:moveTo>
                <a:cubicBezTo>
                  <a:pt x="1450" y="1110"/>
                  <a:pt x="1445" y="1119"/>
                  <a:pt x="1445" y="1139"/>
                </a:cubicBezTo>
                <a:cubicBezTo>
                  <a:pt x="1445" y="1157"/>
                  <a:pt x="1450" y="1167"/>
                  <a:pt x="1458" y="1167"/>
                </a:cubicBezTo>
                <a:cubicBezTo>
                  <a:pt x="1467" y="1167"/>
                  <a:pt x="1471" y="1157"/>
                  <a:pt x="1471" y="1139"/>
                </a:cubicBezTo>
                <a:cubicBezTo>
                  <a:pt x="1471" y="1119"/>
                  <a:pt x="1467" y="1110"/>
                  <a:pt x="1458" y="1110"/>
                </a:cubicBezTo>
                <a:close/>
                <a:moveTo>
                  <a:pt x="1530" y="1103"/>
                </a:moveTo>
                <a:cubicBezTo>
                  <a:pt x="1530" y="1103"/>
                  <a:pt x="1530" y="1103"/>
                  <a:pt x="1530" y="1103"/>
                </a:cubicBezTo>
                <a:cubicBezTo>
                  <a:pt x="1525" y="1103"/>
                  <a:pt x="1525" y="1103"/>
                  <a:pt x="1525" y="1103"/>
                </a:cubicBezTo>
                <a:cubicBezTo>
                  <a:pt x="1523" y="1104"/>
                  <a:pt x="1522" y="1106"/>
                  <a:pt x="1519" y="1107"/>
                </a:cubicBezTo>
                <a:cubicBezTo>
                  <a:pt x="1518" y="1108"/>
                  <a:pt x="1516" y="1109"/>
                  <a:pt x="1514" y="1109"/>
                </a:cubicBezTo>
                <a:cubicBezTo>
                  <a:pt x="1513" y="1110"/>
                  <a:pt x="1511" y="1111"/>
                  <a:pt x="1509" y="1112"/>
                </a:cubicBezTo>
                <a:cubicBezTo>
                  <a:pt x="1507" y="1112"/>
                  <a:pt x="1506" y="1113"/>
                  <a:pt x="1504" y="1114"/>
                </a:cubicBezTo>
                <a:cubicBezTo>
                  <a:pt x="1504" y="1114"/>
                  <a:pt x="1504" y="1114"/>
                  <a:pt x="1504" y="1124"/>
                </a:cubicBezTo>
                <a:cubicBezTo>
                  <a:pt x="1507" y="1123"/>
                  <a:pt x="1509" y="1122"/>
                  <a:pt x="1512" y="1121"/>
                </a:cubicBezTo>
                <a:cubicBezTo>
                  <a:pt x="1514" y="1120"/>
                  <a:pt x="1517" y="1119"/>
                  <a:pt x="1519" y="1117"/>
                </a:cubicBezTo>
                <a:cubicBezTo>
                  <a:pt x="1519" y="1117"/>
                  <a:pt x="1519" y="1117"/>
                  <a:pt x="1519" y="1176"/>
                </a:cubicBezTo>
                <a:cubicBezTo>
                  <a:pt x="1519" y="1176"/>
                  <a:pt x="1519" y="1176"/>
                  <a:pt x="1530" y="1176"/>
                </a:cubicBezTo>
                <a:cubicBezTo>
                  <a:pt x="1530" y="1176"/>
                  <a:pt x="1530" y="1176"/>
                  <a:pt x="1530" y="1103"/>
                </a:cubicBezTo>
                <a:close/>
                <a:moveTo>
                  <a:pt x="1868" y="1176"/>
                </a:moveTo>
                <a:cubicBezTo>
                  <a:pt x="1860" y="1176"/>
                  <a:pt x="1854" y="1173"/>
                  <a:pt x="1849" y="1168"/>
                </a:cubicBezTo>
                <a:cubicBezTo>
                  <a:pt x="1846" y="1161"/>
                  <a:pt x="1844" y="1152"/>
                  <a:pt x="1844" y="1140"/>
                </a:cubicBezTo>
                <a:cubicBezTo>
                  <a:pt x="1844" y="1127"/>
                  <a:pt x="1846" y="1117"/>
                  <a:pt x="1850" y="1111"/>
                </a:cubicBezTo>
                <a:cubicBezTo>
                  <a:pt x="1855" y="1104"/>
                  <a:pt x="1861" y="1101"/>
                  <a:pt x="1870" y="1101"/>
                </a:cubicBezTo>
                <a:cubicBezTo>
                  <a:pt x="1886" y="1101"/>
                  <a:pt x="1894" y="1113"/>
                  <a:pt x="1894" y="1138"/>
                </a:cubicBezTo>
                <a:cubicBezTo>
                  <a:pt x="1894" y="1151"/>
                  <a:pt x="1892" y="1160"/>
                  <a:pt x="1887" y="1167"/>
                </a:cubicBezTo>
                <a:cubicBezTo>
                  <a:pt x="1883" y="1173"/>
                  <a:pt x="1876" y="1176"/>
                  <a:pt x="1868" y="1176"/>
                </a:cubicBezTo>
                <a:close/>
                <a:moveTo>
                  <a:pt x="1869" y="1110"/>
                </a:moveTo>
                <a:cubicBezTo>
                  <a:pt x="1860" y="1110"/>
                  <a:pt x="1855" y="1120"/>
                  <a:pt x="1855" y="1140"/>
                </a:cubicBezTo>
                <a:cubicBezTo>
                  <a:pt x="1855" y="1158"/>
                  <a:pt x="1860" y="1167"/>
                  <a:pt x="1869" y="1167"/>
                </a:cubicBezTo>
                <a:cubicBezTo>
                  <a:pt x="1877" y="1167"/>
                  <a:pt x="1882" y="1158"/>
                  <a:pt x="1882" y="1139"/>
                </a:cubicBezTo>
                <a:cubicBezTo>
                  <a:pt x="1882" y="1119"/>
                  <a:pt x="1877" y="1110"/>
                  <a:pt x="1869" y="1110"/>
                </a:cubicBezTo>
                <a:close/>
                <a:moveTo>
                  <a:pt x="1938" y="1103"/>
                </a:moveTo>
                <a:cubicBezTo>
                  <a:pt x="1938" y="1103"/>
                  <a:pt x="1938" y="1103"/>
                  <a:pt x="1938" y="1103"/>
                </a:cubicBezTo>
                <a:cubicBezTo>
                  <a:pt x="1933" y="1103"/>
                  <a:pt x="1933" y="1103"/>
                  <a:pt x="1933" y="1103"/>
                </a:cubicBezTo>
                <a:cubicBezTo>
                  <a:pt x="1930" y="1104"/>
                  <a:pt x="1929" y="1106"/>
                  <a:pt x="1927" y="1107"/>
                </a:cubicBezTo>
                <a:cubicBezTo>
                  <a:pt x="1925" y="1108"/>
                  <a:pt x="1923" y="1109"/>
                  <a:pt x="1922" y="1109"/>
                </a:cubicBezTo>
                <a:cubicBezTo>
                  <a:pt x="1919" y="1110"/>
                  <a:pt x="1918" y="1111"/>
                  <a:pt x="1917" y="1112"/>
                </a:cubicBezTo>
                <a:cubicBezTo>
                  <a:pt x="1914" y="1112"/>
                  <a:pt x="1913" y="1113"/>
                  <a:pt x="1911" y="1114"/>
                </a:cubicBezTo>
                <a:cubicBezTo>
                  <a:pt x="1911" y="1114"/>
                  <a:pt x="1911" y="1114"/>
                  <a:pt x="1911" y="1124"/>
                </a:cubicBezTo>
                <a:cubicBezTo>
                  <a:pt x="1914" y="1123"/>
                  <a:pt x="1917" y="1122"/>
                  <a:pt x="1919" y="1121"/>
                </a:cubicBezTo>
                <a:cubicBezTo>
                  <a:pt x="1922" y="1120"/>
                  <a:pt x="1924" y="1119"/>
                  <a:pt x="1926" y="1117"/>
                </a:cubicBezTo>
                <a:cubicBezTo>
                  <a:pt x="1926" y="1117"/>
                  <a:pt x="1926" y="1117"/>
                  <a:pt x="1926" y="1176"/>
                </a:cubicBezTo>
                <a:cubicBezTo>
                  <a:pt x="1926" y="1176"/>
                  <a:pt x="1926" y="1176"/>
                  <a:pt x="1938" y="1176"/>
                </a:cubicBezTo>
                <a:cubicBezTo>
                  <a:pt x="1938" y="1176"/>
                  <a:pt x="1938" y="1176"/>
                  <a:pt x="1938" y="1103"/>
                </a:cubicBezTo>
                <a:close/>
                <a:moveTo>
                  <a:pt x="1774" y="1176"/>
                </a:moveTo>
                <a:cubicBezTo>
                  <a:pt x="1777" y="1157"/>
                  <a:pt x="1777" y="1157"/>
                  <a:pt x="1777" y="1157"/>
                </a:cubicBezTo>
                <a:cubicBezTo>
                  <a:pt x="1768" y="1157"/>
                  <a:pt x="1768" y="1157"/>
                  <a:pt x="1768" y="1157"/>
                </a:cubicBezTo>
                <a:cubicBezTo>
                  <a:pt x="1768" y="1145"/>
                  <a:pt x="1768" y="1145"/>
                  <a:pt x="1768" y="1145"/>
                </a:cubicBezTo>
                <a:cubicBezTo>
                  <a:pt x="1779" y="1145"/>
                  <a:pt x="1779" y="1145"/>
                  <a:pt x="1779" y="1145"/>
                </a:cubicBezTo>
                <a:cubicBezTo>
                  <a:pt x="1781" y="1134"/>
                  <a:pt x="1781" y="1134"/>
                  <a:pt x="1781" y="1134"/>
                </a:cubicBezTo>
                <a:cubicBezTo>
                  <a:pt x="1771" y="1134"/>
                  <a:pt x="1771" y="1134"/>
                  <a:pt x="1771" y="1134"/>
                </a:cubicBezTo>
                <a:cubicBezTo>
                  <a:pt x="1771" y="1122"/>
                  <a:pt x="1771" y="1122"/>
                  <a:pt x="1771" y="1122"/>
                </a:cubicBezTo>
                <a:cubicBezTo>
                  <a:pt x="1782" y="1122"/>
                  <a:pt x="1782" y="1122"/>
                  <a:pt x="1782" y="1122"/>
                </a:cubicBezTo>
                <a:cubicBezTo>
                  <a:pt x="1785" y="1104"/>
                  <a:pt x="1785" y="1104"/>
                  <a:pt x="1785" y="1104"/>
                </a:cubicBezTo>
                <a:cubicBezTo>
                  <a:pt x="1797" y="1104"/>
                  <a:pt x="1797" y="1104"/>
                  <a:pt x="1797" y="1104"/>
                </a:cubicBezTo>
                <a:cubicBezTo>
                  <a:pt x="1794" y="1122"/>
                  <a:pt x="1794" y="1122"/>
                  <a:pt x="1794" y="1122"/>
                </a:cubicBezTo>
                <a:cubicBezTo>
                  <a:pt x="1803" y="1122"/>
                  <a:pt x="1803" y="1122"/>
                  <a:pt x="1803" y="1122"/>
                </a:cubicBezTo>
                <a:cubicBezTo>
                  <a:pt x="1806" y="1104"/>
                  <a:pt x="1806" y="1104"/>
                  <a:pt x="1806" y="1104"/>
                </a:cubicBezTo>
                <a:cubicBezTo>
                  <a:pt x="1818" y="1104"/>
                  <a:pt x="1818" y="1104"/>
                  <a:pt x="1818" y="1104"/>
                </a:cubicBezTo>
                <a:cubicBezTo>
                  <a:pt x="1814" y="1122"/>
                  <a:pt x="1814" y="1122"/>
                  <a:pt x="1814" y="1122"/>
                </a:cubicBezTo>
                <a:cubicBezTo>
                  <a:pt x="1823" y="1122"/>
                  <a:pt x="1823" y="1122"/>
                  <a:pt x="1823" y="1122"/>
                </a:cubicBezTo>
                <a:cubicBezTo>
                  <a:pt x="1823" y="1134"/>
                  <a:pt x="1823" y="1134"/>
                  <a:pt x="1823" y="1134"/>
                </a:cubicBezTo>
                <a:cubicBezTo>
                  <a:pt x="1813" y="1134"/>
                  <a:pt x="1813" y="1134"/>
                  <a:pt x="1813" y="1134"/>
                </a:cubicBezTo>
                <a:cubicBezTo>
                  <a:pt x="1811" y="1145"/>
                  <a:pt x="1811" y="1145"/>
                  <a:pt x="1811" y="1145"/>
                </a:cubicBezTo>
                <a:cubicBezTo>
                  <a:pt x="1820" y="1145"/>
                  <a:pt x="1820" y="1145"/>
                  <a:pt x="1820" y="1145"/>
                </a:cubicBezTo>
                <a:cubicBezTo>
                  <a:pt x="1820" y="1157"/>
                  <a:pt x="1820" y="1157"/>
                  <a:pt x="1820" y="1157"/>
                </a:cubicBezTo>
                <a:cubicBezTo>
                  <a:pt x="1809" y="1157"/>
                  <a:pt x="1809" y="1157"/>
                  <a:pt x="1809" y="1157"/>
                </a:cubicBezTo>
                <a:cubicBezTo>
                  <a:pt x="1806" y="1176"/>
                  <a:pt x="1806" y="1176"/>
                  <a:pt x="1806" y="1176"/>
                </a:cubicBezTo>
                <a:cubicBezTo>
                  <a:pt x="1795" y="1176"/>
                  <a:pt x="1795" y="1176"/>
                  <a:pt x="1795" y="1176"/>
                </a:cubicBezTo>
                <a:cubicBezTo>
                  <a:pt x="1798" y="1157"/>
                  <a:pt x="1798" y="1157"/>
                  <a:pt x="1798" y="1157"/>
                </a:cubicBezTo>
                <a:cubicBezTo>
                  <a:pt x="1788" y="1157"/>
                  <a:pt x="1788" y="1157"/>
                  <a:pt x="1788" y="1157"/>
                </a:cubicBezTo>
                <a:cubicBezTo>
                  <a:pt x="1785" y="1176"/>
                  <a:pt x="1785" y="1176"/>
                  <a:pt x="1785" y="1176"/>
                </a:cubicBezTo>
                <a:cubicBezTo>
                  <a:pt x="1774" y="1176"/>
                  <a:pt x="1774" y="1176"/>
                  <a:pt x="1774" y="1176"/>
                </a:cubicBezTo>
                <a:cubicBezTo>
                  <a:pt x="1774" y="1176"/>
                  <a:pt x="1774" y="1176"/>
                  <a:pt x="1774" y="1176"/>
                </a:cubicBezTo>
                <a:close/>
                <a:moveTo>
                  <a:pt x="1800" y="1145"/>
                </a:moveTo>
                <a:cubicBezTo>
                  <a:pt x="1801" y="1134"/>
                  <a:pt x="1801" y="1134"/>
                  <a:pt x="1801" y="1134"/>
                </a:cubicBezTo>
                <a:cubicBezTo>
                  <a:pt x="1792" y="1134"/>
                  <a:pt x="1792" y="1134"/>
                  <a:pt x="1792" y="1134"/>
                </a:cubicBezTo>
                <a:cubicBezTo>
                  <a:pt x="1790" y="1145"/>
                  <a:pt x="1790" y="1145"/>
                  <a:pt x="1790" y="1145"/>
                </a:cubicBezTo>
                <a:cubicBezTo>
                  <a:pt x="1800" y="1145"/>
                  <a:pt x="1800" y="1145"/>
                  <a:pt x="1800" y="1145"/>
                </a:cubicBezTo>
                <a:cubicBezTo>
                  <a:pt x="1800" y="1145"/>
                  <a:pt x="1800" y="1145"/>
                  <a:pt x="1800" y="1145"/>
                </a:cubicBezTo>
                <a:close/>
                <a:moveTo>
                  <a:pt x="659" y="1150"/>
                </a:moveTo>
                <a:cubicBezTo>
                  <a:pt x="659" y="1152"/>
                  <a:pt x="660" y="1153"/>
                  <a:pt x="660" y="1155"/>
                </a:cubicBezTo>
                <a:cubicBezTo>
                  <a:pt x="661" y="1156"/>
                  <a:pt x="661" y="1158"/>
                  <a:pt x="662" y="1160"/>
                </a:cubicBezTo>
                <a:cubicBezTo>
                  <a:pt x="662" y="1161"/>
                  <a:pt x="662" y="1163"/>
                  <a:pt x="662" y="1164"/>
                </a:cubicBezTo>
                <a:cubicBezTo>
                  <a:pt x="663" y="1168"/>
                  <a:pt x="662" y="1169"/>
                  <a:pt x="659" y="1169"/>
                </a:cubicBezTo>
                <a:cubicBezTo>
                  <a:pt x="656" y="1169"/>
                  <a:pt x="653" y="1169"/>
                  <a:pt x="650" y="1169"/>
                </a:cubicBezTo>
                <a:cubicBezTo>
                  <a:pt x="650" y="1169"/>
                  <a:pt x="649" y="1169"/>
                  <a:pt x="649" y="1169"/>
                </a:cubicBezTo>
                <a:cubicBezTo>
                  <a:pt x="647" y="1171"/>
                  <a:pt x="646" y="1172"/>
                  <a:pt x="644" y="1174"/>
                </a:cubicBezTo>
                <a:cubicBezTo>
                  <a:pt x="642" y="1176"/>
                  <a:pt x="639" y="1176"/>
                  <a:pt x="637" y="1174"/>
                </a:cubicBezTo>
                <a:cubicBezTo>
                  <a:pt x="635" y="1172"/>
                  <a:pt x="634" y="1170"/>
                  <a:pt x="632" y="1167"/>
                </a:cubicBezTo>
                <a:cubicBezTo>
                  <a:pt x="631" y="1165"/>
                  <a:pt x="632" y="1164"/>
                  <a:pt x="634" y="1162"/>
                </a:cubicBezTo>
                <a:cubicBezTo>
                  <a:pt x="631" y="1162"/>
                  <a:pt x="630" y="1162"/>
                  <a:pt x="628" y="1162"/>
                </a:cubicBezTo>
                <a:cubicBezTo>
                  <a:pt x="628" y="1164"/>
                  <a:pt x="626" y="1166"/>
                  <a:pt x="626" y="1168"/>
                </a:cubicBezTo>
                <a:cubicBezTo>
                  <a:pt x="626" y="1169"/>
                  <a:pt x="625" y="1170"/>
                  <a:pt x="625" y="1170"/>
                </a:cubicBezTo>
                <a:cubicBezTo>
                  <a:pt x="625" y="1174"/>
                  <a:pt x="624" y="1175"/>
                  <a:pt x="621" y="1174"/>
                </a:cubicBezTo>
                <a:cubicBezTo>
                  <a:pt x="618" y="1174"/>
                  <a:pt x="615" y="1173"/>
                  <a:pt x="612" y="1172"/>
                </a:cubicBezTo>
                <a:cubicBezTo>
                  <a:pt x="610" y="1172"/>
                  <a:pt x="609" y="1170"/>
                  <a:pt x="610" y="1168"/>
                </a:cubicBezTo>
                <a:cubicBezTo>
                  <a:pt x="610" y="1167"/>
                  <a:pt x="610" y="1166"/>
                  <a:pt x="611" y="1166"/>
                </a:cubicBezTo>
                <a:cubicBezTo>
                  <a:pt x="608" y="1165"/>
                  <a:pt x="606" y="1164"/>
                  <a:pt x="604" y="1163"/>
                </a:cubicBezTo>
                <a:cubicBezTo>
                  <a:pt x="603" y="1162"/>
                  <a:pt x="602" y="1160"/>
                  <a:pt x="601" y="1159"/>
                </a:cubicBezTo>
                <a:cubicBezTo>
                  <a:pt x="600" y="1157"/>
                  <a:pt x="600" y="1155"/>
                  <a:pt x="602" y="1153"/>
                </a:cubicBezTo>
                <a:cubicBezTo>
                  <a:pt x="605" y="1151"/>
                  <a:pt x="606" y="1148"/>
                  <a:pt x="605" y="1144"/>
                </a:cubicBezTo>
                <a:cubicBezTo>
                  <a:pt x="605" y="1142"/>
                  <a:pt x="605" y="1140"/>
                  <a:pt x="605" y="1138"/>
                </a:cubicBezTo>
                <a:cubicBezTo>
                  <a:pt x="604" y="1138"/>
                  <a:pt x="602" y="1137"/>
                  <a:pt x="601" y="1136"/>
                </a:cubicBezTo>
                <a:cubicBezTo>
                  <a:pt x="600" y="1134"/>
                  <a:pt x="599" y="1132"/>
                  <a:pt x="599" y="1130"/>
                </a:cubicBezTo>
                <a:cubicBezTo>
                  <a:pt x="599" y="1128"/>
                  <a:pt x="602" y="1125"/>
                  <a:pt x="605" y="1124"/>
                </a:cubicBezTo>
                <a:cubicBezTo>
                  <a:pt x="606" y="1125"/>
                  <a:pt x="606" y="1126"/>
                  <a:pt x="606" y="1126"/>
                </a:cubicBezTo>
                <a:cubicBezTo>
                  <a:pt x="606" y="1128"/>
                  <a:pt x="606" y="1128"/>
                  <a:pt x="606" y="1130"/>
                </a:cubicBezTo>
                <a:cubicBezTo>
                  <a:pt x="606" y="1129"/>
                  <a:pt x="605" y="1129"/>
                  <a:pt x="605" y="1129"/>
                </a:cubicBezTo>
                <a:cubicBezTo>
                  <a:pt x="604" y="1130"/>
                  <a:pt x="604" y="1132"/>
                  <a:pt x="603" y="1134"/>
                </a:cubicBezTo>
                <a:cubicBezTo>
                  <a:pt x="604" y="1133"/>
                  <a:pt x="605" y="1133"/>
                  <a:pt x="606" y="1133"/>
                </a:cubicBezTo>
                <a:cubicBezTo>
                  <a:pt x="607" y="1132"/>
                  <a:pt x="608" y="1131"/>
                  <a:pt x="608" y="1130"/>
                </a:cubicBezTo>
                <a:cubicBezTo>
                  <a:pt x="613" y="1123"/>
                  <a:pt x="619" y="1119"/>
                  <a:pt x="626" y="1117"/>
                </a:cubicBezTo>
                <a:cubicBezTo>
                  <a:pt x="629" y="1117"/>
                  <a:pt x="633" y="1116"/>
                  <a:pt x="635" y="1113"/>
                </a:cubicBezTo>
                <a:cubicBezTo>
                  <a:pt x="635" y="1113"/>
                  <a:pt x="636" y="1112"/>
                  <a:pt x="636" y="1112"/>
                </a:cubicBezTo>
                <a:cubicBezTo>
                  <a:pt x="639" y="1112"/>
                  <a:pt x="640" y="1109"/>
                  <a:pt x="642" y="1107"/>
                </a:cubicBezTo>
                <a:cubicBezTo>
                  <a:pt x="650" y="1100"/>
                  <a:pt x="662" y="1100"/>
                  <a:pt x="669" y="1106"/>
                </a:cubicBezTo>
                <a:cubicBezTo>
                  <a:pt x="672" y="1108"/>
                  <a:pt x="675" y="1110"/>
                  <a:pt x="677" y="1112"/>
                </a:cubicBezTo>
                <a:cubicBezTo>
                  <a:pt x="679" y="1113"/>
                  <a:pt x="680" y="1115"/>
                  <a:pt x="681" y="1117"/>
                </a:cubicBezTo>
                <a:cubicBezTo>
                  <a:pt x="682" y="1119"/>
                  <a:pt x="682" y="1119"/>
                  <a:pt x="684" y="1117"/>
                </a:cubicBezTo>
                <a:cubicBezTo>
                  <a:pt x="684" y="1117"/>
                  <a:pt x="685" y="1116"/>
                  <a:pt x="686" y="1115"/>
                </a:cubicBezTo>
                <a:cubicBezTo>
                  <a:pt x="688" y="1113"/>
                  <a:pt x="691" y="1113"/>
                  <a:pt x="692" y="1116"/>
                </a:cubicBezTo>
                <a:cubicBezTo>
                  <a:pt x="693" y="1119"/>
                  <a:pt x="694" y="1122"/>
                  <a:pt x="695" y="1125"/>
                </a:cubicBezTo>
                <a:cubicBezTo>
                  <a:pt x="695" y="1129"/>
                  <a:pt x="695" y="1134"/>
                  <a:pt x="693" y="1138"/>
                </a:cubicBezTo>
                <a:cubicBezTo>
                  <a:pt x="691" y="1144"/>
                  <a:pt x="686" y="1148"/>
                  <a:pt x="680" y="1148"/>
                </a:cubicBezTo>
                <a:cubicBezTo>
                  <a:pt x="679" y="1148"/>
                  <a:pt x="679" y="1148"/>
                  <a:pt x="678" y="1148"/>
                </a:cubicBezTo>
                <a:cubicBezTo>
                  <a:pt x="675" y="1147"/>
                  <a:pt x="674" y="1148"/>
                  <a:pt x="673" y="1150"/>
                </a:cubicBezTo>
                <a:cubicBezTo>
                  <a:pt x="672" y="1155"/>
                  <a:pt x="666" y="1156"/>
                  <a:pt x="663" y="1153"/>
                </a:cubicBezTo>
                <a:cubicBezTo>
                  <a:pt x="662" y="1152"/>
                  <a:pt x="661" y="1151"/>
                  <a:pt x="660" y="1150"/>
                </a:cubicBezTo>
                <a:cubicBezTo>
                  <a:pt x="659" y="1150"/>
                  <a:pt x="659" y="1150"/>
                  <a:pt x="659" y="1150"/>
                </a:cubicBezTo>
                <a:close/>
                <a:moveTo>
                  <a:pt x="653" y="1146"/>
                </a:moveTo>
                <a:cubicBezTo>
                  <a:pt x="657" y="1147"/>
                  <a:pt x="660" y="1149"/>
                  <a:pt x="663" y="1151"/>
                </a:cubicBezTo>
                <a:cubicBezTo>
                  <a:pt x="665" y="1153"/>
                  <a:pt x="667" y="1154"/>
                  <a:pt x="669" y="1153"/>
                </a:cubicBezTo>
                <a:cubicBezTo>
                  <a:pt x="671" y="1152"/>
                  <a:pt x="673" y="1150"/>
                  <a:pt x="673" y="1147"/>
                </a:cubicBezTo>
                <a:cubicBezTo>
                  <a:pt x="673" y="1147"/>
                  <a:pt x="672" y="1147"/>
                  <a:pt x="672" y="1148"/>
                </a:cubicBezTo>
                <a:cubicBezTo>
                  <a:pt x="671" y="1149"/>
                  <a:pt x="670" y="1150"/>
                  <a:pt x="669" y="1151"/>
                </a:cubicBezTo>
                <a:cubicBezTo>
                  <a:pt x="668" y="1153"/>
                  <a:pt x="667" y="1152"/>
                  <a:pt x="666" y="1152"/>
                </a:cubicBezTo>
                <a:cubicBezTo>
                  <a:pt x="666" y="1152"/>
                  <a:pt x="665" y="1151"/>
                  <a:pt x="665" y="1150"/>
                </a:cubicBezTo>
                <a:cubicBezTo>
                  <a:pt x="665" y="1147"/>
                  <a:pt x="666" y="1145"/>
                  <a:pt x="666" y="1144"/>
                </a:cubicBezTo>
                <a:cubicBezTo>
                  <a:pt x="669" y="1144"/>
                  <a:pt x="672" y="1145"/>
                  <a:pt x="676" y="1146"/>
                </a:cubicBezTo>
                <a:cubicBezTo>
                  <a:pt x="683" y="1147"/>
                  <a:pt x="689" y="1145"/>
                  <a:pt x="692" y="1137"/>
                </a:cubicBezTo>
                <a:cubicBezTo>
                  <a:pt x="694" y="1132"/>
                  <a:pt x="693" y="1127"/>
                  <a:pt x="693" y="1122"/>
                </a:cubicBezTo>
                <a:cubicBezTo>
                  <a:pt x="692" y="1120"/>
                  <a:pt x="691" y="1119"/>
                  <a:pt x="691" y="1117"/>
                </a:cubicBezTo>
                <a:cubicBezTo>
                  <a:pt x="690" y="1115"/>
                  <a:pt x="689" y="1115"/>
                  <a:pt x="688" y="1116"/>
                </a:cubicBezTo>
                <a:cubicBezTo>
                  <a:pt x="686" y="1118"/>
                  <a:pt x="684" y="1119"/>
                  <a:pt x="682" y="1120"/>
                </a:cubicBezTo>
                <a:cubicBezTo>
                  <a:pt x="682" y="1121"/>
                  <a:pt x="681" y="1121"/>
                  <a:pt x="681" y="1123"/>
                </a:cubicBezTo>
                <a:cubicBezTo>
                  <a:pt x="682" y="1126"/>
                  <a:pt x="681" y="1129"/>
                  <a:pt x="680" y="1132"/>
                </a:cubicBezTo>
                <a:cubicBezTo>
                  <a:pt x="680" y="1130"/>
                  <a:pt x="680" y="1128"/>
                  <a:pt x="680" y="1126"/>
                </a:cubicBezTo>
                <a:cubicBezTo>
                  <a:pt x="680" y="1126"/>
                  <a:pt x="680" y="1125"/>
                  <a:pt x="680" y="1125"/>
                </a:cubicBezTo>
                <a:cubicBezTo>
                  <a:pt x="679" y="1125"/>
                  <a:pt x="679" y="1125"/>
                  <a:pt x="679" y="1126"/>
                </a:cubicBezTo>
                <a:cubicBezTo>
                  <a:pt x="678" y="1127"/>
                  <a:pt x="677" y="1128"/>
                  <a:pt x="676" y="1130"/>
                </a:cubicBezTo>
                <a:cubicBezTo>
                  <a:pt x="676" y="1130"/>
                  <a:pt x="676" y="1130"/>
                  <a:pt x="676" y="1130"/>
                </a:cubicBezTo>
                <a:cubicBezTo>
                  <a:pt x="676" y="1128"/>
                  <a:pt x="677" y="1126"/>
                  <a:pt x="677" y="1124"/>
                </a:cubicBezTo>
                <a:cubicBezTo>
                  <a:pt x="676" y="1125"/>
                  <a:pt x="675" y="1125"/>
                  <a:pt x="675" y="1126"/>
                </a:cubicBezTo>
                <a:cubicBezTo>
                  <a:pt x="674" y="1126"/>
                  <a:pt x="674" y="1127"/>
                  <a:pt x="673" y="1128"/>
                </a:cubicBezTo>
                <a:cubicBezTo>
                  <a:pt x="674" y="1125"/>
                  <a:pt x="674" y="1125"/>
                  <a:pt x="680" y="1123"/>
                </a:cubicBezTo>
                <a:cubicBezTo>
                  <a:pt x="680" y="1123"/>
                  <a:pt x="679" y="1122"/>
                  <a:pt x="679" y="1122"/>
                </a:cubicBezTo>
                <a:cubicBezTo>
                  <a:pt x="676" y="1123"/>
                  <a:pt x="675" y="1121"/>
                  <a:pt x="675" y="1119"/>
                </a:cubicBezTo>
                <a:cubicBezTo>
                  <a:pt x="677" y="1119"/>
                  <a:pt x="678" y="1118"/>
                  <a:pt x="680" y="1118"/>
                </a:cubicBezTo>
                <a:cubicBezTo>
                  <a:pt x="678" y="1115"/>
                  <a:pt x="677" y="1113"/>
                  <a:pt x="673" y="1112"/>
                </a:cubicBezTo>
                <a:cubicBezTo>
                  <a:pt x="673" y="1112"/>
                  <a:pt x="673" y="1112"/>
                  <a:pt x="673" y="1111"/>
                </a:cubicBezTo>
                <a:cubicBezTo>
                  <a:pt x="670" y="1109"/>
                  <a:pt x="668" y="1107"/>
                  <a:pt x="665" y="1105"/>
                </a:cubicBezTo>
                <a:cubicBezTo>
                  <a:pt x="663" y="1104"/>
                  <a:pt x="660" y="1103"/>
                  <a:pt x="658" y="1103"/>
                </a:cubicBezTo>
                <a:cubicBezTo>
                  <a:pt x="655" y="1104"/>
                  <a:pt x="651" y="1105"/>
                  <a:pt x="648" y="1105"/>
                </a:cubicBezTo>
                <a:cubicBezTo>
                  <a:pt x="646" y="1107"/>
                  <a:pt x="643" y="1108"/>
                  <a:pt x="641" y="1111"/>
                </a:cubicBezTo>
                <a:cubicBezTo>
                  <a:pt x="643" y="1111"/>
                  <a:pt x="644" y="1111"/>
                  <a:pt x="645" y="1111"/>
                </a:cubicBezTo>
                <a:cubicBezTo>
                  <a:pt x="645" y="1112"/>
                  <a:pt x="644" y="1112"/>
                  <a:pt x="643" y="1112"/>
                </a:cubicBezTo>
                <a:cubicBezTo>
                  <a:pt x="641" y="1113"/>
                  <a:pt x="638" y="1112"/>
                  <a:pt x="636" y="1115"/>
                </a:cubicBezTo>
                <a:cubicBezTo>
                  <a:pt x="633" y="1119"/>
                  <a:pt x="629" y="1122"/>
                  <a:pt x="625" y="1126"/>
                </a:cubicBezTo>
                <a:cubicBezTo>
                  <a:pt x="624" y="1128"/>
                  <a:pt x="623" y="1131"/>
                  <a:pt x="622" y="1133"/>
                </a:cubicBezTo>
                <a:cubicBezTo>
                  <a:pt x="622" y="1134"/>
                  <a:pt x="622" y="1134"/>
                  <a:pt x="622" y="1135"/>
                </a:cubicBezTo>
                <a:cubicBezTo>
                  <a:pt x="623" y="1137"/>
                  <a:pt x="624" y="1139"/>
                  <a:pt x="626" y="1141"/>
                </a:cubicBezTo>
                <a:cubicBezTo>
                  <a:pt x="627" y="1139"/>
                  <a:pt x="628" y="1138"/>
                  <a:pt x="629" y="1136"/>
                </a:cubicBezTo>
                <a:cubicBezTo>
                  <a:pt x="629" y="1138"/>
                  <a:pt x="629" y="1139"/>
                  <a:pt x="628" y="1140"/>
                </a:cubicBezTo>
                <a:cubicBezTo>
                  <a:pt x="627" y="1142"/>
                  <a:pt x="626" y="1143"/>
                  <a:pt x="626" y="1144"/>
                </a:cubicBezTo>
                <a:cubicBezTo>
                  <a:pt x="626" y="1145"/>
                  <a:pt x="626" y="1146"/>
                  <a:pt x="626" y="1147"/>
                </a:cubicBezTo>
                <a:cubicBezTo>
                  <a:pt x="629" y="1151"/>
                  <a:pt x="632" y="1151"/>
                  <a:pt x="636" y="1149"/>
                </a:cubicBezTo>
                <a:cubicBezTo>
                  <a:pt x="638" y="1147"/>
                  <a:pt x="641" y="1146"/>
                  <a:pt x="644" y="1145"/>
                </a:cubicBezTo>
                <a:cubicBezTo>
                  <a:pt x="645" y="1145"/>
                  <a:pt x="646" y="1144"/>
                  <a:pt x="646" y="1142"/>
                </a:cubicBezTo>
                <a:cubicBezTo>
                  <a:pt x="646" y="1139"/>
                  <a:pt x="646" y="1136"/>
                  <a:pt x="646" y="1132"/>
                </a:cubicBezTo>
                <a:cubicBezTo>
                  <a:pt x="646" y="1129"/>
                  <a:pt x="646" y="1126"/>
                  <a:pt x="646" y="1123"/>
                </a:cubicBezTo>
                <a:cubicBezTo>
                  <a:pt x="647" y="1126"/>
                  <a:pt x="648" y="1129"/>
                  <a:pt x="648" y="1131"/>
                </a:cubicBezTo>
                <a:cubicBezTo>
                  <a:pt x="649" y="1136"/>
                  <a:pt x="649" y="1140"/>
                  <a:pt x="648" y="1145"/>
                </a:cubicBezTo>
                <a:cubicBezTo>
                  <a:pt x="647" y="1145"/>
                  <a:pt x="646" y="1146"/>
                  <a:pt x="646" y="1146"/>
                </a:cubicBezTo>
                <a:cubicBezTo>
                  <a:pt x="642" y="1147"/>
                  <a:pt x="639" y="1149"/>
                  <a:pt x="636" y="1150"/>
                </a:cubicBezTo>
                <a:cubicBezTo>
                  <a:pt x="631" y="1153"/>
                  <a:pt x="628" y="1151"/>
                  <a:pt x="624" y="1147"/>
                </a:cubicBezTo>
                <a:cubicBezTo>
                  <a:pt x="624" y="1147"/>
                  <a:pt x="624" y="1146"/>
                  <a:pt x="624" y="1145"/>
                </a:cubicBezTo>
                <a:cubicBezTo>
                  <a:pt x="625" y="1143"/>
                  <a:pt x="624" y="1141"/>
                  <a:pt x="622" y="1139"/>
                </a:cubicBezTo>
                <a:cubicBezTo>
                  <a:pt x="621" y="1137"/>
                  <a:pt x="619" y="1135"/>
                  <a:pt x="620" y="1132"/>
                </a:cubicBezTo>
                <a:cubicBezTo>
                  <a:pt x="621" y="1130"/>
                  <a:pt x="622" y="1128"/>
                  <a:pt x="623" y="1127"/>
                </a:cubicBezTo>
                <a:cubicBezTo>
                  <a:pt x="625" y="1124"/>
                  <a:pt x="627" y="1122"/>
                  <a:pt x="629" y="1119"/>
                </a:cubicBezTo>
                <a:cubicBezTo>
                  <a:pt x="629" y="1119"/>
                  <a:pt x="628" y="1119"/>
                  <a:pt x="628" y="1119"/>
                </a:cubicBezTo>
                <a:cubicBezTo>
                  <a:pt x="623" y="1120"/>
                  <a:pt x="619" y="1122"/>
                  <a:pt x="615" y="1125"/>
                </a:cubicBezTo>
                <a:cubicBezTo>
                  <a:pt x="610" y="1129"/>
                  <a:pt x="607" y="1134"/>
                  <a:pt x="607" y="1141"/>
                </a:cubicBezTo>
                <a:cubicBezTo>
                  <a:pt x="606" y="1148"/>
                  <a:pt x="609" y="1154"/>
                  <a:pt x="612" y="1160"/>
                </a:cubicBezTo>
                <a:cubicBezTo>
                  <a:pt x="613" y="1161"/>
                  <a:pt x="613" y="1162"/>
                  <a:pt x="613" y="1163"/>
                </a:cubicBezTo>
                <a:cubicBezTo>
                  <a:pt x="613" y="1165"/>
                  <a:pt x="613" y="1166"/>
                  <a:pt x="612" y="1168"/>
                </a:cubicBezTo>
                <a:cubicBezTo>
                  <a:pt x="611" y="1170"/>
                  <a:pt x="612" y="1170"/>
                  <a:pt x="613" y="1171"/>
                </a:cubicBezTo>
                <a:cubicBezTo>
                  <a:pt x="616" y="1172"/>
                  <a:pt x="619" y="1172"/>
                  <a:pt x="622" y="1172"/>
                </a:cubicBezTo>
                <a:cubicBezTo>
                  <a:pt x="622" y="1172"/>
                  <a:pt x="623" y="1172"/>
                  <a:pt x="623" y="1171"/>
                </a:cubicBezTo>
                <a:cubicBezTo>
                  <a:pt x="624" y="1170"/>
                  <a:pt x="624" y="1168"/>
                  <a:pt x="624" y="1168"/>
                </a:cubicBezTo>
                <a:cubicBezTo>
                  <a:pt x="626" y="1165"/>
                  <a:pt x="626" y="1163"/>
                  <a:pt x="626" y="1160"/>
                </a:cubicBezTo>
                <a:cubicBezTo>
                  <a:pt x="626" y="1159"/>
                  <a:pt x="626" y="1159"/>
                  <a:pt x="626" y="1159"/>
                </a:cubicBezTo>
                <a:cubicBezTo>
                  <a:pt x="626" y="1158"/>
                  <a:pt x="626" y="1158"/>
                  <a:pt x="626" y="1158"/>
                </a:cubicBezTo>
                <a:cubicBezTo>
                  <a:pt x="627" y="1161"/>
                  <a:pt x="628" y="1161"/>
                  <a:pt x="630" y="1161"/>
                </a:cubicBezTo>
                <a:cubicBezTo>
                  <a:pt x="631" y="1161"/>
                  <a:pt x="632" y="1161"/>
                  <a:pt x="633" y="1161"/>
                </a:cubicBezTo>
                <a:cubicBezTo>
                  <a:pt x="635" y="1161"/>
                  <a:pt x="639" y="1161"/>
                  <a:pt x="639" y="1157"/>
                </a:cubicBezTo>
                <a:cubicBezTo>
                  <a:pt x="639" y="1159"/>
                  <a:pt x="639" y="1161"/>
                  <a:pt x="639" y="1162"/>
                </a:cubicBezTo>
                <a:cubicBezTo>
                  <a:pt x="638" y="1163"/>
                  <a:pt x="637" y="1163"/>
                  <a:pt x="635" y="1164"/>
                </a:cubicBezTo>
                <a:cubicBezTo>
                  <a:pt x="634" y="1164"/>
                  <a:pt x="633" y="1166"/>
                  <a:pt x="634" y="1167"/>
                </a:cubicBezTo>
                <a:cubicBezTo>
                  <a:pt x="635" y="1169"/>
                  <a:pt x="637" y="1171"/>
                  <a:pt x="638" y="1173"/>
                </a:cubicBezTo>
                <a:cubicBezTo>
                  <a:pt x="640" y="1174"/>
                  <a:pt x="642" y="1174"/>
                  <a:pt x="643" y="1172"/>
                </a:cubicBezTo>
                <a:cubicBezTo>
                  <a:pt x="644" y="1172"/>
                  <a:pt x="644" y="1171"/>
                  <a:pt x="645" y="1170"/>
                </a:cubicBezTo>
                <a:cubicBezTo>
                  <a:pt x="647" y="1169"/>
                  <a:pt x="648" y="1168"/>
                  <a:pt x="650" y="1166"/>
                </a:cubicBezTo>
                <a:cubicBezTo>
                  <a:pt x="654" y="1162"/>
                  <a:pt x="656" y="1156"/>
                  <a:pt x="658" y="1150"/>
                </a:cubicBezTo>
                <a:cubicBezTo>
                  <a:pt x="658" y="1150"/>
                  <a:pt x="657" y="1149"/>
                  <a:pt x="657" y="1149"/>
                </a:cubicBezTo>
                <a:cubicBezTo>
                  <a:pt x="656" y="1147"/>
                  <a:pt x="655" y="1147"/>
                  <a:pt x="653" y="1146"/>
                </a:cubicBezTo>
                <a:close/>
                <a:moveTo>
                  <a:pt x="606" y="1152"/>
                </a:moveTo>
                <a:cubicBezTo>
                  <a:pt x="606" y="1153"/>
                  <a:pt x="604" y="1154"/>
                  <a:pt x="603" y="1155"/>
                </a:cubicBezTo>
                <a:cubicBezTo>
                  <a:pt x="602" y="1155"/>
                  <a:pt x="602" y="1156"/>
                  <a:pt x="602" y="1157"/>
                </a:cubicBezTo>
                <a:cubicBezTo>
                  <a:pt x="602" y="1160"/>
                  <a:pt x="606" y="1164"/>
                  <a:pt x="609" y="1164"/>
                </a:cubicBezTo>
                <a:cubicBezTo>
                  <a:pt x="611" y="1164"/>
                  <a:pt x="612" y="1163"/>
                  <a:pt x="611" y="1161"/>
                </a:cubicBezTo>
                <a:cubicBezTo>
                  <a:pt x="609" y="1158"/>
                  <a:pt x="608" y="1155"/>
                  <a:pt x="606" y="1152"/>
                </a:cubicBezTo>
                <a:close/>
                <a:moveTo>
                  <a:pt x="659" y="1154"/>
                </a:moveTo>
                <a:cubicBezTo>
                  <a:pt x="657" y="1159"/>
                  <a:pt x="654" y="1163"/>
                  <a:pt x="652" y="1168"/>
                </a:cubicBezTo>
                <a:cubicBezTo>
                  <a:pt x="655" y="1168"/>
                  <a:pt x="657" y="1168"/>
                  <a:pt x="660" y="1168"/>
                </a:cubicBezTo>
                <a:cubicBezTo>
                  <a:pt x="660" y="1168"/>
                  <a:pt x="660" y="1166"/>
                  <a:pt x="660" y="1166"/>
                </a:cubicBezTo>
                <a:cubicBezTo>
                  <a:pt x="660" y="1163"/>
                  <a:pt x="660" y="1161"/>
                  <a:pt x="660" y="1159"/>
                </a:cubicBezTo>
                <a:cubicBezTo>
                  <a:pt x="660" y="1157"/>
                  <a:pt x="659" y="1156"/>
                  <a:pt x="659" y="1154"/>
                </a:cubicBezTo>
                <a:close/>
                <a:moveTo>
                  <a:pt x="606" y="1134"/>
                </a:moveTo>
                <a:cubicBezTo>
                  <a:pt x="606" y="1134"/>
                  <a:pt x="605" y="1135"/>
                  <a:pt x="604" y="1135"/>
                </a:cubicBezTo>
                <a:cubicBezTo>
                  <a:pt x="604" y="1135"/>
                  <a:pt x="603" y="1135"/>
                  <a:pt x="603" y="1134"/>
                </a:cubicBezTo>
                <a:cubicBezTo>
                  <a:pt x="602" y="1134"/>
                  <a:pt x="602" y="1133"/>
                  <a:pt x="602" y="1132"/>
                </a:cubicBezTo>
                <a:cubicBezTo>
                  <a:pt x="603" y="1130"/>
                  <a:pt x="603" y="1128"/>
                  <a:pt x="604" y="1126"/>
                </a:cubicBezTo>
                <a:cubicBezTo>
                  <a:pt x="604" y="1126"/>
                  <a:pt x="604" y="1126"/>
                  <a:pt x="603" y="1126"/>
                </a:cubicBezTo>
                <a:cubicBezTo>
                  <a:pt x="602" y="1127"/>
                  <a:pt x="601" y="1128"/>
                  <a:pt x="600" y="1129"/>
                </a:cubicBezTo>
                <a:cubicBezTo>
                  <a:pt x="600" y="1130"/>
                  <a:pt x="601" y="1136"/>
                  <a:pt x="603" y="1136"/>
                </a:cubicBezTo>
                <a:cubicBezTo>
                  <a:pt x="604" y="1137"/>
                  <a:pt x="606" y="1136"/>
                  <a:pt x="606" y="1134"/>
                </a:cubicBezTo>
                <a:close/>
                <a:moveTo>
                  <a:pt x="606" y="1152"/>
                </a:moveTo>
                <a:cubicBezTo>
                  <a:pt x="605" y="1153"/>
                  <a:pt x="604" y="1153"/>
                  <a:pt x="603" y="1155"/>
                </a:cubicBezTo>
                <a:cubicBezTo>
                  <a:pt x="602" y="1155"/>
                  <a:pt x="602" y="1156"/>
                  <a:pt x="602" y="1157"/>
                </a:cubicBezTo>
                <a:cubicBezTo>
                  <a:pt x="602" y="1159"/>
                  <a:pt x="606" y="1164"/>
                  <a:pt x="609" y="1163"/>
                </a:cubicBezTo>
                <a:cubicBezTo>
                  <a:pt x="611" y="1163"/>
                  <a:pt x="612" y="1162"/>
                  <a:pt x="611" y="1161"/>
                </a:cubicBezTo>
                <a:cubicBezTo>
                  <a:pt x="609" y="1157"/>
                  <a:pt x="608" y="1155"/>
                  <a:pt x="606" y="1152"/>
                </a:cubicBezTo>
                <a:close/>
                <a:moveTo>
                  <a:pt x="659" y="1154"/>
                </a:moveTo>
                <a:cubicBezTo>
                  <a:pt x="656" y="1159"/>
                  <a:pt x="654" y="1163"/>
                  <a:pt x="652" y="1168"/>
                </a:cubicBezTo>
                <a:cubicBezTo>
                  <a:pt x="654" y="1168"/>
                  <a:pt x="657" y="1168"/>
                  <a:pt x="660" y="1168"/>
                </a:cubicBezTo>
                <a:cubicBezTo>
                  <a:pt x="660" y="1168"/>
                  <a:pt x="660" y="1167"/>
                  <a:pt x="660" y="1166"/>
                </a:cubicBezTo>
                <a:cubicBezTo>
                  <a:pt x="660" y="1163"/>
                  <a:pt x="660" y="1161"/>
                  <a:pt x="660" y="1159"/>
                </a:cubicBezTo>
                <a:cubicBezTo>
                  <a:pt x="660" y="1157"/>
                  <a:pt x="659" y="1156"/>
                  <a:pt x="659" y="1154"/>
                </a:cubicBezTo>
                <a:close/>
                <a:moveTo>
                  <a:pt x="606" y="1134"/>
                </a:moveTo>
                <a:cubicBezTo>
                  <a:pt x="605" y="1134"/>
                  <a:pt x="605" y="1135"/>
                  <a:pt x="604" y="1135"/>
                </a:cubicBezTo>
                <a:cubicBezTo>
                  <a:pt x="603" y="1135"/>
                  <a:pt x="603" y="1135"/>
                  <a:pt x="603" y="1134"/>
                </a:cubicBezTo>
                <a:cubicBezTo>
                  <a:pt x="602" y="1134"/>
                  <a:pt x="602" y="1133"/>
                  <a:pt x="602" y="1132"/>
                </a:cubicBezTo>
                <a:cubicBezTo>
                  <a:pt x="603" y="1130"/>
                  <a:pt x="603" y="1128"/>
                  <a:pt x="604" y="1126"/>
                </a:cubicBezTo>
                <a:cubicBezTo>
                  <a:pt x="603" y="1126"/>
                  <a:pt x="603" y="1126"/>
                  <a:pt x="603" y="1126"/>
                </a:cubicBezTo>
                <a:cubicBezTo>
                  <a:pt x="602" y="1127"/>
                  <a:pt x="601" y="1128"/>
                  <a:pt x="600" y="1129"/>
                </a:cubicBezTo>
                <a:cubicBezTo>
                  <a:pt x="599" y="1130"/>
                  <a:pt x="601" y="1135"/>
                  <a:pt x="603" y="1136"/>
                </a:cubicBezTo>
                <a:cubicBezTo>
                  <a:pt x="604" y="1137"/>
                  <a:pt x="606" y="1136"/>
                  <a:pt x="606" y="1134"/>
                </a:cubicBezTo>
                <a:close/>
                <a:moveTo>
                  <a:pt x="658" y="1126"/>
                </a:moveTo>
                <a:cubicBezTo>
                  <a:pt x="661" y="1122"/>
                  <a:pt x="661" y="1122"/>
                  <a:pt x="665" y="1121"/>
                </a:cubicBezTo>
                <a:cubicBezTo>
                  <a:pt x="665" y="1123"/>
                  <a:pt x="666" y="1124"/>
                  <a:pt x="668" y="1124"/>
                </a:cubicBezTo>
                <a:cubicBezTo>
                  <a:pt x="666" y="1125"/>
                  <a:pt x="664" y="1127"/>
                  <a:pt x="662" y="1128"/>
                </a:cubicBezTo>
                <a:cubicBezTo>
                  <a:pt x="661" y="1127"/>
                  <a:pt x="661" y="1126"/>
                  <a:pt x="660" y="1125"/>
                </a:cubicBezTo>
                <a:cubicBezTo>
                  <a:pt x="660" y="1125"/>
                  <a:pt x="659" y="1125"/>
                  <a:pt x="658" y="1126"/>
                </a:cubicBezTo>
                <a:close/>
                <a:moveTo>
                  <a:pt x="664" y="1125"/>
                </a:moveTo>
                <a:cubicBezTo>
                  <a:pt x="663" y="1125"/>
                  <a:pt x="663" y="1125"/>
                  <a:pt x="662" y="1125"/>
                </a:cubicBezTo>
                <a:cubicBezTo>
                  <a:pt x="662" y="1125"/>
                  <a:pt x="661" y="1125"/>
                  <a:pt x="661" y="1126"/>
                </a:cubicBezTo>
                <a:cubicBezTo>
                  <a:pt x="661" y="1126"/>
                  <a:pt x="661" y="1126"/>
                  <a:pt x="662" y="1127"/>
                </a:cubicBezTo>
                <a:cubicBezTo>
                  <a:pt x="663" y="1126"/>
                  <a:pt x="663" y="1126"/>
                  <a:pt x="664" y="1125"/>
                </a:cubicBezTo>
                <a:close/>
                <a:moveTo>
                  <a:pt x="645" y="1116"/>
                </a:moveTo>
                <a:cubicBezTo>
                  <a:pt x="639" y="1115"/>
                  <a:pt x="636" y="1117"/>
                  <a:pt x="635" y="1125"/>
                </a:cubicBezTo>
                <a:cubicBezTo>
                  <a:pt x="636" y="1123"/>
                  <a:pt x="637" y="1121"/>
                  <a:pt x="638" y="1118"/>
                </a:cubicBezTo>
                <a:cubicBezTo>
                  <a:pt x="639" y="1118"/>
                  <a:pt x="639" y="1118"/>
                  <a:pt x="639" y="1118"/>
                </a:cubicBezTo>
                <a:cubicBezTo>
                  <a:pt x="639" y="1120"/>
                  <a:pt x="639" y="1120"/>
                  <a:pt x="639" y="1121"/>
                </a:cubicBezTo>
                <a:cubicBezTo>
                  <a:pt x="640" y="1118"/>
                  <a:pt x="642" y="1116"/>
                  <a:pt x="645" y="1116"/>
                </a:cubicBezTo>
                <a:close/>
                <a:moveTo>
                  <a:pt x="689" y="1117"/>
                </a:moveTo>
                <a:cubicBezTo>
                  <a:pt x="687" y="1118"/>
                  <a:pt x="685" y="1120"/>
                  <a:pt x="684" y="1121"/>
                </a:cubicBezTo>
                <a:cubicBezTo>
                  <a:pt x="686" y="1122"/>
                  <a:pt x="688" y="1120"/>
                  <a:pt x="689" y="1117"/>
                </a:cubicBezTo>
                <a:close/>
                <a:moveTo>
                  <a:pt x="656" y="1119"/>
                </a:moveTo>
                <a:cubicBezTo>
                  <a:pt x="657" y="1118"/>
                  <a:pt x="658" y="1117"/>
                  <a:pt x="659" y="1115"/>
                </a:cubicBezTo>
                <a:cubicBezTo>
                  <a:pt x="656" y="1117"/>
                  <a:pt x="656" y="1117"/>
                  <a:pt x="656" y="1119"/>
                </a:cubicBezTo>
                <a:close/>
                <a:moveTo>
                  <a:pt x="666" y="1141"/>
                </a:moveTo>
                <a:cubicBezTo>
                  <a:pt x="664" y="1141"/>
                  <a:pt x="663" y="1142"/>
                  <a:pt x="663" y="1143"/>
                </a:cubicBezTo>
                <a:cubicBezTo>
                  <a:pt x="664" y="1142"/>
                  <a:pt x="665" y="1142"/>
                  <a:pt x="666" y="1141"/>
                </a:cubicBezTo>
                <a:close/>
                <a:moveTo>
                  <a:pt x="665" y="1125"/>
                </a:moveTo>
                <a:cubicBezTo>
                  <a:pt x="664" y="1125"/>
                  <a:pt x="663" y="1125"/>
                  <a:pt x="663" y="1125"/>
                </a:cubicBezTo>
                <a:cubicBezTo>
                  <a:pt x="662" y="1125"/>
                  <a:pt x="661" y="1125"/>
                  <a:pt x="661" y="1126"/>
                </a:cubicBezTo>
                <a:cubicBezTo>
                  <a:pt x="661" y="1126"/>
                  <a:pt x="662" y="1127"/>
                  <a:pt x="662" y="1127"/>
                </a:cubicBezTo>
                <a:cubicBezTo>
                  <a:pt x="663" y="1127"/>
                  <a:pt x="663" y="1126"/>
                  <a:pt x="665" y="1125"/>
                </a:cubicBezTo>
                <a:close/>
                <a:moveTo>
                  <a:pt x="1318" y="1103"/>
                </a:moveTo>
                <a:cubicBezTo>
                  <a:pt x="1318" y="1103"/>
                  <a:pt x="1318" y="1103"/>
                  <a:pt x="1318" y="1103"/>
                </a:cubicBezTo>
                <a:cubicBezTo>
                  <a:pt x="1313" y="1103"/>
                  <a:pt x="1313" y="1103"/>
                  <a:pt x="1313" y="1103"/>
                </a:cubicBezTo>
                <a:cubicBezTo>
                  <a:pt x="1311" y="1104"/>
                  <a:pt x="1310" y="1106"/>
                  <a:pt x="1307" y="1107"/>
                </a:cubicBezTo>
                <a:cubicBezTo>
                  <a:pt x="1306" y="1108"/>
                  <a:pt x="1304" y="1109"/>
                  <a:pt x="1302" y="1109"/>
                </a:cubicBezTo>
                <a:cubicBezTo>
                  <a:pt x="1301" y="1111"/>
                  <a:pt x="1298" y="1112"/>
                  <a:pt x="1297" y="1112"/>
                </a:cubicBezTo>
                <a:cubicBezTo>
                  <a:pt x="1295" y="1113"/>
                  <a:pt x="1293" y="1114"/>
                  <a:pt x="1291" y="1114"/>
                </a:cubicBezTo>
                <a:cubicBezTo>
                  <a:pt x="1291" y="1114"/>
                  <a:pt x="1291" y="1114"/>
                  <a:pt x="1291" y="1124"/>
                </a:cubicBezTo>
                <a:cubicBezTo>
                  <a:pt x="1294" y="1123"/>
                  <a:pt x="1297" y="1123"/>
                  <a:pt x="1300" y="1121"/>
                </a:cubicBezTo>
                <a:cubicBezTo>
                  <a:pt x="1302" y="1120"/>
                  <a:pt x="1304" y="1119"/>
                  <a:pt x="1307" y="1117"/>
                </a:cubicBezTo>
                <a:cubicBezTo>
                  <a:pt x="1307" y="1117"/>
                  <a:pt x="1307" y="1117"/>
                  <a:pt x="1307" y="1176"/>
                </a:cubicBezTo>
                <a:cubicBezTo>
                  <a:pt x="1307" y="1176"/>
                  <a:pt x="1307" y="1176"/>
                  <a:pt x="1318" y="1176"/>
                </a:cubicBezTo>
                <a:cubicBezTo>
                  <a:pt x="1318" y="1176"/>
                  <a:pt x="1318" y="1176"/>
                  <a:pt x="1318" y="1103"/>
                </a:cubicBezTo>
                <a:close/>
                <a:moveTo>
                  <a:pt x="1366" y="1103"/>
                </a:moveTo>
                <a:cubicBezTo>
                  <a:pt x="1366" y="1103"/>
                  <a:pt x="1366" y="1103"/>
                  <a:pt x="1366" y="1103"/>
                </a:cubicBezTo>
                <a:cubicBezTo>
                  <a:pt x="1361" y="1103"/>
                  <a:pt x="1361" y="1103"/>
                  <a:pt x="1361" y="1103"/>
                </a:cubicBezTo>
                <a:cubicBezTo>
                  <a:pt x="1359" y="1104"/>
                  <a:pt x="1357" y="1106"/>
                  <a:pt x="1355" y="1107"/>
                </a:cubicBezTo>
                <a:cubicBezTo>
                  <a:pt x="1353" y="1108"/>
                  <a:pt x="1351" y="1109"/>
                  <a:pt x="1350" y="1109"/>
                </a:cubicBezTo>
                <a:cubicBezTo>
                  <a:pt x="1348" y="1111"/>
                  <a:pt x="1346" y="1112"/>
                  <a:pt x="1344" y="1112"/>
                </a:cubicBezTo>
                <a:cubicBezTo>
                  <a:pt x="1342" y="1113"/>
                  <a:pt x="1341" y="1114"/>
                  <a:pt x="1339" y="1114"/>
                </a:cubicBezTo>
                <a:cubicBezTo>
                  <a:pt x="1339" y="1114"/>
                  <a:pt x="1339" y="1114"/>
                  <a:pt x="1339" y="1124"/>
                </a:cubicBezTo>
                <a:cubicBezTo>
                  <a:pt x="1342" y="1123"/>
                  <a:pt x="1344" y="1123"/>
                  <a:pt x="1347" y="1121"/>
                </a:cubicBezTo>
                <a:cubicBezTo>
                  <a:pt x="1350" y="1120"/>
                  <a:pt x="1352" y="1119"/>
                  <a:pt x="1354" y="1117"/>
                </a:cubicBezTo>
                <a:cubicBezTo>
                  <a:pt x="1354" y="1117"/>
                  <a:pt x="1354" y="1117"/>
                  <a:pt x="1354" y="1176"/>
                </a:cubicBezTo>
                <a:cubicBezTo>
                  <a:pt x="1354" y="1176"/>
                  <a:pt x="1354" y="1176"/>
                  <a:pt x="1366" y="1176"/>
                </a:cubicBezTo>
                <a:cubicBezTo>
                  <a:pt x="1366" y="1176"/>
                  <a:pt x="1366" y="1176"/>
                  <a:pt x="1366" y="1103"/>
                </a:cubicBezTo>
                <a:close/>
                <a:moveTo>
                  <a:pt x="1412" y="1103"/>
                </a:moveTo>
                <a:cubicBezTo>
                  <a:pt x="1412" y="1103"/>
                  <a:pt x="1412" y="1103"/>
                  <a:pt x="1412" y="1103"/>
                </a:cubicBezTo>
                <a:cubicBezTo>
                  <a:pt x="1408" y="1103"/>
                  <a:pt x="1408" y="1103"/>
                  <a:pt x="1408" y="1103"/>
                </a:cubicBezTo>
                <a:cubicBezTo>
                  <a:pt x="1406" y="1104"/>
                  <a:pt x="1404" y="1106"/>
                  <a:pt x="1402" y="1107"/>
                </a:cubicBezTo>
                <a:cubicBezTo>
                  <a:pt x="1401" y="1108"/>
                  <a:pt x="1399" y="1109"/>
                  <a:pt x="1397" y="1109"/>
                </a:cubicBezTo>
                <a:cubicBezTo>
                  <a:pt x="1395" y="1110"/>
                  <a:pt x="1393" y="1111"/>
                  <a:pt x="1391" y="1112"/>
                </a:cubicBezTo>
                <a:cubicBezTo>
                  <a:pt x="1390" y="1112"/>
                  <a:pt x="1388" y="1113"/>
                  <a:pt x="1386" y="1114"/>
                </a:cubicBezTo>
                <a:cubicBezTo>
                  <a:pt x="1386" y="1114"/>
                  <a:pt x="1386" y="1114"/>
                  <a:pt x="1386" y="1124"/>
                </a:cubicBezTo>
                <a:cubicBezTo>
                  <a:pt x="1389" y="1123"/>
                  <a:pt x="1392" y="1122"/>
                  <a:pt x="1394" y="1121"/>
                </a:cubicBezTo>
                <a:cubicBezTo>
                  <a:pt x="1396" y="1120"/>
                  <a:pt x="1399" y="1119"/>
                  <a:pt x="1401" y="1117"/>
                </a:cubicBezTo>
                <a:cubicBezTo>
                  <a:pt x="1401" y="1117"/>
                  <a:pt x="1401" y="1117"/>
                  <a:pt x="1401" y="1176"/>
                </a:cubicBezTo>
                <a:cubicBezTo>
                  <a:pt x="1401" y="1176"/>
                  <a:pt x="1401" y="1176"/>
                  <a:pt x="1412" y="1176"/>
                </a:cubicBezTo>
                <a:cubicBezTo>
                  <a:pt x="1412" y="1176"/>
                  <a:pt x="1412" y="1176"/>
                  <a:pt x="1412" y="1103"/>
                </a:cubicBezTo>
                <a:close/>
                <a:moveTo>
                  <a:pt x="47" y="1102"/>
                </a:moveTo>
                <a:cubicBezTo>
                  <a:pt x="47" y="1102"/>
                  <a:pt x="47" y="1102"/>
                  <a:pt x="47" y="1102"/>
                </a:cubicBezTo>
                <a:cubicBezTo>
                  <a:pt x="42" y="1102"/>
                  <a:pt x="42" y="1102"/>
                  <a:pt x="42" y="1102"/>
                </a:cubicBezTo>
                <a:cubicBezTo>
                  <a:pt x="40" y="1103"/>
                  <a:pt x="38" y="1105"/>
                  <a:pt x="36" y="1106"/>
                </a:cubicBezTo>
                <a:cubicBezTo>
                  <a:pt x="35" y="1107"/>
                  <a:pt x="32" y="1108"/>
                  <a:pt x="31" y="1109"/>
                </a:cubicBezTo>
                <a:cubicBezTo>
                  <a:pt x="29" y="1110"/>
                  <a:pt x="27" y="1111"/>
                  <a:pt x="26" y="1111"/>
                </a:cubicBezTo>
                <a:cubicBezTo>
                  <a:pt x="24" y="1112"/>
                  <a:pt x="22" y="1113"/>
                  <a:pt x="20" y="1113"/>
                </a:cubicBezTo>
                <a:cubicBezTo>
                  <a:pt x="20" y="1113"/>
                  <a:pt x="20" y="1113"/>
                  <a:pt x="20" y="1123"/>
                </a:cubicBezTo>
                <a:cubicBezTo>
                  <a:pt x="23" y="1122"/>
                  <a:pt x="26" y="1122"/>
                  <a:pt x="28" y="1120"/>
                </a:cubicBezTo>
                <a:cubicBezTo>
                  <a:pt x="31" y="1119"/>
                  <a:pt x="33" y="1118"/>
                  <a:pt x="35" y="1117"/>
                </a:cubicBezTo>
                <a:cubicBezTo>
                  <a:pt x="35" y="1117"/>
                  <a:pt x="35" y="1117"/>
                  <a:pt x="35" y="1175"/>
                </a:cubicBezTo>
                <a:cubicBezTo>
                  <a:pt x="35" y="1175"/>
                  <a:pt x="35" y="1175"/>
                  <a:pt x="47" y="1175"/>
                </a:cubicBezTo>
                <a:cubicBezTo>
                  <a:pt x="47" y="1175"/>
                  <a:pt x="47" y="1175"/>
                  <a:pt x="47" y="1102"/>
                </a:cubicBezTo>
                <a:close/>
                <a:moveTo>
                  <a:pt x="2026" y="2177"/>
                </a:moveTo>
                <a:cubicBezTo>
                  <a:pt x="2019" y="2177"/>
                  <a:pt x="2012" y="2174"/>
                  <a:pt x="2008" y="2168"/>
                </a:cubicBezTo>
                <a:cubicBezTo>
                  <a:pt x="2004" y="2162"/>
                  <a:pt x="2002" y="2153"/>
                  <a:pt x="2002" y="2141"/>
                </a:cubicBezTo>
                <a:cubicBezTo>
                  <a:pt x="2002" y="2128"/>
                  <a:pt x="2004" y="2118"/>
                  <a:pt x="2009" y="2112"/>
                </a:cubicBezTo>
                <a:cubicBezTo>
                  <a:pt x="2013" y="2105"/>
                  <a:pt x="2019" y="2101"/>
                  <a:pt x="2028" y="2101"/>
                </a:cubicBezTo>
                <a:cubicBezTo>
                  <a:pt x="2044" y="2101"/>
                  <a:pt x="2052" y="2114"/>
                  <a:pt x="2052" y="2139"/>
                </a:cubicBezTo>
                <a:cubicBezTo>
                  <a:pt x="2052" y="2152"/>
                  <a:pt x="2050" y="2161"/>
                  <a:pt x="2045" y="2168"/>
                </a:cubicBezTo>
                <a:cubicBezTo>
                  <a:pt x="2041" y="2174"/>
                  <a:pt x="2034" y="2177"/>
                  <a:pt x="2026" y="2177"/>
                </a:cubicBezTo>
                <a:close/>
                <a:moveTo>
                  <a:pt x="2027" y="2111"/>
                </a:moveTo>
                <a:cubicBezTo>
                  <a:pt x="2018" y="2111"/>
                  <a:pt x="2014" y="2121"/>
                  <a:pt x="2014" y="2141"/>
                </a:cubicBezTo>
                <a:cubicBezTo>
                  <a:pt x="2014" y="2159"/>
                  <a:pt x="2018" y="2168"/>
                  <a:pt x="2027" y="2168"/>
                </a:cubicBezTo>
                <a:cubicBezTo>
                  <a:pt x="2036" y="2168"/>
                  <a:pt x="2040" y="2159"/>
                  <a:pt x="2040" y="2140"/>
                </a:cubicBezTo>
                <a:cubicBezTo>
                  <a:pt x="2040" y="2120"/>
                  <a:pt x="2036" y="2111"/>
                  <a:pt x="2027" y="2111"/>
                </a:cubicBezTo>
                <a:close/>
                <a:moveTo>
                  <a:pt x="2100" y="2104"/>
                </a:moveTo>
                <a:cubicBezTo>
                  <a:pt x="2100" y="2104"/>
                  <a:pt x="2100" y="2104"/>
                  <a:pt x="2100" y="2104"/>
                </a:cubicBezTo>
                <a:cubicBezTo>
                  <a:pt x="2095" y="2104"/>
                  <a:pt x="2095" y="2104"/>
                  <a:pt x="2095" y="2104"/>
                </a:cubicBezTo>
                <a:cubicBezTo>
                  <a:pt x="2093" y="2105"/>
                  <a:pt x="2091" y="2107"/>
                  <a:pt x="2089" y="2107"/>
                </a:cubicBezTo>
                <a:cubicBezTo>
                  <a:pt x="2088" y="2109"/>
                  <a:pt x="2085" y="2110"/>
                  <a:pt x="2084" y="2110"/>
                </a:cubicBezTo>
                <a:cubicBezTo>
                  <a:pt x="2082" y="2111"/>
                  <a:pt x="2080" y="2112"/>
                  <a:pt x="2079" y="2112"/>
                </a:cubicBezTo>
                <a:cubicBezTo>
                  <a:pt x="2077" y="2113"/>
                  <a:pt x="2075" y="2114"/>
                  <a:pt x="2073" y="2115"/>
                </a:cubicBezTo>
                <a:cubicBezTo>
                  <a:pt x="2073" y="2115"/>
                  <a:pt x="2073" y="2115"/>
                  <a:pt x="2073" y="2125"/>
                </a:cubicBezTo>
                <a:cubicBezTo>
                  <a:pt x="2076" y="2124"/>
                  <a:pt x="2079" y="2123"/>
                  <a:pt x="2081" y="2122"/>
                </a:cubicBezTo>
                <a:cubicBezTo>
                  <a:pt x="2084" y="2121"/>
                  <a:pt x="2086" y="2120"/>
                  <a:pt x="2088" y="2118"/>
                </a:cubicBezTo>
                <a:cubicBezTo>
                  <a:pt x="2088" y="2118"/>
                  <a:pt x="2088" y="2118"/>
                  <a:pt x="2088" y="2177"/>
                </a:cubicBezTo>
                <a:cubicBezTo>
                  <a:pt x="2088" y="2177"/>
                  <a:pt x="2088" y="2177"/>
                  <a:pt x="2100" y="2177"/>
                </a:cubicBezTo>
                <a:cubicBezTo>
                  <a:pt x="2100" y="2177"/>
                  <a:pt x="2100" y="2177"/>
                  <a:pt x="2100" y="2104"/>
                </a:cubicBezTo>
                <a:close/>
                <a:moveTo>
                  <a:pt x="2147" y="2104"/>
                </a:moveTo>
                <a:cubicBezTo>
                  <a:pt x="2147" y="2104"/>
                  <a:pt x="2147" y="2104"/>
                  <a:pt x="2147" y="2104"/>
                </a:cubicBezTo>
                <a:cubicBezTo>
                  <a:pt x="2142" y="2104"/>
                  <a:pt x="2142" y="2104"/>
                  <a:pt x="2142" y="2104"/>
                </a:cubicBezTo>
                <a:cubicBezTo>
                  <a:pt x="2140" y="2105"/>
                  <a:pt x="2138" y="2107"/>
                  <a:pt x="2136" y="2107"/>
                </a:cubicBezTo>
                <a:cubicBezTo>
                  <a:pt x="2135" y="2109"/>
                  <a:pt x="2133" y="2110"/>
                  <a:pt x="2131" y="2110"/>
                </a:cubicBezTo>
                <a:cubicBezTo>
                  <a:pt x="2130" y="2112"/>
                  <a:pt x="2128" y="2112"/>
                  <a:pt x="2126" y="2113"/>
                </a:cubicBezTo>
                <a:cubicBezTo>
                  <a:pt x="2124" y="2114"/>
                  <a:pt x="2123" y="2115"/>
                  <a:pt x="2120" y="2115"/>
                </a:cubicBezTo>
                <a:cubicBezTo>
                  <a:pt x="2120" y="2115"/>
                  <a:pt x="2120" y="2115"/>
                  <a:pt x="2120" y="2125"/>
                </a:cubicBezTo>
                <a:cubicBezTo>
                  <a:pt x="2123" y="2124"/>
                  <a:pt x="2126" y="2123"/>
                  <a:pt x="2128" y="2122"/>
                </a:cubicBezTo>
                <a:cubicBezTo>
                  <a:pt x="2131" y="2121"/>
                  <a:pt x="2133" y="2120"/>
                  <a:pt x="2135" y="2118"/>
                </a:cubicBezTo>
                <a:cubicBezTo>
                  <a:pt x="2135" y="2118"/>
                  <a:pt x="2135" y="2118"/>
                  <a:pt x="2135" y="2177"/>
                </a:cubicBezTo>
                <a:cubicBezTo>
                  <a:pt x="2135" y="2177"/>
                  <a:pt x="2135" y="2177"/>
                  <a:pt x="2147" y="2177"/>
                </a:cubicBezTo>
                <a:cubicBezTo>
                  <a:pt x="2147" y="2177"/>
                  <a:pt x="2147" y="2177"/>
                  <a:pt x="2147" y="2104"/>
                </a:cubicBezTo>
                <a:close/>
                <a:moveTo>
                  <a:pt x="2193" y="2104"/>
                </a:moveTo>
                <a:cubicBezTo>
                  <a:pt x="2193" y="2104"/>
                  <a:pt x="2193" y="2104"/>
                  <a:pt x="2193" y="2104"/>
                </a:cubicBezTo>
                <a:cubicBezTo>
                  <a:pt x="2189" y="2104"/>
                  <a:pt x="2189" y="2104"/>
                  <a:pt x="2189" y="2104"/>
                </a:cubicBezTo>
                <a:cubicBezTo>
                  <a:pt x="2187" y="2105"/>
                  <a:pt x="2186" y="2107"/>
                  <a:pt x="2183" y="2107"/>
                </a:cubicBezTo>
                <a:cubicBezTo>
                  <a:pt x="2182" y="2109"/>
                  <a:pt x="2180" y="2110"/>
                  <a:pt x="2178" y="2110"/>
                </a:cubicBezTo>
                <a:cubicBezTo>
                  <a:pt x="2176" y="2112"/>
                  <a:pt x="2175" y="2112"/>
                  <a:pt x="2173" y="2113"/>
                </a:cubicBezTo>
                <a:cubicBezTo>
                  <a:pt x="2171" y="2114"/>
                  <a:pt x="2169" y="2115"/>
                  <a:pt x="2168" y="2115"/>
                </a:cubicBezTo>
                <a:cubicBezTo>
                  <a:pt x="2168" y="2115"/>
                  <a:pt x="2168" y="2115"/>
                  <a:pt x="2168" y="2125"/>
                </a:cubicBezTo>
                <a:cubicBezTo>
                  <a:pt x="2170" y="2124"/>
                  <a:pt x="2173" y="2123"/>
                  <a:pt x="2175" y="2122"/>
                </a:cubicBezTo>
                <a:cubicBezTo>
                  <a:pt x="2178" y="2121"/>
                  <a:pt x="2180" y="2120"/>
                  <a:pt x="2182" y="2118"/>
                </a:cubicBezTo>
                <a:cubicBezTo>
                  <a:pt x="2182" y="2118"/>
                  <a:pt x="2182" y="2118"/>
                  <a:pt x="2182" y="2177"/>
                </a:cubicBezTo>
                <a:cubicBezTo>
                  <a:pt x="2182" y="2177"/>
                  <a:pt x="2182" y="2177"/>
                  <a:pt x="2193" y="2177"/>
                </a:cubicBezTo>
                <a:cubicBezTo>
                  <a:pt x="2193" y="2177"/>
                  <a:pt x="2193" y="2177"/>
                  <a:pt x="2193" y="2104"/>
                </a:cubicBezTo>
                <a:close/>
                <a:moveTo>
                  <a:pt x="2241" y="2104"/>
                </a:moveTo>
                <a:cubicBezTo>
                  <a:pt x="2241" y="2104"/>
                  <a:pt x="2241" y="2104"/>
                  <a:pt x="2241" y="2104"/>
                </a:cubicBezTo>
                <a:cubicBezTo>
                  <a:pt x="2236" y="2104"/>
                  <a:pt x="2236" y="2104"/>
                  <a:pt x="2236" y="2104"/>
                </a:cubicBezTo>
                <a:cubicBezTo>
                  <a:pt x="2234" y="2105"/>
                  <a:pt x="2232" y="2107"/>
                  <a:pt x="2230" y="2107"/>
                </a:cubicBezTo>
                <a:cubicBezTo>
                  <a:pt x="2228" y="2109"/>
                  <a:pt x="2227" y="2110"/>
                  <a:pt x="2225" y="2110"/>
                </a:cubicBezTo>
                <a:cubicBezTo>
                  <a:pt x="2223" y="2112"/>
                  <a:pt x="2221" y="2112"/>
                  <a:pt x="2220" y="2113"/>
                </a:cubicBezTo>
                <a:cubicBezTo>
                  <a:pt x="2217" y="2114"/>
                  <a:pt x="2216" y="2115"/>
                  <a:pt x="2214" y="2115"/>
                </a:cubicBezTo>
                <a:cubicBezTo>
                  <a:pt x="2214" y="2115"/>
                  <a:pt x="2214" y="2115"/>
                  <a:pt x="2214" y="2125"/>
                </a:cubicBezTo>
                <a:cubicBezTo>
                  <a:pt x="2217" y="2124"/>
                  <a:pt x="2220" y="2123"/>
                  <a:pt x="2222" y="2122"/>
                </a:cubicBezTo>
                <a:cubicBezTo>
                  <a:pt x="2225" y="2121"/>
                  <a:pt x="2227" y="2120"/>
                  <a:pt x="2229" y="2118"/>
                </a:cubicBezTo>
                <a:cubicBezTo>
                  <a:pt x="2229" y="2118"/>
                  <a:pt x="2229" y="2118"/>
                  <a:pt x="2229" y="2177"/>
                </a:cubicBezTo>
                <a:cubicBezTo>
                  <a:pt x="2229" y="2177"/>
                  <a:pt x="2229" y="2177"/>
                  <a:pt x="2241" y="2177"/>
                </a:cubicBezTo>
                <a:cubicBezTo>
                  <a:pt x="2241" y="2177"/>
                  <a:pt x="2241" y="2177"/>
                  <a:pt x="2241" y="2104"/>
                </a:cubicBezTo>
                <a:close/>
                <a:moveTo>
                  <a:pt x="2364" y="2104"/>
                </a:moveTo>
                <a:cubicBezTo>
                  <a:pt x="2364" y="2104"/>
                  <a:pt x="2364" y="2104"/>
                  <a:pt x="2364" y="2104"/>
                </a:cubicBezTo>
                <a:cubicBezTo>
                  <a:pt x="2359" y="2104"/>
                  <a:pt x="2359" y="2104"/>
                  <a:pt x="2359" y="2104"/>
                </a:cubicBezTo>
                <a:cubicBezTo>
                  <a:pt x="2357" y="2105"/>
                  <a:pt x="2355" y="2107"/>
                  <a:pt x="2353" y="2107"/>
                </a:cubicBezTo>
                <a:cubicBezTo>
                  <a:pt x="2352" y="2109"/>
                  <a:pt x="2350" y="2110"/>
                  <a:pt x="2348" y="2110"/>
                </a:cubicBezTo>
                <a:cubicBezTo>
                  <a:pt x="2346" y="2112"/>
                  <a:pt x="2344" y="2112"/>
                  <a:pt x="2343" y="2113"/>
                </a:cubicBezTo>
                <a:cubicBezTo>
                  <a:pt x="2341" y="2114"/>
                  <a:pt x="2339" y="2115"/>
                  <a:pt x="2337" y="2115"/>
                </a:cubicBezTo>
                <a:cubicBezTo>
                  <a:pt x="2337" y="2115"/>
                  <a:pt x="2337" y="2115"/>
                  <a:pt x="2337" y="2125"/>
                </a:cubicBezTo>
                <a:cubicBezTo>
                  <a:pt x="2340" y="2124"/>
                  <a:pt x="2343" y="2123"/>
                  <a:pt x="2346" y="2122"/>
                </a:cubicBezTo>
                <a:cubicBezTo>
                  <a:pt x="2348" y="2121"/>
                  <a:pt x="2350" y="2120"/>
                  <a:pt x="2352" y="2118"/>
                </a:cubicBezTo>
                <a:cubicBezTo>
                  <a:pt x="2352" y="2118"/>
                  <a:pt x="2352" y="2118"/>
                  <a:pt x="2352" y="2177"/>
                </a:cubicBezTo>
                <a:cubicBezTo>
                  <a:pt x="2352" y="2177"/>
                  <a:pt x="2352" y="2177"/>
                  <a:pt x="2364" y="2177"/>
                </a:cubicBezTo>
                <a:cubicBezTo>
                  <a:pt x="2364" y="2177"/>
                  <a:pt x="2364" y="2177"/>
                  <a:pt x="2364" y="2104"/>
                </a:cubicBezTo>
                <a:close/>
                <a:moveTo>
                  <a:pt x="2411" y="2104"/>
                </a:moveTo>
                <a:cubicBezTo>
                  <a:pt x="2411" y="2104"/>
                  <a:pt x="2411" y="2104"/>
                  <a:pt x="2411" y="2104"/>
                </a:cubicBezTo>
                <a:cubicBezTo>
                  <a:pt x="2406" y="2104"/>
                  <a:pt x="2406" y="2104"/>
                  <a:pt x="2406" y="2104"/>
                </a:cubicBezTo>
                <a:cubicBezTo>
                  <a:pt x="2404" y="2105"/>
                  <a:pt x="2403" y="2107"/>
                  <a:pt x="2400" y="2107"/>
                </a:cubicBezTo>
                <a:cubicBezTo>
                  <a:pt x="2399" y="2109"/>
                  <a:pt x="2397" y="2110"/>
                  <a:pt x="2395" y="2110"/>
                </a:cubicBezTo>
                <a:cubicBezTo>
                  <a:pt x="2394" y="2112"/>
                  <a:pt x="2392" y="2112"/>
                  <a:pt x="2390" y="2113"/>
                </a:cubicBezTo>
                <a:cubicBezTo>
                  <a:pt x="2388" y="2114"/>
                  <a:pt x="2387" y="2115"/>
                  <a:pt x="2384" y="2115"/>
                </a:cubicBezTo>
                <a:cubicBezTo>
                  <a:pt x="2384" y="2115"/>
                  <a:pt x="2384" y="2115"/>
                  <a:pt x="2384" y="2125"/>
                </a:cubicBezTo>
                <a:cubicBezTo>
                  <a:pt x="2387" y="2124"/>
                  <a:pt x="2390" y="2123"/>
                  <a:pt x="2392" y="2122"/>
                </a:cubicBezTo>
                <a:cubicBezTo>
                  <a:pt x="2395" y="2121"/>
                  <a:pt x="2398" y="2120"/>
                  <a:pt x="2400" y="2118"/>
                </a:cubicBezTo>
                <a:cubicBezTo>
                  <a:pt x="2400" y="2118"/>
                  <a:pt x="2400" y="2118"/>
                  <a:pt x="2400" y="2177"/>
                </a:cubicBezTo>
                <a:cubicBezTo>
                  <a:pt x="2400" y="2177"/>
                  <a:pt x="2400" y="2177"/>
                  <a:pt x="2411" y="2177"/>
                </a:cubicBezTo>
                <a:cubicBezTo>
                  <a:pt x="2411" y="2177"/>
                  <a:pt x="2411" y="2177"/>
                  <a:pt x="2411" y="2104"/>
                </a:cubicBezTo>
                <a:close/>
                <a:moveTo>
                  <a:pt x="2459" y="2104"/>
                </a:moveTo>
                <a:cubicBezTo>
                  <a:pt x="2459" y="2104"/>
                  <a:pt x="2459" y="2104"/>
                  <a:pt x="2459" y="2104"/>
                </a:cubicBezTo>
                <a:cubicBezTo>
                  <a:pt x="2454" y="2104"/>
                  <a:pt x="2454" y="2104"/>
                  <a:pt x="2454" y="2104"/>
                </a:cubicBezTo>
                <a:cubicBezTo>
                  <a:pt x="2452" y="2105"/>
                  <a:pt x="2450" y="2107"/>
                  <a:pt x="2449" y="2107"/>
                </a:cubicBezTo>
                <a:cubicBezTo>
                  <a:pt x="2447" y="2109"/>
                  <a:pt x="2445" y="2110"/>
                  <a:pt x="2443" y="2110"/>
                </a:cubicBezTo>
                <a:cubicBezTo>
                  <a:pt x="2441" y="2112"/>
                  <a:pt x="2439" y="2112"/>
                  <a:pt x="2438" y="2113"/>
                </a:cubicBezTo>
                <a:cubicBezTo>
                  <a:pt x="2436" y="2114"/>
                  <a:pt x="2434" y="2115"/>
                  <a:pt x="2432" y="2115"/>
                </a:cubicBezTo>
                <a:cubicBezTo>
                  <a:pt x="2432" y="2115"/>
                  <a:pt x="2432" y="2115"/>
                  <a:pt x="2432" y="2125"/>
                </a:cubicBezTo>
                <a:cubicBezTo>
                  <a:pt x="2435" y="2124"/>
                  <a:pt x="2438" y="2123"/>
                  <a:pt x="2441" y="2122"/>
                </a:cubicBezTo>
                <a:cubicBezTo>
                  <a:pt x="2443" y="2121"/>
                  <a:pt x="2445" y="2120"/>
                  <a:pt x="2447" y="2118"/>
                </a:cubicBezTo>
                <a:cubicBezTo>
                  <a:pt x="2447" y="2118"/>
                  <a:pt x="2447" y="2118"/>
                  <a:pt x="2447" y="2177"/>
                </a:cubicBezTo>
                <a:cubicBezTo>
                  <a:pt x="2447" y="2177"/>
                  <a:pt x="2447" y="2177"/>
                  <a:pt x="2459" y="2177"/>
                </a:cubicBezTo>
                <a:cubicBezTo>
                  <a:pt x="2459" y="2177"/>
                  <a:pt x="2459" y="2177"/>
                  <a:pt x="2459" y="2104"/>
                </a:cubicBezTo>
                <a:close/>
                <a:moveTo>
                  <a:pt x="2505" y="2104"/>
                </a:moveTo>
                <a:cubicBezTo>
                  <a:pt x="2505" y="2104"/>
                  <a:pt x="2505" y="2104"/>
                  <a:pt x="2505" y="2104"/>
                </a:cubicBezTo>
                <a:cubicBezTo>
                  <a:pt x="2501" y="2104"/>
                  <a:pt x="2501" y="2104"/>
                  <a:pt x="2501" y="2104"/>
                </a:cubicBezTo>
                <a:cubicBezTo>
                  <a:pt x="2499" y="2105"/>
                  <a:pt x="2498" y="2107"/>
                  <a:pt x="2495" y="2107"/>
                </a:cubicBezTo>
                <a:cubicBezTo>
                  <a:pt x="2494" y="2109"/>
                  <a:pt x="2492" y="2110"/>
                  <a:pt x="2490" y="2110"/>
                </a:cubicBezTo>
                <a:cubicBezTo>
                  <a:pt x="2488" y="2111"/>
                  <a:pt x="2487" y="2112"/>
                  <a:pt x="2485" y="2112"/>
                </a:cubicBezTo>
                <a:cubicBezTo>
                  <a:pt x="2483" y="2113"/>
                  <a:pt x="2481" y="2114"/>
                  <a:pt x="2480" y="2115"/>
                </a:cubicBezTo>
                <a:cubicBezTo>
                  <a:pt x="2480" y="2115"/>
                  <a:pt x="2480" y="2115"/>
                  <a:pt x="2480" y="2125"/>
                </a:cubicBezTo>
                <a:cubicBezTo>
                  <a:pt x="2482" y="2124"/>
                  <a:pt x="2485" y="2123"/>
                  <a:pt x="2487" y="2122"/>
                </a:cubicBezTo>
                <a:cubicBezTo>
                  <a:pt x="2490" y="2121"/>
                  <a:pt x="2492" y="2120"/>
                  <a:pt x="2494" y="2118"/>
                </a:cubicBezTo>
                <a:cubicBezTo>
                  <a:pt x="2494" y="2118"/>
                  <a:pt x="2494" y="2118"/>
                  <a:pt x="2494" y="2177"/>
                </a:cubicBezTo>
                <a:cubicBezTo>
                  <a:pt x="2494" y="2177"/>
                  <a:pt x="2494" y="2177"/>
                  <a:pt x="2505" y="2177"/>
                </a:cubicBezTo>
                <a:cubicBezTo>
                  <a:pt x="2505" y="2177"/>
                  <a:pt x="2505" y="2177"/>
                  <a:pt x="2505" y="2104"/>
                </a:cubicBezTo>
                <a:close/>
                <a:moveTo>
                  <a:pt x="2262" y="2136"/>
                </a:moveTo>
                <a:cubicBezTo>
                  <a:pt x="2262" y="2136"/>
                  <a:pt x="2262" y="2136"/>
                  <a:pt x="2262" y="2136"/>
                </a:cubicBezTo>
                <a:cubicBezTo>
                  <a:pt x="2261" y="2144"/>
                  <a:pt x="2261" y="2144"/>
                  <a:pt x="2261" y="2144"/>
                </a:cubicBezTo>
                <a:cubicBezTo>
                  <a:pt x="2268" y="2145"/>
                  <a:pt x="2268" y="2148"/>
                  <a:pt x="2268" y="2150"/>
                </a:cubicBezTo>
                <a:cubicBezTo>
                  <a:pt x="2268" y="2152"/>
                  <a:pt x="2268" y="2155"/>
                  <a:pt x="2268" y="2157"/>
                </a:cubicBezTo>
                <a:cubicBezTo>
                  <a:pt x="2268" y="2160"/>
                  <a:pt x="2267" y="2162"/>
                  <a:pt x="2267" y="2164"/>
                </a:cubicBezTo>
                <a:cubicBezTo>
                  <a:pt x="2267" y="2174"/>
                  <a:pt x="2273" y="2177"/>
                  <a:pt x="2282" y="2177"/>
                </a:cubicBezTo>
                <a:cubicBezTo>
                  <a:pt x="2282" y="2177"/>
                  <a:pt x="2282" y="2177"/>
                  <a:pt x="2286" y="2177"/>
                </a:cubicBezTo>
                <a:cubicBezTo>
                  <a:pt x="2286" y="2177"/>
                  <a:pt x="2286" y="2177"/>
                  <a:pt x="2286" y="2168"/>
                </a:cubicBezTo>
                <a:cubicBezTo>
                  <a:pt x="2286" y="2168"/>
                  <a:pt x="2286" y="2168"/>
                  <a:pt x="2284" y="2168"/>
                </a:cubicBezTo>
                <a:cubicBezTo>
                  <a:pt x="2280" y="2168"/>
                  <a:pt x="2279" y="2166"/>
                  <a:pt x="2279" y="2162"/>
                </a:cubicBezTo>
                <a:cubicBezTo>
                  <a:pt x="2279" y="2161"/>
                  <a:pt x="2279" y="2159"/>
                  <a:pt x="2280" y="2157"/>
                </a:cubicBezTo>
                <a:cubicBezTo>
                  <a:pt x="2280" y="2156"/>
                  <a:pt x="2280" y="2154"/>
                  <a:pt x="2280" y="2151"/>
                </a:cubicBezTo>
                <a:cubicBezTo>
                  <a:pt x="2280" y="2144"/>
                  <a:pt x="2277" y="2141"/>
                  <a:pt x="2271" y="2140"/>
                </a:cubicBezTo>
                <a:cubicBezTo>
                  <a:pt x="2271" y="2140"/>
                  <a:pt x="2271" y="2140"/>
                  <a:pt x="2271" y="2140"/>
                </a:cubicBezTo>
                <a:cubicBezTo>
                  <a:pt x="2277" y="2139"/>
                  <a:pt x="2280" y="2136"/>
                  <a:pt x="2280" y="2129"/>
                </a:cubicBezTo>
                <a:cubicBezTo>
                  <a:pt x="2280" y="2126"/>
                  <a:pt x="2280" y="2124"/>
                  <a:pt x="2280" y="2123"/>
                </a:cubicBezTo>
                <a:cubicBezTo>
                  <a:pt x="2279" y="2121"/>
                  <a:pt x="2279" y="2119"/>
                  <a:pt x="2279" y="2118"/>
                </a:cubicBezTo>
                <a:cubicBezTo>
                  <a:pt x="2279" y="2114"/>
                  <a:pt x="2280" y="2112"/>
                  <a:pt x="2284" y="2112"/>
                </a:cubicBezTo>
                <a:cubicBezTo>
                  <a:pt x="2284" y="2112"/>
                  <a:pt x="2284" y="2112"/>
                  <a:pt x="2286" y="2112"/>
                </a:cubicBezTo>
                <a:cubicBezTo>
                  <a:pt x="2286" y="2112"/>
                  <a:pt x="2286" y="2112"/>
                  <a:pt x="2286" y="2103"/>
                </a:cubicBezTo>
                <a:cubicBezTo>
                  <a:pt x="2286" y="2103"/>
                  <a:pt x="2286" y="2103"/>
                  <a:pt x="2282" y="2103"/>
                </a:cubicBezTo>
                <a:cubicBezTo>
                  <a:pt x="2273" y="2103"/>
                  <a:pt x="2267" y="2107"/>
                  <a:pt x="2267" y="2115"/>
                </a:cubicBezTo>
                <a:cubicBezTo>
                  <a:pt x="2267" y="2118"/>
                  <a:pt x="2268" y="2120"/>
                  <a:pt x="2268" y="2123"/>
                </a:cubicBezTo>
                <a:cubicBezTo>
                  <a:pt x="2268" y="2125"/>
                  <a:pt x="2268" y="2128"/>
                  <a:pt x="2268" y="2130"/>
                </a:cubicBezTo>
                <a:cubicBezTo>
                  <a:pt x="2268" y="2132"/>
                  <a:pt x="2268" y="2136"/>
                  <a:pt x="2262" y="2136"/>
                </a:cubicBezTo>
                <a:close/>
                <a:moveTo>
                  <a:pt x="2316" y="2144"/>
                </a:moveTo>
                <a:cubicBezTo>
                  <a:pt x="2316" y="2144"/>
                  <a:pt x="2316" y="2144"/>
                  <a:pt x="2316" y="2144"/>
                </a:cubicBezTo>
                <a:cubicBezTo>
                  <a:pt x="2316" y="2136"/>
                  <a:pt x="2316" y="2136"/>
                  <a:pt x="2316" y="2136"/>
                </a:cubicBezTo>
                <a:cubicBezTo>
                  <a:pt x="2310" y="2136"/>
                  <a:pt x="2310" y="2132"/>
                  <a:pt x="2310" y="2130"/>
                </a:cubicBezTo>
                <a:cubicBezTo>
                  <a:pt x="2310" y="2128"/>
                  <a:pt x="2310" y="2125"/>
                  <a:pt x="2310" y="2123"/>
                </a:cubicBezTo>
                <a:cubicBezTo>
                  <a:pt x="2310" y="2120"/>
                  <a:pt x="2310" y="2118"/>
                  <a:pt x="2310" y="2115"/>
                </a:cubicBezTo>
                <a:cubicBezTo>
                  <a:pt x="2310" y="2107"/>
                  <a:pt x="2305" y="2103"/>
                  <a:pt x="2296" y="2103"/>
                </a:cubicBezTo>
                <a:cubicBezTo>
                  <a:pt x="2296" y="2103"/>
                  <a:pt x="2296" y="2103"/>
                  <a:pt x="2292" y="2103"/>
                </a:cubicBezTo>
                <a:cubicBezTo>
                  <a:pt x="2292" y="2103"/>
                  <a:pt x="2292" y="2103"/>
                  <a:pt x="2292" y="2112"/>
                </a:cubicBezTo>
                <a:cubicBezTo>
                  <a:pt x="2292" y="2112"/>
                  <a:pt x="2292" y="2112"/>
                  <a:pt x="2294" y="2112"/>
                </a:cubicBezTo>
                <a:cubicBezTo>
                  <a:pt x="2298" y="2112"/>
                  <a:pt x="2299" y="2114"/>
                  <a:pt x="2299" y="2118"/>
                </a:cubicBezTo>
                <a:cubicBezTo>
                  <a:pt x="2299" y="2119"/>
                  <a:pt x="2299" y="2121"/>
                  <a:pt x="2299" y="2123"/>
                </a:cubicBezTo>
                <a:cubicBezTo>
                  <a:pt x="2298" y="2124"/>
                  <a:pt x="2298" y="2126"/>
                  <a:pt x="2298" y="2129"/>
                </a:cubicBezTo>
                <a:cubicBezTo>
                  <a:pt x="2298" y="2136"/>
                  <a:pt x="2301" y="2139"/>
                  <a:pt x="2307" y="2140"/>
                </a:cubicBezTo>
                <a:cubicBezTo>
                  <a:pt x="2307" y="2140"/>
                  <a:pt x="2307" y="2140"/>
                  <a:pt x="2307" y="2140"/>
                </a:cubicBezTo>
                <a:cubicBezTo>
                  <a:pt x="2301" y="2141"/>
                  <a:pt x="2298" y="2144"/>
                  <a:pt x="2298" y="2151"/>
                </a:cubicBezTo>
                <a:cubicBezTo>
                  <a:pt x="2298" y="2154"/>
                  <a:pt x="2298" y="2156"/>
                  <a:pt x="2299" y="2157"/>
                </a:cubicBezTo>
                <a:cubicBezTo>
                  <a:pt x="2299" y="2159"/>
                  <a:pt x="2299" y="2161"/>
                  <a:pt x="2299" y="2162"/>
                </a:cubicBezTo>
                <a:cubicBezTo>
                  <a:pt x="2299" y="2166"/>
                  <a:pt x="2298" y="2168"/>
                  <a:pt x="2294" y="2168"/>
                </a:cubicBezTo>
                <a:cubicBezTo>
                  <a:pt x="2294" y="2168"/>
                  <a:pt x="2294" y="2168"/>
                  <a:pt x="2292" y="2168"/>
                </a:cubicBezTo>
                <a:cubicBezTo>
                  <a:pt x="2292" y="2168"/>
                  <a:pt x="2292" y="2168"/>
                  <a:pt x="2292" y="2177"/>
                </a:cubicBezTo>
                <a:cubicBezTo>
                  <a:pt x="2292" y="2177"/>
                  <a:pt x="2292" y="2177"/>
                  <a:pt x="2296" y="2177"/>
                </a:cubicBezTo>
                <a:cubicBezTo>
                  <a:pt x="2305" y="2177"/>
                  <a:pt x="2310" y="2174"/>
                  <a:pt x="2310" y="2164"/>
                </a:cubicBezTo>
                <a:cubicBezTo>
                  <a:pt x="2310" y="2162"/>
                  <a:pt x="2310" y="2160"/>
                  <a:pt x="2310" y="2157"/>
                </a:cubicBezTo>
                <a:cubicBezTo>
                  <a:pt x="2310" y="2155"/>
                  <a:pt x="2310" y="2152"/>
                  <a:pt x="2310" y="2150"/>
                </a:cubicBezTo>
                <a:cubicBezTo>
                  <a:pt x="2310" y="2148"/>
                  <a:pt x="2310" y="2145"/>
                  <a:pt x="2316" y="2144"/>
                </a:cubicBezTo>
                <a:close/>
                <a:moveTo>
                  <a:pt x="2644" y="2136"/>
                </a:moveTo>
                <a:cubicBezTo>
                  <a:pt x="2644" y="2136"/>
                  <a:pt x="2644" y="2136"/>
                  <a:pt x="2644" y="2136"/>
                </a:cubicBezTo>
                <a:cubicBezTo>
                  <a:pt x="2643" y="2144"/>
                  <a:pt x="2643" y="2144"/>
                  <a:pt x="2643" y="2144"/>
                </a:cubicBezTo>
                <a:cubicBezTo>
                  <a:pt x="2649" y="2145"/>
                  <a:pt x="2650" y="2148"/>
                  <a:pt x="2650" y="2150"/>
                </a:cubicBezTo>
                <a:cubicBezTo>
                  <a:pt x="2650" y="2152"/>
                  <a:pt x="2650" y="2155"/>
                  <a:pt x="2650" y="2157"/>
                </a:cubicBezTo>
                <a:cubicBezTo>
                  <a:pt x="2649" y="2160"/>
                  <a:pt x="2649" y="2162"/>
                  <a:pt x="2649" y="2164"/>
                </a:cubicBezTo>
                <a:cubicBezTo>
                  <a:pt x="2649" y="2174"/>
                  <a:pt x="2655" y="2177"/>
                  <a:pt x="2664" y="2177"/>
                </a:cubicBezTo>
                <a:cubicBezTo>
                  <a:pt x="2664" y="2177"/>
                  <a:pt x="2664" y="2177"/>
                  <a:pt x="2667" y="2177"/>
                </a:cubicBezTo>
                <a:cubicBezTo>
                  <a:pt x="2667" y="2177"/>
                  <a:pt x="2667" y="2177"/>
                  <a:pt x="2667" y="2168"/>
                </a:cubicBezTo>
                <a:cubicBezTo>
                  <a:pt x="2667" y="2168"/>
                  <a:pt x="2667" y="2168"/>
                  <a:pt x="2666" y="2168"/>
                </a:cubicBezTo>
                <a:cubicBezTo>
                  <a:pt x="2662" y="2168"/>
                  <a:pt x="2661" y="2166"/>
                  <a:pt x="2661" y="2162"/>
                </a:cubicBezTo>
                <a:cubicBezTo>
                  <a:pt x="2661" y="2161"/>
                  <a:pt x="2661" y="2159"/>
                  <a:pt x="2661" y="2157"/>
                </a:cubicBezTo>
                <a:cubicBezTo>
                  <a:pt x="2661" y="2156"/>
                  <a:pt x="2662" y="2154"/>
                  <a:pt x="2662" y="2151"/>
                </a:cubicBezTo>
                <a:cubicBezTo>
                  <a:pt x="2662" y="2144"/>
                  <a:pt x="2659" y="2141"/>
                  <a:pt x="2653" y="2140"/>
                </a:cubicBezTo>
                <a:cubicBezTo>
                  <a:pt x="2653" y="2140"/>
                  <a:pt x="2653" y="2140"/>
                  <a:pt x="2653" y="2140"/>
                </a:cubicBezTo>
                <a:cubicBezTo>
                  <a:pt x="2659" y="2139"/>
                  <a:pt x="2662" y="2136"/>
                  <a:pt x="2662" y="2129"/>
                </a:cubicBezTo>
                <a:cubicBezTo>
                  <a:pt x="2662" y="2126"/>
                  <a:pt x="2661" y="2124"/>
                  <a:pt x="2661" y="2123"/>
                </a:cubicBezTo>
                <a:cubicBezTo>
                  <a:pt x="2661" y="2121"/>
                  <a:pt x="2661" y="2119"/>
                  <a:pt x="2661" y="2118"/>
                </a:cubicBezTo>
                <a:cubicBezTo>
                  <a:pt x="2661" y="2114"/>
                  <a:pt x="2662" y="2112"/>
                  <a:pt x="2666" y="2112"/>
                </a:cubicBezTo>
                <a:cubicBezTo>
                  <a:pt x="2666" y="2112"/>
                  <a:pt x="2666" y="2112"/>
                  <a:pt x="2667" y="2112"/>
                </a:cubicBezTo>
                <a:cubicBezTo>
                  <a:pt x="2667" y="2112"/>
                  <a:pt x="2667" y="2112"/>
                  <a:pt x="2667" y="2103"/>
                </a:cubicBezTo>
                <a:cubicBezTo>
                  <a:pt x="2667" y="2103"/>
                  <a:pt x="2667" y="2103"/>
                  <a:pt x="2664" y="2103"/>
                </a:cubicBezTo>
                <a:cubicBezTo>
                  <a:pt x="2655" y="2103"/>
                  <a:pt x="2649" y="2107"/>
                  <a:pt x="2649" y="2115"/>
                </a:cubicBezTo>
                <a:cubicBezTo>
                  <a:pt x="2649" y="2118"/>
                  <a:pt x="2649" y="2120"/>
                  <a:pt x="2649" y="2123"/>
                </a:cubicBezTo>
                <a:cubicBezTo>
                  <a:pt x="2650" y="2125"/>
                  <a:pt x="2650" y="2128"/>
                  <a:pt x="2650" y="2130"/>
                </a:cubicBezTo>
                <a:cubicBezTo>
                  <a:pt x="2650" y="2132"/>
                  <a:pt x="2649" y="2136"/>
                  <a:pt x="2644" y="2136"/>
                </a:cubicBezTo>
                <a:close/>
                <a:moveTo>
                  <a:pt x="2698" y="2144"/>
                </a:moveTo>
                <a:cubicBezTo>
                  <a:pt x="2698" y="2144"/>
                  <a:pt x="2698" y="2144"/>
                  <a:pt x="2698" y="2144"/>
                </a:cubicBezTo>
                <a:cubicBezTo>
                  <a:pt x="2698" y="2136"/>
                  <a:pt x="2698" y="2136"/>
                  <a:pt x="2698" y="2136"/>
                </a:cubicBezTo>
                <a:cubicBezTo>
                  <a:pt x="2692" y="2136"/>
                  <a:pt x="2691" y="2132"/>
                  <a:pt x="2691" y="2130"/>
                </a:cubicBezTo>
                <a:cubicBezTo>
                  <a:pt x="2691" y="2128"/>
                  <a:pt x="2691" y="2125"/>
                  <a:pt x="2692" y="2123"/>
                </a:cubicBezTo>
                <a:cubicBezTo>
                  <a:pt x="2692" y="2120"/>
                  <a:pt x="2692" y="2118"/>
                  <a:pt x="2692" y="2115"/>
                </a:cubicBezTo>
                <a:cubicBezTo>
                  <a:pt x="2692" y="2107"/>
                  <a:pt x="2687" y="2103"/>
                  <a:pt x="2678" y="2103"/>
                </a:cubicBezTo>
                <a:cubicBezTo>
                  <a:pt x="2678" y="2103"/>
                  <a:pt x="2678" y="2103"/>
                  <a:pt x="2674" y="2103"/>
                </a:cubicBezTo>
                <a:cubicBezTo>
                  <a:pt x="2674" y="2103"/>
                  <a:pt x="2674" y="2103"/>
                  <a:pt x="2674" y="2112"/>
                </a:cubicBezTo>
                <a:cubicBezTo>
                  <a:pt x="2674" y="2112"/>
                  <a:pt x="2674" y="2112"/>
                  <a:pt x="2675" y="2112"/>
                </a:cubicBezTo>
                <a:cubicBezTo>
                  <a:pt x="2679" y="2112"/>
                  <a:pt x="2681" y="2114"/>
                  <a:pt x="2681" y="2118"/>
                </a:cubicBezTo>
                <a:cubicBezTo>
                  <a:pt x="2681" y="2119"/>
                  <a:pt x="2680" y="2121"/>
                  <a:pt x="2680" y="2123"/>
                </a:cubicBezTo>
                <a:cubicBezTo>
                  <a:pt x="2680" y="2124"/>
                  <a:pt x="2680" y="2126"/>
                  <a:pt x="2680" y="2129"/>
                </a:cubicBezTo>
                <a:cubicBezTo>
                  <a:pt x="2680" y="2136"/>
                  <a:pt x="2682" y="2139"/>
                  <a:pt x="2688" y="2140"/>
                </a:cubicBezTo>
                <a:cubicBezTo>
                  <a:pt x="2688" y="2140"/>
                  <a:pt x="2688" y="2140"/>
                  <a:pt x="2688" y="2140"/>
                </a:cubicBezTo>
                <a:cubicBezTo>
                  <a:pt x="2682" y="2141"/>
                  <a:pt x="2680" y="2144"/>
                  <a:pt x="2680" y="2151"/>
                </a:cubicBezTo>
                <a:cubicBezTo>
                  <a:pt x="2680" y="2154"/>
                  <a:pt x="2680" y="2156"/>
                  <a:pt x="2680" y="2157"/>
                </a:cubicBezTo>
                <a:cubicBezTo>
                  <a:pt x="2680" y="2159"/>
                  <a:pt x="2681" y="2161"/>
                  <a:pt x="2681" y="2162"/>
                </a:cubicBezTo>
                <a:cubicBezTo>
                  <a:pt x="2681" y="2166"/>
                  <a:pt x="2679" y="2168"/>
                  <a:pt x="2675" y="2168"/>
                </a:cubicBezTo>
                <a:cubicBezTo>
                  <a:pt x="2675" y="2168"/>
                  <a:pt x="2675" y="2168"/>
                  <a:pt x="2674" y="2168"/>
                </a:cubicBezTo>
                <a:cubicBezTo>
                  <a:pt x="2674" y="2168"/>
                  <a:pt x="2674" y="2168"/>
                  <a:pt x="2674" y="2177"/>
                </a:cubicBezTo>
                <a:cubicBezTo>
                  <a:pt x="2674" y="2177"/>
                  <a:pt x="2674" y="2177"/>
                  <a:pt x="2678" y="2177"/>
                </a:cubicBezTo>
                <a:cubicBezTo>
                  <a:pt x="2686" y="2177"/>
                  <a:pt x="2692" y="2174"/>
                  <a:pt x="2692" y="2164"/>
                </a:cubicBezTo>
                <a:cubicBezTo>
                  <a:pt x="2692" y="2162"/>
                  <a:pt x="2692" y="2160"/>
                  <a:pt x="2692" y="2157"/>
                </a:cubicBezTo>
                <a:cubicBezTo>
                  <a:pt x="2691" y="2155"/>
                  <a:pt x="2691" y="2152"/>
                  <a:pt x="2691" y="2150"/>
                </a:cubicBezTo>
                <a:cubicBezTo>
                  <a:pt x="2691" y="2148"/>
                  <a:pt x="2692" y="2145"/>
                  <a:pt x="2698" y="2144"/>
                </a:cubicBezTo>
                <a:close/>
                <a:moveTo>
                  <a:pt x="2745" y="2104"/>
                </a:moveTo>
                <a:cubicBezTo>
                  <a:pt x="2745" y="2104"/>
                  <a:pt x="2745" y="2104"/>
                  <a:pt x="2745" y="2104"/>
                </a:cubicBezTo>
                <a:cubicBezTo>
                  <a:pt x="2740" y="2104"/>
                  <a:pt x="2740" y="2104"/>
                  <a:pt x="2740" y="2104"/>
                </a:cubicBezTo>
                <a:cubicBezTo>
                  <a:pt x="2738" y="2105"/>
                  <a:pt x="2737" y="2107"/>
                  <a:pt x="2735" y="2107"/>
                </a:cubicBezTo>
                <a:cubicBezTo>
                  <a:pt x="2733" y="2109"/>
                  <a:pt x="2731" y="2110"/>
                  <a:pt x="2729" y="2110"/>
                </a:cubicBezTo>
                <a:cubicBezTo>
                  <a:pt x="2727" y="2111"/>
                  <a:pt x="2726" y="2112"/>
                  <a:pt x="2724" y="2112"/>
                </a:cubicBezTo>
                <a:cubicBezTo>
                  <a:pt x="2722" y="2113"/>
                  <a:pt x="2721" y="2114"/>
                  <a:pt x="2719" y="2115"/>
                </a:cubicBezTo>
                <a:cubicBezTo>
                  <a:pt x="2719" y="2115"/>
                  <a:pt x="2719" y="2115"/>
                  <a:pt x="2719" y="2125"/>
                </a:cubicBezTo>
                <a:cubicBezTo>
                  <a:pt x="2721" y="2124"/>
                  <a:pt x="2724" y="2123"/>
                  <a:pt x="2727" y="2122"/>
                </a:cubicBezTo>
                <a:cubicBezTo>
                  <a:pt x="2729" y="2121"/>
                  <a:pt x="2732" y="2120"/>
                  <a:pt x="2734" y="2118"/>
                </a:cubicBezTo>
                <a:cubicBezTo>
                  <a:pt x="2734" y="2118"/>
                  <a:pt x="2734" y="2118"/>
                  <a:pt x="2734" y="2177"/>
                </a:cubicBezTo>
                <a:cubicBezTo>
                  <a:pt x="2734" y="2177"/>
                  <a:pt x="2734" y="2177"/>
                  <a:pt x="2745" y="2177"/>
                </a:cubicBezTo>
                <a:cubicBezTo>
                  <a:pt x="2745" y="2177"/>
                  <a:pt x="2745" y="2177"/>
                  <a:pt x="2745" y="2104"/>
                </a:cubicBezTo>
                <a:close/>
                <a:moveTo>
                  <a:pt x="2792" y="2104"/>
                </a:moveTo>
                <a:cubicBezTo>
                  <a:pt x="2792" y="2104"/>
                  <a:pt x="2792" y="2104"/>
                  <a:pt x="2792" y="2104"/>
                </a:cubicBezTo>
                <a:cubicBezTo>
                  <a:pt x="2787" y="2104"/>
                  <a:pt x="2787" y="2104"/>
                  <a:pt x="2787" y="2104"/>
                </a:cubicBezTo>
                <a:cubicBezTo>
                  <a:pt x="2785" y="2105"/>
                  <a:pt x="2784" y="2107"/>
                  <a:pt x="2782" y="2107"/>
                </a:cubicBezTo>
                <a:cubicBezTo>
                  <a:pt x="2780" y="2109"/>
                  <a:pt x="2778" y="2110"/>
                  <a:pt x="2777" y="2110"/>
                </a:cubicBezTo>
                <a:cubicBezTo>
                  <a:pt x="2775" y="2112"/>
                  <a:pt x="2773" y="2112"/>
                  <a:pt x="2772" y="2113"/>
                </a:cubicBezTo>
                <a:cubicBezTo>
                  <a:pt x="2770" y="2114"/>
                  <a:pt x="2768" y="2115"/>
                  <a:pt x="2766" y="2115"/>
                </a:cubicBezTo>
                <a:cubicBezTo>
                  <a:pt x="2766" y="2115"/>
                  <a:pt x="2766" y="2115"/>
                  <a:pt x="2766" y="2125"/>
                </a:cubicBezTo>
                <a:cubicBezTo>
                  <a:pt x="2769" y="2124"/>
                  <a:pt x="2772" y="2123"/>
                  <a:pt x="2774" y="2122"/>
                </a:cubicBezTo>
                <a:cubicBezTo>
                  <a:pt x="2777" y="2121"/>
                  <a:pt x="2779" y="2120"/>
                  <a:pt x="2781" y="2118"/>
                </a:cubicBezTo>
                <a:cubicBezTo>
                  <a:pt x="2781" y="2118"/>
                  <a:pt x="2781" y="2118"/>
                  <a:pt x="2781" y="2177"/>
                </a:cubicBezTo>
                <a:cubicBezTo>
                  <a:pt x="2781" y="2177"/>
                  <a:pt x="2781" y="2177"/>
                  <a:pt x="2792" y="2177"/>
                </a:cubicBezTo>
                <a:cubicBezTo>
                  <a:pt x="2792" y="2177"/>
                  <a:pt x="2792" y="2177"/>
                  <a:pt x="2792" y="2104"/>
                </a:cubicBezTo>
                <a:close/>
                <a:moveTo>
                  <a:pt x="2839" y="2104"/>
                </a:moveTo>
                <a:cubicBezTo>
                  <a:pt x="2839" y="2104"/>
                  <a:pt x="2839" y="2104"/>
                  <a:pt x="2839" y="2104"/>
                </a:cubicBezTo>
                <a:cubicBezTo>
                  <a:pt x="2835" y="2104"/>
                  <a:pt x="2835" y="2104"/>
                  <a:pt x="2835" y="2104"/>
                </a:cubicBezTo>
                <a:cubicBezTo>
                  <a:pt x="2833" y="2105"/>
                  <a:pt x="2831" y="2107"/>
                  <a:pt x="2829" y="2107"/>
                </a:cubicBezTo>
                <a:cubicBezTo>
                  <a:pt x="2828" y="2109"/>
                  <a:pt x="2825" y="2110"/>
                  <a:pt x="2824" y="2110"/>
                </a:cubicBezTo>
                <a:cubicBezTo>
                  <a:pt x="2822" y="2112"/>
                  <a:pt x="2820" y="2112"/>
                  <a:pt x="2818" y="2113"/>
                </a:cubicBezTo>
                <a:cubicBezTo>
                  <a:pt x="2817" y="2114"/>
                  <a:pt x="2815" y="2115"/>
                  <a:pt x="2813" y="2115"/>
                </a:cubicBezTo>
                <a:cubicBezTo>
                  <a:pt x="2813" y="2115"/>
                  <a:pt x="2813" y="2115"/>
                  <a:pt x="2813" y="2125"/>
                </a:cubicBezTo>
                <a:cubicBezTo>
                  <a:pt x="2816" y="2124"/>
                  <a:pt x="2819" y="2123"/>
                  <a:pt x="2821" y="2122"/>
                </a:cubicBezTo>
                <a:cubicBezTo>
                  <a:pt x="2823" y="2121"/>
                  <a:pt x="2826" y="2120"/>
                  <a:pt x="2828" y="2118"/>
                </a:cubicBezTo>
                <a:cubicBezTo>
                  <a:pt x="2828" y="2118"/>
                  <a:pt x="2828" y="2118"/>
                  <a:pt x="2828" y="2177"/>
                </a:cubicBezTo>
                <a:cubicBezTo>
                  <a:pt x="2828" y="2177"/>
                  <a:pt x="2828" y="2177"/>
                  <a:pt x="2839" y="2177"/>
                </a:cubicBezTo>
                <a:cubicBezTo>
                  <a:pt x="2839" y="2177"/>
                  <a:pt x="2839" y="2177"/>
                  <a:pt x="2839" y="2104"/>
                </a:cubicBezTo>
                <a:close/>
                <a:moveTo>
                  <a:pt x="2962" y="2104"/>
                </a:moveTo>
                <a:cubicBezTo>
                  <a:pt x="2962" y="2104"/>
                  <a:pt x="2962" y="2104"/>
                  <a:pt x="2962" y="2104"/>
                </a:cubicBezTo>
                <a:cubicBezTo>
                  <a:pt x="2957" y="2104"/>
                  <a:pt x="2957" y="2104"/>
                  <a:pt x="2957" y="2104"/>
                </a:cubicBezTo>
                <a:cubicBezTo>
                  <a:pt x="2955" y="2105"/>
                  <a:pt x="2953" y="2107"/>
                  <a:pt x="2951" y="2107"/>
                </a:cubicBezTo>
                <a:cubicBezTo>
                  <a:pt x="2950" y="2109"/>
                  <a:pt x="2948" y="2110"/>
                  <a:pt x="2946" y="2110"/>
                </a:cubicBezTo>
                <a:cubicBezTo>
                  <a:pt x="2944" y="2112"/>
                  <a:pt x="2942" y="2112"/>
                  <a:pt x="2941" y="2113"/>
                </a:cubicBezTo>
                <a:cubicBezTo>
                  <a:pt x="2939" y="2114"/>
                  <a:pt x="2937" y="2115"/>
                  <a:pt x="2935" y="2115"/>
                </a:cubicBezTo>
                <a:cubicBezTo>
                  <a:pt x="2935" y="2115"/>
                  <a:pt x="2935" y="2115"/>
                  <a:pt x="2935" y="2125"/>
                </a:cubicBezTo>
                <a:cubicBezTo>
                  <a:pt x="2938" y="2124"/>
                  <a:pt x="2941" y="2123"/>
                  <a:pt x="2944" y="2122"/>
                </a:cubicBezTo>
                <a:cubicBezTo>
                  <a:pt x="2946" y="2121"/>
                  <a:pt x="2948" y="2120"/>
                  <a:pt x="2950" y="2118"/>
                </a:cubicBezTo>
                <a:cubicBezTo>
                  <a:pt x="2950" y="2118"/>
                  <a:pt x="2950" y="2118"/>
                  <a:pt x="2950" y="2177"/>
                </a:cubicBezTo>
                <a:cubicBezTo>
                  <a:pt x="2950" y="2177"/>
                  <a:pt x="2950" y="2177"/>
                  <a:pt x="2962" y="2177"/>
                </a:cubicBezTo>
                <a:cubicBezTo>
                  <a:pt x="2962" y="2177"/>
                  <a:pt x="2962" y="2177"/>
                  <a:pt x="2962" y="2104"/>
                </a:cubicBezTo>
                <a:close/>
                <a:moveTo>
                  <a:pt x="3009" y="2104"/>
                </a:moveTo>
                <a:cubicBezTo>
                  <a:pt x="3009" y="2104"/>
                  <a:pt x="3009" y="2104"/>
                  <a:pt x="3009" y="2104"/>
                </a:cubicBezTo>
                <a:cubicBezTo>
                  <a:pt x="3004" y="2104"/>
                  <a:pt x="3004" y="2104"/>
                  <a:pt x="3004" y="2104"/>
                </a:cubicBezTo>
                <a:cubicBezTo>
                  <a:pt x="3002" y="2105"/>
                  <a:pt x="3001" y="2107"/>
                  <a:pt x="2999" y="2107"/>
                </a:cubicBezTo>
                <a:cubicBezTo>
                  <a:pt x="2997" y="2109"/>
                  <a:pt x="2995" y="2110"/>
                  <a:pt x="2993" y="2110"/>
                </a:cubicBezTo>
                <a:cubicBezTo>
                  <a:pt x="2992" y="2112"/>
                  <a:pt x="2990" y="2112"/>
                  <a:pt x="2988" y="2113"/>
                </a:cubicBezTo>
                <a:cubicBezTo>
                  <a:pt x="2986" y="2114"/>
                  <a:pt x="2985" y="2115"/>
                  <a:pt x="2983" y="2115"/>
                </a:cubicBezTo>
                <a:cubicBezTo>
                  <a:pt x="2983" y="2115"/>
                  <a:pt x="2983" y="2115"/>
                  <a:pt x="2983" y="2125"/>
                </a:cubicBezTo>
                <a:cubicBezTo>
                  <a:pt x="2985" y="2124"/>
                  <a:pt x="2988" y="2123"/>
                  <a:pt x="2991" y="2122"/>
                </a:cubicBezTo>
                <a:cubicBezTo>
                  <a:pt x="2993" y="2121"/>
                  <a:pt x="2996" y="2120"/>
                  <a:pt x="2998" y="2118"/>
                </a:cubicBezTo>
                <a:cubicBezTo>
                  <a:pt x="2998" y="2118"/>
                  <a:pt x="2998" y="2118"/>
                  <a:pt x="2998" y="2177"/>
                </a:cubicBezTo>
                <a:cubicBezTo>
                  <a:pt x="2998" y="2177"/>
                  <a:pt x="2998" y="2177"/>
                  <a:pt x="3009" y="2177"/>
                </a:cubicBezTo>
                <a:cubicBezTo>
                  <a:pt x="3009" y="2177"/>
                  <a:pt x="3009" y="2177"/>
                  <a:pt x="3009" y="2104"/>
                </a:cubicBezTo>
                <a:close/>
                <a:moveTo>
                  <a:pt x="3056" y="2104"/>
                </a:moveTo>
                <a:cubicBezTo>
                  <a:pt x="3056" y="2104"/>
                  <a:pt x="3056" y="2104"/>
                  <a:pt x="3056" y="2104"/>
                </a:cubicBezTo>
                <a:cubicBezTo>
                  <a:pt x="3052" y="2104"/>
                  <a:pt x="3052" y="2104"/>
                  <a:pt x="3052" y="2104"/>
                </a:cubicBezTo>
                <a:cubicBezTo>
                  <a:pt x="3050" y="2105"/>
                  <a:pt x="3048" y="2107"/>
                  <a:pt x="3046" y="2107"/>
                </a:cubicBezTo>
                <a:cubicBezTo>
                  <a:pt x="3044" y="2109"/>
                  <a:pt x="3042" y="2110"/>
                  <a:pt x="3041" y="2110"/>
                </a:cubicBezTo>
                <a:cubicBezTo>
                  <a:pt x="3039" y="2111"/>
                  <a:pt x="3037" y="2112"/>
                  <a:pt x="3035" y="2112"/>
                </a:cubicBezTo>
                <a:cubicBezTo>
                  <a:pt x="3034" y="2113"/>
                  <a:pt x="3032" y="2114"/>
                  <a:pt x="3030" y="2115"/>
                </a:cubicBezTo>
                <a:cubicBezTo>
                  <a:pt x="3030" y="2115"/>
                  <a:pt x="3030" y="2115"/>
                  <a:pt x="3030" y="2125"/>
                </a:cubicBezTo>
                <a:cubicBezTo>
                  <a:pt x="3033" y="2124"/>
                  <a:pt x="3036" y="2123"/>
                  <a:pt x="3038" y="2122"/>
                </a:cubicBezTo>
                <a:cubicBezTo>
                  <a:pt x="3040" y="2121"/>
                  <a:pt x="3043" y="2120"/>
                  <a:pt x="3044" y="2118"/>
                </a:cubicBezTo>
                <a:cubicBezTo>
                  <a:pt x="3044" y="2118"/>
                  <a:pt x="3044" y="2118"/>
                  <a:pt x="3044" y="2177"/>
                </a:cubicBezTo>
                <a:cubicBezTo>
                  <a:pt x="3044" y="2177"/>
                  <a:pt x="3044" y="2177"/>
                  <a:pt x="3056" y="2177"/>
                </a:cubicBezTo>
                <a:cubicBezTo>
                  <a:pt x="3056" y="2177"/>
                  <a:pt x="3056" y="2177"/>
                  <a:pt x="3056" y="2104"/>
                </a:cubicBezTo>
                <a:close/>
                <a:moveTo>
                  <a:pt x="3101" y="2177"/>
                </a:moveTo>
                <a:cubicBezTo>
                  <a:pt x="3093" y="2177"/>
                  <a:pt x="3087" y="2174"/>
                  <a:pt x="3082" y="2168"/>
                </a:cubicBezTo>
                <a:cubicBezTo>
                  <a:pt x="3079" y="2162"/>
                  <a:pt x="3077" y="2153"/>
                  <a:pt x="3077" y="2141"/>
                </a:cubicBezTo>
                <a:cubicBezTo>
                  <a:pt x="3077" y="2128"/>
                  <a:pt x="3079" y="2118"/>
                  <a:pt x="3083" y="2112"/>
                </a:cubicBezTo>
                <a:cubicBezTo>
                  <a:pt x="3088" y="2105"/>
                  <a:pt x="3094" y="2101"/>
                  <a:pt x="3103" y="2101"/>
                </a:cubicBezTo>
                <a:cubicBezTo>
                  <a:pt x="3119" y="2101"/>
                  <a:pt x="3127" y="2114"/>
                  <a:pt x="3127" y="2139"/>
                </a:cubicBezTo>
                <a:cubicBezTo>
                  <a:pt x="3127" y="2152"/>
                  <a:pt x="3125" y="2161"/>
                  <a:pt x="3120" y="2168"/>
                </a:cubicBezTo>
                <a:cubicBezTo>
                  <a:pt x="3115" y="2174"/>
                  <a:pt x="3109" y="2177"/>
                  <a:pt x="3101" y="2177"/>
                </a:cubicBezTo>
                <a:close/>
                <a:moveTo>
                  <a:pt x="3102" y="2111"/>
                </a:moveTo>
                <a:cubicBezTo>
                  <a:pt x="3093" y="2111"/>
                  <a:pt x="3088" y="2121"/>
                  <a:pt x="3088" y="2141"/>
                </a:cubicBezTo>
                <a:cubicBezTo>
                  <a:pt x="3088" y="2159"/>
                  <a:pt x="3093" y="2168"/>
                  <a:pt x="3101" y="2168"/>
                </a:cubicBezTo>
                <a:cubicBezTo>
                  <a:pt x="3110" y="2168"/>
                  <a:pt x="3115" y="2159"/>
                  <a:pt x="3115" y="2140"/>
                </a:cubicBezTo>
                <a:cubicBezTo>
                  <a:pt x="3115" y="2120"/>
                  <a:pt x="3110" y="2111"/>
                  <a:pt x="3102" y="2111"/>
                </a:cubicBezTo>
                <a:close/>
                <a:moveTo>
                  <a:pt x="3172" y="2177"/>
                </a:moveTo>
                <a:cubicBezTo>
                  <a:pt x="3164" y="2177"/>
                  <a:pt x="3158" y="2174"/>
                  <a:pt x="3154" y="2168"/>
                </a:cubicBezTo>
                <a:cubicBezTo>
                  <a:pt x="3149" y="2162"/>
                  <a:pt x="3147" y="2153"/>
                  <a:pt x="3147" y="2141"/>
                </a:cubicBezTo>
                <a:cubicBezTo>
                  <a:pt x="3147" y="2128"/>
                  <a:pt x="3149" y="2118"/>
                  <a:pt x="3154" y="2112"/>
                </a:cubicBezTo>
                <a:cubicBezTo>
                  <a:pt x="3158" y="2105"/>
                  <a:pt x="3165" y="2101"/>
                  <a:pt x="3174" y="2101"/>
                </a:cubicBezTo>
                <a:cubicBezTo>
                  <a:pt x="3190" y="2101"/>
                  <a:pt x="3198" y="2114"/>
                  <a:pt x="3198" y="2139"/>
                </a:cubicBezTo>
                <a:cubicBezTo>
                  <a:pt x="3198" y="2152"/>
                  <a:pt x="3196" y="2161"/>
                  <a:pt x="3191" y="2168"/>
                </a:cubicBezTo>
                <a:cubicBezTo>
                  <a:pt x="3186" y="2174"/>
                  <a:pt x="3180" y="2177"/>
                  <a:pt x="3172" y="2177"/>
                </a:cubicBezTo>
                <a:close/>
                <a:moveTo>
                  <a:pt x="3173" y="2111"/>
                </a:moveTo>
                <a:cubicBezTo>
                  <a:pt x="3164" y="2111"/>
                  <a:pt x="3159" y="2121"/>
                  <a:pt x="3159" y="2141"/>
                </a:cubicBezTo>
                <a:cubicBezTo>
                  <a:pt x="3159" y="2159"/>
                  <a:pt x="3163" y="2168"/>
                  <a:pt x="3172" y="2168"/>
                </a:cubicBezTo>
                <a:cubicBezTo>
                  <a:pt x="3181" y="2168"/>
                  <a:pt x="3186" y="2159"/>
                  <a:pt x="3186" y="2140"/>
                </a:cubicBezTo>
                <a:cubicBezTo>
                  <a:pt x="3186" y="2120"/>
                  <a:pt x="3181" y="2111"/>
                  <a:pt x="3173" y="2111"/>
                </a:cubicBezTo>
                <a:close/>
                <a:moveTo>
                  <a:pt x="2860" y="2136"/>
                </a:moveTo>
                <a:cubicBezTo>
                  <a:pt x="2860" y="2136"/>
                  <a:pt x="2860" y="2136"/>
                  <a:pt x="2860" y="2136"/>
                </a:cubicBezTo>
                <a:cubicBezTo>
                  <a:pt x="2860" y="2144"/>
                  <a:pt x="2860" y="2144"/>
                  <a:pt x="2860" y="2144"/>
                </a:cubicBezTo>
                <a:cubicBezTo>
                  <a:pt x="2866" y="2145"/>
                  <a:pt x="2867" y="2148"/>
                  <a:pt x="2867" y="2150"/>
                </a:cubicBezTo>
                <a:cubicBezTo>
                  <a:pt x="2867" y="2152"/>
                  <a:pt x="2866" y="2155"/>
                  <a:pt x="2866" y="2157"/>
                </a:cubicBezTo>
                <a:cubicBezTo>
                  <a:pt x="2866" y="2160"/>
                  <a:pt x="2866" y="2162"/>
                  <a:pt x="2866" y="2164"/>
                </a:cubicBezTo>
                <a:cubicBezTo>
                  <a:pt x="2866" y="2174"/>
                  <a:pt x="2872" y="2177"/>
                  <a:pt x="2880" y="2177"/>
                </a:cubicBezTo>
                <a:cubicBezTo>
                  <a:pt x="2880" y="2177"/>
                  <a:pt x="2880" y="2177"/>
                  <a:pt x="2884" y="2177"/>
                </a:cubicBezTo>
                <a:cubicBezTo>
                  <a:pt x="2884" y="2177"/>
                  <a:pt x="2884" y="2177"/>
                  <a:pt x="2884" y="2168"/>
                </a:cubicBezTo>
                <a:cubicBezTo>
                  <a:pt x="2884" y="2168"/>
                  <a:pt x="2884" y="2168"/>
                  <a:pt x="2882" y="2168"/>
                </a:cubicBezTo>
                <a:cubicBezTo>
                  <a:pt x="2879" y="2168"/>
                  <a:pt x="2877" y="2166"/>
                  <a:pt x="2877" y="2162"/>
                </a:cubicBezTo>
                <a:cubicBezTo>
                  <a:pt x="2877" y="2161"/>
                  <a:pt x="2877" y="2159"/>
                  <a:pt x="2878" y="2157"/>
                </a:cubicBezTo>
                <a:cubicBezTo>
                  <a:pt x="2878" y="2156"/>
                  <a:pt x="2878" y="2154"/>
                  <a:pt x="2878" y="2151"/>
                </a:cubicBezTo>
                <a:cubicBezTo>
                  <a:pt x="2878" y="2144"/>
                  <a:pt x="2875" y="2141"/>
                  <a:pt x="2870" y="2140"/>
                </a:cubicBezTo>
                <a:cubicBezTo>
                  <a:pt x="2870" y="2140"/>
                  <a:pt x="2870" y="2140"/>
                  <a:pt x="2870" y="2140"/>
                </a:cubicBezTo>
                <a:cubicBezTo>
                  <a:pt x="2875" y="2139"/>
                  <a:pt x="2878" y="2136"/>
                  <a:pt x="2878" y="2129"/>
                </a:cubicBezTo>
                <a:cubicBezTo>
                  <a:pt x="2878" y="2126"/>
                  <a:pt x="2878" y="2124"/>
                  <a:pt x="2878" y="2123"/>
                </a:cubicBezTo>
                <a:cubicBezTo>
                  <a:pt x="2877" y="2121"/>
                  <a:pt x="2877" y="2119"/>
                  <a:pt x="2877" y="2118"/>
                </a:cubicBezTo>
                <a:cubicBezTo>
                  <a:pt x="2877" y="2114"/>
                  <a:pt x="2879" y="2112"/>
                  <a:pt x="2882" y="2112"/>
                </a:cubicBezTo>
                <a:cubicBezTo>
                  <a:pt x="2882" y="2112"/>
                  <a:pt x="2882" y="2112"/>
                  <a:pt x="2884" y="2112"/>
                </a:cubicBezTo>
                <a:cubicBezTo>
                  <a:pt x="2884" y="2112"/>
                  <a:pt x="2884" y="2112"/>
                  <a:pt x="2884" y="2103"/>
                </a:cubicBezTo>
                <a:cubicBezTo>
                  <a:pt x="2884" y="2103"/>
                  <a:pt x="2884" y="2103"/>
                  <a:pt x="2880" y="2103"/>
                </a:cubicBezTo>
                <a:cubicBezTo>
                  <a:pt x="2871" y="2103"/>
                  <a:pt x="2866" y="2107"/>
                  <a:pt x="2866" y="2115"/>
                </a:cubicBezTo>
                <a:cubicBezTo>
                  <a:pt x="2866" y="2118"/>
                  <a:pt x="2866" y="2120"/>
                  <a:pt x="2866" y="2123"/>
                </a:cubicBezTo>
                <a:cubicBezTo>
                  <a:pt x="2866" y="2125"/>
                  <a:pt x="2867" y="2128"/>
                  <a:pt x="2867" y="2130"/>
                </a:cubicBezTo>
                <a:cubicBezTo>
                  <a:pt x="2867" y="2132"/>
                  <a:pt x="2866" y="2136"/>
                  <a:pt x="2860" y="2136"/>
                </a:cubicBezTo>
                <a:close/>
                <a:moveTo>
                  <a:pt x="2914" y="2144"/>
                </a:moveTo>
                <a:cubicBezTo>
                  <a:pt x="2914" y="2144"/>
                  <a:pt x="2914" y="2144"/>
                  <a:pt x="2914" y="2144"/>
                </a:cubicBezTo>
                <a:cubicBezTo>
                  <a:pt x="2914" y="2136"/>
                  <a:pt x="2914" y="2136"/>
                  <a:pt x="2914" y="2136"/>
                </a:cubicBezTo>
                <a:cubicBezTo>
                  <a:pt x="2908" y="2136"/>
                  <a:pt x="2908" y="2132"/>
                  <a:pt x="2908" y="2130"/>
                </a:cubicBezTo>
                <a:cubicBezTo>
                  <a:pt x="2908" y="2128"/>
                  <a:pt x="2908" y="2125"/>
                  <a:pt x="2908" y="2123"/>
                </a:cubicBezTo>
                <a:cubicBezTo>
                  <a:pt x="2909" y="2120"/>
                  <a:pt x="2909" y="2118"/>
                  <a:pt x="2909" y="2115"/>
                </a:cubicBezTo>
                <a:cubicBezTo>
                  <a:pt x="2909" y="2107"/>
                  <a:pt x="2903" y="2103"/>
                  <a:pt x="2894" y="2103"/>
                </a:cubicBezTo>
                <a:cubicBezTo>
                  <a:pt x="2894" y="2103"/>
                  <a:pt x="2894" y="2103"/>
                  <a:pt x="2890" y="2103"/>
                </a:cubicBezTo>
                <a:cubicBezTo>
                  <a:pt x="2890" y="2103"/>
                  <a:pt x="2890" y="2103"/>
                  <a:pt x="2890" y="2112"/>
                </a:cubicBezTo>
                <a:cubicBezTo>
                  <a:pt x="2890" y="2112"/>
                  <a:pt x="2890" y="2112"/>
                  <a:pt x="2892" y="2112"/>
                </a:cubicBezTo>
                <a:cubicBezTo>
                  <a:pt x="2896" y="2112"/>
                  <a:pt x="2897" y="2114"/>
                  <a:pt x="2897" y="2118"/>
                </a:cubicBezTo>
                <a:cubicBezTo>
                  <a:pt x="2897" y="2119"/>
                  <a:pt x="2897" y="2121"/>
                  <a:pt x="2897" y="2123"/>
                </a:cubicBezTo>
                <a:cubicBezTo>
                  <a:pt x="2896" y="2124"/>
                  <a:pt x="2896" y="2126"/>
                  <a:pt x="2896" y="2129"/>
                </a:cubicBezTo>
                <a:cubicBezTo>
                  <a:pt x="2896" y="2136"/>
                  <a:pt x="2899" y="2139"/>
                  <a:pt x="2905" y="2140"/>
                </a:cubicBezTo>
                <a:cubicBezTo>
                  <a:pt x="2905" y="2140"/>
                  <a:pt x="2905" y="2140"/>
                  <a:pt x="2905" y="2140"/>
                </a:cubicBezTo>
                <a:cubicBezTo>
                  <a:pt x="2899" y="2141"/>
                  <a:pt x="2896" y="2144"/>
                  <a:pt x="2896" y="2151"/>
                </a:cubicBezTo>
                <a:cubicBezTo>
                  <a:pt x="2896" y="2154"/>
                  <a:pt x="2896" y="2156"/>
                  <a:pt x="2897" y="2157"/>
                </a:cubicBezTo>
                <a:cubicBezTo>
                  <a:pt x="2897" y="2159"/>
                  <a:pt x="2897" y="2161"/>
                  <a:pt x="2897" y="2162"/>
                </a:cubicBezTo>
                <a:cubicBezTo>
                  <a:pt x="2897" y="2166"/>
                  <a:pt x="2896" y="2168"/>
                  <a:pt x="2892" y="2168"/>
                </a:cubicBezTo>
                <a:cubicBezTo>
                  <a:pt x="2892" y="2168"/>
                  <a:pt x="2892" y="2168"/>
                  <a:pt x="2890" y="2168"/>
                </a:cubicBezTo>
                <a:cubicBezTo>
                  <a:pt x="2890" y="2168"/>
                  <a:pt x="2890" y="2168"/>
                  <a:pt x="2890" y="2177"/>
                </a:cubicBezTo>
                <a:cubicBezTo>
                  <a:pt x="2890" y="2177"/>
                  <a:pt x="2890" y="2177"/>
                  <a:pt x="2894" y="2177"/>
                </a:cubicBezTo>
                <a:cubicBezTo>
                  <a:pt x="2903" y="2177"/>
                  <a:pt x="2909" y="2174"/>
                  <a:pt x="2909" y="2164"/>
                </a:cubicBezTo>
                <a:cubicBezTo>
                  <a:pt x="2909" y="2162"/>
                  <a:pt x="2909" y="2160"/>
                  <a:pt x="2908" y="2157"/>
                </a:cubicBezTo>
                <a:cubicBezTo>
                  <a:pt x="2908" y="2155"/>
                  <a:pt x="2908" y="2152"/>
                  <a:pt x="2908" y="2150"/>
                </a:cubicBezTo>
                <a:cubicBezTo>
                  <a:pt x="2908" y="2148"/>
                  <a:pt x="2908" y="2145"/>
                  <a:pt x="2914" y="2144"/>
                </a:cubicBezTo>
                <a:close/>
                <a:moveTo>
                  <a:pt x="3384" y="2177"/>
                </a:moveTo>
                <a:cubicBezTo>
                  <a:pt x="3377" y="2177"/>
                  <a:pt x="3371" y="2174"/>
                  <a:pt x="3366" y="2168"/>
                </a:cubicBezTo>
                <a:cubicBezTo>
                  <a:pt x="3362" y="2162"/>
                  <a:pt x="3360" y="2152"/>
                  <a:pt x="3360" y="2141"/>
                </a:cubicBezTo>
                <a:cubicBezTo>
                  <a:pt x="3360" y="2128"/>
                  <a:pt x="3362" y="2118"/>
                  <a:pt x="3366" y="2111"/>
                </a:cubicBezTo>
                <a:cubicBezTo>
                  <a:pt x="3371" y="2104"/>
                  <a:pt x="3377" y="2101"/>
                  <a:pt x="3386" y="2101"/>
                </a:cubicBezTo>
                <a:cubicBezTo>
                  <a:pt x="3402" y="2101"/>
                  <a:pt x="3410" y="2114"/>
                  <a:pt x="3410" y="2139"/>
                </a:cubicBezTo>
                <a:cubicBezTo>
                  <a:pt x="3410" y="2152"/>
                  <a:pt x="3408" y="2161"/>
                  <a:pt x="3404" y="2168"/>
                </a:cubicBezTo>
                <a:cubicBezTo>
                  <a:pt x="3399" y="2174"/>
                  <a:pt x="3393" y="2177"/>
                  <a:pt x="3384" y="2177"/>
                </a:cubicBezTo>
                <a:close/>
                <a:moveTo>
                  <a:pt x="3385" y="2111"/>
                </a:moveTo>
                <a:cubicBezTo>
                  <a:pt x="3377" y="2111"/>
                  <a:pt x="3372" y="2120"/>
                  <a:pt x="3372" y="2140"/>
                </a:cubicBezTo>
                <a:cubicBezTo>
                  <a:pt x="3372" y="2158"/>
                  <a:pt x="3377" y="2168"/>
                  <a:pt x="3385" y="2168"/>
                </a:cubicBezTo>
                <a:cubicBezTo>
                  <a:pt x="3393" y="2168"/>
                  <a:pt x="3398" y="2158"/>
                  <a:pt x="3398" y="2140"/>
                </a:cubicBezTo>
                <a:cubicBezTo>
                  <a:pt x="3398" y="2120"/>
                  <a:pt x="3394" y="2111"/>
                  <a:pt x="3385" y="2111"/>
                </a:cubicBezTo>
                <a:close/>
                <a:moveTo>
                  <a:pt x="3502" y="2177"/>
                </a:moveTo>
                <a:cubicBezTo>
                  <a:pt x="3495" y="2177"/>
                  <a:pt x="3489" y="2174"/>
                  <a:pt x="3485" y="2168"/>
                </a:cubicBezTo>
                <a:cubicBezTo>
                  <a:pt x="3480" y="2162"/>
                  <a:pt x="3478" y="2152"/>
                  <a:pt x="3478" y="2141"/>
                </a:cubicBezTo>
                <a:cubicBezTo>
                  <a:pt x="3478" y="2128"/>
                  <a:pt x="3480" y="2118"/>
                  <a:pt x="3485" y="2111"/>
                </a:cubicBezTo>
                <a:cubicBezTo>
                  <a:pt x="3489" y="2104"/>
                  <a:pt x="3495" y="2101"/>
                  <a:pt x="3504" y="2101"/>
                </a:cubicBezTo>
                <a:cubicBezTo>
                  <a:pt x="3520" y="2101"/>
                  <a:pt x="3528" y="2114"/>
                  <a:pt x="3528" y="2139"/>
                </a:cubicBezTo>
                <a:cubicBezTo>
                  <a:pt x="3528" y="2152"/>
                  <a:pt x="3526" y="2161"/>
                  <a:pt x="3522" y="2168"/>
                </a:cubicBezTo>
                <a:cubicBezTo>
                  <a:pt x="3517" y="2174"/>
                  <a:pt x="3511" y="2177"/>
                  <a:pt x="3502" y="2177"/>
                </a:cubicBezTo>
                <a:close/>
                <a:moveTo>
                  <a:pt x="3503" y="2111"/>
                </a:moveTo>
                <a:cubicBezTo>
                  <a:pt x="3495" y="2111"/>
                  <a:pt x="3490" y="2120"/>
                  <a:pt x="3490" y="2140"/>
                </a:cubicBezTo>
                <a:cubicBezTo>
                  <a:pt x="3490" y="2158"/>
                  <a:pt x="3495" y="2168"/>
                  <a:pt x="3503" y="2168"/>
                </a:cubicBezTo>
                <a:cubicBezTo>
                  <a:pt x="3512" y="2168"/>
                  <a:pt x="3516" y="2158"/>
                  <a:pt x="3516" y="2140"/>
                </a:cubicBezTo>
                <a:cubicBezTo>
                  <a:pt x="3516" y="2120"/>
                  <a:pt x="3512" y="2111"/>
                  <a:pt x="3503" y="2111"/>
                </a:cubicBezTo>
                <a:close/>
                <a:moveTo>
                  <a:pt x="3457" y="2104"/>
                </a:moveTo>
                <a:cubicBezTo>
                  <a:pt x="3457" y="2104"/>
                  <a:pt x="3457" y="2104"/>
                  <a:pt x="3457" y="2104"/>
                </a:cubicBezTo>
                <a:cubicBezTo>
                  <a:pt x="3452" y="2104"/>
                  <a:pt x="3452" y="2104"/>
                  <a:pt x="3452" y="2104"/>
                </a:cubicBezTo>
                <a:cubicBezTo>
                  <a:pt x="3450" y="2105"/>
                  <a:pt x="3449" y="2107"/>
                  <a:pt x="3447" y="2107"/>
                </a:cubicBezTo>
                <a:cubicBezTo>
                  <a:pt x="3445" y="2109"/>
                  <a:pt x="3443" y="2110"/>
                  <a:pt x="3442" y="2110"/>
                </a:cubicBezTo>
                <a:cubicBezTo>
                  <a:pt x="3440" y="2111"/>
                  <a:pt x="3438" y="2112"/>
                  <a:pt x="3437" y="2112"/>
                </a:cubicBezTo>
                <a:cubicBezTo>
                  <a:pt x="3434" y="2113"/>
                  <a:pt x="3433" y="2114"/>
                  <a:pt x="3431" y="2115"/>
                </a:cubicBezTo>
                <a:cubicBezTo>
                  <a:pt x="3431" y="2115"/>
                  <a:pt x="3431" y="2115"/>
                  <a:pt x="3431" y="2125"/>
                </a:cubicBezTo>
                <a:cubicBezTo>
                  <a:pt x="3434" y="2124"/>
                  <a:pt x="3437" y="2123"/>
                  <a:pt x="3439" y="2122"/>
                </a:cubicBezTo>
                <a:cubicBezTo>
                  <a:pt x="3442" y="2121"/>
                  <a:pt x="3444" y="2120"/>
                  <a:pt x="3446" y="2118"/>
                </a:cubicBezTo>
                <a:cubicBezTo>
                  <a:pt x="3446" y="2118"/>
                  <a:pt x="3446" y="2118"/>
                  <a:pt x="3446" y="2177"/>
                </a:cubicBezTo>
                <a:cubicBezTo>
                  <a:pt x="3446" y="2177"/>
                  <a:pt x="3446" y="2177"/>
                  <a:pt x="3457" y="2177"/>
                </a:cubicBezTo>
                <a:cubicBezTo>
                  <a:pt x="3457" y="2177"/>
                  <a:pt x="3457" y="2177"/>
                  <a:pt x="3457" y="2104"/>
                </a:cubicBezTo>
                <a:close/>
                <a:moveTo>
                  <a:pt x="3573" y="2177"/>
                </a:moveTo>
                <a:cubicBezTo>
                  <a:pt x="3566" y="2177"/>
                  <a:pt x="3559" y="2174"/>
                  <a:pt x="3556" y="2168"/>
                </a:cubicBezTo>
                <a:cubicBezTo>
                  <a:pt x="3551" y="2162"/>
                  <a:pt x="3549" y="2153"/>
                  <a:pt x="3549" y="2141"/>
                </a:cubicBezTo>
                <a:cubicBezTo>
                  <a:pt x="3549" y="2128"/>
                  <a:pt x="3551" y="2118"/>
                  <a:pt x="3556" y="2112"/>
                </a:cubicBezTo>
                <a:cubicBezTo>
                  <a:pt x="3560" y="2105"/>
                  <a:pt x="3567" y="2101"/>
                  <a:pt x="3575" y="2101"/>
                </a:cubicBezTo>
                <a:cubicBezTo>
                  <a:pt x="3591" y="2101"/>
                  <a:pt x="3599" y="2114"/>
                  <a:pt x="3599" y="2139"/>
                </a:cubicBezTo>
                <a:cubicBezTo>
                  <a:pt x="3599" y="2152"/>
                  <a:pt x="3597" y="2161"/>
                  <a:pt x="3593" y="2168"/>
                </a:cubicBezTo>
                <a:cubicBezTo>
                  <a:pt x="3588" y="2174"/>
                  <a:pt x="3582" y="2177"/>
                  <a:pt x="3573" y="2177"/>
                </a:cubicBezTo>
                <a:close/>
                <a:moveTo>
                  <a:pt x="3575" y="2111"/>
                </a:moveTo>
                <a:cubicBezTo>
                  <a:pt x="3566" y="2111"/>
                  <a:pt x="3561" y="2121"/>
                  <a:pt x="3561" y="2141"/>
                </a:cubicBezTo>
                <a:cubicBezTo>
                  <a:pt x="3561" y="2159"/>
                  <a:pt x="3565" y="2168"/>
                  <a:pt x="3574" y="2168"/>
                </a:cubicBezTo>
                <a:cubicBezTo>
                  <a:pt x="3583" y="2168"/>
                  <a:pt x="3587" y="2159"/>
                  <a:pt x="3587" y="2140"/>
                </a:cubicBezTo>
                <a:cubicBezTo>
                  <a:pt x="3587" y="2120"/>
                  <a:pt x="3583" y="2111"/>
                  <a:pt x="3575" y="2111"/>
                </a:cubicBezTo>
                <a:close/>
                <a:moveTo>
                  <a:pt x="3620" y="2136"/>
                </a:moveTo>
                <a:cubicBezTo>
                  <a:pt x="3620" y="2136"/>
                  <a:pt x="3620" y="2136"/>
                  <a:pt x="3620" y="2136"/>
                </a:cubicBezTo>
                <a:cubicBezTo>
                  <a:pt x="3620" y="2144"/>
                  <a:pt x="3620" y="2144"/>
                  <a:pt x="3620" y="2144"/>
                </a:cubicBezTo>
                <a:cubicBezTo>
                  <a:pt x="3626" y="2145"/>
                  <a:pt x="3627" y="2148"/>
                  <a:pt x="3627" y="2150"/>
                </a:cubicBezTo>
                <a:cubicBezTo>
                  <a:pt x="3627" y="2152"/>
                  <a:pt x="3627" y="2155"/>
                  <a:pt x="3627" y="2157"/>
                </a:cubicBezTo>
                <a:cubicBezTo>
                  <a:pt x="3626" y="2160"/>
                  <a:pt x="3626" y="2162"/>
                  <a:pt x="3626" y="2164"/>
                </a:cubicBezTo>
                <a:cubicBezTo>
                  <a:pt x="3626" y="2174"/>
                  <a:pt x="3632" y="2177"/>
                  <a:pt x="3640" y="2177"/>
                </a:cubicBezTo>
                <a:cubicBezTo>
                  <a:pt x="3640" y="2177"/>
                  <a:pt x="3640" y="2177"/>
                  <a:pt x="3644" y="2177"/>
                </a:cubicBezTo>
                <a:cubicBezTo>
                  <a:pt x="3644" y="2177"/>
                  <a:pt x="3644" y="2177"/>
                  <a:pt x="3644" y="2168"/>
                </a:cubicBezTo>
                <a:cubicBezTo>
                  <a:pt x="3644" y="2168"/>
                  <a:pt x="3644" y="2168"/>
                  <a:pt x="3643" y="2168"/>
                </a:cubicBezTo>
                <a:cubicBezTo>
                  <a:pt x="3639" y="2168"/>
                  <a:pt x="3638" y="2166"/>
                  <a:pt x="3638" y="2162"/>
                </a:cubicBezTo>
                <a:cubicBezTo>
                  <a:pt x="3638" y="2161"/>
                  <a:pt x="3638" y="2159"/>
                  <a:pt x="3638" y="2157"/>
                </a:cubicBezTo>
                <a:cubicBezTo>
                  <a:pt x="3638" y="2156"/>
                  <a:pt x="3638" y="2154"/>
                  <a:pt x="3638" y="2151"/>
                </a:cubicBezTo>
                <a:cubicBezTo>
                  <a:pt x="3638" y="2144"/>
                  <a:pt x="3636" y="2141"/>
                  <a:pt x="3630" y="2140"/>
                </a:cubicBezTo>
                <a:cubicBezTo>
                  <a:pt x="3630" y="2140"/>
                  <a:pt x="3630" y="2140"/>
                  <a:pt x="3630" y="2140"/>
                </a:cubicBezTo>
                <a:cubicBezTo>
                  <a:pt x="3636" y="2139"/>
                  <a:pt x="3638" y="2136"/>
                  <a:pt x="3638" y="2129"/>
                </a:cubicBezTo>
                <a:cubicBezTo>
                  <a:pt x="3638" y="2126"/>
                  <a:pt x="3638" y="2124"/>
                  <a:pt x="3638" y="2123"/>
                </a:cubicBezTo>
                <a:cubicBezTo>
                  <a:pt x="3638" y="2121"/>
                  <a:pt x="3638" y="2119"/>
                  <a:pt x="3638" y="2118"/>
                </a:cubicBezTo>
                <a:cubicBezTo>
                  <a:pt x="3638" y="2114"/>
                  <a:pt x="3639" y="2112"/>
                  <a:pt x="3643" y="2112"/>
                </a:cubicBezTo>
                <a:cubicBezTo>
                  <a:pt x="3643" y="2112"/>
                  <a:pt x="3643" y="2112"/>
                  <a:pt x="3644" y="2112"/>
                </a:cubicBezTo>
                <a:cubicBezTo>
                  <a:pt x="3644" y="2112"/>
                  <a:pt x="3644" y="2112"/>
                  <a:pt x="3644" y="2103"/>
                </a:cubicBezTo>
                <a:cubicBezTo>
                  <a:pt x="3644" y="2103"/>
                  <a:pt x="3644" y="2103"/>
                  <a:pt x="3640" y="2103"/>
                </a:cubicBezTo>
                <a:cubicBezTo>
                  <a:pt x="3631" y="2103"/>
                  <a:pt x="3626" y="2107"/>
                  <a:pt x="3626" y="2115"/>
                </a:cubicBezTo>
                <a:cubicBezTo>
                  <a:pt x="3626" y="2118"/>
                  <a:pt x="3626" y="2120"/>
                  <a:pt x="3626" y="2123"/>
                </a:cubicBezTo>
                <a:cubicBezTo>
                  <a:pt x="3627" y="2125"/>
                  <a:pt x="3627" y="2128"/>
                  <a:pt x="3627" y="2130"/>
                </a:cubicBezTo>
                <a:cubicBezTo>
                  <a:pt x="3627" y="2132"/>
                  <a:pt x="3626" y="2136"/>
                  <a:pt x="3620" y="2136"/>
                </a:cubicBezTo>
                <a:close/>
                <a:moveTo>
                  <a:pt x="3675" y="2144"/>
                </a:moveTo>
                <a:cubicBezTo>
                  <a:pt x="3675" y="2144"/>
                  <a:pt x="3675" y="2144"/>
                  <a:pt x="3675" y="2144"/>
                </a:cubicBezTo>
                <a:cubicBezTo>
                  <a:pt x="3675" y="2136"/>
                  <a:pt x="3675" y="2136"/>
                  <a:pt x="3675" y="2136"/>
                </a:cubicBezTo>
                <a:cubicBezTo>
                  <a:pt x="3668" y="2136"/>
                  <a:pt x="3668" y="2132"/>
                  <a:pt x="3668" y="2130"/>
                </a:cubicBezTo>
                <a:cubicBezTo>
                  <a:pt x="3668" y="2128"/>
                  <a:pt x="3668" y="2125"/>
                  <a:pt x="3668" y="2123"/>
                </a:cubicBezTo>
                <a:cubicBezTo>
                  <a:pt x="3669" y="2120"/>
                  <a:pt x="3669" y="2118"/>
                  <a:pt x="3669" y="2115"/>
                </a:cubicBezTo>
                <a:cubicBezTo>
                  <a:pt x="3669" y="2107"/>
                  <a:pt x="3664" y="2103"/>
                  <a:pt x="3654" y="2103"/>
                </a:cubicBezTo>
                <a:cubicBezTo>
                  <a:pt x="3654" y="2103"/>
                  <a:pt x="3654" y="2103"/>
                  <a:pt x="3651" y="2103"/>
                </a:cubicBezTo>
                <a:cubicBezTo>
                  <a:pt x="3651" y="2103"/>
                  <a:pt x="3651" y="2103"/>
                  <a:pt x="3651" y="2112"/>
                </a:cubicBezTo>
                <a:cubicBezTo>
                  <a:pt x="3651" y="2112"/>
                  <a:pt x="3651" y="2112"/>
                  <a:pt x="3652" y="2112"/>
                </a:cubicBezTo>
                <a:cubicBezTo>
                  <a:pt x="3656" y="2112"/>
                  <a:pt x="3657" y="2114"/>
                  <a:pt x="3657" y="2118"/>
                </a:cubicBezTo>
                <a:cubicBezTo>
                  <a:pt x="3657" y="2119"/>
                  <a:pt x="3657" y="2121"/>
                  <a:pt x="3657" y="2123"/>
                </a:cubicBezTo>
                <a:cubicBezTo>
                  <a:pt x="3657" y="2124"/>
                  <a:pt x="3657" y="2126"/>
                  <a:pt x="3657" y="2129"/>
                </a:cubicBezTo>
                <a:cubicBezTo>
                  <a:pt x="3657" y="2136"/>
                  <a:pt x="3659" y="2139"/>
                  <a:pt x="3665" y="2140"/>
                </a:cubicBezTo>
                <a:cubicBezTo>
                  <a:pt x="3665" y="2140"/>
                  <a:pt x="3665" y="2140"/>
                  <a:pt x="3665" y="2140"/>
                </a:cubicBezTo>
                <a:cubicBezTo>
                  <a:pt x="3659" y="2141"/>
                  <a:pt x="3657" y="2144"/>
                  <a:pt x="3657" y="2151"/>
                </a:cubicBezTo>
                <a:cubicBezTo>
                  <a:pt x="3657" y="2154"/>
                  <a:pt x="3657" y="2156"/>
                  <a:pt x="3657" y="2157"/>
                </a:cubicBezTo>
                <a:cubicBezTo>
                  <a:pt x="3657" y="2159"/>
                  <a:pt x="3657" y="2161"/>
                  <a:pt x="3657" y="2162"/>
                </a:cubicBezTo>
                <a:cubicBezTo>
                  <a:pt x="3657" y="2166"/>
                  <a:pt x="3656" y="2168"/>
                  <a:pt x="3652" y="2168"/>
                </a:cubicBezTo>
                <a:cubicBezTo>
                  <a:pt x="3652" y="2168"/>
                  <a:pt x="3652" y="2168"/>
                  <a:pt x="3651" y="2168"/>
                </a:cubicBezTo>
                <a:cubicBezTo>
                  <a:pt x="3651" y="2168"/>
                  <a:pt x="3651" y="2168"/>
                  <a:pt x="3651" y="2177"/>
                </a:cubicBezTo>
                <a:cubicBezTo>
                  <a:pt x="3651" y="2177"/>
                  <a:pt x="3651" y="2177"/>
                  <a:pt x="3654" y="2177"/>
                </a:cubicBezTo>
                <a:cubicBezTo>
                  <a:pt x="3663" y="2177"/>
                  <a:pt x="3669" y="2174"/>
                  <a:pt x="3669" y="2164"/>
                </a:cubicBezTo>
                <a:cubicBezTo>
                  <a:pt x="3669" y="2162"/>
                  <a:pt x="3669" y="2160"/>
                  <a:pt x="3668" y="2157"/>
                </a:cubicBezTo>
                <a:cubicBezTo>
                  <a:pt x="3668" y="2155"/>
                  <a:pt x="3668" y="2152"/>
                  <a:pt x="3668" y="2150"/>
                </a:cubicBezTo>
                <a:cubicBezTo>
                  <a:pt x="3668" y="2148"/>
                  <a:pt x="3668" y="2145"/>
                  <a:pt x="3675" y="2144"/>
                </a:cubicBezTo>
                <a:close/>
                <a:moveTo>
                  <a:pt x="3795" y="2177"/>
                </a:moveTo>
                <a:cubicBezTo>
                  <a:pt x="3788" y="2177"/>
                  <a:pt x="3781" y="2174"/>
                  <a:pt x="3777" y="2168"/>
                </a:cubicBezTo>
                <a:cubicBezTo>
                  <a:pt x="3773" y="2162"/>
                  <a:pt x="3771" y="2153"/>
                  <a:pt x="3771" y="2141"/>
                </a:cubicBezTo>
                <a:cubicBezTo>
                  <a:pt x="3771" y="2128"/>
                  <a:pt x="3773" y="2118"/>
                  <a:pt x="3777" y="2112"/>
                </a:cubicBezTo>
                <a:cubicBezTo>
                  <a:pt x="3782" y="2105"/>
                  <a:pt x="3788" y="2101"/>
                  <a:pt x="3797" y="2101"/>
                </a:cubicBezTo>
                <a:cubicBezTo>
                  <a:pt x="3813" y="2101"/>
                  <a:pt x="3821" y="2114"/>
                  <a:pt x="3821" y="2139"/>
                </a:cubicBezTo>
                <a:cubicBezTo>
                  <a:pt x="3821" y="2152"/>
                  <a:pt x="3819" y="2161"/>
                  <a:pt x="3814" y="2168"/>
                </a:cubicBezTo>
                <a:cubicBezTo>
                  <a:pt x="3809" y="2174"/>
                  <a:pt x="3803" y="2177"/>
                  <a:pt x="3795" y="2177"/>
                </a:cubicBezTo>
                <a:close/>
                <a:moveTo>
                  <a:pt x="3796" y="2111"/>
                </a:moveTo>
                <a:cubicBezTo>
                  <a:pt x="3787" y="2111"/>
                  <a:pt x="3782" y="2121"/>
                  <a:pt x="3782" y="2141"/>
                </a:cubicBezTo>
                <a:cubicBezTo>
                  <a:pt x="3782" y="2159"/>
                  <a:pt x="3787" y="2168"/>
                  <a:pt x="3796" y="2168"/>
                </a:cubicBezTo>
                <a:cubicBezTo>
                  <a:pt x="3804" y="2168"/>
                  <a:pt x="3809" y="2159"/>
                  <a:pt x="3809" y="2140"/>
                </a:cubicBezTo>
                <a:cubicBezTo>
                  <a:pt x="3809" y="2120"/>
                  <a:pt x="3804" y="2111"/>
                  <a:pt x="3796" y="2111"/>
                </a:cubicBezTo>
                <a:close/>
                <a:moveTo>
                  <a:pt x="3869" y="2104"/>
                </a:moveTo>
                <a:cubicBezTo>
                  <a:pt x="3869" y="2104"/>
                  <a:pt x="3869" y="2104"/>
                  <a:pt x="3869" y="2104"/>
                </a:cubicBezTo>
                <a:cubicBezTo>
                  <a:pt x="3864" y="2104"/>
                  <a:pt x="3864" y="2104"/>
                  <a:pt x="3864" y="2104"/>
                </a:cubicBezTo>
                <a:cubicBezTo>
                  <a:pt x="3861" y="2105"/>
                  <a:pt x="3860" y="2107"/>
                  <a:pt x="3858" y="2107"/>
                </a:cubicBezTo>
                <a:cubicBezTo>
                  <a:pt x="3856" y="2109"/>
                  <a:pt x="3854" y="2110"/>
                  <a:pt x="3853" y="2110"/>
                </a:cubicBezTo>
                <a:cubicBezTo>
                  <a:pt x="3850" y="2111"/>
                  <a:pt x="3849" y="2112"/>
                  <a:pt x="3848" y="2112"/>
                </a:cubicBezTo>
                <a:cubicBezTo>
                  <a:pt x="3845" y="2113"/>
                  <a:pt x="3844" y="2114"/>
                  <a:pt x="3842" y="2115"/>
                </a:cubicBezTo>
                <a:cubicBezTo>
                  <a:pt x="3842" y="2115"/>
                  <a:pt x="3842" y="2115"/>
                  <a:pt x="3842" y="2125"/>
                </a:cubicBezTo>
                <a:cubicBezTo>
                  <a:pt x="3845" y="2124"/>
                  <a:pt x="3848" y="2123"/>
                  <a:pt x="3850" y="2122"/>
                </a:cubicBezTo>
                <a:cubicBezTo>
                  <a:pt x="3853" y="2121"/>
                  <a:pt x="3855" y="2120"/>
                  <a:pt x="3857" y="2118"/>
                </a:cubicBezTo>
                <a:cubicBezTo>
                  <a:pt x="3857" y="2118"/>
                  <a:pt x="3857" y="2118"/>
                  <a:pt x="3857" y="2177"/>
                </a:cubicBezTo>
                <a:cubicBezTo>
                  <a:pt x="3857" y="2177"/>
                  <a:pt x="3857" y="2177"/>
                  <a:pt x="3869" y="2177"/>
                </a:cubicBezTo>
                <a:cubicBezTo>
                  <a:pt x="3869" y="2177"/>
                  <a:pt x="3869" y="2177"/>
                  <a:pt x="3869" y="2104"/>
                </a:cubicBezTo>
                <a:close/>
                <a:moveTo>
                  <a:pt x="2065" y="2056"/>
                </a:moveTo>
                <a:cubicBezTo>
                  <a:pt x="2066" y="2058"/>
                  <a:pt x="2066" y="2059"/>
                  <a:pt x="2067" y="2060"/>
                </a:cubicBezTo>
                <a:cubicBezTo>
                  <a:pt x="2067" y="2062"/>
                  <a:pt x="2068" y="2064"/>
                  <a:pt x="2068" y="2065"/>
                </a:cubicBezTo>
                <a:cubicBezTo>
                  <a:pt x="2068" y="2067"/>
                  <a:pt x="2068" y="2069"/>
                  <a:pt x="2068" y="2070"/>
                </a:cubicBezTo>
                <a:cubicBezTo>
                  <a:pt x="2069" y="2073"/>
                  <a:pt x="2068" y="2075"/>
                  <a:pt x="2065" y="2075"/>
                </a:cubicBezTo>
                <a:cubicBezTo>
                  <a:pt x="2062" y="2075"/>
                  <a:pt x="2059" y="2075"/>
                  <a:pt x="2057" y="2075"/>
                </a:cubicBezTo>
                <a:cubicBezTo>
                  <a:pt x="2056" y="2075"/>
                  <a:pt x="2055" y="2075"/>
                  <a:pt x="2055" y="2075"/>
                </a:cubicBezTo>
                <a:cubicBezTo>
                  <a:pt x="2054" y="2077"/>
                  <a:pt x="2052" y="2078"/>
                  <a:pt x="2051" y="2079"/>
                </a:cubicBezTo>
                <a:cubicBezTo>
                  <a:pt x="2049" y="2082"/>
                  <a:pt x="2046" y="2082"/>
                  <a:pt x="2043" y="2080"/>
                </a:cubicBezTo>
                <a:cubicBezTo>
                  <a:pt x="2041" y="2078"/>
                  <a:pt x="2040" y="2075"/>
                  <a:pt x="2039" y="2073"/>
                </a:cubicBezTo>
                <a:cubicBezTo>
                  <a:pt x="2038" y="2071"/>
                  <a:pt x="2038" y="2069"/>
                  <a:pt x="2041" y="2068"/>
                </a:cubicBezTo>
                <a:cubicBezTo>
                  <a:pt x="2038" y="2068"/>
                  <a:pt x="2036" y="2068"/>
                  <a:pt x="2035" y="2068"/>
                </a:cubicBezTo>
                <a:cubicBezTo>
                  <a:pt x="2034" y="2070"/>
                  <a:pt x="2033" y="2072"/>
                  <a:pt x="2032" y="2074"/>
                </a:cubicBezTo>
                <a:cubicBezTo>
                  <a:pt x="2032" y="2075"/>
                  <a:pt x="2032" y="2075"/>
                  <a:pt x="2032" y="2076"/>
                </a:cubicBezTo>
                <a:cubicBezTo>
                  <a:pt x="2032" y="2079"/>
                  <a:pt x="2030" y="2081"/>
                  <a:pt x="2027" y="2080"/>
                </a:cubicBezTo>
                <a:cubicBezTo>
                  <a:pt x="2024" y="2080"/>
                  <a:pt x="2021" y="2079"/>
                  <a:pt x="2018" y="2078"/>
                </a:cubicBezTo>
                <a:cubicBezTo>
                  <a:pt x="2016" y="2077"/>
                  <a:pt x="2016" y="2076"/>
                  <a:pt x="2016" y="2074"/>
                </a:cubicBezTo>
                <a:cubicBezTo>
                  <a:pt x="2017" y="2073"/>
                  <a:pt x="2017" y="2072"/>
                  <a:pt x="2017" y="2072"/>
                </a:cubicBezTo>
                <a:cubicBezTo>
                  <a:pt x="2015" y="2071"/>
                  <a:pt x="2012" y="2070"/>
                  <a:pt x="2010" y="2069"/>
                </a:cubicBezTo>
                <a:cubicBezTo>
                  <a:pt x="2009" y="2068"/>
                  <a:pt x="2008" y="2066"/>
                  <a:pt x="2007" y="2064"/>
                </a:cubicBezTo>
                <a:cubicBezTo>
                  <a:pt x="2006" y="2062"/>
                  <a:pt x="2006" y="2061"/>
                  <a:pt x="2008" y="2059"/>
                </a:cubicBezTo>
                <a:cubicBezTo>
                  <a:pt x="2012" y="2057"/>
                  <a:pt x="2012" y="2054"/>
                  <a:pt x="2012" y="2050"/>
                </a:cubicBezTo>
                <a:cubicBezTo>
                  <a:pt x="2012" y="2048"/>
                  <a:pt x="2012" y="2046"/>
                  <a:pt x="2012" y="2044"/>
                </a:cubicBezTo>
                <a:cubicBezTo>
                  <a:pt x="2010" y="2043"/>
                  <a:pt x="2008" y="2043"/>
                  <a:pt x="2008" y="2042"/>
                </a:cubicBezTo>
                <a:cubicBezTo>
                  <a:pt x="2006" y="2040"/>
                  <a:pt x="2006" y="2038"/>
                  <a:pt x="2006" y="2036"/>
                </a:cubicBezTo>
                <a:cubicBezTo>
                  <a:pt x="2005" y="2033"/>
                  <a:pt x="2009" y="2031"/>
                  <a:pt x="2012" y="2030"/>
                </a:cubicBezTo>
                <a:cubicBezTo>
                  <a:pt x="2012" y="2031"/>
                  <a:pt x="2012" y="2031"/>
                  <a:pt x="2012" y="2032"/>
                </a:cubicBezTo>
                <a:cubicBezTo>
                  <a:pt x="2012" y="2033"/>
                  <a:pt x="2012" y="2034"/>
                  <a:pt x="2013" y="2035"/>
                </a:cubicBezTo>
                <a:cubicBezTo>
                  <a:pt x="2012" y="2035"/>
                  <a:pt x="2012" y="2035"/>
                  <a:pt x="2011" y="2035"/>
                </a:cubicBezTo>
                <a:cubicBezTo>
                  <a:pt x="2011" y="2036"/>
                  <a:pt x="2010" y="2037"/>
                  <a:pt x="2010" y="2039"/>
                </a:cubicBezTo>
                <a:cubicBezTo>
                  <a:pt x="2011" y="2039"/>
                  <a:pt x="2012" y="2039"/>
                  <a:pt x="2012" y="2039"/>
                </a:cubicBezTo>
                <a:cubicBezTo>
                  <a:pt x="2013" y="2037"/>
                  <a:pt x="2014" y="2037"/>
                  <a:pt x="2015" y="2035"/>
                </a:cubicBezTo>
                <a:cubicBezTo>
                  <a:pt x="2019" y="2029"/>
                  <a:pt x="2025" y="2025"/>
                  <a:pt x="2033" y="2023"/>
                </a:cubicBezTo>
                <a:cubicBezTo>
                  <a:pt x="2036" y="2023"/>
                  <a:pt x="2039" y="2022"/>
                  <a:pt x="2041" y="2019"/>
                </a:cubicBezTo>
                <a:cubicBezTo>
                  <a:pt x="2041" y="2018"/>
                  <a:pt x="2042" y="2018"/>
                  <a:pt x="2043" y="2018"/>
                </a:cubicBezTo>
                <a:cubicBezTo>
                  <a:pt x="2045" y="2018"/>
                  <a:pt x="2047" y="2015"/>
                  <a:pt x="2049" y="2013"/>
                </a:cubicBezTo>
                <a:cubicBezTo>
                  <a:pt x="2056" y="2006"/>
                  <a:pt x="2068" y="2005"/>
                  <a:pt x="2076" y="2012"/>
                </a:cubicBezTo>
                <a:cubicBezTo>
                  <a:pt x="2078" y="2014"/>
                  <a:pt x="2081" y="2016"/>
                  <a:pt x="2083" y="2018"/>
                </a:cubicBezTo>
                <a:cubicBezTo>
                  <a:pt x="2085" y="2019"/>
                  <a:pt x="2086" y="2021"/>
                  <a:pt x="2087" y="2023"/>
                </a:cubicBezTo>
                <a:cubicBezTo>
                  <a:pt x="2088" y="2024"/>
                  <a:pt x="2089" y="2024"/>
                  <a:pt x="2090" y="2023"/>
                </a:cubicBezTo>
                <a:cubicBezTo>
                  <a:pt x="2091" y="2023"/>
                  <a:pt x="2092" y="2022"/>
                  <a:pt x="2092" y="2021"/>
                </a:cubicBezTo>
                <a:cubicBezTo>
                  <a:pt x="2094" y="2018"/>
                  <a:pt x="2097" y="2018"/>
                  <a:pt x="2099" y="2022"/>
                </a:cubicBezTo>
                <a:cubicBezTo>
                  <a:pt x="2100" y="2025"/>
                  <a:pt x="2101" y="2027"/>
                  <a:pt x="2101" y="2031"/>
                </a:cubicBezTo>
                <a:cubicBezTo>
                  <a:pt x="2102" y="2035"/>
                  <a:pt x="2101" y="2039"/>
                  <a:pt x="2100" y="2044"/>
                </a:cubicBezTo>
                <a:cubicBezTo>
                  <a:pt x="2097" y="2050"/>
                  <a:pt x="2093" y="2054"/>
                  <a:pt x="2086" y="2054"/>
                </a:cubicBezTo>
                <a:cubicBezTo>
                  <a:pt x="2085" y="2054"/>
                  <a:pt x="2085" y="2054"/>
                  <a:pt x="2084" y="2054"/>
                </a:cubicBezTo>
                <a:cubicBezTo>
                  <a:pt x="2082" y="2053"/>
                  <a:pt x="2081" y="2054"/>
                  <a:pt x="2080" y="2056"/>
                </a:cubicBezTo>
                <a:cubicBezTo>
                  <a:pt x="2078" y="2060"/>
                  <a:pt x="2073" y="2062"/>
                  <a:pt x="2069" y="2059"/>
                </a:cubicBezTo>
                <a:cubicBezTo>
                  <a:pt x="2068" y="2058"/>
                  <a:pt x="2067" y="2057"/>
                  <a:pt x="2066" y="2056"/>
                </a:cubicBezTo>
                <a:cubicBezTo>
                  <a:pt x="2066" y="2056"/>
                  <a:pt x="2066" y="2056"/>
                  <a:pt x="2065" y="2056"/>
                </a:cubicBezTo>
                <a:close/>
                <a:moveTo>
                  <a:pt x="2060" y="2052"/>
                </a:moveTo>
                <a:cubicBezTo>
                  <a:pt x="2063" y="2053"/>
                  <a:pt x="2067" y="2054"/>
                  <a:pt x="2070" y="2057"/>
                </a:cubicBezTo>
                <a:cubicBezTo>
                  <a:pt x="2071" y="2059"/>
                  <a:pt x="2073" y="2060"/>
                  <a:pt x="2075" y="2059"/>
                </a:cubicBezTo>
                <a:cubicBezTo>
                  <a:pt x="2078" y="2058"/>
                  <a:pt x="2079" y="2056"/>
                  <a:pt x="2079" y="2053"/>
                </a:cubicBezTo>
                <a:cubicBezTo>
                  <a:pt x="2079" y="2053"/>
                  <a:pt x="2078" y="2053"/>
                  <a:pt x="2078" y="2054"/>
                </a:cubicBezTo>
                <a:cubicBezTo>
                  <a:pt x="2078" y="2055"/>
                  <a:pt x="2077" y="2056"/>
                  <a:pt x="2076" y="2057"/>
                </a:cubicBezTo>
                <a:cubicBezTo>
                  <a:pt x="2075" y="2058"/>
                  <a:pt x="2074" y="2058"/>
                  <a:pt x="2073" y="2058"/>
                </a:cubicBezTo>
                <a:cubicBezTo>
                  <a:pt x="2072" y="2058"/>
                  <a:pt x="2072" y="2056"/>
                  <a:pt x="2072" y="2056"/>
                </a:cubicBezTo>
                <a:cubicBezTo>
                  <a:pt x="2072" y="2053"/>
                  <a:pt x="2072" y="2051"/>
                  <a:pt x="2072" y="2049"/>
                </a:cubicBezTo>
                <a:cubicBezTo>
                  <a:pt x="2075" y="2050"/>
                  <a:pt x="2079" y="2051"/>
                  <a:pt x="2082" y="2052"/>
                </a:cubicBezTo>
                <a:cubicBezTo>
                  <a:pt x="2090" y="2053"/>
                  <a:pt x="2095" y="2051"/>
                  <a:pt x="2099" y="2043"/>
                </a:cubicBezTo>
                <a:cubicBezTo>
                  <a:pt x="2100" y="2038"/>
                  <a:pt x="2100" y="2033"/>
                  <a:pt x="2099" y="2028"/>
                </a:cubicBezTo>
                <a:cubicBezTo>
                  <a:pt x="2099" y="2026"/>
                  <a:pt x="2098" y="2024"/>
                  <a:pt x="2097" y="2022"/>
                </a:cubicBezTo>
                <a:cubicBezTo>
                  <a:pt x="2096" y="2021"/>
                  <a:pt x="2095" y="2020"/>
                  <a:pt x="2094" y="2022"/>
                </a:cubicBezTo>
                <a:cubicBezTo>
                  <a:pt x="2092" y="2024"/>
                  <a:pt x="2091" y="2025"/>
                  <a:pt x="2089" y="2026"/>
                </a:cubicBezTo>
                <a:cubicBezTo>
                  <a:pt x="2088" y="2026"/>
                  <a:pt x="2087" y="2027"/>
                  <a:pt x="2088" y="2028"/>
                </a:cubicBezTo>
                <a:cubicBezTo>
                  <a:pt x="2088" y="2031"/>
                  <a:pt x="2088" y="2035"/>
                  <a:pt x="2086" y="2038"/>
                </a:cubicBezTo>
                <a:cubicBezTo>
                  <a:pt x="2086" y="2036"/>
                  <a:pt x="2087" y="2034"/>
                  <a:pt x="2087" y="2032"/>
                </a:cubicBezTo>
                <a:cubicBezTo>
                  <a:pt x="2087" y="2031"/>
                  <a:pt x="2086" y="2031"/>
                  <a:pt x="2086" y="2031"/>
                </a:cubicBezTo>
                <a:cubicBezTo>
                  <a:pt x="2086" y="2031"/>
                  <a:pt x="2085" y="2031"/>
                  <a:pt x="2085" y="2031"/>
                </a:cubicBezTo>
                <a:cubicBezTo>
                  <a:pt x="2084" y="2033"/>
                  <a:pt x="2083" y="2034"/>
                  <a:pt x="2083" y="2035"/>
                </a:cubicBezTo>
                <a:cubicBezTo>
                  <a:pt x="2082" y="2035"/>
                  <a:pt x="2082" y="2035"/>
                  <a:pt x="2082" y="2035"/>
                </a:cubicBezTo>
                <a:cubicBezTo>
                  <a:pt x="2083" y="2034"/>
                  <a:pt x="2083" y="2032"/>
                  <a:pt x="2083" y="2030"/>
                </a:cubicBezTo>
                <a:cubicBezTo>
                  <a:pt x="2082" y="2031"/>
                  <a:pt x="2082" y="2031"/>
                  <a:pt x="2081" y="2032"/>
                </a:cubicBezTo>
                <a:cubicBezTo>
                  <a:pt x="2081" y="2032"/>
                  <a:pt x="2080" y="2033"/>
                  <a:pt x="2080" y="2034"/>
                </a:cubicBezTo>
                <a:cubicBezTo>
                  <a:pt x="2080" y="2030"/>
                  <a:pt x="2081" y="2030"/>
                  <a:pt x="2086" y="2029"/>
                </a:cubicBezTo>
                <a:cubicBezTo>
                  <a:pt x="2086" y="2029"/>
                  <a:pt x="2085" y="2028"/>
                  <a:pt x="2085" y="2028"/>
                </a:cubicBezTo>
                <a:cubicBezTo>
                  <a:pt x="2083" y="2029"/>
                  <a:pt x="2082" y="2027"/>
                  <a:pt x="2081" y="2025"/>
                </a:cubicBezTo>
                <a:cubicBezTo>
                  <a:pt x="2083" y="2024"/>
                  <a:pt x="2085" y="2024"/>
                  <a:pt x="2086" y="2024"/>
                </a:cubicBezTo>
                <a:cubicBezTo>
                  <a:pt x="2085" y="2021"/>
                  <a:pt x="2083" y="2018"/>
                  <a:pt x="2080" y="2018"/>
                </a:cubicBezTo>
                <a:cubicBezTo>
                  <a:pt x="2079" y="2018"/>
                  <a:pt x="2079" y="2018"/>
                  <a:pt x="2079" y="2017"/>
                </a:cubicBezTo>
                <a:cubicBezTo>
                  <a:pt x="2077" y="2015"/>
                  <a:pt x="2074" y="2013"/>
                  <a:pt x="2072" y="2011"/>
                </a:cubicBezTo>
                <a:cubicBezTo>
                  <a:pt x="2069" y="2010"/>
                  <a:pt x="2066" y="2009"/>
                  <a:pt x="2064" y="2009"/>
                </a:cubicBezTo>
                <a:cubicBezTo>
                  <a:pt x="2061" y="2009"/>
                  <a:pt x="2058" y="2010"/>
                  <a:pt x="2055" y="2011"/>
                </a:cubicBezTo>
                <a:cubicBezTo>
                  <a:pt x="2052" y="2012"/>
                  <a:pt x="2049" y="2014"/>
                  <a:pt x="2048" y="2017"/>
                </a:cubicBezTo>
                <a:cubicBezTo>
                  <a:pt x="2049" y="2017"/>
                  <a:pt x="2050" y="2017"/>
                  <a:pt x="2052" y="2017"/>
                </a:cubicBezTo>
                <a:cubicBezTo>
                  <a:pt x="2051" y="2018"/>
                  <a:pt x="2050" y="2018"/>
                  <a:pt x="2050" y="2018"/>
                </a:cubicBezTo>
                <a:cubicBezTo>
                  <a:pt x="2047" y="2019"/>
                  <a:pt x="2045" y="2018"/>
                  <a:pt x="2043" y="2020"/>
                </a:cubicBezTo>
                <a:cubicBezTo>
                  <a:pt x="2039" y="2024"/>
                  <a:pt x="2035" y="2028"/>
                  <a:pt x="2032" y="2032"/>
                </a:cubicBezTo>
                <a:cubicBezTo>
                  <a:pt x="2030" y="2034"/>
                  <a:pt x="2029" y="2037"/>
                  <a:pt x="2028" y="2039"/>
                </a:cubicBezTo>
                <a:cubicBezTo>
                  <a:pt x="2028" y="2039"/>
                  <a:pt x="2028" y="2040"/>
                  <a:pt x="2028" y="2041"/>
                </a:cubicBezTo>
                <a:cubicBezTo>
                  <a:pt x="2030" y="2043"/>
                  <a:pt x="2031" y="2045"/>
                  <a:pt x="2032" y="2046"/>
                </a:cubicBezTo>
                <a:cubicBezTo>
                  <a:pt x="2034" y="2045"/>
                  <a:pt x="2035" y="2043"/>
                  <a:pt x="2036" y="2042"/>
                </a:cubicBezTo>
                <a:cubicBezTo>
                  <a:pt x="2035" y="2043"/>
                  <a:pt x="2035" y="2045"/>
                  <a:pt x="2034" y="2046"/>
                </a:cubicBezTo>
                <a:cubicBezTo>
                  <a:pt x="2034" y="2047"/>
                  <a:pt x="2033" y="2048"/>
                  <a:pt x="2032" y="2050"/>
                </a:cubicBezTo>
                <a:cubicBezTo>
                  <a:pt x="2032" y="2051"/>
                  <a:pt x="2032" y="2052"/>
                  <a:pt x="2033" y="2053"/>
                </a:cubicBezTo>
                <a:cubicBezTo>
                  <a:pt x="2035" y="2056"/>
                  <a:pt x="2038" y="2056"/>
                  <a:pt x="2042" y="2054"/>
                </a:cubicBezTo>
                <a:cubicBezTo>
                  <a:pt x="2045" y="2053"/>
                  <a:pt x="2047" y="2052"/>
                  <a:pt x="2050" y="2051"/>
                </a:cubicBezTo>
                <a:cubicBezTo>
                  <a:pt x="2052" y="2050"/>
                  <a:pt x="2053" y="2050"/>
                  <a:pt x="2053" y="2048"/>
                </a:cubicBezTo>
                <a:cubicBezTo>
                  <a:pt x="2053" y="2045"/>
                  <a:pt x="2053" y="2041"/>
                  <a:pt x="2053" y="2038"/>
                </a:cubicBezTo>
                <a:cubicBezTo>
                  <a:pt x="2053" y="2035"/>
                  <a:pt x="2053" y="2032"/>
                  <a:pt x="2053" y="2029"/>
                </a:cubicBezTo>
                <a:cubicBezTo>
                  <a:pt x="2054" y="2032"/>
                  <a:pt x="2054" y="2035"/>
                  <a:pt x="2054" y="2037"/>
                </a:cubicBezTo>
                <a:cubicBezTo>
                  <a:pt x="2055" y="2042"/>
                  <a:pt x="2055" y="2046"/>
                  <a:pt x="2054" y="2050"/>
                </a:cubicBezTo>
                <a:cubicBezTo>
                  <a:pt x="2054" y="2051"/>
                  <a:pt x="2053" y="2052"/>
                  <a:pt x="2052" y="2052"/>
                </a:cubicBezTo>
                <a:cubicBezTo>
                  <a:pt x="2049" y="2052"/>
                  <a:pt x="2046" y="2054"/>
                  <a:pt x="2043" y="2056"/>
                </a:cubicBezTo>
                <a:cubicBezTo>
                  <a:pt x="2037" y="2059"/>
                  <a:pt x="2034" y="2057"/>
                  <a:pt x="2030" y="2053"/>
                </a:cubicBezTo>
                <a:cubicBezTo>
                  <a:pt x="2030" y="2053"/>
                  <a:pt x="2030" y="2052"/>
                  <a:pt x="2030" y="2051"/>
                </a:cubicBezTo>
                <a:cubicBezTo>
                  <a:pt x="2032" y="2049"/>
                  <a:pt x="2030" y="2047"/>
                  <a:pt x="2029" y="2045"/>
                </a:cubicBezTo>
                <a:cubicBezTo>
                  <a:pt x="2027" y="2043"/>
                  <a:pt x="2026" y="2041"/>
                  <a:pt x="2027" y="2038"/>
                </a:cubicBezTo>
                <a:cubicBezTo>
                  <a:pt x="2027" y="2036"/>
                  <a:pt x="2028" y="2034"/>
                  <a:pt x="2030" y="2033"/>
                </a:cubicBezTo>
                <a:cubicBezTo>
                  <a:pt x="2031" y="2030"/>
                  <a:pt x="2034" y="2027"/>
                  <a:pt x="2035" y="2025"/>
                </a:cubicBezTo>
                <a:cubicBezTo>
                  <a:pt x="2035" y="2025"/>
                  <a:pt x="2034" y="2025"/>
                  <a:pt x="2034" y="2025"/>
                </a:cubicBezTo>
                <a:cubicBezTo>
                  <a:pt x="2029" y="2026"/>
                  <a:pt x="2025" y="2027"/>
                  <a:pt x="2021" y="2031"/>
                </a:cubicBezTo>
                <a:cubicBezTo>
                  <a:pt x="2016" y="2035"/>
                  <a:pt x="2014" y="2040"/>
                  <a:pt x="2013" y="2047"/>
                </a:cubicBezTo>
                <a:cubicBezTo>
                  <a:pt x="2013" y="2054"/>
                  <a:pt x="2015" y="2060"/>
                  <a:pt x="2019" y="2065"/>
                </a:cubicBezTo>
                <a:cubicBezTo>
                  <a:pt x="2019" y="2066"/>
                  <a:pt x="2020" y="2068"/>
                  <a:pt x="2019" y="2069"/>
                </a:cubicBezTo>
                <a:cubicBezTo>
                  <a:pt x="2019" y="2071"/>
                  <a:pt x="2019" y="2072"/>
                  <a:pt x="2018" y="2073"/>
                </a:cubicBezTo>
                <a:cubicBezTo>
                  <a:pt x="2018" y="2075"/>
                  <a:pt x="2018" y="2076"/>
                  <a:pt x="2019" y="2077"/>
                </a:cubicBezTo>
                <a:cubicBezTo>
                  <a:pt x="2023" y="2077"/>
                  <a:pt x="2025" y="2078"/>
                  <a:pt x="2028" y="2078"/>
                </a:cubicBezTo>
                <a:cubicBezTo>
                  <a:pt x="2029" y="2078"/>
                  <a:pt x="2030" y="2077"/>
                  <a:pt x="2030" y="2077"/>
                </a:cubicBezTo>
                <a:cubicBezTo>
                  <a:pt x="2030" y="2076"/>
                  <a:pt x="2030" y="2074"/>
                  <a:pt x="2031" y="2073"/>
                </a:cubicBezTo>
                <a:cubicBezTo>
                  <a:pt x="2033" y="2071"/>
                  <a:pt x="2033" y="2068"/>
                  <a:pt x="2033" y="2065"/>
                </a:cubicBezTo>
                <a:cubicBezTo>
                  <a:pt x="2033" y="2065"/>
                  <a:pt x="2033" y="2065"/>
                  <a:pt x="2033" y="2064"/>
                </a:cubicBezTo>
                <a:cubicBezTo>
                  <a:pt x="2033" y="2064"/>
                  <a:pt x="2033" y="2064"/>
                  <a:pt x="2033" y="2064"/>
                </a:cubicBezTo>
                <a:cubicBezTo>
                  <a:pt x="2033" y="2066"/>
                  <a:pt x="2035" y="2066"/>
                  <a:pt x="2037" y="2066"/>
                </a:cubicBezTo>
                <a:cubicBezTo>
                  <a:pt x="2037" y="2066"/>
                  <a:pt x="2039" y="2066"/>
                  <a:pt x="2039" y="2066"/>
                </a:cubicBezTo>
                <a:cubicBezTo>
                  <a:pt x="2042" y="2066"/>
                  <a:pt x="2045" y="2067"/>
                  <a:pt x="2046" y="2063"/>
                </a:cubicBezTo>
                <a:cubicBezTo>
                  <a:pt x="2046" y="2065"/>
                  <a:pt x="2046" y="2067"/>
                  <a:pt x="2046" y="2067"/>
                </a:cubicBezTo>
                <a:cubicBezTo>
                  <a:pt x="2044" y="2068"/>
                  <a:pt x="2043" y="2069"/>
                  <a:pt x="2042" y="2069"/>
                </a:cubicBezTo>
                <a:cubicBezTo>
                  <a:pt x="2040" y="2070"/>
                  <a:pt x="2040" y="2072"/>
                  <a:pt x="2041" y="2073"/>
                </a:cubicBezTo>
                <a:cubicBezTo>
                  <a:pt x="2042" y="2075"/>
                  <a:pt x="2043" y="2077"/>
                  <a:pt x="2045" y="2079"/>
                </a:cubicBezTo>
                <a:cubicBezTo>
                  <a:pt x="2046" y="2080"/>
                  <a:pt x="2048" y="2080"/>
                  <a:pt x="2050" y="2078"/>
                </a:cubicBezTo>
                <a:cubicBezTo>
                  <a:pt x="2050" y="2077"/>
                  <a:pt x="2051" y="2077"/>
                  <a:pt x="2052" y="2076"/>
                </a:cubicBezTo>
                <a:cubicBezTo>
                  <a:pt x="2053" y="2075"/>
                  <a:pt x="2055" y="2073"/>
                  <a:pt x="2056" y="2072"/>
                </a:cubicBezTo>
                <a:cubicBezTo>
                  <a:pt x="2061" y="2068"/>
                  <a:pt x="2063" y="2062"/>
                  <a:pt x="2064" y="2056"/>
                </a:cubicBezTo>
                <a:cubicBezTo>
                  <a:pt x="2064" y="2056"/>
                  <a:pt x="2063" y="2055"/>
                  <a:pt x="2063" y="2054"/>
                </a:cubicBezTo>
                <a:cubicBezTo>
                  <a:pt x="2062" y="2053"/>
                  <a:pt x="2061" y="2052"/>
                  <a:pt x="2060" y="2052"/>
                </a:cubicBezTo>
                <a:close/>
                <a:moveTo>
                  <a:pt x="2013" y="2058"/>
                </a:moveTo>
                <a:cubicBezTo>
                  <a:pt x="2012" y="2059"/>
                  <a:pt x="2010" y="2060"/>
                  <a:pt x="2009" y="2061"/>
                </a:cubicBezTo>
                <a:cubicBezTo>
                  <a:pt x="2009" y="2061"/>
                  <a:pt x="2008" y="2062"/>
                  <a:pt x="2008" y="2063"/>
                </a:cubicBezTo>
                <a:cubicBezTo>
                  <a:pt x="2008" y="2065"/>
                  <a:pt x="2013" y="2070"/>
                  <a:pt x="2016" y="2069"/>
                </a:cubicBezTo>
                <a:cubicBezTo>
                  <a:pt x="2017" y="2069"/>
                  <a:pt x="2018" y="2068"/>
                  <a:pt x="2017" y="2067"/>
                </a:cubicBezTo>
                <a:cubicBezTo>
                  <a:pt x="2016" y="2064"/>
                  <a:pt x="2014" y="2061"/>
                  <a:pt x="2013" y="2058"/>
                </a:cubicBezTo>
                <a:close/>
                <a:moveTo>
                  <a:pt x="2065" y="2060"/>
                </a:moveTo>
                <a:cubicBezTo>
                  <a:pt x="2063" y="2065"/>
                  <a:pt x="2061" y="2069"/>
                  <a:pt x="2058" y="2073"/>
                </a:cubicBezTo>
                <a:cubicBezTo>
                  <a:pt x="2061" y="2073"/>
                  <a:pt x="2063" y="2074"/>
                  <a:pt x="2066" y="2073"/>
                </a:cubicBezTo>
                <a:cubicBezTo>
                  <a:pt x="2066" y="2073"/>
                  <a:pt x="2067" y="2072"/>
                  <a:pt x="2067" y="2072"/>
                </a:cubicBezTo>
                <a:cubicBezTo>
                  <a:pt x="2067" y="2069"/>
                  <a:pt x="2067" y="2067"/>
                  <a:pt x="2066" y="2064"/>
                </a:cubicBezTo>
                <a:cubicBezTo>
                  <a:pt x="2066" y="2063"/>
                  <a:pt x="2066" y="2062"/>
                  <a:pt x="2065" y="2060"/>
                </a:cubicBezTo>
                <a:close/>
                <a:moveTo>
                  <a:pt x="2013" y="2040"/>
                </a:moveTo>
                <a:cubicBezTo>
                  <a:pt x="2012" y="2040"/>
                  <a:pt x="2011" y="2041"/>
                  <a:pt x="2011" y="2041"/>
                </a:cubicBezTo>
                <a:cubicBezTo>
                  <a:pt x="2010" y="2041"/>
                  <a:pt x="2009" y="2041"/>
                  <a:pt x="2009" y="2040"/>
                </a:cubicBezTo>
                <a:cubicBezTo>
                  <a:pt x="2009" y="2040"/>
                  <a:pt x="2008" y="2039"/>
                  <a:pt x="2008" y="2038"/>
                </a:cubicBezTo>
                <a:cubicBezTo>
                  <a:pt x="2009" y="2036"/>
                  <a:pt x="2010" y="2034"/>
                  <a:pt x="2010" y="2032"/>
                </a:cubicBezTo>
                <a:cubicBezTo>
                  <a:pt x="2010" y="2032"/>
                  <a:pt x="2010" y="2032"/>
                  <a:pt x="2010" y="2032"/>
                </a:cubicBezTo>
                <a:cubicBezTo>
                  <a:pt x="2009" y="2033"/>
                  <a:pt x="2008" y="2034"/>
                  <a:pt x="2007" y="2035"/>
                </a:cubicBezTo>
                <a:cubicBezTo>
                  <a:pt x="2006" y="2036"/>
                  <a:pt x="2008" y="2041"/>
                  <a:pt x="2009" y="2042"/>
                </a:cubicBezTo>
                <a:cubicBezTo>
                  <a:pt x="2011" y="2043"/>
                  <a:pt x="2013" y="2042"/>
                  <a:pt x="2013" y="2040"/>
                </a:cubicBezTo>
                <a:close/>
                <a:moveTo>
                  <a:pt x="2013" y="2058"/>
                </a:moveTo>
                <a:cubicBezTo>
                  <a:pt x="2012" y="2058"/>
                  <a:pt x="2010" y="2059"/>
                  <a:pt x="2009" y="2060"/>
                </a:cubicBezTo>
                <a:cubicBezTo>
                  <a:pt x="2009" y="2061"/>
                  <a:pt x="2008" y="2062"/>
                  <a:pt x="2008" y="2062"/>
                </a:cubicBezTo>
                <a:cubicBezTo>
                  <a:pt x="2008" y="2065"/>
                  <a:pt x="2013" y="2070"/>
                  <a:pt x="2016" y="2069"/>
                </a:cubicBezTo>
                <a:cubicBezTo>
                  <a:pt x="2017" y="2069"/>
                  <a:pt x="2018" y="2068"/>
                  <a:pt x="2017" y="2066"/>
                </a:cubicBezTo>
                <a:cubicBezTo>
                  <a:pt x="2016" y="2063"/>
                  <a:pt x="2014" y="2060"/>
                  <a:pt x="2013" y="2058"/>
                </a:cubicBezTo>
                <a:close/>
                <a:moveTo>
                  <a:pt x="2065" y="2060"/>
                </a:moveTo>
                <a:cubicBezTo>
                  <a:pt x="2063" y="2064"/>
                  <a:pt x="2060" y="2069"/>
                  <a:pt x="2058" y="2073"/>
                </a:cubicBezTo>
                <a:cubicBezTo>
                  <a:pt x="2061" y="2073"/>
                  <a:pt x="2063" y="2073"/>
                  <a:pt x="2066" y="2073"/>
                </a:cubicBezTo>
                <a:cubicBezTo>
                  <a:pt x="2066" y="2073"/>
                  <a:pt x="2067" y="2072"/>
                  <a:pt x="2067" y="2071"/>
                </a:cubicBezTo>
                <a:cubicBezTo>
                  <a:pt x="2067" y="2069"/>
                  <a:pt x="2067" y="2066"/>
                  <a:pt x="2066" y="2064"/>
                </a:cubicBezTo>
                <a:cubicBezTo>
                  <a:pt x="2066" y="2062"/>
                  <a:pt x="2066" y="2061"/>
                  <a:pt x="2065" y="2060"/>
                </a:cubicBezTo>
                <a:close/>
                <a:moveTo>
                  <a:pt x="2012" y="2040"/>
                </a:moveTo>
                <a:cubicBezTo>
                  <a:pt x="2012" y="2040"/>
                  <a:pt x="2011" y="2040"/>
                  <a:pt x="2011" y="2040"/>
                </a:cubicBezTo>
                <a:cubicBezTo>
                  <a:pt x="2010" y="2040"/>
                  <a:pt x="2009" y="2040"/>
                  <a:pt x="2009" y="2040"/>
                </a:cubicBezTo>
                <a:cubicBezTo>
                  <a:pt x="2009" y="2040"/>
                  <a:pt x="2008" y="2039"/>
                  <a:pt x="2008" y="2038"/>
                </a:cubicBezTo>
                <a:cubicBezTo>
                  <a:pt x="2009" y="2036"/>
                  <a:pt x="2009" y="2034"/>
                  <a:pt x="2010" y="2032"/>
                </a:cubicBezTo>
                <a:cubicBezTo>
                  <a:pt x="2010" y="2032"/>
                  <a:pt x="2010" y="2032"/>
                  <a:pt x="2009" y="2032"/>
                </a:cubicBezTo>
                <a:cubicBezTo>
                  <a:pt x="2009" y="2033"/>
                  <a:pt x="2007" y="2034"/>
                  <a:pt x="2007" y="2035"/>
                </a:cubicBezTo>
                <a:cubicBezTo>
                  <a:pt x="2006" y="2036"/>
                  <a:pt x="2007" y="2041"/>
                  <a:pt x="2009" y="2042"/>
                </a:cubicBezTo>
                <a:cubicBezTo>
                  <a:pt x="2011" y="2043"/>
                  <a:pt x="2012" y="2042"/>
                  <a:pt x="2012" y="2040"/>
                </a:cubicBezTo>
                <a:close/>
                <a:moveTo>
                  <a:pt x="2065" y="2031"/>
                </a:moveTo>
                <a:cubicBezTo>
                  <a:pt x="2068" y="2028"/>
                  <a:pt x="2068" y="2028"/>
                  <a:pt x="2072" y="2026"/>
                </a:cubicBezTo>
                <a:cubicBezTo>
                  <a:pt x="2072" y="2028"/>
                  <a:pt x="2073" y="2030"/>
                  <a:pt x="2074" y="2030"/>
                </a:cubicBezTo>
                <a:cubicBezTo>
                  <a:pt x="2072" y="2031"/>
                  <a:pt x="2070" y="2032"/>
                  <a:pt x="2068" y="2034"/>
                </a:cubicBezTo>
                <a:cubicBezTo>
                  <a:pt x="2068" y="2033"/>
                  <a:pt x="2067" y="2032"/>
                  <a:pt x="2066" y="2031"/>
                </a:cubicBezTo>
                <a:cubicBezTo>
                  <a:pt x="2066" y="2031"/>
                  <a:pt x="2066" y="2031"/>
                  <a:pt x="2065" y="2031"/>
                </a:cubicBezTo>
                <a:close/>
                <a:moveTo>
                  <a:pt x="2071" y="2031"/>
                </a:moveTo>
                <a:cubicBezTo>
                  <a:pt x="2070" y="2030"/>
                  <a:pt x="2069" y="2030"/>
                  <a:pt x="2069" y="2030"/>
                </a:cubicBezTo>
                <a:cubicBezTo>
                  <a:pt x="2068" y="2030"/>
                  <a:pt x="2068" y="2031"/>
                  <a:pt x="2068" y="2031"/>
                </a:cubicBezTo>
                <a:cubicBezTo>
                  <a:pt x="2068" y="2032"/>
                  <a:pt x="2068" y="2032"/>
                  <a:pt x="2068" y="2032"/>
                </a:cubicBezTo>
                <a:cubicBezTo>
                  <a:pt x="2069" y="2032"/>
                  <a:pt x="2069" y="2032"/>
                  <a:pt x="2071" y="2031"/>
                </a:cubicBezTo>
                <a:close/>
                <a:moveTo>
                  <a:pt x="2052" y="2021"/>
                </a:moveTo>
                <a:cubicBezTo>
                  <a:pt x="2045" y="2021"/>
                  <a:pt x="2042" y="2023"/>
                  <a:pt x="2041" y="2031"/>
                </a:cubicBezTo>
                <a:cubicBezTo>
                  <a:pt x="2042" y="2029"/>
                  <a:pt x="2044" y="2026"/>
                  <a:pt x="2045" y="2024"/>
                </a:cubicBezTo>
                <a:cubicBezTo>
                  <a:pt x="2045" y="2024"/>
                  <a:pt x="2045" y="2024"/>
                  <a:pt x="2045" y="2024"/>
                </a:cubicBezTo>
                <a:cubicBezTo>
                  <a:pt x="2045" y="2025"/>
                  <a:pt x="2046" y="2026"/>
                  <a:pt x="2046" y="2027"/>
                </a:cubicBezTo>
                <a:cubicBezTo>
                  <a:pt x="2047" y="2024"/>
                  <a:pt x="2048" y="2022"/>
                  <a:pt x="2052" y="2021"/>
                </a:cubicBezTo>
                <a:close/>
                <a:moveTo>
                  <a:pt x="2096" y="2023"/>
                </a:moveTo>
                <a:cubicBezTo>
                  <a:pt x="2094" y="2024"/>
                  <a:pt x="2092" y="2026"/>
                  <a:pt x="2090" y="2027"/>
                </a:cubicBezTo>
                <a:cubicBezTo>
                  <a:pt x="2092" y="2027"/>
                  <a:pt x="2094" y="2026"/>
                  <a:pt x="2096" y="2023"/>
                </a:cubicBezTo>
                <a:close/>
                <a:moveTo>
                  <a:pt x="2062" y="2025"/>
                </a:moveTo>
                <a:cubicBezTo>
                  <a:pt x="2063" y="2024"/>
                  <a:pt x="2064" y="2022"/>
                  <a:pt x="2066" y="2021"/>
                </a:cubicBezTo>
                <a:cubicBezTo>
                  <a:pt x="2062" y="2022"/>
                  <a:pt x="2061" y="2023"/>
                  <a:pt x="2062" y="2025"/>
                </a:cubicBezTo>
                <a:close/>
                <a:moveTo>
                  <a:pt x="2072" y="2046"/>
                </a:moveTo>
                <a:cubicBezTo>
                  <a:pt x="2070" y="2047"/>
                  <a:pt x="2070" y="2048"/>
                  <a:pt x="2070" y="2049"/>
                </a:cubicBezTo>
                <a:cubicBezTo>
                  <a:pt x="2070" y="2048"/>
                  <a:pt x="2071" y="2047"/>
                  <a:pt x="2072" y="2046"/>
                </a:cubicBezTo>
                <a:close/>
                <a:moveTo>
                  <a:pt x="2071" y="2031"/>
                </a:moveTo>
                <a:cubicBezTo>
                  <a:pt x="2070" y="2031"/>
                  <a:pt x="2069" y="2030"/>
                  <a:pt x="2069" y="2030"/>
                </a:cubicBezTo>
                <a:cubicBezTo>
                  <a:pt x="2068" y="2030"/>
                  <a:pt x="2068" y="2031"/>
                  <a:pt x="2068" y="2031"/>
                </a:cubicBezTo>
                <a:cubicBezTo>
                  <a:pt x="2068" y="2032"/>
                  <a:pt x="2068" y="2032"/>
                  <a:pt x="2068" y="2033"/>
                </a:cubicBezTo>
                <a:cubicBezTo>
                  <a:pt x="2069" y="2032"/>
                  <a:pt x="2069" y="2032"/>
                  <a:pt x="2071" y="2031"/>
                </a:cubicBezTo>
                <a:close/>
                <a:moveTo>
                  <a:pt x="3701" y="2177"/>
                </a:moveTo>
                <a:cubicBezTo>
                  <a:pt x="3704" y="2158"/>
                  <a:pt x="3704" y="2158"/>
                  <a:pt x="3704" y="2158"/>
                </a:cubicBezTo>
                <a:cubicBezTo>
                  <a:pt x="3695" y="2158"/>
                  <a:pt x="3695" y="2158"/>
                  <a:pt x="3695" y="2158"/>
                </a:cubicBezTo>
                <a:cubicBezTo>
                  <a:pt x="3695" y="2146"/>
                  <a:pt x="3695" y="2146"/>
                  <a:pt x="3695" y="2146"/>
                </a:cubicBezTo>
                <a:cubicBezTo>
                  <a:pt x="3706" y="2146"/>
                  <a:pt x="3706" y="2146"/>
                  <a:pt x="3706" y="2146"/>
                </a:cubicBezTo>
                <a:cubicBezTo>
                  <a:pt x="3708" y="2135"/>
                  <a:pt x="3708" y="2135"/>
                  <a:pt x="3708" y="2135"/>
                </a:cubicBezTo>
                <a:cubicBezTo>
                  <a:pt x="3698" y="2135"/>
                  <a:pt x="3698" y="2135"/>
                  <a:pt x="3698" y="2135"/>
                </a:cubicBezTo>
                <a:cubicBezTo>
                  <a:pt x="3698" y="2123"/>
                  <a:pt x="3698" y="2123"/>
                  <a:pt x="3698" y="2123"/>
                </a:cubicBezTo>
                <a:cubicBezTo>
                  <a:pt x="3710" y="2123"/>
                  <a:pt x="3710" y="2123"/>
                  <a:pt x="3710" y="2123"/>
                </a:cubicBezTo>
                <a:cubicBezTo>
                  <a:pt x="3712" y="2105"/>
                  <a:pt x="3712" y="2105"/>
                  <a:pt x="3712" y="2105"/>
                </a:cubicBezTo>
                <a:cubicBezTo>
                  <a:pt x="3724" y="2105"/>
                  <a:pt x="3724" y="2105"/>
                  <a:pt x="3724" y="2105"/>
                </a:cubicBezTo>
                <a:cubicBezTo>
                  <a:pt x="3721" y="2123"/>
                  <a:pt x="3721" y="2123"/>
                  <a:pt x="3721" y="2123"/>
                </a:cubicBezTo>
                <a:cubicBezTo>
                  <a:pt x="3730" y="2123"/>
                  <a:pt x="3730" y="2123"/>
                  <a:pt x="3730" y="2123"/>
                </a:cubicBezTo>
                <a:cubicBezTo>
                  <a:pt x="3733" y="2105"/>
                  <a:pt x="3733" y="2105"/>
                  <a:pt x="3733" y="2105"/>
                </a:cubicBezTo>
                <a:cubicBezTo>
                  <a:pt x="3745" y="2105"/>
                  <a:pt x="3745" y="2105"/>
                  <a:pt x="3745" y="2105"/>
                </a:cubicBezTo>
                <a:cubicBezTo>
                  <a:pt x="3742" y="2123"/>
                  <a:pt x="3742" y="2123"/>
                  <a:pt x="3742" y="2123"/>
                </a:cubicBezTo>
                <a:cubicBezTo>
                  <a:pt x="3751" y="2123"/>
                  <a:pt x="3751" y="2123"/>
                  <a:pt x="3751" y="2123"/>
                </a:cubicBezTo>
                <a:cubicBezTo>
                  <a:pt x="3751" y="2135"/>
                  <a:pt x="3751" y="2135"/>
                  <a:pt x="3751" y="2135"/>
                </a:cubicBezTo>
                <a:cubicBezTo>
                  <a:pt x="3740" y="2135"/>
                  <a:pt x="3740" y="2135"/>
                  <a:pt x="3740" y="2135"/>
                </a:cubicBezTo>
                <a:cubicBezTo>
                  <a:pt x="3738" y="2146"/>
                  <a:pt x="3738" y="2146"/>
                  <a:pt x="3738" y="2146"/>
                </a:cubicBezTo>
                <a:cubicBezTo>
                  <a:pt x="3747" y="2146"/>
                  <a:pt x="3747" y="2146"/>
                  <a:pt x="3747" y="2146"/>
                </a:cubicBezTo>
                <a:cubicBezTo>
                  <a:pt x="3747" y="2158"/>
                  <a:pt x="3747" y="2158"/>
                  <a:pt x="3747" y="2158"/>
                </a:cubicBezTo>
                <a:cubicBezTo>
                  <a:pt x="3736" y="2158"/>
                  <a:pt x="3736" y="2158"/>
                  <a:pt x="3736" y="2158"/>
                </a:cubicBezTo>
                <a:cubicBezTo>
                  <a:pt x="3734" y="2177"/>
                  <a:pt x="3734" y="2177"/>
                  <a:pt x="3734" y="2177"/>
                </a:cubicBezTo>
                <a:cubicBezTo>
                  <a:pt x="3722" y="2177"/>
                  <a:pt x="3722" y="2177"/>
                  <a:pt x="3722" y="2177"/>
                </a:cubicBezTo>
                <a:cubicBezTo>
                  <a:pt x="3725" y="2158"/>
                  <a:pt x="3725" y="2158"/>
                  <a:pt x="3725" y="2158"/>
                </a:cubicBezTo>
                <a:cubicBezTo>
                  <a:pt x="3715" y="2158"/>
                  <a:pt x="3715" y="2158"/>
                  <a:pt x="3715" y="2158"/>
                </a:cubicBezTo>
                <a:cubicBezTo>
                  <a:pt x="3713" y="2177"/>
                  <a:pt x="3713" y="2177"/>
                  <a:pt x="3713" y="2177"/>
                </a:cubicBezTo>
                <a:cubicBezTo>
                  <a:pt x="3701" y="2177"/>
                  <a:pt x="3701" y="2177"/>
                  <a:pt x="3701" y="2177"/>
                </a:cubicBezTo>
                <a:cubicBezTo>
                  <a:pt x="3701" y="2177"/>
                  <a:pt x="3701" y="2177"/>
                  <a:pt x="3701" y="2177"/>
                </a:cubicBezTo>
                <a:close/>
                <a:moveTo>
                  <a:pt x="3727" y="2146"/>
                </a:moveTo>
                <a:cubicBezTo>
                  <a:pt x="3729" y="2135"/>
                  <a:pt x="3729" y="2135"/>
                  <a:pt x="3729" y="2135"/>
                </a:cubicBezTo>
                <a:cubicBezTo>
                  <a:pt x="3719" y="2135"/>
                  <a:pt x="3719" y="2135"/>
                  <a:pt x="3719" y="2135"/>
                </a:cubicBezTo>
                <a:cubicBezTo>
                  <a:pt x="3718" y="2146"/>
                  <a:pt x="3718" y="2146"/>
                  <a:pt x="3718" y="2146"/>
                </a:cubicBezTo>
                <a:cubicBezTo>
                  <a:pt x="3727" y="2146"/>
                  <a:pt x="3727" y="2146"/>
                  <a:pt x="3727" y="2146"/>
                </a:cubicBezTo>
                <a:cubicBezTo>
                  <a:pt x="3727" y="2146"/>
                  <a:pt x="3727" y="2146"/>
                  <a:pt x="3727" y="2146"/>
                </a:cubicBezTo>
                <a:close/>
                <a:moveTo>
                  <a:pt x="2586" y="2151"/>
                </a:moveTo>
                <a:cubicBezTo>
                  <a:pt x="2586" y="2153"/>
                  <a:pt x="2587" y="2154"/>
                  <a:pt x="2588" y="2155"/>
                </a:cubicBezTo>
                <a:cubicBezTo>
                  <a:pt x="2588" y="2157"/>
                  <a:pt x="2588" y="2159"/>
                  <a:pt x="2589" y="2161"/>
                </a:cubicBezTo>
                <a:cubicBezTo>
                  <a:pt x="2589" y="2162"/>
                  <a:pt x="2589" y="2164"/>
                  <a:pt x="2589" y="2165"/>
                </a:cubicBezTo>
                <a:cubicBezTo>
                  <a:pt x="2590" y="2168"/>
                  <a:pt x="2589" y="2170"/>
                  <a:pt x="2586" y="2170"/>
                </a:cubicBezTo>
                <a:cubicBezTo>
                  <a:pt x="2583" y="2170"/>
                  <a:pt x="2580" y="2170"/>
                  <a:pt x="2577" y="2170"/>
                </a:cubicBezTo>
                <a:cubicBezTo>
                  <a:pt x="2577" y="2170"/>
                  <a:pt x="2576" y="2170"/>
                  <a:pt x="2576" y="2170"/>
                </a:cubicBezTo>
                <a:cubicBezTo>
                  <a:pt x="2574" y="2172"/>
                  <a:pt x="2573" y="2173"/>
                  <a:pt x="2572" y="2174"/>
                </a:cubicBezTo>
                <a:cubicBezTo>
                  <a:pt x="2570" y="2177"/>
                  <a:pt x="2566" y="2177"/>
                  <a:pt x="2564" y="2175"/>
                </a:cubicBezTo>
                <a:cubicBezTo>
                  <a:pt x="2562" y="2173"/>
                  <a:pt x="2561" y="2170"/>
                  <a:pt x="2559" y="2168"/>
                </a:cubicBezTo>
                <a:cubicBezTo>
                  <a:pt x="2559" y="2166"/>
                  <a:pt x="2559" y="2164"/>
                  <a:pt x="2561" y="2163"/>
                </a:cubicBezTo>
                <a:cubicBezTo>
                  <a:pt x="2559" y="2163"/>
                  <a:pt x="2557" y="2163"/>
                  <a:pt x="2556" y="2163"/>
                </a:cubicBezTo>
                <a:cubicBezTo>
                  <a:pt x="2555" y="2165"/>
                  <a:pt x="2554" y="2167"/>
                  <a:pt x="2553" y="2169"/>
                </a:cubicBezTo>
                <a:cubicBezTo>
                  <a:pt x="2553" y="2170"/>
                  <a:pt x="2552" y="2170"/>
                  <a:pt x="2552" y="2171"/>
                </a:cubicBezTo>
                <a:cubicBezTo>
                  <a:pt x="2552" y="2174"/>
                  <a:pt x="2551" y="2176"/>
                  <a:pt x="2548" y="2175"/>
                </a:cubicBezTo>
                <a:cubicBezTo>
                  <a:pt x="2545" y="2175"/>
                  <a:pt x="2542" y="2174"/>
                  <a:pt x="2539" y="2173"/>
                </a:cubicBezTo>
                <a:cubicBezTo>
                  <a:pt x="2537" y="2172"/>
                  <a:pt x="2537" y="2171"/>
                  <a:pt x="2537" y="2169"/>
                </a:cubicBezTo>
                <a:cubicBezTo>
                  <a:pt x="2537" y="2168"/>
                  <a:pt x="2537" y="2167"/>
                  <a:pt x="2538" y="2167"/>
                </a:cubicBezTo>
                <a:cubicBezTo>
                  <a:pt x="2536" y="2166"/>
                  <a:pt x="2533" y="2165"/>
                  <a:pt x="2531" y="2164"/>
                </a:cubicBezTo>
                <a:cubicBezTo>
                  <a:pt x="2530" y="2163"/>
                  <a:pt x="2529" y="2161"/>
                  <a:pt x="2528" y="2159"/>
                </a:cubicBezTo>
                <a:cubicBezTo>
                  <a:pt x="2527" y="2157"/>
                  <a:pt x="2527" y="2156"/>
                  <a:pt x="2529" y="2154"/>
                </a:cubicBezTo>
                <a:cubicBezTo>
                  <a:pt x="2532" y="2152"/>
                  <a:pt x="2533" y="2149"/>
                  <a:pt x="2532" y="2145"/>
                </a:cubicBezTo>
                <a:cubicBezTo>
                  <a:pt x="2532" y="2143"/>
                  <a:pt x="2532" y="2141"/>
                  <a:pt x="2532" y="2139"/>
                </a:cubicBezTo>
                <a:cubicBezTo>
                  <a:pt x="2531" y="2138"/>
                  <a:pt x="2529" y="2138"/>
                  <a:pt x="2528" y="2137"/>
                </a:cubicBezTo>
                <a:cubicBezTo>
                  <a:pt x="2527" y="2135"/>
                  <a:pt x="2526" y="2133"/>
                  <a:pt x="2526" y="2131"/>
                </a:cubicBezTo>
                <a:cubicBezTo>
                  <a:pt x="2526" y="2128"/>
                  <a:pt x="2530" y="2126"/>
                  <a:pt x="2532" y="2125"/>
                </a:cubicBezTo>
                <a:cubicBezTo>
                  <a:pt x="2533" y="2126"/>
                  <a:pt x="2533" y="2126"/>
                  <a:pt x="2533" y="2127"/>
                </a:cubicBezTo>
                <a:cubicBezTo>
                  <a:pt x="2533" y="2128"/>
                  <a:pt x="2533" y="2129"/>
                  <a:pt x="2534" y="2130"/>
                </a:cubicBezTo>
                <a:cubicBezTo>
                  <a:pt x="2533" y="2130"/>
                  <a:pt x="2532" y="2130"/>
                  <a:pt x="2532" y="2130"/>
                </a:cubicBezTo>
                <a:cubicBezTo>
                  <a:pt x="2532" y="2131"/>
                  <a:pt x="2531" y="2132"/>
                  <a:pt x="2530" y="2134"/>
                </a:cubicBezTo>
                <a:cubicBezTo>
                  <a:pt x="2532" y="2134"/>
                  <a:pt x="2532" y="2134"/>
                  <a:pt x="2533" y="2134"/>
                </a:cubicBezTo>
                <a:cubicBezTo>
                  <a:pt x="2534" y="2132"/>
                  <a:pt x="2535" y="2132"/>
                  <a:pt x="2536" y="2130"/>
                </a:cubicBezTo>
                <a:cubicBezTo>
                  <a:pt x="2540" y="2124"/>
                  <a:pt x="2546" y="2120"/>
                  <a:pt x="2554" y="2118"/>
                </a:cubicBezTo>
                <a:cubicBezTo>
                  <a:pt x="2557" y="2118"/>
                  <a:pt x="2560" y="2117"/>
                  <a:pt x="2562" y="2114"/>
                </a:cubicBezTo>
                <a:cubicBezTo>
                  <a:pt x="2562" y="2113"/>
                  <a:pt x="2563" y="2113"/>
                  <a:pt x="2563" y="2113"/>
                </a:cubicBezTo>
                <a:cubicBezTo>
                  <a:pt x="2566" y="2113"/>
                  <a:pt x="2568" y="2110"/>
                  <a:pt x="2570" y="2108"/>
                </a:cubicBezTo>
                <a:cubicBezTo>
                  <a:pt x="2577" y="2101"/>
                  <a:pt x="2589" y="2100"/>
                  <a:pt x="2597" y="2107"/>
                </a:cubicBezTo>
                <a:cubicBezTo>
                  <a:pt x="2599" y="2109"/>
                  <a:pt x="2602" y="2111"/>
                  <a:pt x="2604" y="2113"/>
                </a:cubicBezTo>
                <a:cubicBezTo>
                  <a:pt x="2606" y="2114"/>
                  <a:pt x="2607" y="2116"/>
                  <a:pt x="2608" y="2118"/>
                </a:cubicBezTo>
                <a:cubicBezTo>
                  <a:pt x="2609" y="2119"/>
                  <a:pt x="2610" y="2119"/>
                  <a:pt x="2611" y="2118"/>
                </a:cubicBezTo>
                <a:cubicBezTo>
                  <a:pt x="2612" y="2118"/>
                  <a:pt x="2612" y="2117"/>
                  <a:pt x="2613" y="2116"/>
                </a:cubicBezTo>
                <a:cubicBezTo>
                  <a:pt x="2615" y="2113"/>
                  <a:pt x="2618" y="2113"/>
                  <a:pt x="2619" y="2117"/>
                </a:cubicBezTo>
                <a:cubicBezTo>
                  <a:pt x="2621" y="2120"/>
                  <a:pt x="2621" y="2123"/>
                  <a:pt x="2622" y="2126"/>
                </a:cubicBezTo>
                <a:cubicBezTo>
                  <a:pt x="2623" y="2130"/>
                  <a:pt x="2622" y="2134"/>
                  <a:pt x="2621" y="2139"/>
                </a:cubicBezTo>
                <a:cubicBezTo>
                  <a:pt x="2618" y="2145"/>
                  <a:pt x="2614" y="2149"/>
                  <a:pt x="2607" y="2149"/>
                </a:cubicBezTo>
                <a:cubicBezTo>
                  <a:pt x="2606" y="2149"/>
                  <a:pt x="2606" y="2149"/>
                  <a:pt x="2605" y="2149"/>
                </a:cubicBezTo>
                <a:cubicBezTo>
                  <a:pt x="2603" y="2148"/>
                  <a:pt x="2601" y="2149"/>
                  <a:pt x="2601" y="2151"/>
                </a:cubicBezTo>
                <a:cubicBezTo>
                  <a:pt x="2599" y="2155"/>
                  <a:pt x="2594" y="2157"/>
                  <a:pt x="2590" y="2154"/>
                </a:cubicBezTo>
                <a:cubicBezTo>
                  <a:pt x="2589" y="2153"/>
                  <a:pt x="2588" y="2152"/>
                  <a:pt x="2587" y="2151"/>
                </a:cubicBezTo>
                <a:cubicBezTo>
                  <a:pt x="2586" y="2151"/>
                  <a:pt x="2586" y="2151"/>
                  <a:pt x="2586" y="2151"/>
                </a:cubicBezTo>
                <a:close/>
                <a:moveTo>
                  <a:pt x="2581" y="2147"/>
                </a:moveTo>
                <a:cubicBezTo>
                  <a:pt x="2584" y="2148"/>
                  <a:pt x="2588" y="2149"/>
                  <a:pt x="2590" y="2152"/>
                </a:cubicBezTo>
                <a:cubicBezTo>
                  <a:pt x="2592" y="2154"/>
                  <a:pt x="2594" y="2155"/>
                  <a:pt x="2596" y="2154"/>
                </a:cubicBezTo>
                <a:cubicBezTo>
                  <a:pt x="2599" y="2153"/>
                  <a:pt x="2600" y="2151"/>
                  <a:pt x="2600" y="2148"/>
                </a:cubicBezTo>
                <a:cubicBezTo>
                  <a:pt x="2600" y="2148"/>
                  <a:pt x="2599" y="2148"/>
                  <a:pt x="2599" y="2149"/>
                </a:cubicBezTo>
                <a:cubicBezTo>
                  <a:pt x="2599" y="2150"/>
                  <a:pt x="2597" y="2151"/>
                  <a:pt x="2597" y="2152"/>
                </a:cubicBezTo>
                <a:cubicBezTo>
                  <a:pt x="2596" y="2153"/>
                  <a:pt x="2594" y="2153"/>
                  <a:pt x="2594" y="2153"/>
                </a:cubicBezTo>
                <a:cubicBezTo>
                  <a:pt x="2593" y="2153"/>
                  <a:pt x="2592" y="2151"/>
                  <a:pt x="2592" y="2151"/>
                </a:cubicBezTo>
                <a:cubicBezTo>
                  <a:pt x="2592" y="2148"/>
                  <a:pt x="2593" y="2146"/>
                  <a:pt x="2593" y="2144"/>
                </a:cubicBezTo>
                <a:cubicBezTo>
                  <a:pt x="2596" y="2145"/>
                  <a:pt x="2599" y="2146"/>
                  <a:pt x="2603" y="2147"/>
                </a:cubicBezTo>
                <a:cubicBezTo>
                  <a:pt x="2610" y="2148"/>
                  <a:pt x="2616" y="2146"/>
                  <a:pt x="2619" y="2138"/>
                </a:cubicBezTo>
                <a:cubicBezTo>
                  <a:pt x="2621" y="2133"/>
                  <a:pt x="2621" y="2128"/>
                  <a:pt x="2620" y="2123"/>
                </a:cubicBezTo>
                <a:cubicBezTo>
                  <a:pt x="2619" y="2121"/>
                  <a:pt x="2619" y="2119"/>
                  <a:pt x="2618" y="2117"/>
                </a:cubicBezTo>
                <a:cubicBezTo>
                  <a:pt x="2617" y="2116"/>
                  <a:pt x="2616" y="2115"/>
                  <a:pt x="2615" y="2117"/>
                </a:cubicBezTo>
                <a:cubicBezTo>
                  <a:pt x="2613" y="2119"/>
                  <a:pt x="2612" y="2120"/>
                  <a:pt x="2610" y="2121"/>
                </a:cubicBezTo>
                <a:cubicBezTo>
                  <a:pt x="2609" y="2121"/>
                  <a:pt x="2608" y="2122"/>
                  <a:pt x="2608" y="2123"/>
                </a:cubicBezTo>
                <a:cubicBezTo>
                  <a:pt x="2609" y="2126"/>
                  <a:pt x="2608" y="2130"/>
                  <a:pt x="2607" y="2133"/>
                </a:cubicBezTo>
                <a:cubicBezTo>
                  <a:pt x="2607" y="2131"/>
                  <a:pt x="2608" y="2129"/>
                  <a:pt x="2608" y="2127"/>
                </a:cubicBezTo>
                <a:cubicBezTo>
                  <a:pt x="2608" y="2126"/>
                  <a:pt x="2607" y="2126"/>
                  <a:pt x="2607" y="2126"/>
                </a:cubicBezTo>
                <a:cubicBezTo>
                  <a:pt x="2606" y="2126"/>
                  <a:pt x="2606" y="2126"/>
                  <a:pt x="2606" y="2126"/>
                </a:cubicBezTo>
                <a:cubicBezTo>
                  <a:pt x="2605" y="2128"/>
                  <a:pt x="2604" y="2129"/>
                  <a:pt x="2603" y="2130"/>
                </a:cubicBezTo>
                <a:cubicBezTo>
                  <a:pt x="2603" y="2130"/>
                  <a:pt x="2603" y="2130"/>
                  <a:pt x="2603" y="2130"/>
                </a:cubicBezTo>
                <a:cubicBezTo>
                  <a:pt x="2603" y="2129"/>
                  <a:pt x="2604" y="2127"/>
                  <a:pt x="2604" y="2125"/>
                </a:cubicBezTo>
                <a:cubicBezTo>
                  <a:pt x="2603" y="2126"/>
                  <a:pt x="2603" y="2126"/>
                  <a:pt x="2602" y="2127"/>
                </a:cubicBezTo>
                <a:cubicBezTo>
                  <a:pt x="2601" y="2127"/>
                  <a:pt x="2601" y="2128"/>
                  <a:pt x="2601" y="2129"/>
                </a:cubicBezTo>
                <a:cubicBezTo>
                  <a:pt x="2601" y="2125"/>
                  <a:pt x="2601" y="2125"/>
                  <a:pt x="2607" y="2124"/>
                </a:cubicBezTo>
                <a:cubicBezTo>
                  <a:pt x="2607" y="2124"/>
                  <a:pt x="2606" y="2123"/>
                  <a:pt x="2606" y="2123"/>
                </a:cubicBezTo>
                <a:cubicBezTo>
                  <a:pt x="2603" y="2124"/>
                  <a:pt x="2603" y="2122"/>
                  <a:pt x="2602" y="2120"/>
                </a:cubicBezTo>
                <a:cubicBezTo>
                  <a:pt x="2604" y="2119"/>
                  <a:pt x="2605" y="2119"/>
                  <a:pt x="2607" y="2119"/>
                </a:cubicBezTo>
                <a:cubicBezTo>
                  <a:pt x="2605" y="2116"/>
                  <a:pt x="2604" y="2113"/>
                  <a:pt x="2601" y="2113"/>
                </a:cubicBezTo>
                <a:cubicBezTo>
                  <a:pt x="2600" y="2113"/>
                  <a:pt x="2600" y="2113"/>
                  <a:pt x="2600" y="2112"/>
                </a:cubicBezTo>
                <a:cubicBezTo>
                  <a:pt x="2597" y="2110"/>
                  <a:pt x="2595" y="2108"/>
                  <a:pt x="2592" y="2106"/>
                </a:cubicBezTo>
                <a:cubicBezTo>
                  <a:pt x="2590" y="2105"/>
                  <a:pt x="2587" y="2104"/>
                  <a:pt x="2585" y="2104"/>
                </a:cubicBezTo>
                <a:cubicBezTo>
                  <a:pt x="2582" y="2104"/>
                  <a:pt x="2579" y="2106"/>
                  <a:pt x="2576" y="2106"/>
                </a:cubicBezTo>
                <a:cubicBezTo>
                  <a:pt x="2573" y="2107"/>
                  <a:pt x="2570" y="2109"/>
                  <a:pt x="2568" y="2112"/>
                </a:cubicBezTo>
                <a:cubicBezTo>
                  <a:pt x="2570" y="2112"/>
                  <a:pt x="2571" y="2112"/>
                  <a:pt x="2572" y="2112"/>
                </a:cubicBezTo>
                <a:cubicBezTo>
                  <a:pt x="2572" y="2113"/>
                  <a:pt x="2571" y="2113"/>
                  <a:pt x="2570" y="2113"/>
                </a:cubicBezTo>
                <a:cubicBezTo>
                  <a:pt x="2568" y="2114"/>
                  <a:pt x="2565" y="2113"/>
                  <a:pt x="2563" y="2115"/>
                </a:cubicBezTo>
                <a:cubicBezTo>
                  <a:pt x="2560" y="2119"/>
                  <a:pt x="2556" y="2123"/>
                  <a:pt x="2552" y="2127"/>
                </a:cubicBezTo>
                <a:cubicBezTo>
                  <a:pt x="2551" y="2129"/>
                  <a:pt x="2550" y="2132"/>
                  <a:pt x="2549" y="2134"/>
                </a:cubicBezTo>
                <a:cubicBezTo>
                  <a:pt x="2549" y="2134"/>
                  <a:pt x="2549" y="2135"/>
                  <a:pt x="2549" y="2136"/>
                </a:cubicBezTo>
                <a:cubicBezTo>
                  <a:pt x="2550" y="2138"/>
                  <a:pt x="2552" y="2140"/>
                  <a:pt x="2553" y="2142"/>
                </a:cubicBezTo>
                <a:cubicBezTo>
                  <a:pt x="2554" y="2140"/>
                  <a:pt x="2556" y="2138"/>
                  <a:pt x="2557" y="2137"/>
                </a:cubicBezTo>
                <a:cubicBezTo>
                  <a:pt x="2556" y="2138"/>
                  <a:pt x="2556" y="2140"/>
                  <a:pt x="2555" y="2141"/>
                </a:cubicBezTo>
                <a:cubicBezTo>
                  <a:pt x="2554" y="2142"/>
                  <a:pt x="2554" y="2144"/>
                  <a:pt x="2553" y="2145"/>
                </a:cubicBezTo>
                <a:cubicBezTo>
                  <a:pt x="2553" y="2146"/>
                  <a:pt x="2553" y="2147"/>
                  <a:pt x="2554" y="2148"/>
                </a:cubicBezTo>
                <a:cubicBezTo>
                  <a:pt x="2556" y="2151"/>
                  <a:pt x="2559" y="2151"/>
                  <a:pt x="2563" y="2149"/>
                </a:cubicBezTo>
                <a:cubicBezTo>
                  <a:pt x="2565" y="2148"/>
                  <a:pt x="2568" y="2147"/>
                  <a:pt x="2571" y="2146"/>
                </a:cubicBezTo>
                <a:cubicBezTo>
                  <a:pt x="2572" y="2145"/>
                  <a:pt x="2574" y="2145"/>
                  <a:pt x="2574" y="2143"/>
                </a:cubicBezTo>
                <a:cubicBezTo>
                  <a:pt x="2574" y="2140"/>
                  <a:pt x="2574" y="2136"/>
                  <a:pt x="2574" y="2133"/>
                </a:cubicBezTo>
                <a:cubicBezTo>
                  <a:pt x="2574" y="2130"/>
                  <a:pt x="2574" y="2127"/>
                  <a:pt x="2574" y="2124"/>
                </a:cubicBezTo>
                <a:cubicBezTo>
                  <a:pt x="2574" y="2127"/>
                  <a:pt x="2575" y="2130"/>
                  <a:pt x="2575" y="2132"/>
                </a:cubicBezTo>
                <a:cubicBezTo>
                  <a:pt x="2576" y="2137"/>
                  <a:pt x="2576" y="2141"/>
                  <a:pt x="2575" y="2145"/>
                </a:cubicBezTo>
                <a:cubicBezTo>
                  <a:pt x="2574" y="2146"/>
                  <a:pt x="2574" y="2147"/>
                  <a:pt x="2573" y="2147"/>
                </a:cubicBezTo>
                <a:cubicBezTo>
                  <a:pt x="2570" y="2147"/>
                  <a:pt x="2566" y="2149"/>
                  <a:pt x="2563" y="2151"/>
                </a:cubicBezTo>
                <a:cubicBezTo>
                  <a:pt x="2558" y="2154"/>
                  <a:pt x="2555" y="2152"/>
                  <a:pt x="2551" y="2148"/>
                </a:cubicBezTo>
                <a:cubicBezTo>
                  <a:pt x="2551" y="2148"/>
                  <a:pt x="2551" y="2147"/>
                  <a:pt x="2551" y="2146"/>
                </a:cubicBezTo>
                <a:cubicBezTo>
                  <a:pt x="2552" y="2144"/>
                  <a:pt x="2551" y="2142"/>
                  <a:pt x="2550" y="2140"/>
                </a:cubicBezTo>
                <a:cubicBezTo>
                  <a:pt x="2548" y="2138"/>
                  <a:pt x="2546" y="2136"/>
                  <a:pt x="2548" y="2133"/>
                </a:cubicBezTo>
                <a:cubicBezTo>
                  <a:pt x="2548" y="2131"/>
                  <a:pt x="2549" y="2129"/>
                  <a:pt x="2550" y="2128"/>
                </a:cubicBezTo>
                <a:cubicBezTo>
                  <a:pt x="2552" y="2125"/>
                  <a:pt x="2554" y="2123"/>
                  <a:pt x="2556" y="2120"/>
                </a:cubicBezTo>
                <a:cubicBezTo>
                  <a:pt x="2556" y="2120"/>
                  <a:pt x="2555" y="2120"/>
                  <a:pt x="2555" y="2120"/>
                </a:cubicBezTo>
                <a:cubicBezTo>
                  <a:pt x="2550" y="2121"/>
                  <a:pt x="2546" y="2123"/>
                  <a:pt x="2542" y="2126"/>
                </a:cubicBezTo>
                <a:cubicBezTo>
                  <a:pt x="2537" y="2130"/>
                  <a:pt x="2534" y="2135"/>
                  <a:pt x="2534" y="2142"/>
                </a:cubicBezTo>
                <a:cubicBezTo>
                  <a:pt x="2534" y="2149"/>
                  <a:pt x="2536" y="2155"/>
                  <a:pt x="2539" y="2161"/>
                </a:cubicBezTo>
                <a:cubicBezTo>
                  <a:pt x="2540" y="2161"/>
                  <a:pt x="2541" y="2163"/>
                  <a:pt x="2540" y="2164"/>
                </a:cubicBezTo>
                <a:cubicBezTo>
                  <a:pt x="2540" y="2166"/>
                  <a:pt x="2540" y="2167"/>
                  <a:pt x="2539" y="2168"/>
                </a:cubicBezTo>
                <a:cubicBezTo>
                  <a:pt x="2539" y="2170"/>
                  <a:pt x="2539" y="2171"/>
                  <a:pt x="2540" y="2172"/>
                </a:cubicBezTo>
                <a:cubicBezTo>
                  <a:pt x="2543" y="2172"/>
                  <a:pt x="2546" y="2173"/>
                  <a:pt x="2549" y="2173"/>
                </a:cubicBezTo>
                <a:cubicBezTo>
                  <a:pt x="2550" y="2173"/>
                  <a:pt x="2550" y="2172"/>
                  <a:pt x="2550" y="2172"/>
                </a:cubicBezTo>
                <a:cubicBezTo>
                  <a:pt x="2551" y="2171"/>
                  <a:pt x="2551" y="2169"/>
                  <a:pt x="2552" y="2168"/>
                </a:cubicBezTo>
                <a:cubicBezTo>
                  <a:pt x="2554" y="2166"/>
                  <a:pt x="2554" y="2163"/>
                  <a:pt x="2554" y="2161"/>
                </a:cubicBezTo>
                <a:cubicBezTo>
                  <a:pt x="2554" y="2160"/>
                  <a:pt x="2554" y="2160"/>
                  <a:pt x="2554" y="2159"/>
                </a:cubicBezTo>
                <a:cubicBezTo>
                  <a:pt x="2554" y="2159"/>
                  <a:pt x="2554" y="2159"/>
                  <a:pt x="2554" y="2159"/>
                </a:cubicBezTo>
                <a:cubicBezTo>
                  <a:pt x="2554" y="2161"/>
                  <a:pt x="2556" y="2161"/>
                  <a:pt x="2557" y="2161"/>
                </a:cubicBezTo>
                <a:cubicBezTo>
                  <a:pt x="2558" y="2161"/>
                  <a:pt x="2559" y="2161"/>
                  <a:pt x="2560" y="2161"/>
                </a:cubicBezTo>
                <a:cubicBezTo>
                  <a:pt x="2563" y="2161"/>
                  <a:pt x="2566" y="2162"/>
                  <a:pt x="2566" y="2158"/>
                </a:cubicBezTo>
                <a:cubicBezTo>
                  <a:pt x="2566" y="2160"/>
                  <a:pt x="2566" y="2162"/>
                  <a:pt x="2566" y="2163"/>
                </a:cubicBezTo>
                <a:cubicBezTo>
                  <a:pt x="2565" y="2163"/>
                  <a:pt x="2564" y="2164"/>
                  <a:pt x="2563" y="2164"/>
                </a:cubicBezTo>
                <a:cubicBezTo>
                  <a:pt x="2561" y="2165"/>
                  <a:pt x="2561" y="2167"/>
                  <a:pt x="2561" y="2168"/>
                </a:cubicBezTo>
                <a:cubicBezTo>
                  <a:pt x="2563" y="2170"/>
                  <a:pt x="2564" y="2172"/>
                  <a:pt x="2565" y="2174"/>
                </a:cubicBezTo>
                <a:cubicBezTo>
                  <a:pt x="2567" y="2175"/>
                  <a:pt x="2569" y="2175"/>
                  <a:pt x="2570" y="2173"/>
                </a:cubicBezTo>
                <a:cubicBezTo>
                  <a:pt x="2571" y="2172"/>
                  <a:pt x="2572" y="2172"/>
                  <a:pt x="2572" y="2171"/>
                </a:cubicBezTo>
                <a:cubicBezTo>
                  <a:pt x="2574" y="2170"/>
                  <a:pt x="2576" y="2168"/>
                  <a:pt x="2577" y="2167"/>
                </a:cubicBezTo>
                <a:cubicBezTo>
                  <a:pt x="2581" y="2163"/>
                  <a:pt x="2583" y="2157"/>
                  <a:pt x="2585" y="2151"/>
                </a:cubicBezTo>
                <a:cubicBezTo>
                  <a:pt x="2585" y="2151"/>
                  <a:pt x="2584" y="2150"/>
                  <a:pt x="2584" y="2149"/>
                </a:cubicBezTo>
                <a:cubicBezTo>
                  <a:pt x="2583" y="2148"/>
                  <a:pt x="2582" y="2147"/>
                  <a:pt x="2581" y="2147"/>
                </a:cubicBezTo>
                <a:close/>
                <a:moveTo>
                  <a:pt x="2534" y="2153"/>
                </a:moveTo>
                <a:cubicBezTo>
                  <a:pt x="2533" y="2154"/>
                  <a:pt x="2531" y="2155"/>
                  <a:pt x="2530" y="2156"/>
                </a:cubicBezTo>
                <a:cubicBezTo>
                  <a:pt x="2530" y="2156"/>
                  <a:pt x="2529" y="2157"/>
                  <a:pt x="2529" y="2158"/>
                </a:cubicBezTo>
                <a:cubicBezTo>
                  <a:pt x="2529" y="2161"/>
                  <a:pt x="2534" y="2165"/>
                  <a:pt x="2537" y="2164"/>
                </a:cubicBezTo>
                <a:cubicBezTo>
                  <a:pt x="2538" y="2164"/>
                  <a:pt x="2539" y="2163"/>
                  <a:pt x="2538" y="2162"/>
                </a:cubicBezTo>
                <a:cubicBezTo>
                  <a:pt x="2537" y="2159"/>
                  <a:pt x="2535" y="2156"/>
                  <a:pt x="2534" y="2153"/>
                </a:cubicBezTo>
                <a:close/>
                <a:moveTo>
                  <a:pt x="2586" y="2155"/>
                </a:moveTo>
                <a:cubicBezTo>
                  <a:pt x="2584" y="2160"/>
                  <a:pt x="2581" y="2164"/>
                  <a:pt x="2579" y="2168"/>
                </a:cubicBezTo>
                <a:cubicBezTo>
                  <a:pt x="2582" y="2168"/>
                  <a:pt x="2584" y="2169"/>
                  <a:pt x="2587" y="2168"/>
                </a:cubicBezTo>
                <a:cubicBezTo>
                  <a:pt x="2587" y="2168"/>
                  <a:pt x="2588" y="2167"/>
                  <a:pt x="2588" y="2167"/>
                </a:cubicBezTo>
                <a:cubicBezTo>
                  <a:pt x="2588" y="2164"/>
                  <a:pt x="2588" y="2162"/>
                  <a:pt x="2587" y="2159"/>
                </a:cubicBezTo>
                <a:cubicBezTo>
                  <a:pt x="2587" y="2158"/>
                  <a:pt x="2586" y="2157"/>
                  <a:pt x="2586" y="2155"/>
                </a:cubicBezTo>
                <a:close/>
                <a:moveTo>
                  <a:pt x="2534" y="2135"/>
                </a:moveTo>
                <a:cubicBezTo>
                  <a:pt x="2533" y="2135"/>
                  <a:pt x="2532" y="2136"/>
                  <a:pt x="2532" y="2136"/>
                </a:cubicBezTo>
                <a:cubicBezTo>
                  <a:pt x="2531" y="2136"/>
                  <a:pt x="2530" y="2136"/>
                  <a:pt x="2530" y="2135"/>
                </a:cubicBezTo>
                <a:cubicBezTo>
                  <a:pt x="2530" y="2135"/>
                  <a:pt x="2529" y="2134"/>
                  <a:pt x="2529" y="2133"/>
                </a:cubicBezTo>
                <a:cubicBezTo>
                  <a:pt x="2530" y="2131"/>
                  <a:pt x="2530" y="2129"/>
                  <a:pt x="2531" y="2127"/>
                </a:cubicBezTo>
                <a:cubicBezTo>
                  <a:pt x="2531" y="2127"/>
                  <a:pt x="2531" y="2127"/>
                  <a:pt x="2530" y="2127"/>
                </a:cubicBezTo>
                <a:cubicBezTo>
                  <a:pt x="2530" y="2128"/>
                  <a:pt x="2528" y="2129"/>
                  <a:pt x="2528" y="2130"/>
                </a:cubicBezTo>
                <a:cubicBezTo>
                  <a:pt x="2527" y="2131"/>
                  <a:pt x="2528" y="2136"/>
                  <a:pt x="2530" y="2137"/>
                </a:cubicBezTo>
                <a:cubicBezTo>
                  <a:pt x="2532" y="2138"/>
                  <a:pt x="2534" y="2137"/>
                  <a:pt x="2534" y="2135"/>
                </a:cubicBezTo>
                <a:close/>
                <a:moveTo>
                  <a:pt x="2533" y="2153"/>
                </a:moveTo>
                <a:cubicBezTo>
                  <a:pt x="2532" y="2154"/>
                  <a:pt x="2531" y="2155"/>
                  <a:pt x="2530" y="2156"/>
                </a:cubicBezTo>
                <a:cubicBezTo>
                  <a:pt x="2529" y="2156"/>
                  <a:pt x="2529" y="2157"/>
                  <a:pt x="2529" y="2158"/>
                </a:cubicBezTo>
                <a:cubicBezTo>
                  <a:pt x="2529" y="2160"/>
                  <a:pt x="2533" y="2165"/>
                  <a:pt x="2536" y="2164"/>
                </a:cubicBezTo>
                <a:cubicBezTo>
                  <a:pt x="2538" y="2164"/>
                  <a:pt x="2539" y="2163"/>
                  <a:pt x="2538" y="2162"/>
                </a:cubicBezTo>
                <a:cubicBezTo>
                  <a:pt x="2536" y="2159"/>
                  <a:pt x="2535" y="2156"/>
                  <a:pt x="2533" y="2153"/>
                </a:cubicBezTo>
                <a:close/>
                <a:moveTo>
                  <a:pt x="2586" y="2155"/>
                </a:moveTo>
                <a:cubicBezTo>
                  <a:pt x="2584" y="2160"/>
                  <a:pt x="2581" y="2164"/>
                  <a:pt x="2579" y="2169"/>
                </a:cubicBezTo>
                <a:cubicBezTo>
                  <a:pt x="2582" y="2169"/>
                  <a:pt x="2584" y="2169"/>
                  <a:pt x="2587" y="2169"/>
                </a:cubicBezTo>
                <a:cubicBezTo>
                  <a:pt x="2587" y="2169"/>
                  <a:pt x="2588" y="2167"/>
                  <a:pt x="2588" y="2167"/>
                </a:cubicBezTo>
                <a:cubicBezTo>
                  <a:pt x="2588" y="2164"/>
                  <a:pt x="2588" y="2162"/>
                  <a:pt x="2587" y="2159"/>
                </a:cubicBezTo>
                <a:cubicBezTo>
                  <a:pt x="2587" y="2158"/>
                  <a:pt x="2586" y="2157"/>
                  <a:pt x="2586" y="2155"/>
                </a:cubicBezTo>
                <a:close/>
                <a:moveTo>
                  <a:pt x="2533" y="2135"/>
                </a:moveTo>
                <a:cubicBezTo>
                  <a:pt x="2533" y="2135"/>
                  <a:pt x="2532" y="2135"/>
                  <a:pt x="2531" y="2135"/>
                </a:cubicBezTo>
                <a:cubicBezTo>
                  <a:pt x="2531" y="2135"/>
                  <a:pt x="2530" y="2135"/>
                  <a:pt x="2530" y="2135"/>
                </a:cubicBezTo>
                <a:cubicBezTo>
                  <a:pt x="2529" y="2135"/>
                  <a:pt x="2529" y="2134"/>
                  <a:pt x="2529" y="2133"/>
                </a:cubicBezTo>
                <a:cubicBezTo>
                  <a:pt x="2530" y="2131"/>
                  <a:pt x="2530" y="2129"/>
                  <a:pt x="2531" y="2127"/>
                </a:cubicBezTo>
                <a:cubicBezTo>
                  <a:pt x="2531" y="2127"/>
                  <a:pt x="2531" y="2127"/>
                  <a:pt x="2530" y="2127"/>
                </a:cubicBezTo>
                <a:cubicBezTo>
                  <a:pt x="2529" y="2128"/>
                  <a:pt x="2528" y="2129"/>
                  <a:pt x="2527" y="2130"/>
                </a:cubicBezTo>
                <a:cubicBezTo>
                  <a:pt x="2527" y="2131"/>
                  <a:pt x="2528" y="2136"/>
                  <a:pt x="2530" y="2137"/>
                </a:cubicBezTo>
                <a:cubicBezTo>
                  <a:pt x="2531" y="2138"/>
                  <a:pt x="2533" y="2137"/>
                  <a:pt x="2533" y="2135"/>
                </a:cubicBezTo>
                <a:close/>
                <a:moveTo>
                  <a:pt x="2586" y="2126"/>
                </a:moveTo>
                <a:cubicBezTo>
                  <a:pt x="2589" y="2123"/>
                  <a:pt x="2589" y="2123"/>
                  <a:pt x="2593" y="2122"/>
                </a:cubicBezTo>
                <a:cubicBezTo>
                  <a:pt x="2593" y="2124"/>
                  <a:pt x="2594" y="2125"/>
                  <a:pt x="2595" y="2125"/>
                </a:cubicBezTo>
                <a:cubicBezTo>
                  <a:pt x="2593" y="2126"/>
                  <a:pt x="2591" y="2128"/>
                  <a:pt x="2589" y="2129"/>
                </a:cubicBezTo>
                <a:cubicBezTo>
                  <a:pt x="2588" y="2128"/>
                  <a:pt x="2588" y="2127"/>
                  <a:pt x="2587" y="2126"/>
                </a:cubicBezTo>
                <a:cubicBezTo>
                  <a:pt x="2587" y="2126"/>
                  <a:pt x="2586" y="2126"/>
                  <a:pt x="2586" y="2126"/>
                </a:cubicBezTo>
                <a:close/>
                <a:moveTo>
                  <a:pt x="2591" y="2126"/>
                </a:moveTo>
                <a:cubicBezTo>
                  <a:pt x="2591" y="2126"/>
                  <a:pt x="2590" y="2125"/>
                  <a:pt x="2589" y="2125"/>
                </a:cubicBezTo>
                <a:cubicBezTo>
                  <a:pt x="2589" y="2125"/>
                  <a:pt x="2588" y="2126"/>
                  <a:pt x="2588" y="2126"/>
                </a:cubicBezTo>
                <a:cubicBezTo>
                  <a:pt x="2588" y="2127"/>
                  <a:pt x="2589" y="2127"/>
                  <a:pt x="2589" y="2128"/>
                </a:cubicBezTo>
                <a:cubicBezTo>
                  <a:pt x="2590" y="2127"/>
                  <a:pt x="2590" y="2127"/>
                  <a:pt x="2591" y="2126"/>
                </a:cubicBezTo>
                <a:close/>
                <a:moveTo>
                  <a:pt x="2573" y="2117"/>
                </a:moveTo>
                <a:cubicBezTo>
                  <a:pt x="2566" y="2116"/>
                  <a:pt x="2563" y="2118"/>
                  <a:pt x="2562" y="2126"/>
                </a:cubicBezTo>
                <a:cubicBezTo>
                  <a:pt x="2563" y="2124"/>
                  <a:pt x="2564" y="2122"/>
                  <a:pt x="2566" y="2119"/>
                </a:cubicBezTo>
                <a:cubicBezTo>
                  <a:pt x="2566" y="2119"/>
                  <a:pt x="2566" y="2119"/>
                  <a:pt x="2566" y="2119"/>
                </a:cubicBezTo>
                <a:cubicBezTo>
                  <a:pt x="2566" y="2121"/>
                  <a:pt x="2566" y="2121"/>
                  <a:pt x="2566" y="2122"/>
                </a:cubicBezTo>
                <a:cubicBezTo>
                  <a:pt x="2568" y="2119"/>
                  <a:pt x="2569" y="2117"/>
                  <a:pt x="2573" y="2117"/>
                </a:cubicBezTo>
                <a:close/>
                <a:moveTo>
                  <a:pt x="2616" y="2118"/>
                </a:moveTo>
                <a:cubicBezTo>
                  <a:pt x="2614" y="2119"/>
                  <a:pt x="2612" y="2121"/>
                  <a:pt x="2611" y="2122"/>
                </a:cubicBezTo>
                <a:cubicBezTo>
                  <a:pt x="2613" y="2122"/>
                  <a:pt x="2615" y="2121"/>
                  <a:pt x="2616" y="2118"/>
                </a:cubicBezTo>
                <a:close/>
                <a:moveTo>
                  <a:pt x="2583" y="2120"/>
                </a:moveTo>
                <a:cubicBezTo>
                  <a:pt x="2584" y="2119"/>
                  <a:pt x="2585" y="2117"/>
                  <a:pt x="2587" y="2116"/>
                </a:cubicBezTo>
                <a:cubicBezTo>
                  <a:pt x="2583" y="2117"/>
                  <a:pt x="2582" y="2118"/>
                  <a:pt x="2583" y="2120"/>
                </a:cubicBezTo>
                <a:close/>
                <a:moveTo>
                  <a:pt x="2593" y="2142"/>
                </a:moveTo>
                <a:cubicBezTo>
                  <a:pt x="2591" y="2142"/>
                  <a:pt x="2590" y="2143"/>
                  <a:pt x="2590" y="2144"/>
                </a:cubicBezTo>
                <a:cubicBezTo>
                  <a:pt x="2591" y="2143"/>
                  <a:pt x="2592" y="2142"/>
                  <a:pt x="2593" y="2142"/>
                </a:cubicBezTo>
                <a:close/>
                <a:moveTo>
                  <a:pt x="2591" y="2126"/>
                </a:moveTo>
                <a:cubicBezTo>
                  <a:pt x="2591" y="2126"/>
                  <a:pt x="2590" y="2125"/>
                  <a:pt x="2590" y="2125"/>
                </a:cubicBezTo>
                <a:cubicBezTo>
                  <a:pt x="2589" y="2125"/>
                  <a:pt x="2588" y="2126"/>
                  <a:pt x="2588" y="2127"/>
                </a:cubicBezTo>
                <a:cubicBezTo>
                  <a:pt x="2588" y="2127"/>
                  <a:pt x="2589" y="2127"/>
                  <a:pt x="2589" y="2128"/>
                </a:cubicBezTo>
                <a:cubicBezTo>
                  <a:pt x="2590" y="2127"/>
                  <a:pt x="2590" y="2127"/>
                  <a:pt x="2591" y="2126"/>
                </a:cubicBezTo>
                <a:close/>
                <a:moveTo>
                  <a:pt x="3246" y="2104"/>
                </a:moveTo>
                <a:cubicBezTo>
                  <a:pt x="3246" y="2104"/>
                  <a:pt x="3246" y="2104"/>
                  <a:pt x="3246" y="2104"/>
                </a:cubicBezTo>
                <a:cubicBezTo>
                  <a:pt x="3240" y="2104"/>
                  <a:pt x="3240" y="2104"/>
                  <a:pt x="3240" y="2104"/>
                </a:cubicBezTo>
                <a:cubicBezTo>
                  <a:pt x="3238" y="2105"/>
                  <a:pt x="3237" y="2107"/>
                  <a:pt x="3235" y="2107"/>
                </a:cubicBezTo>
                <a:cubicBezTo>
                  <a:pt x="3233" y="2109"/>
                  <a:pt x="3232" y="2110"/>
                  <a:pt x="3229" y="2110"/>
                </a:cubicBezTo>
                <a:cubicBezTo>
                  <a:pt x="3228" y="2112"/>
                  <a:pt x="3226" y="2112"/>
                  <a:pt x="3224" y="2113"/>
                </a:cubicBezTo>
                <a:cubicBezTo>
                  <a:pt x="3222" y="2114"/>
                  <a:pt x="3220" y="2115"/>
                  <a:pt x="3218" y="2115"/>
                </a:cubicBezTo>
                <a:cubicBezTo>
                  <a:pt x="3218" y="2115"/>
                  <a:pt x="3218" y="2115"/>
                  <a:pt x="3218" y="2125"/>
                </a:cubicBezTo>
                <a:cubicBezTo>
                  <a:pt x="3221" y="2124"/>
                  <a:pt x="3224" y="2123"/>
                  <a:pt x="3227" y="2122"/>
                </a:cubicBezTo>
                <a:cubicBezTo>
                  <a:pt x="3229" y="2121"/>
                  <a:pt x="3232" y="2120"/>
                  <a:pt x="3234" y="2118"/>
                </a:cubicBezTo>
                <a:cubicBezTo>
                  <a:pt x="3234" y="2118"/>
                  <a:pt x="3234" y="2118"/>
                  <a:pt x="3234" y="2177"/>
                </a:cubicBezTo>
                <a:cubicBezTo>
                  <a:pt x="3234" y="2177"/>
                  <a:pt x="3234" y="2177"/>
                  <a:pt x="3246" y="2177"/>
                </a:cubicBezTo>
                <a:cubicBezTo>
                  <a:pt x="3246" y="2177"/>
                  <a:pt x="3246" y="2177"/>
                  <a:pt x="3246" y="2104"/>
                </a:cubicBezTo>
                <a:close/>
                <a:moveTo>
                  <a:pt x="3293" y="2104"/>
                </a:moveTo>
                <a:cubicBezTo>
                  <a:pt x="3293" y="2104"/>
                  <a:pt x="3293" y="2104"/>
                  <a:pt x="3293" y="2104"/>
                </a:cubicBezTo>
                <a:cubicBezTo>
                  <a:pt x="3288" y="2104"/>
                  <a:pt x="3288" y="2104"/>
                  <a:pt x="3288" y="2104"/>
                </a:cubicBezTo>
                <a:cubicBezTo>
                  <a:pt x="3286" y="2105"/>
                  <a:pt x="3284" y="2107"/>
                  <a:pt x="3282" y="2107"/>
                </a:cubicBezTo>
                <a:cubicBezTo>
                  <a:pt x="3281" y="2109"/>
                  <a:pt x="3278" y="2110"/>
                  <a:pt x="3277" y="2110"/>
                </a:cubicBezTo>
                <a:cubicBezTo>
                  <a:pt x="3275" y="2112"/>
                  <a:pt x="3273" y="2112"/>
                  <a:pt x="3272" y="2113"/>
                </a:cubicBezTo>
                <a:cubicBezTo>
                  <a:pt x="3269" y="2114"/>
                  <a:pt x="3268" y="2115"/>
                  <a:pt x="3266" y="2115"/>
                </a:cubicBezTo>
                <a:cubicBezTo>
                  <a:pt x="3266" y="2115"/>
                  <a:pt x="3266" y="2115"/>
                  <a:pt x="3266" y="2125"/>
                </a:cubicBezTo>
                <a:cubicBezTo>
                  <a:pt x="3269" y="2124"/>
                  <a:pt x="3272" y="2123"/>
                  <a:pt x="3274" y="2122"/>
                </a:cubicBezTo>
                <a:cubicBezTo>
                  <a:pt x="3277" y="2121"/>
                  <a:pt x="3279" y="2120"/>
                  <a:pt x="3281" y="2118"/>
                </a:cubicBezTo>
                <a:cubicBezTo>
                  <a:pt x="3281" y="2118"/>
                  <a:pt x="3281" y="2118"/>
                  <a:pt x="3281" y="2177"/>
                </a:cubicBezTo>
                <a:cubicBezTo>
                  <a:pt x="3281" y="2177"/>
                  <a:pt x="3281" y="2177"/>
                  <a:pt x="3293" y="2177"/>
                </a:cubicBezTo>
                <a:cubicBezTo>
                  <a:pt x="3293" y="2177"/>
                  <a:pt x="3293" y="2177"/>
                  <a:pt x="3293" y="2104"/>
                </a:cubicBezTo>
                <a:close/>
                <a:moveTo>
                  <a:pt x="3340" y="2104"/>
                </a:moveTo>
                <a:cubicBezTo>
                  <a:pt x="3340" y="2104"/>
                  <a:pt x="3340" y="2104"/>
                  <a:pt x="3340" y="2104"/>
                </a:cubicBezTo>
                <a:cubicBezTo>
                  <a:pt x="3335" y="2104"/>
                  <a:pt x="3335" y="2104"/>
                  <a:pt x="3335" y="2104"/>
                </a:cubicBezTo>
                <a:cubicBezTo>
                  <a:pt x="3333" y="2105"/>
                  <a:pt x="3332" y="2107"/>
                  <a:pt x="3329" y="2107"/>
                </a:cubicBezTo>
                <a:cubicBezTo>
                  <a:pt x="3328" y="2109"/>
                  <a:pt x="3326" y="2110"/>
                  <a:pt x="3324" y="2110"/>
                </a:cubicBezTo>
                <a:cubicBezTo>
                  <a:pt x="3322" y="2111"/>
                  <a:pt x="3321" y="2112"/>
                  <a:pt x="3318" y="2112"/>
                </a:cubicBezTo>
                <a:cubicBezTo>
                  <a:pt x="3317" y="2113"/>
                  <a:pt x="3315" y="2114"/>
                  <a:pt x="3313" y="2115"/>
                </a:cubicBezTo>
                <a:cubicBezTo>
                  <a:pt x="3313" y="2115"/>
                  <a:pt x="3313" y="2115"/>
                  <a:pt x="3313" y="2125"/>
                </a:cubicBezTo>
                <a:cubicBezTo>
                  <a:pt x="3316" y="2124"/>
                  <a:pt x="3319" y="2123"/>
                  <a:pt x="3321" y="2122"/>
                </a:cubicBezTo>
                <a:cubicBezTo>
                  <a:pt x="3324" y="2121"/>
                  <a:pt x="3326" y="2120"/>
                  <a:pt x="3328" y="2118"/>
                </a:cubicBezTo>
                <a:cubicBezTo>
                  <a:pt x="3328" y="2118"/>
                  <a:pt x="3328" y="2118"/>
                  <a:pt x="3328" y="2177"/>
                </a:cubicBezTo>
                <a:cubicBezTo>
                  <a:pt x="3328" y="2177"/>
                  <a:pt x="3328" y="2177"/>
                  <a:pt x="3340" y="2177"/>
                </a:cubicBezTo>
                <a:cubicBezTo>
                  <a:pt x="3340" y="2177"/>
                  <a:pt x="3340" y="2177"/>
                  <a:pt x="3340" y="2104"/>
                </a:cubicBezTo>
                <a:close/>
                <a:moveTo>
                  <a:pt x="3550" y="2009"/>
                </a:moveTo>
                <a:cubicBezTo>
                  <a:pt x="3550" y="2009"/>
                  <a:pt x="3550" y="2009"/>
                  <a:pt x="3550" y="2009"/>
                </a:cubicBezTo>
                <a:cubicBezTo>
                  <a:pt x="3545" y="2009"/>
                  <a:pt x="3545" y="2009"/>
                  <a:pt x="3545" y="2009"/>
                </a:cubicBezTo>
                <a:cubicBezTo>
                  <a:pt x="3543" y="2010"/>
                  <a:pt x="3542" y="2012"/>
                  <a:pt x="3539" y="2012"/>
                </a:cubicBezTo>
                <a:cubicBezTo>
                  <a:pt x="3538" y="2014"/>
                  <a:pt x="3536" y="2014"/>
                  <a:pt x="3534" y="2015"/>
                </a:cubicBezTo>
                <a:cubicBezTo>
                  <a:pt x="3532" y="2016"/>
                  <a:pt x="3530" y="2017"/>
                  <a:pt x="3529" y="2017"/>
                </a:cubicBezTo>
                <a:cubicBezTo>
                  <a:pt x="3527" y="2018"/>
                  <a:pt x="3525" y="2019"/>
                  <a:pt x="3523" y="2020"/>
                </a:cubicBezTo>
                <a:cubicBezTo>
                  <a:pt x="3523" y="2020"/>
                  <a:pt x="3523" y="2020"/>
                  <a:pt x="3523" y="2030"/>
                </a:cubicBezTo>
                <a:cubicBezTo>
                  <a:pt x="3526" y="2029"/>
                  <a:pt x="3529" y="2028"/>
                  <a:pt x="3531" y="2027"/>
                </a:cubicBezTo>
                <a:cubicBezTo>
                  <a:pt x="3534" y="2026"/>
                  <a:pt x="3536" y="2025"/>
                  <a:pt x="3539" y="2023"/>
                </a:cubicBezTo>
                <a:cubicBezTo>
                  <a:pt x="3539" y="2023"/>
                  <a:pt x="3539" y="2023"/>
                  <a:pt x="3539" y="2082"/>
                </a:cubicBezTo>
                <a:cubicBezTo>
                  <a:pt x="3539" y="2082"/>
                  <a:pt x="3539" y="2082"/>
                  <a:pt x="3550" y="2082"/>
                </a:cubicBezTo>
                <a:cubicBezTo>
                  <a:pt x="3550" y="2082"/>
                  <a:pt x="3550" y="2082"/>
                  <a:pt x="3550" y="2009"/>
                </a:cubicBezTo>
                <a:close/>
                <a:moveTo>
                  <a:pt x="3596" y="2009"/>
                </a:moveTo>
                <a:cubicBezTo>
                  <a:pt x="3596" y="2009"/>
                  <a:pt x="3596" y="2009"/>
                  <a:pt x="3596" y="2009"/>
                </a:cubicBezTo>
                <a:cubicBezTo>
                  <a:pt x="3591" y="2009"/>
                  <a:pt x="3591" y="2009"/>
                  <a:pt x="3591" y="2009"/>
                </a:cubicBezTo>
                <a:cubicBezTo>
                  <a:pt x="3589" y="2010"/>
                  <a:pt x="3588" y="2012"/>
                  <a:pt x="3586" y="2012"/>
                </a:cubicBezTo>
                <a:cubicBezTo>
                  <a:pt x="3584" y="2014"/>
                  <a:pt x="3582" y="2014"/>
                  <a:pt x="3581" y="2015"/>
                </a:cubicBezTo>
                <a:cubicBezTo>
                  <a:pt x="3579" y="2017"/>
                  <a:pt x="3577" y="2017"/>
                  <a:pt x="3576" y="2018"/>
                </a:cubicBezTo>
                <a:cubicBezTo>
                  <a:pt x="3574" y="2019"/>
                  <a:pt x="3572" y="2020"/>
                  <a:pt x="3570" y="2020"/>
                </a:cubicBezTo>
                <a:cubicBezTo>
                  <a:pt x="3570" y="2020"/>
                  <a:pt x="3570" y="2020"/>
                  <a:pt x="3570" y="2030"/>
                </a:cubicBezTo>
                <a:cubicBezTo>
                  <a:pt x="3573" y="2029"/>
                  <a:pt x="3576" y="2028"/>
                  <a:pt x="3578" y="2027"/>
                </a:cubicBezTo>
                <a:cubicBezTo>
                  <a:pt x="3581" y="2026"/>
                  <a:pt x="3583" y="2025"/>
                  <a:pt x="3585" y="2023"/>
                </a:cubicBezTo>
                <a:cubicBezTo>
                  <a:pt x="3585" y="2023"/>
                  <a:pt x="3585" y="2023"/>
                  <a:pt x="3585" y="2082"/>
                </a:cubicBezTo>
                <a:cubicBezTo>
                  <a:pt x="3585" y="2082"/>
                  <a:pt x="3585" y="2082"/>
                  <a:pt x="3596" y="2082"/>
                </a:cubicBezTo>
                <a:cubicBezTo>
                  <a:pt x="3596" y="2082"/>
                  <a:pt x="3596" y="2082"/>
                  <a:pt x="3596" y="2009"/>
                </a:cubicBezTo>
                <a:close/>
                <a:moveTo>
                  <a:pt x="3643" y="2009"/>
                </a:moveTo>
                <a:cubicBezTo>
                  <a:pt x="3643" y="2009"/>
                  <a:pt x="3643" y="2009"/>
                  <a:pt x="3643" y="2009"/>
                </a:cubicBezTo>
                <a:cubicBezTo>
                  <a:pt x="3638" y="2009"/>
                  <a:pt x="3638" y="2009"/>
                  <a:pt x="3638" y="2009"/>
                </a:cubicBezTo>
                <a:cubicBezTo>
                  <a:pt x="3636" y="2010"/>
                  <a:pt x="3635" y="2012"/>
                  <a:pt x="3632" y="2012"/>
                </a:cubicBezTo>
                <a:cubicBezTo>
                  <a:pt x="3631" y="2014"/>
                  <a:pt x="3629" y="2014"/>
                  <a:pt x="3627" y="2015"/>
                </a:cubicBezTo>
                <a:cubicBezTo>
                  <a:pt x="3625" y="2017"/>
                  <a:pt x="3624" y="2017"/>
                  <a:pt x="3621" y="2018"/>
                </a:cubicBezTo>
                <a:cubicBezTo>
                  <a:pt x="3620" y="2019"/>
                  <a:pt x="3618" y="2020"/>
                  <a:pt x="3616" y="2020"/>
                </a:cubicBezTo>
                <a:cubicBezTo>
                  <a:pt x="3616" y="2020"/>
                  <a:pt x="3616" y="2020"/>
                  <a:pt x="3616" y="2030"/>
                </a:cubicBezTo>
                <a:cubicBezTo>
                  <a:pt x="3619" y="2029"/>
                  <a:pt x="3622" y="2028"/>
                  <a:pt x="3624" y="2027"/>
                </a:cubicBezTo>
                <a:cubicBezTo>
                  <a:pt x="3626" y="2026"/>
                  <a:pt x="3629" y="2025"/>
                  <a:pt x="3631" y="2023"/>
                </a:cubicBezTo>
                <a:cubicBezTo>
                  <a:pt x="3631" y="2023"/>
                  <a:pt x="3631" y="2023"/>
                  <a:pt x="3631" y="2082"/>
                </a:cubicBezTo>
                <a:cubicBezTo>
                  <a:pt x="3631" y="2082"/>
                  <a:pt x="3631" y="2082"/>
                  <a:pt x="3643" y="2082"/>
                </a:cubicBezTo>
                <a:cubicBezTo>
                  <a:pt x="3643" y="2082"/>
                  <a:pt x="3643" y="2082"/>
                  <a:pt x="3643" y="2009"/>
                </a:cubicBezTo>
                <a:close/>
                <a:moveTo>
                  <a:pt x="3689" y="2009"/>
                </a:moveTo>
                <a:cubicBezTo>
                  <a:pt x="3689" y="2009"/>
                  <a:pt x="3689" y="2009"/>
                  <a:pt x="3689" y="2009"/>
                </a:cubicBezTo>
                <a:cubicBezTo>
                  <a:pt x="3684" y="2009"/>
                  <a:pt x="3684" y="2009"/>
                  <a:pt x="3684" y="2009"/>
                </a:cubicBezTo>
                <a:cubicBezTo>
                  <a:pt x="3682" y="2010"/>
                  <a:pt x="3680" y="2012"/>
                  <a:pt x="3678" y="2012"/>
                </a:cubicBezTo>
                <a:cubicBezTo>
                  <a:pt x="3677" y="2014"/>
                  <a:pt x="3675" y="2014"/>
                  <a:pt x="3673" y="2015"/>
                </a:cubicBezTo>
                <a:cubicBezTo>
                  <a:pt x="3672" y="2017"/>
                  <a:pt x="3670" y="2017"/>
                  <a:pt x="3668" y="2018"/>
                </a:cubicBezTo>
                <a:cubicBezTo>
                  <a:pt x="3666" y="2019"/>
                  <a:pt x="3664" y="2020"/>
                  <a:pt x="3662" y="2020"/>
                </a:cubicBezTo>
                <a:cubicBezTo>
                  <a:pt x="3662" y="2020"/>
                  <a:pt x="3662" y="2020"/>
                  <a:pt x="3662" y="2030"/>
                </a:cubicBezTo>
                <a:cubicBezTo>
                  <a:pt x="3665" y="2029"/>
                  <a:pt x="3668" y="2028"/>
                  <a:pt x="3670" y="2027"/>
                </a:cubicBezTo>
                <a:cubicBezTo>
                  <a:pt x="3673" y="2026"/>
                  <a:pt x="3675" y="2025"/>
                  <a:pt x="3678" y="2023"/>
                </a:cubicBezTo>
                <a:cubicBezTo>
                  <a:pt x="3678" y="2023"/>
                  <a:pt x="3678" y="2023"/>
                  <a:pt x="3678" y="2082"/>
                </a:cubicBezTo>
                <a:cubicBezTo>
                  <a:pt x="3678" y="2082"/>
                  <a:pt x="3678" y="2082"/>
                  <a:pt x="3689" y="2082"/>
                </a:cubicBezTo>
                <a:cubicBezTo>
                  <a:pt x="3689" y="2082"/>
                  <a:pt x="3689" y="2082"/>
                  <a:pt x="3689" y="2009"/>
                </a:cubicBezTo>
                <a:close/>
                <a:moveTo>
                  <a:pt x="3811" y="2009"/>
                </a:moveTo>
                <a:cubicBezTo>
                  <a:pt x="3811" y="2009"/>
                  <a:pt x="3811" y="2009"/>
                  <a:pt x="3811" y="2009"/>
                </a:cubicBezTo>
                <a:cubicBezTo>
                  <a:pt x="3806" y="2009"/>
                  <a:pt x="3806" y="2009"/>
                  <a:pt x="3806" y="2009"/>
                </a:cubicBezTo>
                <a:cubicBezTo>
                  <a:pt x="3804" y="2010"/>
                  <a:pt x="3802" y="2012"/>
                  <a:pt x="3800" y="2012"/>
                </a:cubicBezTo>
                <a:cubicBezTo>
                  <a:pt x="3798" y="2014"/>
                  <a:pt x="3797" y="2014"/>
                  <a:pt x="3795" y="2015"/>
                </a:cubicBezTo>
                <a:cubicBezTo>
                  <a:pt x="3793" y="2017"/>
                  <a:pt x="3791" y="2017"/>
                  <a:pt x="3790" y="2018"/>
                </a:cubicBezTo>
                <a:cubicBezTo>
                  <a:pt x="3787" y="2019"/>
                  <a:pt x="3786" y="2020"/>
                  <a:pt x="3784" y="2020"/>
                </a:cubicBezTo>
                <a:cubicBezTo>
                  <a:pt x="3784" y="2020"/>
                  <a:pt x="3784" y="2020"/>
                  <a:pt x="3784" y="2030"/>
                </a:cubicBezTo>
                <a:cubicBezTo>
                  <a:pt x="3787" y="2029"/>
                  <a:pt x="3790" y="2028"/>
                  <a:pt x="3793" y="2027"/>
                </a:cubicBezTo>
                <a:cubicBezTo>
                  <a:pt x="3795" y="2026"/>
                  <a:pt x="3797" y="2025"/>
                  <a:pt x="3799" y="2023"/>
                </a:cubicBezTo>
                <a:cubicBezTo>
                  <a:pt x="3799" y="2023"/>
                  <a:pt x="3799" y="2023"/>
                  <a:pt x="3799" y="2082"/>
                </a:cubicBezTo>
                <a:cubicBezTo>
                  <a:pt x="3799" y="2082"/>
                  <a:pt x="3799" y="2082"/>
                  <a:pt x="3811" y="2082"/>
                </a:cubicBezTo>
                <a:cubicBezTo>
                  <a:pt x="3811" y="2082"/>
                  <a:pt x="3811" y="2082"/>
                  <a:pt x="3811" y="2009"/>
                </a:cubicBezTo>
                <a:close/>
                <a:moveTo>
                  <a:pt x="3858" y="2009"/>
                </a:moveTo>
                <a:cubicBezTo>
                  <a:pt x="3858" y="2009"/>
                  <a:pt x="3858" y="2009"/>
                  <a:pt x="3858" y="2009"/>
                </a:cubicBezTo>
                <a:cubicBezTo>
                  <a:pt x="3853" y="2009"/>
                  <a:pt x="3853" y="2009"/>
                  <a:pt x="3853" y="2009"/>
                </a:cubicBezTo>
                <a:cubicBezTo>
                  <a:pt x="3850" y="2010"/>
                  <a:pt x="3849" y="2012"/>
                  <a:pt x="3847" y="2012"/>
                </a:cubicBezTo>
                <a:cubicBezTo>
                  <a:pt x="3845" y="2014"/>
                  <a:pt x="3843" y="2014"/>
                  <a:pt x="3842" y="2015"/>
                </a:cubicBezTo>
                <a:cubicBezTo>
                  <a:pt x="3840" y="2017"/>
                  <a:pt x="3838" y="2017"/>
                  <a:pt x="3837" y="2018"/>
                </a:cubicBezTo>
                <a:cubicBezTo>
                  <a:pt x="3834" y="2019"/>
                  <a:pt x="3833" y="2020"/>
                  <a:pt x="3831" y="2020"/>
                </a:cubicBezTo>
                <a:cubicBezTo>
                  <a:pt x="3831" y="2020"/>
                  <a:pt x="3831" y="2020"/>
                  <a:pt x="3831" y="2030"/>
                </a:cubicBezTo>
                <a:cubicBezTo>
                  <a:pt x="3834" y="2029"/>
                  <a:pt x="3837" y="2028"/>
                  <a:pt x="3839" y="2027"/>
                </a:cubicBezTo>
                <a:cubicBezTo>
                  <a:pt x="3842" y="2026"/>
                  <a:pt x="3844" y="2025"/>
                  <a:pt x="3846" y="2023"/>
                </a:cubicBezTo>
                <a:cubicBezTo>
                  <a:pt x="3846" y="2023"/>
                  <a:pt x="3846" y="2023"/>
                  <a:pt x="3846" y="2082"/>
                </a:cubicBezTo>
                <a:cubicBezTo>
                  <a:pt x="3846" y="2082"/>
                  <a:pt x="3846" y="2082"/>
                  <a:pt x="3858" y="2082"/>
                </a:cubicBezTo>
                <a:cubicBezTo>
                  <a:pt x="3858" y="2082"/>
                  <a:pt x="3858" y="2082"/>
                  <a:pt x="3858" y="2009"/>
                </a:cubicBezTo>
                <a:close/>
                <a:moveTo>
                  <a:pt x="3709" y="2041"/>
                </a:moveTo>
                <a:cubicBezTo>
                  <a:pt x="3709" y="2041"/>
                  <a:pt x="3709" y="2041"/>
                  <a:pt x="3709" y="2041"/>
                </a:cubicBezTo>
                <a:cubicBezTo>
                  <a:pt x="3709" y="2049"/>
                  <a:pt x="3709" y="2049"/>
                  <a:pt x="3709" y="2049"/>
                </a:cubicBezTo>
                <a:cubicBezTo>
                  <a:pt x="3715" y="2050"/>
                  <a:pt x="3716" y="2053"/>
                  <a:pt x="3716" y="2055"/>
                </a:cubicBezTo>
                <a:cubicBezTo>
                  <a:pt x="3716" y="2057"/>
                  <a:pt x="3716" y="2060"/>
                  <a:pt x="3716" y="2062"/>
                </a:cubicBezTo>
                <a:cubicBezTo>
                  <a:pt x="3715" y="2065"/>
                  <a:pt x="3715" y="2067"/>
                  <a:pt x="3715" y="2069"/>
                </a:cubicBezTo>
                <a:cubicBezTo>
                  <a:pt x="3715" y="2079"/>
                  <a:pt x="3721" y="2082"/>
                  <a:pt x="3730" y="2082"/>
                </a:cubicBezTo>
                <a:cubicBezTo>
                  <a:pt x="3730" y="2082"/>
                  <a:pt x="3730" y="2082"/>
                  <a:pt x="3733" y="2082"/>
                </a:cubicBezTo>
                <a:cubicBezTo>
                  <a:pt x="3733" y="2082"/>
                  <a:pt x="3733" y="2082"/>
                  <a:pt x="3733" y="2073"/>
                </a:cubicBezTo>
                <a:cubicBezTo>
                  <a:pt x="3733" y="2073"/>
                  <a:pt x="3733" y="2073"/>
                  <a:pt x="3732" y="2073"/>
                </a:cubicBezTo>
                <a:cubicBezTo>
                  <a:pt x="3728" y="2073"/>
                  <a:pt x="3727" y="2071"/>
                  <a:pt x="3727" y="2067"/>
                </a:cubicBezTo>
                <a:cubicBezTo>
                  <a:pt x="3727" y="2066"/>
                  <a:pt x="3727" y="2064"/>
                  <a:pt x="3727" y="2062"/>
                </a:cubicBezTo>
                <a:cubicBezTo>
                  <a:pt x="3727" y="2061"/>
                  <a:pt x="3728" y="2059"/>
                  <a:pt x="3728" y="2056"/>
                </a:cubicBezTo>
                <a:cubicBezTo>
                  <a:pt x="3728" y="2049"/>
                  <a:pt x="3725" y="2046"/>
                  <a:pt x="3719" y="2045"/>
                </a:cubicBezTo>
                <a:cubicBezTo>
                  <a:pt x="3719" y="2045"/>
                  <a:pt x="3719" y="2045"/>
                  <a:pt x="3719" y="2045"/>
                </a:cubicBezTo>
                <a:cubicBezTo>
                  <a:pt x="3725" y="2044"/>
                  <a:pt x="3728" y="2041"/>
                  <a:pt x="3728" y="2034"/>
                </a:cubicBezTo>
                <a:cubicBezTo>
                  <a:pt x="3728" y="2031"/>
                  <a:pt x="3727" y="2029"/>
                  <a:pt x="3727" y="2028"/>
                </a:cubicBezTo>
                <a:cubicBezTo>
                  <a:pt x="3727" y="2026"/>
                  <a:pt x="3727" y="2024"/>
                  <a:pt x="3727" y="2023"/>
                </a:cubicBezTo>
                <a:cubicBezTo>
                  <a:pt x="3727" y="2019"/>
                  <a:pt x="3728" y="2017"/>
                  <a:pt x="3732" y="2017"/>
                </a:cubicBezTo>
                <a:cubicBezTo>
                  <a:pt x="3732" y="2017"/>
                  <a:pt x="3732" y="2017"/>
                  <a:pt x="3733" y="2017"/>
                </a:cubicBezTo>
                <a:cubicBezTo>
                  <a:pt x="3733" y="2017"/>
                  <a:pt x="3733" y="2017"/>
                  <a:pt x="3733" y="2008"/>
                </a:cubicBezTo>
                <a:cubicBezTo>
                  <a:pt x="3733" y="2008"/>
                  <a:pt x="3733" y="2008"/>
                  <a:pt x="3730" y="2008"/>
                </a:cubicBezTo>
                <a:cubicBezTo>
                  <a:pt x="3720" y="2008"/>
                  <a:pt x="3715" y="2012"/>
                  <a:pt x="3715" y="2020"/>
                </a:cubicBezTo>
                <a:cubicBezTo>
                  <a:pt x="3715" y="2023"/>
                  <a:pt x="3715" y="2025"/>
                  <a:pt x="3715" y="2028"/>
                </a:cubicBezTo>
                <a:cubicBezTo>
                  <a:pt x="3716" y="2030"/>
                  <a:pt x="3716" y="2033"/>
                  <a:pt x="3716" y="2035"/>
                </a:cubicBezTo>
                <a:cubicBezTo>
                  <a:pt x="3716" y="2037"/>
                  <a:pt x="3715" y="2041"/>
                  <a:pt x="3709" y="2041"/>
                </a:cubicBezTo>
                <a:close/>
                <a:moveTo>
                  <a:pt x="3764" y="2049"/>
                </a:moveTo>
                <a:cubicBezTo>
                  <a:pt x="3764" y="2049"/>
                  <a:pt x="3764" y="2049"/>
                  <a:pt x="3764" y="2049"/>
                </a:cubicBezTo>
                <a:cubicBezTo>
                  <a:pt x="3764" y="2041"/>
                  <a:pt x="3764" y="2041"/>
                  <a:pt x="3764" y="2041"/>
                </a:cubicBezTo>
                <a:cubicBezTo>
                  <a:pt x="3758" y="2041"/>
                  <a:pt x="3757" y="2037"/>
                  <a:pt x="3757" y="2035"/>
                </a:cubicBezTo>
                <a:cubicBezTo>
                  <a:pt x="3757" y="2033"/>
                  <a:pt x="3757" y="2030"/>
                  <a:pt x="3758" y="2028"/>
                </a:cubicBezTo>
                <a:cubicBezTo>
                  <a:pt x="3758" y="2025"/>
                  <a:pt x="3758" y="2023"/>
                  <a:pt x="3758" y="2020"/>
                </a:cubicBezTo>
                <a:cubicBezTo>
                  <a:pt x="3758" y="2012"/>
                  <a:pt x="3753" y="2008"/>
                  <a:pt x="3744" y="2008"/>
                </a:cubicBezTo>
                <a:cubicBezTo>
                  <a:pt x="3744" y="2008"/>
                  <a:pt x="3744" y="2008"/>
                  <a:pt x="3740" y="2008"/>
                </a:cubicBezTo>
                <a:cubicBezTo>
                  <a:pt x="3740" y="2008"/>
                  <a:pt x="3740" y="2008"/>
                  <a:pt x="3740" y="2017"/>
                </a:cubicBezTo>
                <a:cubicBezTo>
                  <a:pt x="3740" y="2017"/>
                  <a:pt x="3740" y="2017"/>
                  <a:pt x="3741" y="2017"/>
                </a:cubicBezTo>
                <a:cubicBezTo>
                  <a:pt x="3745" y="2017"/>
                  <a:pt x="3747" y="2019"/>
                  <a:pt x="3747" y="2023"/>
                </a:cubicBezTo>
                <a:cubicBezTo>
                  <a:pt x="3747" y="2024"/>
                  <a:pt x="3746" y="2026"/>
                  <a:pt x="3746" y="2028"/>
                </a:cubicBezTo>
                <a:cubicBezTo>
                  <a:pt x="3746" y="2029"/>
                  <a:pt x="3746" y="2031"/>
                  <a:pt x="3746" y="2034"/>
                </a:cubicBezTo>
                <a:cubicBezTo>
                  <a:pt x="3746" y="2041"/>
                  <a:pt x="3749" y="2044"/>
                  <a:pt x="3754" y="2045"/>
                </a:cubicBezTo>
                <a:cubicBezTo>
                  <a:pt x="3754" y="2045"/>
                  <a:pt x="3754" y="2045"/>
                  <a:pt x="3754" y="2045"/>
                </a:cubicBezTo>
                <a:cubicBezTo>
                  <a:pt x="3749" y="2046"/>
                  <a:pt x="3746" y="2049"/>
                  <a:pt x="3746" y="2056"/>
                </a:cubicBezTo>
                <a:cubicBezTo>
                  <a:pt x="3746" y="2059"/>
                  <a:pt x="3746" y="2061"/>
                  <a:pt x="3746" y="2062"/>
                </a:cubicBezTo>
                <a:cubicBezTo>
                  <a:pt x="3746" y="2064"/>
                  <a:pt x="3747" y="2066"/>
                  <a:pt x="3747" y="2067"/>
                </a:cubicBezTo>
                <a:cubicBezTo>
                  <a:pt x="3747" y="2071"/>
                  <a:pt x="3746" y="2073"/>
                  <a:pt x="3741" y="2073"/>
                </a:cubicBezTo>
                <a:cubicBezTo>
                  <a:pt x="3741" y="2073"/>
                  <a:pt x="3741" y="2073"/>
                  <a:pt x="3740" y="2073"/>
                </a:cubicBezTo>
                <a:cubicBezTo>
                  <a:pt x="3740" y="2073"/>
                  <a:pt x="3740" y="2073"/>
                  <a:pt x="3740" y="2082"/>
                </a:cubicBezTo>
                <a:cubicBezTo>
                  <a:pt x="3740" y="2082"/>
                  <a:pt x="3740" y="2082"/>
                  <a:pt x="3744" y="2082"/>
                </a:cubicBezTo>
                <a:cubicBezTo>
                  <a:pt x="3753" y="2082"/>
                  <a:pt x="3758" y="2079"/>
                  <a:pt x="3758" y="2069"/>
                </a:cubicBezTo>
                <a:cubicBezTo>
                  <a:pt x="3758" y="2067"/>
                  <a:pt x="3758" y="2065"/>
                  <a:pt x="3758" y="2062"/>
                </a:cubicBezTo>
                <a:cubicBezTo>
                  <a:pt x="3757" y="2060"/>
                  <a:pt x="3757" y="2057"/>
                  <a:pt x="3757" y="2055"/>
                </a:cubicBezTo>
                <a:cubicBezTo>
                  <a:pt x="3757" y="2053"/>
                  <a:pt x="3758" y="2050"/>
                  <a:pt x="3764" y="2049"/>
                </a:cubicBezTo>
                <a:close/>
                <a:moveTo>
                  <a:pt x="3151" y="2082"/>
                </a:moveTo>
                <a:cubicBezTo>
                  <a:pt x="3144" y="2082"/>
                  <a:pt x="3137" y="2079"/>
                  <a:pt x="3133" y="2073"/>
                </a:cubicBezTo>
                <a:cubicBezTo>
                  <a:pt x="3129" y="2067"/>
                  <a:pt x="3127" y="2058"/>
                  <a:pt x="3127" y="2045"/>
                </a:cubicBezTo>
                <a:cubicBezTo>
                  <a:pt x="3127" y="2032"/>
                  <a:pt x="3129" y="2023"/>
                  <a:pt x="3134" y="2016"/>
                </a:cubicBezTo>
                <a:cubicBezTo>
                  <a:pt x="3138" y="2009"/>
                  <a:pt x="3145" y="2006"/>
                  <a:pt x="3153" y="2006"/>
                </a:cubicBezTo>
                <a:cubicBezTo>
                  <a:pt x="3169" y="2006"/>
                  <a:pt x="3177" y="2018"/>
                  <a:pt x="3177" y="2044"/>
                </a:cubicBezTo>
                <a:cubicBezTo>
                  <a:pt x="3177" y="2056"/>
                  <a:pt x="3175" y="2066"/>
                  <a:pt x="3170" y="2073"/>
                </a:cubicBezTo>
                <a:cubicBezTo>
                  <a:pt x="3166" y="2079"/>
                  <a:pt x="3159" y="2082"/>
                  <a:pt x="3151" y="2082"/>
                </a:cubicBezTo>
                <a:close/>
                <a:moveTo>
                  <a:pt x="3153" y="2015"/>
                </a:moveTo>
                <a:cubicBezTo>
                  <a:pt x="3143" y="2015"/>
                  <a:pt x="3139" y="2026"/>
                  <a:pt x="3139" y="2045"/>
                </a:cubicBezTo>
                <a:cubicBezTo>
                  <a:pt x="3139" y="2064"/>
                  <a:pt x="3143" y="2073"/>
                  <a:pt x="3152" y="2073"/>
                </a:cubicBezTo>
                <a:cubicBezTo>
                  <a:pt x="3161" y="2073"/>
                  <a:pt x="3165" y="2064"/>
                  <a:pt x="3165" y="2045"/>
                </a:cubicBezTo>
                <a:cubicBezTo>
                  <a:pt x="3165" y="2025"/>
                  <a:pt x="3161" y="2015"/>
                  <a:pt x="3153" y="2015"/>
                </a:cubicBezTo>
                <a:close/>
                <a:moveTo>
                  <a:pt x="3221" y="2082"/>
                </a:moveTo>
                <a:cubicBezTo>
                  <a:pt x="3214" y="2082"/>
                  <a:pt x="3207" y="2079"/>
                  <a:pt x="3204" y="2073"/>
                </a:cubicBezTo>
                <a:cubicBezTo>
                  <a:pt x="3199" y="2067"/>
                  <a:pt x="3197" y="2058"/>
                  <a:pt x="3197" y="2045"/>
                </a:cubicBezTo>
                <a:cubicBezTo>
                  <a:pt x="3197" y="2032"/>
                  <a:pt x="3199" y="2023"/>
                  <a:pt x="3204" y="2016"/>
                </a:cubicBezTo>
                <a:cubicBezTo>
                  <a:pt x="3208" y="2009"/>
                  <a:pt x="3215" y="2006"/>
                  <a:pt x="3223" y="2006"/>
                </a:cubicBezTo>
                <a:cubicBezTo>
                  <a:pt x="3239" y="2006"/>
                  <a:pt x="3248" y="2018"/>
                  <a:pt x="3248" y="2044"/>
                </a:cubicBezTo>
                <a:cubicBezTo>
                  <a:pt x="3248" y="2056"/>
                  <a:pt x="3245" y="2066"/>
                  <a:pt x="3241" y="2073"/>
                </a:cubicBezTo>
                <a:cubicBezTo>
                  <a:pt x="3236" y="2079"/>
                  <a:pt x="3230" y="2082"/>
                  <a:pt x="3221" y="2082"/>
                </a:cubicBezTo>
                <a:close/>
                <a:moveTo>
                  <a:pt x="3223" y="2015"/>
                </a:moveTo>
                <a:cubicBezTo>
                  <a:pt x="3214" y="2015"/>
                  <a:pt x="3209" y="2026"/>
                  <a:pt x="3209" y="2045"/>
                </a:cubicBezTo>
                <a:cubicBezTo>
                  <a:pt x="3209" y="2064"/>
                  <a:pt x="3213" y="2073"/>
                  <a:pt x="3222" y="2073"/>
                </a:cubicBezTo>
                <a:cubicBezTo>
                  <a:pt x="3231" y="2073"/>
                  <a:pt x="3235" y="2064"/>
                  <a:pt x="3235" y="2045"/>
                </a:cubicBezTo>
                <a:cubicBezTo>
                  <a:pt x="3235" y="2025"/>
                  <a:pt x="3231" y="2015"/>
                  <a:pt x="3223" y="2015"/>
                </a:cubicBezTo>
                <a:close/>
                <a:moveTo>
                  <a:pt x="3431" y="2082"/>
                </a:moveTo>
                <a:cubicBezTo>
                  <a:pt x="3424" y="2082"/>
                  <a:pt x="3418" y="2079"/>
                  <a:pt x="3413" y="2073"/>
                </a:cubicBezTo>
                <a:cubicBezTo>
                  <a:pt x="3409" y="2067"/>
                  <a:pt x="3407" y="2057"/>
                  <a:pt x="3407" y="2045"/>
                </a:cubicBezTo>
                <a:cubicBezTo>
                  <a:pt x="3407" y="2032"/>
                  <a:pt x="3409" y="2023"/>
                  <a:pt x="3413" y="2015"/>
                </a:cubicBezTo>
                <a:cubicBezTo>
                  <a:pt x="3418" y="2009"/>
                  <a:pt x="3424" y="2006"/>
                  <a:pt x="3433" y="2006"/>
                </a:cubicBezTo>
                <a:cubicBezTo>
                  <a:pt x="3449" y="2006"/>
                  <a:pt x="3457" y="2018"/>
                  <a:pt x="3457" y="2043"/>
                </a:cubicBezTo>
                <a:cubicBezTo>
                  <a:pt x="3457" y="2056"/>
                  <a:pt x="3455" y="2066"/>
                  <a:pt x="3451" y="2073"/>
                </a:cubicBezTo>
                <a:cubicBezTo>
                  <a:pt x="3446" y="2079"/>
                  <a:pt x="3440" y="2082"/>
                  <a:pt x="3431" y="2082"/>
                </a:cubicBezTo>
                <a:close/>
                <a:moveTo>
                  <a:pt x="3432" y="2015"/>
                </a:moveTo>
                <a:cubicBezTo>
                  <a:pt x="3424" y="2015"/>
                  <a:pt x="3419" y="2025"/>
                  <a:pt x="3419" y="2045"/>
                </a:cubicBezTo>
                <a:cubicBezTo>
                  <a:pt x="3419" y="2063"/>
                  <a:pt x="3424" y="2073"/>
                  <a:pt x="3432" y="2073"/>
                </a:cubicBezTo>
                <a:cubicBezTo>
                  <a:pt x="3440" y="2073"/>
                  <a:pt x="3445" y="2063"/>
                  <a:pt x="3445" y="2045"/>
                </a:cubicBezTo>
                <a:cubicBezTo>
                  <a:pt x="3445" y="2025"/>
                  <a:pt x="3441" y="2015"/>
                  <a:pt x="3432" y="2015"/>
                </a:cubicBezTo>
                <a:close/>
                <a:moveTo>
                  <a:pt x="3503" y="2009"/>
                </a:moveTo>
                <a:cubicBezTo>
                  <a:pt x="3503" y="2009"/>
                  <a:pt x="3503" y="2009"/>
                  <a:pt x="3503" y="2009"/>
                </a:cubicBezTo>
                <a:cubicBezTo>
                  <a:pt x="3498" y="2009"/>
                  <a:pt x="3498" y="2009"/>
                  <a:pt x="3498" y="2009"/>
                </a:cubicBezTo>
                <a:cubicBezTo>
                  <a:pt x="3496" y="2010"/>
                  <a:pt x="3495" y="2012"/>
                  <a:pt x="3493" y="2012"/>
                </a:cubicBezTo>
                <a:cubicBezTo>
                  <a:pt x="3491" y="2014"/>
                  <a:pt x="3489" y="2014"/>
                  <a:pt x="3488" y="2015"/>
                </a:cubicBezTo>
                <a:cubicBezTo>
                  <a:pt x="3486" y="2016"/>
                  <a:pt x="3484" y="2017"/>
                  <a:pt x="3483" y="2017"/>
                </a:cubicBezTo>
                <a:cubicBezTo>
                  <a:pt x="3481" y="2018"/>
                  <a:pt x="3479" y="2019"/>
                  <a:pt x="3477" y="2020"/>
                </a:cubicBezTo>
                <a:cubicBezTo>
                  <a:pt x="3477" y="2020"/>
                  <a:pt x="3477" y="2020"/>
                  <a:pt x="3477" y="2030"/>
                </a:cubicBezTo>
                <a:cubicBezTo>
                  <a:pt x="3480" y="2029"/>
                  <a:pt x="3483" y="2028"/>
                  <a:pt x="3485" y="2027"/>
                </a:cubicBezTo>
                <a:cubicBezTo>
                  <a:pt x="3488" y="2026"/>
                  <a:pt x="3490" y="2025"/>
                  <a:pt x="3492" y="2023"/>
                </a:cubicBezTo>
                <a:cubicBezTo>
                  <a:pt x="3492" y="2023"/>
                  <a:pt x="3492" y="2023"/>
                  <a:pt x="3492" y="2082"/>
                </a:cubicBezTo>
                <a:cubicBezTo>
                  <a:pt x="3492" y="2082"/>
                  <a:pt x="3492" y="2082"/>
                  <a:pt x="3503" y="2082"/>
                </a:cubicBezTo>
                <a:cubicBezTo>
                  <a:pt x="3503" y="2082"/>
                  <a:pt x="3503" y="2082"/>
                  <a:pt x="3503" y="2009"/>
                </a:cubicBezTo>
                <a:close/>
                <a:moveTo>
                  <a:pt x="3295" y="2009"/>
                </a:moveTo>
                <a:cubicBezTo>
                  <a:pt x="3295" y="2009"/>
                  <a:pt x="3295" y="2009"/>
                  <a:pt x="3295" y="2009"/>
                </a:cubicBezTo>
                <a:cubicBezTo>
                  <a:pt x="3289" y="2009"/>
                  <a:pt x="3289" y="2009"/>
                  <a:pt x="3289" y="2009"/>
                </a:cubicBezTo>
                <a:cubicBezTo>
                  <a:pt x="3287" y="2010"/>
                  <a:pt x="3286" y="2012"/>
                  <a:pt x="3283" y="2012"/>
                </a:cubicBezTo>
                <a:cubicBezTo>
                  <a:pt x="3282" y="2014"/>
                  <a:pt x="3281" y="2014"/>
                  <a:pt x="3278" y="2015"/>
                </a:cubicBezTo>
                <a:cubicBezTo>
                  <a:pt x="3277" y="2017"/>
                  <a:pt x="3275" y="2017"/>
                  <a:pt x="3273" y="2018"/>
                </a:cubicBezTo>
                <a:cubicBezTo>
                  <a:pt x="3271" y="2019"/>
                  <a:pt x="3269" y="2020"/>
                  <a:pt x="3267" y="2020"/>
                </a:cubicBezTo>
                <a:cubicBezTo>
                  <a:pt x="3267" y="2020"/>
                  <a:pt x="3267" y="2020"/>
                  <a:pt x="3267" y="2030"/>
                </a:cubicBezTo>
                <a:cubicBezTo>
                  <a:pt x="3270" y="2029"/>
                  <a:pt x="3273" y="2028"/>
                  <a:pt x="3276" y="2027"/>
                </a:cubicBezTo>
                <a:cubicBezTo>
                  <a:pt x="3278" y="2026"/>
                  <a:pt x="3281" y="2025"/>
                  <a:pt x="3283" y="2023"/>
                </a:cubicBezTo>
                <a:cubicBezTo>
                  <a:pt x="3283" y="2023"/>
                  <a:pt x="3283" y="2023"/>
                  <a:pt x="3283" y="2082"/>
                </a:cubicBezTo>
                <a:cubicBezTo>
                  <a:pt x="3283" y="2082"/>
                  <a:pt x="3283" y="2082"/>
                  <a:pt x="3295" y="2082"/>
                </a:cubicBezTo>
                <a:cubicBezTo>
                  <a:pt x="3295" y="2082"/>
                  <a:pt x="3295" y="2082"/>
                  <a:pt x="3295" y="2009"/>
                </a:cubicBezTo>
                <a:close/>
                <a:moveTo>
                  <a:pt x="3341" y="2009"/>
                </a:moveTo>
                <a:cubicBezTo>
                  <a:pt x="3341" y="2009"/>
                  <a:pt x="3341" y="2009"/>
                  <a:pt x="3341" y="2009"/>
                </a:cubicBezTo>
                <a:cubicBezTo>
                  <a:pt x="3336" y="2009"/>
                  <a:pt x="3336" y="2009"/>
                  <a:pt x="3336" y="2009"/>
                </a:cubicBezTo>
                <a:cubicBezTo>
                  <a:pt x="3334" y="2010"/>
                  <a:pt x="3332" y="2012"/>
                  <a:pt x="3330" y="2012"/>
                </a:cubicBezTo>
                <a:cubicBezTo>
                  <a:pt x="3329" y="2014"/>
                  <a:pt x="3327" y="2014"/>
                  <a:pt x="3325" y="2015"/>
                </a:cubicBezTo>
                <a:cubicBezTo>
                  <a:pt x="3324" y="2017"/>
                  <a:pt x="3322" y="2017"/>
                  <a:pt x="3320" y="2018"/>
                </a:cubicBezTo>
                <a:cubicBezTo>
                  <a:pt x="3318" y="2019"/>
                  <a:pt x="3316" y="2020"/>
                  <a:pt x="3314" y="2020"/>
                </a:cubicBezTo>
                <a:cubicBezTo>
                  <a:pt x="3314" y="2020"/>
                  <a:pt x="3314" y="2020"/>
                  <a:pt x="3314" y="2030"/>
                </a:cubicBezTo>
                <a:cubicBezTo>
                  <a:pt x="3317" y="2029"/>
                  <a:pt x="3320" y="2028"/>
                  <a:pt x="3322" y="2027"/>
                </a:cubicBezTo>
                <a:cubicBezTo>
                  <a:pt x="3325" y="2026"/>
                  <a:pt x="3327" y="2025"/>
                  <a:pt x="3330" y="2023"/>
                </a:cubicBezTo>
                <a:cubicBezTo>
                  <a:pt x="3330" y="2023"/>
                  <a:pt x="3330" y="2023"/>
                  <a:pt x="3330" y="2082"/>
                </a:cubicBezTo>
                <a:cubicBezTo>
                  <a:pt x="3330" y="2082"/>
                  <a:pt x="3330" y="2082"/>
                  <a:pt x="3341" y="2082"/>
                </a:cubicBezTo>
                <a:cubicBezTo>
                  <a:pt x="3341" y="2082"/>
                  <a:pt x="3341" y="2082"/>
                  <a:pt x="3341" y="2009"/>
                </a:cubicBezTo>
                <a:close/>
                <a:moveTo>
                  <a:pt x="3387" y="2009"/>
                </a:moveTo>
                <a:cubicBezTo>
                  <a:pt x="3387" y="2009"/>
                  <a:pt x="3387" y="2009"/>
                  <a:pt x="3387" y="2009"/>
                </a:cubicBezTo>
                <a:cubicBezTo>
                  <a:pt x="3383" y="2009"/>
                  <a:pt x="3383" y="2009"/>
                  <a:pt x="3383" y="2009"/>
                </a:cubicBezTo>
                <a:cubicBezTo>
                  <a:pt x="3381" y="2010"/>
                  <a:pt x="3379" y="2012"/>
                  <a:pt x="3377" y="2012"/>
                </a:cubicBezTo>
                <a:cubicBezTo>
                  <a:pt x="3375" y="2014"/>
                  <a:pt x="3373" y="2014"/>
                  <a:pt x="3372" y="2015"/>
                </a:cubicBezTo>
                <a:cubicBezTo>
                  <a:pt x="3370" y="2016"/>
                  <a:pt x="3368" y="2017"/>
                  <a:pt x="3366" y="2017"/>
                </a:cubicBezTo>
                <a:cubicBezTo>
                  <a:pt x="3364" y="2018"/>
                  <a:pt x="3362" y="2019"/>
                  <a:pt x="3361" y="2020"/>
                </a:cubicBezTo>
                <a:cubicBezTo>
                  <a:pt x="3361" y="2020"/>
                  <a:pt x="3361" y="2020"/>
                  <a:pt x="3361" y="2030"/>
                </a:cubicBezTo>
                <a:cubicBezTo>
                  <a:pt x="3364" y="2029"/>
                  <a:pt x="3367" y="2028"/>
                  <a:pt x="3369" y="2027"/>
                </a:cubicBezTo>
                <a:cubicBezTo>
                  <a:pt x="3371" y="2026"/>
                  <a:pt x="3374" y="2025"/>
                  <a:pt x="3375" y="2023"/>
                </a:cubicBezTo>
                <a:cubicBezTo>
                  <a:pt x="3375" y="2023"/>
                  <a:pt x="3375" y="2023"/>
                  <a:pt x="3375" y="2082"/>
                </a:cubicBezTo>
                <a:cubicBezTo>
                  <a:pt x="3375" y="2082"/>
                  <a:pt x="3375" y="2082"/>
                  <a:pt x="3387" y="2082"/>
                </a:cubicBezTo>
                <a:cubicBezTo>
                  <a:pt x="3387" y="2082"/>
                  <a:pt x="3387" y="2082"/>
                  <a:pt x="3387" y="2009"/>
                </a:cubicBezTo>
                <a:close/>
                <a:moveTo>
                  <a:pt x="2144" y="2009"/>
                </a:moveTo>
                <a:cubicBezTo>
                  <a:pt x="2144" y="2009"/>
                  <a:pt x="2144" y="2009"/>
                  <a:pt x="2144" y="2009"/>
                </a:cubicBezTo>
                <a:cubicBezTo>
                  <a:pt x="2139" y="2009"/>
                  <a:pt x="2139" y="2009"/>
                  <a:pt x="2139" y="2009"/>
                </a:cubicBezTo>
                <a:cubicBezTo>
                  <a:pt x="2137" y="2010"/>
                  <a:pt x="2136" y="2012"/>
                  <a:pt x="2134" y="2012"/>
                </a:cubicBezTo>
                <a:cubicBezTo>
                  <a:pt x="2132" y="2014"/>
                  <a:pt x="2130" y="2014"/>
                  <a:pt x="2129" y="2015"/>
                </a:cubicBezTo>
                <a:cubicBezTo>
                  <a:pt x="2127" y="2017"/>
                  <a:pt x="2125" y="2017"/>
                  <a:pt x="2123" y="2018"/>
                </a:cubicBezTo>
                <a:cubicBezTo>
                  <a:pt x="2121" y="2019"/>
                  <a:pt x="2120" y="2020"/>
                  <a:pt x="2118" y="2020"/>
                </a:cubicBezTo>
                <a:cubicBezTo>
                  <a:pt x="2118" y="2020"/>
                  <a:pt x="2118" y="2020"/>
                  <a:pt x="2118" y="2030"/>
                </a:cubicBezTo>
                <a:cubicBezTo>
                  <a:pt x="2121" y="2029"/>
                  <a:pt x="2123" y="2028"/>
                  <a:pt x="2126" y="2027"/>
                </a:cubicBezTo>
                <a:cubicBezTo>
                  <a:pt x="2129" y="2026"/>
                  <a:pt x="2131" y="2025"/>
                  <a:pt x="2133" y="2023"/>
                </a:cubicBezTo>
                <a:cubicBezTo>
                  <a:pt x="2133" y="2023"/>
                  <a:pt x="2133" y="2023"/>
                  <a:pt x="2133" y="2082"/>
                </a:cubicBezTo>
                <a:cubicBezTo>
                  <a:pt x="2133" y="2082"/>
                  <a:pt x="2133" y="2082"/>
                  <a:pt x="2144" y="2082"/>
                </a:cubicBezTo>
                <a:cubicBezTo>
                  <a:pt x="2144" y="2082"/>
                  <a:pt x="2144" y="2082"/>
                  <a:pt x="2144" y="2009"/>
                </a:cubicBezTo>
                <a:close/>
                <a:moveTo>
                  <a:pt x="2192" y="2009"/>
                </a:moveTo>
                <a:cubicBezTo>
                  <a:pt x="2192" y="2009"/>
                  <a:pt x="2192" y="2009"/>
                  <a:pt x="2192" y="2009"/>
                </a:cubicBezTo>
                <a:cubicBezTo>
                  <a:pt x="2186" y="2009"/>
                  <a:pt x="2186" y="2009"/>
                  <a:pt x="2186" y="2009"/>
                </a:cubicBezTo>
                <a:cubicBezTo>
                  <a:pt x="2185" y="2010"/>
                  <a:pt x="2183" y="2012"/>
                  <a:pt x="2181" y="2012"/>
                </a:cubicBezTo>
                <a:cubicBezTo>
                  <a:pt x="2179" y="2014"/>
                  <a:pt x="2177" y="2014"/>
                  <a:pt x="2175" y="2015"/>
                </a:cubicBezTo>
                <a:cubicBezTo>
                  <a:pt x="2174" y="2017"/>
                  <a:pt x="2172" y="2017"/>
                  <a:pt x="2170" y="2018"/>
                </a:cubicBezTo>
                <a:cubicBezTo>
                  <a:pt x="2168" y="2019"/>
                  <a:pt x="2166" y="2020"/>
                  <a:pt x="2164" y="2020"/>
                </a:cubicBezTo>
                <a:cubicBezTo>
                  <a:pt x="2164" y="2020"/>
                  <a:pt x="2164" y="2020"/>
                  <a:pt x="2164" y="2030"/>
                </a:cubicBezTo>
                <a:cubicBezTo>
                  <a:pt x="2167" y="2029"/>
                  <a:pt x="2170" y="2028"/>
                  <a:pt x="2173" y="2027"/>
                </a:cubicBezTo>
                <a:cubicBezTo>
                  <a:pt x="2175" y="2026"/>
                  <a:pt x="2177" y="2025"/>
                  <a:pt x="2180" y="2023"/>
                </a:cubicBezTo>
                <a:cubicBezTo>
                  <a:pt x="2180" y="2023"/>
                  <a:pt x="2180" y="2023"/>
                  <a:pt x="2180" y="2082"/>
                </a:cubicBezTo>
                <a:cubicBezTo>
                  <a:pt x="2180" y="2082"/>
                  <a:pt x="2180" y="2082"/>
                  <a:pt x="2192" y="2082"/>
                </a:cubicBezTo>
                <a:cubicBezTo>
                  <a:pt x="2192" y="2082"/>
                  <a:pt x="2192" y="2082"/>
                  <a:pt x="2192" y="2009"/>
                </a:cubicBezTo>
                <a:close/>
                <a:moveTo>
                  <a:pt x="2237" y="2009"/>
                </a:moveTo>
                <a:cubicBezTo>
                  <a:pt x="2237" y="2009"/>
                  <a:pt x="2237" y="2009"/>
                  <a:pt x="2237" y="2009"/>
                </a:cubicBezTo>
                <a:cubicBezTo>
                  <a:pt x="2233" y="2009"/>
                  <a:pt x="2233" y="2009"/>
                  <a:pt x="2233" y="2009"/>
                </a:cubicBezTo>
                <a:cubicBezTo>
                  <a:pt x="2231" y="2010"/>
                  <a:pt x="2229" y="2012"/>
                  <a:pt x="2227" y="2012"/>
                </a:cubicBezTo>
                <a:cubicBezTo>
                  <a:pt x="2226" y="2014"/>
                  <a:pt x="2223" y="2014"/>
                  <a:pt x="2222" y="2015"/>
                </a:cubicBezTo>
                <a:cubicBezTo>
                  <a:pt x="2220" y="2016"/>
                  <a:pt x="2218" y="2017"/>
                  <a:pt x="2216" y="2017"/>
                </a:cubicBezTo>
                <a:cubicBezTo>
                  <a:pt x="2215" y="2018"/>
                  <a:pt x="2213" y="2019"/>
                  <a:pt x="2211" y="2020"/>
                </a:cubicBezTo>
                <a:cubicBezTo>
                  <a:pt x="2211" y="2020"/>
                  <a:pt x="2211" y="2020"/>
                  <a:pt x="2211" y="2030"/>
                </a:cubicBezTo>
                <a:cubicBezTo>
                  <a:pt x="2214" y="2029"/>
                  <a:pt x="2217" y="2028"/>
                  <a:pt x="2219" y="2027"/>
                </a:cubicBezTo>
                <a:cubicBezTo>
                  <a:pt x="2221" y="2026"/>
                  <a:pt x="2224" y="2025"/>
                  <a:pt x="2226" y="2023"/>
                </a:cubicBezTo>
                <a:cubicBezTo>
                  <a:pt x="2226" y="2023"/>
                  <a:pt x="2226" y="2023"/>
                  <a:pt x="2226" y="2082"/>
                </a:cubicBezTo>
                <a:cubicBezTo>
                  <a:pt x="2226" y="2082"/>
                  <a:pt x="2226" y="2082"/>
                  <a:pt x="2237" y="2082"/>
                </a:cubicBezTo>
                <a:cubicBezTo>
                  <a:pt x="2237" y="2082"/>
                  <a:pt x="2237" y="2082"/>
                  <a:pt x="2237" y="2009"/>
                </a:cubicBezTo>
                <a:close/>
                <a:moveTo>
                  <a:pt x="2374" y="2041"/>
                </a:moveTo>
                <a:cubicBezTo>
                  <a:pt x="2374" y="2041"/>
                  <a:pt x="2374" y="2041"/>
                  <a:pt x="2374" y="2041"/>
                </a:cubicBezTo>
                <a:cubicBezTo>
                  <a:pt x="2373" y="2049"/>
                  <a:pt x="2373" y="2049"/>
                  <a:pt x="2373" y="2049"/>
                </a:cubicBezTo>
                <a:cubicBezTo>
                  <a:pt x="2380" y="2050"/>
                  <a:pt x="2380" y="2053"/>
                  <a:pt x="2380" y="2055"/>
                </a:cubicBezTo>
                <a:cubicBezTo>
                  <a:pt x="2380" y="2057"/>
                  <a:pt x="2380" y="2060"/>
                  <a:pt x="2380" y="2062"/>
                </a:cubicBezTo>
                <a:cubicBezTo>
                  <a:pt x="2380" y="2065"/>
                  <a:pt x="2379" y="2067"/>
                  <a:pt x="2379" y="2069"/>
                </a:cubicBezTo>
                <a:cubicBezTo>
                  <a:pt x="2379" y="2079"/>
                  <a:pt x="2385" y="2082"/>
                  <a:pt x="2394" y="2082"/>
                </a:cubicBezTo>
                <a:cubicBezTo>
                  <a:pt x="2394" y="2082"/>
                  <a:pt x="2394" y="2082"/>
                  <a:pt x="2397" y="2082"/>
                </a:cubicBezTo>
                <a:cubicBezTo>
                  <a:pt x="2397" y="2082"/>
                  <a:pt x="2397" y="2082"/>
                  <a:pt x="2397" y="2073"/>
                </a:cubicBezTo>
                <a:cubicBezTo>
                  <a:pt x="2397" y="2073"/>
                  <a:pt x="2397" y="2073"/>
                  <a:pt x="2396" y="2073"/>
                </a:cubicBezTo>
                <a:cubicBezTo>
                  <a:pt x="2392" y="2073"/>
                  <a:pt x="2391" y="2071"/>
                  <a:pt x="2391" y="2067"/>
                </a:cubicBezTo>
                <a:cubicBezTo>
                  <a:pt x="2391" y="2066"/>
                  <a:pt x="2391" y="2064"/>
                  <a:pt x="2392" y="2062"/>
                </a:cubicBezTo>
                <a:cubicBezTo>
                  <a:pt x="2392" y="2061"/>
                  <a:pt x="2392" y="2059"/>
                  <a:pt x="2392" y="2056"/>
                </a:cubicBezTo>
                <a:cubicBezTo>
                  <a:pt x="2392" y="2049"/>
                  <a:pt x="2389" y="2046"/>
                  <a:pt x="2383" y="2045"/>
                </a:cubicBezTo>
                <a:cubicBezTo>
                  <a:pt x="2383" y="2045"/>
                  <a:pt x="2383" y="2045"/>
                  <a:pt x="2383" y="2045"/>
                </a:cubicBezTo>
                <a:cubicBezTo>
                  <a:pt x="2389" y="2044"/>
                  <a:pt x="2392" y="2041"/>
                  <a:pt x="2392" y="2034"/>
                </a:cubicBezTo>
                <a:cubicBezTo>
                  <a:pt x="2392" y="2031"/>
                  <a:pt x="2392" y="2029"/>
                  <a:pt x="2392" y="2028"/>
                </a:cubicBezTo>
                <a:cubicBezTo>
                  <a:pt x="2391" y="2026"/>
                  <a:pt x="2391" y="2024"/>
                  <a:pt x="2391" y="2023"/>
                </a:cubicBezTo>
                <a:cubicBezTo>
                  <a:pt x="2391" y="2019"/>
                  <a:pt x="2392" y="2017"/>
                  <a:pt x="2396" y="2017"/>
                </a:cubicBezTo>
                <a:cubicBezTo>
                  <a:pt x="2396" y="2017"/>
                  <a:pt x="2396" y="2017"/>
                  <a:pt x="2397" y="2017"/>
                </a:cubicBezTo>
                <a:cubicBezTo>
                  <a:pt x="2397" y="2017"/>
                  <a:pt x="2397" y="2017"/>
                  <a:pt x="2397" y="2008"/>
                </a:cubicBezTo>
                <a:cubicBezTo>
                  <a:pt x="2397" y="2008"/>
                  <a:pt x="2397" y="2008"/>
                  <a:pt x="2394" y="2008"/>
                </a:cubicBezTo>
                <a:cubicBezTo>
                  <a:pt x="2385" y="2008"/>
                  <a:pt x="2379" y="2012"/>
                  <a:pt x="2379" y="2020"/>
                </a:cubicBezTo>
                <a:cubicBezTo>
                  <a:pt x="2379" y="2023"/>
                  <a:pt x="2380" y="2025"/>
                  <a:pt x="2380" y="2028"/>
                </a:cubicBezTo>
                <a:cubicBezTo>
                  <a:pt x="2380" y="2030"/>
                  <a:pt x="2380" y="2033"/>
                  <a:pt x="2380" y="2035"/>
                </a:cubicBezTo>
                <a:cubicBezTo>
                  <a:pt x="2380" y="2037"/>
                  <a:pt x="2380" y="2041"/>
                  <a:pt x="2374" y="2041"/>
                </a:cubicBezTo>
                <a:close/>
                <a:moveTo>
                  <a:pt x="2428" y="2049"/>
                </a:moveTo>
                <a:cubicBezTo>
                  <a:pt x="2428" y="2049"/>
                  <a:pt x="2428" y="2049"/>
                  <a:pt x="2428" y="2049"/>
                </a:cubicBezTo>
                <a:cubicBezTo>
                  <a:pt x="2428" y="2041"/>
                  <a:pt x="2428" y="2041"/>
                  <a:pt x="2428" y="2041"/>
                </a:cubicBezTo>
                <a:cubicBezTo>
                  <a:pt x="2422" y="2041"/>
                  <a:pt x="2422" y="2037"/>
                  <a:pt x="2422" y="2035"/>
                </a:cubicBezTo>
                <a:cubicBezTo>
                  <a:pt x="2422" y="2033"/>
                  <a:pt x="2422" y="2030"/>
                  <a:pt x="2422" y="2028"/>
                </a:cubicBezTo>
                <a:cubicBezTo>
                  <a:pt x="2422" y="2025"/>
                  <a:pt x="2422" y="2023"/>
                  <a:pt x="2422" y="2020"/>
                </a:cubicBezTo>
                <a:cubicBezTo>
                  <a:pt x="2422" y="2012"/>
                  <a:pt x="2417" y="2008"/>
                  <a:pt x="2408" y="2008"/>
                </a:cubicBezTo>
                <a:cubicBezTo>
                  <a:pt x="2408" y="2008"/>
                  <a:pt x="2408" y="2008"/>
                  <a:pt x="2404" y="2008"/>
                </a:cubicBezTo>
                <a:cubicBezTo>
                  <a:pt x="2404" y="2008"/>
                  <a:pt x="2404" y="2008"/>
                  <a:pt x="2404" y="2017"/>
                </a:cubicBezTo>
                <a:cubicBezTo>
                  <a:pt x="2404" y="2017"/>
                  <a:pt x="2404" y="2017"/>
                  <a:pt x="2406" y="2017"/>
                </a:cubicBezTo>
                <a:cubicBezTo>
                  <a:pt x="2409" y="2017"/>
                  <a:pt x="2411" y="2019"/>
                  <a:pt x="2411" y="2023"/>
                </a:cubicBezTo>
                <a:cubicBezTo>
                  <a:pt x="2411" y="2024"/>
                  <a:pt x="2410" y="2026"/>
                  <a:pt x="2410" y="2028"/>
                </a:cubicBezTo>
                <a:cubicBezTo>
                  <a:pt x="2410" y="2029"/>
                  <a:pt x="2410" y="2031"/>
                  <a:pt x="2410" y="2034"/>
                </a:cubicBezTo>
                <a:cubicBezTo>
                  <a:pt x="2410" y="2041"/>
                  <a:pt x="2413" y="2044"/>
                  <a:pt x="2419" y="2045"/>
                </a:cubicBezTo>
                <a:cubicBezTo>
                  <a:pt x="2419" y="2045"/>
                  <a:pt x="2419" y="2045"/>
                  <a:pt x="2419" y="2045"/>
                </a:cubicBezTo>
                <a:cubicBezTo>
                  <a:pt x="2413" y="2046"/>
                  <a:pt x="2410" y="2049"/>
                  <a:pt x="2410" y="2056"/>
                </a:cubicBezTo>
                <a:cubicBezTo>
                  <a:pt x="2410" y="2059"/>
                  <a:pt x="2410" y="2061"/>
                  <a:pt x="2410" y="2062"/>
                </a:cubicBezTo>
                <a:cubicBezTo>
                  <a:pt x="2410" y="2064"/>
                  <a:pt x="2411" y="2066"/>
                  <a:pt x="2411" y="2067"/>
                </a:cubicBezTo>
                <a:cubicBezTo>
                  <a:pt x="2411" y="2071"/>
                  <a:pt x="2410" y="2073"/>
                  <a:pt x="2406" y="2073"/>
                </a:cubicBezTo>
                <a:cubicBezTo>
                  <a:pt x="2406" y="2073"/>
                  <a:pt x="2406" y="2073"/>
                  <a:pt x="2404" y="2073"/>
                </a:cubicBezTo>
                <a:cubicBezTo>
                  <a:pt x="2404" y="2073"/>
                  <a:pt x="2404" y="2073"/>
                  <a:pt x="2404" y="2082"/>
                </a:cubicBezTo>
                <a:cubicBezTo>
                  <a:pt x="2404" y="2082"/>
                  <a:pt x="2404" y="2082"/>
                  <a:pt x="2408" y="2082"/>
                </a:cubicBezTo>
                <a:cubicBezTo>
                  <a:pt x="2417" y="2082"/>
                  <a:pt x="2422" y="2079"/>
                  <a:pt x="2422" y="2069"/>
                </a:cubicBezTo>
                <a:cubicBezTo>
                  <a:pt x="2422" y="2067"/>
                  <a:pt x="2422" y="2065"/>
                  <a:pt x="2422" y="2062"/>
                </a:cubicBezTo>
                <a:cubicBezTo>
                  <a:pt x="2422" y="2060"/>
                  <a:pt x="2422" y="2057"/>
                  <a:pt x="2422" y="2055"/>
                </a:cubicBezTo>
                <a:cubicBezTo>
                  <a:pt x="2422" y="2053"/>
                  <a:pt x="2422" y="2050"/>
                  <a:pt x="2428" y="2049"/>
                </a:cubicBezTo>
                <a:close/>
                <a:moveTo>
                  <a:pt x="2475" y="2009"/>
                </a:moveTo>
                <a:cubicBezTo>
                  <a:pt x="2475" y="2009"/>
                  <a:pt x="2475" y="2009"/>
                  <a:pt x="2475" y="2009"/>
                </a:cubicBezTo>
                <a:cubicBezTo>
                  <a:pt x="2470" y="2009"/>
                  <a:pt x="2470" y="2009"/>
                  <a:pt x="2470" y="2009"/>
                </a:cubicBezTo>
                <a:cubicBezTo>
                  <a:pt x="2468" y="2010"/>
                  <a:pt x="2466" y="2012"/>
                  <a:pt x="2464" y="2012"/>
                </a:cubicBezTo>
                <a:cubicBezTo>
                  <a:pt x="2463" y="2014"/>
                  <a:pt x="2461" y="2014"/>
                  <a:pt x="2459" y="2015"/>
                </a:cubicBezTo>
                <a:cubicBezTo>
                  <a:pt x="2457" y="2016"/>
                  <a:pt x="2456" y="2017"/>
                  <a:pt x="2454" y="2017"/>
                </a:cubicBezTo>
                <a:cubicBezTo>
                  <a:pt x="2452" y="2018"/>
                  <a:pt x="2451" y="2019"/>
                  <a:pt x="2448" y="2020"/>
                </a:cubicBezTo>
                <a:cubicBezTo>
                  <a:pt x="2448" y="2020"/>
                  <a:pt x="2448" y="2020"/>
                  <a:pt x="2448" y="2030"/>
                </a:cubicBezTo>
                <a:cubicBezTo>
                  <a:pt x="2451" y="2029"/>
                  <a:pt x="2454" y="2028"/>
                  <a:pt x="2456" y="2027"/>
                </a:cubicBezTo>
                <a:cubicBezTo>
                  <a:pt x="2459" y="2026"/>
                  <a:pt x="2461" y="2025"/>
                  <a:pt x="2464" y="2023"/>
                </a:cubicBezTo>
                <a:cubicBezTo>
                  <a:pt x="2464" y="2023"/>
                  <a:pt x="2464" y="2023"/>
                  <a:pt x="2464" y="2082"/>
                </a:cubicBezTo>
                <a:cubicBezTo>
                  <a:pt x="2464" y="2082"/>
                  <a:pt x="2464" y="2082"/>
                  <a:pt x="2475" y="2082"/>
                </a:cubicBezTo>
                <a:cubicBezTo>
                  <a:pt x="2475" y="2082"/>
                  <a:pt x="2475" y="2082"/>
                  <a:pt x="2475" y="2009"/>
                </a:cubicBezTo>
                <a:close/>
                <a:moveTo>
                  <a:pt x="2521" y="2009"/>
                </a:moveTo>
                <a:cubicBezTo>
                  <a:pt x="2521" y="2009"/>
                  <a:pt x="2521" y="2009"/>
                  <a:pt x="2521" y="2009"/>
                </a:cubicBezTo>
                <a:cubicBezTo>
                  <a:pt x="2516" y="2009"/>
                  <a:pt x="2516" y="2009"/>
                  <a:pt x="2516" y="2009"/>
                </a:cubicBezTo>
                <a:cubicBezTo>
                  <a:pt x="2514" y="2010"/>
                  <a:pt x="2513" y="2012"/>
                  <a:pt x="2511" y="2012"/>
                </a:cubicBezTo>
                <a:cubicBezTo>
                  <a:pt x="2509" y="2014"/>
                  <a:pt x="2507" y="2014"/>
                  <a:pt x="2506" y="2015"/>
                </a:cubicBezTo>
                <a:cubicBezTo>
                  <a:pt x="2504" y="2017"/>
                  <a:pt x="2502" y="2017"/>
                  <a:pt x="2501" y="2018"/>
                </a:cubicBezTo>
                <a:cubicBezTo>
                  <a:pt x="2498" y="2019"/>
                  <a:pt x="2497" y="2020"/>
                  <a:pt x="2495" y="2020"/>
                </a:cubicBezTo>
                <a:cubicBezTo>
                  <a:pt x="2495" y="2020"/>
                  <a:pt x="2495" y="2020"/>
                  <a:pt x="2495" y="2030"/>
                </a:cubicBezTo>
                <a:cubicBezTo>
                  <a:pt x="2498" y="2029"/>
                  <a:pt x="2501" y="2028"/>
                  <a:pt x="2503" y="2027"/>
                </a:cubicBezTo>
                <a:cubicBezTo>
                  <a:pt x="2506" y="2026"/>
                  <a:pt x="2508" y="2025"/>
                  <a:pt x="2510" y="2023"/>
                </a:cubicBezTo>
                <a:cubicBezTo>
                  <a:pt x="2510" y="2023"/>
                  <a:pt x="2510" y="2023"/>
                  <a:pt x="2510" y="2082"/>
                </a:cubicBezTo>
                <a:cubicBezTo>
                  <a:pt x="2510" y="2082"/>
                  <a:pt x="2510" y="2082"/>
                  <a:pt x="2521" y="2082"/>
                </a:cubicBezTo>
                <a:cubicBezTo>
                  <a:pt x="2521" y="2082"/>
                  <a:pt x="2521" y="2082"/>
                  <a:pt x="2521" y="2009"/>
                </a:cubicBezTo>
                <a:close/>
                <a:moveTo>
                  <a:pt x="2567" y="2009"/>
                </a:moveTo>
                <a:cubicBezTo>
                  <a:pt x="2567" y="2009"/>
                  <a:pt x="2567" y="2009"/>
                  <a:pt x="2567" y="2009"/>
                </a:cubicBezTo>
                <a:cubicBezTo>
                  <a:pt x="2563" y="2009"/>
                  <a:pt x="2563" y="2009"/>
                  <a:pt x="2563" y="2009"/>
                </a:cubicBezTo>
                <a:cubicBezTo>
                  <a:pt x="2561" y="2010"/>
                  <a:pt x="2559" y="2012"/>
                  <a:pt x="2557" y="2012"/>
                </a:cubicBezTo>
                <a:cubicBezTo>
                  <a:pt x="2556" y="2014"/>
                  <a:pt x="2554" y="2014"/>
                  <a:pt x="2552" y="2015"/>
                </a:cubicBezTo>
                <a:cubicBezTo>
                  <a:pt x="2550" y="2017"/>
                  <a:pt x="2549" y="2017"/>
                  <a:pt x="2546" y="2018"/>
                </a:cubicBezTo>
                <a:cubicBezTo>
                  <a:pt x="2545" y="2019"/>
                  <a:pt x="2543" y="2020"/>
                  <a:pt x="2541" y="2020"/>
                </a:cubicBezTo>
                <a:cubicBezTo>
                  <a:pt x="2541" y="2020"/>
                  <a:pt x="2541" y="2020"/>
                  <a:pt x="2541" y="2030"/>
                </a:cubicBezTo>
                <a:cubicBezTo>
                  <a:pt x="2544" y="2029"/>
                  <a:pt x="2547" y="2028"/>
                  <a:pt x="2549" y="2027"/>
                </a:cubicBezTo>
                <a:cubicBezTo>
                  <a:pt x="2552" y="2026"/>
                  <a:pt x="2554" y="2025"/>
                  <a:pt x="2556" y="2023"/>
                </a:cubicBezTo>
                <a:cubicBezTo>
                  <a:pt x="2556" y="2023"/>
                  <a:pt x="2556" y="2023"/>
                  <a:pt x="2556" y="2082"/>
                </a:cubicBezTo>
                <a:cubicBezTo>
                  <a:pt x="2556" y="2082"/>
                  <a:pt x="2556" y="2082"/>
                  <a:pt x="2567" y="2082"/>
                </a:cubicBezTo>
                <a:cubicBezTo>
                  <a:pt x="2567" y="2082"/>
                  <a:pt x="2567" y="2082"/>
                  <a:pt x="2567" y="2009"/>
                </a:cubicBezTo>
                <a:close/>
                <a:moveTo>
                  <a:pt x="2317" y="2056"/>
                </a:moveTo>
                <a:cubicBezTo>
                  <a:pt x="2318" y="2058"/>
                  <a:pt x="2318" y="2059"/>
                  <a:pt x="2319" y="2060"/>
                </a:cubicBezTo>
                <a:cubicBezTo>
                  <a:pt x="2319" y="2062"/>
                  <a:pt x="2319" y="2064"/>
                  <a:pt x="2320" y="2065"/>
                </a:cubicBezTo>
                <a:cubicBezTo>
                  <a:pt x="2320" y="2067"/>
                  <a:pt x="2320" y="2069"/>
                  <a:pt x="2320" y="2070"/>
                </a:cubicBezTo>
                <a:cubicBezTo>
                  <a:pt x="2321" y="2073"/>
                  <a:pt x="2320" y="2075"/>
                  <a:pt x="2317" y="2075"/>
                </a:cubicBezTo>
                <a:cubicBezTo>
                  <a:pt x="2314" y="2075"/>
                  <a:pt x="2311" y="2075"/>
                  <a:pt x="2308" y="2075"/>
                </a:cubicBezTo>
                <a:cubicBezTo>
                  <a:pt x="2308" y="2075"/>
                  <a:pt x="2307" y="2075"/>
                  <a:pt x="2307" y="2075"/>
                </a:cubicBezTo>
                <a:cubicBezTo>
                  <a:pt x="2305" y="2077"/>
                  <a:pt x="2304" y="2078"/>
                  <a:pt x="2303" y="2079"/>
                </a:cubicBezTo>
                <a:cubicBezTo>
                  <a:pt x="2301" y="2082"/>
                  <a:pt x="2297" y="2082"/>
                  <a:pt x="2295" y="2080"/>
                </a:cubicBezTo>
                <a:cubicBezTo>
                  <a:pt x="2293" y="2078"/>
                  <a:pt x="2292" y="2075"/>
                  <a:pt x="2290" y="2073"/>
                </a:cubicBezTo>
                <a:cubicBezTo>
                  <a:pt x="2290" y="2071"/>
                  <a:pt x="2290" y="2069"/>
                  <a:pt x="2292" y="2068"/>
                </a:cubicBezTo>
                <a:cubicBezTo>
                  <a:pt x="2290" y="2068"/>
                  <a:pt x="2288" y="2068"/>
                  <a:pt x="2286" y="2068"/>
                </a:cubicBezTo>
                <a:cubicBezTo>
                  <a:pt x="2286" y="2070"/>
                  <a:pt x="2284" y="2072"/>
                  <a:pt x="2284" y="2074"/>
                </a:cubicBezTo>
                <a:cubicBezTo>
                  <a:pt x="2284" y="2075"/>
                  <a:pt x="2283" y="2075"/>
                  <a:pt x="2283" y="2076"/>
                </a:cubicBezTo>
                <a:cubicBezTo>
                  <a:pt x="2283" y="2079"/>
                  <a:pt x="2282" y="2081"/>
                  <a:pt x="2279" y="2080"/>
                </a:cubicBezTo>
                <a:cubicBezTo>
                  <a:pt x="2276" y="2080"/>
                  <a:pt x="2273" y="2079"/>
                  <a:pt x="2270" y="2078"/>
                </a:cubicBezTo>
                <a:cubicBezTo>
                  <a:pt x="2268" y="2077"/>
                  <a:pt x="2267" y="2076"/>
                  <a:pt x="2268" y="2074"/>
                </a:cubicBezTo>
                <a:cubicBezTo>
                  <a:pt x="2268" y="2073"/>
                  <a:pt x="2268" y="2072"/>
                  <a:pt x="2269" y="2072"/>
                </a:cubicBezTo>
                <a:cubicBezTo>
                  <a:pt x="2266" y="2071"/>
                  <a:pt x="2264" y="2070"/>
                  <a:pt x="2262" y="2069"/>
                </a:cubicBezTo>
                <a:cubicBezTo>
                  <a:pt x="2261" y="2068"/>
                  <a:pt x="2260" y="2066"/>
                  <a:pt x="2259" y="2064"/>
                </a:cubicBezTo>
                <a:cubicBezTo>
                  <a:pt x="2258" y="2062"/>
                  <a:pt x="2258" y="2061"/>
                  <a:pt x="2260" y="2059"/>
                </a:cubicBezTo>
                <a:cubicBezTo>
                  <a:pt x="2263" y="2057"/>
                  <a:pt x="2264" y="2054"/>
                  <a:pt x="2263" y="2050"/>
                </a:cubicBezTo>
                <a:cubicBezTo>
                  <a:pt x="2263" y="2048"/>
                  <a:pt x="2263" y="2046"/>
                  <a:pt x="2263" y="2044"/>
                </a:cubicBezTo>
                <a:cubicBezTo>
                  <a:pt x="2262" y="2043"/>
                  <a:pt x="2260" y="2043"/>
                  <a:pt x="2259" y="2042"/>
                </a:cubicBezTo>
                <a:cubicBezTo>
                  <a:pt x="2258" y="2040"/>
                  <a:pt x="2257" y="2038"/>
                  <a:pt x="2257" y="2036"/>
                </a:cubicBezTo>
                <a:cubicBezTo>
                  <a:pt x="2257" y="2033"/>
                  <a:pt x="2260" y="2031"/>
                  <a:pt x="2263" y="2030"/>
                </a:cubicBezTo>
                <a:cubicBezTo>
                  <a:pt x="2264" y="2031"/>
                  <a:pt x="2264" y="2031"/>
                  <a:pt x="2264" y="2032"/>
                </a:cubicBezTo>
                <a:cubicBezTo>
                  <a:pt x="2264" y="2033"/>
                  <a:pt x="2264" y="2034"/>
                  <a:pt x="2264" y="2035"/>
                </a:cubicBezTo>
                <a:cubicBezTo>
                  <a:pt x="2264" y="2035"/>
                  <a:pt x="2263" y="2035"/>
                  <a:pt x="2263" y="2035"/>
                </a:cubicBezTo>
                <a:cubicBezTo>
                  <a:pt x="2262" y="2036"/>
                  <a:pt x="2262" y="2037"/>
                  <a:pt x="2261" y="2039"/>
                </a:cubicBezTo>
                <a:cubicBezTo>
                  <a:pt x="2262" y="2039"/>
                  <a:pt x="2263" y="2039"/>
                  <a:pt x="2264" y="2039"/>
                </a:cubicBezTo>
                <a:cubicBezTo>
                  <a:pt x="2265" y="2037"/>
                  <a:pt x="2265" y="2037"/>
                  <a:pt x="2266" y="2035"/>
                </a:cubicBezTo>
                <a:cubicBezTo>
                  <a:pt x="2271" y="2029"/>
                  <a:pt x="2277" y="2025"/>
                  <a:pt x="2284" y="2023"/>
                </a:cubicBezTo>
                <a:cubicBezTo>
                  <a:pt x="2288" y="2023"/>
                  <a:pt x="2291" y="2022"/>
                  <a:pt x="2293" y="2019"/>
                </a:cubicBezTo>
                <a:cubicBezTo>
                  <a:pt x="2293" y="2018"/>
                  <a:pt x="2294" y="2018"/>
                  <a:pt x="2294" y="2018"/>
                </a:cubicBezTo>
                <a:cubicBezTo>
                  <a:pt x="2297" y="2018"/>
                  <a:pt x="2299" y="2015"/>
                  <a:pt x="2301" y="2013"/>
                </a:cubicBezTo>
                <a:cubicBezTo>
                  <a:pt x="2308" y="2006"/>
                  <a:pt x="2320" y="2005"/>
                  <a:pt x="2328" y="2012"/>
                </a:cubicBezTo>
                <a:cubicBezTo>
                  <a:pt x="2330" y="2014"/>
                  <a:pt x="2333" y="2016"/>
                  <a:pt x="2335" y="2018"/>
                </a:cubicBezTo>
                <a:cubicBezTo>
                  <a:pt x="2337" y="2019"/>
                  <a:pt x="2338" y="2021"/>
                  <a:pt x="2339" y="2023"/>
                </a:cubicBezTo>
                <a:cubicBezTo>
                  <a:pt x="2340" y="2024"/>
                  <a:pt x="2341" y="2024"/>
                  <a:pt x="2342" y="2023"/>
                </a:cubicBezTo>
                <a:cubicBezTo>
                  <a:pt x="2343" y="2023"/>
                  <a:pt x="2344" y="2022"/>
                  <a:pt x="2344" y="2021"/>
                </a:cubicBezTo>
                <a:cubicBezTo>
                  <a:pt x="2346" y="2018"/>
                  <a:pt x="2349" y="2018"/>
                  <a:pt x="2351" y="2022"/>
                </a:cubicBezTo>
                <a:cubicBezTo>
                  <a:pt x="2352" y="2025"/>
                  <a:pt x="2353" y="2027"/>
                  <a:pt x="2353" y="2031"/>
                </a:cubicBezTo>
                <a:cubicBezTo>
                  <a:pt x="2354" y="2035"/>
                  <a:pt x="2353" y="2039"/>
                  <a:pt x="2352" y="2044"/>
                </a:cubicBezTo>
                <a:cubicBezTo>
                  <a:pt x="2349" y="2050"/>
                  <a:pt x="2345" y="2054"/>
                  <a:pt x="2338" y="2054"/>
                </a:cubicBezTo>
                <a:cubicBezTo>
                  <a:pt x="2337" y="2054"/>
                  <a:pt x="2337" y="2054"/>
                  <a:pt x="2336" y="2054"/>
                </a:cubicBezTo>
                <a:cubicBezTo>
                  <a:pt x="2334" y="2053"/>
                  <a:pt x="2332" y="2054"/>
                  <a:pt x="2332" y="2056"/>
                </a:cubicBezTo>
                <a:cubicBezTo>
                  <a:pt x="2330" y="2060"/>
                  <a:pt x="2325" y="2062"/>
                  <a:pt x="2321" y="2059"/>
                </a:cubicBezTo>
                <a:cubicBezTo>
                  <a:pt x="2320" y="2058"/>
                  <a:pt x="2319" y="2057"/>
                  <a:pt x="2318" y="2056"/>
                </a:cubicBezTo>
                <a:cubicBezTo>
                  <a:pt x="2318" y="2056"/>
                  <a:pt x="2318" y="2056"/>
                  <a:pt x="2317" y="2056"/>
                </a:cubicBezTo>
                <a:close/>
                <a:moveTo>
                  <a:pt x="2312" y="2052"/>
                </a:moveTo>
                <a:cubicBezTo>
                  <a:pt x="2315" y="2053"/>
                  <a:pt x="2319" y="2054"/>
                  <a:pt x="2321" y="2057"/>
                </a:cubicBezTo>
                <a:cubicBezTo>
                  <a:pt x="2323" y="2059"/>
                  <a:pt x="2325" y="2060"/>
                  <a:pt x="2327" y="2059"/>
                </a:cubicBezTo>
                <a:cubicBezTo>
                  <a:pt x="2330" y="2058"/>
                  <a:pt x="2331" y="2056"/>
                  <a:pt x="2331" y="2053"/>
                </a:cubicBezTo>
                <a:cubicBezTo>
                  <a:pt x="2331" y="2053"/>
                  <a:pt x="2330" y="2053"/>
                  <a:pt x="2330" y="2054"/>
                </a:cubicBezTo>
                <a:cubicBezTo>
                  <a:pt x="2330" y="2055"/>
                  <a:pt x="2329" y="2056"/>
                  <a:pt x="2328" y="2057"/>
                </a:cubicBezTo>
                <a:cubicBezTo>
                  <a:pt x="2327" y="2058"/>
                  <a:pt x="2325" y="2058"/>
                  <a:pt x="2325" y="2058"/>
                </a:cubicBezTo>
                <a:cubicBezTo>
                  <a:pt x="2324" y="2058"/>
                  <a:pt x="2323" y="2056"/>
                  <a:pt x="2323" y="2056"/>
                </a:cubicBezTo>
                <a:cubicBezTo>
                  <a:pt x="2323" y="2053"/>
                  <a:pt x="2324" y="2051"/>
                  <a:pt x="2324" y="2049"/>
                </a:cubicBezTo>
                <a:cubicBezTo>
                  <a:pt x="2327" y="2050"/>
                  <a:pt x="2331" y="2051"/>
                  <a:pt x="2334" y="2052"/>
                </a:cubicBezTo>
                <a:cubicBezTo>
                  <a:pt x="2342" y="2053"/>
                  <a:pt x="2347" y="2051"/>
                  <a:pt x="2351" y="2043"/>
                </a:cubicBezTo>
                <a:cubicBezTo>
                  <a:pt x="2352" y="2038"/>
                  <a:pt x="2352" y="2033"/>
                  <a:pt x="2351" y="2028"/>
                </a:cubicBezTo>
                <a:cubicBezTo>
                  <a:pt x="2351" y="2026"/>
                  <a:pt x="2350" y="2024"/>
                  <a:pt x="2349" y="2022"/>
                </a:cubicBezTo>
                <a:cubicBezTo>
                  <a:pt x="2348" y="2021"/>
                  <a:pt x="2347" y="2020"/>
                  <a:pt x="2346" y="2022"/>
                </a:cubicBezTo>
                <a:cubicBezTo>
                  <a:pt x="2344" y="2024"/>
                  <a:pt x="2343" y="2025"/>
                  <a:pt x="2341" y="2026"/>
                </a:cubicBezTo>
                <a:cubicBezTo>
                  <a:pt x="2340" y="2026"/>
                  <a:pt x="2339" y="2027"/>
                  <a:pt x="2340" y="2028"/>
                </a:cubicBezTo>
                <a:cubicBezTo>
                  <a:pt x="2340" y="2031"/>
                  <a:pt x="2340" y="2035"/>
                  <a:pt x="2338" y="2038"/>
                </a:cubicBezTo>
                <a:cubicBezTo>
                  <a:pt x="2338" y="2036"/>
                  <a:pt x="2339" y="2034"/>
                  <a:pt x="2339" y="2032"/>
                </a:cubicBezTo>
                <a:cubicBezTo>
                  <a:pt x="2339" y="2031"/>
                  <a:pt x="2338" y="2031"/>
                  <a:pt x="2338" y="2031"/>
                </a:cubicBezTo>
                <a:cubicBezTo>
                  <a:pt x="2338" y="2031"/>
                  <a:pt x="2337" y="2031"/>
                  <a:pt x="2337" y="2031"/>
                </a:cubicBezTo>
                <a:cubicBezTo>
                  <a:pt x="2336" y="2033"/>
                  <a:pt x="2335" y="2034"/>
                  <a:pt x="2334" y="2035"/>
                </a:cubicBezTo>
                <a:cubicBezTo>
                  <a:pt x="2334" y="2035"/>
                  <a:pt x="2334" y="2035"/>
                  <a:pt x="2334" y="2035"/>
                </a:cubicBezTo>
                <a:cubicBezTo>
                  <a:pt x="2334" y="2034"/>
                  <a:pt x="2335" y="2032"/>
                  <a:pt x="2335" y="2030"/>
                </a:cubicBezTo>
                <a:cubicBezTo>
                  <a:pt x="2334" y="2031"/>
                  <a:pt x="2334" y="2031"/>
                  <a:pt x="2333" y="2032"/>
                </a:cubicBezTo>
                <a:cubicBezTo>
                  <a:pt x="2332" y="2032"/>
                  <a:pt x="2332" y="2033"/>
                  <a:pt x="2332" y="2034"/>
                </a:cubicBezTo>
                <a:cubicBezTo>
                  <a:pt x="2332" y="2030"/>
                  <a:pt x="2332" y="2030"/>
                  <a:pt x="2338" y="2029"/>
                </a:cubicBezTo>
                <a:cubicBezTo>
                  <a:pt x="2338" y="2029"/>
                  <a:pt x="2337" y="2028"/>
                  <a:pt x="2337" y="2028"/>
                </a:cubicBezTo>
                <a:cubicBezTo>
                  <a:pt x="2334" y="2029"/>
                  <a:pt x="2334" y="2027"/>
                  <a:pt x="2333" y="2025"/>
                </a:cubicBezTo>
                <a:cubicBezTo>
                  <a:pt x="2335" y="2024"/>
                  <a:pt x="2336" y="2024"/>
                  <a:pt x="2338" y="2024"/>
                </a:cubicBezTo>
                <a:cubicBezTo>
                  <a:pt x="2336" y="2021"/>
                  <a:pt x="2335" y="2018"/>
                  <a:pt x="2332" y="2018"/>
                </a:cubicBezTo>
                <a:cubicBezTo>
                  <a:pt x="2331" y="2018"/>
                  <a:pt x="2331" y="2018"/>
                  <a:pt x="2331" y="2017"/>
                </a:cubicBezTo>
                <a:cubicBezTo>
                  <a:pt x="2329" y="2015"/>
                  <a:pt x="2326" y="2013"/>
                  <a:pt x="2323" y="2011"/>
                </a:cubicBezTo>
                <a:cubicBezTo>
                  <a:pt x="2321" y="2010"/>
                  <a:pt x="2318" y="2009"/>
                  <a:pt x="2316" y="2009"/>
                </a:cubicBezTo>
                <a:cubicBezTo>
                  <a:pt x="2313" y="2009"/>
                  <a:pt x="2310" y="2010"/>
                  <a:pt x="2306" y="2011"/>
                </a:cubicBezTo>
                <a:cubicBezTo>
                  <a:pt x="2304" y="2012"/>
                  <a:pt x="2301" y="2014"/>
                  <a:pt x="2299" y="2017"/>
                </a:cubicBezTo>
                <a:cubicBezTo>
                  <a:pt x="2301" y="2017"/>
                  <a:pt x="2302" y="2017"/>
                  <a:pt x="2303" y="2017"/>
                </a:cubicBezTo>
                <a:cubicBezTo>
                  <a:pt x="2303" y="2018"/>
                  <a:pt x="2302" y="2018"/>
                  <a:pt x="2301" y="2018"/>
                </a:cubicBezTo>
                <a:cubicBezTo>
                  <a:pt x="2299" y="2019"/>
                  <a:pt x="2296" y="2018"/>
                  <a:pt x="2294" y="2020"/>
                </a:cubicBezTo>
                <a:cubicBezTo>
                  <a:pt x="2291" y="2024"/>
                  <a:pt x="2287" y="2028"/>
                  <a:pt x="2283" y="2032"/>
                </a:cubicBezTo>
                <a:cubicBezTo>
                  <a:pt x="2282" y="2034"/>
                  <a:pt x="2281" y="2037"/>
                  <a:pt x="2280" y="2039"/>
                </a:cubicBezTo>
                <a:cubicBezTo>
                  <a:pt x="2280" y="2039"/>
                  <a:pt x="2280" y="2040"/>
                  <a:pt x="2280" y="2041"/>
                </a:cubicBezTo>
                <a:cubicBezTo>
                  <a:pt x="2281" y="2043"/>
                  <a:pt x="2282" y="2045"/>
                  <a:pt x="2284" y="2046"/>
                </a:cubicBezTo>
                <a:cubicBezTo>
                  <a:pt x="2285" y="2045"/>
                  <a:pt x="2286" y="2043"/>
                  <a:pt x="2288" y="2042"/>
                </a:cubicBezTo>
                <a:cubicBezTo>
                  <a:pt x="2287" y="2043"/>
                  <a:pt x="2287" y="2045"/>
                  <a:pt x="2286" y="2046"/>
                </a:cubicBezTo>
                <a:cubicBezTo>
                  <a:pt x="2285" y="2047"/>
                  <a:pt x="2284" y="2048"/>
                  <a:pt x="2284" y="2050"/>
                </a:cubicBezTo>
                <a:cubicBezTo>
                  <a:pt x="2284" y="2051"/>
                  <a:pt x="2284" y="2052"/>
                  <a:pt x="2284" y="2053"/>
                </a:cubicBezTo>
                <a:cubicBezTo>
                  <a:pt x="2287" y="2056"/>
                  <a:pt x="2290" y="2056"/>
                  <a:pt x="2294" y="2054"/>
                </a:cubicBezTo>
                <a:cubicBezTo>
                  <a:pt x="2296" y="2053"/>
                  <a:pt x="2299" y="2052"/>
                  <a:pt x="2302" y="2051"/>
                </a:cubicBezTo>
                <a:cubicBezTo>
                  <a:pt x="2303" y="2050"/>
                  <a:pt x="2305" y="2050"/>
                  <a:pt x="2305" y="2048"/>
                </a:cubicBezTo>
                <a:cubicBezTo>
                  <a:pt x="2305" y="2045"/>
                  <a:pt x="2305" y="2041"/>
                  <a:pt x="2305" y="2038"/>
                </a:cubicBezTo>
                <a:cubicBezTo>
                  <a:pt x="2305" y="2035"/>
                  <a:pt x="2305" y="2032"/>
                  <a:pt x="2305" y="2029"/>
                </a:cubicBezTo>
                <a:cubicBezTo>
                  <a:pt x="2305" y="2032"/>
                  <a:pt x="2306" y="2035"/>
                  <a:pt x="2306" y="2037"/>
                </a:cubicBezTo>
                <a:cubicBezTo>
                  <a:pt x="2307" y="2042"/>
                  <a:pt x="2307" y="2046"/>
                  <a:pt x="2306" y="2050"/>
                </a:cubicBezTo>
                <a:cubicBezTo>
                  <a:pt x="2305" y="2051"/>
                  <a:pt x="2305" y="2052"/>
                  <a:pt x="2304" y="2052"/>
                </a:cubicBezTo>
                <a:cubicBezTo>
                  <a:pt x="2301" y="2052"/>
                  <a:pt x="2297" y="2054"/>
                  <a:pt x="2294" y="2056"/>
                </a:cubicBezTo>
                <a:cubicBezTo>
                  <a:pt x="2289" y="2059"/>
                  <a:pt x="2286" y="2057"/>
                  <a:pt x="2282" y="2053"/>
                </a:cubicBezTo>
                <a:cubicBezTo>
                  <a:pt x="2282" y="2053"/>
                  <a:pt x="2282" y="2052"/>
                  <a:pt x="2282" y="2051"/>
                </a:cubicBezTo>
                <a:cubicBezTo>
                  <a:pt x="2283" y="2049"/>
                  <a:pt x="2282" y="2047"/>
                  <a:pt x="2280" y="2045"/>
                </a:cubicBezTo>
                <a:cubicBezTo>
                  <a:pt x="2279" y="2043"/>
                  <a:pt x="2277" y="2041"/>
                  <a:pt x="2278" y="2038"/>
                </a:cubicBezTo>
                <a:cubicBezTo>
                  <a:pt x="2279" y="2036"/>
                  <a:pt x="2280" y="2034"/>
                  <a:pt x="2281" y="2033"/>
                </a:cubicBezTo>
                <a:cubicBezTo>
                  <a:pt x="2283" y="2030"/>
                  <a:pt x="2285" y="2027"/>
                  <a:pt x="2287" y="2025"/>
                </a:cubicBezTo>
                <a:cubicBezTo>
                  <a:pt x="2287" y="2025"/>
                  <a:pt x="2286" y="2025"/>
                  <a:pt x="2286" y="2025"/>
                </a:cubicBezTo>
                <a:cubicBezTo>
                  <a:pt x="2281" y="2026"/>
                  <a:pt x="2277" y="2027"/>
                  <a:pt x="2273" y="2031"/>
                </a:cubicBezTo>
                <a:cubicBezTo>
                  <a:pt x="2268" y="2035"/>
                  <a:pt x="2265" y="2040"/>
                  <a:pt x="2265" y="2047"/>
                </a:cubicBezTo>
                <a:cubicBezTo>
                  <a:pt x="2264" y="2054"/>
                  <a:pt x="2267" y="2060"/>
                  <a:pt x="2270" y="2065"/>
                </a:cubicBezTo>
                <a:cubicBezTo>
                  <a:pt x="2271" y="2066"/>
                  <a:pt x="2271" y="2068"/>
                  <a:pt x="2271" y="2069"/>
                </a:cubicBezTo>
                <a:cubicBezTo>
                  <a:pt x="2271" y="2071"/>
                  <a:pt x="2271" y="2072"/>
                  <a:pt x="2270" y="2073"/>
                </a:cubicBezTo>
                <a:cubicBezTo>
                  <a:pt x="2269" y="2075"/>
                  <a:pt x="2270" y="2076"/>
                  <a:pt x="2271" y="2077"/>
                </a:cubicBezTo>
                <a:cubicBezTo>
                  <a:pt x="2274" y="2077"/>
                  <a:pt x="2277" y="2078"/>
                  <a:pt x="2280" y="2078"/>
                </a:cubicBezTo>
                <a:cubicBezTo>
                  <a:pt x="2280" y="2078"/>
                  <a:pt x="2281" y="2077"/>
                  <a:pt x="2281" y="2077"/>
                </a:cubicBezTo>
                <a:cubicBezTo>
                  <a:pt x="2282" y="2076"/>
                  <a:pt x="2282" y="2074"/>
                  <a:pt x="2282" y="2073"/>
                </a:cubicBezTo>
                <a:cubicBezTo>
                  <a:pt x="2284" y="2071"/>
                  <a:pt x="2284" y="2068"/>
                  <a:pt x="2284" y="2065"/>
                </a:cubicBezTo>
                <a:cubicBezTo>
                  <a:pt x="2284" y="2065"/>
                  <a:pt x="2284" y="2065"/>
                  <a:pt x="2284" y="2064"/>
                </a:cubicBezTo>
                <a:cubicBezTo>
                  <a:pt x="2284" y="2064"/>
                  <a:pt x="2284" y="2064"/>
                  <a:pt x="2284" y="2064"/>
                </a:cubicBezTo>
                <a:cubicBezTo>
                  <a:pt x="2285" y="2066"/>
                  <a:pt x="2286" y="2066"/>
                  <a:pt x="2288" y="2066"/>
                </a:cubicBezTo>
                <a:cubicBezTo>
                  <a:pt x="2289" y="2066"/>
                  <a:pt x="2290" y="2066"/>
                  <a:pt x="2291" y="2066"/>
                </a:cubicBezTo>
                <a:cubicBezTo>
                  <a:pt x="2293" y="2066"/>
                  <a:pt x="2297" y="2067"/>
                  <a:pt x="2297" y="2063"/>
                </a:cubicBezTo>
                <a:cubicBezTo>
                  <a:pt x="2297" y="2065"/>
                  <a:pt x="2297" y="2067"/>
                  <a:pt x="2297" y="2067"/>
                </a:cubicBezTo>
                <a:cubicBezTo>
                  <a:pt x="2296" y="2068"/>
                  <a:pt x="2295" y="2069"/>
                  <a:pt x="2293" y="2069"/>
                </a:cubicBezTo>
                <a:cubicBezTo>
                  <a:pt x="2292" y="2070"/>
                  <a:pt x="2291" y="2072"/>
                  <a:pt x="2292" y="2073"/>
                </a:cubicBezTo>
                <a:cubicBezTo>
                  <a:pt x="2293" y="2075"/>
                  <a:pt x="2295" y="2077"/>
                  <a:pt x="2296" y="2079"/>
                </a:cubicBezTo>
                <a:cubicBezTo>
                  <a:pt x="2298" y="2080"/>
                  <a:pt x="2300" y="2080"/>
                  <a:pt x="2301" y="2078"/>
                </a:cubicBezTo>
                <a:cubicBezTo>
                  <a:pt x="2302" y="2077"/>
                  <a:pt x="2303" y="2077"/>
                  <a:pt x="2303" y="2076"/>
                </a:cubicBezTo>
                <a:cubicBezTo>
                  <a:pt x="2305" y="2075"/>
                  <a:pt x="2306" y="2073"/>
                  <a:pt x="2308" y="2072"/>
                </a:cubicBezTo>
                <a:cubicBezTo>
                  <a:pt x="2312" y="2068"/>
                  <a:pt x="2314" y="2062"/>
                  <a:pt x="2316" y="2056"/>
                </a:cubicBezTo>
                <a:cubicBezTo>
                  <a:pt x="2316" y="2056"/>
                  <a:pt x="2315" y="2055"/>
                  <a:pt x="2315" y="2054"/>
                </a:cubicBezTo>
                <a:cubicBezTo>
                  <a:pt x="2314" y="2053"/>
                  <a:pt x="2313" y="2052"/>
                  <a:pt x="2312" y="2052"/>
                </a:cubicBezTo>
                <a:close/>
                <a:moveTo>
                  <a:pt x="2264" y="2058"/>
                </a:moveTo>
                <a:cubicBezTo>
                  <a:pt x="2264" y="2059"/>
                  <a:pt x="2262" y="2060"/>
                  <a:pt x="2261" y="2061"/>
                </a:cubicBezTo>
                <a:cubicBezTo>
                  <a:pt x="2260" y="2061"/>
                  <a:pt x="2260" y="2062"/>
                  <a:pt x="2260" y="2063"/>
                </a:cubicBezTo>
                <a:cubicBezTo>
                  <a:pt x="2260" y="2065"/>
                  <a:pt x="2264" y="2070"/>
                  <a:pt x="2267" y="2069"/>
                </a:cubicBezTo>
                <a:cubicBezTo>
                  <a:pt x="2269" y="2069"/>
                  <a:pt x="2270" y="2068"/>
                  <a:pt x="2269" y="2067"/>
                </a:cubicBezTo>
                <a:cubicBezTo>
                  <a:pt x="2267" y="2064"/>
                  <a:pt x="2266" y="2061"/>
                  <a:pt x="2264" y="2058"/>
                </a:cubicBezTo>
                <a:close/>
                <a:moveTo>
                  <a:pt x="2317" y="2060"/>
                </a:moveTo>
                <a:cubicBezTo>
                  <a:pt x="2315" y="2065"/>
                  <a:pt x="2312" y="2069"/>
                  <a:pt x="2310" y="2073"/>
                </a:cubicBezTo>
                <a:cubicBezTo>
                  <a:pt x="2313" y="2073"/>
                  <a:pt x="2315" y="2074"/>
                  <a:pt x="2318" y="2073"/>
                </a:cubicBezTo>
                <a:cubicBezTo>
                  <a:pt x="2318" y="2073"/>
                  <a:pt x="2319" y="2072"/>
                  <a:pt x="2319" y="2072"/>
                </a:cubicBezTo>
                <a:cubicBezTo>
                  <a:pt x="2319" y="2069"/>
                  <a:pt x="2319" y="2067"/>
                  <a:pt x="2318" y="2064"/>
                </a:cubicBezTo>
                <a:cubicBezTo>
                  <a:pt x="2318" y="2063"/>
                  <a:pt x="2318" y="2062"/>
                  <a:pt x="2317" y="2060"/>
                </a:cubicBezTo>
                <a:close/>
                <a:moveTo>
                  <a:pt x="2264" y="2040"/>
                </a:moveTo>
                <a:cubicBezTo>
                  <a:pt x="2264" y="2040"/>
                  <a:pt x="2263" y="2041"/>
                  <a:pt x="2262" y="2041"/>
                </a:cubicBezTo>
                <a:cubicBezTo>
                  <a:pt x="2262" y="2041"/>
                  <a:pt x="2261" y="2041"/>
                  <a:pt x="2261" y="2040"/>
                </a:cubicBezTo>
                <a:cubicBezTo>
                  <a:pt x="2260" y="2040"/>
                  <a:pt x="2260" y="2039"/>
                  <a:pt x="2260" y="2038"/>
                </a:cubicBezTo>
                <a:cubicBezTo>
                  <a:pt x="2261" y="2036"/>
                  <a:pt x="2261" y="2034"/>
                  <a:pt x="2262" y="2032"/>
                </a:cubicBezTo>
                <a:cubicBezTo>
                  <a:pt x="2262" y="2032"/>
                  <a:pt x="2262" y="2032"/>
                  <a:pt x="2261" y="2032"/>
                </a:cubicBezTo>
                <a:cubicBezTo>
                  <a:pt x="2260" y="2033"/>
                  <a:pt x="2259" y="2034"/>
                  <a:pt x="2258" y="2035"/>
                </a:cubicBezTo>
                <a:cubicBezTo>
                  <a:pt x="2258" y="2036"/>
                  <a:pt x="2259" y="2041"/>
                  <a:pt x="2261" y="2042"/>
                </a:cubicBezTo>
                <a:cubicBezTo>
                  <a:pt x="2262" y="2043"/>
                  <a:pt x="2264" y="2042"/>
                  <a:pt x="2264" y="2040"/>
                </a:cubicBezTo>
                <a:close/>
                <a:moveTo>
                  <a:pt x="2264" y="2058"/>
                </a:moveTo>
                <a:cubicBezTo>
                  <a:pt x="2264" y="2058"/>
                  <a:pt x="2262" y="2059"/>
                  <a:pt x="2261" y="2060"/>
                </a:cubicBezTo>
                <a:cubicBezTo>
                  <a:pt x="2261" y="2061"/>
                  <a:pt x="2260" y="2062"/>
                  <a:pt x="2260" y="2062"/>
                </a:cubicBezTo>
                <a:cubicBezTo>
                  <a:pt x="2260" y="2065"/>
                  <a:pt x="2264" y="2070"/>
                  <a:pt x="2267" y="2069"/>
                </a:cubicBezTo>
                <a:cubicBezTo>
                  <a:pt x="2269" y="2069"/>
                  <a:pt x="2270" y="2068"/>
                  <a:pt x="2269" y="2066"/>
                </a:cubicBezTo>
                <a:cubicBezTo>
                  <a:pt x="2267" y="2063"/>
                  <a:pt x="2266" y="2060"/>
                  <a:pt x="2264" y="2058"/>
                </a:cubicBezTo>
                <a:close/>
                <a:moveTo>
                  <a:pt x="2317" y="2060"/>
                </a:moveTo>
                <a:cubicBezTo>
                  <a:pt x="2315" y="2064"/>
                  <a:pt x="2312" y="2069"/>
                  <a:pt x="2310" y="2073"/>
                </a:cubicBezTo>
                <a:cubicBezTo>
                  <a:pt x="2313" y="2073"/>
                  <a:pt x="2315" y="2073"/>
                  <a:pt x="2318" y="2073"/>
                </a:cubicBezTo>
                <a:cubicBezTo>
                  <a:pt x="2318" y="2073"/>
                  <a:pt x="2319" y="2072"/>
                  <a:pt x="2319" y="2071"/>
                </a:cubicBezTo>
                <a:cubicBezTo>
                  <a:pt x="2319" y="2069"/>
                  <a:pt x="2319" y="2066"/>
                  <a:pt x="2318" y="2064"/>
                </a:cubicBezTo>
                <a:cubicBezTo>
                  <a:pt x="2318" y="2062"/>
                  <a:pt x="2318" y="2061"/>
                  <a:pt x="2317" y="2060"/>
                </a:cubicBezTo>
                <a:close/>
                <a:moveTo>
                  <a:pt x="2264" y="2040"/>
                </a:moveTo>
                <a:cubicBezTo>
                  <a:pt x="2264" y="2040"/>
                  <a:pt x="2263" y="2040"/>
                  <a:pt x="2263" y="2040"/>
                </a:cubicBezTo>
                <a:cubicBezTo>
                  <a:pt x="2262" y="2040"/>
                  <a:pt x="2261" y="2040"/>
                  <a:pt x="2261" y="2040"/>
                </a:cubicBezTo>
                <a:cubicBezTo>
                  <a:pt x="2261" y="2040"/>
                  <a:pt x="2260" y="2039"/>
                  <a:pt x="2260" y="2038"/>
                </a:cubicBezTo>
                <a:cubicBezTo>
                  <a:pt x="2261" y="2036"/>
                  <a:pt x="2261" y="2034"/>
                  <a:pt x="2262" y="2032"/>
                </a:cubicBezTo>
                <a:cubicBezTo>
                  <a:pt x="2262" y="2032"/>
                  <a:pt x="2262" y="2032"/>
                  <a:pt x="2261" y="2032"/>
                </a:cubicBezTo>
                <a:cubicBezTo>
                  <a:pt x="2261" y="2033"/>
                  <a:pt x="2259" y="2034"/>
                  <a:pt x="2259" y="2035"/>
                </a:cubicBezTo>
                <a:cubicBezTo>
                  <a:pt x="2258" y="2036"/>
                  <a:pt x="2259" y="2041"/>
                  <a:pt x="2261" y="2042"/>
                </a:cubicBezTo>
                <a:cubicBezTo>
                  <a:pt x="2263" y="2043"/>
                  <a:pt x="2264" y="2042"/>
                  <a:pt x="2264" y="2040"/>
                </a:cubicBezTo>
                <a:close/>
                <a:moveTo>
                  <a:pt x="2317" y="2031"/>
                </a:moveTo>
                <a:cubicBezTo>
                  <a:pt x="2320" y="2028"/>
                  <a:pt x="2320" y="2028"/>
                  <a:pt x="2324" y="2026"/>
                </a:cubicBezTo>
                <a:cubicBezTo>
                  <a:pt x="2324" y="2028"/>
                  <a:pt x="2325" y="2030"/>
                  <a:pt x="2326" y="2030"/>
                </a:cubicBezTo>
                <a:cubicBezTo>
                  <a:pt x="2324" y="2031"/>
                  <a:pt x="2322" y="2032"/>
                  <a:pt x="2320" y="2034"/>
                </a:cubicBezTo>
                <a:cubicBezTo>
                  <a:pt x="2320" y="2033"/>
                  <a:pt x="2319" y="2032"/>
                  <a:pt x="2318" y="2031"/>
                </a:cubicBezTo>
                <a:cubicBezTo>
                  <a:pt x="2318" y="2031"/>
                  <a:pt x="2318" y="2031"/>
                  <a:pt x="2317" y="2031"/>
                </a:cubicBezTo>
                <a:close/>
                <a:moveTo>
                  <a:pt x="2323" y="2031"/>
                </a:moveTo>
                <a:cubicBezTo>
                  <a:pt x="2322" y="2030"/>
                  <a:pt x="2321" y="2030"/>
                  <a:pt x="2321" y="2030"/>
                </a:cubicBezTo>
                <a:cubicBezTo>
                  <a:pt x="2320" y="2030"/>
                  <a:pt x="2320" y="2031"/>
                  <a:pt x="2320" y="2031"/>
                </a:cubicBezTo>
                <a:cubicBezTo>
                  <a:pt x="2320" y="2032"/>
                  <a:pt x="2320" y="2032"/>
                  <a:pt x="2320" y="2032"/>
                </a:cubicBezTo>
                <a:cubicBezTo>
                  <a:pt x="2321" y="2032"/>
                  <a:pt x="2321" y="2032"/>
                  <a:pt x="2323" y="2031"/>
                </a:cubicBezTo>
                <a:close/>
                <a:moveTo>
                  <a:pt x="2304" y="2021"/>
                </a:moveTo>
                <a:cubicBezTo>
                  <a:pt x="2297" y="2021"/>
                  <a:pt x="2294" y="2023"/>
                  <a:pt x="2293" y="2031"/>
                </a:cubicBezTo>
                <a:cubicBezTo>
                  <a:pt x="2294" y="2029"/>
                  <a:pt x="2296" y="2026"/>
                  <a:pt x="2297" y="2024"/>
                </a:cubicBezTo>
                <a:cubicBezTo>
                  <a:pt x="2297" y="2024"/>
                  <a:pt x="2297" y="2024"/>
                  <a:pt x="2297" y="2024"/>
                </a:cubicBezTo>
                <a:cubicBezTo>
                  <a:pt x="2297" y="2025"/>
                  <a:pt x="2298" y="2026"/>
                  <a:pt x="2298" y="2027"/>
                </a:cubicBezTo>
                <a:cubicBezTo>
                  <a:pt x="2299" y="2024"/>
                  <a:pt x="2300" y="2022"/>
                  <a:pt x="2304" y="2021"/>
                </a:cubicBezTo>
                <a:close/>
                <a:moveTo>
                  <a:pt x="2348" y="2023"/>
                </a:moveTo>
                <a:cubicBezTo>
                  <a:pt x="2345" y="2024"/>
                  <a:pt x="2343" y="2026"/>
                  <a:pt x="2342" y="2027"/>
                </a:cubicBezTo>
                <a:cubicBezTo>
                  <a:pt x="2344" y="2027"/>
                  <a:pt x="2346" y="2026"/>
                  <a:pt x="2348" y="2023"/>
                </a:cubicBezTo>
                <a:close/>
                <a:moveTo>
                  <a:pt x="2314" y="2025"/>
                </a:moveTo>
                <a:cubicBezTo>
                  <a:pt x="2315" y="2024"/>
                  <a:pt x="2316" y="2022"/>
                  <a:pt x="2317" y="2021"/>
                </a:cubicBezTo>
                <a:cubicBezTo>
                  <a:pt x="2314" y="2022"/>
                  <a:pt x="2313" y="2023"/>
                  <a:pt x="2314" y="2025"/>
                </a:cubicBezTo>
                <a:close/>
                <a:moveTo>
                  <a:pt x="2324" y="2046"/>
                </a:moveTo>
                <a:cubicBezTo>
                  <a:pt x="2322" y="2047"/>
                  <a:pt x="2321" y="2048"/>
                  <a:pt x="2321" y="2049"/>
                </a:cubicBezTo>
                <a:cubicBezTo>
                  <a:pt x="2322" y="2048"/>
                  <a:pt x="2323" y="2047"/>
                  <a:pt x="2324" y="2046"/>
                </a:cubicBezTo>
                <a:close/>
                <a:moveTo>
                  <a:pt x="2323" y="2031"/>
                </a:moveTo>
                <a:cubicBezTo>
                  <a:pt x="2322" y="2031"/>
                  <a:pt x="2321" y="2030"/>
                  <a:pt x="2321" y="2030"/>
                </a:cubicBezTo>
                <a:cubicBezTo>
                  <a:pt x="2320" y="2030"/>
                  <a:pt x="2320" y="2031"/>
                  <a:pt x="2320" y="2031"/>
                </a:cubicBezTo>
                <a:cubicBezTo>
                  <a:pt x="2320" y="2032"/>
                  <a:pt x="2320" y="2032"/>
                  <a:pt x="2320" y="2033"/>
                </a:cubicBezTo>
                <a:cubicBezTo>
                  <a:pt x="2321" y="2032"/>
                  <a:pt x="2321" y="2032"/>
                  <a:pt x="2323" y="2031"/>
                </a:cubicBezTo>
                <a:close/>
                <a:moveTo>
                  <a:pt x="2613" y="2009"/>
                </a:moveTo>
                <a:cubicBezTo>
                  <a:pt x="2613" y="2009"/>
                  <a:pt x="2613" y="2009"/>
                  <a:pt x="2613" y="2009"/>
                </a:cubicBezTo>
                <a:cubicBezTo>
                  <a:pt x="2609" y="2009"/>
                  <a:pt x="2609" y="2009"/>
                  <a:pt x="2609" y="2009"/>
                </a:cubicBezTo>
                <a:cubicBezTo>
                  <a:pt x="2606" y="2010"/>
                  <a:pt x="2605" y="2012"/>
                  <a:pt x="2603" y="2012"/>
                </a:cubicBezTo>
                <a:cubicBezTo>
                  <a:pt x="2601" y="2014"/>
                  <a:pt x="2599" y="2014"/>
                  <a:pt x="2598" y="2015"/>
                </a:cubicBezTo>
                <a:cubicBezTo>
                  <a:pt x="2596" y="2017"/>
                  <a:pt x="2594" y="2017"/>
                  <a:pt x="2592" y="2018"/>
                </a:cubicBezTo>
                <a:cubicBezTo>
                  <a:pt x="2591" y="2019"/>
                  <a:pt x="2588" y="2020"/>
                  <a:pt x="2587" y="2020"/>
                </a:cubicBezTo>
                <a:cubicBezTo>
                  <a:pt x="2587" y="2020"/>
                  <a:pt x="2587" y="2020"/>
                  <a:pt x="2587" y="2030"/>
                </a:cubicBezTo>
                <a:cubicBezTo>
                  <a:pt x="2590" y="2029"/>
                  <a:pt x="2593" y="2028"/>
                  <a:pt x="2595" y="2027"/>
                </a:cubicBezTo>
                <a:cubicBezTo>
                  <a:pt x="2597" y="2026"/>
                  <a:pt x="2600" y="2025"/>
                  <a:pt x="2601" y="2023"/>
                </a:cubicBezTo>
                <a:cubicBezTo>
                  <a:pt x="2601" y="2023"/>
                  <a:pt x="2601" y="2023"/>
                  <a:pt x="2601" y="2082"/>
                </a:cubicBezTo>
                <a:cubicBezTo>
                  <a:pt x="2601" y="2082"/>
                  <a:pt x="2601" y="2082"/>
                  <a:pt x="2613" y="2082"/>
                </a:cubicBezTo>
                <a:cubicBezTo>
                  <a:pt x="2613" y="2082"/>
                  <a:pt x="2613" y="2082"/>
                  <a:pt x="2613" y="2009"/>
                </a:cubicBezTo>
                <a:close/>
                <a:moveTo>
                  <a:pt x="2734" y="2009"/>
                </a:moveTo>
                <a:cubicBezTo>
                  <a:pt x="2734" y="2009"/>
                  <a:pt x="2734" y="2009"/>
                  <a:pt x="2734" y="2009"/>
                </a:cubicBezTo>
                <a:cubicBezTo>
                  <a:pt x="2729" y="2009"/>
                  <a:pt x="2729" y="2009"/>
                  <a:pt x="2729" y="2009"/>
                </a:cubicBezTo>
                <a:cubicBezTo>
                  <a:pt x="2727" y="2010"/>
                  <a:pt x="2726" y="2012"/>
                  <a:pt x="2724" y="2012"/>
                </a:cubicBezTo>
                <a:cubicBezTo>
                  <a:pt x="2722" y="2014"/>
                  <a:pt x="2721" y="2014"/>
                  <a:pt x="2718" y="2015"/>
                </a:cubicBezTo>
                <a:cubicBezTo>
                  <a:pt x="2717" y="2017"/>
                  <a:pt x="2715" y="2017"/>
                  <a:pt x="2713" y="2018"/>
                </a:cubicBezTo>
                <a:cubicBezTo>
                  <a:pt x="2711" y="2019"/>
                  <a:pt x="2710" y="2020"/>
                  <a:pt x="2708" y="2020"/>
                </a:cubicBezTo>
                <a:cubicBezTo>
                  <a:pt x="2708" y="2020"/>
                  <a:pt x="2708" y="2020"/>
                  <a:pt x="2708" y="2030"/>
                </a:cubicBezTo>
                <a:cubicBezTo>
                  <a:pt x="2710" y="2029"/>
                  <a:pt x="2713" y="2028"/>
                  <a:pt x="2716" y="2027"/>
                </a:cubicBezTo>
                <a:cubicBezTo>
                  <a:pt x="2718" y="2026"/>
                  <a:pt x="2721" y="2025"/>
                  <a:pt x="2723" y="2023"/>
                </a:cubicBezTo>
                <a:cubicBezTo>
                  <a:pt x="2723" y="2023"/>
                  <a:pt x="2723" y="2023"/>
                  <a:pt x="2723" y="2082"/>
                </a:cubicBezTo>
                <a:cubicBezTo>
                  <a:pt x="2723" y="2082"/>
                  <a:pt x="2723" y="2082"/>
                  <a:pt x="2734" y="2082"/>
                </a:cubicBezTo>
                <a:cubicBezTo>
                  <a:pt x="2734" y="2082"/>
                  <a:pt x="2734" y="2082"/>
                  <a:pt x="2734" y="2009"/>
                </a:cubicBezTo>
                <a:close/>
                <a:moveTo>
                  <a:pt x="2781" y="2009"/>
                </a:moveTo>
                <a:cubicBezTo>
                  <a:pt x="2781" y="2009"/>
                  <a:pt x="2781" y="2009"/>
                  <a:pt x="2781" y="2009"/>
                </a:cubicBezTo>
                <a:cubicBezTo>
                  <a:pt x="2776" y="2009"/>
                  <a:pt x="2776" y="2009"/>
                  <a:pt x="2776" y="2009"/>
                </a:cubicBezTo>
                <a:cubicBezTo>
                  <a:pt x="2774" y="2010"/>
                  <a:pt x="2773" y="2012"/>
                  <a:pt x="2771" y="2012"/>
                </a:cubicBezTo>
                <a:cubicBezTo>
                  <a:pt x="2769" y="2014"/>
                  <a:pt x="2767" y="2014"/>
                  <a:pt x="2765" y="2015"/>
                </a:cubicBezTo>
                <a:cubicBezTo>
                  <a:pt x="2764" y="2017"/>
                  <a:pt x="2762" y="2017"/>
                  <a:pt x="2760" y="2018"/>
                </a:cubicBezTo>
                <a:cubicBezTo>
                  <a:pt x="2758" y="2019"/>
                  <a:pt x="2757" y="2020"/>
                  <a:pt x="2755" y="2020"/>
                </a:cubicBezTo>
                <a:cubicBezTo>
                  <a:pt x="2755" y="2020"/>
                  <a:pt x="2755" y="2020"/>
                  <a:pt x="2755" y="2030"/>
                </a:cubicBezTo>
                <a:cubicBezTo>
                  <a:pt x="2757" y="2029"/>
                  <a:pt x="2760" y="2028"/>
                  <a:pt x="2763" y="2027"/>
                </a:cubicBezTo>
                <a:cubicBezTo>
                  <a:pt x="2765" y="2026"/>
                  <a:pt x="2768" y="2025"/>
                  <a:pt x="2770" y="2023"/>
                </a:cubicBezTo>
                <a:cubicBezTo>
                  <a:pt x="2770" y="2023"/>
                  <a:pt x="2770" y="2023"/>
                  <a:pt x="2770" y="2082"/>
                </a:cubicBezTo>
                <a:cubicBezTo>
                  <a:pt x="2770" y="2082"/>
                  <a:pt x="2770" y="2082"/>
                  <a:pt x="2781" y="2082"/>
                </a:cubicBezTo>
                <a:cubicBezTo>
                  <a:pt x="2781" y="2082"/>
                  <a:pt x="2781" y="2082"/>
                  <a:pt x="2781" y="2009"/>
                </a:cubicBezTo>
                <a:close/>
                <a:moveTo>
                  <a:pt x="2827" y="2009"/>
                </a:moveTo>
                <a:cubicBezTo>
                  <a:pt x="2827" y="2009"/>
                  <a:pt x="2827" y="2009"/>
                  <a:pt x="2827" y="2009"/>
                </a:cubicBezTo>
                <a:cubicBezTo>
                  <a:pt x="2823" y="2009"/>
                  <a:pt x="2823" y="2009"/>
                  <a:pt x="2823" y="2009"/>
                </a:cubicBezTo>
                <a:cubicBezTo>
                  <a:pt x="2821" y="2010"/>
                  <a:pt x="2819" y="2012"/>
                  <a:pt x="2817" y="2012"/>
                </a:cubicBezTo>
                <a:cubicBezTo>
                  <a:pt x="2816" y="2014"/>
                  <a:pt x="2813" y="2014"/>
                  <a:pt x="2812" y="2015"/>
                </a:cubicBezTo>
                <a:cubicBezTo>
                  <a:pt x="2810" y="2016"/>
                  <a:pt x="2808" y="2017"/>
                  <a:pt x="2806" y="2017"/>
                </a:cubicBezTo>
                <a:cubicBezTo>
                  <a:pt x="2805" y="2018"/>
                  <a:pt x="2803" y="2019"/>
                  <a:pt x="2801" y="2020"/>
                </a:cubicBezTo>
                <a:cubicBezTo>
                  <a:pt x="2801" y="2020"/>
                  <a:pt x="2801" y="2020"/>
                  <a:pt x="2801" y="2030"/>
                </a:cubicBezTo>
                <a:cubicBezTo>
                  <a:pt x="2804" y="2029"/>
                  <a:pt x="2807" y="2028"/>
                  <a:pt x="2809" y="2027"/>
                </a:cubicBezTo>
                <a:cubicBezTo>
                  <a:pt x="2811" y="2026"/>
                  <a:pt x="2814" y="2025"/>
                  <a:pt x="2816" y="2023"/>
                </a:cubicBezTo>
                <a:cubicBezTo>
                  <a:pt x="2816" y="2023"/>
                  <a:pt x="2816" y="2023"/>
                  <a:pt x="2816" y="2082"/>
                </a:cubicBezTo>
                <a:cubicBezTo>
                  <a:pt x="2816" y="2082"/>
                  <a:pt x="2816" y="2082"/>
                  <a:pt x="2827" y="2082"/>
                </a:cubicBezTo>
                <a:cubicBezTo>
                  <a:pt x="2827" y="2082"/>
                  <a:pt x="2827" y="2082"/>
                  <a:pt x="2827" y="2009"/>
                </a:cubicBezTo>
                <a:close/>
                <a:moveTo>
                  <a:pt x="2633" y="2041"/>
                </a:moveTo>
                <a:cubicBezTo>
                  <a:pt x="2633" y="2041"/>
                  <a:pt x="2633" y="2041"/>
                  <a:pt x="2633" y="2041"/>
                </a:cubicBezTo>
                <a:cubicBezTo>
                  <a:pt x="2633" y="2049"/>
                  <a:pt x="2633" y="2049"/>
                  <a:pt x="2633" y="2049"/>
                </a:cubicBezTo>
                <a:cubicBezTo>
                  <a:pt x="2639" y="2050"/>
                  <a:pt x="2640" y="2053"/>
                  <a:pt x="2640" y="2055"/>
                </a:cubicBezTo>
                <a:cubicBezTo>
                  <a:pt x="2640" y="2057"/>
                  <a:pt x="2639" y="2060"/>
                  <a:pt x="2639" y="2062"/>
                </a:cubicBezTo>
                <a:cubicBezTo>
                  <a:pt x="2639" y="2065"/>
                  <a:pt x="2639" y="2067"/>
                  <a:pt x="2639" y="2069"/>
                </a:cubicBezTo>
                <a:cubicBezTo>
                  <a:pt x="2639" y="2079"/>
                  <a:pt x="2645" y="2082"/>
                  <a:pt x="2653" y="2082"/>
                </a:cubicBezTo>
                <a:cubicBezTo>
                  <a:pt x="2653" y="2082"/>
                  <a:pt x="2653" y="2082"/>
                  <a:pt x="2657" y="2082"/>
                </a:cubicBezTo>
                <a:cubicBezTo>
                  <a:pt x="2657" y="2082"/>
                  <a:pt x="2657" y="2082"/>
                  <a:pt x="2657" y="2073"/>
                </a:cubicBezTo>
                <a:cubicBezTo>
                  <a:pt x="2657" y="2073"/>
                  <a:pt x="2657" y="2073"/>
                  <a:pt x="2656" y="2073"/>
                </a:cubicBezTo>
                <a:cubicBezTo>
                  <a:pt x="2652" y="2073"/>
                  <a:pt x="2651" y="2071"/>
                  <a:pt x="2651" y="2067"/>
                </a:cubicBezTo>
                <a:cubicBezTo>
                  <a:pt x="2651" y="2066"/>
                  <a:pt x="2651" y="2064"/>
                  <a:pt x="2651" y="2062"/>
                </a:cubicBezTo>
                <a:cubicBezTo>
                  <a:pt x="2651" y="2061"/>
                  <a:pt x="2651" y="2059"/>
                  <a:pt x="2651" y="2056"/>
                </a:cubicBezTo>
                <a:cubicBezTo>
                  <a:pt x="2651" y="2049"/>
                  <a:pt x="2648" y="2046"/>
                  <a:pt x="2643" y="2045"/>
                </a:cubicBezTo>
                <a:cubicBezTo>
                  <a:pt x="2643" y="2045"/>
                  <a:pt x="2643" y="2045"/>
                  <a:pt x="2643" y="2045"/>
                </a:cubicBezTo>
                <a:cubicBezTo>
                  <a:pt x="2648" y="2044"/>
                  <a:pt x="2651" y="2041"/>
                  <a:pt x="2651" y="2034"/>
                </a:cubicBezTo>
                <a:cubicBezTo>
                  <a:pt x="2651" y="2031"/>
                  <a:pt x="2651" y="2029"/>
                  <a:pt x="2651" y="2028"/>
                </a:cubicBezTo>
                <a:cubicBezTo>
                  <a:pt x="2651" y="2026"/>
                  <a:pt x="2651" y="2024"/>
                  <a:pt x="2651" y="2023"/>
                </a:cubicBezTo>
                <a:cubicBezTo>
                  <a:pt x="2651" y="2019"/>
                  <a:pt x="2652" y="2017"/>
                  <a:pt x="2656" y="2017"/>
                </a:cubicBezTo>
                <a:cubicBezTo>
                  <a:pt x="2656" y="2017"/>
                  <a:pt x="2656" y="2017"/>
                  <a:pt x="2657" y="2017"/>
                </a:cubicBezTo>
                <a:cubicBezTo>
                  <a:pt x="2657" y="2017"/>
                  <a:pt x="2657" y="2017"/>
                  <a:pt x="2657" y="2008"/>
                </a:cubicBezTo>
                <a:cubicBezTo>
                  <a:pt x="2657" y="2008"/>
                  <a:pt x="2657" y="2008"/>
                  <a:pt x="2653" y="2008"/>
                </a:cubicBezTo>
                <a:cubicBezTo>
                  <a:pt x="2644" y="2008"/>
                  <a:pt x="2639" y="2012"/>
                  <a:pt x="2639" y="2020"/>
                </a:cubicBezTo>
                <a:cubicBezTo>
                  <a:pt x="2639" y="2023"/>
                  <a:pt x="2639" y="2025"/>
                  <a:pt x="2639" y="2028"/>
                </a:cubicBezTo>
                <a:cubicBezTo>
                  <a:pt x="2639" y="2030"/>
                  <a:pt x="2640" y="2033"/>
                  <a:pt x="2640" y="2035"/>
                </a:cubicBezTo>
                <a:cubicBezTo>
                  <a:pt x="2640" y="2037"/>
                  <a:pt x="2639" y="2041"/>
                  <a:pt x="2633" y="2041"/>
                </a:cubicBezTo>
                <a:close/>
                <a:moveTo>
                  <a:pt x="2688" y="2049"/>
                </a:moveTo>
                <a:cubicBezTo>
                  <a:pt x="2688" y="2049"/>
                  <a:pt x="2688" y="2049"/>
                  <a:pt x="2688" y="2049"/>
                </a:cubicBezTo>
                <a:cubicBezTo>
                  <a:pt x="2688" y="2041"/>
                  <a:pt x="2688" y="2041"/>
                  <a:pt x="2688" y="2041"/>
                </a:cubicBezTo>
                <a:cubicBezTo>
                  <a:pt x="2682" y="2041"/>
                  <a:pt x="2681" y="2037"/>
                  <a:pt x="2681" y="2035"/>
                </a:cubicBezTo>
                <a:cubicBezTo>
                  <a:pt x="2681" y="2033"/>
                  <a:pt x="2681" y="2030"/>
                  <a:pt x="2682" y="2028"/>
                </a:cubicBezTo>
                <a:cubicBezTo>
                  <a:pt x="2682" y="2025"/>
                  <a:pt x="2682" y="2023"/>
                  <a:pt x="2682" y="2020"/>
                </a:cubicBezTo>
                <a:cubicBezTo>
                  <a:pt x="2682" y="2012"/>
                  <a:pt x="2677" y="2008"/>
                  <a:pt x="2668" y="2008"/>
                </a:cubicBezTo>
                <a:cubicBezTo>
                  <a:pt x="2668" y="2008"/>
                  <a:pt x="2668" y="2008"/>
                  <a:pt x="2664" y="2008"/>
                </a:cubicBezTo>
                <a:cubicBezTo>
                  <a:pt x="2664" y="2008"/>
                  <a:pt x="2664" y="2008"/>
                  <a:pt x="2664" y="2017"/>
                </a:cubicBezTo>
                <a:cubicBezTo>
                  <a:pt x="2664" y="2017"/>
                  <a:pt x="2664" y="2017"/>
                  <a:pt x="2665" y="2017"/>
                </a:cubicBezTo>
                <a:cubicBezTo>
                  <a:pt x="2669" y="2017"/>
                  <a:pt x="2670" y="2019"/>
                  <a:pt x="2670" y="2023"/>
                </a:cubicBezTo>
                <a:cubicBezTo>
                  <a:pt x="2670" y="2024"/>
                  <a:pt x="2670" y="2026"/>
                  <a:pt x="2670" y="2028"/>
                </a:cubicBezTo>
                <a:cubicBezTo>
                  <a:pt x="2670" y="2029"/>
                  <a:pt x="2670" y="2031"/>
                  <a:pt x="2670" y="2034"/>
                </a:cubicBezTo>
                <a:cubicBezTo>
                  <a:pt x="2670" y="2041"/>
                  <a:pt x="2672" y="2044"/>
                  <a:pt x="2678" y="2045"/>
                </a:cubicBezTo>
                <a:cubicBezTo>
                  <a:pt x="2678" y="2045"/>
                  <a:pt x="2678" y="2045"/>
                  <a:pt x="2678" y="2045"/>
                </a:cubicBezTo>
                <a:cubicBezTo>
                  <a:pt x="2672" y="2046"/>
                  <a:pt x="2670" y="2049"/>
                  <a:pt x="2670" y="2056"/>
                </a:cubicBezTo>
                <a:cubicBezTo>
                  <a:pt x="2670" y="2059"/>
                  <a:pt x="2670" y="2061"/>
                  <a:pt x="2670" y="2062"/>
                </a:cubicBezTo>
                <a:cubicBezTo>
                  <a:pt x="2670" y="2064"/>
                  <a:pt x="2670" y="2066"/>
                  <a:pt x="2670" y="2067"/>
                </a:cubicBezTo>
                <a:cubicBezTo>
                  <a:pt x="2670" y="2071"/>
                  <a:pt x="2669" y="2073"/>
                  <a:pt x="2665" y="2073"/>
                </a:cubicBezTo>
                <a:cubicBezTo>
                  <a:pt x="2665" y="2073"/>
                  <a:pt x="2665" y="2073"/>
                  <a:pt x="2664" y="2073"/>
                </a:cubicBezTo>
                <a:cubicBezTo>
                  <a:pt x="2664" y="2073"/>
                  <a:pt x="2664" y="2073"/>
                  <a:pt x="2664" y="2082"/>
                </a:cubicBezTo>
                <a:cubicBezTo>
                  <a:pt x="2664" y="2082"/>
                  <a:pt x="2664" y="2082"/>
                  <a:pt x="2668" y="2082"/>
                </a:cubicBezTo>
                <a:cubicBezTo>
                  <a:pt x="2676" y="2082"/>
                  <a:pt x="2682" y="2079"/>
                  <a:pt x="2682" y="2069"/>
                </a:cubicBezTo>
                <a:cubicBezTo>
                  <a:pt x="2682" y="2067"/>
                  <a:pt x="2682" y="2065"/>
                  <a:pt x="2682" y="2062"/>
                </a:cubicBezTo>
                <a:cubicBezTo>
                  <a:pt x="2681" y="2060"/>
                  <a:pt x="2681" y="2057"/>
                  <a:pt x="2681" y="2055"/>
                </a:cubicBezTo>
                <a:cubicBezTo>
                  <a:pt x="2681" y="2053"/>
                  <a:pt x="2682" y="2050"/>
                  <a:pt x="2688" y="2049"/>
                </a:cubicBezTo>
                <a:close/>
                <a:moveTo>
                  <a:pt x="2871" y="2082"/>
                </a:moveTo>
                <a:cubicBezTo>
                  <a:pt x="2864" y="2082"/>
                  <a:pt x="2857" y="2079"/>
                  <a:pt x="2853" y="2073"/>
                </a:cubicBezTo>
                <a:cubicBezTo>
                  <a:pt x="2849" y="2067"/>
                  <a:pt x="2847" y="2058"/>
                  <a:pt x="2847" y="2045"/>
                </a:cubicBezTo>
                <a:cubicBezTo>
                  <a:pt x="2847" y="2032"/>
                  <a:pt x="2849" y="2023"/>
                  <a:pt x="2853" y="2016"/>
                </a:cubicBezTo>
                <a:cubicBezTo>
                  <a:pt x="2858" y="2009"/>
                  <a:pt x="2864" y="2006"/>
                  <a:pt x="2873" y="2006"/>
                </a:cubicBezTo>
                <a:cubicBezTo>
                  <a:pt x="2890" y="2006"/>
                  <a:pt x="2898" y="2018"/>
                  <a:pt x="2898" y="2044"/>
                </a:cubicBezTo>
                <a:cubicBezTo>
                  <a:pt x="2898" y="2056"/>
                  <a:pt x="2895" y="2066"/>
                  <a:pt x="2890" y="2073"/>
                </a:cubicBezTo>
                <a:cubicBezTo>
                  <a:pt x="2886" y="2079"/>
                  <a:pt x="2879" y="2082"/>
                  <a:pt x="2871" y="2082"/>
                </a:cubicBezTo>
                <a:close/>
                <a:moveTo>
                  <a:pt x="2873" y="2015"/>
                </a:moveTo>
                <a:cubicBezTo>
                  <a:pt x="2863" y="2015"/>
                  <a:pt x="2859" y="2026"/>
                  <a:pt x="2859" y="2045"/>
                </a:cubicBezTo>
                <a:cubicBezTo>
                  <a:pt x="2859" y="2064"/>
                  <a:pt x="2863" y="2073"/>
                  <a:pt x="2872" y="2073"/>
                </a:cubicBezTo>
                <a:cubicBezTo>
                  <a:pt x="2881" y="2073"/>
                  <a:pt x="2885" y="2064"/>
                  <a:pt x="2885" y="2045"/>
                </a:cubicBezTo>
                <a:cubicBezTo>
                  <a:pt x="2885" y="2025"/>
                  <a:pt x="2881" y="2015"/>
                  <a:pt x="2873" y="2015"/>
                </a:cubicBezTo>
                <a:close/>
                <a:moveTo>
                  <a:pt x="2941" y="2082"/>
                </a:moveTo>
                <a:cubicBezTo>
                  <a:pt x="2934" y="2082"/>
                  <a:pt x="2928" y="2079"/>
                  <a:pt x="2924" y="2073"/>
                </a:cubicBezTo>
                <a:cubicBezTo>
                  <a:pt x="2919" y="2067"/>
                  <a:pt x="2917" y="2058"/>
                  <a:pt x="2917" y="2045"/>
                </a:cubicBezTo>
                <a:cubicBezTo>
                  <a:pt x="2917" y="2032"/>
                  <a:pt x="2919" y="2023"/>
                  <a:pt x="2924" y="2016"/>
                </a:cubicBezTo>
                <a:cubicBezTo>
                  <a:pt x="2928" y="2009"/>
                  <a:pt x="2935" y="2006"/>
                  <a:pt x="2944" y="2006"/>
                </a:cubicBezTo>
                <a:cubicBezTo>
                  <a:pt x="2960" y="2006"/>
                  <a:pt x="2968" y="2018"/>
                  <a:pt x="2968" y="2044"/>
                </a:cubicBezTo>
                <a:cubicBezTo>
                  <a:pt x="2968" y="2056"/>
                  <a:pt x="2966" y="2066"/>
                  <a:pt x="2961" y="2073"/>
                </a:cubicBezTo>
                <a:cubicBezTo>
                  <a:pt x="2956" y="2079"/>
                  <a:pt x="2950" y="2082"/>
                  <a:pt x="2941" y="2082"/>
                </a:cubicBezTo>
                <a:close/>
                <a:moveTo>
                  <a:pt x="2943" y="2015"/>
                </a:moveTo>
                <a:cubicBezTo>
                  <a:pt x="2934" y="2015"/>
                  <a:pt x="2929" y="2026"/>
                  <a:pt x="2929" y="2045"/>
                </a:cubicBezTo>
                <a:cubicBezTo>
                  <a:pt x="2929" y="2064"/>
                  <a:pt x="2933" y="2073"/>
                  <a:pt x="2942" y="2073"/>
                </a:cubicBezTo>
                <a:cubicBezTo>
                  <a:pt x="2951" y="2073"/>
                  <a:pt x="2955" y="2064"/>
                  <a:pt x="2955" y="2045"/>
                </a:cubicBezTo>
                <a:cubicBezTo>
                  <a:pt x="2955" y="2025"/>
                  <a:pt x="2951" y="2015"/>
                  <a:pt x="2943" y="2015"/>
                </a:cubicBezTo>
                <a:close/>
                <a:moveTo>
                  <a:pt x="3015" y="2009"/>
                </a:moveTo>
                <a:cubicBezTo>
                  <a:pt x="3015" y="2009"/>
                  <a:pt x="3015" y="2009"/>
                  <a:pt x="3015" y="2009"/>
                </a:cubicBezTo>
                <a:cubicBezTo>
                  <a:pt x="3010" y="2009"/>
                  <a:pt x="3010" y="2009"/>
                  <a:pt x="3010" y="2009"/>
                </a:cubicBezTo>
                <a:cubicBezTo>
                  <a:pt x="3007" y="2010"/>
                  <a:pt x="3006" y="2012"/>
                  <a:pt x="3004" y="2012"/>
                </a:cubicBezTo>
                <a:cubicBezTo>
                  <a:pt x="3002" y="2014"/>
                  <a:pt x="3001" y="2014"/>
                  <a:pt x="2998" y="2015"/>
                </a:cubicBezTo>
                <a:cubicBezTo>
                  <a:pt x="2997" y="2017"/>
                  <a:pt x="2995" y="2017"/>
                  <a:pt x="2993" y="2018"/>
                </a:cubicBezTo>
                <a:cubicBezTo>
                  <a:pt x="2991" y="2019"/>
                  <a:pt x="2990" y="2020"/>
                  <a:pt x="2987" y="2020"/>
                </a:cubicBezTo>
                <a:cubicBezTo>
                  <a:pt x="2987" y="2020"/>
                  <a:pt x="2987" y="2020"/>
                  <a:pt x="2987" y="2030"/>
                </a:cubicBezTo>
                <a:cubicBezTo>
                  <a:pt x="2990" y="2029"/>
                  <a:pt x="2993" y="2028"/>
                  <a:pt x="2996" y="2027"/>
                </a:cubicBezTo>
                <a:cubicBezTo>
                  <a:pt x="2998" y="2026"/>
                  <a:pt x="3001" y="2025"/>
                  <a:pt x="3003" y="2023"/>
                </a:cubicBezTo>
                <a:cubicBezTo>
                  <a:pt x="3003" y="2023"/>
                  <a:pt x="3003" y="2023"/>
                  <a:pt x="3003" y="2082"/>
                </a:cubicBezTo>
                <a:cubicBezTo>
                  <a:pt x="3003" y="2082"/>
                  <a:pt x="3003" y="2082"/>
                  <a:pt x="3015" y="2082"/>
                </a:cubicBezTo>
                <a:cubicBezTo>
                  <a:pt x="3015" y="2082"/>
                  <a:pt x="3015" y="2082"/>
                  <a:pt x="3015" y="2009"/>
                </a:cubicBezTo>
                <a:close/>
                <a:moveTo>
                  <a:pt x="3061" y="2009"/>
                </a:moveTo>
                <a:cubicBezTo>
                  <a:pt x="3061" y="2009"/>
                  <a:pt x="3061" y="2009"/>
                  <a:pt x="3061" y="2009"/>
                </a:cubicBezTo>
                <a:cubicBezTo>
                  <a:pt x="3056" y="2009"/>
                  <a:pt x="3056" y="2009"/>
                  <a:pt x="3056" y="2009"/>
                </a:cubicBezTo>
                <a:cubicBezTo>
                  <a:pt x="3054" y="2010"/>
                  <a:pt x="3053" y="2012"/>
                  <a:pt x="3050" y="2012"/>
                </a:cubicBezTo>
                <a:cubicBezTo>
                  <a:pt x="3049" y="2014"/>
                  <a:pt x="3047" y="2014"/>
                  <a:pt x="3045" y="2015"/>
                </a:cubicBezTo>
                <a:cubicBezTo>
                  <a:pt x="3044" y="2017"/>
                  <a:pt x="3042" y="2017"/>
                  <a:pt x="3040" y="2018"/>
                </a:cubicBezTo>
                <a:cubicBezTo>
                  <a:pt x="3038" y="2019"/>
                  <a:pt x="3037" y="2020"/>
                  <a:pt x="3034" y="2020"/>
                </a:cubicBezTo>
                <a:cubicBezTo>
                  <a:pt x="3034" y="2020"/>
                  <a:pt x="3034" y="2020"/>
                  <a:pt x="3034" y="2030"/>
                </a:cubicBezTo>
                <a:cubicBezTo>
                  <a:pt x="3037" y="2029"/>
                  <a:pt x="3040" y="2028"/>
                  <a:pt x="3042" y="2027"/>
                </a:cubicBezTo>
                <a:cubicBezTo>
                  <a:pt x="3045" y="2026"/>
                  <a:pt x="3047" y="2025"/>
                  <a:pt x="3050" y="2023"/>
                </a:cubicBezTo>
                <a:cubicBezTo>
                  <a:pt x="3050" y="2023"/>
                  <a:pt x="3050" y="2023"/>
                  <a:pt x="3050" y="2082"/>
                </a:cubicBezTo>
                <a:cubicBezTo>
                  <a:pt x="3050" y="2082"/>
                  <a:pt x="3050" y="2082"/>
                  <a:pt x="3061" y="2082"/>
                </a:cubicBezTo>
                <a:cubicBezTo>
                  <a:pt x="3061" y="2082"/>
                  <a:pt x="3061" y="2082"/>
                  <a:pt x="3061" y="2009"/>
                </a:cubicBezTo>
                <a:close/>
                <a:moveTo>
                  <a:pt x="3107" y="2009"/>
                </a:moveTo>
                <a:cubicBezTo>
                  <a:pt x="3107" y="2009"/>
                  <a:pt x="3107" y="2009"/>
                  <a:pt x="3107" y="2009"/>
                </a:cubicBezTo>
                <a:cubicBezTo>
                  <a:pt x="3103" y="2009"/>
                  <a:pt x="3103" y="2009"/>
                  <a:pt x="3103" y="2009"/>
                </a:cubicBezTo>
                <a:cubicBezTo>
                  <a:pt x="3100" y="2010"/>
                  <a:pt x="3099" y="2012"/>
                  <a:pt x="3097" y="2012"/>
                </a:cubicBezTo>
                <a:cubicBezTo>
                  <a:pt x="3095" y="2014"/>
                  <a:pt x="3093" y="2014"/>
                  <a:pt x="3092" y="2015"/>
                </a:cubicBezTo>
                <a:cubicBezTo>
                  <a:pt x="3090" y="2016"/>
                  <a:pt x="3088" y="2017"/>
                  <a:pt x="3086" y="2017"/>
                </a:cubicBezTo>
                <a:cubicBezTo>
                  <a:pt x="3085" y="2018"/>
                  <a:pt x="3082" y="2019"/>
                  <a:pt x="3081" y="2020"/>
                </a:cubicBezTo>
                <a:cubicBezTo>
                  <a:pt x="3081" y="2020"/>
                  <a:pt x="3081" y="2020"/>
                  <a:pt x="3081" y="2030"/>
                </a:cubicBezTo>
                <a:cubicBezTo>
                  <a:pt x="3084" y="2029"/>
                  <a:pt x="3087" y="2028"/>
                  <a:pt x="3089" y="2027"/>
                </a:cubicBezTo>
                <a:cubicBezTo>
                  <a:pt x="3091" y="2026"/>
                  <a:pt x="3094" y="2025"/>
                  <a:pt x="3095" y="2023"/>
                </a:cubicBezTo>
                <a:cubicBezTo>
                  <a:pt x="3095" y="2023"/>
                  <a:pt x="3095" y="2023"/>
                  <a:pt x="3095" y="2082"/>
                </a:cubicBezTo>
                <a:cubicBezTo>
                  <a:pt x="3095" y="2082"/>
                  <a:pt x="3095" y="2082"/>
                  <a:pt x="3107" y="2082"/>
                </a:cubicBezTo>
                <a:cubicBezTo>
                  <a:pt x="3107" y="2082"/>
                  <a:pt x="3107" y="2082"/>
                  <a:pt x="3107" y="2009"/>
                </a:cubicBezTo>
                <a:close/>
                <a:moveTo>
                  <a:pt x="2916" y="1973"/>
                </a:moveTo>
                <a:cubicBezTo>
                  <a:pt x="2909" y="1973"/>
                  <a:pt x="2902" y="1970"/>
                  <a:pt x="2898" y="1964"/>
                </a:cubicBezTo>
                <a:cubicBezTo>
                  <a:pt x="2894" y="1958"/>
                  <a:pt x="2892" y="1949"/>
                  <a:pt x="2892" y="1937"/>
                </a:cubicBezTo>
                <a:cubicBezTo>
                  <a:pt x="2892" y="1924"/>
                  <a:pt x="2894" y="1914"/>
                  <a:pt x="2898" y="1908"/>
                </a:cubicBezTo>
                <a:cubicBezTo>
                  <a:pt x="2903" y="1901"/>
                  <a:pt x="2909" y="1897"/>
                  <a:pt x="2918" y="1897"/>
                </a:cubicBezTo>
                <a:cubicBezTo>
                  <a:pt x="2934" y="1897"/>
                  <a:pt x="2942" y="1910"/>
                  <a:pt x="2942" y="1935"/>
                </a:cubicBezTo>
                <a:cubicBezTo>
                  <a:pt x="2942" y="1948"/>
                  <a:pt x="2940" y="1957"/>
                  <a:pt x="2935" y="1964"/>
                </a:cubicBezTo>
                <a:cubicBezTo>
                  <a:pt x="2931" y="1970"/>
                  <a:pt x="2924" y="1973"/>
                  <a:pt x="2916" y="1973"/>
                </a:cubicBezTo>
                <a:close/>
                <a:moveTo>
                  <a:pt x="2917" y="1907"/>
                </a:moveTo>
                <a:cubicBezTo>
                  <a:pt x="2908" y="1907"/>
                  <a:pt x="2904" y="1917"/>
                  <a:pt x="2904" y="1937"/>
                </a:cubicBezTo>
                <a:cubicBezTo>
                  <a:pt x="2904" y="1955"/>
                  <a:pt x="2908" y="1964"/>
                  <a:pt x="2917" y="1964"/>
                </a:cubicBezTo>
                <a:cubicBezTo>
                  <a:pt x="2925" y="1964"/>
                  <a:pt x="2930" y="1955"/>
                  <a:pt x="2930" y="1936"/>
                </a:cubicBezTo>
                <a:cubicBezTo>
                  <a:pt x="2930" y="1916"/>
                  <a:pt x="2925" y="1907"/>
                  <a:pt x="2917" y="1907"/>
                </a:cubicBezTo>
                <a:close/>
                <a:moveTo>
                  <a:pt x="2990" y="1900"/>
                </a:moveTo>
                <a:cubicBezTo>
                  <a:pt x="2990" y="1900"/>
                  <a:pt x="2990" y="1900"/>
                  <a:pt x="2990" y="1900"/>
                </a:cubicBezTo>
                <a:cubicBezTo>
                  <a:pt x="2985" y="1900"/>
                  <a:pt x="2985" y="1900"/>
                  <a:pt x="2985" y="1900"/>
                </a:cubicBezTo>
                <a:cubicBezTo>
                  <a:pt x="2983" y="1901"/>
                  <a:pt x="2981" y="1903"/>
                  <a:pt x="2979" y="1903"/>
                </a:cubicBezTo>
                <a:cubicBezTo>
                  <a:pt x="2978" y="1905"/>
                  <a:pt x="2975" y="1906"/>
                  <a:pt x="2974" y="1906"/>
                </a:cubicBezTo>
                <a:cubicBezTo>
                  <a:pt x="2972" y="1907"/>
                  <a:pt x="2970" y="1908"/>
                  <a:pt x="2969" y="1908"/>
                </a:cubicBezTo>
                <a:cubicBezTo>
                  <a:pt x="2967" y="1909"/>
                  <a:pt x="2965" y="1910"/>
                  <a:pt x="2963" y="1911"/>
                </a:cubicBezTo>
                <a:cubicBezTo>
                  <a:pt x="2963" y="1911"/>
                  <a:pt x="2963" y="1911"/>
                  <a:pt x="2963" y="1921"/>
                </a:cubicBezTo>
                <a:cubicBezTo>
                  <a:pt x="2966" y="1920"/>
                  <a:pt x="2969" y="1919"/>
                  <a:pt x="2971" y="1918"/>
                </a:cubicBezTo>
                <a:cubicBezTo>
                  <a:pt x="2974" y="1917"/>
                  <a:pt x="2976" y="1916"/>
                  <a:pt x="2978" y="1914"/>
                </a:cubicBezTo>
                <a:cubicBezTo>
                  <a:pt x="2978" y="1914"/>
                  <a:pt x="2978" y="1914"/>
                  <a:pt x="2978" y="1973"/>
                </a:cubicBezTo>
                <a:cubicBezTo>
                  <a:pt x="2978" y="1973"/>
                  <a:pt x="2978" y="1973"/>
                  <a:pt x="2990" y="1973"/>
                </a:cubicBezTo>
                <a:cubicBezTo>
                  <a:pt x="2990" y="1973"/>
                  <a:pt x="2990" y="1973"/>
                  <a:pt x="2990" y="1900"/>
                </a:cubicBezTo>
                <a:close/>
                <a:moveTo>
                  <a:pt x="3037" y="1900"/>
                </a:moveTo>
                <a:cubicBezTo>
                  <a:pt x="3037" y="1900"/>
                  <a:pt x="3037" y="1900"/>
                  <a:pt x="3037" y="1900"/>
                </a:cubicBezTo>
                <a:cubicBezTo>
                  <a:pt x="3032" y="1900"/>
                  <a:pt x="3032" y="1900"/>
                  <a:pt x="3032" y="1900"/>
                </a:cubicBezTo>
                <a:cubicBezTo>
                  <a:pt x="3030" y="1901"/>
                  <a:pt x="3029" y="1903"/>
                  <a:pt x="3026" y="1903"/>
                </a:cubicBezTo>
                <a:cubicBezTo>
                  <a:pt x="3025" y="1905"/>
                  <a:pt x="3023" y="1906"/>
                  <a:pt x="3021" y="1906"/>
                </a:cubicBezTo>
                <a:cubicBezTo>
                  <a:pt x="3020" y="1908"/>
                  <a:pt x="3018" y="1908"/>
                  <a:pt x="3016" y="1909"/>
                </a:cubicBezTo>
                <a:cubicBezTo>
                  <a:pt x="3014" y="1910"/>
                  <a:pt x="3013" y="1911"/>
                  <a:pt x="3010" y="1911"/>
                </a:cubicBezTo>
                <a:cubicBezTo>
                  <a:pt x="3010" y="1911"/>
                  <a:pt x="3010" y="1911"/>
                  <a:pt x="3010" y="1921"/>
                </a:cubicBezTo>
                <a:cubicBezTo>
                  <a:pt x="3013" y="1920"/>
                  <a:pt x="3016" y="1919"/>
                  <a:pt x="3018" y="1918"/>
                </a:cubicBezTo>
                <a:cubicBezTo>
                  <a:pt x="3021" y="1917"/>
                  <a:pt x="3023" y="1916"/>
                  <a:pt x="3026" y="1914"/>
                </a:cubicBezTo>
                <a:cubicBezTo>
                  <a:pt x="3026" y="1914"/>
                  <a:pt x="3026" y="1914"/>
                  <a:pt x="3026" y="1973"/>
                </a:cubicBezTo>
                <a:cubicBezTo>
                  <a:pt x="3026" y="1973"/>
                  <a:pt x="3026" y="1973"/>
                  <a:pt x="3037" y="1973"/>
                </a:cubicBezTo>
                <a:cubicBezTo>
                  <a:pt x="3037" y="1973"/>
                  <a:pt x="3037" y="1973"/>
                  <a:pt x="3037" y="1900"/>
                </a:cubicBezTo>
                <a:close/>
                <a:moveTo>
                  <a:pt x="3084" y="1900"/>
                </a:moveTo>
                <a:cubicBezTo>
                  <a:pt x="3084" y="1900"/>
                  <a:pt x="3084" y="1900"/>
                  <a:pt x="3084" y="1900"/>
                </a:cubicBezTo>
                <a:cubicBezTo>
                  <a:pt x="3079" y="1900"/>
                  <a:pt x="3079" y="1900"/>
                  <a:pt x="3079" y="1900"/>
                </a:cubicBezTo>
                <a:cubicBezTo>
                  <a:pt x="3077" y="1901"/>
                  <a:pt x="3076" y="1903"/>
                  <a:pt x="3074" y="1903"/>
                </a:cubicBezTo>
                <a:cubicBezTo>
                  <a:pt x="3072" y="1905"/>
                  <a:pt x="3070" y="1906"/>
                  <a:pt x="3068" y="1906"/>
                </a:cubicBezTo>
                <a:cubicBezTo>
                  <a:pt x="3066" y="1908"/>
                  <a:pt x="3065" y="1908"/>
                  <a:pt x="3063" y="1909"/>
                </a:cubicBezTo>
                <a:cubicBezTo>
                  <a:pt x="3061" y="1910"/>
                  <a:pt x="3059" y="1911"/>
                  <a:pt x="3057" y="1911"/>
                </a:cubicBezTo>
                <a:cubicBezTo>
                  <a:pt x="3057" y="1911"/>
                  <a:pt x="3057" y="1911"/>
                  <a:pt x="3057" y="1921"/>
                </a:cubicBezTo>
                <a:cubicBezTo>
                  <a:pt x="3060" y="1920"/>
                  <a:pt x="3063" y="1919"/>
                  <a:pt x="3066" y="1918"/>
                </a:cubicBezTo>
                <a:cubicBezTo>
                  <a:pt x="3068" y="1917"/>
                  <a:pt x="3071" y="1916"/>
                  <a:pt x="3072" y="1914"/>
                </a:cubicBezTo>
                <a:cubicBezTo>
                  <a:pt x="3072" y="1914"/>
                  <a:pt x="3072" y="1914"/>
                  <a:pt x="3072" y="1973"/>
                </a:cubicBezTo>
                <a:cubicBezTo>
                  <a:pt x="3072" y="1973"/>
                  <a:pt x="3072" y="1973"/>
                  <a:pt x="3084" y="1973"/>
                </a:cubicBezTo>
                <a:cubicBezTo>
                  <a:pt x="3084" y="1973"/>
                  <a:pt x="3084" y="1973"/>
                  <a:pt x="3084" y="1900"/>
                </a:cubicBezTo>
                <a:close/>
                <a:moveTo>
                  <a:pt x="3131" y="1900"/>
                </a:moveTo>
                <a:cubicBezTo>
                  <a:pt x="3131" y="1900"/>
                  <a:pt x="3131" y="1900"/>
                  <a:pt x="3131" y="1900"/>
                </a:cubicBezTo>
                <a:cubicBezTo>
                  <a:pt x="3126" y="1900"/>
                  <a:pt x="3126" y="1900"/>
                  <a:pt x="3126" y="1900"/>
                </a:cubicBezTo>
                <a:cubicBezTo>
                  <a:pt x="3124" y="1901"/>
                  <a:pt x="3123" y="1903"/>
                  <a:pt x="3120" y="1903"/>
                </a:cubicBezTo>
                <a:cubicBezTo>
                  <a:pt x="3119" y="1905"/>
                  <a:pt x="3117" y="1906"/>
                  <a:pt x="3115" y="1906"/>
                </a:cubicBezTo>
                <a:cubicBezTo>
                  <a:pt x="3114" y="1908"/>
                  <a:pt x="3111" y="1908"/>
                  <a:pt x="3110" y="1909"/>
                </a:cubicBezTo>
                <a:cubicBezTo>
                  <a:pt x="3108" y="1910"/>
                  <a:pt x="3106" y="1911"/>
                  <a:pt x="3104" y="1911"/>
                </a:cubicBezTo>
                <a:cubicBezTo>
                  <a:pt x="3104" y="1911"/>
                  <a:pt x="3104" y="1911"/>
                  <a:pt x="3104" y="1921"/>
                </a:cubicBezTo>
                <a:cubicBezTo>
                  <a:pt x="3107" y="1920"/>
                  <a:pt x="3110" y="1919"/>
                  <a:pt x="3112" y="1918"/>
                </a:cubicBezTo>
                <a:cubicBezTo>
                  <a:pt x="3115" y="1917"/>
                  <a:pt x="3117" y="1916"/>
                  <a:pt x="3120" y="1914"/>
                </a:cubicBezTo>
                <a:cubicBezTo>
                  <a:pt x="3120" y="1914"/>
                  <a:pt x="3120" y="1914"/>
                  <a:pt x="3120" y="1973"/>
                </a:cubicBezTo>
                <a:cubicBezTo>
                  <a:pt x="3120" y="1973"/>
                  <a:pt x="3120" y="1973"/>
                  <a:pt x="3131" y="1973"/>
                </a:cubicBezTo>
                <a:cubicBezTo>
                  <a:pt x="3131" y="1973"/>
                  <a:pt x="3131" y="1973"/>
                  <a:pt x="3131" y="1900"/>
                </a:cubicBezTo>
                <a:close/>
                <a:moveTo>
                  <a:pt x="3254" y="1900"/>
                </a:moveTo>
                <a:cubicBezTo>
                  <a:pt x="3254" y="1900"/>
                  <a:pt x="3254" y="1900"/>
                  <a:pt x="3254" y="1900"/>
                </a:cubicBezTo>
                <a:cubicBezTo>
                  <a:pt x="3249" y="1900"/>
                  <a:pt x="3249" y="1900"/>
                  <a:pt x="3249" y="1900"/>
                </a:cubicBezTo>
                <a:cubicBezTo>
                  <a:pt x="3247" y="1901"/>
                  <a:pt x="3246" y="1903"/>
                  <a:pt x="3243" y="1903"/>
                </a:cubicBezTo>
                <a:cubicBezTo>
                  <a:pt x="3242" y="1905"/>
                  <a:pt x="3240" y="1906"/>
                  <a:pt x="3238" y="1906"/>
                </a:cubicBezTo>
                <a:cubicBezTo>
                  <a:pt x="3237" y="1908"/>
                  <a:pt x="3235" y="1908"/>
                  <a:pt x="3233" y="1909"/>
                </a:cubicBezTo>
                <a:cubicBezTo>
                  <a:pt x="3231" y="1910"/>
                  <a:pt x="3230" y="1911"/>
                  <a:pt x="3227" y="1911"/>
                </a:cubicBezTo>
                <a:cubicBezTo>
                  <a:pt x="3227" y="1911"/>
                  <a:pt x="3227" y="1911"/>
                  <a:pt x="3227" y="1921"/>
                </a:cubicBezTo>
                <a:cubicBezTo>
                  <a:pt x="3230" y="1920"/>
                  <a:pt x="3233" y="1919"/>
                  <a:pt x="3236" y="1918"/>
                </a:cubicBezTo>
                <a:cubicBezTo>
                  <a:pt x="3238" y="1917"/>
                  <a:pt x="3240" y="1916"/>
                  <a:pt x="3243" y="1914"/>
                </a:cubicBezTo>
                <a:cubicBezTo>
                  <a:pt x="3243" y="1914"/>
                  <a:pt x="3243" y="1914"/>
                  <a:pt x="3243" y="1973"/>
                </a:cubicBezTo>
                <a:cubicBezTo>
                  <a:pt x="3243" y="1973"/>
                  <a:pt x="3243" y="1973"/>
                  <a:pt x="3254" y="1973"/>
                </a:cubicBezTo>
                <a:cubicBezTo>
                  <a:pt x="3254" y="1973"/>
                  <a:pt x="3254" y="1973"/>
                  <a:pt x="3254" y="1900"/>
                </a:cubicBezTo>
                <a:close/>
                <a:moveTo>
                  <a:pt x="3302" y="1900"/>
                </a:moveTo>
                <a:cubicBezTo>
                  <a:pt x="3302" y="1900"/>
                  <a:pt x="3302" y="1900"/>
                  <a:pt x="3302" y="1900"/>
                </a:cubicBezTo>
                <a:cubicBezTo>
                  <a:pt x="3297" y="1900"/>
                  <a:pt x="3297" y="1900"/>
                  <a:pt x="3297" y="1900"/>
                </a:cubicBezTo>
                <a:cubicBezTo>
                  <a:pt x="3295" y="1901"/>
                  <a:pt x="3293" y="1903"/>
                  <a:pt x="3291" y="1903"/>
                </a:cubicBezTo>
                <a:cubicBezTo>
                  <a:pt x="3290" y="1905"/>
                  <a:pt x="3287" y="1906"/>
                  <a:pt x="3286" y="1906"/>
                </a:cubicBezTo>
                <a:cubicBezTo>
                  <a:pt x="3285" y="1908"/>
                  <a:pt x="3282" y="1908"/>
                  <a:pt x="3281" y="1909"/>
                </a:cubicBezTo>
                <a:cubicBezTo>
                  <a:pt x="3279" y="1910"/>
                  <a:pt x="3277" y="1911"/>
                  <a:pt x="3275" y="1911"/>
                </a:cubicBezTo>
                <a:cubicBezTo>
                  <a:pt x="3275" y="1911"/>
                  <a:pt x="3275" y="1911"/>
                  <a:pt x="3275" y="1921"/>
                </a:cubicBezTo>
                <a:cubicBezTo>
                  <a:pt x="3278" y="1920"/>
                  <a:pt x="3281" y="1919"/>
                  <a:pt x="3283" y="1918"/>
                </a:cubicBezTo>
                <a:cubicBezTo>
                  <a:pt x="3286" y="1917"/>
                  <a:pt x="3288" y="1916"/>
                  <a:pt x="3290" y="1914"/>
                </a:cubicBezTo>
                <a:cubicBezTo>
                  <a:pt x="3290" y="1914"/>
                  <a:pt x="3290" y="1914"/>
                  <a:pt x="3290" y="1973"/>
                </a:cubicBezTo>
                <a:cubicBezTo>
                  <a:pt x="3290" y="1973"/>
                  <a:pt x="3290" y="1973"/>
                  <a:pt x="3302" y="1973"/>
                </a:cubicBezTo>
                <a:cubicBezTo>
                  <a:pt x="3302" y="1973"/>
                  <a:pt x="3302" y="1973"/>
                  <a:pt x="3302" y="1900"/>
                </a:cubicBezTo>
                <a:close/>
                <a:moveTo>
                  <a:pt x="3350" y="1900"/>
                </a:moveTo>
                <a:cubicBezTo>
                  <a:pt x="3350" y="1900"/>
                  <a:pt x="3350" y="1900"/>
                  <a:pt x="3350" y="1900"/>
                </a:cubicBezTo>
                <a:cubicBezTo>
                  <a:pt x="3345" y="1900"/>
                  <a:pt x="3345" y="1900"/>
                  <a:pt x="3345" y="1900"/>
                </a:cubicBezTo>
                <a:cubicBezTo>
                  <a:pt x="3343" y="1901"/>
                  <a:pt x="3341" y="1903"/>
                  <a:pt x="3339" y="1903"/>
                </a:cubicBezTo>
                <a:cubicBezTo>
                  <a:pt x="3337" y="1905"/>
                  <a:pt x="3336" y="1906"/>
                  <a:pt x="3334" y="1906"/>
                </a:cubicBezTo>
                <a:cubicBezTo>
                  <a:pt x="3332" y="1908"/>
                  <a:pt x="3330" y="1908"/>
                  <a:pt x="3328" y="1909"/>
                </a:cubicBezTo>
                <a:cubicBezTo>
                  <a:pt x="3326" y="1910"/>
                  <a:pt x="3325" y="1911"/>
                  <a:pt x="3322" y="1911"/>
                </a:cubicBezTo>
                <a:cubicBezTo>
                  <a:pt x="3322" y="1911"/>
                  <a:pt x="3322" y="1911"/>
                  <a:pt x="3322" y="1921"/>
                </a:cubicBezTo>
                <a:cubicBezTo>
                  <a:pt x="3325" y="1920"/>
                  <a:pt x="3328" y="1919"/>
                  <a:pt x="3331" y="1918"/>
                </a:cubicBezTo>
                <a:cubicBezTo>
                  <a:pt x="3334" y="1917"/>
                  <a:pt x="3336" y="1916"/>
                  <a:pt x="3338" y="1914"/>
                </a:cubicBezTo>
                <a:cubicBezTo>
                  <a:pt x="3338" y="1914"/>
                  <a:pt x="3338" y="1914"/>
                  <a:pt x="3338" y="1973"/>
                </a:cubicBezTo>
                <a:cubicBezTo>
                  <a:pt x="3338" y="1973"/>
                  <a:pt x="3338" y="1973"/>
                  <a:pt x="3350" y="1973"/>
                </a:cubicBezTo>
                <a:cubicBezTo>
                  <a:pt x="3350" y="1973"/>
                  <a:pt x="3350" y="1973"/>
                  <a:pt x="3350" y="1900"/>
                </a:cubicBezTo>
                <a:close/>
                <a:moveTo>
                  <a:pt x="3396" y="1900"/>
                </a:moveTo>
                <a:cubicBezTo>
                  <a:pt x="3396" y="1900"/>
                  <a:pt x="3396" y="1900"/>
                  <a:pt x="3396" y="1900"/>
                </a:cubicBezTo>
                <a:cubicBezTo>
                  <a:pt x="3392" y="1900"/>
                  <a:pt x="3392" y="1900"/>
                  <a:pt x="3392" y="1900"/>
                </a:cubicBezTo>
                <a:cubicBezTo>
                  <a:pt x="3390" y="1901"/>
                  <a:pt x="3388" y="1903"/>
                  <a:pt x="3386" y="1903"/>
                </a:cubicBezTo>
                <a:cubicBezTo>
                  <a:pt x="3385" y="1905"/>
                  <a:pt x="3383" y="1906"/>
                  <a:pt x="3381" y="1906"/>
                </a:cubicBezTo>
                <a:cubicBezTo>
                  <a:pt x="3379" y="1907"/>
                  <a:pt x="3378" y="1908"/>
                  <a:pt x="3375" y="1908"/>
                </a:cubicBezTo>
                <a:cubicBezTo>
                  <a:pt x="3374" y="1909"/>
                  <a:pt x="3372" y="1910"/>
                  <a:pt x="3370" y="1911"/>
                </a:cubicBezTo>
                <a:cubicBezTo>
                  <a:pt x="3370" y="1911"/>
                  <a:pt x="3370" y="1911"/>
                  <a:pt x="3370" y="1921"/>
                </a:cubicBezTo>
                <a:cubicBezTo>
                  <a:pt x="3373" y="1920"/>
                  <a:pt x="3376" y="1919"/>
                  <a:pt x="3378" y="1918"/>
                </a:cubicBezTo>
                <a:cubicBezTo>
                  <a:pt x="3380" y="1917"/>
                  <a:pt x="3383" y="1916"/>
                  <a:pt x="3385" y="1914"/>
                </a:cubicBezTo>
                <a:cubicBezTo>
                  <a:pt x="3385" y="1914"/>
                  <a:pt x="3385" y="1914"/>
                  <a:pt x="3385" y="1973"/>
                </a:cubicBezTo>
                <a:cubicBezTo>
                  <a:pt x="3385" y="1973"/>
                  <a:pt x="3385" y="1973"/>
                  <a:pt x="3396" y="1973"/>
                </a:cubicBezTo>
                <a:cubicBezTo>
                  <a:pt x="3396" y="1973"/>
                  <a:pt x="3396" y="1973"/>
                  <a:pt x="3396" y="1900"/>
                </a:cubicBezTo>
                <a:close/>
                <a:moveTo>
                  <a:pt x="3152" y="1932"/>
                </a:moveTo>
                <a:cubicBezTo>
                  <a:pt x="3152" y="1932"/>
                  <a:pt x="3152" y="1932"/>
                  <a:pt x="3152" y="1932"/>
                </a:cubicBezTo>
                <a:cubicBezTo>
                  <a:pt x="3152" y="1940"/>
                  <a:pt x="3152" y="1940"/>
                  <a:pt x="3152" y="1940"/>
                </a:cubicBezTo>
                <a:cubicBezTo>
                  <a:pt x="3158" y="1941"/>
                  <a:pt x="3159" y="1944"/>
                  <a:pt x="3159" y="1946"/>
                </a:cubicBezTo>
                <a:cubicBezTo>
                  <a:pt x="3159" y="1948"/>
                  <a:pt x="3159" y="1951"/>
                  <a:pt x="3159" y="1953"/>
                </a:cubicBezTo>
                <a:cubicBezTo>
                  <a:pt x="3158" y="1956"/>
                  <a:pt x="3158" y="1958"/>
                  <a:pt x="3158" y="1960"/>
                </a:cubicBezTo>
                <a:cubicBezTo>
                  <a:pt x="3158" y="1970"/>
                  <a:pt x="3164" y="1973"/>
                  <a:pt x="3172" y="1973"/>
                </a:cubicBezTo>
                <a:cubicBezTo>
                  <a:pt x="3172" y="1973"/>
                  <a:pt x="3172" y="1973"/>
                  <a:pt x="3176" y="1973"/>
                </a:cubicBezTo>
                <a:cubicBezTo>
                  <a:pt x="3176" y="1973"/>
                  <a:pt x="3176" y="1973"/>
                  <a:pt x="3176" y="1964"/>
                </a:cubicBezTo>
                <a:cubicBezTo>
                  <a:pt x="3176" y="1964"/>
                  <a:pt x="3176" y="1964"/>
                  <a:pt x="3175" y="1964"/>
                </a:cubicBezTo>
                <a:cubicBezTo>
                  <a:pt x="3171" y="1964"/>
                  <a:pt x="3170" y="1962"/>
                  <a:pt x="3170" y="1958"/>
                </a:cubicBezTo>
                <a:cubicBezTo>
                  <a:pt x="3170" y="1957"/>
                  <a:pt x="3170" y="1955"/>
                  <a:pt x="3170" y="1953"/>
                </a:cubicBezTo>
                <a:cubicBezTo>
                  <a:pt x="3170" y="1952"/>
                  <a:pt x="3170" y="1950"/>
                  <a:pt x="3170" y="1947"/>
                </a:cubicBezTo>
                <a:cubicBezTo>
                  <a:pt x="3170" y="1940"/>
                  <a:pt x="3168" y="1937"/>
                  <a:pt x="3162" y="1936"/>
                </a:cubicBezTo>
                <a:cubicBezTo>
                  <a:pt x="3162" y="1936"/>
                  <a:pt x="3162" y="1936"/>
                  <a:pt x="3162" y="1936"/>
                </a:cubicBezTo>
                <a:cubicBezTo>
                  <a:pt x="3168" y="1935"/>
                  <a:pt x="3170" y="1932"/>
                  <a:pt x="3170" y="1925"/>
                </a:cubicBezTo>
                <a:cubicBezTo>
                  <a:pt x="3170" y="1922"/>
                  <a:pt x="3170" y="1920"/>
                  <a:pt x="3170" y="1919"/>
                </a:cubicBezTo>
                <a:cubicBezTo>
                  <a:pt x="3170" y="1917"/>
                  <a:pt x="3170" y="1915"/>
                  <a:pt x="3170" y="1914"/>
                </a:cubicBezTo>
                <a:cubicBezTo>
                  <a:pt x="3170" y="1910"/>
                  <a:pt x="3171" y="1908"/>
                  <a:pt x="3175" y="1908"/>
                </a:cubicBezTo>
                <a:cubicBezTo>
                  <a:pt x="3175" y="1908"/>
                  <a:pt x="3175" y="1908"/>
                  <a:pt x="3176" y="1908"/>
                </a:cubicBezTo>
                <a:cubicBezTo>
                  <a:pt x="3176" y="1908"/>
                  <a:pt x="3176" y="1908"/>
                  <a:pt x="3176" y="1899"/>
                </a:cubicBezTo>
                <a:cubicBezTo>
                  <a:pt x="3176" y="1899"/>
                  <a:pt x="3176" y="1899"/>
                  <a:pt x="3172" y="1899"/>
                </a:cubicBezTo>
                <a:cubicBezTo>
                  <a:pt x="3163" y="1899"/>
                  <a:pt x="3158" y="1903"/>
                  <a:pt x="3158" y="1911"/>
                </a:cubicBezTo>
                <a:cubicBezTo>
                  <a:pt x="3158" y="1914"/>
                  <a:pt x="3158" y="1916"/>
                  <a:pt x="3158" y="1919"/>
                </a:cubicBezTo>
                <a:cubicBezTo>
                  <a:pt x="3159" y="1921"/>
                  <a:pt x="3159" y="1924"/>
                  <a:pt x="3159" y="1926"/>
                </a:cubicBezTo>
                <a:cubicBezTo>
                  <a:pt x="3159" y="1928"/>
                  <a:pt x="3158" y="1932"/>
                  <a:pt x="3152" y="1932"/>
                </a:cubicBezTo>
                <a:close/>
                <a:moveTo>
                  <a:pt x="3207" y="1940"/>
                </a:moveTo>
                <a:cubicBezTo>
                  <a:pt x="3207" y="1940"/>
                  <a:pt x="3207" y="1940"/>
                  <a:pt x="3207" y="1940"/>
                </a:cubicBezTo>
                <a:cubicBezTo>
                  <a:pt x="3207" y="1932"/>
                  <a:pt x="3207" y="1932"/>
                  <a:pt x="3207" y="1932"/>
                </a:cubicBezTo>
                <a:cubicBezTo>
                  <a:pt x="3200" y="1932"/>
                  <a:pt x="3200" y="1928"/>
                  <a:pt x="3200" y="1926"/>
                </a:cubicBezTo>
                <a:cubicBezTo>
                  <a:pt x="3200" y="1924"/>
                  <a:pt x="3200" y="1921"/>
                  <a:pt x="3200" y="1919"/>
                </a:cubicBezTo>
                <a:cubicBezTo>
                  <a:pt x="3201" y="1916"/>
                  <a:pt x="3201" y="1914"/>
                  <a:pt x="3201" y="1911"/>
                </a:cubicBezTo>
                <a:cubicBezTo>
                  <a:pt x="3201" y="1903"/>
                  <a:pt x="3196" y="1899"/>
                  <a:pt x="3186" y="1899"/>
                </a:cubicBezTo>
                <a:cubicBezTo>
                  <a:pt x="3186" y="1899"/>
                  <a:pt x="3186" y="1899"/>
                  <a:pt x="3183" y="1899"/>
                </a:cubicBezTo>
                <a:cubicBezTo>
                  <a:pt x="3183" y="1899"/>
                  <a:pt x="3183" y="1899"/>
                  <a:pt x="3183" y="1908"/>
                </a:cubicBezTo>
                <a:cubicBezTo>
                  <a:pt x="3183" y="1908"/>
                  <a:pt x="3183" y="1908"/>
                  <a:pt x="3184" y="1908"/>
                </a:cubicBezTo>
                <a:cubicBezTo>
                  <a:pt x="3188" y="1908"/>
                  <a:pt x="3189" y="1910"/>
                  <a:pt x="3189" y="1914"/>
                </a:cubicBezTo>
                <a:cubicBezTo>
                  <a:pt x="3189" y="1915"/>
                  <a:pt x="3189" y="1917"/>
                  <a:pt x="3189" y="1919"/>
                </a:cubicBezTo>
                <a:cubicBezTo>
                  <a:pt x="3189" y="1920"/>
                  <a:pt x="3189" y="1922"/>
                  <a:pt x="3189" y="1925"/>
                </a:cubicBezTo>
                <a:cubicBezTo>
                  <a:pt x="3189" y="1932"/>
                  <a:pt x="3191" y="1935"/>
                  <a:pt x="3197" y="1936"/>
                </a:cubicBezTo>
                <a:cubicBezTo>
                  <a:pt x="3197" y="1936"/>
                  <a:pt x="3197" y="1936"/>
                  <a:pt x="3197" y="1936"/>
                </a:cubicBezTo>
                <a:cubicBezTo>
                  <a:pt x="3191" y="1937"/>
                  <a:pt x="3189" y="1940"/>
                  <a:pt x="3189" y="1947"/>
                </a:cubicBezTo>
                <a:cubicBezTo>
                  <a:pt x="3189" y="1950"/>
                  <a:pt x="3189" y="1952"/>
                  <a:pt x="3189" y="1953"/>
                </a:cubicBezTo>
                <a:cubicBezTo>
                  <a:pt x="3189" y="1955"/>
                  <a:pt x="3189" y="1957"/>
                  <a:pt x="3189" y="1958"/>
                </a:cubicBezTo>
                <a:cubicBezTo>
                  <a:pt x="3189" y="1962"/>
                  <a:pt x="3188" y="1964"/>
                  <a:pt x="3184" y="1964"/>
                </a:cubicBezTo>
                <a:cubicBezTo>
                  <a:pt x="3184" y="1964"/>
                  <a:pt x="3184" y="1964"/>
                  <a:pt x="3183" y="1964"/>
                </a:cubicBezTo>
                <a:cubicBezTo>
                  <a:pt x="3183" y="1964"/>
                  <a:pt x="3183" y="1964"/>
                  <a:pt x="3183" y="1973"/>
                </a:cubicBezTo>
                <a:cubicBezTo>
                  <a:pt x="3183" y="1973"/>
                  <a:pt x="3183" y="1973"/>
                  <a:pt x="3186" y="1973"/>
                </a:cubicBezTo>
                <a:cubicBezTo>
                  <a:pt x="3195" y="1973"/>
                  <a:pt x="3201" y="1970"/>
                  <a:pt x="3201" y="1960"/>
                </a:cubicBezTo>
                <a:cubicBezTo>
                  <a:pt x="3201" y="1958"/>
                  <a:pt x="3201" y="1956"/>
                  <a:pt x="3200" y="1953"/>
                </a:cubicBezTo>
                <a:cubicBezTo>
                  <a:pt x="3200" y="1951"/>
                  <a:pt x="3200" y="1948"/>
                  <a:pt x="3200" y="1946"/>
                </a:cubicBezTo>
                <a:cubicBezTo>
                  <a:pt x="3200" y="1944"/>
                  <a:pt x="3200" y="1941"/>
                  <a:pt x="3207" y="1940"/>
                </a:cubicBezTo>
                <a:close/>
                <a:moveTo>
                  <a:pt x="3534" y="1932"/>
                </a:moveTo>
                <a:cubicBezTo>
                  <a:pt x="3534" y="1932"/>
                  <a:pt x="3534" y="1932"/>
                  <a:pt x="3534" y="1932"/>
                </a:cubicBezTo>
                <a:cubicBezTo>
                  <a:pt x="3534" y="1940"/>
                  <a:pt x="3534" y="1940"/>
                  <a:pt x="3534" y="1940"/>
                </a:cubicBezTo>
                <a:cubicBezTo>
                  <a:pt x="3540" y="1941"/>
                  <a:pt x="3541" y="1944"/>
                  <a:pt x="3541" y="1946"/>
                </a:cubicBezTo>
                <a:cubicBezTo>
                  <a:pt x="3541" y="1948"/>
                  <a:pt x="3541" y="1951"/>
                  <a:pt x="3541" y="1953"/>
                </a:cubicBezTo>
                <a:cubicBezTo>
                  <a:pt x="3540" y="1956"/>
                  <a:pt x="3540" y="1958"/>
                  <a:pt x="3540" y="1960"/>
                </a:cubicBezTo>
                <a:cubicBezTo>
                  <a:pt x="3540" y="1970"/>
                  <a:pt x="3546" y="1973"/>
                  <a:pt x="3554" y="1973"/>
                </a:cubicBezTo>
                <a:cubicBezTo>
                  <a:pt x="3554" y="1973"/>
                  <a:pt x="3554" y="1973"/>
                  <a:pt x="3558" y="1973"/>
                </a:cubicBezTo>
                <a:cubicBezTo>
                  <a:pt x="3558" y="1973"/>
                  <a:pt x="3558" y="1973"/>
                  <a:pt x="3558" y="1964"/>
                </a:cubicBezTo>
                <a:cubicBezTo>
                  <a:pt x="3558" y="1964"/>
                  <a:pt x="3558" y="1964"/>
                  <a:pt x="3557" y="1964"/>
                </a:cubicBezTo>
                <a:cubicBezTo>
                  <a:pt x="3553" y="1964"/>
                  <a:pt x="3552" y="1962"/>
                  <a:pt x="3552" y="1958"/>
                </a:cubicBezTo>
                <a:cubicBezTo>
                  <a:pt x="3552" y="1957"/>
                  <a:pt x="3552" y="1955"/>
                  <a:pt x="3552" y="1953"/>
                </a:cubicBezTo>
                <a:cubicBezTo>
                  <a:pt x="3552" y="1952"/>
                  <a:pt x="3553" y="1950"/>
                  <a:pt x="3553" y="1947"/>
                </a:cubicBezTo>
                <a:cubicBezTo>
                  <a:pt x="3553" y="1940"/>
                  <a:pt x="3550" y="1937"/>
                  <a:pt x="3544" y="1936"/>
                </a:cubicBezTo>
                <a:cubicBezTo>
                  <a:pt x="3544" y="1936"/>
                  <a:pt x="3544" y="1936"/>
                  <a:pt x="3544" y="1936"/>
                </a:cubicBezTo>
                <a:cubicBezTo>
                  <a:pt x="3550" y="1935"/>
                  <a:pt x="3553" y="1932"/>
                  <a:pt x="3553" y="1925"/>
                </a:cubicBezTo>
                <a:cubicBezTo>
                  <a:pt x="3553" y="1922"/>
                  <a:pt x="3552" y="1920"/>
                  <a:pt x="3552" y="1919"/>
                </a:cubicBezTo>
                <a:cubicBezTo>
                  <a:pt x="3552" y="1917"/>
                  <a:pt x="3552" y="1915"/>
                  <a:pt x="3552" y="1914"/>
                </a:cubicBezTo>
                <a:cubicBezTo>
                  <a:pt x="3552" y="1910"/>
                  <a:pt x="3553" y="1908"/>
                  <a:pt x="3557" y="1908"/>
                </a:cubicBezTo>
                <a:cubicBezTo>
                  <a:pt x="3557" y="1908"/>
                  <a:pt x="3557" y="1908"/>
                  <a:pt x="3558" y="1908"/>
                </a:cubicBezTo>
                <a:cubicBezTo>
                  <a:pt x="3558" y="1908"/>
                  <a:pt x="3558" y="1908"/>
                  <a:pt x="3558" y="1899"/>
                </a:cubicBezTo>
                <a:cubicBezTo>
                  <a:pt x="3558" y="1899"/>
                  <a:pt x="3558" y="1899"/>
                  <a:pt x="3554" y="1899"/>
                </a:cubicBezTo>
                <a:cubicBezTo>
                  <a:pt x="3546" y="1899"/>
                  <a:pt x="3540" y="1903"/>
                  <a:pt x="3540" y="1911"/>
                </a:cubicBezTo>
                <a:cubicBezTo>
                  <a:pt x="3540" y="1914"/>
                  <a:pt x="3540" y="1916"/>
                  <a:pt x="3540" y="1919"/>
                </a:cubicBezTo>
                <a:cubicBezTo>
                  <a:pt x="3541" y="1921"/>
                  <a:pt x="3541" y="1924"/>
                  <a:pt x="3541" y="1926"/>
                </a:cubicBezTo>
                <a:cubicBezTo>
                  <a:pt x="3541" y="1928"/>
                  <a:pt x="3540" y="1932"/>
                  <a:pt x="3534" y="1932"/>
                </a:cubicBezTo>
                <a:close/>
                <a:moveTo>
                  <a:pt x="3589" y="1940"/>
                </a:moveTo>
                <a:cubicBezTo>
                  <a:pt x="3589" y="1940"/>
                  <a:pt x="3589" y="1940"/>
                  <a:pt x="3589" y="1940"/>
                </a:cubicBezTo>
                <a:cubicBezTo>
                  <a:pt x="3589" y="1932"/>
                  <a:pt x="3589" y="1932"/>
                  <a:pt x="3589" y="1932"/>
                </a:cubicBezTo>
                <a:cubicBezTo>
                  <a:pt x="3583" y="1932"/>
                  <a:pt x="3582" y="1928"/>
                  <a:pt x="3582" y="1926"/>
                </a:cubicBezTo>
                <a:cubicBezTo>
                  <a:pt x="3582" y="1924"/>
                  <a:pt x="3582" y="1921"/>
                  <a:pt x="3583" y="1919"/>
                </a:cubicBezTo>
                <a:cubicBezTo>
                  <a:pt x="3583" y="1916"/>
                  <a:pt x="3583" y="1914"/>
                  <a:pt x="3583" y="1911"/>
                </a:cubicBezTo>
                <a:cubicBezTo>
                  <a:pt x="3583" y="1903"/>
                  <a:pt x="3578" y="1899"/>
                  <a:pt x="3569" y="1899"/>
                </a:cubicBezTo>
                <a:cubicBezTo>
                  <a:pt x="3569" y="1899"/>
                  <a:pt x="3569" y="1899"/>
                  <a:pt x="3565" y="1899"/>
                </a:cubicBezTo>
                <a:cubicBezTo>
                  <a:pt x="3565" y="1899"/>
                  <a:pt x="3565" y="1899"/>
                  <a:pt x="3565" y="1908"/>
                </a:cubicBezTo>
                <a:cubicBezTo>
                  <a:pt x="3565" y="1908"/>
                  <a:pt x="3565" y="1908"/>
                  <a:pt x="3566" y="1908"/>
                </a:cubicBezTo>
                <a:cubicBezTo>
                  <a:pt x="3570" y="1908"/>
                  <a:pt x="3571" y="1910"/>
                  <a:pt x="3571" y="1914"/>
                </a:cubicBezTo>
                <a:cubicBezTo>
                  <a:pt x="3571" y="1915"/>
                  <a:pt x="3571" y="1917"/>
                  <a:pt x="3571" y="1919"/>
                </a:cubicBezTo>
                <a:cubicBezTo>
                  <a:pt x="3571" y="1920"/>
                  <a:pt x="3571" y="1922"/>
                  <a:pt x="3571" y="1925"/>
                </a:cubicBezTo>
                <a:cubicBezTo>
                  <a:pt x="3571" y="1932"/>
                  <a:pt x="3573" y="1935"/>
                  <a:pt x="3579" y="1936"/>
                </a:cubicBezTo>
                <a:cubicBezTo>
                  <a:pt x="3579" y="1936"/>
                  <a:pt x="3579" y="1936"/>
                  <a:pt x="3579" y="1936"/>
                </a:cubicBezTo>
                <a:cubicBezTo>
                  <a:pt x="3573" y="1937"/>
                  <a:pt x="3571" y="1940"/>
                  <a:pt x="3571" y="1947"/>
                </a:cubicBezTo>
                <a:cubicBezTo>
                  <a:pt x="3571" y="1950"/>
                  <a:pt x="3571" y="1952"/>
                  <a:pt x="3571" y="1953"/>
                </a:cubicBezTo>
                <a:cubicBezTo>
                  <a:pt x="3571" y="1955"/>
                  <a:pt x="3571" y="1957"/>
                  <a:pt x="3571" y="1958"/>
                </a:cubicBezTo>
                <a:cubicBezTo>
                  <a:pt x="3571" y="1962"/>
                  <a:pt x="3570" y="1964"/>
                  <a:pt x="3566" y="1964"/>
                </a:cubicBezTo>
                <a:cubicBezTo>
                  <a:pt x="3566" y="1964"/>
                  <a:pt x="3566" y="1964"/>
                  <a:pt x="3565" y="1964"/>
                </a:cubicBezTo>
                <a:cubicBezTo>
                  <a:pt x="3565" y="1964"/>
                  <a:pt x="3565" y="1964"/>
                  <a:pt x="3565" y="1973"/>
                </a:cubicBezTo>
                <a:cubicBezTo>
                  <a:pt x="3565" y="1973"/>
                  <a:pt x="3565" y="1973"/>
                  <a:pt x="3569" y="1973"/>
                </a:cubicBezTo>
                <a:cubicBezTo>
                  <a:pt x="3577" y="1973"/>
                  <a:pt x="3583" y="1970"/>
                  <a:pt x="3583" y="1960"/>
                </a:cubicBezTo>
                <a:cubicBezTo>
                  <a:pt x="3583" y="1958"/>
                  <a:pt x="3583" y="1956"/>
                  <a:pt x="3583" y="1953"/>
                </a:cubicBezTo>
                <a:cubicBezTo>
                  <a:pt x="3582" y="1951"/>
                  <a:pt x="3582" y="1948"/>
                  <a:pt x="3582" y="1946"/>
                </a:cubicBezTo>
                <a:cubicBezTo>
                  <a:pt x="3582" y="1944"/>
                  <a:pt x="3583" y="1941"/>
                  <a:pt x="3589" y="1940"/>
                </a:cubicBezTo>
                <a:close/>
                <a:moveTo>
                  <a:pt x="3637" y="1900"/>
                </a:moveTo>
                <a:cubicBezTo>
                  <a:pt x="3637" y="1900"/>
                  <a:pt x="3637" y="1900"/>
                  <a:pt x="3637" y="1900"/>
                </a:cubicBezTo>
                <a:cubicBezTo>
                  <a:pt x="3632" y="1900"/>
                  <a:pt x="3632" y="1900"/>
                  <a:pt x="3632" y="1900"/>
                </a:cubicBezTo>
                <a:cubicBezTo>
                  <a:pt x="3629" y="1901"/>
                  <a:pt x="3628" y="1903"/>
                  <a:pt x="3626" y="1903"/>
                </a:cubicBezTo>
                <a:cubicBezTo>
                  <a:pt x="3624" y="1905"/>
                  <a:pt x="3622" y="1906"/>
                  <a:pt x="3621" y="1906"/>
                </a:cubicBezTo>
                <a:cubicBezTo>
                  <a:pt x="3618" y="1907"/>
                  <a:pt x="3617" y="1908"/>
                  <a:pt x="3615" y="1908"/>
                </a:cubicBezTo>
                <a:cubicBezTo>
                  <a:pt x="3613" y="1909"/>
                  <a:pt x="3612" y="1910"/>
                  <a:pt x="3609" y="1911"/>
                </a:cubicBezTo>
                <a:cubicBezTo>
                  <a:pt x="3609" y="1911"/>
                  <a:pt x="3609" y="1911"/>
                  <a:pt x="3609" y="1921"/>
                </a:cubicBezTo>
                <a:cubicBezTo>
                  <a:pt x="3612" y="1920"/>
                  <a:pt x="3615" y="1919"/>
                  <a:pt x="3618" y="1918"/>
                </a:cubicBezTo>
                <a:cubicBezTo>
                  <a:pt x="3621" y="1917"/>
                  <a:pt x="3623" y="1916"/>
                  <a:pt x="3625" y="1914"/>
                </a:cubicBezTo>
                <a:cubicBezTo>
                  <a:pt x="3625" y="1914"/>
                  <a:pt x="3625" y="1914"/>
                  <a:pt x="3625" y="1973"/>
                </a:cubicBezTo>
                <a:cubicBezTo>
                  <a:pt x="3625" y="1973"/>
                  <a:pt x="3625" y="1973"/>
                  <a:pt x="3637" y="1973"/>
                </a:cubicBezTo>
                <a:cubicBezTo>
                  <a:pt x="3637" y="1973"/>
                  <a:pt x="3637" y="1973"/>
                  <a:pt x="3637" y="1900"/>
                </a:cubicBezTo>
                <a:close/>
                <a:moveTo>
                  <a:pt x="3684" y="1900"/>
                </a:moveTo>
                <a:cubicBezTo>
                  <a:pt x="3684" y="1900"/>
                  <a:pt x="3684" y="1900"/>
                  <a:pt x="3684" y="1900"/>
                </a:cubicBezTo>
                <a:cubicBezTo>
                  <a:pt x="3679" y="1900"/>
                  <a:pt x="3679" y="1900"/>
                  <a:pt x="3679" y="1900"/>
                </a:cubicBezTo>
                <a:cubicBezTo>
                  <a:pt x="3677" y="1901"/>
                  <a:pt x="3675" y="1903"/>
                  <a:pt x="3673" y="1903"/>
                </a:cubicBezTo>
                <a:cubicBezTo>
                  <a:pt x="3672" y="1905"/>
                  <a:pt x="3669" y="1906"/>
                  <a:pt x="3668" y="1906"/>
                </a:cubicBezTo>
                <a:cubicBezTo>
                  <a:pt x="3666" y="1908"/>
                  <a:pt x="3664" y="1908"/>
                  <a:pt x="3663" y="1909"/>
                </a:cubicBezTo>
                <a:cubicBezTo>
                  <a:pt x="3661" y="1910"/>
                  <a:pt x="3659" y="1911"/>
                  <a:pt x="3657" y="1911"/>
                </a:cubicBezTo>
                <a:cubicBezTo>
                  <a:pt x="3657" y="1911"/>
                  <a:pt x="3657" y="1911"/>
                  <a:pt x="3657" y="1921"/>
                </a:cubicBezTo>
                <a:cubicBezTo>
                  <a:pt x="3660" y="1920"/>
                  <a:pt x="3663" y="1919"/>
                  <a:pt x="3665" y="1918"/>
                </a:cubicBezTo>
                <a:cubicBezTo>
                  <a:pt x="3668" y="1917"/>
                  <a:pt x="3670" y="1916"/>
                  <a:pt x="3672" y="1914"/>
                </a:cubicBezTo>
                <a:cubicBezTo>
                  <a:pt x="3672" y="1914"/>
                  <a:pt x="3672" y="1914"/>
                  <a:pt x="3672" y="1973"/>
                </a:cubicBezTo>
                <a:cubicBezTo>
                  <a:pt x="3672" y="1973"/>
                  <a:pt x="3672" y="1973"/>
                  <a:pt x="3684" y="1973"/>
                </a:cubicBezTo>
                <a:cubicBezTo>
                  <a:pt x="3684" y="1973"/>
                  <a:pt x="3684" y="1973"/>
                  <a:pt x="3684" y="1900"/>
                </a:cubicBezTo>
                <a:close/>
                <a:moveTo>
                  <a:pt x="3730" y="1900"/>
                </a:moveTo>
                <a:cubicBezTo>
                  <a:pt x="3730" y="1900"/>
                  <a:pt x="3730" y="1900"/>
                  <a:pt x="3730" y="1900"/>
                </a:cubicBezTo>
                <a:cubicBezTo>
                  <a:pt x="3726" y="1900"/>
                  <a:pt x="3726" y="1900"/>
                  <a:pt x="3726" y="1900"/>
                </a:cubicBezTo>
                <a:cubicBezTo>
                  <a:pt x="3724" y="1901"/>
                  <a:pt x="3722" y="1903"/>
                  <a:pt x="3720" y="1903"/>
                </a:cubicBezTo>
                <a:cubicBezTo>
                  <a:pt x="3719" y="1905"/>
                  <a:pt x="3716" y="1906"/>
                  <a:pt x="3715" y="1906"/>
                </a:cubicBezTo>
                <a:cubicBezTo>
                  <a:pt x="3713" y="1908"/>
                  <a:pt x="3711" y="1908"/>
                  <a:pt x="3709" y="1909"/>
                </a:cubicBezTo>
                <a:cubicBezTo>
                  <a:pt x="3708" y="1910"/>
                  <a:pt x="3705" y="1911"/>
                  <a:pt x="3704" y="1911"/>
                </a:cubicBezTo>
                <a:cubicBezTo>
                  <a:pt x="3704" y="1911"/>
                  <a:pt x="3704" y="1911"/>
                  <a:pt x="3704" y="1921"/>
                </a:cubicBezTo>
                <a:cubicBezTo>
                  <a:pt x="3707" y="1920"/>
                  <a:pt x="3710" y="1919"/>
                  <a:pt x="3712" y="1918"/>
                </a:cubicBezTo>
                <a:cubicBezTo>
                  <a:pt x="3714" y="1917"/>
                  <a:pt x="3717" y="1916"/>
                  <a:pt x="3719" y="1914"/>
                </a:cubicBezTo>
                <a:cubicBezTo>
                  <a:pt x="3719" y="1914"/>
                  <a:pt x="3719" y="1914"/>
                  <a:pt x="3719" y="1973"/>
                </a:cubicBezTo>
                <a:cubicBezTo>
                  <a:pt x="3719" y="1973"/>
                  <a:pt x="3719" y="1973"/>
                  <a:pt x="3730" y="1973"/>
                </a:cubicBezTo>
                <a:cubicBezTo>
                  <a:pt x="3730" y="1973"/>
                  <a:pt x="3730" y="1973"/>
                  <a:pt x="3730" y="1900"/>
                </a:cubicBezTo>
                <a:close/>
                <a:moveTo>
                  <a:pt x="3853" y="1900"/>
                </a:moveTo>
                <a:cubicBezTo>
                  <a:pt x="3853" y="1900"/>
                  <a:pt x="3853" y="1900"/>
                  <a:pt x="3853" y="1900"/>
                </a:cubicBezTo>
                <a:cubicBezTo>
                  <a:pt x="3848" y="1900"/>
                  <a:pt x="3848" y="1900"/>
                  <a:pt x="3848" y="1900"/>
                </a:cubicBezTo>
                <a:cubicBezTo>
                  <a:pt x="3846" y="1901"/>
                  <a:pt x="3845" y="1903"/>
                  <a:pt x="3842" y="1903"/>
                </a:cubicBezTo>
                <a:cubicBezTo>
                  <a:pt x="3841" y="1905"/>
                  <a:pt x="3839" y="1906"/>
                  <a:pt x="3837" y="1906"/>
                </a:cubicBezTo>
                <a:cubicBezTo>
                  <a:pt x="3836" y="1908"/>
                  <a:pt x="3834" y="1908"/>
                  <a:pt x="3832" y="1909"/>
                </a:cubicBezTo>
                <a:cubicBezTo>
                  <a:pt x="3830" y="1910"/>
                  <a:pt x="3829" y="1911"/>
                  <a:pt x="3826" y="1911"/>
                </a:cubicBezTo>
                <a:cubicBezTo>
                  <a:pt x="3826" y="1911"/>
                  <a:pt x="3826" y="1911"/>
                  <a:pt x="3826" y="1921"/>
                </a:cubicBezTo>
                <a:cubicBezTo>
                  <a:pt x="3829" y="1920"/>
                  <a:pt x="3832" y="1919"/>
                  <a:pt x="3835" y="1918"/>
                </a:cubicBezTo>
                <a:cubicBezTo>
                  <a:pt x="3837" y="1917"/>
                  <a:pt x="3839" y="1916"/>
                  <a:pt x="3842" y="1914"/>
                </a:cubicBezTo>
                <a:cubicBezTo>
                  <a:pt x="3842" y="1914"/>
                  <a:pt x="3842" y="1914"/>
                  <a:pt x="3842" y="1973"/>
                </a:cubicBezTo>
                <a:cubicBezTo>
                  <a:pt x="3842" y="1973"/>
                  <a:pt x="3842" y="1973"/>
                  <a:pt x="3853" y="1973"/>
                </a:cubicBezTo>
                <a:cubicBezTo>
                  <a:pt x="3853" y="1973"/>
                  <a:pt x="3853" y="1973"/>
                  <a:pt x="3853" y="1900"/>
                </a:cubicBezTo>
                <a:close/>
                <a:moveTo>
                  <a:pt x="3751" y="1932"/>
                </a:moveTo>
                <a:cubicBezTo>
                  <a:pt x="3751" y="1932"/>
                  <a:pt x="3751" y="1932"/>
                  <a:pt x="3751" y="1932"/>
                </a:cubicBezTo>
                <a:cubicBezTo>
                  <a:pt x="3751" y="1940"/>
                  <a:pt x="3751" y="1940"/>
                  <a:pt x="3751" y="1940"/>
                </a:cubicBezTo>
                <a:cubicBezTo>
                  <a:pt x="3757" y="1941"/>
                  <a:pt x="3758" y="1944"/>
                  <a:pt x="3758" y="1946"/>
                </a:cubicBezTo>
                <a:cubicBezTo>
                  <a:pt x="3758" y="1948"/>
                  <a:pt x="3757" y="1951"/>
                  <a:pt x="3757" y="1953"/>
                </a:cubicBezTo>
                <a:cubicBezTo>
                  <a:pt x="3757" y="1956"/>
                  <a:pt x="3757" y="1958"/>
                  <a:pt x="3757" y="1960"/>
                </a:cubicBezTo>
                <a:cubicBezTo>
                  <a:pt x="3757" y="1970"/>
                  <a:pt x="3763" y="1973"/>
                  <a:pt x="3771" y="1973"/>
                </a:cubicBezTo>
                <a:cubicBezTo>
                  <a:pt x="3771" y="1973"/>
                  <a:pt x="3771" y="1973"/>
                  <a:pt x="3775" y="1973"/>
                </a:cubicBezTo>
                <a:cubicBezTo>
                  <a:pt x="3775" y="1973"/>
                  <a:pt x="3775" y="1973"/>
                  <a:pt x="3775" y="1964"/>
                </a:cubicBezTo>
                <a:cubicBezTo>
                  <a:pt x="3775" y="1964"/>
                  <a:pt x="3775" y="1964"/>
                  <a:pt x="3774" y="1964"/>
                </a:cubicBezTo>
                <a:cubicBezTo>
                  <a:pt x="3770" y="1964"/>
                  <a:pt x="3769" y="1962"/>
                  <a:pt x="3769" y="1958"/>
                </a:cubicBezTo>
                <a:cubicBezTo>
                  <a:pt x="3769" y="1957"/>
                  <a:pt x="3769" y="1955"/>
                  <a:pt x="3769" y="1953"/>
                </a:cubicBezTo>
                <a:cubicBezTo>
                  <a:pt x="3769" y="1952"/>
                  <a:pt x="3769" y="1950"/>
                  <a:pt x="3769" y="1947"/>
                </a:cubicBezTo>
                <a:cubicBezTo>
                  <a:pt x="3769" y="1940"/>
                  <a:pt x="3766" y="1937"/>
                  <a:pt x="3761" y="1936"/>
                </a:cubicBezTo>
                <a:cubicBezTo>
                  <a:pt x="3761" y="1936"/>
                  <a:pt x="3761" y="1936"/>
                  <a:pt x="3761" y="1936"/>
                </a:cubicBezTo>
                <a:cubicBezTo>
                  <a:pt x="3766" y="1935"/>
                  <a:pt x="3769" y="1932"/>
                  <a:pt x="3769" y="1925"/>
                </a:cubicBezTo>
                <a:cubicBezTo>
                  <a:pt x="3769" y="1922"/>
                  <a:pt x="3769" y="1920"/>
                  <a:pt x="3769" y="1919"/>
                </a:cubicBezTo>
                <a:cubicBezTo>
                  <a:pt x="3769" y="1917"/>
                  <a:pt x="3769" y="1915"/>
                  <a:pt x="3769" y="1914"/>
                </a:cubicBezTo>
                <a:cubicBezTo>
                  <a:pt x="3769" y="1910"/>
                  <a:pt x="3770" y="1908"/>
                  <a:pt x="3774" y="1908"/>
                </a:cubicBezTo>
                <a:cubicBezTo>
                  <a:pt x="3774" y="1908"/>
                  <a:pt x="3774" y="1908"/>
                  <a:pt x="3775" y="1908"/>
                </a:cubicBezTo>
                <a:cubicBezTo>
                  <a:pt x="3775" y="1908"/>
                  <a:pt x="3775" y="1908"/>
                  <a:pt x="3775" y="1899"/>
                </a:cubicBezTo>
                <a:cubicBezTo>
                  <a:pt x="3775" y="1899"/>
                  <a:pt x="3775" y="1899"/>
                  <a:pt x="3771" y="1899"/>
                </a:cubicBezTo>
                <a:cubicBezTo>
                  <a:pt x="3762" y="1899"/>
                  <a:pt x="3757" y="1903"/>
                  <a:pt x="3757" y="1911"/>
                </a:cubicBezTo>
                <a:cubicBezTo>
                  <a:pt x="3757" y="1914"/>
                  <a:pt x="3757" y="1916"/>
                  <a:pt x="3757" y="1919"/>
                </a:cubicBezTo>
                <a:cubicBezTo>
                  <a:pt x="3757" y="1921"/>
                  <a:pt x="3758" y="1924"/>
                  <a:pt x="3758" y="1926"/>
                </a:cubicBezTo>
                <a:cubicBezTo>
                  <a:pt x="3758" y="1928"/>
                  <a:pt x="3757" y="1932"/>
                  <a:pt x="3751" y="1932"/>
                </a:cubicBezTo>
                <a:close/>
                <a:moveTo>
                  <a:pt x="3806" y="1940"/>
                </a:moveTo>
                <a:cubicBezTo>
                  <a:pt x="3806" y="1940"/>
                  <a:pt x="3806" y="1940"/>
                  <a:pt x="3806" y="1940"/>
                </a:cubicBezTo>
                <a:cubicBezTo>
                  <a:pt x="3806" y="1932"/>
                  <a:pt x="3806" y="1932"/>
                  <a:pt x="3806" y="1932"/>
                </a:cubicBezTo>
                <a:cubicBezTo>
                  <a:pt x="3799" y="1932"/>
                  <a:pt x="3799" y="1928"/>
                  <a:pt x="3799" y="1926"/>
                </a:cubicBezTo>
                <a:cubicBezTo>
                  <a:pt x="3799" y="1924"/>
                  <a:pt x="3799" y="1921"/>
                  <a:pt x="3799" y="1919"/>
                </a:cubicBezTo>
                <a:cubicBezTo>
                  <a:pt x="3800" y="1916"/>
                  <a:pt x="3800" y="1914"/>
                  <a:pt x="3800" y="1911"/>
                </a:cubicBezTo>
                <a:cubicBezTo>
                  <a:pt x="3800" y="1903"/>
                  <a:pt x="3795" y="1899"/>
                  <a:pt x="3785" y="1899"/>
                </a:cubicBezTo>
                <a:cubicBezTo>
                  <a:pt x="3785" y="1899"/>
                  <a:pt x="3785" y="1899"/>
                  <a:pt x="3782" y="1899"/>
                </a:cubicBezTo>
                <a:cubicBezTo>
                  <a:pt x="3782" y="1899"/>
                  <a:pt x="3782" y="1899"/>
                  <a:pt x="3782" y="1908"/>
                </a:cubicBezTo>
                <a:cubicBezTo>
                  <a:pt x="3782" y="1908"/>
                  <a:pt x="3782" y="1908"/>
                  <a:pt x="3783" y="1908"/>
                </a:cubicBezTo>
                <a:cubicBezTo>
                  <a:pt x="3787" y="1908"/>
                  <a:pt x="3788" y="1910"/>
                  <a:pt x="3788" y="1914"/>
                </a:cubicBezTo>
                <a:cubicBezTo>
                  <a:pt x="3788" y="1915"/>
                  <a:pt x="3788" y="1917"/>
                  <a:pt x="3788" y="1919"/>
                </a:cubicBezTo>
                <a:cubicBezTo>
                  <a:pt x="3788" y="1920"/>
                  <a:pt x="3788" y="1922"/>
                  <a:pt x="3788" y="1925"/>
                </a:cubicBezTo>
                <a:cubicBezTo>
                  <a:pt x="3788" y="1932"/>
                  <a:pt x="3790" y="1935"/>
                  <a:pt x="3796" y="1936"/>
                </a:cubicBezTo>
                <a:cubicBezTo>
                  <a:pt x="3796" y="1936"/>
                  <a:pt x="3796" y="1936"/>
                  <a:pt x="3796" y="1936"/>
                </a:cubicBezTo>
                <a:cubicBezTo>
                  <a:pt x="3790" y="1937"/>
                  <a:pt x="3788" y="1940"/>
                  <a:pt x="3788" y="1947"/>
                </a:cubicBezTo>
                <a:cubicBezTo>
                  <a:pt x="3788" y="1950"/>
                  <a:pt x="3788" y="1952"/>
                  <a:pt x="3788" y="1953"/>
                </a:cubicBezTo>
                <a:cubicBezTo>
                  <a:pt x="3788" y="1955"/>
                  <a:pt x="3788" y="1957"/>
                  <a:pt x="3788" y="1958"/>
                </a:cubicBezTo>
                <a:cubicBezTo>
                  <a:pt x="3788" y="1962"/>
                  <a:pt x="3787" y="1964"/>
                  <a:pt x="3783" y="1964"/>
                </a:cubicBezTo>
                <a:cubicBezTo>
                  <a:pt x="3783" y="1964"/>
                  <a:pt x="3783" y="1964"/>
                  <a:pt x="3782" y="1964"/>
                </a:cubicBezTo>
                <a:cubicBezTo>
                  <a:pt x="3782" y="1964"/>
                  <a:pt x="3782" y="1964"/>
                  <a:pt x="3782" y="1973"/>
                </a:cubicBezTo>
                <a:cubicBezTo>
                  <a:pt x="3782" y="1973"/>
                  <a:pt x="3782" y="1973"/>
                  <a:pt x="3785" y="1973"/>
                </a:cubicBezTo>
                <a:cubicBezTo>
                  <a:pt x="3794" y="1973"/>
                  <a:pt x="3800" y="1970"/>
                  <a:pt x="3800" y="1960"/>
                </a:cubicBezTo>
                <a:cubicBezTo>
                  <a:pt x="3800" y="1958"/>
                  <a:pt x="3800" y="1956"/>
                  <a:pt x="3799" y="1953"/>
                </a:cubicBezTo>
                <a:cubicBezTo>
                  <a:pt x="3799" y="1951"/>
                  <a:pt x="3799" y="1948"/>
                  <a:pt x="3799" y="1946"/>
                </a:cubicBezTo>
                <a:cubicBezTo>
                  <a:pt x="3799" y="1944"/>
                  <a:pt x="3799" y="1941"/>
                  <a:pt x="3806" y="1940"/>
                </a:cubicBezTo>
                <a:close/>
                <a:moveTo>
                  <a:pt x="2947" y="1851"/>
                </a:moveTo>
                <a:cubicBezTo>
                  <a:pt x="2947" y="1853"/>
                  <a:pt x="2948" y="1854"/>
                  <a:pt x="2949" y="1856"/>
                </a:cubicBezTo>
                <a:cubicBezTo>
                  <a:pt x="2949" y="1857"/>
                  <a:pt x="2949" y="1859"/>
                  <a:pt x="2950" y="1861"/>
                </a:cubicBezTo>
                <a:cubicBezTo>
                  <a:pt x="2950" y="1862"/>
                  <a:pt x="2950" y="1864"/>
                  <a:pt x="2950" y="1865"/>
                </a:cubicBezTo>
                <a:cubicBezTo>
                  <a:pt x="2951" y="1869"/>
                  <a:pt x="2950" y="1870"/>
                  <a:pt x="2947" y="1870"/>
                </a:cubicBezTo>
                <a:cubicBezTo>
                  <a:pt x="2944" y="1870"/>
                  <a:pt x="2941" y="1870"/>
                  <a:pt x="2938" y="1870"/>
                </a:cubicBezTo>
                <a:cubicBezTo>
                  <a:pt x="2938" y="1870"/>
                  <a:pt x="2937" y="1870"/>
                  <a:pt x="2937" y="1870"/>
                </a:cubicBezTo>
                <a:cubicBezTo>
                  <a:pt x="2935" y="1872"/>
                  <a:pt x="2934" y="1873"/>
                  <a:pt x="2933" y="1874"/>
                </a:cubicBezTo>
                <a:cubicBezTo>
                  <a:pt x="2931" y="1877"/>
                  <a:pt x="2927" y="1877"/>
                  <a:pt x="2925" y="1875"/>
                </a:cubicBezTo>
                <a:cubicBezTo>
                  <a:pt x="2923" y="1873"/>
                  <a:pt x="2922" y="1870"/>
                  <a:pt x="2920" y="1868"/>
                </a:cubicBezTo>
                <a:cubicBezTo>
                  <a:pt x="2920" y="1866"/>
                  <a:pt x="2920" y="1865"/>
                  <a:pt x="2922" y="1863"/>
                </a:cubicBezTo>
                <a:cubicBezTo>
                  <a:pt x="2920" y="1863"/>
                  <a:pt x="2918" y="1863"/>
                  <a:pt x="2916" y="1863"/>
                </a:cubicBezTo>
                <a:cubicBezTo>
                  <a:pt x="2916" y="1865"/>
                  <a:pt x="2915" y="1867"/>
                  <a:pt x="2914" y="1869"/>
                </a:cubicBezTo>
                <a:cubicBezTo>
                  <a:pt x="2914" y="1870"/>
                  <a:pt x="2913" y="1870"/>
                  <a:pt x="2913" y="1871"/>
                </a:cubicBezTo>
                <a:cubicBezTo>
                  <a:pt x="2913" y="1874"/>
                  <a:pt x="2912" y="1876"/>
                  <a:pt x="2909" y="1875"/>
                </a:cubicBezTo>
                <a:cubicBezTo>
                  <a:pt x="2906" y="1875"/>
                  <a:pt x="2903" y="1874"/>
                  <a:pt x="2900" y="1873"/>
                </a:cubicBezTo>
                <a:cubicBezTo>
                  <a:pt x="2898" y="1872"/>
                  <a:pt x="2898" y="1871"/>
                  <a:pt x="2898" y="1869"/>
                </a:cubicBezTo>
                <a:cubicBezTo>
                  <a:pt x="2898" y="1868"/>
                  <a:pt x="2898" y="1867"/>
                  <a:pt x="2899" y="1867"/>
                </a:cubicBezTo>
                <a:cubicBezTo>
                  <a:pt x="2896" y="1866"/>
                  <a:pt x="2894" y="1865"/>
                  <a:pt x="2892" y="1864"/>
                </a:cubicBezTo>
                <a:cubicBezTo>
                  <a:pt x="2891" y="1863"/>
                  <a:pt x="2890" y="1861"/>
                  <a:pt x="2889" y="1859"/>
                </a:cubicBezTo>
                <a:cubicBezTo>
                  <a:pt x="2888" y="1857"/>
                  <a:pt x="2888" y="1856"/>
                  <a:pt x="2890" y="1854"/>
                </a:cubicBezTo>
                <a:cubicBezTo>
                  <a:pt x="2893" y="1852"/>
                  <a:pt x="2894" y="1849"/>
                  <a:pt x="2893" y="1845"/>
                </a:cubicBezTo>
                <a:cubicBezTo>
                  <a:pt x="2893" y="1843"/>
                  <a:pt x="2893" y="1841"/>
                  <a:pt x="2893" y="1839"/>
                </a:cubicBezTo>
                <a:cubicBezTo>
                  <a:pt x="2892" y="1839"/>
                  <a:pt x="2890" y="1838"/>
                  <a:pt x="2889" y="1837"/>
                </a:cubicBezTo>
                <a:cubicBezTo>
                  <a:pt x="2888" y="1835"/>
                  <a:pt x="2887" y="1833"/>
                  <a:pt x="2887" y="1832"/>
                </a:cubicBezTo>
                <a:cubicBezTo>
                  <a:pt x="2887" y="1829"/>
                  <a:pt x="2891" y="1826"/>
                  <a:pt x="2893" y="1825"/>
                </a:cubicBezTo>
                <a:cubicBezTo>
                  <a:pt x="2894" y="1826"/>
                  <a:pt x="2894" y="1827"/>
                  <a:pt x="2894" y="1828"/>
                </a:cubicBezTo>
                <a:cubicBezTo>
                  <a:pt x="2894" y="1829"/>
                  <a:pt x="2894" y="1830"/>
                  <a:pt x="2895" y="1831"/>
                </a:cubicBezTo>
                <a:cubicBezTo>
                  <a:pt x="2894" y="1830"/>
                  <a:pt x="2893" y="1830"/>
                  <a:pt x="2893" y="1830"/>
                </a:cubicBezTo>
                <a:cubicBezTo>
                  <a:pt x="2893" y="1832"/>
                  <a:pt x="2892" y="1833"/>
                  <a:pt x="2891" y="1835"/>
                </a:cubicBezTo>
                <a:cubicBezTo>
                  <a:pt x="2893" y="1834"/>
                  <a:pt x="2893" y="1834"/>
                  <a:pt x="2894" y="1834"/>
                </a:cubicBezTo>
                <a:cubicBezTo>
                  <a:pt x="2895" y="1833"/>
                  <a:pt x="2896" y="1832"/>
                  <a:pt x="2896" y="1831"/>
                </a:cubicBezTo>
                <a:cubicBezTo>
                  <a:pt x="2901" y="1824"/>
                  <a:pt x="2907" y="1820"/>
                  <a:pt x="2915" y="1819"/>
                </a:cubicBezTo>
                <a:cubicBezTo>
                  <a:pt x="2918" y="1818"/>
                  <a:pt x="2921" y="1817"/>
                  <a:pt x="2923" y="1814"/>
                </a:cubicBezTo>
                <a:cubicBezTo>
                  <a:pt x="2923" y="1814"/>
                  <a:pt x="2924" y="1813"/>
                  <a:pt x="2924" y="1813"/>
                </a:cubicBezTo>
                <a:cubicBezTo>
                  <a:pt x="2927" y="1813"/>
                  <a:pt x="2929" y="1811"/>
                  <a:pt x="2931" y="1809"/>
                </a:cubicBezTo>
                <a:cubicBezTo>
                  <a:pt x="2938" y="1801"/>
                  <a:pt x="2950" y="1801"/>
                  <a:pt x="2958" y="1808"/>
                </a:cubicBezTo>
                <a:cubicBezTo>
                  <a:pt x="2960" y="1809"/>
                  <a:pt x="2963" y="1811"/>
                  <a:pt x="2965" y="1813"/>
                </a:cubicBezTo>
                <a:cubicBezTo>
                  <a:pt x="2967" y="1815"/>
                  <a:pt x="2968" y="1816"/>
                  <a:pt x="2969" y="1818"/>
                </a:cubicBezTo>
                <a:cubicBezTo>
                  <a:pt x="2970" y="1820"/>
                  <a:pt x="2971" y="1820"/>
                  <a:pt x="2972" y="1819"/>
                </a:cubicBezTo>
                <a:cubicBezTo>
                  <a:pt x="2973" y="1818"/>
                  <a:pt x="2973" y="1817"/>
                  <a:pt x="2974" y="1817"/>
                </a:cubicBezTo>
                <a:cubicBezTo>
                  <a:pt x="2976" y="1814"/>
                  <a:pt x="2979" y="1814"/>
                  <a:pt x="2980" y="1817"/>
                </a:cubicBezTo>
                <a:cubicBezTo>
                  <a:pt x="2982" y="1820"/>
                  <a:pt x="2982" y="1823"/>
                  <a:pt x="2983" y="1826"/>
                </a:cubicBezTo>
                <a:cubicBezTo>
                  <a:pt x="2984" y="1830"/>
                  <a:pt x="2983" y="1835"/>
                  <a:pt x="2982" y="1839"/>
                </a:cubicBezTo>
                <a:cubicBezTo>
                  <a:pt x="2979" y="1845"/>
                  <a:pt x="2975" y="1849"/>
                  <a:pt x="2968" y="1849"/>
                </a:cubicBezTo>
                <a:cubicBezTo>
                  <a:pt x="2967" y="1849"/>
                  <a:pt x="2967" y="1849"/>
                  <a:pt x="2966" y="1849"/>
                </a:cubicBezTo>
                <a:cubicBezTo>
                  <a:pt x="2964" y="1848"/>
                  <a:pt x="2962" y="1849"/>
                  <a:pt x="2962" y="1851"/>
                </a:cubicBezTo>
                <a:cubicBezTo>
                  <a:pt x="2960" y="1856"/>
                  <a:pt x="2955" y="1857"/>
                  <a:pt x="2951" y="1854"/>
                </a:cubicBezTo>
                <a:cubicBezTo>
                  <a:pt x="2950" y="1853"/>
                  <a:pt x="2949" y="1852"/>
                  <a:pt x="2948" y="1851"/>
                </a:cubicBezTo>
                <a:cubicBezTo>
                  <a:pt x="2947" y="1851"/>
                  <a:pt x="2947" y="1851"/>
                  <a:pt x="2947" y="1851"/>
                </a:cubicBezTo>
                <a:close/>
                <a:moveTo>
                  <a:pt x="2942" y="1847"/>
                </a:moveTo>
                <a:cubicBezTo>
                  <a:pt x="2945" y="1848"/>
                  <a:pt x="2949" y="1850"/>
                  <a:pt x="2951" y="1852"/>
                </a:cubicBezTo>
                <a:cubicBezTo>
                  <a:pt x="2953" y="1854"/>
                  <a:pt x="2955" y="1855"/>
                  <a:pt x="2957" y="1854"/>
                </a:cubicBezTo>
                <a:cubicBezTo>
                  <a:pt x="2960" y="1853"/>
                  <a:pt x="2961" y="1851"/>
                  <a:pt x="2961" y="1848"/>
                </a:cubicBezTo>
                <a:cubicBezTo>
                  <a:pt x="2961" y="1848"/>
                  <a:pt x="2960" y="1848"/>
                  <a:pt x="2960" y="1849"/>
                </a:cubicBezTo>
                <a:cubicBezTo>
                  <a:pt x="2960" y="1850"/>
                  <a:pt x="2958" y="1851"/>
                  <a:pt x="2958" y="1852"/>
                </a:cubicBezTo>
                <a:cubicBezTo>
                  <a:pt x="2956" y="1854"/>
                  <a:pt x="2955" y="1853"/>
                  <a:pt x="2955" y="1853"/>
                </a:cubicBezTo>
                <a:cubicBezTo>
                  <a:pt x="2954" y="1853"/>
                  <a:pt x="2953" y="1852"/>
                  <a:pt x="2953" y="1851"/>
                </a:cubicBezTo>
                <a:cubicBezTo>
                  <a:pt x="2953" y="1848"/>
                  <a:pt x="2954" y="1846"/>
                  <a:pt x="2954" y="1845"/>
                </a:cubicBezTo>
                <a:cubicBezTo>
                  <a:pt x="2957" y="1845"/>
                  <a:pt x="2960" y="1846"/>
                  <a:pt x="2964" y="1847"/>
                </a:cubicBezTo>
                <a:cubicBezTo>
                  <a:pt x="2971" y="1848"/>
                  <a:pt x="2977" y="1846"/>
                  <a:pt x="2980" y="1838"/>
                </a:cubicBezTo>
                <a:cubicBezTo>
                  <a:pt x="2982" y="1833"/>
                  <a:pt x="2982" y="1828"/>
                  <a:pt x="2981" y="1823"/>
                </a:cubicBezTo>
                <a:cubicBezTo>
                  <a:pt x="2980" y="1821"/>
                  <a:pt x="2980" y="1820"/>
                  <a:pt x="2979" y="1818"/>
                </a:cubicBezTo>
                <a:cubicBezTo>
                  <a:pt x="2978" y="1816"/>
                  <a:pt x="2977" y="1816"/>
                  <a:pt x="2976" y="1817"/>
                </a:cubicBezTo>
                <a:cubicBezTo>
                  <a:pt x="2974" y="1819"/>
                  <a:pt x="2973" y="1821"/>
                  <a:pt x="2971" y="1821"/>
                </a:cubicBezTo>
                <a:cubicBezTo>
                  <a:pt x="2970" y="1822"/>
                  <a:pt x="2969" y="1822"/>
                  <a:pt x="2969" y="1824"/>
                </a:cubicBezTo>
                <a:cubicBezTo>
                  <a:pt x="2970" y="1827"/>
                  <a:pt x="2969" y="1830"/>
                  <a:pt x="2968" y="1833"/>
                </a:cubicBezTo>
                <a:cubicBezTo>
                  <a:pt x="2968" y="1831"/>
                  <a:pt x="2969" y="1829"/>
                  <a:pt x="2969" y="1828"/>
                </a:cubicBezTo>
                <a:cubicBezTo>
                  <a:pt x="2969" y="1827"/>
                  <a:pt x="2968" y="1826"/>
                  <a:pt x="2968" y="1826"/>
                </a:cubicBezTo>
                <a:cubicBezTo>
                  <a:pt x="2967" y="1826"/>
                  <a:pt x="2967" y="1826"/>
                  <a:pt x="2967" y="1827"/>
                </a:cubicBezTo>
                <a:cubicBezTo>
                  <a:pt x="2966" y="1828"/>
                  <a:pt x="2965" y="1830"/>
                  <a:pt x="2964" y="1831"/>
                </a:cubicBezTo>
                <a:cubicBezTo>
                  <a:pt x="2964" y="1831"/>
                  <a:pt x="2964" y="1831"/>
                  <a:pt x="2964" y="1831"/>
                </a:cubicBezTo>
                <a:cubicBezTo>
                  <a:pt x="2964" y="1829"/>
                  <a:pt x="2965" y="1828"/>
                  <a:pt x="2965" y="1825"/>
                </a:cubicBezTo>
                <a:cubicBezTo>
                  <a:pt x="2964" y="1826"/>
                  <a:pt x="2964" y="1826"/>
                  <a:pt x="2963" y="1827"/>
                </a:cubicBezTo>
                <a:cubicBezTo>
                  <a:pt x="2962" y="1828"/>
                  <a:pt x="2962" y="1828"/>
                  <a:pt x="2962" y="1829"/>
                </a:cubicBezTo>
                <a:cubicBezTo>
                  <a:pt x="2962" y="1826"/>
                  <a:pt x="2962" y="1826"/>
                  <a:pt x="2968" y="1824"/>
                </a:cubicBezTo>
                <a:cubicBezTo>
                  <a:pt x="2968" y="1824"/>
                  <a:pt x="2967" y="1823"/>
                  <a:pt x="2967" y="1823"/>
                </a:cubicBezTo>
                <a:cubicBezTo>
                  <a:pt x="2964" y="1824"/>
                  <a:pt x="2964" y="1822"/>
                  <a:pt x="2963" y="1820"/>
                </a:cubicBezTo>
                <a:cubicBezTo>
                  <a:pt x="2965" y="1820"/>
                  <a:pt x="2966" y="1819"/>
                  <a:pt x="2968" y="1819"/>
                </a:cubicBezTo>
                <a:cubicBezTo>
                  <a:pt x="2966" y="1817"/>
                  <a:pt x="2965" y="1814"/>
                  <a:pt x="2962" y="1813"/>
                </a:cubicBezTo>
                <a:cubicBezTo>
                  <a:pt x="2961" y="1813"/>
                  <a:pt x="2961" y="1813"/>
                  <a:pt x="2961" y="1813"/>
                </a:cubicBezTo>
                <a:cubicBezTo>
                  <a:pt x="2958" y="1811"/>
                  <a:pt x="2956" y="1808"/>
                  <a:pt x="2953" y="1806"/>
                </a:cubicBezTo>
                <a:cubicBezTo>
                  <a:pt x="2951" y="1805"/>
                  <a:pt x="2948" y="1804"/>
                  <a:pt x="2946" y="1804"/>
                </a:cubicBezTo>
                <a:cubicBezTo>
                  <a:pt x="2943" y="1805"/>
                  <a:pt x="2940" y="1806"/>
                  <a:pt x="2936" y="1807"/>
                </a:cubicBezTo>
                <a:cubicBezTo>
                  <a:pt x="2934" y="1808"/>
                  <a:pt x="2931" y="1809"/>
                  <a:pt x="2929" y="1813"/>
                </a:cubicBezTo>
                <a:cubicBezTo>
                  <a:pt x="2931" y="1813"/>
                  <a:pt x="2932" y="1813"/>
                  <a:pt x="2933" y="1813"/>
                </a:cubicBezTo>
                <a:cubicBezTo>
                  <a:pt x="2933" y="1813"/>
                  <a:pt x="2932" y="1813"/>
                  <a:pt x="2931" y="1813"/>
                </a:cubicBezTo>
                <a:cubicBezTo>
                  <a:pt x="2929" y="1814"/>
                  <a:pt x="2926" y="1813"/>
                  <a:pt x="2924" y="1816"/>
                </a:cubicBezTo>
                <a:cubicBezTo>
                  <a:pt x="2921" y="1820"/>
                  <a:pt x="2917" y="1823"/>
                  <a:pt x="2913" y="1828"/>
                </a:cubicBezTo>
                <a:cubicBezTo>
                  <a:pt x="2912" y="1830"/>
                  <a:pt x="2911" y="1832"/>
                  <a:pt x="2910" y="1834"/>
                </a:cubicBezTo>
                <a:cubicBezTo>
                  <a:pt x="2910" y="1835"/>
                  <a:pt x="2910" y="1835"/>
                  <a:pt x="2910" y="1836"/>
                </a:cubicBezTo>
                <a:cubicBezTo>
                  <a:pt x="2911" y="1838"/>
                  <a:pt x="2913" y="1840"/>
                  <a:pt x="2914" y="1842"/>
                </a:cubicBezTo>
                <a:cubicBezTo>
                  <a:pt x="2915" y="1840"/>
                  <a:pt x="2916" y="1839"/>
                  <a:pt x="2918" y="1837"/>
                </a:cubicBezTo>
                <a:cubicBezTo>
                  <a:pt x="2917" y="1839"/>
                  <a:pt x="2917" y="1840"/>
                  <a:pt x="2916" y="1841"/>
                </a:cubicBezTo>
                <a:cubicBezTo>
                  <a:pt x="2915" y="1843"/>
                  <a:pt x="2915" y="1844"/>
                  <a:pt x="2914" y="1845"/>
                </a:cubicBezTo>
                <a:cubicBezTo>
                  <a:pt x="2914" y="1846"/>
                  <a:pt x="2914" y="1847"/>
                  <a:pt x="2915" y="1848"/>
                </a:cubicBezTo>
                <a:cubicBezTo>
                  <a:pt x="2917" y="1852"/>
                  <a:pt x="2920" y="1852"/>
                  <a:pt x="2924" y="1850"/>
                </a:cubicBezTo>
                <a:cubicBezTo>
                  <a:pt x="2926" y="1848"/>
                  <a:pt x="2929" y="1847"/>
                  <a:pt x="2932" y="1846"/>
                </a:cubicBezTo>
                <a:cubicBezTo>
                  <a:pt x="2933" y="1846"/>
                  <a:pt x="2935" y="1845"/>
                  <a:pt x="2935" y="1843"/>
                </a:cubicBezTo>
                <a:cubicBezTo>
                  <a:pt x="2935" y="1840"/>
                  <a:pt x="2935" y="1837"/>
                  <a:pt x="2935" y="1833"/>
                </a:cubicBezTo>
                <a:cubicBezTo>
                  <a:pt x="2935" y="1830"/>
                  <a:pt x="2935" y="1828"/>
                  <a:pt x="2935" y="1824"/>
                </a:cubicBezTo>
                <a:cubicBezTo>
                  <a:pt x="2935" y="1827"/>
                  <a:pt x="2936" y="1830"/>
                  <a:pt x="2936" y="1832"/>
                </a:cubicBezTo>
                <a:cubicBezTo>
                  <a:pt x="2937" y="1837"/>
                  <a:pt x="2937" y="1841"/>
                  <a:pt x="2936" y="1846"/>
                </a:cubicBezTo>
                <a:cubicBezTo>
                  <a:pt x="2935" y="1846"/>
                  <a:pt x="2935" y="1847"/>
                  <a:pt x="2934" y="1847"/>
                </a:cubicBezTo>
                <a:cubicBezTo>
                  <a:pt x="2931" y="1848"/>
                  <a:pt x="2927" y="1850"/>
                  <a:pt x="2924" y="1851"/>
                </a:cubicBezTo>
                <a:cubicBezTo>
                  <a:pt x="2919" y="1854"/>
                  <a:pt x="2916" y="1852"/>
                  <a:pt x="2912" y="1848"/>
                </a:cubicBezTo>
                <a:cubicBezTo>
                  <a:pt x="2912" y="1848"/>
                  <a:pt x="2912" y="1847"/>
                  <a:pt x="2912" y="1846"/>
                </a:cubicBezTo>
                <a:cubicBezTo>
                  <a:pt x="2913" y="1844"/>
                  <a:pt x="2912" y="1842"/>
                  <a:pt x="2911" y="1840"/>
                </a:cubicBezTo>
                <a:cubicBezTo>
                  <a:pt x="2909" y="1838"/>
                  <a:pt x="2907" y="1836"/>
                  <a:pt x="2909" y="1833"/>
                </a:cubicBezTo>
                <a:cubicBezTo>
                  <a:pt x="2909" y="1831"/>
                  <a:pt x="2910" y="1830"/>
                  <a:pt x="2911" y="1828"/>
                </a:cubicBezTo>
                <a:cubicBezTo>
                  <a:pt x="2913" y="1825"/>
                  <a:pt x="2915" y="1823"/>
                  <a:pt x="2917" y="1820"/>
                </a:cubicBezTo>
                <a:cubicBezTo>
                  <a:pt x="2917" y="1820"/>
                  <a:pt x="2916" y="1820"/>
                  <a:pt x="2916" y="1820"/>
                </a:cubicBezTo>
                <a:cubicBezTo>
                  <a:pt x="2911" y="1821"/>
                  <a:pt x="2907" y="1823"/>
                  <a:pt x="2903" y="1826"/>
                </a:cubicBezTo>
                <a:cubicBezTo>
                  <a:pt x="2898" y="1830"/>
                  <a:pt x="2895" y="1835"/>
                  <a:pt x="2895" y="1842"/>
                </a:cubicBezTo>
                <a:cubicBezTo>
                  <a:pt x="2895" y="1849"/>
                  <a:pt x="2897" y="1855"/>
                  <a:pt x="2900" y="1861"/>
                </a:cubicBezTo>
                <a:cubicBezTo>
                  <a:pt x="2901" y="1861"/>
                  <a:pt x="2902" y="1863"/>
                  <a:pt x="2901" y="1864"/>
                </a:cubicBezTo>
                <a:cubicBezTo>
                  <a:pt x="2901" y="1866"/>
                  <a:pt x="2901" y="1867"/>
                  <a:pt x="2900" y="1869"/>
                </a:cubicBezTo>
                <a:cubicBezTo>
                  <a:pt x="2900" y="1870"/>
                  <a:pt x="2900" y="1871"/>
                  <a:pt x="2901" y="1872"/>
                </a:cubicBezTo>
                <a:cubicBezTo>
                  <a:pt x="2904" y="1872"/>
                  <a:pt x="2907" y="1873"/>
                  <a:pt x="2910" y="1873"/>
                </a:cubicBezTo>
                <a:cubicBezTo>
                  <a:pt x="2911" y="1873"/>
                  <a:pt x="2911" y="1872"/>
                  <a:pt x="2911" y="1872"/>
                </a:cubicBezTo>
                <a:cubicBezTo>
                  <a:pt x="2912" y="1871"/>
                  <a:pt x="2912" y="1869"/>
                  <a:pt x="2913" y="1869"/>
                </a:cubicBezTo>
                <a:cubicBezTo>
                  <a:pt x="2915" y="1866"/>
                  <a:pt x="2915" y="1863"/>
                  <a:pt x="2915" y="1861"/>
                </a:cubicBezTo>
                <a:cubicBezTo>
                  <a:pt x="2915" y="1860"/>
                  <a:pt x="2915" y="1860"/>
                  <a:pt x="2915" y="1859"/>
                </a:cubicBezTo>
                <a:cubicBezTo>
                  <a:pt x="2915" y="1859"/>
                  <a:pt x="2915" y="1859"/>
                  <a:pt x="2915" y="1859"/>
                </a:cubicBezTo>
                <a:cubicBezTo>
                  <a:pt x="2915" y="1861"/>
                  <a:pt x="2916" y="1861"/>
                  <a:pt x="2918" y="1861"/>
                </a:cubicBezTo>
                <a:cubicBezTo>
                  <a:pt x="2919" y="1861"/>
                  <a:pt x="2920" y="1861"/>
                  <a:pt x="2921" y="1861"/>
                </a:cubicBezTo>
                <a:cubicBezTo>
                  <a:pt x="2924" y="1861"/>
                  <a:pt x="2927" y="1862"/>
                  <a:pt x="2927" y="1858"/>
                </a:cubicBezTo>
                <a:cubicBezTo>
                  <a:pt x="2927" y="1860"/>
                  <a:pt x="2927" y="1862"/>
                  <a:pt x="2927" y="1863"/>
                </a:cubicBezTo>
                <a:cubicBezTo>
                  <a:pt x="2926" y="1863"/>
                  <a:pt x="2925" y="1864"/>
                  <a:pt x="2924" y="1865"/>
                </a:cubicBezTo>
                <a:cubicBezTo>
                  <a:pt x="2922" y="1865"/>
                  <a:pt x="2922" y="1867"/>
                  <a:pt x="2922" y="1868"/>
                </a:cubicBezTo>
                <a:cubicBezTo>
                  <a:pt x="2924" y="1870"/>
                  <a:pt x="2925" y="1872"/>
                  <a:pt x="2926" y="1874"/>
                </a:cubicBezTo>
                <a:cubicBezTo>
                  <a:pt x="2928" y="1875"/>
                  <a:pt x="2930" y="1875"/>
                  <a:pt x="2931" y="1873"/>
                </a:cubicBezTo>
                <a:cubicBezTo>
                  <a:pt x="2932" y="1872"/>
                  <a:pt x="2933" y="1872"/>
                  <a:pt x="2933" y="1871"/>
                </a:cubicBezTo>
                <a:cubicBezTo>
                  <a:pt x="2935" y="1870"/>
                  <a:pt x="2936" y="1869"/>
                  <a:pt x="2938" y="1867"/>
                </a:cubicBezTo>
                <a:cubicBezTo>
                  <a:pt x="2942" y="1863"/>
                  <a:pt x="2944" y="1857"/>
                  <a:pt x="2946" y="1851"/>
                </a:cubicBezTo>
                <a:cubicBezTo>
                  <a:pt x="2946" y="1851"/>
                  <a:pt x="2945" y="1850"/>
                  <a:pt x="2945" y="1850"/>
                </a:cubicBezTo>
                <a:cubicBezTo>
                  <a:pt x="2944" y="1848"/>
                  <a:pt x="2943" y="1848"/>
                  <a:pt x="2942" y="1847"/>
                </a:cubicBezTo>
                <a:close/>
                <a:moveTo>
                  <a:pt x="2895" y="1853"/>
                </a:moveTo>
                <a:cubicBezTo>
                  <a:pt x="2894" y="1854"/>
                  <a:pt x="2892" y="1855"/>
                  <a:pt x="2891" y="1856"/>
                </a:cubicBezTo>
                <a:cubicBezTo>
                  <a:pt x="2891" y="1856"/>
                  <a:pt x="2890" y="1857"/>
                  <a:pt x="2890" y="1858"/>
                </a:cubicBezTo>
                <a:cubicBezTo>
                  <a:pt x="2890" y="1861"/>
                  <a:pt x="2895" y="1865"/>
                  <a:pt x="2898" y="1865"/>
                </a:cubicBezTo>
                <a:cubicBezTo>
                  <a:pt x="2899" y="1865"/>
                  <a:pt x="2900" y="1863"/>
                  <a:pt x="2899" y="1862"/>
                </a:cubicBezTo>
                <a:cubicBezTo>
                  <a:pt x="2898" y="1859"/>
                  <a:pt x="2896" y="1856"/>
                  <a:pt x="2895" y="1853"/>
                </a:cubicBezTo>
                <a:close/>
                <a:moveTo>
                  <a:pt x="2947" y="1855"/>
                </a:moveTo>
                <a:cubicBezTo>
                  <a:pt x="2945" y="1860"/>
                  <a:pt x="2942" y="1864"/>
                  <a:pt x="2940" y="1869"/>
                </a:cubicBezTo>
                <a:cubicBezTo>
                  <a:pt x="2943" y="1869"/>
                  <a:pt x="2945" y="1869"/>
                  <a:pt x="2948" y="1869"/>
                </a:cubicBezTo>
                <a:cubicBezTo>
                  <a:pt x="2948" y="1869"/>
                  <a:pt x="2949" y="1867"/>
                  <a:pt x="2949" y="1867"/>
                </a:cubicBezTo>
                <a:cubicBezTo>
                  <a:pt x="2949" y="1864"/>
                  <a:pt x="2949" y="1862"/>
                  <a:pt x="2948" y="1859"/>
                </a:cubicBezTo>
                <a:cubicBezTo>
                  <a:pt x="2948" y="1858"/>
                  <a:pt x="2947" y="1857"/>
                  <a:pt x="2947" y="1855"/>
                </a:cubicBezTo>
                <a:close/>
                <a:moveTo>
                  <a:pt x="2895" y="1835"/>
                </a:moveTo>
                <a:cubicBezTo>
                  <a:pt x="2894" y="1835"/>
                  <a:pt x="2893" y="1836"/>
                  <a:pt x="2893" y="1836"/>
                </a:cubicBezTo>
                <a:cubicBezTo>
                  <a:pt x="2892" y="1836"/>
                  <a:pt x="2891" y="1836"/>
                  <a:pt x="2891" y="1835"/>
                </a:cubicBezTo>
                <a:cubicBezTo>
                  <a:pt x="2891" y="1835"/>
                  <a:pt x="2890" y="1834"/>
                  <a:pt x="2890" y="1833"/>
                </a:cubicBezTo>
                <a:cubicBezTo>
                  <a:pt x="2891" y="1832"/>
                  <a:pt x="2891" y="1830"/>
                  <a:pt x="2892" y="1828"/>
                </a:cubicBezTo>
                <a:cubicBezTo>
                  <a:pt x="2892" y="1828"/>
                  <a:pt x="2892" y="1828"/>
                  <a:pt x="2891" y="1828"/>
                </a:cubicBezTo>
                <a:cubicBezTo>
                  <a:pt x="2891" y="1828"/>
                  <a:pt x="2889" y="1829"/>
                  <a:pt x="2889" y="1830"/>
                </a:cubicBezTo>
                <a:cubicBezTo>
                  <a:pt x="2888" y="1832"/>
                  <a:pt x="2889" y="1837"/>
                  <a:pt x="2891" y="1837"/>
                </a:cubicBezTo>
                <a:cubicBezTo>
                  <a:pt x="2893" y="1838"/>
                  <a:pt x="2895" y="1837"/>
                  <a:pt x="2895" y="1835"/>
                </a:cubicBezTo>
                <a:close/>
                <a:moveTo>
                  <a:pt x="2894" y="1853"/>
                </a:moveTo>
                <a:cubicBezTo>
                  <a:pt x="2893" y="1854"/>
                  <a:pt x="2892" y="1855"/>
                  <a:pt x="2891" y="1856"/>
                </a:cubicBezTo>
                <a:cubicBezTo>
                  <a:pt x="2890" y="1856"/>
                  <a:pt x="2890" y="1857"/>
                  <a:pt x="2890" y="1858"/>
                </a:cubicBezTo>
                <a:cubicBezTo>
                  <a:pt x="2890" y="1861"/>
                  <a:pt x="2894" y="1865"/>
                  <a:pt x="2897" y="1865"/>
                </a:cubicBezTo>
                <a:cubicBezTo>
                  <a:pt x="2899" y="1865"/>
                  <a:pt x="2900" y="1864"/>
                  <a:pt x="2899" y="1862"/>
                </a:cubicBezTo>
                <a:cubicBezTo>
                  <a:pt x="2897" y="1859"/>
                  <a:pt x="2896" y="1856"/>
                  <a:pt x="2894" y="1853"/>
                </a:cubicBezTo>
                <a:close/>
                <a:moveTo>
                  <a:pt x="2947" y="1855"/>
                </a:moveTo>
                <a:cubicBezTo>
                  <a:pt x="2945" y="1860"/>
                  <a:pt x="2942" y="1864"/>
                  <a:pt x="2940" y="1869"/>
                </a:cubicBezTo>
                <a:cubicBezTo>
                  <a:pt x="2943" y="1869"/>
                  <a:pt x="2945" y="1869"/>
                  <a:pt x="2948" y="1869"/>
                </a:cubicBezTo>
                <a:cubicBezTo>
                  <a:pt x="2948" y="1869"/>
                  <a:pt x="2948" y="1867"/>
                  <a:pt x="2948" y="1867"/>
                </a:cubicBezTo>
                <a:cubicBezTo>
                  <a:pt x="2948" y="1864"/>
                  <a:pt x="2948" y="1862"/>
                  <a:pt x="2948" y="1859"/>
                </a:cubicBezTo>
                <a:cubicBezTo>
                  <a:pt x="2948" y="1858"/>
                  <a:pt x="2947" y="1857"/>
                  <a:pt x="2947" y="1855"/>
                </a:cubicBezTo>
                <a:close/>
                <a:moveTo>
                  <a:pt x="2894" y="1835"/>
                </a:moveTo>
                <a:cubicBezTo>
                  <a:pt x="2893" y="1835"/>
                  <a:pt x="2893" y="1836"/>
                  <a:pt x="2892" y="1836"/>
                </a:cubicBezTo>
                <a:cubicBezTo>
                  <a:pt x="2891" y="1836"/>
                  <a:pt x="2891" y="1836"/>
                  <a:pt x="2891" y="1835"/>
                </a:cubicBezTo>
                <a:cubicBezTo>
                  <a:pt x="2890" y="1835"/>
                  <a:pt x="2890" y="1834"/>
                  <a:pt x="2890" y="1833"/>
                </a:cubicBezTo>
                <a:cubicBezTo>
                  <a:pt x="2891" y="1831"/>
                  <a:pt x="2891" y="1829"/>
                  <a:pt x="2892" y="1827"/>
                </a:cubicBezTo>
                <a:cubicBezTo>
                  <a:pt x="2891" y="1827"/>
                  <a:pt x="2891" y="1827"/>
                  <a:pt x="2891" y="1827"/>
                </a:cubicBezTo>
                <a:cubicBezTo>
                  <a:pt x="2890" y="1828"/>
                  <a:pt x="2889" y="1829"/>
                  <a:pt x="2888" y="1830"/>
                </a:cubicBezTo>
                <a:cubicBezTo>
                  <a:pt x="2888" y="1831"/>
                  <a:pt x="2889" y="1837"/>
                  <a:pt x="2891" y="1837"/>
                </a:cubicBezTo>
                <a:cubicBezTo>
                  <a:pt x="2892" y="1838"/>
                  <a:pt x="2894" y="1837"/>
                  <a:pt x="2894" y="1835"/>
                </a:cubicBezTo>
                <a:close/>
                <a:moveTo>
                  <a:pt x="2947" y="1827"/>
                </a:moveTo>
                <a:cubicBezTo>
                  <a:pt x="2950" y="1823"/>
                  <a:pt x="2950" y="1823"/>
                  <a:pt x="2953" y="1822"/>
                </a:cubicBezTo>
                <a:cubicBezTo>
                  <a:pt x="2953" y="1824"/>
                  <a:pt x="2955" y="1825"/>
                  <a:pt x="2956" y="1825"/>
                </a:cubicBezTo>
                <a:cubicBezTo>
                  <a:pt x="2954" y="1826"/>
                  <a:pt x="2952" y="1828"/>
                  <a:pt x="2950" y="1829"/>
                </a:cubicBezTo>
                <a:cubicBezTo>
                  <a:pt x="2949" y="1828"/>
                  <a:pt x="2949" y="1828"/>
                  <a:pt x="2948" y="1826"/>
                </a:cubicBezTo>
                <a:cubicBezTo>
                  <a:pt x="2948" y="1826"/>
                  <a:pt x="2947" y="1826"/>
                  <a:pt x="2947" y="1827"/>
                </a:cubicBezTo>
                <a:close/>
                <a:moveTo>
                  <a:pt x="2952" y="1826"/>
                </a:moveTo>
                <a:cubicBezTo>
                  <a:pt x="2952" y="1826"/>
                  <a:pt x="2951" y="1826"/>
                  <a:pt x="2950" y="1826"/>
                </a:cubicBezTo>
                <a:cubicBezTo>
                  <a:pt x="2950" y="1826"/>
                  <a:pt x="2949" y="1826"/>
                  <a:pt x="2949" y="1827"/>
                </a:cubicBezTo>
                <a:cubicBezTo>
                  <a:pt x="2949" y="1827"/>
                  <a:pt x="2950" y="1828"/>
                  <a:pt x="2950" y="1828"/>
                </a:cubicBezTo>
                <a:cubicBezTo>
                  <a:pt x="2951" y="1828"/>
                  <a:pt x="2951" y="1827"/>
                  <a:pt x="2952" y="1826"/>
                </a:cubicBezTo>
                <a:close/>
                <a:moveTo>
                  <a:pt x="2934" y="1817"/>
                </a:moveTo>
                <a:cubicBezTo>
                  <a:pt x="2927" y="1816"/>
                  <a:pt x="2924" y="1819"/>
                  <a:pt x="2923" y="1826"/>
                </a:cubicBezTo>
                <a:cubicBezTo>
                  <a:pt x="2924" y="1824"/>
                  <a:pt x="2925" y="1822"/>
                  <a:pt x="2927" y="1820"/>
                </a:cubicBezTo>
                <a:cubicBezTo>
                  <a:pt x="2927" y="1820"/>
                  <a:pt x="2927" y="1820"/>
                  <a:pt x="2927" y="1820"/>
                </a:cubicBezTo>
                <a:cubicBezTo>
                  <a:pt x="2927" y="1821"/>
                  <a:pt x="2927" y="1822"/>
                  <a:pt x="2927" y="1822"/>
                </a:cubicBezTo>
                <a:cubicBezTo>
                  <a:pt x="2929" y="1819"/>
                  <a:pt x="2930" y="1817"/>
                  <a:pt x="2934" y="1817"/>
                </a:cubicBezTo>
                <a:close/>
                <a:moveTo>
                  <a:pt x="2977" y="1818"/>
                </a:moveTo>
                <a:cubicBezTo>
                  <a:pt x="2975" y="1819"/>
                  <a:pt x="2973" y="1821"/>
                  <a:pt x="2972" y="1822"/>
                </a:cubicBezTo>
                <a:cubicBezTo>
                  <a:pt x="2974" y="1823"/>
                  <a:pt x="2976" y="1821"/>
                  <a:pt x="2977" y="1818"/>
                </a:cubicBezTo>
                <a:close/>
                <a:moveTo>
                  <a:pt x="2944" y="1821"/>
                </a:moveTo>
                <a:cubicBezTo>
                  <a:pt x="2945" y="1819"/>
                  <a:pt x="2946" y="1818"/>
                  <a:pt x="2948" y="1817"/>
                </a:cubicBezTo>
                <a:cubicBezTo>
                  <a:pt x="2944" y="1818"/>
                  <a:pt x="2943" y="1819"/>
                  <a:pt x="2944" y="1821"/>
                </a:cubicBezTo>
                <a:close/>
                <a:moveTo>
                  <a:pt x="2954" y="1842"/>
                </a:moveTo>
                <a:cubicBezTo>
                  <a:pt x="2952" y="1842"/>
                  <a:pt x="2951" y="1843"/>
                  <a:pt x="2951" y="1844"/>
                </a:cubicBezTo>
                <a:cubicBezTo>
                  <a:pt x="2952" y="1843"/>
                  <a:pt x="2953" y="1842"/>
                  <a:pt x="2954" y="1842"/>
                </a:cubicBezTo>
                <a:close/>
                <a:moveTo>
                  <a:pt x="2952" y="1826"/>
                </a:moveTo>
                <a:cubicBezTo>
                  <a:pt x="2952" y="1826"/>
                  <a:pt x="2951" y="1825"/>
                  <a:pt x="2951" y="1825"/>
                </a:cubicBezTo>
                <a:cubicBezTo>
                  <a:pt x="2950" y="1825"/>
                  <a:pt x="2949" y="1826"/>
                  <a:pt x="2949" y="1827"/>
                </a:cubicBezTo>
                <a:cubicBezTo>
                  <a:pt x="2949" y="1827"/>
                  <a:pt x="2950" y="1828"/>
                  <a:pt x="2950" y="1828"/>
                </a:cubicBezTo>
                <a:cubicBezTo>
                  <a:pt x="2951" y="1828"/>
                  <a:pt x="2951" y="1827"/>
                  <a:pt x="2952" y="1826"/>
                </a:cubicBezTo>
                <a:close/>
                <a:moveTo>
                  <a:pt x="3477" y="1947"/>
                </a:moveTo>
                <a:cubicBezTo>
                  <a:pt x="3477" y="1949"/>
                  <a:pt x="3478" y="1950"/>
                  <a:pt x="3479" y="1951"/>
                </a:cubicBezTo>
                <a:cubicBezTo>
                  <a:pt x="3479" y="1953"/>
                  <a:pt x="3479" y="1955"/>
                  <a:pt x="3480" y="1957"/>
                </a:cubicBezTo>
                <a:cubicBezTo>
                  <a:pt x="3480" y="1958"/>
                  <a:pt x="3480" y="1960"/>
                  <a:pt x="3480" y="1961"/>
                </a:cubicBezTo>
                <a:cubicBezTo>
                  <a:pt x="3481" y="1964"/>
                  <a:pt x="3480" y="1966"/>
                  <a:pt x="3477" y="1966"/>
                </a:cubicBezTo>
                <a:cubicBezTo>
                  <a:pt x="3474" y="1966"/>
                  <a:pt x="3471" y="1966"/>
                  <a:pt x="3468" y="1966"/>
                </a:cubicBezTo>
                <a:cubicBezTo>
                  <a:pt x="3468" y="1966"/>
                  <a:pt x="3467" y="1966"/>
                  <a:pt x="3467" y="1966"/>
                </a:cubicBezTo>
                <a:cubicBezTo>
                  <a:pt x="3465" y="1968"/>
                  <a:pt x="3464" y="1969"/>
                  <a:pt x="3462" y="1970"/>
                </a:cubicBezTo>
                <a:cubicBezTo>
                  <a:pt x="3461" y="1973"/>
                  <a:pt x="3457" y="1973"/>
                  <a:pt x="3455" y="1971"/>
                </a:cubicBezTo>
                <a:cubicBezTo>
                  <a:pt x="3453" y="1969"/>
                  <a:pt x="3452" y="1966"/>
                  <a:pt x="3450" y="1964"/>
                </a:cubicBezTo>
                <a:cubicBezTo>
                  <a:pt x="3450" y="1962"/>
                  <a:pt x="3450" y="1960"/>
                  <a:pt x="3452" y="1959"/>
                </a:cubicBezTo>
                <a:cubicBezTo>
                  <a:pt x="3450" y="1959"/>
                  <a:pt x="3448" y="1959"/>
                  <a:pt x="3446" y="1959"/>
                </a:cubicBezTo>
                <a:cubicBezTo>
                  <a:pt x="3446" y="1961"/>
                  <a:pt x="3444" y="1963"/>
                  <a:pt x="3444" y="1965"/>
                </a:cubicBezTo>
                <a:cubicBezTo>
                  <a:pt x="3444" y="1966"/>
                  <a:pt x="3443" y="1966"/>
                  <a:pt x="3443" y="1967"/>
                </a:cubicBezTo>
                <a:cubicBezTo>
                  <a:pt x="3443" y="1970"/>
                  <a:pt x="3442" y="1972"/>
                  <a:pt x="3439" y="1971"/>
                </a:cubicBezTo>
                <a:cubicBezTo>
                  <a:pt x="3436" y="1971"/>
                  <a:pt x="3433" y="1970"/>
                  <a:pt x="3430" y="1969"/>
                </a:cubicBezTo>
                <a:cubicBezTo>
                  <a:pt x="3428" y="1968"/>
                  <a:pt x="3428" y="1967"/>
                  <a:pt x="3428" y="1965"/>
                </a:cubicBezTo>
                <a:cubicBezTo>
                  <a:pt x="3428" y="1964"/>
                  <a:pt x="3428" y="1963"/>
                  <a:pt x="3429" y="1963"/>
                </a:cubicBezTo>
                <a:cubicBezTo>
                  <a:pt x="3426" y="1962"/>
                  <a:pt x="3424" y="1961"/>
                  <a:pt x="3422" y="1960"/>
                </a:cubicBezTo>
                <a:cubicBezTo>
                  <a:pt x="3421" y="1959"/>
                  <a:pt x="3420" y="1957"/>
                  <a:pt x="3419" y="1955"/>
                </a:cubicBezTo>
                <a:cubicBezTo>
                  <a:pt x="3418" y="1953"/>
                  <a:pt x="3418" y="1952"/>
                  <a:pt x="3420" y="1950"/>
                </a:cubicBezTo>
                <a:cubicBezTo>
                  <a:pt x="3423" y="1948"/>
                  <a:pt x="3424" y="1945"/>
                  <a:pt x="3423" y="1941"/>
                </a:cubicBezTo>
                <a:cubicBezTo>
                  <a:pt x="3423" y="1939"/>
                  <a:pt x="3423" y="1937"/>
                  <a:pt x="3423" y="1935"/>
                </a:cubicBezTo>
                <a:cubicBezTo>
                  <a:pt x="3422" y="1934"/>
                  <a:pt x="3420" y="1934"/>
                  <a:pt x="3419" y="1933"/>
                </a:cubicBezTo>
                <a:cubicBezTo>
                  <a:pt x="3418" y="1931"/>
                  <a:pt x="3417" y="1929"/>
                  <a:pt x="3417" y="1927"/>
                </a:cubicBezTo>
                <a:cubicBezTo>
                  <a:pt x="3417" y="1924"/>
                  <a:pt x="3421" y="1922"/>
                  <a:pt x="3423" y="1921"/>
                </a:cubicBezTo>
                <a:cubicBezTo>
                  <a:pt x="3424" y="1922"/>
                  <a:pt x="3424" y="1922"/>
                  <a:pt x="3424" y="1923"/>
                </a:cubicBezTo>
                <a:cubicBezTo>
                  <a:pt x="3424" y="1924"/>
                  <a:pt x="3424" y="1925"/>
                  <a:pt x="3424" y="1926"/>
                </a:cubicBezTo>
                <a:cubicBezTo>
                  <a:pt x="3424" y="1926"/>
                  <a:pt x="3423" y="1926"/>
                  <a:pt x="3423" y="1926"/>
                </a:cubicBezTo>
                <a:cubicBezTo>
                  <a:pt x="3422" y="1927"/>
                  <a:pt x="3422" y="1928"/>
                  <a:pt x="3421" y="1930"/>
                </a:cubicBezTo>
                <a:cubicBezTo>
                  <a:pt x="3422" y="1930"/>
                  <a:pt x="3423" y="1930"/>
                  <a:pt x="3424" y="1930"/>
                </a:cubicBezTo>
                <a:cubicBezTo>
                  <a:pt x="3425" y="1928"/>
                  <a:pt x="3426" y="1928"/>
                  <a:pt x="3426" y="1926"/>
                </a:cubicBezTo>
                <a:cubicBezTo>
                  <a:pt x="3431" y="1920"/>
                  <a:pt x="3437" y="1916"/>
                  <a:pt x="3444" y="1914"/>
                </a:cubicBezTo>
                <a:cubicBezTo>
                  <a:pt x="3448" y="1914"/>
                  <a:pt x="3451" y="1913"/>
                  <a:pt x="3453" y="1910"/>
                </a:cubicBezTo>
                <a:cubicBezTo>
                  <a:pt x="3453" y="1909"/>
                  <a:pt x="3454" y="1909"/>
                  <a:pt x="3454" y="1909"/>
                </a:cubicBezTo>
                <a:cubicBezTo>
                  <a:pt x="3457" y="1909"/>
                  <a:pt x="3459" y="1906"/>
                  <a:pt x="3461" y="1904"/>
                </a:cubicBezTo>
                <a:cubicBezTo>
                  <a:pt x="3468" y="1897"/>
                  <a:pt x="3480" y="1896"/>
                  <a:pt x="3488" y="1903"/>
                </a:cubicBezTo>
                <a:cubicBezTo>
                  <a:pt x="3490" y="1905"/>
                  <a:pt x="3493" y="1907"/>
                  <a:pt x="3495" y="1909"/>
                </a:cubicBezTo>
                <a:cubicBezTo>
                  <a:pt x="3497" y="1910"/>
                  <a:pt x="3498" y="1912"/>
                  <a:pt x="3499" y="1914"/>
                </a:cubicBezTo>
                <a:cubicBezTo>
                  <a:pt x="3500" y="1915"/>
                  <a:pt x="3501" y="1915"/>
                  <a:pt x="3502" y="1914"/>
                </a:cubicBezTo>
                <a:cubicBezTo>
                  <a:pt x="3502" y="1914"/>
                  <a:pt x="3503" y="1913"/>
                  <a:pt x="3504" y="1912"/>
                </a:cubicBezTo>
                <a:cubicBezTo>
                  <a:pt x="3506" y="1909"/>
                  <a:pt x="3509" y="1909"/>
                  <a:pt x="3510" y="1913"/>
                </a:cubicBezTo>
                <a:cubicBezTo>
                  <a:pt x="3511" y="1916"/>
                  <a:pt x="3512" y="1919"/>
                  <a:pt x="3513" y="1922"/>
                </a:cubicBezTo>
                <a:cubicBezTo>
                  <a:pt x="3513" y="1926"/>
                  <a:pt x="3513" y="1930"/>
                  <a:pt x="3511" y="1935"/>
                </a:cubicBezTo>
                <a:cubicBezTo>
                  <a:pt x="3509" y="1941"/>
                  <a:pt x="3504" y="1945"/>
                  <a:pt x="3498" y="1945"/>
                </a:cubicBezTo>
                <a:cubicBezTo>
                  <a:pt x="3497" y="1945"/>
                  <a:pt x="3497" y="1945"/>
                  <a:pt x="3496" y="1945"/>
                </a:cubicBezTo>
                <a:cubicBezTo>
                  <a:pt x="3493" y="1944"/>
                  <a:pt x="3492" y="1945"/>
                  <a:pt x="3491" y="1947"/>
                </a:cubicBezTo>
                <a:cubicBezTo>
                  <a:pt x="3490" y="1951"/>
                  <a:pt x="3484" y="1953"/>
                  <a:pt x="3481" y="1950"/>
                </a:cubicBezTo>
                <a:cubicBezTo>
                  <a:pt x="3480" y="1949"/>
                  <a:pt x="3479" y="1948"/>
                  <a:pt x="3478" y="1947"/>
                </a:cubicBezTo>
                <a:cubicBezTo>
                  <a:pt x="3477" y="1947"/>
                  <a:pt x="3477" y="1947"/>
                  <a:pt x="3477" y="1947"/>
                </a:cubicBezTo>
                <a:close/>
                <a:moveTo>
                  <a:pt x="3471" y="1943"/>
                </a:moveTo>
                <a:cubicBezTo>
                  <a:pt x="3475" y="1944"/>
                  <a:pt x="3479" y="1945"/>
                  <a:pt x="3481" y="1948"/>
                </a:cubicBezTo>
                <a:cubicBezTo>
                  <a:pt x="3483" y="1950"/>
                  <a:pt x="3485" y="1951"/>
                  <a:pt x="3487" y="1950"/>
                </a:cubicBezTo>
                <a:cubicBezTo>
                  <a:pt x="3490" y="1949"/>
                  <a:pt x="3491" y="1947"/>
                  <a:pt x="3491" y="1944"/>
                </a:cubicBezTo>
                <a:cubicBezTo>
                  <a:pt x="3491" y="1944"/>
                  <a:pt x="3490" y="1944"/>
                  <a:pt x="3490" y="1945"/>
                </a:cubicBezTo>
                <a:cubicBezTo>
                  <a:pt x="3490" y="1946"/>
                  <a:pt x="3488" y="1947"/>
                  <a:pt x="3488" y="1948"/>
                </a:cubicBezTo>
                <a:cubicBezTo>
                  <a:pt x="3486" y="1949"/>
                  <a:pt x="3485" y="1949"/>
                  <a:pt x="3484" y="1949"/>
                </a:cubicBezTo>
                <a:cubicBezTo>
                  <a:pt x="3484" y="1949"/>
                  <a:pt x="3483" y="1947"/>
                  <a:pt x="3483" y="1947"/>
                </a:cubicBezTo>
                <a:cubicBezTo>
                  <a:pt x="3483" y="1944"/>
                  <a:pt x="3484" y="1942"/>
                  <a:pt x="3484" y="1940"/>
                </a:cubicBezTo>
                <a:cubicBezTo>
                  <a:pt x="3487" y="1941"/>
                  <a:pt x="3490" y="1942"/>
                  <a:pt x="3494" y="1943"/>
                </a:cubicBezTo>
                <a:cubicBezTo>
                  <a:pt x="3501" y="1944"/>
                  <a:pt x="3507" y="1942"/>
                  <a:pt x="3510" y="1934"/>
                </a:cubicBezTo>
                <a:cubicBezTo>
                  <a:pt x="3512" y="1929"/>
                  <a:pt x="3511" y="1924"/>
                  <a:pt x="3511" y="1919"/>
                </a:cubicBezTo>
                <a:cubicBezTo>
                  <a:pt x="3510" y="1917"/>
                  <a:pt x="3510" y="1915"/>
                  <a:pt x="3509" y="1913"/>
                </a:cubicBezTo>
                <a:cubicBezTo>
                  <a:pt x="3508" y="1912"/>
                  <a:pt x="3507" y="1911"/>
                  <a:pt x="3506" y="1913"/>
                </a:cubicBezTo>
                <a:cubicBezTo>
                  <a:pt x="3504" y="1915"/>
                  <a:pt x="3502" y="1916"/>
                  <a:pt x="3501" y="1917"/>
                </a:cubicBezTo>
                <a:cubicBezTo>
                  <a:pt x="3500" y="1917"/>
                  <a:pt x="3499" y="1918"/>
                  <a:pt x="3499" y="1919"/>
                </a:cubicBezTo>
                <a:cubicBezTo>
                  <a:pt x="3500" y="1922"/>
                  <a:pt x="3499" y="1926"/>
                  <a:pt x="3498" y="1929"/>
                </a:cubicBezTo>
                <a:cubicBezTo>
                  <a:pt x="3498" y="1927"/>
                  <a:pt x="3499" y="1925"/>
                  <a:pt x="3499" y="1923"/>
                </a:cubicBezTo>
                <a:cubicBezTo>
                  <a:pt x="3499" y="1922"/>
                  <a:pt x="3498" y="1922"/>
                  <a:pt x="3498" y="1922"/>
                </a:cubicBezTo>
                <a:cubicBezTo>
                  <a:pt x="3497" y="1922"/>
                  <a:pt x="3497" y="1922"/>
                  <a:pt x="3497" y="1922"/>
                </a:cubicBezTo>
                <a:cubicBezTo>
                  <a:pt x="3496" y="1924"/>
                  <a:pt x="3495" y="1925"/>
                  <a:pt x="3494" y="1926"/>
                </a:cubicBezTo>
                <a:cubicBezTo>
                  <a:pt x="3494" y="1926"/>
                  <a:pt x="3494" y="1926"/>
                  <a:pt x="3494" y="1926"/>
                </a:cubicBezTo>
                <a:cubicBezTo>
                  <a:pt x="3494" y="1925"/>
                  <a:pt x="3495" y="1923"/>
                  <a:pt x="3495" y="1921"/>
                </a:cubicBezTo>
                <a:cubicBezTo>
                  <a:pt x="3494" y="1922"/>
                  <a:pt x="3493" y="1922"/>
                  <a:pt x="3493" y="1923"/>
                </a:cubicBezTo>
                <a:cubicBezTo>
                  <a:pt x="3492" y="1923"/>
                  <a:pt x="3492" y="1924"/>
                  <a:pt x="3491" y="1925"/>
                </a:cubicBezTo>
                <a:cubicBezTo>
                  <a:pt x="3492" y="1921"/>
                  <a:pt x="3492" y="1921"/>
                  <a:pt x="3498" y="1920"/>
                </a:cubicBezTo>
                <a:cubicBezTo>
                  <a:pt x="3498" y="1920"/>
                  <a:pt x="3497" y="1919"/>
                  <a:pt x="3497" y="1919"/>
                </a:cubicBezTo>
                <a:cubicBezTo>
                  <a:pt x="3494" y="1920"/>
                  <a:pt x="3493" y="1918"/>
                  <a:pt x="3493" y="1916"/>
                </a:cubicBezTo>
                <a:cubicBezTo>
                  <a:pt x="3495" y="1915"/>
                  <a:pt x="3496" y="1915"/>
                  <a:pt x="3498" y="1915"/>
                </a:cubicBezTo>
                <a:cubicBezTo>
                  <a:pt x="3496" y="1912"/>
                  <a:pt x="3495" y="1909"/>
                  <a:pt x="3491" y="1909"/>
                </a:cubicBezTo>
                <a:cubicBezTo>
                  <a:pt x="3491" y="1909"/>
                  <a:pt x="3491" y="1909"/>
                  <a:pt x="3491" y="1908"/>
                </a:cubicBezTo>
                <a:cubicBezTo>
                  <a:pt x="3488" y="1906"/>
                  <a:pt x="3486" y="1904"/>
                  <a:pt x="3483" y="1902"/>
                </a:cubicBezTo>
                <a:cubicBezTo>
                  <a:pt x="3481" y="1901"/>
                  <a:pt x="3478" y="1900"/>
                  <a:pt x="3476" y="1900"/>
                </a:cubicBezTo>
                <a:cubicBezTo>
                  <a:pt x="3473" y="1900"/>
                  <a:pt x="3470" y="1902"/>
                  <a:pt x="3466" y="1902"/>
                </a:cubicBezTo>
                <a:cubicBezTo>
                  <a:pt x="3464" y="1903"/>
                  <a:pt x="3461" y="1905"/>
                  <a:pt x="3459" y="1908"/>
                </a:cubicBezTo>
                <a:cubicBezTo>
                  <a:pt x="3461" y="1908"/>
                  <a:pt x="3462" y="1908"/>
                  <a:pt x="3463" y="1908"/>
                </a:cubicBezTo>
                <a:cubicBezTo>
                  <a:pt x="3463" y="1909"/>
                  <a:pt x="3462" y="1909"/>
                  <a:pt x="3461" y="1909"/>
                </a:cubicBezTo>
                <a:cubicBezTo>
                  <a:pt x="3459" y="1910"/>
                  <a:pt x="3456" y="1909"/>
                  <a:pt x="3454" y="1911"/>
                </a:cubicBezTo>
                <a:cubicBezTo>
                  <a:pt x="3451" y="1915"/>
                  <a:pt x="3447" y="1919"/>
                  <a:pt x="3443" y="1923"/>
                </a:cubicBezTo>
                <a:cubicBezTo>
                  <a:pt x="3442" y="1925"/>
                  <a:pt x="3441" y="1928"/>
                  <a:pt x="3440" y="1930"/>
                </a:cubicBezTo>
                <a:cubicBezTo>
                  <a:pt x="3440" y="1930"/>
                  <a:pt x="3440" y="1931"/>
                  <a:pt x="3440" y="1932"/>
                </a:cubicBezTo>
                <a:cubicBezTo>
                  <a:pt x="3441" y="1934"/>
                  <a:pt x="3442" y="1936"/>
                  <a:pt x="3444" y="1938"/>
                </a:cubicBezTo>
                <a:cubicBezTo>
                  <a:pt x="3445" y="1936"/>
                  <a:pt x="3446" y="1934"/>
                  <a:pt x="3448" y="1933"/>
                </a:cubicBezTo>
                <a:cubicBezTo>
                  <a:pt x="3447" y="1934"/>
                  <a:pt x="3447" y="1936"/>
                  <a:pt x="3446" y="1937"/>
                </a:cubicBezTo>
                <a:cubicBezTo>
                  <a:pt x="3445" y="1938"/>
                  <a:pt x="3444" y="1940"/>
                  <a:pt x="3444" y="1941"/>
                </a:cubicBezTo>
                <a:cubicBezTo>
                  <a:pt x="3444" y="1942"/>
                  <a:pt x="3444" y="1943"/>
                  <a:pt x="3444" y="1944"/>
                </a:cubicBezTo>
                <a:cubicBezTo>
                  <a:pt x="3447" y="1947"/>
                  <a:pt x="3450" y="1947"/>
                  <a:pt x="3454" y="1945"/>
                </a:cubicBezTo>
                <a:cubicBezTo>
                  <a:pt x="3456" y="1944"/>
                  <a:pt x="3459" y="1943"/>
                  <a:pt x="3462" y="1942"/>
                </a:cubicBezTo>
                <a:cubicBezTo>
                  <a:pt x="3463" y="1941"/>
                  <a:pt x="3464" y="1941"/>
                  <a:pt x="3464" y="1939"/>
                </a:cubicBezTo>
                <a:cubicBezTo>
                  <a:pt x="3464" y="1936"/>
                  <a:pt x="3464" y="1932"/>
                  <a:pt x="3464" y="1929"/>
                </a:cubicBezTo>
                <a:cubicBezTo>
                  <a:pt x="3464" y="1926"/>
                  <a:pt x="3464" y="1923"/>
                  <a:pt x="3464" y="1920"/>
                </a:cubicBezTo>
                <a:cubicBezTo>
                  <a:pt x="3465" y="1923"/>
                  <a:pt x="3466" y="1926"/>
                  <a:pt x="3466" y="1928"/>
                </a:cubicBezTo>
                <a:cubicBezTo>
                  <a:pt x="3467" y="1933"/>
                  <a:pt x="3467" y="1937"/>
                  <a:pt x="3466" y="1941"/>
                </a:cubicBezTo>
                <a:cubicBezTo>
                  <a:pt x="3465" y="1942"/>
                  <a:pt x="3464" y="1943"/>
                  <a:pt x="3464" y="1943"/>
                </a:cubicBezTo>
                <a:cubicBezTo>
                  <a:pt x="3461" y="1943"/>
                  <a:pt x="3457" y="1945"/>
                  <a:pt x="3454" y="1947"/>
                </a:cubicBezTo>
                <a:cubicBezTo>
                  <a:pt x="3449" y="1950"/>
                  <a:pt x="3446" y="1948"/>
                  <a:pt x="3442" y="1944"/>
                </a:cubicBezTo>
                <a:cubicBezTo>
                  <a:pt x="3442" y="1944"/>
                  <a:pt x="3442" y="1943"/>
                  <a:pt x="3442" y="1942"/>
                </a:cubicBezTo>
                <a:cubicBezTo>
                  <a:pt x="3443" y="1940"/>
                  <a:pt x="3442" y="1938"/>
                  <a:pt x="3441" y="1936"/>
                </a:cubicBezTo>
                <a:cubicBezTo>
                  <a:pt x="3439" y="1934"/>
                  <a:pt x="3437" y="1932"/>
                  <a:pt x="3439" y="1929"/>
                </a:cubicBezTo>
                <a:cubicBezTo>
                  <a:pt x="3439" y="1927"/>
                  <a:pt x="3440" y="1925"/>
                  <a:pt x="3441" y="1924"/>
                </a:cubicBezTo>
                <a:cubicBezTo>
                  <a:pt x="3443" y="1921"/>
                  <a:pt x="3445" y="1919"/>
                  <a:pt x="3447" y="1916"/>
                </a:cubicBezTo>
                <a:cubicBezTo>
                  <a:pt x="3447" y="1916"/>
                  <a:pt x="3446" y="1916"/>
                  <a:pt x="3446" y="1916"/>
                </a:cubicBezTo>
                <a:cubicBezTo>
                  <a:pt x="3441" y="1917"/>
                  <a:pt x="3437" y="1919"/>
                  <a:pt x="3433" y="1922"/>
                </a:cubicBezTo>
                <a:cubicBezTo>
                  <a:pt x="3428" y="1926"/>
                  <a:pt x="3425" y="1931"/>
                  <a:pt x="3425" y="1938"/>
                </a:cubicBezTo>
                <a:cubicBezTo>
                  <a:pt x="3424" y="1945"/>
                  <a:pt x="3427" y="1951"/>
                  <a:pt x="3430" y="1957"/>
                </a:cubicBezTo>
                <a:cubicBezTo>
                  <a:pt x="3431" y="1957"/>
                  <a:pt x="3431" y="1959"/>
                  <a:pt x="3431" y="1960"/>
                </a:cubicBezTo>
                <a:cubicBezTo>
                  <a:pt x="3431" y="1962"/>
                  <a:pt x="3431" y="1963"/>
                  <a:pt x="3430" y="1964"/>
                </a:cubicBezTo>
                <a:cubicBezTo>
                  <a:pt x="3430" y="1966"/>
                  <a:pt x="3430" y="1967"/>
                  <a:pt x="3431" y="1968"/>
                </a:cubicBezTo>
                <a:cubicBezTo>
                  <a:pt x="3434" y="1968"/>
                  <a:pt x="3437" y="1969"/>
                  <a:pt x="3440" y="1969"/>
                </a:cubicBezTo>
                <a:cubicBezTo>
                  <a:pt x="3441" y="1969"/>
                  <a:pt x="3441" y="1968"/>
                  <a:pt x="3441" y="1968"/>
                </a:cubicBezTo>
                <a:cubicBezTo>
                  <a:pt x="3442" y="1967"/>
                  <a:pt x="3442" y="1965"/>
                  <a:pt x="3442" y="1964"/>
                </a:cubicBezTo>
                <a:cubicBezTo>
                  <a:pt x="3444" y="1962"/>
                  <a:pt x="3444" y="1959"/>
                  <a:pt x="3444" y="1957"/>
                </a:cubicBezTo>
                <a:cubicBezTo>
                  <a:pt x="3444" y="1956"/>
                  <a:pt x="3444" y="1956"/>
                  <a:pt x="3444" y="1955"/>
                </a:cubicBezTo>
                <a:cubicBezTo>
                  <a:pt x="3444" y="1955"/>
                  <a:pt x="3444" y="1955"/>
                  <a:pt x="3444" y="1955"/>
                </a:cubicBezTo>
                <a:cubicBezTo>
                  <a:pt x="3445" y="1957"/>
                  <a:pt x="3446" y="1957"/>
                  <a:pt x="3448" y="1957"/>
                </a:cubicBezTo>
                <a:cubicBezTo>
                  <a:pt x="3449" y="1957"/>
                  <a:pt x="3450" y="1957"/>
                  <a:pt x="3451" y="1957"/>
                </a:cubicBezTo>
                <a:cubicBezTo>
                  <a:pt x="3453" y="1957"/>
                  <a:pt x="3457" y="1958"/>
                  <a:pt x="3457" y="1954"/>
                </a:cubicBezTo>
                <a:cubicBezTo>
                  <a:pt x="3457" y="1956"/>
                  <a:pt x="3457" y="1958"/>
                  <a:pt x="3457" y="1959"/>
                </a:cubicBezTo>
                <a:cubicBezTo>
                  <a:pt x="3456" y="1959"/>
                  <a:pt x="3455" y="1960"/>
                  <a:pt x="3453" y="1960"/>
                </a:cubicBezTo>
                <a:cubicBezTo>
                  <a:pt x="3452" y="1961"/>
                  <a:pt x="3451" y="1963"/>
                  <a:pt x="3452" y="1964"/>
                </a:cubicBezTo>
                <a:cubicBezTo>
                  <a:pt x="3453" y="1966"/>
                  <a:pt x="3455" y="1968"/>
                  <a:pt x="3456" y="1970"/>
                </a:cubicBezTo>
                <a:cubicBezTo>
                  <a:pt x="3458" y="1971"/>
                  <a:pt x="3460" y="1971"/>
                  <a:pt x="3461" y="1969"/>
                </a:cubicBezTo>
                <a:cubicBezTo>
                  <a:pt x="3462" y="1968"/>
                  <a:pt x="3462" y="1968"/>
                  <a:pt x="3463" y="1967"/>
                </a:cubicBezTo>
                <a:cubicBezTo>
                  <a:pt x="3465" y="1966"/>
                  <a:pt x="3466" y="1964"/>
                  <a:pt x="3468" y="1963"/>
                </a:cubicBezTo>
                <a:cubicBezTo>
                  <a:pt x="3472" y="1959"/>
                  <a:pt x="3474" y="1953"/>
                  <a:pt x="3476" y="1947"/>
                </a:cubicBezTo>
                <a:cubicBezTo>
                  <a:pt x="3476" y="1947"/>
                  <a:pt x="3475" y="1946"/>
                  <a:pt x="3475" y="1945"/>
                </a:cubicBezTo>
                <a:cubicBezTo>
                  <a:pt x="3474" y="1944"/>
                  <a:pt x="3473" y="1943"/>
                  <a:pt x="3471" y="1943"/>
                </a:cubicBezTo>
                <a:close/>
                <a:moveTo>
                  <a:pt x="3424" y="1949"/>
                </a:moveTo>
                <a:cubicBezTo>
                  <a:pt x="3424" y="1950"/>
                  <a:pt x="3422" y="1951"/>
                  <a:pt x="3421" y="1952"/>
                </a:cubicBezTo>
                <a:cubicBezTo>
                  <a:pt x="3421" y="1952"/>
                  <a:pt x="3420" y="1953"/>
                  <a:pt x="3420" y="1954"/>
                </a:cubicBezTo>
                <a:cubicBezTo>
                  <a:pt x="3420" y="1957"/>
                  <a:pt x="3424" y="1961"/>
                  <a:pt x="3428" y="1960"/>
                </a:cubicBezTo>
                <a:cubicBezTo>
                  <a:pt x="3429" y="1960"/>
                  <a:pt x="3430" y="1959"/>
                  <a:pt x="3429" y="1958"/>
                </a:cubicBezTo>
                <a:cubicBezTo>
                  <a:pt x="3428" y="1955"/>
                  <a:pt x="3426" y="1952"/>
                  <a:pt x="3424" y="1949"/>
                </a:cubicBezTo>
                <a:close/>
                <a:moveTo>
                  <a:pt x="3477" y="1951"/>
                </a:moveTo>
                <a:cubicBezTo>
                  <a:pt x="3475" y="1956"/>
                  <a:pt x="3472" y="1960"/>
                  <a:pt x="3470" y="1964"/>
                </a:cubicBezTo>
                <a:cubicBezTo>
                  <a:pt x="3473" y="1964"/>
                  <a:pt x="3475" y="1965"/>
                  <a:pt x="3478" y="1964"/>
                </a:cubicBezTo>
                <a:cubicBezTo>
                  <a:pt x="3478" y="1964"/>
                  <a:pt x="3479" y="1963"/>
                  <a:pt x="3479" y="1963"/>
                </a:cubicBezTo>
                <a:cubicBezTo>
                  <a:pt x="3479" y="1960"/>
                  <a:pt x="3479" y="1958"/>
                  <a:pt x="3478" y="1955"/>
                </a:cubicBezTo>
                <a:cubicBezTo>
                  <a:pt x="3478" y="1954"/>
                  <a:pt x="3477" y="1953"/>
                  <a:pt x="3477" y="1951"/>
                </a:cubicBezTo>
                <a:close/>
                <a:moveTo>
                  <a:pt x="3424" y="1931"/>
                </a:moveTo>
                <a:cubicBezTo>
                  <a:pt x="3424" y="1931"/>
                  <a:pt x="3423" y="1932"/>
                  <a:pt x="3422" y="1932"/>
                </a:cubicBezTo>
                <a:cubicBezTo>
                  <a:pt x="3422" y="1932"/>
                  <a:pt x="3421" y="1932"/>
                  <a:pt x="3421" y="1931"/>
                </a:cubicBezTo>
                <a:cubicBezTo>
                  <a:pt x="3421" y="1931"/>
                  <a:pt x="3420" y="1930"/>
                  <a:pt x="3420" y="1929"/>
                </a:cubicBezTo>
                <a:cubicBezTo>
                  <a:pt x="3421" y="1927"/>
                  <a:pt x="3421" y="1925"/>
                  <a:pt x="3422" y="1923"/>
                </a:cubicBezTo>
                <a:cubicBezTo>
                  <a:pt x="3422" y="1923"/>
                  <a:pt x="3422" y="1923"/>
                  <a:pt x="3421" y="1923"/>
                </a:cubicBezTo>
                <a:cubicBezTo>
                  <a:pt x="3421" y="1924"/>
                  <a:pt x="3419" y="1925"/>
                  <a:pt x="3419" y="1926"/>
                </a:cubicBezTo>
                <a:cubicBezTo>
                  <a:pt x="3418" y="1927"/>
                  <a:pt x="3419" y="1932"/>
                  <a:pt x="3421" y="1933"/>
                </a:cubicBezTo>
                <a:cubicBezTo>
                  <a:pt x="3422" y="1934"/>
                  <a:pt x="3424" y="1933"/>
                  <a:pt x="3424" y="1931"/>
                </a:cubicBezTo>
                <a:close/>
                <a:moveTo>
                  <a:pt x="3424" y="1949"/>
                </a:moveTo>
                <a:cubicBezTo>
                  <a:pt x="3423" y="1950"/>
                  <a:pt x="3422" y="1951"/>
                  <a:pt x="3421" y="1952"/>
                </a:cubicBezTo>
                <a:cubicBezTo>
                  <a:pt x="3420" y="1952"/>
                  <a:pt x="3420" y="1953"/>
                  <a:pt x="3420" y="1954"/>
                </a:cubicBezTo>
                <a:cubicBezTo>
                  <a:pt x="3420" y="1957"/>
                  <a:pt x="3424" y="1961"/>
                  <a:pt x="3428" y="1961"/>
                </a:cubicBezTo>
                <a:cubicBezTo>
                  <a:pt x="3429" y="1961"/>
                  <a:pt x="3430" y="1960"/>
                  <a:pt x="3429" y="1958"/>
                </a:cubicBezTo>
                <a:cubicBezTo>
                  <a:pt x="3428" y="1955"/>
                  <a:pt x="3426" y="1952"/>
                  <a:pt x="3424" y="1949"/>
                </a:cubicBezTo>
                <a:close/>
                <a:moveTo>
                  <a:pt x="3477" y="1951"/>
                </a:moveTo>
                <a:cubicBezTo>
                  <a:pt x="3474" y="1956"/>
                  <a:pt x="3472" y="1960"/>
                  <a:pt x="3470" y="1965"/>
                </a:cubicBezTo>
                <a:cubicBezTo>
                  <a:pt x="3473" y="1965"/>
                  <a:pt x="3475" y="1965"/>
                  <a:pt x="3478" y="1965"/>
                </a:cubicBezTo>
                <a:cubicBezTo>
                  <a:pt x="3478" y="1965"/>
                  <a:pt x="3478" y="1963"/>
                  <a:pt x="3478" y="1963"/>
                </a:cubicBezTo>
                <a:cubicBezTo>
                  <a:pt x="3478" y="1960"/>
                  <a:pt x="3478" y="1958"/>
                  <a:pt x="3478" y="1955"/>
                </a:cubicBezTo>
                <a:cubicBezTo>
                  <a:pt x="3478" y="1954"/>
                  <a:pt x="3477" y="1953"/>
                  <a:pt x="3477" y="1951"/>
                </a:cubicBezTo>
                <a:close/>
                <a:moveTo>
                  <a:pt x="3424" y="1931"/>
                </a:moveTo>
                <a:cubicBezTo>
                  <a:pt x="3423" y="1931"/>
                  <a:pt x="3423" y="1932"/>
                  <a:pt x="3422" y="1932"/>
                </a:cubicBezTo>
                <a:cubicBezTo>
                  <a:pt x="3421" y="1932"/>
                  <a:pt x="3421" y="1932"/>
                  <a:pt x="3421" y="1931"/>
                </a:cubicBezTo>
                <a:cubicBezTo>
                  <a:pt x="3420" y="1931"/>
                  <a:pt x="3420" y="1930"/>
                  <a:pt x="3420" y="1929"/>
                </a:cubicBezTo>
                <a:cubicBezTo>
                  <a:pt x="3421" y="1927"/>
                  <a:pt x="3421" y="1925"/>
                  <a:pt x="3422" y="1923"/>
                </a:cubicBezTo>
                <a:cubicBezTo>
                  <a:pt x="3421" y="1923"/>
                  <a:pt x="3421" y="1923"/>
                  <a:pt x="3421" y="1923"/>
                </a:cubicBezTo>
                <a:cubicBezTo>
                  <a:pt x="3420" y="1924"/>
                  <a:pt x="3419" y="1925"/>
                  <a:pt x="3418" y="1926"/>
                </a:cubicBezTo>
                <a:cubicBezTo>
                  <a:pt x="3417" y="1927"/>
                  <a:pt x="3419" y="1933"/>
                  <a:pt x="3421" y="1933"/>
                </a:cubicBezTo>
                <a:cubicBezTo>
                  <a:pt x="3422" y="1934"/>
                  <a:pt x="3424" y="1933"/>
                  <a:pt x="3424" y="1931"/>
                </a:cubicBezTo>
                <a:close/>
                <a:moveTo>
                  <a:pt x="3476" y="1923"/>
                </a:moveTo>
                <a:cubicBezTo>
                  <a:pt x="3480" y="1919"/>
                  <a:pt x="3480" y="1919"/>
                  <a:pt x="3483" y="1918"/>
                </a:cubicBezTo>
                <a:cubicBezTo>
                  <a:pt x="3483" y="1920"/>
                  <a:pt x="3485" y="1921"/>
                  <a:pt x="3486" y="1921"/>
                </a:cubicBezTo>
                <a:cubicBezTo>
                  <a:pt x="3484" y="1922"/>
                  <a:pt x="3482" y="1924"/>
                  <a:pt x="3480" y="1925"/>
                </a:cubicBezTo>
                <a:cubicBezTo>
                  <a:pt x="3479" y="1924"/>
                  <a:pt x="3479" y="1924"/>
                  <a:pt x="3478" y="1922"/>
                </a:cubicBezTo>
                <a:cubicBezTo>
                  <a:pt x="3478" y="1922"/>
                  <a:pt x="3477" y="1922"/>
                  <a:pt x="3476" y="1923"/>
                </a:cubicBezTo>
                <a:close/>
                <a:moveTo>
                  <a:pt x="3482" y="1922"/>
                </a:moveTo>
                <a:cubicBezTo>
                  <a:pt x="3481" y="1922"/>
                  <a:pt x="3481" y="1922"/>
                  <a:pt x="3480" y="1922"/>
                </a:cubicBezTo>
                <a:cubicBezTo>
                  <a:pt x="3480" y="1922"/>
                  <a:pt x="3479" y="1922"/>
                  <a:pt x="3479" y="1923"/>
                </a:cubicBezTo>
                <a:cubicBezTo>
                  <a:pt x="3479" y="1923"/>
                  <a:pt x="3480" y="1924"/>
                  <a:pt x="3480" y="1924"/>
                </a:cubicBezTo>
                <a:cubicBezTo>
                  <a:pt x="3481" y="1924"/>
                  <a:pt x="3481" y="1923"/>
                  <a:pt x="3482" y="1922"/>
                </a:cubicBezTo>
                <a:close/>
                <a:moveTo>
                  <a:pt x="3464" y="1913"/>
                </a:moveTo>
                <a:cubicBezTo>
                  <a:pt x="3457" y="1912"/>
                  <a:pt x="3454" y="1915"/>
                  <a:pt x="3453" y="1922"/>
                </a:cubicBezTo>
                <a:cubicBezTo>
                  <a:pt x="3454" y="1920"/>
                  <a:pt x="3455" y="1918"/>
                  <a:pt x="3456" y="1916"/>
                </a:cubicBezTo>
                <a:cubicBezTo>
                  <a:pt x="3457" y="1916"/>
                  <a:pt x="3457" y="1916"/>
                  <a:pt x="3457" y="1916"/>
                </a:cubicBezTo>
                <a:cubicBezTo>
                  <a:pt x="3457" y="1917"/>
                  <a:pt x="3457" y="1918"/>
                  <a:pt x="3457" y="1918"/>
                </a:cubicBezTo>
                <a:cubicBezTo>
                  <a:pt x="3458" y="1915"/>
                  <a:pt x="3460" y="1913"/>
                  <a:pt x="3464" y="1913"/>
                </a:cubicBezTo>
                <a:close/>
                <a:moveTo>
                  <a:pt x="3507" y="1914"/>
                </a:moveTo>
                <a:cubicBezTo>
                  <a:pt x="3505" y="1915"/>
                  <a:pt x="3503" y="1917"/>
                  <a:pt x="3501" y="1918"/>
                </a:cubicBezTo>
                <a:cubicBezTo>
                  <a:pt x="3504" y="1919"/>
                  <a:pt x="3506" y="1917"/>
                  <a:pt x="3507" y="1914"/>
                </a:cubicBezTo>
                <a:close/>
                <a:moveTo>
                  <a:pt x="3474" y="1917"/>
                </a:moveTo>
                <a:cubicBezTo>
                  <a:pt x="3475" y="1915"/>
                  <a:pt x="3476" y="1914"/>
                  <a:pt x="3477" y="1913"/>
                </a:cubicBezTo>
                <a:cubicBezTo>
                  <a:pt x="3474" y="1914"/>
                  <a:pt x="3473" y="1915"/>
                  <a:pt x="3474" y="1917"/>
                </a:cubicBezTo>
                <a:close/>
                <a:moveTo>
                  <a:pt x="3484" y="1938"/>
                </a:moveTo>
                <a:cubicBezTo>
                  <a:pt x="3482" y="1938"/>
                  <a:pt x="3481" y="1939"/>
                  <a:pt x="3481" y="1940"/>
                </a:cubicBezTo>
                <a:cubicBezTo>
                  <a:pt x="3482" y="1939"/>
                  <a:pt x="3483" y="1938"/>
                  <a:pt x="3484" y="1938"/>
                </a:cubicBezTo>
                <a:close/>
                <a:moveTo>
                  <a:pt x="3482" y="1922"/>
                </a:moveTo>
                <a:cubicBezTo>
                  <a:pt x="3482" y="1922"/>
                  <a:pt x="3481" y="1921"/>
                  <a:pt x="3480" y="1921"/>
                </a:cubicBezTo>
                <a:cubicBezTo>
                  <a:pt x="3480" y="1921"/>
                  <a:pt x="3479" y="1922"/>
                  <a:pt x="3479" y="1923"/>
                </a:cubicBezTo>
                <a:cubicBezTo>
                  <a:pt x="3479" y="1923"/>
                  <a:pt x="3480" y="1923"/>
                  <a:pt x="3480" y="1924"/>
                </a:cubicBezTo>
                <a:cubicBezTo>
                  <a:pt x="3481" y="1923"/>
                  <a:pt x="3481" y="1923"/>
                  <a:pt x="3482" y="1922"/>
                </a:cubicBezTo>
                <a:close/>
                <a:moveTo>
                  <a:pt x="3031" y="1804"/>
                </a:moveTo>
                <a:cubicBezTo>
                  <a:pt x="3031" y="1804"/>
                  <a:pt x="3031" y="1804"/>
                  <a:pt x="3031" y="1804"/>
                </a:cubicBezTo>
                <a:cubicBezTo>
                  <a:pt x="3025" y="1804"/>
                  <a:pt x="3025" y="1804"/>
                  <a:pt x="3025" y="1804"/>
                </a:cubicBezTo>
                <a:cubicBezTo>
                  <a:pt x="3023" y="1806"/>
                  <a:pt x="3022" y="1807"/>
                  <a:pt x="3019" y="1808"/>
                </a:cubicBezTo>
                <a:cubicBezTo>
                  <a:pt x="3018" y="1809"/>
                  <a:pt x="3016" y="1810"/>
                  <a:pt x="3014" y="1811"/>
                </a:cubicBezTo>
                <a:cubicBezTo>
                  <a:pt x="3013" y="1812"/>
                  <a:pt x="3011" y="1813"/>
                  <a:pt x="3009" y="1814"/>
                </a:cubicBezTo>
                <a:cubicBezTo>
                  <a:pt x="3007" y="1814"/>
                  <a:pt x="3005" y="1815"/>
                  <a:pt x="3003" y="1815"/>
                </a:cubicBezTo>
                <a:cubicBezTo>
                  <a:pt x="3003" y="1815"/>
                  <a:pt x="3003" y="1815"/>
                  <a:pt x="3003" y="1825"/>
                </a:cubicBezTo>
                <a:cubicBezTo>
                  <a:pt x="3006" y="1824"/>
                  <a:pt x="3009" y="1824"/>
                  <a:pt x="3011" y="1822"/>
                </a:cubicBezTo>
                <a:cubicBezTo>
                  <a:pt x="3014" y="1822"/>
                  <a:pt x="3017" y="1820"/>
                  <a:pt x="3019" y="1819"/>
                </a:cubicBezTo>
                <a:cubicBezTo>
                  <a:pt x="3019" y="1819"/>
                  <a:pt x="3019" y="1819"/>
                  <a:pt x="3019" y="1877"/>
                </a:cubicBezTo>
                <a:cubicBezTo>
                  <a:pt x="3019" y="1877"/>
                  <a:pt x="3019" y="1877"/>
                  <a:pt x="3031" y="1877"/>
                </a:cubicBezTo>
                <a:cubicBezTo>
                  <a:pt x="3031" y="1877"/>
                  <a:pt x="3031" y="1877"/>
                  <a:pt x="3031" y="1804"/>
                </a:cubicBezTo>
                <a:close/>
                <a:moveTo>
                  <a:pt x="3077" y="1804"/>
                </a:moveTo>
                <a:cubicBezTo>
                  <a:pt x="3077" y="1804"/>
                  <a:pt x="3077" y="1804"/>
                  <a:pt x="3077" y="1804"/>
                </a:cubicBezTo>
                <a:cubicBezTo>
                  <a:pt x="3072" y="1804"/>
                  <a:pt x="3072" y="1804"/>
                  <a:pt x="3072" y="1804"/>
                </a:cubicBezTo>
                <a:cubicBezTo>
                  <a:pt x="3071" y="1806"/>
                  <a:pt x="3068" y="1807"/>
                  <a:pt x="3067" y="1808"/>
                </a:cubicBezTo>
                <a:cubicBezTo>
                  <a:pt x="3065" y="1809"/>
                  <a:pt x="3063" y="1810"/>
                  <a:pt x="3061" y="1811"/>
                </a:cubicBezTo>
                <a:cubicBezTo>
                  <a:pt x="3060" y="1812"/>
                  <a:pt x="3058" y="1813"/>
                  <a:pt x="3056" y="1814"/>
                </a:cubicBezTo>
                <a:cubicBezTo>
                  <a:pt x="3054" y="1814"/>
                  <a:pt x="3052" y="1815"/>
                  <a:pt x="3050" y="1815"/>
                </a:cubicBezTo>
                <a:cubicBezTo>
                  <a:pt x="3050" y="1815"/>
                  <a:pt x="3050" y="1815"/>
                  <a:pt x="3050" y="1825"/>
                </a:cubicBezTo>
                <a:cubicBezTo>
                  <a:pt x="3053" y="1824"/>
                  <a:pt x="3056" y="1824"/>
                  <a:pt x="3059" y="1822"/>
                </a:cubicBezTo>
                <a:cubicBezTo>
                  <a:pt x="3061" y="1822"/>
                  <a:pt x="3063" y="1820"/>
                  <a:pt x="3066" y="1819"/>
                </a:cubicBezTo>
                <a:cubicBezTo>
                  <a:pt x="3066" y="1819"/>
                  <a:pt x="3066" y="1819"/>
                  <a:pt x="3066" y="1877"/>
                </a:cubicBezTo>
                <a:cubicBezTo>
                  <a:pt x="3066" y="1877"/>
                  <a:pt x="3066" y="1877"/>
                  <a:pt x="3077" y="1877"/>
                </a:cubicBezTo>
                <a:cubicBezTo>
                  <a:pt x="3077" y="1877"/>
                  <a:pt x="3077" y="1877"/>
                  <a:pt x="3077" y="1804"/>
                </a:cubicBezTo>
                <a:close/>
                <a:moveTo>
                  <a:pt x="3123" y="1804"/>
                </a:moveTo>
                <a:cubicBezTo>
                  <a:pt x="3123" y="1804"/>
                  <a:pt x="3123" y="1804"/>
                  <a:pt x="3123" y="1804"/>
                </a:cubicBezTo>
                <a:cubicBezTo>
                  <a:pt x="3119" y="1804"/>
                  <a:pt x="3119" y="1804"/>
                  <a:pt x="3119" y="1804"/>
                </a:cubicBezTo>
                <a:cubicBezTo>
                  <a:pt x="3117" y="1806"/>
                  <a:pt x="3115" y="1807"/>
                  <a:pt x="3113" y="1808"/>
                </a:cubicBezTo>
                <a:cubicBezTo>
                  <a:pt x="3112" y="1809"/>
                  <a:pt x="3110" y="1810"/>
                  <a:pt x="3108" y="1811"/>
                </a:cubicBezTo>
                <a:cubicBezTo>
                  <a:pt x="3106" y="1811"/>
                  <a:pt x="3104" y="1812"/>
                  <a:pt x="3102" y="1813"/>
                </a:cubicBezTo>
                <a:cubicBezTo>
                  <a:pt x="3101" y="1814"/>
                  <a:pt x="3099" y="1814"/>
                  <a:pt x="3097" y="1815"/>
                </a:cubicBezTo>
                <a:cubicBezTo>
                  <a:pt x="3097" y="1815"/>
                  <a:pt x="3097" y="1815"/>
                  <a:pt x="3097" y="1825"/>
                </a:cubicBezTo>
                <a:cubicBezTo>
                  <a:pt x="3100" y="1824"/>
                  <a:pt x="3103" y="1823"/>
                  <a:pt x="3105" y="1822"/>
                </a:cubicBezTo>
                <a:cubicBezTo>
                  <a:pt x="3107" y="1822"/>
                  <a:pt x="3110" y="1820"/>
                  <a:pt x="3112" y="1819"/>
                </a:cubicBezTo>
                <a:cubicBezTo>
                  <a:pt x="3112" y="1819"/>
                  <a:pt x="3112" y="1819"/>
                  <a:pt x="3112" y="1877"/>
                </a:cubicBezTo>
                <a:cubicBezTo>
                  <a:pt x="3112" y="1877"/>
                  <a:pt x="3112" y="1877"/>
                  <a:pt x="3123" y="1877"/>
                </a:cubicBezTo>
                <a:cubicBezTo>
                  <a:pt x="3123" y="1877"/>
                  <a:pt x="3123" y="1877"/>
                  <a:pt x="3123" y="1804"/>
                </a:cubicBezTo>
                <a:close/>
                <a:moveTo>
                  <a:pt x="3260" y="1836"/>
                </a:moveTo>
                <a:cubicBezTo>
                  <a:pt x="3260" y="1836"/>
                  <a:pt x="3260" y="1836"/>
                  <a:pt x="3260" y="1836"/>
                </a:cubicBezTo>
                <a:cubicBezTo>
                  <a:pt x="3260" y="1844"/>
                  <a:pt x="3260" y="1844"/>
                  <a:pt x="3260" y="1844"/>
                </a:cubicBezTo>
                <a:cubicBezTo>
                  <a:pt x="3266" y="1845"/>
                  <a:pt x="3267" y="1848"/>
                  <a:pt x="3267" y="1850"/>
                </a:cubicBezTo>
                <a:cubicBezTo>
                  <a:pt x="3267" y="1853"/>
                  <a:pt x="3266" y="1855"/>
                  <a:pt x="3266" y="1857"/>
                </a:cubicBezTo>
                <a:cubicBezTo>
                  <a:pt x="3266" y="1860"/>
                  <a:pt x="3265" y="1862"/>
                  <a:pt x="3265" y="1865"/>
                </a:cubicBezTo>
                <a:cubicBezTo>
                  <a:pt x="3265" y="1874"/>
                  <a:pt x="3271" y="1877"/>
                  <a:pt x="3280" y="1877"/>
                </a:cubicBezTo>
                <a:cubicBezTo>
                  <a:pt x="3280" y="1877"/>
                  <a:pt x="3280" y="1877"/>
                  <a:pt x="3284" y="1877"/>
                </a:cubicBezTo>
                <a:cubicBezTo>
                  <a:pt x="3284" y="1877"/>
                  <a:pt x="3284" y="1877"/>
                  <a:pt x="3284" y="1868"/>
                </a:cubicBezTo>
                <a:cubicBezTo>
                  <a:pt x="3284" y="1868"/>
                  <a:pt x="3284" y="1868"/>
                  <a:pt x="3282" y="1868"/>
                </a:cubicBezTo>
                <a:cubicBezTo>
                  <a:pt x="3278" y="1868"/>
                  <a:pt x="3277" y="1866"/>
                  <a:pt x="3277" y="1862"/>
                </a:cubicBezTo>
                <a:cubicBezTo>
                  <a:pt x="3277" y="1861"/>
                  <a:pt x="3277" y="1859"/>
                  <a:pt x="3278" y="1857"/>
                </a:cubicBezTo>
                <a:cubicBezTo>
                  <a:pt x="3278" y="1856"/>
                  <a:pt x="3278" y="1854"/>
                  <a:pt x="3278" y="1852"/>
                </a:cubicBezTo>
                <a:cubicBezTo>
                  <a:pt x="3278" y="1844"/>
                  <a:pt x="3275" y="1842"/>
                  <a:pt x="3270" y="1840"/>
                </a:cubicBezTo>
                <a:cubicBezTo>
                  <a:pt x="3270" y="1840"/>
                  <a:pt x="3270" y="1840"/>
                  <a:pt x="3270" y="1840"/>
                </a:cubicBezTo>
                <a:cubicBezTo>
                  <a:pt x="3275" y="1839"/>
                  <a:pt x="3278" y="1837"/>
                  <a:pt x="3278" y="1829"/>
                </a:cubicBezTo>
                <a:cubicBezTo>
                  <a:pt x="3278" y="1827"/>
                  <a:pt x="3278" y="1825"/>
                  <a:pt x="3278" y="1823"/>
                </a:cubicBezTo>
                <a:cubicBezTo>
                  <a:pt x="3277" y="1821"/>
                  <a:pt x="3277" y="1820"/>
                  <a:pt x="3277" y="1818"/>
                </a:cubicBezTo>
                <a:cubicBezTo>
                  <a:pt x="3277" y="1815"/>
                  <a:pt x="3278" y="1813"/>
                  <a:pt x="3282" y="1813"/>
                </a:cubicBezTo>
                <a:cubicBezTo>
                  <a:pt x="3282" y="1813"/>
                  <a:pt x="3282" y="1813"/>
                  <a:pt x="3284" y="1813"/>
                </a:cubicBezTo>
                <a:cubicBezTo>
                  <a:pt x="3284" y="1813"/>
                  <a:pt x="3284" y="1813"/>
                  <a:pt x="3284" y="1803"/>
                </a:cubicBezTo>
                <a:cubicBezTo>
                  <a:pt x="3284" y="1803"/>
                  <a:pt x="3284" y="1803"/>
                  <a:pt x="3280" y="1803"/>
                </a:cubicBezTo>
                <a:cubicBezTo>
                  <a:pt x="3271" y="1803"/>
                  <a:pt x="3265" y="1807"/>
                  <a:pt x="3265" y="1816"/>
                </a:cubicBezTo>
                <a:cubicBezTo>
                  <a:pt x="3265" y="1818"/>
                  <a:pt x="3266" y="1821"/>
                  <a:pt x="3266" y="1823"/>
                </a:cubicBezTo>
                <a:cubicBezTo>
                  <a:pt x="3266" y="1826"/>
                  <a:pt x="3267" y="1828"/>
                  <a:pt x="3267" y="1830"/>
                </a:cubicBezTo>
                <a:cubicBezTo>
                  <a:pt x="3267" y="1833"/>
                  <a:pt x="3266" y="1836"/>
                  <a:pt x="3260" y="1836"/>
                </a:cubicBezTo>
                <a:close/>
                <a:moveTo>
                  <a:pt x="3315" y="1844"/>
                </a:moveTo>
                <a:cubicBezTo>
                  <a:pt x="3315" y="1844"/>
                  <a:pt x="3315" y="1844"/>
                  <a:pt x="3315" y="1844"/>
                </a:cubicBezTo>
                <a:cubicBezTo>
                  <a:pt x="3315" y="1836"/>
                  <a:pt x="3315" y="1836"/>
                  <a:pt x="3315" y="1836"/>
                </a:cubicBezTo>
                <a:cubicBezTo>
                  <a:pt x="3308" y="1836"/>
                  <a:pt x="3308" y="1833"/>
                  <a:pt x="3308" y="1830"/>
                </a:cubicBezTo>
                <a:cubicBezTo>
                  <a:pt x="3308" y="1828"/>
                  <a:pt x="3308" y="1826"/>
                  <a:pt x="3308" y="1823"/>
                </a:cubicBezTo>
                <a:cubicBezTo>
                  <a:pt x="3309" y="1821"/>
                  <a:pt x="3309" y="1818"/>
                  <a:pt x="3309" y="1816"/>
                </a:cubicBezTo>
                <a:cubicBezTo>
                  <a:pt x="3309" y="1807"/>
                  <a:pt x="3303" y="1803"/>
                  <a:pt x="3294" y="1803"/>
                </a:cubicBezTo>
                <a:cubicBezTo>
                  <a:pt x="3294" y="1803"/>
                  <a:pt x="3294" y="1803"/>
                  <a:pt x="3290" y="1803"/>
                </a:cubicBezTo>
                <a:cubicBezTo>
                  <a:pt x="3290" y="1803"/>
                  <a:pt x="3290" y="1803"/>
                  <a:pt x="3290" y="1813"/>
                </a:cubicBezTo>
                <a:cubicBezTo>
                  <a:pt x="3290" y="1813"/>
                  <a:pt x="3290" y="1813"/>
                  <a:pt x="3292" y="1813"/>
                </a:cubicBezTo>
                <a:cubicBezTo>
                  <a:pt x="3296" y="1813"/>
                  <a:pt x="3297" y="1815"/>
                  <a:pt x="3297" y="1818"/>
                </a:cubicBezTo>
                <a:cubicBezTo>
                  <a:pt x="3297" y="1820"/>
                  <a:pt x="3297" y="1821"/>
                  <a:pt x="3297" y="1823"/>
                </a:cubicBezTo>
                <a:cubicBezTo>
                  <a:pt x="3296" y="1825"/>
                  <a:pt x="3296" y="1827"/>
                  <a:pt x="3296" y="1829"/>
                </a:cubicBezTo>
                <a:cubicBezTo>
                  <a:pt x="3296" y="1837"/>
                  <a:pt x="3299" y="1839"/>
                  <a:pt x="3305" y="1840"/>
                </a:cubicBezTo>
                <a:cubicBezTo>
                  <a:pt x="3305" y="1840"/>
                  <a:pt x="3305" y="1840"/>
                  <a:pt x="3305" y="1840"/>
                </a:cubicBezTo>
                <a:cubicBezTo>
                  <a:pt x="3299" y="1842"/>
                  <a:pt x="3296" y="1844"/>
                  <a:pt x="3296" y="1852"/>
                </a:cubicBezTo>
                <a:cubicBezTo>
                  <a:pt x="3296" y="1854"/>
                  <a:pt x="3296" y="1856"/>
                  <a:pt x="3297" y="1857"/>
                </a:cubicBezTo>
                <a:cubicBezTo>
                  <a:pt x="3297" y="1859"/>
                  <a:pt x="3297" y="1861"/>
                  <a:pt x="3297" y="1862"/>
                </a:cubicBezTo>
                <a:cubicBezTo>
                  <a:pt x="3297" y="1866"/>
                  <a:pt x="3296" y="1868"/>
                  <a:pt x="3292" y="1868"/>
                </a:cubicBezTo>
                <a:cubicBezTo>
                  <a:pt x="3292" y="1868"/>
                  <a:pt x="3292" y="1868"/>
                  <a:pt x="3290" y="1868"/>
                </a:cubicBezTo>
                <a:cubicBezTo>
                  <a:pt x="3290" y="1868"/>
                  <a:pt x="3290" y="1868"/>
                  <a:pt x="3290" y="1877"/>
                </a:cubicBezTo>
                <a:cubicBezTo>
                  <a:pt x="3290" y="1877"/>
                  <a:pt x="3290" y="1877"/>
                  <a:pt x="3294" y="1877"/>
                </a:cubicBezTo>
                <a:cubicBezTo>
                  <a:pt x="3303" y="1877"/>
                  <a:pt x="3309" y="1874"/>
                  <a:pt x="3309" y="1865"/>
                </a:cubicBezTo>
                <a:cubicBezTo>
                  <a:pt x="3309" y="1862"/>
                  <a:pt x="3309" y="1860"/>
                  <a:pt x="3308" y="1857"/>
                </a:cubicBezTo>
                <a:cubicBezTo>
                  <a:pt x="3308" y="1855"/>
                  <a:pt x="3308" y="1853"/>
                  <a:pt x="3308" y="1850"/>
                </a:cubicBezTo>
                <a:cubicBezTo>
                  <a:pt x="3308" y="1848"/>
                  <a:pt x="3308" y="1845"/>
                  <a:pt x="3315" y="1844"/>
                </a:cubicBezTo>
                <a:close/>
                <a:moveTo>
                  <a:pt x="3361" y="1804"/>
                </a:moveTo>
                <a:cubicBezTo>
                  <a:pt x="3361" y="1804"/>
                  <a:pt x="3361" y="1804"/>
                  <a:pt x="3361" y="1804"/>
                </a:cubicBezTo>
                <a:cubicBezTo>
                  <a:pt x="3356" y="1804"/>
                  <a:pt x="3356" y="1804"/>
                  <a:pt x="3356" y="1804"/>
                </a:cubicBezTo>
                <a:cubicBezTo>
                  <a:pt x="3354" y="1806"/>
                  <a:pt x="3353" y="1807"/>
                  <a:pt x="3350" y="1808"/>
                </a:cubicBezTo>
                <a:cubicBezTo>
                  <a:pt x="3349" y="1809"/>
                  <a:pt x="3347" y="1810"/>
                  <a:pt x="3345" y="1811"/>
                </a:cubicBezTo>
                <a:cubicBezTo>
                  <a:pt x="3343" y="1811"/>
                  <a:pt x="3342" y="1812"/>
                  <a:pt x="3340" y="1813"/>
                </a:cubicBezTo>
                <a:cubicBezTo>
                  <a:pt x="3338" y="1814"/>
                  <a:pt x="3337" y="1814"/>
                  <a:pt x="3334" y="1815"/>
                </a:cubicBezTo>
                <a:cubicBezTo>
                  <a:pt x="3334" y="1815"/>
                  <a:pt x="3334" y="1815"/>
                  <a:pt x="3334" y="1825"/>
                </a:cubicBezTo>
                <a:cubicBezTo>
                  <a:pt x="3337" y="1824"/>
                  <a:pt x="3340" y="1823"/>
                  <a:pt x="3342" y="1822"/>
                </a:cubicBezTo>
                <a:cubicBezTo>
                  <a:pt x="3345" y="1822"/>
                  <a:pt x="3347" y="1820"/>
                  <a:pt x="3350" y="1819"/>
                </a:cubicBezTo>
                <a:cubicBezTo>
                  <a:pt x="3350" y="1819"/>
                  <a:pt x="3350" y="1819"/>
                  <a:pt x="3350" y="1877"/>
                </a:cubicBezTo>
                <a:cubicBezTo>
                  <a:pt x="3350" y="1877"/>
                  <a:pt x="3350" y="1877"/>
                  <a:pt x="3361" y="1877"/>
                </a:cubicBezTo>
                <a:cubicBezTo>
                  <a:pt x="3361" y="1877"/>
                  <a:pt x="3361" y="1877"/>
                  <a:pt x="3361" y="1804"/>
                </a:cubicBezTo>
                <a:close/>
                <a:moveTo>
                  <a:pt x="3408" y="1804"/>
                </a:moveTo>
                <a:cubicBezTo>
                  <a:pt x="3408" y="1804"/>
                  <a:pt x="3408" y="1804"/>
                  <a:pt x="3408" y="1804"/>
                </a:cubicBezTo>
                <a:cubicBezTo>
                  <a:pt x="3403" y="1804"/>
                  <a:pt x="3403" y="1804"/>
                  <a:pt x="3403" y="1804"/>
                </a:cubicBezTo>
                <a:cubicBezTo>
                  <a:pt x="3401" y="1806"/>
                  <a:pt x="3399" y="1807"/>
                  <a:pt x="3397" y="1808"/>
                </a:cubicBezTo>
                <a:cubicBezTo>
                  <a:pt x="3396" y="1809"/>
                  <a:pt x="3394" y="1810"/>
                  <a:pt x="3392" y="1811"/>
                </a:cubicBezTo>
                <a:cubicBezTo>
                  <a:pt x="3391" y="1812"/>
                  <a:pt x="3389" y="1813"/>
                  <a:pt x="3387" y="1814"/>
                </a:cubicBezTo>
                <a:cubicBezTo>
                  <a:pt x="3385" y="1814"/>
                  <a:pt x="3384" y="1815"/>
                  <a:pt x="3381" y="1815"/>
                </a:cubicBezTo>
                <a:cubicBezTo>
                  <a:pt x="3381" y="1815"/>
                  <a:pt x="3381" y="1815"/>
                  <a:pt x="3381" y="1825"/>
                </a:cubicBezTo>
                <a:cubicBezTo>
                  <a:pt x="3384" y="1824"/>
                  <a:pt x="3387" y="1824"/>
                  <a:pt x="3389" y="1822"/>
                </a:cubicBezTo>
                <a:cubicBezTo>
                  <a:pt x="3392" y="1822"/>
                  <a:pt x="3394" y="1820"/>
                  <a:pt x="3396" y="1819"/>
                </a:cubicBezTo>
                <a:cubicBezTo>
                  <a:pt x="3396" y="1819"/>
                  <a:pt x="3396" y="1819"/>
                  <a:pt x="3396" y="1877"/>
                </a:cubicBezTo>
                <a:cubicBezTo>
                  <a:pt x="3396" y="1877"/>
                  <a:pt x="3396" y="1877"/>
                  <a:pt x="3408" y="1877"/>
                </a:cubicBezTo>
                <a:cubicBezTo>
                  <a:pt x="3408" y="1877"/>
                  <a:pt x="3408" y="1877"/>
                  <a:pt x="3408" y="1804"/>
                </a:cubicBezTo>
                <a:close/>
                <a:moveTo>
                  <a:pt x="3454" y="1804"/>
                </a:moveTo>
                <a:cubicBezTo>
                  <a:pt x="3454" y="1804"/>
                  <a:pt x="3454" y="1804"/>
                  <a:pt x="3454" y="1804"/>
                </a:cubicBezTo>
                <a:cubicBezTo>
                  <a:pt x="3450" y="1804"/>
                  <a:pt x="3450" y="1804"/>
                  <a:pt x="3450" y="1804"/>
                </a:cubicBezTo>
                <a:cubicBezTo>
                  <a:pt x="3447" y="1806"/>
                  <a:pt x="3446" y="1807"/>
                  <a:pt x="3444" y="1808"/>
                </a:cubicBezTo>
                <a:cubicBezTo>
                  <a:pt x="3442" y="1809"/>
                  <a:pt x="3440" y="1810"/>
                  <a:pt x="3439" y="1811"/>
                </a:cubicBezTo>
                <a:cubicBezTo>
                  <a:pt x="3436" y="1812"/>
                  <a:pt x="3435" y="1813"/>
                  <a:pt x="3433" y="1814"/>
                </a:cubicBezTo>
                <a:cubicBezTo>
                  <a:pt x="3431" y="1814"/>
                  <a:pt x="3429" y="1815"/>
                  <a:pt x="3428" y="1815"/>
                </a:cubicBezTo>
                <a:cubicBezTo>
                  <a:pt x="3428" y="1815"/>
                  <a:pt x="3428" y="1815"/>
                  <a:pt x="3428" y="1825"/>
                </a:cubicBezTo>
                <a:cubicBezTo>
                  <a:pt x="3430" y="1824"/>
                  <a:pt x="3433" y="1824"/>
                  <a:pt x="3436" y="1822"/>
                </a:cubicBezTo>
                <a:cubicBezTo>
                  <a:pt x="3438" y="1822"/>
                  <a:pt x="3441" y="1820"/>
                  <a:pt x="3442" y="1819"/>
                </a:cubicBezTo>
                <a:cubicBezTo>
                  <a:pt x="3442" y="1819"/>
                  <a:pt x="3442" y="1819"/>
                  <a:pt x="3442" y="1877"/>
                </a:cubicBezTo>
                <a:cubicBezTo>
                  <a:pt x="3442" y="1877"/>
                  <a:pt x="3442" y="1877"/>
                  <a:pt x="3454" y="1877"/>
                </a:cubicBezTo>
                <a:cubicBezTo>
                  <a:pt x="3454" y="1877"/>
                  <a:pt x="3454" y="1877"/>
                  <a:pt x="3454" y="1804"/>
                </a:cubicBezTo>
                <a:close/>
                <a:moveTo>
                  <a:pt x="3203" y="1851"/>
                </a:moveTo>
                <a:cubicBezTo>
                  <a:pt x="3204" y="1853"/>
                  <a:pt x="3204" y="1854"/>
                  <a:pt x="3205" y="1856"/>
                </a:cubicBezTo>
                <a:cubicBezTo>
                  <a:pt x="3205" y="1857"/>
                  <a:pt x="3206" y="1859"/>
                  <a:pt x="3206" y="1861"/>
                </a:cubicBezTo>
                <a:cubicBezTo>
                  <a:pt x="3206" y="1862"/>
                  <a:pt x="3206" y="1864"/>
                  <a:pt x="3206" y="1865"/>
                </a:cubicBezTo>
                <a:cubicBezTo>
                  <a:pt x="3207" y="1869"/>
                  <a:pt x="3206" y="1870"/>
                  <a:pt x="3203" y="1870"/>
                </a:cubicBezTo>
                <a:cubicBezTo>
                  <a:pt x="3200" y="1870"/>
                  <a:pt x="3197" y="1870"/>
                  <a:pt x="3195" y="1870"/>
                </a:cubicBezTo>
                <a:cubicBezTo>
                  <a:pt x="3194" y="1870"/>
                  <a:pt x="3193" y="1870"/>
                  <a:pt x="3193" y="1870"/>
                </a:cubicBezTo>
                <a:cubicBezTo>
                  <a:pt x="3191" y="1872"/>
                  <a:pt x="3190" y="1873"/>
                  <a:pt x="3189" y="1874"/>
                </a:cubicBezTo>
                <a:cubicBezTo>
                  <a:pt x="3187" y="1877"/>
                  <a:pt x="3183" y="1877"/>
                  <a:pt x="3181" y="1875"/>
                </a:cubicBezTo>
                <a:cubicBezTo>
                  <a:pt x="3179" y="1873"/>
                  <a:pt x="3178" y="1870"/>
                  <a:pt x="3176" y="1868"/>
                </a:cubicBezTo>
                <a:cubicBezTo>
                  <a:pt x="3176" y="1866"/>
                  <a:pt x="3176" y="1865"/>
                  <a:pt x="3178" y="1863"/>
                </a:cubicBezTo>
                <a:cubicBezTo>
                  <a:pt x="3176" y="1863"/>
                  <a:pt x="3174" y="1863"/>
                  <a:pt x="3172" y="1863"/>
                </a:cubicBezTo>
                <a:cubicBezTo>
                  <a:pt x="3172" y="1865"/>
                  <a:pt x="3170" y="1867"/>
                  <a:pt x="3170" y="1869"/>
                </a:cubicBezTo>
                <a:cubicBezTo>
                  <a:pt x="3170" y="1870"/>
                  <a:pt x="3169" y="1870"/>
                  <a:pt x="3169" y="1871"/>
                </a:cubicBezTo>
                <a:cubicBezTo>
                  <a:pt x="3169" y="1874"/>
                  <a:pt x="3168" y="1876"/>
                  <a:pt x="3165" y="1875"/>
                </a:cubicBezTo>
                <a:cubicBezTo>
                  <a:pt x="3162" y="1875"/>
                  <a:pt x="3159" y="1874"/>
                  <a:pt x="3156" y="1873"/>
                </a:cubicBezTo>
                <a:cubicBezTo>
                  <a:pt x="3154" y="1872"/>
                  <a:pt x="3154" y="1871"/>
                  <a:pt x="3154" y="1869"/>
                </a:cubicBezTo>
                <a:cubicBezTo>
                  <a:pt x="3154" y="1868"/>
                  <a:pt x="3154" y="1867"/>
                  <a:pt x="3155" y="1867"/>
                </a:cubicBezTo>
                <a:cubicBezTo>
                  <a:pt x="3152" y="1866"/>
                  <a:pt x="3150" y="1865"/>
                  <a:pt x="3148" y="1864"/>
                </a:cubicBezTo>
                <a:cubicBezTo>
                  <a:pt x="3147" y="1863"/>
                  <a:pt x="3146" y="1861"/>
                  <a:pt x="3145" y="1859"/>
                </a:cubicBezTo>
                <a:cubicBezTo>
                  <a:pt x="3144" y="1857"/>
                  <a:pt x="3144" y="1856"/>
                  <a:pt x="3146" y="1854"/>
                </a:cubicBezTo>
                <a:cubicBezTo>
                  <a:pt x="3149" y="1852"/>
                  <a:pt x="3150" y="1849"/>
                  <a:pt x="3149" y="1845"/>
                </a:cubicBezTo>
                <a:cubicBezTo>
                  <a:pt x="3149" y="1843"/>
                  <a:pt x="3149" y="1841"/>
                  <a:pt x="3149" y="1839"/>
                </a:cubicBezTo>
                <a:cubicBezTo>
                  <a:pt x="3148" y="1839"/>
                  <a:pt x="3146" y="1838"/>
                  <a:pt x="3145" y="1837"/>
                </a:cubicBezTo>
                <a:cubicBezTo>
                  <a:pt x="3144" y="1835"/>
                  <a:pt x="3143" y="1833"/>
                  <a:pt x="3143" y="1832"/>
                </a:cubicBezTo>
                <a:cubicBezTo>
                  <a:pt x="3143" y="1829"/>
                  <a:pt x="3146" y="1826"/>
                  <a:pt x="3149" y="1825"/>
                </a:cubicBezTo>
                <a:cubicBezTo>
                  <a:pt x="3150" y="1826"/>
                  <a:pt x="3150" y="1827"/>
                  <a:pt x="3150" y="1828"/>
                </a:cubicBezTo>
                <a:cubicBezTo>
                  <a:pt x="3150" y="1829"/>
                  <a:pt x="3150" y="1830"/>
                  <a:pt x="3150" y="1831"/>
                </a:cubicBezTo>
                <a:cubicBezTo>
                  <a:pt x="3150" y="1830"/>
                  <a:pt x="3149" y="1830"/>
                  <a:pt x="3149" y="1830"/>
                </a:cubicBezTo>
                <a:cubicBezTo>
                  <a:pt x="3148" y="1832"/>
                  <a:pt x="3148" y="1833"/>
                  <a:pt x="3147" y="1835"/>
                </a:cubicBezTo>
                <a:cubicBezTo>
                  <a:pt x="3148" y="1834"/>
                  <a:pt x="3149" y="1834"/>
                  <a:pt x="3150" y="1834"/>
                </a:cubicBezTo>
                <a:cubicBezTo>
                  <a:pt x="3151" y="1833"/>
                  <a:pt x="3152" y="1832"/>
                  <a:pt x="3152" y="1831"/>
                </a:cubicBezTo>
                <a:cubicBezTo>
                  <a:pt x="3157" y="1824"/>
                  <a:pt x="3163" y="1820"/>
                  <a:pt x="3170" y="1819"/>
                </a:cubicBezTo>
                <a:cubicBezTo>
                  <a:pt x="3174" y="1818"/>
                  <a:pt x="3177" y="1817"/>
                  <a:pt x="3179" y="1814"/>
                </a:cubicBezTo>
                <a:cubicBezTo>
                  <a:pt x="3179" y="1814"/>
                  <a:pt x="3180" y="1813"/>
                  <a:pt x="3180" y="1813"/>
                </a:cubicBezTo>
                <a:cubicBezTo>
                  <a:pt x="3183" y="1813"/>
                  <a:pt x="3185" y="1811"/>
                  <a:pt x="3187" y="1809"/>
                </a:cubicBezTo>
                <a:cubicBezTo>
                  <a:pt x="3194" y="1801"/>
                  <a:pt x="3206" y="1801"/>
                  <a:pt x="3214" y="1808"/>
                </a:cubicBezTo>
                <a:cubicBezTo>
                  <a:pt x="3216" y="1809"/>
                  <a:pt x="3219" y="1811"/>
                  <a:pt x="3221" y="1813"/>
                </a:cubicBezTo>
                <a:cubicBezTo>
                  <a:pt x="3223" y="1815"/>
                  <a:pt x="3224" y="1816"/>
                  <a:pt x="3225" y="1818"/>
                </a:cubicBezTo>
                <a:cubicBezTo>
                  <a:pt x="3226" y="1820"/>
                  <a:pt x="3227" y="1820"/>
                  <a:pt x="3228" y="1819"/>
                </a:cubicBezTo>
                <a:cubicBezTo>
                  <a:pt x="3229" y="1818"/>
                  <a:pt x="3230" y="1817"/>
                  <a:pt x="3230" y="1817"/>
                </a:cubicBezTo>
                <a:cubicBezTo>
                  <a:pt x="3232" y="1814"/>
                  <a:pt x="3236" y="1814"/>
                  <a:pt x="3237" y="1817"/>
                </a:cubicBezTo>
                <a:cubicBezTo>
                  <a:pt x="3238" y="1820"/>
                  <a:pt x="3239" y="1823"/>
                  <a:pt x="3239" y="1826"/>
                </a:cubicBezTo>
                <a:cubicBezTo>
                  <a:pt x="3240" y="1830"/>
                  <a:pt x="3239" y="1835"/>
                  <a:pt x="3238" y="1839"/>
                </a:cubicBezTo>
                <a:cubicBezTo>
                  <a:pt x="3236" y="1845"/>
                  <a:pt x="3231" y="1849"/>
                  <a:pt x="3224" y="1849"/>
                </a:cubicBezTo>
                <a:cubicBezTo>
                  <a:pt x="3223" y="1849"/>
                  <a:pt x="3223" y="1849"/>
                  <a:pt x="3222" y="1849"/>
                </a:cubicBezTo>
                <a:cubicBezTo>
                  <a:pt x="3220" y="1848"/>
                  <a:pt x="3219" y="1849"/>
                  <a:pt x="3218" y="1851"/>
                </a:cubicBezTo>
                <a:cubicBezTo>
                  <a:pt x="3216" y="1856"/>
                  <a:pt x="3211" y="1857"/>
                  <a:pt x="3207" y="1854"/>
                </a:cubicBezTo>
                <a:cubicBezTo>
                  <a:pt x="3206" y="1853"/>
                  <a:pt x="3205" y="1852"/>
                  <a:pt x="3204" y="1851"/>
                </a:cubicBezTo>
                <a:cubicBezTo>
                  <a:pt x="3204" y="1851"/>
                  <a:pt x="3204" y="1851"/>
                  <a:pt x="3203" y="1851"/>
                </a:cubicBezTo>
                <a:close/>
                <a:moveTo>
                  <a:pt x="3198" y="1847"/>
                </a:moveTo>
                <a:cubicBezTo>
                  <a:pt x="3201" y="1848"/>
                  <a:pt x="3205" y="1850"/>
                  <a:pt x="3208" y="1852"/>
                </a:cubicBezTo>
                <a:cubicBezTo>
                  <a:pt x="3209" y="1854"/>
                  <a:pt x="3211" y="1855"/>
                  <a:pt x="3213" y="1854"/>
                </a:cubicBezTo>
                <a:cubicBezTo>
                  <a:pt x="3216" y="1853"/>
                  <a:pt x="3217" y="1851"/>
                  <a:pt x="3217" y="1848"/>
                </a:cubicBezTo>
                <a:cubicBezTo>
                  <a:pt x="3217" y="1848"/>
                  <a:pt x="3216" y="1848"/>
                  <a:pt x="3216" y="1849"/>
                </a:cubicBezTo>
                <a:cubicBezTo>
                  <a:pt x="3216" y="1850"/>
                  <a:pt x="3215" y="1851"/>
                  <a:pt x="3214" y="1852"/>
                </a:cubicBezTo>
                <a:cubicBezTo>
                  <a:pt x="3213" y="1854"/>
                  <a:pt x="3211" y="1853"/>
                  <a:pt x="3211" y="1853"/>
                </a:cubicBezTo>
                <a:cubicBezTo>
                  <a:pt x="3210" y="1853"/>
                  <a:pt x="3210" y="1852"/>
                  <a:pt x="3210" y="1851"/>
                </a:cubicBezTo>
                <a:cubicBezTo>
                  <a:pt x="3210" y="1848"/>
                  <a:pt x="3210" y="1846"/>
                  <a:pt x="3210" y="1845"/>
                </a:cubicBezTo>
                <a:cubicBezTo>
                  <a:pt x="3213" y="1845"/>
                  <a:pt x="3217" y="1846"/>
                  <a:pt x="3220" y="1847"/>
                </a:cubicBezTo>
                <a:cubicBezTo>
                  <a:pt x="3228" y="1848"/>
                  <a:pt x="3234" y="1846"/>
                  <a:pt x="3237" y="1838"/>
                </a:cubicBezTo>
                <a:cubicBezTo>
                  <a:pt x="3238" y="1833"/>
                  <a:pt x="3238" y="1828"/>
                  <a:pt x="3237" y="1823"/>
                </a:cubicBezTo>
                <a:cubicBezTo>
                  <a:pt x="3237" y="1821"/>
                  <a:pt x="3236" y="1820"/>
                  <a:pt x="3235" y="1818"/>
                </a:cubicBezTo>
                <a:cubicBezTo>
                  <a:pt x="3234" y="1816"/>
                  <a:pt x="3233" y="1816"/>
                  <a:pt x="3232" y="1817"/>
                </a:cubicBezTo>
                <a:cubicBezTo>
                  <a:pt x="3230" y="1819"/>
                  <a:pt x="3229" y="1821"/>
                  <a:pt x="3227" y="1821"/>
                </a:cubicBezTo>
                <a:cubicBezTo>
                  <a:pt x="3226" y="1822"/>
                  <a:pt x="3225" y="1822"/>
                  <a:pt x="3226" y="1824"/>
                </a:cubicBezTo>
                <a:cubicBezTo>
                  <a:pt x="3226" y="1827"/>
                  <a:pt x="3226" y="1830"/>
                  <a:pt x="3224" y="1833"/>
                </a:cubicBezTo>
                <a:cubicBezTo>
                  <a:pt x="3224" y="1831"/>
                  <a:pt x="3225" y="1829"/>
                  <a:pt x="3225" y="1828"/>
                </a:cubicBezTo>
                <a:cubicBezTo>
                  <a:pt x="3225" y="1827"/>
                  <a:pt x="3224" y="1826"/>
                  <a:pt x="3224" y="1826"/>
                </a:cubicBezTo>
                <a:cubicBezTo>
                  <a:pt x="3224" y="1826"/>
                  <a:pt x="3223" y="1826"/>
                  <a:pt x="3223" y="1827"/>
                </a:cubicBezTo>
                <a:cubicBezTo>
                  <a:pt x="3222" y="1828"/>
                  <a:pt x="3221" y="1830"/>
                  <a:pt x="3221" y="1831"/>
                </a:cubicBezTo>
                <a:cubicBezTo>
                  <a:pt x="3220" y="1831"/>
                  <a:pt x="3220" y="1831"/>
                  <a:pt x="3220" y="1831"/>
                </a:cubicBezTo>
                <a:cubicBezTo>
                  <a:pt x="3221" y="1829"/>
                  <a:pt x="3221" y="1828"/>
                  <a:pt x="3221" y="1825"/>
                </a:cubicBezTo>
                <a:cubicBezTo>
                  <a:pt x="3220" y="1826"/>
                  <a:pt x="3220" y="1826"/>
                  <a:pt x="3219" y="1827"/>
                </a:cubicBezTo>
                <a:cubicBezTo>
                  <a:pt x="3219" y="1828"/>
                  <a:pt x="3218" y="1828"/>
                  <a:pt x="3218" y="1829"/>
                </a:cubicBezTo>
                <a:cubicBezTo>
                  <a:pt x="3218" y="1826"/>
                  <a:pt x="3219" y="1826"/>
                  <a:pt x="3224" y="1824"/>
                </a:cubicBezTo>
                <a:cubicBezTo>
                  <a:pt x="3224" y="1824"/>
                  <a:pt x="3223" y="1823"/>
                  <a:pt x="3223" y="1823"/>
                </a:cubicBezTo>
                <a:cubicBezTo>
                  <a:pt x="3221" y="1824"/>
                  <a:pt x="3220" y="1822"/>
                  <a:pt x="3219" y="1820"/>
                </a:cubicBezTo>
                <a:cubicBezTo>
                  <a:pt x="3221" y="1820"/>
                  <a:pt x="3223" y="1819"/>
                  <a:pt x="3224" y="1819"/>
                </a:cubicBezTo>
                <a:cubicBezTo>
                  <a:pt x="3223" y="1817"/>
                  <a:pt x="3221" y="1814"/>
                  <a:pt x="3218" y="1813"/>
                </a:cubicBezTo>
                <a:cubicBezTo>
                  <a:pt x="3217" y="1813"/>
                  <a:pt x="3217" y="1813"/>
                  <a:pt x="3217" y="1813"/>
                </a:cubicBezTo>
                <a:cubicBezTo>
                  <a:pt x="3215" y="1811"/>
                  <a:pt x="3212" y="1808"/>
                  <a:pt x="3210" y="1806"/>
                </a:cubicBezTo>
                <a:cubicBezTo>
                  <a:pt x="3207" y="1805"/>
                  <a:pt x="3204" y="1804"/>
                  <a:pt x="3202" y="1804"/>
                </a:cubicBezTo>
                <a:cubicBezTo>
                  <a:pt x="3199" y="1805"/>
                  <a:pt x="3196" y="1806"/>
                  <a:pt x="3193" y="1807"/>
                </a:cubicBezTo>
                <a:cubicBezTo>
                  <a:pt x="3190" y="1808"/>
                  <a:pt x="3187" y="1809"/>
                  <a:pt x="3185" y="1813"/>
                </a:cubicBezTo>
                <a:cubicBezTo>
                  <a:pt x="3187" y="1813"/>
                  <a:pt x="3188" y="1813"/>
                  <a:pt x="3189" y="1813"/>
                </a:cubicBezTo>
                <a:cubicBezTo>
                  <a:pt x="3189" y="1813"/>
                  <a:pt x="3188" y="1813"/>
                  <a:pt x="3187" y="1813"/>
                </a:cubicBezTo>
                <a:cubicBezTo>
                  <a:pt x="3185" y="1814"/>
                  <a:pt x="3182" y="1813"/>
                  <a:pt x="3180" y="1816"/>
                </a:cubicBezTo>
                <a:cubicBezTo>
                  <a:pt x="3177" y="1820"/>
                  <a:pt x="3173" y="1823"/>
                  <a:pt x="3169" y="1828"/>
                </a:cubicBezTo>
                <a:cubicBezTo>
                  <a:pt x="3168" y="1830"/>
                  <a:pt x="3167" y="1832"/>
                  <a:pt x="3166" y="1834"/>
                </a:cubicBezTo>
                <a:cubicBezTo>
                  <a:pt x="3166" y="1835"/>
                  <a:pt x="3166" y="1835"/>
                  <a:pt x="3166" y="1836"/>
                </a:cubicBezTo>
                <a:cubicBezTo>
                  <a:pt x="3167" y="1838"/>
                  <a:pt x="3169" y="1840"/>
                  <a:pt x="3170" y="1842"/>
                </a:cubicBezTo>
                <a:cubicBezTo>
                  <a:pt x="3171" y="1840"/>
                  <a:pt x="3172" y="1839"/>
                  <a:pt x="3174" y="1837"/>
                </a:cubicBezTo>
                <a:cubicBezTo>
                  <a:pt x="3173" y="1839"/>
                  <a:pt x="3173" y="1840"/>
                  <a:pt x="3172" y="1841"/>
                </a:cubicBezTo>
                <a:cubicBezTo>
                  <a:pt x="3171" y="1843"/>
                  <a:pt x="3170" y="1844"/>
                  <a:pt x="3170" y="1845"/>
                </a:cubicBezTo>
                <a:cubicBezTo>
                  <a:pt x="3170" y="1846"/>
                  <a:pt x="3170" y="1847"/>
                  <a:pt x="3170" y="1848"/>
                </a:cubicBezTo>
                <a:cubicBezTo>
                  <a:pt x="3173" y="1852"/>
                  <a:pt x="3176" y="1852"/>
                  <a:pt x="3180" y="1850"/>
                </a:cubicBezTo>
                <a:cubicBezTo>
                  <a:pt x="3182" y="1848"/>
                  <a:pt x="3185" y="1847"/>
                  <a:pt x="3188" y="1846"/>
                </a:cubicBezTo>
                <a:cubicBezTo>
                  <a:pt x="3189" y="1846"/>
                  <a:pt x="3191" y="1845"/>
                  <a:pt x="3191" y="1843"/>
                </a:cubicBezTo>
                <a:cubicBezTo>
                  <a:pt x="3191" y="1840"/>
                  <a:pt x="3191" y="1837"/>
                  <a:pt x="3191" y="1833"/>
                </a:cubicBezTo>
                <a:cubicBezTo>
                  <a:pt x="3191" y="1830"/>
                  <a:pt x="3191" y="1828"/>
                  <a:pt x="3191" y="1824"/>
                </a:cubicBezTo>
                <a:cubicBezTo>
                  <a:pt x="3191" y="1827"/>
                  <a:pt x="3192" y="1830"/>
                  <a:pt x="3192" y="1832"/>
                </a:cubicBezTo>
                <a:cubicBezTo>
                  <a:pt x="3193" y="1837"/>
                  <a:pt x="3193" y="1841"/>
                  <a:pt x="3192" y="1846"/>
                </a:cubicBezTo>
                <a:cubicBezTo>
                  <a:pt x="3191" y="1846"/>
                  <a:pt x="3191" y="1847"/>
                  <a:pt x="3190" y="1847"/>
                </a:cubicBezTo>
                <a:cubicBezTo>
                  <a:pt x="3187" y="1848"/>
                  <a:pt x="3183" y="1850"/>
                  <a:pt x="3180" y="1851"/>
                </a:cubicBezTo>
                <a:cubicBezTo>
                  <a:pt x="3175" y="1854"/>
                  <a:pt x="3172" y="1852"/>
                  <a:pt x="3168" y="1848"/>
                </a:cubicBezTo>
                <a:cubicBezTo>
                  <a:pt x="3168" y="1848"/>
                  <a:pt x="3168" y="1847"/>
                  <a:pt x="3168" y="1846"/>
                </a:cubicBezTo>
                <a:cubicBezTo>
                  <a:pt x="3169" y="1844"/>
                  <a:pt x="3168" y="1842"/>
                  <a:pt x="3167" y="1840"/>
                </a:cubicBezTo>
                <a:cubicBezTo>
                  <a:pt x="3165" y="1838"/>
                  <a:pt x="3163" y="1836"/>
                  <a:pt x="3165" y="1833"/>
                </a:cubicBezTo>
                <a:cubicBezTo>
                  <a:pt x="3165" y="1831"/>
                  <a:pt x="3166" y="1830"/>
                  <a:pt x="3167" y="1828"/>
                </a:cubicBezTo>
                <a:cubicBezTo>
                  <a:pt x="3169" y="1825"/>
                  <a:pt x="3171" y="1823"/>
                  <a:pt x="3173" y="1820"/>
                </a:cubicBezTo>
                <a:cubicBezTo>
                  <a:pt x="3173" y="1820"/>
                  <a:pt x="3172" y="1820"/>
                  <a:pt x="3172" y="1820"/>
                </a:cubicBezTo>
                <a:cubicBezTo>
                  <a:pt x="3167" y="1821"/>
                  <a:pt x="3163" y="1823"/>
                  <a:pt x="3159" y="1826"/>
                </a:cubicBezTo>
                <a:cubicBezTo>
                  <a:pt x="3154" y="1830"/>
                  <a:pt x="3151" y="1835"/>
                  <a:pt x="3151" y="1842"/>
                </a:cubicBezTo>
                <a:cubicBezTo>
                  <a:pt x="3150" y="1849"/>
                  <a:pt x="3153" y="1855"/>
                  <a:pt x="3156" y="1861"/>
                </a:cubicBezTo>
                <a:cubicBezTo>
                  <a:pt x="3157" y="1861"/>
                  <a:pt x="3157" y="1863"/>
                  <a:pt x="3157" y="1864"/>
                </a:cubicBezTo>
                <a:cubicBezTo>
                  <a:pt x="3157" y="1866"/>
                  <a:pt x="3157" y="1867"/>
                  <a:pt x="3156" y="1869"/>
                </a:cubicBezTo>
                <a:cubicBezTo>
                  <a:pt x="3156" y="1870"/>
                  <a:pt x="3156" y="1871"/>
                  <a:pt x="3157" y="1872"/>
                </a:cubicBezTo>
                <a:cubicBezTo>
                  <a:pt x="3160" y="1872"/>
                  <a:pt x="3163" y="1873"/>
                  <a:pt x="3166" y="1873"/>
                </a:cubicBezTo>
                <a:cubicBezTo>
                  <a:pt x="3167" y="1873"/>
                  <a:pt x="3167" y="1872"/>
                  <a:pt x="3167" y="1872"/>
                </a:cubicBezTo>
                <a:cubicBezTo>
                  <a:pt x="3168" y="1871"/>
                  <a:pt x="3168" y="1869"/>
                  <a:pt x="3169" y="1869"/>
                </a:cubicBezTo>
                <a:cubicBezTo>
                  <a:pt x="3170" y="1866"/>
                  <a:pt x="3170" y="1863"/>
                  <a:pt x="3170" y="1861"/>
                </a:cubicBezTo>
                <a:cubicBezTo>
                  <a:pt x="3170" y="1860"/>
                  <a:pt x="3170" y="1860"/>
                  <a:pt x="3170" y="1859"/>
                </a:cubicBezTo>
                <a:cubicBezTo>
                  <a:pt x="3170" y="1859"/>
                  <a:pt x="3170" y="1859"/>
                  <a:pt x="3170" y="1859"/>
                </a:cubicBezTo>
                <a:cubicBezTo>
                  <a:pt x="3171" y="1861"/>
                  <a:pt x="3172" y="1861"/>
                  <a:pt x="3174" y="1861"/>
                </a:cubicBezTo>
                <a:cubicBezTo>
                  <a:pt x="3175" y="1861"/>
                  <a:pt x="3176" y="1861"/>
                  <a:pt x="3177" y="1861"/>
                </a:cubicBezTo>
                <a:cubicBezTo>
                  <a:pt x="3180" y="1861"/>
                  <a:pt x="3183" y="1862"/>
                  <a:pt x="3183" y="1858"/>
                </a:cubicBezTo>
                <a:cubicBezTo>
                  <a:pt x="3183" y="1860"/>
                  <a:pt x="3183" y="1862"/>
                  <a:pt x="3183" y="1863"/>
                </a:cubicBezTo>
                <a:cubicBezTo>
                  <a:pt x="3182" y="1863"/>
                  <a:pt x="3181" y="1864"/>
                  <a:pt x="3180" y="1865"/>
                </a:cubicBezTo>
                <a:cubicBezTo>
                  <a:pt x="3178" y="1865"/>
                  <a:pt x="3178" y="1867"/>
                  <a:pt x="3178" y="1868"/>
                </a:cubicBezTo>
                <a:cubicBezTo>
                  <a:pt x="3180" y="1870"/>
                  <a:pt x="3181" y="1872"/>
                  <a:pt x="3182" y="1874"/>
                </a:cubicBezTo>
                <a:cubicBezTo>
                  <a:pt x="3184" y="1875"/>
                  <a:pt x="3186" y="1875"/>
                  <a:pt x="3187" y="1873"/>
                </a:cubicBezTo>
                <a:cubicBezTo>
                  <a:pt x="3188" y="1872"/>
                  <a:pt x="3189" y="1872"/>
                  <a:pt x="3189" y="1871"/>
                </a:cubicBezTo>
                <a:cubicBezTo>
                  <a:pt x="3191" y="1870"/>
                  <a:pt x="3193" y="1869"/>
                  <a:pt x="3194" y="1867"/>
                </a:cubicBezTo>
                <a:cubicBezTo>
                  <a:pt x="3198" y="1863"/>
                  <a:pt x="3200" y="1857"/>
                  <a:pt x="3202" y="1851"/>
                </a:cubicBezTo>
                <a:cubicBezTo>
                  <a:pt x="3202" y="1851"/>
                  <a:pt x="3201" y="1850"/>
                  <a:pt x="3201" y="1850"/>
                </a:cubicBezTo>
                <a:cubicBezTo>
                  <a:pt x="3200" y="1848"/>
                  <a:pt x="3199" y="1848"/>
                  <a:pt x="3198" y="1847"/>
                </a:cubicBezTo>
                <a:close/>
                <a:moveTo>
                  <a:pt x="3150" y="1853"/>
                </a:moveTo>
                <a:cubicBezTo>
                  <a:pt x="3150" y="1854"/>
                  <a:pt x="3148" y="1855"/>
                  <a:pt x="3147" y="1856"/>
                </a:cubicBezTo>
                <a:cubicBezTo>
                  <a:pt x="3146" y="1856"/>
                  <a:pt x="3146" y="1857"/>
                  <a:pt x="3146" y="1858"/>
                </a:cubicBezTo>
                <a:cubicBezTo>
                  <a:pt x="3146" y="1861"/>
                  <a:pt x="3150" y="1865"/>
                  <a:pt x="3154" y="1865"/>
                </a:cubicBezTo>
                <a:cubicBezTo>
                  <a:pt x="3155" y="1865"/>
                  <a:pt x="3156" y="1863"/>
                  <a:pt x="3155" y="1862"/>
                </a:cubicBezTo>
                <a:cubicBezTo>
                  <a:pt x="3154" y="1859"/>
                  <a:pt x="3152" y="1856"/>
                  <a:pt x="3150" y="1853"/>
                </a:cubicBezTo>
                <a:close/>
                <a:moveTo>
                  <a:pt x="3203" y="1855"/>
                </a:moveTo>
                <a:cubicBezTo>
                  <a:pt x="3201" y="1860"/>
                  <a:pt x="3198"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0" y="1835"/>
                </a:moveTo>
                <a:cubicBezTo>
                  <a:pt x="3150" y="1835"/>
                  <a:pt x="3149" y="1836"/>
                  <a:pt x="3148" y="1836"/>
                </a:cubicBezTo>
                <a:cubicBezTo>
                  <a:pt x="3148" y="1836"/>
                  <a:pt x="3147" y="1836"/>
                  <a:pt x="3147" y="1835"/>
                </a:cubicBezTo>
                <a:cubicBezTo>
                  <a:pt x="3146" y="1835"/>
                  <a:pt x="3146" y="1834"/>
                  <a:pt x="3146" y="1833"/>
                </a:cubicBezTo>
                <a:cubicBezTo>
                  <a:pt x="3147" y="1832"/>
                  <a:pt x="3147" y="1830"/>
                  <a:pt x="3148" y="1828"/>
                </a:cubicBezTo>
                <a:cubicBezTo>
                  <a:pt x="3148" y="1828"/>
                  <a:pt x="3148" y="1828"/>
                  <a:pt x="3147" y="1828"/>
                </a:cubicBezTo>
                <a:cubicBezTo>
                  <a:pt x="3146" y="1828"/>
                  <a:pt x="3145" y="1829"/>
                  <a:pt x="3144" y="1830"/>
                </a:cubicBezTo>
                <a:cubicBezTo>
                  <a:pt x="3144" y="1832"/>
                  <a:pt x="3145" y="1837"/>
                  <a:pt x="3147" y="1837"/>
                </a:cubicBezTo>
                <a:cubicBezTo>
                  <a:pt x="3148" y="1838"/>
                  <a:pt x="3150" y="1837"/>
                  <a:pt x="3150" y="1835"/>
                </a:cubicBezTo>
                <a:close/>
                <a:moveTo>
                  <a:pt x="3150" y="1853"/>
                </a:moveTo>
                <a:cubicBezTo>
                  <a:pt x="3150" y="1854"/>
                  <a:pt x="3148" y="1855"/>
                  <a:pt x="3147" y="1856"/>
                </a:cubicBezTo>
                <a:cubicBezTo>
                  <a:pt x="3147" y="1856"/>
                  <a:pt x="3146" y="1857"/>
                  <a:pt x="3146" y="1858"/>
                </a:cubicBezTo>
                <a:cubicBezTo>
                  <a:pt x="3146" y="1861"/>
                  <a:pt x="3150" y="1865"/>
                  <a:pt x="3154" y="1865"/>
                </a:cubicBezTo>
                <a:cubicBezTo>
                  <a:pt x="3155" y="1865"/>
                  <a:pt x="3156" y="1864"/>
                  <a:pt x="3155" y="1862"/>
                </a:cubicBezTo>
                <a:cubicBezTo>
                  <a:pt x="3154" y="1859"/>
                  <a:pt x="3152" y="1856"/>
                  <a:pt x="3150" y="1853"/>
                </a:cubicBezTo>
                <a:close/>
                <a:moveTo>
                  <a:pt x="3203" y="1855"/>
                </a:moveTo>
                <a:cubicBezTo>
                  <a:pt x="3201" y="1860"/>
                  <a:pt x="3199"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1" y="1835"/>
                </a:moveTo>
                <a:cubicBezTo>
                  <a:pt x="3150" y="1835"/>
                  <a:pt x="3149" y="1836"/>
                  <a:pt x="3149" y="1836"/>
                </a:cubicBezTo>
                <a:cubicBezTo>
                  <a:pt x="3148" y="1836"/>
                  <a:pt x="3147" y="1836"/>
                  <a:pt x="3147" y="1835"/>
                </a:cubicBezTo>
                <a:cubicBezTo>
                  <a:pt x="3147" y="1835"/>
                  <a:pt x="3146" y="1834"/>
                  <a:pt x="3146" y="1833"/>
                </a:cubicBezTo>
                <a:cubicBezTo>
                  <a:pt x="3147" y="1831"/>
                  <a:pt x="3147" y="1829"/>
                  <a:pt x="3148" y="1827"/>
                </a:cubicBezTo>
                <a:cubicBezTo>
                  <a:pt x="3148" y="1827"/>
                  <a:pt x="3148" y="1827"/>
                  <a:pt x="3147" y="1827"/>
                </a:cubicBezTo>
                <a:cubicBezTo>
                  <a:pt x="3147" y="1828"/>
                  <a:pt x="3145" y="1829"/>
                  <a:pt x="3145" y="1830"/>
                </a:cubicBezTo>
                <a:cubicBezTo>
                  <a:pt x="3144" y="1831"/>
                  <a:pt x="3145" y="1837"/>
                  <a:pt x="3147" y="1837"/>
                </a:cubicBezTo>
                <a:cubicBezTo>
                  <a:pt x="3149" y="1838"/>
                  <a:pt x="3151" y="1837"/>
                  <a:pt x="3151" y="1835"/>
                </a:cubicBezTo>
                <a:close/>
                <a:moveTo>
                  <a:pt x="3203" y="1827"/>
                </a:moveTo>
                <a:cubicBezTo>
                  <a:pt x="3206" y="1823"/>
                  <a:pt x="3206" y="1823"/>
                  <a:pt x="3210" y="1822"/>
                </a:cubicBezTo>
                <a:cubicBezTo>
                  <a:pt x="3210" y="1824"/>
                  <a:pt x="3211" y="1825"/>
                  <a:pt x="3212" y="1825"/>
                </a:cubicBezTo>
                <a:cubicBezTo>
                  <a:pt x="3210" y="1826"/>
                  <a:pt x="3208" y="1828"/>
                  <a:pt x="3206" y="1829"/>
                </a:cubicBezTo>
                <a:cubicBezTo>
                  <a:pt x="3206" y="1828"/>
                  <a:pt x="3205" y="1828"/>
                  <a:pt x="3204" y="1826"/>
                </a:cubicBezTo>
                <a:cubicBezTo>
                  <a:pt x="3204" y="1826"/>
                  <a:pt x="3204" y="1826"/>
                  <a:pt x="3203" y="1827"/>
                </a:cubicBezTo>
                <a:close/>
                <a:moveTo>
                  <a:pt x="3209" y="1826"/>
                </a:moveTo>
                <a:cubicBezTo>
                  <a:pt x="3208" y="1826"/>
                  <a:pt x="3207" y="1826"/>
                  <a:pt x="3207" y="1826"/>
                </a:cubicBezTo>
                <a:cubicBezTo>
                  <a:pt x="3206" y="1826"/>
                  <a:pt x="3206" y="1826"/>
                  <a:pt x="3206" y="1827"/>
                </a:cubicBezTo>
                <a:cubicBezTo>
                  <a:pt x="3206" y="1827"/>
                  <a:pt x="3206" y="1828"/>
                  <a:pt x="3206" y="1828"/>
                </a:cubicBezTo>
                <a:cubicBezTo>
                  <a:pt x="3207" y="1828"/>
                  <a:pt x="3208" y="1827"/>
                  <a:pt x="3209" y="1826"/>
                </a:cubicBezTo>
                <a:close/>
                <a:moveTo>
                  <a:pt x="3190" y="1817"/>
                </a:moveTo>
                <a:cubicBezTo>
                  <a:pt x="3183" y="1816"/>
                  <a:pt x="3181" y="1819"/>
                  <a:pt x="3179" y="1826"/>
                </a:cubicBezTo>
                <a:cubicBezTo>
                  <a:pt x="3181" y="1824"/>
                  <a:pt x="3182" y="1822"/>
                  <a:pt x="3183" y="1820"/>
                </a:cubicBezTo>
                <a:cubicBezTo>
                  <a:pt x="3183" y="1820"/>
                  <a:pt x="3183" y="1820"/>
                  <a:pt x="3183" y="1820"/>
                </a:cubicBezTo>
                <a:cubicBezTo>
                  <a:pt x="3183" y="1821"/>
                  <a:pt x="3184" y="1822"/>
                  <a:pt x="3184" y="1822"/>
                </a:cubicBezTo>
                <a:cubicBezTo>
                  <a:pt x="3185" y="1819"/>
                  <a:pt x="3186" y="1817"/>
                  <a:pt x="3190" y="1817"/>
                </a:cubicBezTo>
                <a:close/>
                <a:moveTo>
                  <a:pt x="3234" y="1818"/>
                </a:moveTo>
                <a:cubicBezTo>
                  <a:pt x="3232" y="1819"/>
                  <a:pt x="3229" y="1821"/>
                  <a:pt x="3228" y="1822"/>
                </a:cubicBezTo>
                <a:cubicBezTo>
                  <a:pt x="3230" y="1823"/>
                  <a:pt x="3232" y="1821"/>
                  <a:pt x="3234" y="1818"/>
                </a:cubicBezTo>
                <a:close/>
                <a:moveTo>
                  <a:pt x="3200" y="1821"/>
                </a:moveTo>
                <a:cubicBezTo>
                  <a:pt x="3201" y="1819"/>
                  <a:pt x="3202" y="1818"/>
                  <a:pt x="3203" y="1817"/>
                </a:cubicBezTo>
                <a:cubicBezTo>
                  <a:pt x="3200" y="1818"/>
                  <a:pt x="3200" y="1819"/>
                  <a:pt x="3200" y="1821"/>
                </a:cubicBezTo>
                <a:close/>
                <a:moveTo>
                  <a:pt x="3210" y="1842"/>
                </a:moveTo>
                <a:cubicBezTo>
                  <a:pt x="3208" y="1842"/>
                  <a:pt x="3207" y="1843"/>
                  <a:pt x="3207" y="1844"/>
                </a:cubicBezTo>
                <a:cubicBezTo>
                  <a:pt x="3208" y="1843"/>
                  <a:pt x="3209" y="1842"/>
                  <a:pt x="3210" y="1842"/>
                </a:cubicBezTo>
                <a:close/>
                <a:moveTo>
                  <a:pt x="3209" y="1826"/>
                </a:moveTo>
                <a:cubicBezTo>
                  <a:pt x="3208" y="1826"/>
                  <a:pt x="3207" y="1825"/>
                  <a:pt x="3207" y="1825"/>
                </a:cubicBezTo>
                <a:cubicBezTo>
                  <a:pt x="3206" y="1825"/>
                  <a:pt x="3206" y="1826"/>
                  <a:pt x="3206" y="1827"/>
                </a:cubicBezTo>
                <a:cubicBezTo>
                  <a:pt x="3206" y="1827"/>
                  <a:pt x="3206" y="1828"/>
                  <a:pt x="3206" y="1828"/>
                </a:cubicBezTo>
                <a:cubicBezTo>
                  <a:pt x="3207" y="1828"/>
                  <a:pt x="3208" y="1827"/>
                  <a:pt x="3209" y="1826"/>
                </a:cubicBezTo>
                <a:close/>
                <a:moveTo>
                  <a:pt x="3500" y="1804"/>
                </a:moveTo>
                <a:cubicBezTo>
                  <a:pt x="3500" y="1804"/>
                  <a:pt x="3500" y="1804"/>
                  <a:pt x="3500" y="1804"/>
                </a:cubicBezTo>
                <a:cubicBezTo>
                  <a:pt x="3495" y="1804"/>
                  <a:pt x="3495" y="1804"/>
                  <a:pt x="3495" y="1804"/>
                </a:cubicBezTo>
                <a:cubicBezTo>
                  <a:pt x="3493" y="1806"/>
                  <a:pt x="3492" y="1807"/>
                  <a:pt x="3489" y="1808"/>
                </a:cubicBezTo>
                <a:cubicBezTo>
                  <a:pt x="3488" y="1809"/>
                  <a:pt x="3486" y="1810"/>
                  <a:pt x="3484" y="1811"/>
                </a:cubicBezTo>
                <a:cubicBezTo>
                  <a:pt x="3482" y="1812"/>
                  <a:pt x="3481" y="1813"/>
                  <a:pt x="3479" y="1814"/>
                </a:cubicBezTo>
                <a:cubicBezTo>
                  <a:pt x="3477" y="1814"/>
                  <a:pt x="3475" y="1815"/>
                  <a:pt x="3474" y="1815"/>
                </a:cubicBezTo>
                <a:cubicBezTo>
                  <a:pt x="3474" y="1815"/>
                  <a:pt x="3474" y="1815"/>
                  <a:pt x="3474" y="1825"/>
                </a:cubicBezTo>
                <a:cubicBezTo>
                  <a:pt x="3476" y="1824"/>
                  <a:pt x="3479" y="1824"/>
                  <a:pt x="3482" y="1822"/>
                </a:cubicBezTo>
                <a:cubicBezTo>
                  <a:pt x="3484" y="1822"/>
                  <a:pt x="3487" y="1820"/>
                  <a:pt x="3488" y="1819"/>
                </a:cubicBezTo>
                <a:cubicBezTo>
                  <a:pt x="3488" y="1819"/>
                  <a:pt x="3488" y="1819"/>
                  <a:pt x="3488" y="1877"/>
                </a:cubicBezTo>
                <a:cubicBezTo>
                  <a:pt x="3488" y="1877"/>
                  <a:pt x="3488" y="1877"/>
                  <a:pt x="3500" y="1877"/>
                </a:cubicBezTo>
                <a:cubicBezTo>
                  <a:pt x="3500" y="1877"/>
                  <a:pt x="3500" y="1877"/>
                  <a:pt x="3500" y="1804"/>
                </a:cubicBezTo>
                <a:close/>
                <a:moveTo>
                  <a:pt x="3621" y="1804"/>
                </a:moveTo>
                <a:cubicBezTo>
                  <a:pt x="3621" y="1804"/>
                  <a:pt x="3621" y="1804"/>
                  <a:pt x="3621" y="1804"/>
                </a:cubicBezTo>
                <a:cubicBezTo>
                  <a:pt x="3616" y="1804"/>
                  <a:pt x="3616" y="1804"/>
                  <a:pt x="3616" y="1804"/>
                </a:cubicBezTo>
                <a:cubicBezTo>
                  <a:pt x="3614" y="1806"/>
                  <a:pt x="3613" y="1807"/>
                  <a:pt x="3611" y="1808"/>
                </a:cubicBezTo>
                <a:cubicBezTo>
                  <a:pt x="3609" y="1809"/>
                  <a:pt x="3608" y="1810"/>
                  <a:pt x="3605" y="1811"/>
                </a:cubicBezTo>
                <a:cubicBezTo>
                  <a:pt x="3604" y="1812"/>
                  <a:pt x="3602" y="1813"/>
                  <a:pt x="3600" y="1814"/>
                </a:cubicBezTo>
                <a:cubicBezTo>
                  <a:pt x="3598" y="1814"/>
                  <a:pt x="3597" y="1815"/>
                  <a:pt x="3595" y="1815"/>
                </a:cubicBezTo>
                <a:cubicBezTo>
                  <a:pt x="3595" y="1815"/>
                  <a:pt x="3595" y="1815"/>
                  <a:pt x="3595" y="1825"/>
                </a:cubicBezTo>
                <a:cubicBezTo>
                  <a:pt x="3597" y="1824"/>
                  <a:pt x="3600" y="1824"/>
                  <a:pt x="3603" y="1822"/>
                </a:cubicBezTo>
                <a:cubicBezTo>
                  <a:pt x="3605" y="1822"/>
                  <a:pt x="3608" y="1820"/>
                  <a:pt x="3610" y="1819"/>
                </a:cubicBezTo>
                <a:cubicBezTo>
                  <a:pt x="3610" y="1819"/>
                  <a:pt x="3610" y="1819"/>
                  <a:pt x="3610" y="1877"/>
                </a:cubicBezTo>
                <a:cubicBezTo>
                  <a:pt x="3610" y="1877"/>
                  <a:pt x="3610" y="1877"/>
                  <a:pt x="3621" y="1877"/>
                </a:cubicBezTo>
                <a:cubicBezTo>
                  <a:pt x="3621" y="1877"/>
                  <a:pt x="3621" y="1877"/>
                  <a:pt x="3621" y="1804"/>
                </a:cubicBezTo>
                <a:close/>
                <a:moveTo>
                  <a:pt x="3668" y="1804"/>
                </a:moveTo>
                <a:cubicBezTo>
                  <a:pt x="3668" y="1804"/>
                  <a:pt x="3668" y="1804"/>
                  <a:pt x="3668" y="1804"/>
                </a:cubicBezTo>
                <a:cubicBezTo>
                  <a:pt x="3663" y="1804"/>
                  <a:pt x="3663" y="1804"/>
                  <a:pt x="3663" y="1804"/>
                </a:cubicBezTo>
                <a:cubicBezTo>
                  <a:pt x="3661" y="1806"/>
                  <a:pt x="3660" y="1807"/>
                  <a:pt x="3657" y="1808"/>
                </a:cubicBezTo>
                <a:cubicBezTo>
                  <a:pt x="3656" y="1809"/>
                  <a:pt x="3654" y="1810"/>
                  <a:pt x="3652" y="1811"/>
                </a:cubicBezTo>
                <a:cubicBezTo>
                  <a:pt x="3651" y="1812"/>
                  <a:pt x="3649" y="1813"/>
                  <a:pt x="3647" y="1814"/>
                </a:cubicBezTo>
                <a:cubicBezTo>
                  <a:pt x="3645" y="1814"/>
                  <a:pt x="3643" y="1815"/>
                  <a:pt x="3641" y="1815"/>
                </a:cubicBezTo>
                <a:cubicBezTo>
                  <a:pt x="3641" y="1815"/>
                  <a:pt x="3641" y="1815"/>
                  <a:pt x="3641" y="1825"/>
                </a:cubicBezTo>
                <a:cubicBezTo>
                  <a:pt x="3644" y="1824"/>
                  <a:pt x="3647" y="1824"/>
                  <a:pt x="3649" y="1822"/>
                </a:cubicBezTo>
                <a:cubicBezTo>
                  <a:pt x="3652" y="1822"/>
                  <a:pt x="3654" y="1820"/>
                  <a:pt x="3657" y="1819"/>
                </a:cubicBezTo>
                <a:cubicBezTo>
                  <a:pt x="3657" y="1819"/>
                  <a:pt x="3657" y="1819"/>
                  <a:pt x="3657" y="1877"/>
                </a:cubicBezTo>
                <a:cubicBezTo>
                  <a:pt x="3657" y="1877"/>
                  <a:pt x="3657" y="1877"/>
                  <a:pt x="3668" y="1877"/>
                </a:cubicBezTo>
                <a:cubicBezTo>
                  <a:pt x="3668" y="1877"/>
                  <a:pt x="3668" y="1877"/>
                  <a:pt x="3668" y="1804"/>
                </a:cubicBezTo>
                <a:close/>
                <a:moveTo>
                  <a:pt x="3714" y="1804"/>
                </a:moveTo>
                <a:cubicBezTo>
                  <a:pt x="3714" y="1804"/>
                  <a:pt x="3714" y="1804"/>
                  <a:pt x="3714" y="1804"/>
                </a:cubicBezTo>
                <a:cubicBezTo>
                  <a:pt x="3710" y="1804"/>
                  <a:pt x="3710" y="1804"/>
                  <a:pt x="3710" y="1804"/>
                </a:cubicBezTo>
                <a:cubicBezTo>
                  <a:pt x="3708" y="1806"/>
                  <a:pt x="3706" y="1807"/>
                  <a:pt x="3704" y="1808"/>
                </a:cubicBezTo>
                <a:cubicBezTo>
                  <a:pt x="3703" y="1809"/>
                  <a:pt x="3700" y="1810"/>
                  <a:pt x="3699" y="1811"/>
                </a:cubicBezTo>
                <a:cubicBezTo>
                  <a:pt x="3697" y="1811"/>
                  <a:pt x="3695" y="1812"/>
                  <a:pt x="3693" y="1813"/>
                </a:cubicBezTo>
                <a:cubicBezTo>
                  <a:pt x="3692" y="1814"/>
                  <a:pt x="3690" y="1814"/>
                  <a:pt x="3688" y="1815"/>
                </a:cubicBezTo>
                <a:cubicBezTo>
                  <a:pt x="3688" y="1815"/>
                  <a:pt x="3688" y="1815"/>
                  <a:pt x="3688" y="1825"/>
                </a:cubicBezTo>
                <a:cubicBezTo>
                  <a:pt x="3691" y="1824"/>
                  <a:pt x="3694" y="1823"/>
                  <a:pt x="3696" y="1822"/>
                </a:cubicBezTo>
                <a:cubicBezTo>
                  <a:pt x="3698" y="1822"/>
                  <a:pt x="3701" y="1820"/>
                  <a:pt x="3703" y="1819"/>
                </a:cubicBezTo>
                <a:cubicBezTo>
                  <a:pt x="3703" y="1819"/>
                  <a:pt x="3703" y="1819"/>
                  <a:pt x="3703" y="1877"/>
                </a:cubicBezTo>
                <a:cubicBezTo>
                  <a:pt x="3703" y="1877"/>
                  <a:pt x="3703" y="1877"/>
                  <a:pt x="3714" y="1877"/>
                </a:cubicBezTo>
                <a:cubicBezTo>
                  <a:pt x="3714" y="1877"/>
                  <a:pt x="3714" y="1877"/>
                  <a:pt x="3714" y="1804"/>
                </a:cubicBezTo>
                <a:close/>
                <a:moveTo>
                  <a:pt x="3520" y="1836"/>
                </a:moveTo>
                <a:cubicBezTo>
                  <a:pt x="3520" y="1836"/>
                  <a:pt x="3520" y="1836"/>
                  <a:pt x="3520" y="1836"/>
                </a:cubicBezTo>
                <a:cubicBezTo>
                  <a:pt x="3520" y="1844"/>
                  <a:pt x="3520" y="1844"/>
                  <a:pt x="3520" y="1844"/>
                </a:cubicBezTo>
                <a:cubicBezTo>
                  <a:pt x="3526" y="1845"/>
                  <a:pt x="3527" y="1848"/>
                  <a:pt x="3527" y="1850"/>
                </a:cubicBezTo>
                <a:cubicBezTo>
                  <a:pt x="3527" y="1853"/>
                  <a:pt x="3526" y="1855"/>
                  <a:pt x="3526" y="1857"/>
                </a:cubicBezTo>
                <a:cubicBezTo>
                  <a:pt x="3526" y="1860"/>
                  <a:pt x="3526" y="1862"/>
                  <a:pt x="3526" y="1865"/>
                </a:cubicBezTo>
                <a:cubicBezTo>
                  <a:pt x="3526" y="1874"/>
                  <a:pt x="3532" y="1877"/>
                  <a:pt x="3540" y="1877"/>
                </a:cubicBezTo>
                <a:cubicBezTo>
                  <a:pt x="3540" y="1877"/>
                  <a:pt x="3540" y="1877"/>
                  <a:pt x="3544" y="1877"/>
                </a:cubicBezTo>
                <a:cubicBezTo>
                  <a:pt x="3544" y="1877"/>
                  <a:pt x="3544" y="1877"/>
                  <a:pt x="3544" y="1868"/>
                </a:cubicBezTo>
                <a:cubicBezTo>
                  <a:pt x="3544" y="1868"/>
                  <a:pt x="3544" y="1868"/>
                  <a:pt x="3542" y="1868"/>
                </a:cubicBezTo>
                <a:cubicBezTo>
                  <a:pt x="3539" y="1868"/>
                  <a:pt x="3537" y="1866"/>
                  <a:pt x="3537" y="1862"/>
                </a:cubicBezTo>
                <a:cubicBezTo>
                  <a:pt x="3537" y="1861"/>
                  <a:pt x="3537" y="1859"/>
                  <a:pt x="3538" y="1857"/>
                </a:cubicBezTo>
                <a:cubicBezTo>
                  <a:pt x="3538" y="1856"/>
                  <a:pt x="3538" y="1854"/>
                  <a:pt x="3538" y="1852"/>
                </a:cubicBezTo>
                <a:cubicBezTo>
                  <a:pt x="3538" y="1844"/>
                  <a:pt x="3535" y="1842"/>
                  <a:pt x="3530" y="1840"/>
                </a:cubicBezTo>
                <a:cubicBezTo>
                  <a:pt x="3530" y="1840"/>
                  <a:pt x="3530" y="1840"/>
                  <a:pt x="3530" y="1840"/>
                </a:cubicBezTo>
                <a:cubicBezTo>
                  <a:pt x="3535" y="1839"/>
                  <a:pt x="3538" y="1837"/>
                  <a:pt x="3538" y="1829"/>
                </a:cubicBezTo>
                <a:cubicBezTo>
                  <a:pt x="3538" y="1827"/>
                  <a:pt x="3538" y="1825"/>
                  <a:pt x="3538" y="1823"/>
                </a:cubicBezTo>
                <a:cubicBezTo>
                  <a:pt x="3537" y="1821"/>
                  <a:pt x="3537" y="1820"/>
                  <a:pt x="3537" y="1818"/>
                </a:cubicBezTo>
                <a:cubicBezTo>
                  <a:pt x="3537" y="1815"/>
                  <a:pt x="3539" y="1813"/>
                  <a:pt x="3542" y="1813"/>
                </a:cubicBezTo>
                <a:cubicBezTo>
                  <a:pt x="3542" y="1813"/>
                  <a:pt x="3542" y="1813"/>
                  <a:pt x="3544" y="1813"/>
                </a:cubicBezTo>
                <a:cubicBezTo>
                  <a:pt x="3544" y="1813"/>
                  <a:pt x="3544" y="1813"/>
                  <a:pt x="3544" y="1803"/>
                </a:cubicBezTo>
                <a:cubicBezTo>
                  <a:pt x="3544" y="1803"/>
                  <a:pt x="3544" y="1803"/>
                  <a:pt x="3540" y="1803"/>
                </a:cubicBezTo>
                <a:cubicBezTo>
                  <a:pt x="3531" y="1803"/>
                  <a:pt x="3526" y="1807"/>
                  <a:pt x="3526" y="1816"/>
                </a:cubicBezTo>
                <a:cubicBezTo>
                  <a:pt x="3526" y="1818"/>
                  <a:pt x="3526" y="1821"/>
                  <a:pt x="3526" y="1823"/>
                </a:cubicBezTo>
                <a:cubicBezTo>
                  <a:pt x="3526" y="1826"/>
                  <a:pt x="3527" y="1828"/>
                  <a:pt x="3527" y="1830"/>
                </a:cubicBezTo>
                <a:cubicBezTo>
                  <a:pt x="3527" y="1833"/>
                  <a:pt x="3526" y="1836"/>
                  <a:pt x="3520" y="1836"/>
                </a:cubicBezTo>
                <a:close/>
                <a:moveTo>
                  <a:pt x="3574" y="1844"/>
                </a:moveTo>
                <a:cubicBezTo>
                  <a:pt x="3574" y="1844"/>
                  <a:pt x="3574" y="1844"/>
                  <a:pt x="3574" y="1844"/>
                </a:cubicBezTo>
                <a:cubicBezTo>
                  <a:pt x="3574" y="1836"/>
                  <a:pt x="3574" y="1836"/>
                  <a:pt x="3574" y="1836"/>
                </a:cubicBezTo>
                <a:cubicBezTo>
                  <a:pt x="3568" y="1836"/>
                  <a:pt x="3568" y="1833"/>
                  <a:pt x="3568" y="1830"/>
                </a:cubicBezTo>
                <a:cubicBezTo>
                  <a:pt x="3568" y="1828"/>
                  <a:pt x="3568" y="1826"/>
                  <a:pt x="3568" y="1823"/>
                </a:cubicBezTo>
                <a:cubicBezTo>
                  <a:pt x="3569" y="1821"/>
                  <a:pt x="3569" y="1818"/>
                  <a:pt x="3569" y="1816"/>
                </a:cubicBezTo>
                <a:cubicBezTo>
                  <a:pt x="3569" y="1807"/>
                  <a:pt x="3563" y="1803"/>
                  <a:pt x="3554" y="1803"/>
                </a:cubicBezTo>
                <a:cubicBezTo>
                  <a:pt x="3554" y="1803"/>
                  <a:pt x="3554" y="1803"/>
                  <a:pt x="3550" y="1803"/>
                </a:cubicBezTo>
                <a:cubicBezTo>
                  <a:pt x="3550" y="1803"/>
                  <a:pt x="3550" y="1803"/>
                  <a:pt x="3550" y="1813"/>
                </a:cubicBezTo>
                <a:cubicBezTo>
                  <a:pt x="3550" y="1813"/>
                  <a:pt x="3550" y="1813"/>
                  <a:pt x="3552" y="1813"/>
                </a:cubicBezTo>
                <a:cubicBezTo>
                  <a:pt x="3556" y="1813"/>
                  <a:pt x="3557" y="1815"/>
                  <a:pt x="3557" y="1818"/>
                </a:cubicBezTo>
                <a:cubicBezTo>
                  <a:pt x="3557" y="1820"/>
                  <a:pt x="3557" y="1821"/>
                  <a:pt x="3557" y="1823"/>
                </a:cubicBezTo>
                <a:cubicBezTo>
                  <a:pt x="3556" y="1825"/>
                  <a:pt x="3556" y="1827"/>
                  <a:pt x="3556" y="1829"/>
                </a:cubicBezTo>
                <a:cubicBezTo>
                  <a:pt x="3556" y="1837"/>
                  <a:pt x="3559" y="1839"/>
                  <a:pt x="3565" y="1840"/>
                </a:cubicBezTo>
                <a:cubicBezTo>
                  <a:pt x="3565" y="1840"/>
                  <a:pt x="3565" y="1840"/>
                  <a:pt x="3565" y="1840"/>
                </a:cubicBezTo>
                <a:cubicBezTo>
                  <a:pt x="3559" y="1842"/>
                  <a:pt x="3556" y="1844"/>
                  <a:pt x="3556" y="1852"/>
                </a:cubicBezTo>
                <a:cubicBezTo>
                  <a:pt x="3556" y="1854"/>
                  <a:pt x="3556" y="1856"/>
                  <a:pt x="3557" y="1857"/>
                </a:cubicBezTo>
                <a:cubicBezTo>
                  <a:pt x="3557" y="1859"/>
                  <a:pt x="3557" y="1861"/>
                  <a:pt x="3557" y="1862"/>
                </a:cubicBezTo>
                <a:cubicBezTo>
                  <a:pt x="3557" y="1866"/>
                  <a:pt x="3556" y="1868"/>
                  <a:pt x="3552" y="1868"/>
                </a:cubicBezTo>
                <a:cubicBezTo>
                  <a:pt x="3552" y="1868"/>
                  <a:pt x="3552" y="1868"/>
                  <a:pt x="3550" y="1868"/>
                </a:cubicBezTo>
                <a:cubicBezTo>
                  <a:pt x="3550" y="1868"/>
                  <a:pt x="3550" y="1868"/>
                  <a:pt x="3550" y="1877"/>
                </a:cubicBezTo>
                <a:cubicBezTo>
                  <a:pt x="3550" y="1877"/>
                  <a:pt x="3550" y="1877"/>
                  <a:pt x="3554" y="1877"/>
                </a:cubicBezTo>
                <a:cubicBezTo>
                  <a:pt x="3563" y="1877"/>
                  <a:pt x="3569" y="1874"/>
                  <a:pt x="3569" y="1865"/>
                </a:cubicBezTo>
                <a:cubicBezTo>
                  <a:pt x="3569" y="1862"/>
                  <a:pt x="3569" y="1860"/>
                  <a:pt x="3568" y="1857"/>
                </a:cubicBezTo>
                <a:cubicBezTo>
                  <a:pt x="3568" y="1855"/>
                  <a:pt x="3568" y="1853"/>
                  <a:pt x="3568" y="1850"/>
                </a:cubicBezTo>
                <a:cubicBezTo>
                  <a:pt x="3568" y="1848"/>
                  <a:pt x="3568" y="1845"/>
                  <a:pt x="3574" y="1844"/>
                </a:cubicBezTo>
                <a:close/>
                <a:moveTo>
                  <a:pt x="3758" y="1877"/>
                </a:moveTo>
                <a:cubicBezTo>
                  <a:pt x="3751" y="1877"/>
                  <a:pt x="3744" y="1874"/>
                  <a:pt x="3740" y="1868"/>
                </a:cubicBezTo>
                <a:cubicBezTo>
                  <a:pt x="3736" y="1862"/>
                  <a:pt x="3734" y="1853"/>
                  <a:pt x="3734" y="1841"/>
                </a:cubicBezTo>
                <a:cubicBezTo>
                  <a:pt x="3734" y="1828"/>
                  <a:pt x="3736" y="1818"/>
                  <a:pt x="3741" y="1812"/>
                </a:cubicBezTo>
                <a:cubicBezTo>
                  <a:pt x="3745" y="1805"/>
                  <a:pt x="3752" y="1801"/>
                  <a:pt x="3761" y="1801"/>
                </a:cubicBezTo>
                <a:cubicBezTo>
                  <a:pt x="3777" y="1801"/>
                  <a:pt x="3785" y="1814"/>
                  <a:pt x="3785" y="1839"/>
                </a:cubicBezTo>
                <a:cubicBezTo>
                  <a:pt x="3785" y="1852"/>
                  <a:pt x="3782" y="1861"/>
                  <a:pt x="3777" y="1868"/>
                </a:cubicBezTo>
                <a:cubicBezTo>
                  <a:pt x="3773" y="1874"/>
                  <a:pt x="3766" y="1877"/>
                  <a:pt x="3758" y="1877"/>
                </a:cubicBezTo>
                <a:close/>
                <a:moveTo>
                  <a:pt x="3760" y="1811"/>
                </a:moveTo>
                <a:cubicBezTo>
                  <a:pt x="3750" y="1811"/>
                  <a:pt x="3746" y="1821"/>
                  <a:pt x="3746" y="1841"/>
                </a:cubicBezTo>
                <a:cubicBezTo>
                  <a:pt x="3746" y="1859"/>
                  <a:pt x="3750" y="1868"/>
                  <a:pt x="3759" y="1868"/>
                </a:cubicBezTo>
                <a:cubicBezTo>
                  <a:pt x="3768" y="1868"/>
                  <a:pt x="3772" y="1859"/>
                  <a:pt x="3772" y="1840"/>
                </a:cubicBezTo>
                <a:cubicBezTo>
                  <a:pt x="3772" y="1820"/>
                  <a:pt x="3768" y="1811"/>
                  <a:pt x="3760" y="1811"/>
                </a:cubicBezTo>
                <a:close/>
                <a:moveTo>
                  <a:pt x="3828" y="1877"/>
                </a:moveTo>
                <a:cubicBezTo>
                  <a:pt x="3821" y="1877"/>
                  <a:pt x="3815" y="1874"/>
                  <a:pt x="3811" y="1868"/>
                </a:cubicBezTo>
                <a:cubicBezTo>
                  <a:pt x="3807" y="1862"/>
                  <a:pt x="3804" y="1853"/>
                  <a:pt x="3804" y="1841"/>
                </a:cubicBezTo>
                <a:cubicBezTo>
                  <a:pt x="3804" y="1828"/>
                  <a:pt x="3807" y="1818"/>
                  <a:pt x="3811" y="1812"/>
                </a:cubicBezTo>
                <a:cubicBezTo>
                  <a:pt x="3815" y="1805"/>
                  <a:pt x="3822" y="1801"/>
                  <a:pt x="3831" y="1801"/>
                </a:cubicBezTo>
                <a:cubicBezTo>
                  <a:pt x="3847" y="1801"/>
                  <a:pt x="3855" y="1814"/>
                  <a:pt x="3855" y="1839"/>
                </a:cubicBezTo>
                <a:cubicBezTo>
                  <a:pt x="3855" y="1852"/>
                  <a:pt x="3853" y="1861"/>
                  <a:pt x="3848" y="1868"/>
                </a:cubicBezTo>
                <a:cubicBezTo>
                  <a:pt x="3843" y="1874"/>
                  <a:pt x="3837" y="1877"/>
                  <a:pt x="3828" y="1877"/>
                </a:cubicBezTo>
                <a:close/>
                <a:moveTo>
                  <a:pt x="3830" y="1811"/>
                </a:moveTo>
                <a:cubicBezTo>
                  <a:pt x="3821" y="1811"/>
                  <a:pt x="3816" y="1821"/>
                  <a:pt x="3816" y="1841"/>
                </a:cubicBezTo>
                <a:cubicBezTo>
                  <a:pt x="3816" y="1859"/>
                  <a:pt x="3820" y="1868"/>
                  <a:pt x="3829" y="1868"/>
                </a:cubicBezTo>
                <a:cubicBezTo>
                  <a:pt x="3838" y="1868"/>
                  <a:pt x="3842" y="1859"/>
                  <a:pt x="3842" y="1840"/>
                </a:cubicBezTo>
                <a:cubicBezTo>
                  <a:pt x="3842" y="1820"/>
                  <a:pt x="3838" y="1811"/>
                  <a:pt x="3830" y="1811"/>
                </a:cubicBezTo>
                <a:close/>
                <a:moveTo>
                  <a:pt x="1974" y="1900"/>
                </a:moveTo>
                <a:cubicBezTo>
                  <a:pt x="1974" y="1900"/>
                  <a:pt x="1974" y="1900"/>
                  <a:pt x="1974" y="1900"/>
                </a:cubicBezTo>
                <a:cubicBezTo>
                  <a:pt x="1969" y="1900"/>
                  <a:pt x="1969" y="1900"/>
                  <a:pt x="1969" y="1900"/>
                </a:cubicBezTo>
                <a:cubicBezTo>
                  <a:pt x="1967" y="1901"/>
                  <a:pt x="1965" y="1903"/>
                  <a:pt x="1963" y="1903"/>
                </a:cubicBezTo>
                <a:cubicBezTo>
                  <a:pt x="1962" y="1905"/>
                  <a:pt x="1960" y="1906"/>
                  <a:pt x="1958" y="1906"/>
                </a:cubicBezTo>
                <a:cubicBezTo>
                  <a:pt x="1956" y="1908"/>
                  <a:pt x="1954" y="1908"/>
                  <a:pt x="1953" y="1909"/>
                </a:cubicBezTo>
                <a:cubicBezTo>
                  <a:pt x="1950" y="1910"/>
                  <a:pt x="1949" y="1911"/>
                  <a:pt x="1947" y="1911"/>
                </a:cubicBezTo>
                <a:cubicBezTo>
                  <a:pt x="1947" y="1911"/>
                  <a:pt x="1947" y="1911"/>
                  <a:pt x="1947" y="1921"/>
                </a:cubicBezTo>
                <a:cubicBezTo>
                  <a:pt x="1950" y="1920"/>
                  <a:pt x="1953" y="1919"/>
                  <a:pt x="1956" y="1918"/>
                </a:cubicBezTo>
                <a:cubicBezTo>
                  <a:pt x="1958" y="1917"/>
                  <a:pt x="1960" y="1916"/>
                  <a:pt x="1962" y="1914"/>
                </a:cubicBezTo>
                <a:cubicBezTo>
                  <a:pt x="1962" y="1914"/>
                  <a:pt x="1962" y="1914"/>
                  <a:pt x="1962" y="1973"/>
                </a:cubicBezTo>
                <a:cubicBezTo>
                  <a:pt x="1962" y="1973"/>
                  <a:pt x="1962" y="1973"/>
                  <a:pt x="1974" y="1973"/>
                </a:cubicBezTo>
                <a:cubicBezTo>
                  <a:pt x="1974" y="1973"/>
                  <a:pt x="1974" y="1973"/>
                  <a:pt x="1974" y="1900"/>
                </a:cubicBezTo>
                <a:close/>
                <a:moveTo>
                  <a:pt x="2022" y="1900"/>
                </a:moveTo>
                <a:cubicBezTo>
                  <a:pt x="2022" y="1900"/>
                  <a:pt x="2022" y="1900"/>
                  <a:pt x="2022" y="1900"/>
                </a:cubicBezTo>
                <a:cubicBezTo>
                  <a:pt x="2016" y="1900"/>
                  <a:pt x="2016" y="1900"/>
                  <a:pt x="2016" y="1900"/>
                </a:cubicBezTo>
                <a:cubicBezTo>
                  <a:pt x="2014" y="1901"/>
                  <a:pt x="2013" y="1903"/>
                  <a:pt x="2011" y="1903"/>
                </a:cubicBezTo>
                <a:cubicBezTo>
                  <a:pt x="2009" y="1905"/>
                  <a:pt x="2007" y="1906"/>
                  <a:pt x="2005" y="1906"/>
                </a:cubicBezTo>
                <a:cubicBezTo>
                  <a:pt x="2004" y="1908"/>
                  <a:pt x="2002" y="1908"/>
                  <a:pt x="2000" y="1909"/>
                </a:cubicBezTo>
                <a:cubicBezTo>
                  <a:pt x="1998" y="1910"/>
                  <a:pt x="1996" y="1911"/>
                  <a:pt x="1994" y="1911"/>
                </a:cubicBezTo>
                <a:cubicBezTo>
                  <a:pt x="1994" y="1911"/>
                  <a:pt x="1994" y="1911"/>
                  <a:pt x="1994" y="1921"/>
                </a:cubicBezTo>
                <a:cubicBezTo>
                  <a:pt x="1997" y="1920"/>
                  <a:pt x="2000" y="1919"/>
                  <a:pt x="2002" y="1918"/>
                </a:cubicBezTo>
                <a:cubicBezTo>
                  <a:pt x="2005" y="1917"/>
                  <a:pt x="2008" y="1916"/>
                  <a:pt x="2010" y="1914"/>
                </a:cubicBezTo>
                <a:cubicBezTo>
                  <a:pt x="2010" y="1914"/>
                  <a:pt x="2010" y="1914"/>
                  <a:pt x="2010" y="1973"/>
                </a:cubicBezTo>
                <a:cubicBezTo>
                  <a:pt x="2010" y="1973"/>
                  <a:pt x="2010" y="1973"/>
                  <a:pt x="2022" y="1973"/>
                </a:cubicBezTo>
                <a:cubicBezTo>
                  <a:pt x="2022" y="1973"/>
                  <a:pt x="2022" y="1973"/>
                  <a:pt x="2022" y="1900"/>
                </a:cubicBezTo>
                <a:close/>
                <a:moveTo>
                  <a:pt x="2068" y="1900"/>
                </a:moveTo>
                <a:cubicBezTo>
                  <a:pt x="2068" y="1900"/>
                  <a:pt x="2068" y="1900"/>
                  <a:pt x="2068" y="1900"/>
                </a:cubicBezTo>
                <a:cubicBezTo>
                  <a:pt x="2064" y="1900"/>
                  <a:pt x="2064" y="1900"/>
                  <a:pt x="2064" y="1900"/>
                </a:cubicBezTo>
                <a:cubicBezTo>
                  <a:pt x="2062" y="1901"/>
                  <a:pt x="2060" y="1903"/>
                  <a:pt x="2058" y="1903"/>
                </a:cubicBezTo>
                <a:cubicBezTo>
                  <a:pt x="2057" y="1905"/>
                  <a:pt x="2054" y="1906"/>
                  <a:pt x="2053" y="1906"/>
                </a:cubicBezTo>
                <a:cubicBezTo>
                  <a:pt x="2051" y="1907"/>
                  <a:pt x="2049" y="1908"/>
                  <a:pt x="2047" y="1908"/>
                </a:cubicBezTo>
                <a:cubicBezTo>
                  <a:pt x="2046" y="1909"/>
                  <a:pt x="2044" y="1910"/>
                  <a:pt x="2042" y="1911"/>
                </a:cubicBezTo>
                <a:cubicBezTo>
                  <a:pt x="2042" y="1911"/>
                  <a:pt x="2042" y="1911"/>
                  <a:pt x="2042" y="1921"/>
                </a:cubicBezTo>
                <a:cubicBezTo>
                  <a:pt x="2045" y="1920"/>
                  <a:pt x="2048" y="1919"/>
                  <a:pt x="2050" y="1918"/>
                </a:cubicBezTo>
                <a:cubicBezTo>
                  <a:pt x="2052" y="1917"/>
                  <a:pt x="2055" y="1916"/>
                  <a:pt x="2057" y="1914"/>
                </a:cubicBezTo>
                <a:cubicBezTo>
                  <a:pt x="2057" y="1914"/>
                  <a:pt x="2057" y="1914"/>
                  <a:pt x="2057" y="1973"/>
                </a:cubicBezTo>
                <a:cubicBezTo>
                  <a:pt x="2057" y="1973"/>
                  <a:pt x="2057" y="1973"/>
                  <a:pt x="2068" y="1973"/>
                </a:cubicBezTo>
                <a:cubicBezTo>
                  <a:pt x="2068" y="1973"/>
                  <a:pt x="2068" y="1973"/>
                  <a:pt x="2068" y="1900"/>
                </a:cubicBezTo>
                <a:close/>
                <a:moveTo>
                  <a:pt x="2113" y="1973"/>
                </a:moveTo>
                <a:cubicBezTo>
                  <a:pt x="2106" y="1973"/>
                  <a:pt x="2099" y="1970"/>
                  <a:pt x="2095" y="1964"/>
                </a:cubicBezTo>
                <a:cubicBezTo>
                  <a:pt x="2091" y="1958"/>
                  <a:pt x="2089" y="1949"/>
                  <a:pt x="2089" y="1937"/>
                </a:cubicBezTo>
                <a:cubicBezTo>
                  <a:pt x="2089" y="1924"/>
                  <a:pt x="2091" y="1914"/>
                  <a:pt x="2095" y="1908"/>
                </a:cubicBezTo>
                <a:cubicBezTo>
                  <a:pt x="2100" y="1901"/>
                  <a:pt x="2106" y="1897"/>
                  <a:pt x="2115" y="1897"/>
                </a:cubicBezTo>
                <a:cubicBezTo>
                  <a:pt x="2131" y="1897"/>
                  <a:pt x="2139" y="1910"/>
                  <a:pt x="2139" y="1935"/>
                </a:cubicBezTo>
                <a:cubicBezTo>
                  <a:pt x="2139" y="1948"/>
                  <a:pt x="2137" y="1957"/>
                  <a:pt x="2132" y="1964"/>
                </a:cubicBezTo>
                <a:cubicBezTo>
                  <a:pt x="2128" y="1970"/>
                  <a:pt x="2121" y="1973"/>
                  <a:pt x="2113" y="1973"/>
                </a:cubicBezTo>
                <a:close/>
                <a:moveTo>
                  <a:pt x="2114" y="1907"/>
                </a:moveTo>
                <a:cubicBezTo>
                  <a:pt x="2105" y="1907"/>
                  <a:pt x="2101" y="1917"/>
                  <a:pt x="2101" y="1937"/>
                </a:cubicBezTo>
                <a:cubicBezTo>
                  <a:pt x="2101" y="1955"/>
                  <a:pt x="2105" y="1964"/>
                  <a:pt x="2114" y="1964"/>
                </a:cubicBezTo>
                <a:cubicBezTo>
                  <a:pt x="2122" y="1964"/>
                  <a:pt x="2127" y="1955"/>
                  <a:pt x="2127" y="1936"/>
                </a:cubicBezTo>
                <a:cubicBezTo>
                  <a:pt x="2127" y="1916"/>
                  <a:pt x="2122" y="1907"/>
                  <a:pt x="2114" y="1907"/>
                </a:cubicBezTo>
                <a:close/>
                <a:moveTo>
                  <a:pt x="2184" y="1973"/>
                </a:moveTo>
                <a:cubicBezTo>
                  <a:pt x="2176" y="1973"/>
                  <a:pt x="2170" y="1970"/>
                  <a:pt x="2166" y="1964"/>
                </a:cubicBezTo>
                <a:cubicBezTo>
                  <a:pt x="2162" y="1958"/>
                  <a:pt x="2159" y="1949"/>
                  <a:pt x="2159" y="1937"/>
                </a:cubicBezTo>
                <a:cubicBezTo>
                  <a:pt x="2159" y="1924"/>
                  <a:pt x="2162" y="1914"/>
                  <a:pt x="2166" y="1908"/>
                </a:cubicBezTo>
                <a:cubicBezTo>
                  <a:pt x="2170" y="1901"/>
                  <a:pt x="2177" y="1897"/>
                  <a:pt x="2186" y="1897"/>
                </a:cubicBezTo>
                <a:cubicBezTo>
                  <a:pt x="2202" y="1897"/>
                  <a:pt x="2210" y="1910"/>
                  <a:pt x="2210" y="1935"/>
                </a:cubicBezTo>
                <a:cubicBezTo>
                  <a:pt x="2210" y="1948"/>
                  <a:pt x="2208" y="1957"/>
                  <a:pt x="2204" y="1964"/>
                </a:cubicBezTo>
                <a:cubicBezTo>
                  <a:pt x="2198" y="1970"/>
                  <a:pt x="2193" y="1973"/>
                  <a:pt x="2184" y="1973"/>
                </a:cubicBezTo>
                <a:close/>
                <a:moveTo>
                  <a:pt x="2185" y="1907"/>
                </a:moveTo>
                <a:cubicBezTo>
                  <a:pt x="2176" y="1907"/>
                  <a:pt x="2171" y="1917"/>
                  <a:pt x="2171" y="1937"/>
                </a:cubicBezTo>
                <a:cubicBezTo>
                  <a:pt x="2171" y="1955"/>
                  <a:pt x="2176" y="1964"/>
                  <a:pt x="2184" y="1964"/>
                </a:cubicBezTo>
                <a:cubicBezTo>
                  <a:pt x="2193" y="1964"/>
                  <a:pt x="2198" y="1955"/>
                  <a:pt x="2198" y="1936"/>
                </a:cubicBezTo>
                <a:cubicBezTo>
                  <a:pt x="2198" y="1916"/>
                  <a:pt x="2193" y="1907"/>
                  <a:pt x="2185" y="1907"/>
                </a:cubicBezTo>
                <a:close/>
                <a:moveTo>
                  <a:pt x="2397" y="1973"/>
                </a:moveTo>
                <a:cubicBezTo>
                  <a:pt x="2389" y="1973"/>
                  <a:pt x="2383" y="1970"/>
                  <a:pt x="2379" y="1964"/>
                </a:cubicBezTo>
                <a:cubicBezTo>
                  <a:pt x="2375" y="1958"/>
                  <a:pt x="2372" y="1948"/>
                  <a:pt x="2372" y="1937"/>
                </a:cubicBezTo>
                <a:cubicBezTo>
                  <a:pt x="2372" y="1924"/>
                  <a:pt x="2375" y="1914"/>
                  <a:pt x="2379" y="1907"/>
                </a:cubicBezTo>
                <a:cubicBezTo>
                  <a:pt x="2383" y="1900"/>
                  <a:pt x="2390" y="1897"/>
                  <a:pt x="2399" y="1897"/>
                </a:cubicBezTo>
                <a:cubicBezTo>
                  <a:pt x="2415" y="1897"/>
                  <a:pt x="2423" y="1910"/>
                  <a:pt x="2423" y="1935"/>
                </a:cubicBezTo>
                <a:cubicBezTo>
                  <a:pt x="2423" y="1948"/>
                  <a:pt x="2421" y="1957"/>
                  <a:pt x="2416" y="1964"/>
                </a:cubicBezTo>
                <a:cubicBezTo>
                  <a:pt x="2411" y="1970"/>
                  <a:pt x="2405" y="1973"/>
                  <a:pt x="2397" y="1973"/>
                </a:cubicBezTo>
                <a:close/>
                <a:moveTo>
                  <a:pt x="2398" y="1907"/>
                </a:moveTo>
                <a:cubicBezTo>
                  <a:pt x="2389" y="1907"/>
                  <a:pt x="2385" y="1916"/>
                  <a:pt x="2385" y="1936"/>
                </a:cubicBezTo>
                <a:cubicBezTo>
                  <a:pt x="2385" y="1954"/>
                  <a:pt x="2389" y="1964"/>
                  <a:pt x="2398" y="1964"/>
                </a:cubicBezTo>
                <a:cubicBezTo>
                  <a:pt x="2406" y="1964"/>
                  <a:pt x="2410" y="1954"/>
                  <a:pt x="2410" y="1936"/>
                </a:cubicBezTo>
                <a:cubicBezTo>
                  <a:pt x="2410" y="1916"/>
                  <a:pt x="2407" y="1907"/>
                  <a:pt x="2398" y="1907"/>
                </a:cubicBezTo>
                <a:close/>
                <a:moveTo>
                  <a:pt x="2515" y="1973"/>
                </a:moveTo>
                <a:cubicBezTo>
                  <a:pt x="2507" y="1973"/>
                  <a:pt x="2502" y="1970"/>
                  <a:pt x="2497" y="1964"/>
                </a:cubicBezTo>
                <a:cubicBezTo>
                  <a:pt x="2493" y="1958"/>
                  <a:pt x="2491" y="1948"/>
                  <a:pt x="2491" y="1937"/>
                </a:cubicBezTo>
                <a:cubicBezTo>
                  <a:pt x="2491" y="1924"/>
                  <a:pt x="2493" y="1914"/>
                  <a:pt x="2497" y="1907"/>
                </a:cubicBezTo>
                <a:cubicBezTo>
                  <a:pt x="2502" y="1900"/>
                  <a:pt x="2508" y="1897"/>
                  <a:pt x="2517" y="1897"/>
                </a:cubicBezTo>
                <a:cubicBezTo>
                  <a:pt x="2533" y="1897"/>
                  <a:pt x="2541" y="1910"/>
                  <a:pt x="2541" y="1935"/>
                </a:cubicBezTo>
                <a:cubicBezTo>
                  <a:pt x="2541" y="1948"/>
                  <a:pt x="2539" y="1957"/>
                  <a:pt x="2534" y="1964"/>
                </a:cubicBezTo>
                <a:cubicBezTo>
                  <a:pt x="2529" y="1970"/>
                  <a:pt x="2523" y="1973"/>
                  <a:pt x="2515" y="1973"/>
                </a:cubicBezTo>
                <a:close/>
                <a:moveTo>
                  <a:pt x="2516" y="1907"/>
                </a:moveTo>
                <a:cubicBezTo>
                  <a:pt x="2507" y="1907"/>
                  <a:pt x="2503" y="1916"/>
                  <a:pt x="2503" y="1936"/>
                </a:cubicBezTo>
                <a:cubicBezTo>
                  <a:pt x="2503" y="1954"/>
                  <a:pt x="2507" y="1964"/>
                  <a:pt x="2516" y="1964"/>
                </a:cubicBezTo>
                <a:cubicBezTo>
                  <a:pt x="2524" y="1964"/>
                  <a:pt x="2529" y="1954"/>
                  <a:pt x="2529" y="1936"/>
                </a:cubicBezTo>
                <a:cubicBezTo>
                  <a:pt x="2529" y="1916"/>
                  <a:pt x="2525" y="1907"/>
                  <a:pt x="2516" y="1907"/>
                </a:cubicBezTo>
                <a:close/>
                <a:moveTo>
                  <a:pt x="2470" y="1900"/>
                </a:moveTo>
                <a:cubicBezTo>
                  <a:pt x="2470" y="1900"/>
                  <a:pt x="2470" y="1900"/>
                  <a:pt x="2470" y="1900"/>
                </a:cubicBezTo>
                <a:cubicBezTo>
                  <a:pt x="2465" y="1900"/>
                  <a:pt x="2465" y="1900"/>
                  <a:pt x="2465" y="1900"/>
                </a:cubicBezTo>
                <a:cubicBezTo>
                  <a:pt x="2463" y="1901"/>
                  <a:pt x="2461" y="1903"/>
                  <a:pt x="2459" y="1903"/>
                </a:cubicBezTo>
                <a:cubicBezTo>
                  <a:pt x="2458" y="1905"/>
                  <a:pt x="2456" y="1906"/>
                  <a:pt x="2454" y="1906"/>
                </a:cubicBezTo>
                <a:cubicBezTo>
                  <a:pt x="2453" y="1907"/>
                  <a:pt x="2451" y="1908"/>
                  <a:pt x="2449" y="1908"/>
                </a:cubicBezTo>
                <a:cubicBezTo>
                  <a:pt x="2447" y="1909"/>
                  <a:pt x="2446" y="1910"/>
                  <a:pt x="2444" y="1911"/>
                </a:cubicBezTo>
                <a:cubicBezTo>
                  <a:pt x="2444" y="1911"/>
                  <a:pt x="2444" y="1911"/>
                  <a:pt x="2444" y="1921"/>
                </a:cubicBezTo>
                <a:cubicBezTo>
                  <a:pt x="2446" y="1920"/>
                  <a:pt x="2449" y="1919"/>
                  <a:pt x="2451" y="1918"/>
                </a:cubicBezTo>
                <a:cubicBezTo>
                  <a:pt x="2454" y="1917"/>
                  <a:pt x="2456" y="1916"/>
                  <a:pt x="2459" y="1914"/>
                </a:cubicBezTo>
                <a:cubicBezTo>
                  <a:pt x="2459" y="1914"/>
                  <a:pt x="2459" y="1914"/>
                  <a:pt x="2459" y="1973"/>
                </a:cubicBezTo>
                <a:cubicBezTo>
                  <a:pt x="2459" y="1973"/>
                  <a:pt x="2459" y="1973"/>
                  <a:pt x="2470" y="1973"/>
                </a:cubicBezTo>
                <a:cubicBezTo>
                  <a:pt x="2470" y="1973"/>
                  <a:pt x="2470" y="1973"/>
                  <a:pt x="2470" y="1900"/>
                </a:cubicBezTo>
                <a:close/>
                <a:moveTo>
                  <a:pt x="2586" y="1973"/>
                </a:moveTo>
                <a:cubicBezTo>
                  <a:pt x="2578" y="1973"/>
                  <a:pt x="2572" y="1970"/>
                  <a:pt x="2568" y="1964"/>
                </a:cubicBezTo>
                <a:cubicBezTo>
                  <a:pt x="2564" y="1958"/>
                  <a:pt x="2562" y="1949"/>
                  <a:pt x="2562" y="1937"/>
                </a:cubicBezTo>
                <a:cubicBezTo>
                  <a:pt x="2562" y="1924"/>
                  <a:pt x="2564" y="1914"/>
                  <a:pt x="2568" y="1908"/>
                </a:cubicBezTo>
                <a:cubicBezTo>
                  <a:pt x="2573" y="1901"/>
                  <a:pt x="2579" y="1897"/>
                  <a:pt x="2588" y="1897"/>
                </a:cubicBezTo>
                <a:cubicBezTo>
                  <a:pt x="2604" y="1897"/>
                  <a:pt x="2612" y="1910"/>
                  <a:pt x="2612" y="1935"/>
                </a:cubicBezTo>
                <a:cubicBezTo>
                  <a:pt x="2612" y="1948"/>
                  <a:pt x="2610" y="1957"/>
                  <a:pt x="2605" y="1964"/>
                </a:cubicBezTo>
                <a:cubicBezTo>
                  <a:pt x="2600" y="1970"/>
                  <a:pt x="2594" y="1973"/>
                  <a:pt x="2586" y="1973"/>
                </a:cubicBezTo>
                <a:close/>
                <a:moveTo>
                  <a:pt x="2587" y="1907"/>
                </a:moveTo>
                <a:cubicBezTo>
                  <a:pt x="2578" y="1907"/>
                  <a:pt x="2573" y="1917"/>
                  <a:pt x="2573" y="1937"/>
                </a:cubicBezTo>
                <a:cubicBezTo>
                  <a:pt x="2573" y="1955"/>
                  <a:pt x="2578" y="1964"/>
                  <a:pt x="2586" y="1964"/>
                </a:cubicBezTo>
                <a:cubicBezTo>
                  <a:pt x="2595" y="1964"/>
                  <a:pt x="2600" y="1955"/>
                  <a:pt x="2600" y="1936"/>
                </a:cubicBezTo>
                <a:cubicBezTo>
                  <a:pt x="2600" y="1916"/>
                  <a:pt x="2595" y="1907"/>
                  <a:pt x="2587" y="1907"/>
                </a:cubicBezTo>
                <a:close/>
                <a:moveTo>
                  <a:pt x="2633" y="1932"/>
                </a:moveTo>
                <a:cubicBezTo>
                  <a:pt x="2633" y="1932"/>
                  <a:pt x="2633" y="1932"/>
                  <a:pt x="2633" y="1932"/>
                </a:cubicBezTo>
                <a:cubicBezTo>
                  <a:pt x="2633" y="1940"/>
                  <a:pt x="2633" y="1940"/>
                  <a:pt x="2633" y="1940"/>
                </a:cubicBezTo>
                <a:cubicBezTo>
                  <a:pt x="2639" y="1941"/>
                  <a:pt x="2640" y="1944"/>
                  <a:pt x="2640" y="1946"/>
                </a:cubicBezTo>
                <a:cubicBezTo>
                  <a:pt x="2640" y="1948"/>
                  <a:pt x="2639" y="1951"/>
                  <a:pt x="2639" y="1953"/>
                </a:cubicBezTo>
                <a:cubicBezTo>
                  <a:pt x="2639" y="1956"/>
                  <a:pt x="2639" y="1958"/>
                  <a:pt x="2639" y="1960"/>
                </a:cubicBezTo>
                <a:cubicBezTo>
                  <a:pt x="2639" y="1970"/>
                  <a:pt x="2644" y="1973"/>
                  <a:pt x="2653" y="1973"/>
                </a:cubicBezTo>
                <a:cubicBezTo>
                  <a:pt x="2653" y="1973"/>
                  <a:pt x="2653" y="1973"/>
                  <a:pt x="2657" y="1973"/>
                </a:cubicBezTo>
                <a:cubicBezTo>
                  <a:pt x="2657" y="1973"/>
                  <a:pt x="2657" y="1973"/>
                  <a:pt x="2657" y="1964"/>
                </a:cubicBezTo>
                <a:cubicBezTo>
                  <a:pt x="2657" y="1964"/>
                  <a:pt x="2657" y="1964"/>
                  <a:pt x="2655" y="1964"/>
                </a:cubicBezTo>
                <a:cubicBezTo>
                  <a:pt x="2651" y="1964"/>
                  <a:pt x="2650" y="1962"/>
                  <a:pt x="2650" y="1958"/>
                </a:cubicBezTo>
                <a:cubicBezTo>
                  <a:pt x="2650" y="1957"/>
                  <a:pt x="2650" y="1955"/>
                  <a:pt x="2651" y="1953"/>
                </a:cubicBezTo>
                <a:cubicBezTo>
                  <a:pt x="2651" y="1952"/>
                  <a:pt x="2651" y="1950"/>
                  <a:pt x="2651" y="1947"/>
                </a:cubicBezTo>
                <a:cubicBezTo>
                  <a:pt x="2651" y="1940"/>
                  <a:pt x="2648" y="1937"/>
                  <a:pt x="2643" y="1936"/>
                </a:cubicBezTo>
                <a:cubicBezTo>
                  <a:pt x="2643" y="1936"/>
                  <a:pt x="2643" y="1936"/>
                  <a:pt x="2643" y="1936"/>
                </a:cubicBezTo>
                <a:cubicBezTo>
                  <a:pt x="2648" y="1935"/>
                  <a:pt x="2651" y="1932"/>
                  <a:pt x="2651" y="1925"/>
                </a:cubicBezTo>
                <a:cubicBezTo>
                  <a:pt x="2651" y="1922"/>
                  <a:pt x="2651" y="1920"/>
                  <a:pt x="2651" y="1919"/>
                </a:cubicBezTo>
                <a:cubicBezTo>
                  <a:pt x="2650" y="1917"/>
                  <a:pt x="2650" y="1915"/>
                  <a:pt x="2650" y="1914"/>
                </a:cubicBezTo>
                <a:cubicBezTo>
                  <a:pt x="2650" y="1910"/>
                  <a:pt x="2651" y="1908"/>
                  <a:pt x="2655" y="1908"/>
                </a:cubicBezTo>
                <a:cubicBezTo>
                  <a:pt x="2655" y="1908"/>
                  <a:pt x="2655" y="1908"/>
                  <a:pt x="2657" y="1908"/>
                </a:cubicBezTo>
                <a:cubicBezTo>
                  <a:pt x="2657" y="1908"/>
                  <a:pt x="2657" y="1908"/>
                  <a:pt x="2657" y="1899"/>
                </a:cubicBezTo>
                <a:cubicBezTo>
                  <a:pt x="2657" y="1899"/>
                  <a:pt x="2657" y="1899"/>
                  <a:pt x="2653" y="1899"/>
                </a:cubicBezTo>
                <a:cubicBezTo>
                  <a:pt x="2644" y="1899"/>
                  <a:pt x="2639" y="1903"/>
                  <a:pt x="2639" y="1911"/>
                </a:cubicBezTo>
                <a:cubicBezTo>
                  <a:pt x="2639" y="1914"/>
                  <a:pt x="2639" y="1916"/>
                  <a:pt x="2639" y="1919"/>
                </a:cubicBezTo>
                <a:cubicBezTo>
                  <a:pt x="2639" y="1921"/>
                  <a:pt x="2640" y="1924"/>
                  <a:pt x="2640" y="1926"/>
                </a:cubicBezTo>
                <a:cubicBezTo>
                  <a:pt x="2640" y="1928"/>
                  <a:pt x="2639" y="1932"/>
                  <a:pt x="2633" y="1932"/>
                </a:cubicBezTo>
                <a:close/>
                <a:moveTo>
                  <a:pt x="2687" y="1940"/>
                </a:moveTo>
                <a:cubicBezTo>
                  <a:pt x="2687" y="1940"/>
                  <a:pt x="2687" y="1940"/>
                  <a:pt x="2687" y="1940"/>
                </a:cubicBezTo>
                <a:cubicBezTo>
                  <a:pt x="2687" y="1932"/>
                  <a:pt x="2687" y="1932"/>
                  <a:pt x="2687" y="1932"/>
                </a:cubicBezTo>
                <a:cubicBezTo>
                  <a:pt x="2681" y="1932"/>
                  <a:pt x="2681" y="1928"/>
                  <a:pt x="2681" y="1926"/>
                </a:cubicBezTo>
                <a:cubicBezTo>
                  <a:pt x="2681" y="1924"/>
                  <a:pt x="2681" y="1921"/>
                  <a:pt x="2681" y="1919"/>
                </a:cubicBezTo>
                <a:cubicBezTo>
                  <a:pt x="2681" y="1916"/>
                  <a:pt x="2681" y="1914"/>
                  <a:pt x="2681" y="1911"/>
                </a:cubicBezTo>
                <a:cubicBezTo>
                  <a:pt x="2681" y="1903"/>
                  <a:pt x="2676" y="1899"/>
                  <a:pt x="2667" y="1899"/>
                </a:cubicBezTo>
                <a:cubicBezTo>
                  <a:pt x="2667" y="1899"/>
                  <a:pt x="2667" y="1899"/>
                  <a:pt x="2663" y="1899"/>
                </a:cubicBezTo>
                <a:cubicBezTo>
                  <a:pt x="2663" y="1899"/>
                  <a:pt x="2663" y="1899"/>
                  <a:pt x="2663" y="1908"/>
                </a:cubicBezTo>
                <a:cubicBezTo>
                  <a:pt x="2663" y="1908"/>
                  <a:pt x="2663" y="1908"/>
                  <a:pt x="2665" y="1908"/>
                </a:cubicBezTo>
                <a:cubicBezTo>
                  <a:pt x="2669" y="1908"/>
                  <a:pt x="2670" y="1910"/>
                  <a:pt x="2670" y="1914"/>
                </a:cubicBezTo>
                <a:cubicBezTo>
                  <a:pt x="2670" y="1915"/>
                  <a:pt x="2670" y="1917"/>
                  <a:pt x="2670" y="1919"/>
                </a:cubicBezTo>
                <a:cubicBezTo>
                  <a:pt x="2669" y="1920"/>
                  <a:pt x="2669" y="1922"/>
                  <a:pt x="2669" y="1925"/>
                </a:cubicBezTo>
                <a:cubicBezTo>
                  <a:pt x="2669" y="1932"/>
                  <a:pt x="2672" y="1935"/>
                  <a:pt x="2678" y="1936"/>
                </a:cubicBezTo>
                <a:cubicBezTo>
                  <a:pt x="2678" y="1936"/>
                  <a:pt x="2678" y="1936"/>
                  <a:pt x="2678" y="1936"/>
                </a:cubicBezTo>
                <a:cubicBezTo>
                  <a:pt x="2672" y="1937"/>
                  <a:pt x="2669" y="1940"/>
                  <a:pt x="2669" y="1947"/>
                </a:cubicBezTo>
                <a:cubicBezTo>
                  <a:pt x="2669" y="1950"/>
                  <a:pt x="2669" y="1952"/>
                  <a:pt x="2670" y="1953"/>
                </a:cubicBezTo>
                <a:cubicBezTo>
                  <a:pt x="2670" y="1955"/>
                  <a:pt x="2670" y="1957"/>
                  <a:pt x="2670" y="1958"/>
                </a:cubicBezTo>
                <a:cubicBezTo>
                  <a:pt x="2670" y="1962"/>
                  <a:pt x="2669" y="1964"/>
                  <a:pt x="2665" y="1964"/>
                </a:cubicBezTo>
                <a:cubicBezTo>
                  <a:pt x="2665" y="1964"/>
                  <a:pt x="2665" y="1964"/>
                  <a:pt x="2663" y="1964"/>
                </a:cubicBezTo>
                <a:cubicBezTo>
                  <a:pt x="2663" y="1964"/>
                  <a:pt x="2663" y="1964"/>
                  <a:pt x="2663" y="1973"/>
                </a:cubicBezTo>
                <a:cubicBezTo>
                  <a:pt x="2663" y="1973"/>
                  <a:pt x="2663" y="1973"/>
                  <a:pt x="2667" y="1973"/>
                </a:cubicBezTo>
                <a:cubicBezTo>
                  <a:pt x="2676" y="1973"/>
                  <a:pt x="2681" y="1970"/>
                  <a:pt x="2681" y="1960"/>
                </a:cubicBezTo>
                <a:cubicBezTo>
                  <a:pt x="2681" y="1958"/>
                  <a:pt x="2681" y="1956"/>
                  <a:pt x="2681" y="1953"/>
                </a:cubicBezTo>
                <a:cubicBezTo>
                  <a:pt x="2681" y="1951"/>
                  <a:pt x="2681" y="1948"/>
                  <a:pt x="2681" y="1946"/>
                </a:cubicBezTo>
                <a:cubicBezTo>
                  <a:pt x="2681" y="1944"/>
                  <a:pt x="2681" y="1941"/>
                  <a:pt x="2687" y="1940"/>
                </a:cubicBezTo>
                <a:close/>
                <a:moveTo>
                  <a:pt x="2808" y="1973"/>
                </a:moveTo>
                <a:cubicBezTo>
                  <a:pt x="2801" y="1973"/>
                  <a:pt x="2794" y="1970"/>
                  <a:pt x="2790" y="1964"/>
                </a:cubicBezTo>
                <a:cubicBezTo>
                  <a:pt x="2786" y="1958"/>
                  <a:pt x="2784" y="1949"/>
                  <a:pt x="2784" y="1937"/>
                </a:cubicBezTo>
                <a:cubicBezTo>
                  <a:pt x="2784" y="1924"/>
                  <a:pt x="2786" y="1914"/>
                  <a:pt x="2790" y="1908"/>
                </a:cubicBezTo>
                <a:cubicBezTo>
                  <a:pt x="2795" y="1901"/>
                  <a:pt x="2801" y="1897"/>
                  <a:pt x="2810" y="1897"/>
                </a:cubicBezTo>
                <a:cubicBezTo>
                  <a:pt x="2826" y="1897"/>
                  <a:pt x="2834" y="1910"/>
                  <a:pt x="2834" y="1935"/>
                </a:cubicBezTo>
                <a:cubicBezTo>
                  <a:pt x="2834" y="1948"/>
                  <a:pt x="2832" y="1957"/>
                  <a:pt x="2827" y="1964"/>
                </a:cubicBezTo>
                <a:cubicBezTo>
                  <a:pt x="2823" y="1970"/>
                  <a:pt x="2816" y="1973"/>
                  <a:pt x="2808" y="1973"/>
                </a:cubicBezTo>
                <a:close/>
                <a:moveTo>
                  <a:pt x="2809" y="1907"/>
                </a:moveTo>
                <a:cubicBezTo>
                  <a:pt x="2800" y="1907"/>
                  <a:pt x="2796" y="1917"/>
                  <a:pt x="2796" y="1937"/>
                </a:cubicBezTo>
                <a:cubicBezTo>
                  <a:pt x="2796" y="1955"/>
                  <a:pt x="2800" y="1964"/>
                  <a:pt x="2809" y="1964"/>
                </a:cubicBezTo>
                <a:cubicBezTo>
                  <a:pt x="2817" y="1964"/>
                  <a:pt x="2822" y="1955"/>
                  <a:pt x="2822" y="1936"/>
                </a:cubicBezTo>
                <a:cubicBezTo>
                  <a:pt x="2822" y="1916"/>
                  <a:pt x="2817" y="1907"/>
                  <a:pt x="2809" y="1907"/>
                </a:cubicBezTo>
                <a:close/>
                <a:moveTo>
                  <a:pt x="2882" y="1900"/>
                </a:moveTo>
                <a:cubicBezTo>
                  <a:pt x="2882" y="1900"/>
                  <a:pt x="2882" y="1900"/>
                  <a:pt x="2882" y="1900"/>
                </a:cubicBezTo>
                <a:cubicBezTo>
                  <a:pt x="2877" y="1900"/>
                  <a:pt x="2877" y="1900"/>
                  <a:pt x="2877" y="1900"/>
                </a:cubicBezTo>
                <a:cubicBezTo>
                  <a:pt x="2875" y="1901"/>
                  <a:pt x="2873" y="1903"/>
                  <a:pt x="2871" y="1903"/>
                </a:cubicBezTo>
                <a:cubicBezTo>
                  <a:pt x="2869" y="1905"/>
                  <a:pt x="2867" y="1906"/>
                  <a:pt x="2866" y="1906"/>
                </a:cubicBezTo>
                <a:cubicBezTo>
                  <a:pt x="2864" y="1907"/>
                  <a:pt x="2862" y="1908"/>
                  <a:pt x="2861" y="1908"/>
                </a:cubicBezTo>
                <a:cubicBezTo>
                  <a:pt x="2859" y="1909"/>
                  <a:pt x="2857" y="1910"/>
                  <a:pt x="2855" y="1911"/>
                </a:cubicBezTo>
                <a:cubicBezTo>
                  <a:pt x="2855" y="1911"/>
                  <a:pt x="2855" y="1911"/>
                  <a:pt x="2855" y="1921"/>
                </a:cubicBezTo>
                <a:cubicBezTo>
                  <a:pt x="2858" y="1920"/>
                  <a:pt x="2861" y="1919"/>
                  <a:pt x="2863" y="1918"/>
                </a:cubicBezTo>
                <a:cubicBezTo>
                  <a:pt x="2866" y="1917"/>
                  <a:pt x="2868" y="1916"/>
                  <a:pt x="2870" y="1914"/>
                </a:cubicBezTo>
                <a:cubicBezTo>
                  <a:pt x="2870" y="1914"/>
                  <a:pt x="2870" y="1914"/>
                  <a:pt x="2870" y="1973"/>
                </a:cubicBezTo>
                <a:cubicBezTo>
                  <a:pt x="2870" y="1973"/>
                  <a:pt x="2870" y="1973"/>
                  <a:pt x="2882" y="1973"/>
                </a:cubicBezTo>
                <a:cubicBezTo>
                  <a:pt x="2882" y="1973"/>
                  <a:pt x="2882" y="1973"/>
                  <a:pt x="2882" y="1900"/>
                </a:cubicBezTo>
                <a:close/>
                <a:moveTo>
                  <a:pt x="2714" y="1973"/>
                </a:moveTo>
                <a:cubicBezTo>
                  <a:pt x="2717" y="1954"/>
                  <a:pt x="2717" y="1954"/>
                  <a:pt x="2717" y="1954"/>
                </a:cubicBezTo>
                <a:cubicBezTo>
                  <a:pt x="2708" y="1954"/>
                  <a:pt x="2708" y="1954"/>
                  <a:pt x="2708" y="1954"/>
                </a:cubicBezTo>
                <a:cubicBezTo>
                  <a:pt x="2708" y="1942"/>
                  <a:pt x="2708" y="1942"/>
                  <a:pt x="2708" y="1942"/>
                </a:cubicBezTo>
                <a:cubicBezTo>
                  <a:pt x="2719" y="1942"/>
                  <a:pt x="2719" y="1942"/>
                  <a:pt x="2719" y="1942"/>
                </a:cubicBezTo>
                <a:cubicBezTo>
                  <a:pt x="2720" y="1931"/>
                  <a:pt x="2720" y="1931"/>
                  <a:pt x="2720" y="1931"/>
                </a:cubicBezTo>
                <a:cubicBezTo>
                  <a:pt x="2711" y="1931"/>
                  <a:pt x="2711" y="1931"/>
                  <a:pt x="2711" y="1931"/>
                </a:cubicBezTo>
                <a:cubicBezTo>
                  <a:pt x="2711" y="1919"/>
                  <a:pt x="2711" y="1919"/>
                  <a:pt x="2711" y="1919"/>
                </a:cubicBezTo>
                <a:cubicBezTo>
                  <a:pt x="2722" y="1919"/>
                  <a:pt x="2722" y="1919"/>
                  <a:pt x="2722" y="1919"/>
                </a:cubicBezTo>
                <a:cubicBezTo>
                  <a:pt x="2725" y="1901"/>
                  <a:pt x="2725" y="1901"/>
                  <a:pt x="2725" y="1901"/>
                </a:cubicBezTo>
                <a:cubicBezTo>
                  <a:pt x="2736" y="1901"/>
                  <a:pt x="2736" y="1901"/>
                  <a:pt x="2736" y="1901"/>
                </a:cubicBezTo>
                <a:cubicBezTo>
                  <a:pt x="2733" y="1919"/>
                  <a:pt x="2733" y="1919"/>
                  <a:pt x="2733" y="1919"/>
                </a:cubicBezTo>
                <a:cubicBezTo>
                  <a:pt x="2743" y="1919"/>
                  <a:pt x="2743" y="1919"/>
                  <a:pt x="2743" y="1919"/>
                </a:cubicBezTo>
                <a:cubicBezTo>
                  <a:pt x="2746" y="1901"/>
                  <a:pt x="2746" y="1901"/>
                  <a:pt x="2746" y="1901"/>
                </a:cubicBezTo>
                <a:cubicBezTo>
                  <a:pt x="2757" y="1901"/>
                  <a:pt x="2757" y="1901"/>
                  <a:pt x="2757" y="1901"/>
                </a:cubicBezTo>
                <a:cubicBezTo>
                  <a:pt x="2754" y="1919"/>
                  <a:pt x="2754" y="1919"/>
                  <a:pt x="2754" y="1919"/>
                </a:cubicBezTo>
                <a:cubicBezTo>
                  <a:pt x="2763" y="1919"/>
                  <a:pt x="2763" y="1919"/>
                  <a:pt x="2763" y="1919"/>
                </a:cubicBezTo>
                <a:cubicBezTo>
                  <a:pt x="2763" y="1931"/>
                  <a:pt x="2763" y="1931"/>
                  <a:pt x="2763" y="1931"/>
                </a:cubicBezTo>
                <a:cubicBezTo>
                  <a:pt x="2753" y="1931"/>
                  <a:pt x="2753" y="1931"/>
                  <a:pt x="2753" y="1931"/>
                </a:cubicBezTo>
                <a:cubicBezTo>
                  <a:pt x="2751" y="1942"/>
                  <a:pt x="2751" y="1942"/>
                  <a:pt x="2751" y="1942"/>
                </a:cubicBezTo>
                <a:cubicBezTo>
                  <a:pt x="2760" y="1942"/>
                  <a:pt x="2760" y="1942"/>
                  <a:pt x="2760" y="1942"/>
                </a:cubicBezTo>
                <a:cubicBezTo>
                  <a:pt x="2760" y="1954"/>
                  <a:pt x="2760" y="1954"/>
                  <a:pt x="2760" y="1954"/>
                </a:cubicBezTo>
                <a:cubicBezTo>
                  <a:pt x="2749" y="1954"/>
                  <a:pt x="2749" y="1954"/>
                  <a:pt x="2749" y="1954"/>
                </a:cubicBezTo>
                <a:cubicBezTo>
                  <a:pt x="2746" y="1973"/>
                  <a:pt x="2746" y="1973"/>
                  <a:pt x="2746" y="1973"/>
                </a:cubicBezTo>
                <a:cubicBezTo>
                  <a:pt x="2735" y="1973"/>
                  <a:pt x="2735" y="1973"/>
                  <a:pt x="2735" y="1973"/>
                </a:cubicBezTo>
                <a:cubicBezTo>
                  <a:pt x="2738" y="1954"/>
                  <a:pt x="2738" y="1954"/>
                  <a:pt x="2738" y="1954"/>
                </a:cubicBezTo>
                <a:cubicBezTo>
                  <a:pt x="2728" y="1954"/>
                  <a:pt x="2728" y="1954"/>
                  <a:pt x="2728" y="1954"/>
                </a:cubicBezTo>
                <a:cubicBezTo>
                  <a:pt x="2725" y="1973"/>
                  <a:pt x="2725" y="1973"/>
                  <a:pt x="2725" y="1973"/>
                </a:cubicBezTo>
                <a:cubicBezTo>
                  <a:pt x="2714" y="1973"/>
                  <a:pt x="2714" y="1973"/>
                  <a:pt x="2714" y="1973"/>
                </a:cubicBezTo>
                <a:cubicBezTo>
                  <a:pt x="2714" y="1973"/>
                  <a:pt x="2714" y="1973"/>
                  <a:pt x="2714" y="1973"/>
                </a:cubicBezTo>
                <a:close/>
                <a:moveTo>
                  <a:pt x="2740" y="1942"/>
                </a:moveTo>
                <a:cubicBezTo>
                  <a:pt x="2741" y="1931"/>
                  <a:pt x="2741" y="1931"/>
                  <a:pt x="2741" y="1931"/>
                </a:cubicBezTo>
                <a:cubicBezTo>
                  <a:pt x="2731" y="1931"/>
                  <a:pt x="2731" y="1931"/>
                  <a:pt x="2731" y="1931"/>
                </a:cubicBezTo>
                <a:cubicBezTo>
                  <a:pt x="2730" y="1942"/>
                  <a:pt x="2730" y="1942"/>
                  <a:pt x="2730" y="1942"/>
                </a:cubicBezTo>
                <a:cubicBezTo>
                  <a:pt x="2740" y="1942"/>
                  <a:pt x="2740" y="1942"/>
                  <a:pt x="2740" y="1942"/>
                </a:cubicBezTo>
                <a:cubicBezTo>
                  <a:pt x="2740" y="1942"/>
                  <a:pt x="2740" y="1942"/>
                  <a:pt x="2740" y="1942"/>
                </a:cubicBezTo>
                <a:close/>
                <a:moveTo>
                  <a:pt x="2258" y="1900"/>
                </a:moveTo>
                <a:cubicBezTo>
                  <a:pt x="2258" y="1900"/>
                  <a:pt x="2258" y="1900"/>
                  <a:pt x="2258" y="1900"/>
                </a:cubicBezTo>
                <a:cubicBezTo>
                  <a:pt x="2253" y="1900"/>
                  <a:pt x="2253" y="1900"/>
                  <a:pt x="2253" y="1900"/>
                </a:cubicBezTo>
                <a:cubicBezTo>
                  <a:pt x="2250" y="1901"/>
                  <a:pt x="2249" y="1903"/>
                  <a:pt x="2247" y="1903"/>
                </a:cubicBezTo>
                <a:cubicBezTo>
                  <a:pt x="2245" y="1905"/>
                  <a:pt x="2244" y="1906"/>
                  <a:pt x="2242" y="1906"/>
                </a:cubicBezTo>
                <a:cubicBezTo>
                  <a:pt x="2240" y="1908"/>
                  <a:pt x="2238" y="1908"/>
                  <a:pt x="2236" y="1909"/>
                </a:cubicBezTo>
                <a:cubicBezTo>
                  <a:pt x="2234" y="1910"/>
                  <a:pt x="2233" y="1911"/>
                  <a:pt x="2230" y="1911"/>
                </a:cubicBezTo>
                <a:cubicBezTo>
                  <a:pt x="2230" y="1911"/>
                  <a:pt x="2230" y="1911"/>
                  <a:pt x="2230" y="1921"/>
                </a:cubicBezTo>
                <a:cubicBezTo>
                  <a:pt x="2233" y="1920"/>
                  <a:pt x="2236" y="1919"/>
                  <a:pt x="2239" y="1918"/>
                </a:cubicBezTo>
                <a:cubicBezTo>
                  <a:pt x="2242" y="1917"/>
                  <a:pt x="2244" y="1916"/>
                  <a:pt x="2246" y="1914"/>
                </a:cubicBezTo>
                <a:cubicBezTo>
                  <a:pt x="2246" y="1914"/>
                  <a:pt x="2246" y="1914"/>
                  <a:pt x="2246" y="1973"/>
                </a:cubicBezTo>
                <a:cubicBezTo>
                  <a:pt x="2246" y="1973"/>
                  <a:pt x="2246" y="1973"/>
                  <a:pt x="2258" y="1973"/>
                </a:cubicBezTo>
                <a:cubicBezTo>
                  <a:pt x="2258" y="1973"/>
                  <a:pt x="2258" y="1973"/>
                  <a:pt x="2258" y="1900"/>
                </a:cubicBezTo>
                <a:close/>
                <a:moveTo>
                  <a:pt x="2305" y="1900"/>
                </a:moveTo>
                <a:cubicBezTo>
                  <a:pt x="2305" y="1900"/>
                  <a:pt x="2305" y="1900"/>
                  <a:pt x="2305" y="1900"/>
                </a:cubicBezTo>
                <a:cubicBezTo>
                  <a:pt x="2300" y="1900"/>
                  <a:pt x="2300" y="1900"/>
                  <a:pt x="2300" y="1900"/>
                </a:cubicBezTo>
                <a:cubicBezTo>
                  <a:pt x="2298" y="1901"/>
                  <a:pt x="2297" y="1903"/>
                  <a:pt x="2294" y="1903"/>
                </a:cubicBezTo>
                <a:cubicBezTo>
                  <a:pt x="2293" y="1905"/>
                  <a:pt x="2291" y="1906"/>
                  <a:pt x="2289" y="1906"/>
                </a:cubicBezTo>
                <a:cubicBezTo>
                  <a:pt x="2288" y="1908"/>
                  <a:pt x="2286" y="1908"/>
                  <a:pt x="2284" y="1909"/>
                </a:cubicBezTo>
                <a:cubicBezTo>
                  <a:pt x="2282" y="1910"/>
                  <a:pt x="2281" y="1911"/>
                  <a:pt x="2278" y="1911"/>
                </a:cubicBezTo>
                <a:cubicBezTo>
                  <a:pt x="2278" y="1911"/>
                  <a:pt x="2278" y="1911"/>
                  <a:pt x="2278" y="1921"/>
                </a:cubicBezTo>
                <a:cubicBezTo>
                  <a:pt x="2281" y="1920"/>
                  <a:pt x="2284" y="1919"/>
                  <a:pt x="2286" y="1918"/>
                </a:cubicBezTo>
                <a:cubicBezTo>
                  <a:pt x="2289" y="1917"/>
                  <a:pt x="2291" y="1916"/>
                  <a:pt x="2294" y="1914"/>
                </a:cubicBezTo>
                <a:cubicBezTo>
                  <a:pt x="2294" y="1914"/>
                  <a:pt x="2294" y="1914"/>
                  <a:pt x="2294" y="1973"/>
                </a:cubicBezTo>
                <a:cubicBezTo>
                  <a:pt x="2294" y="1973"/>
                  <a:pt x="2294" y="1973"/>
                  <a:pt x="2305" y="1973"/>
                </a:cubicBezTo>
                <a:cubicBezTo>
                  <a:pt x="2305" y="1973"/>
                  <a:pt x="2305" y="1973"/>
                  <a:pt x="2305" y="1900"/>
                </a:cubicBezTo>
                <a:close/>
                <a:moveTo>
                  <a:pt x="2352" y="1900"/>
                </a:moveTo>
                <a:cubicBezTo>
                  <a:pt x="2352" y="1900"/>
                  <a:pt x="2352" y="1900"/>
                  <a:pt x="2352" y="1900"/>
                </a:cubicBezTo>
                <a:cubicBezTo>
                  <a:pt x="2348" y="1900"/>
                  <a:pt x="2348" y="1900"/>
                  <a:pt x="2348" y="1900"/>
                </a:cubicBezTo>
                <a:cubicBezTo>
                  <a:pt x="2345" y="1901"/>
                  <a:pt x="2344" y="1903"/>
                  <a:pt x="2342" y="1903"/>
                </a:cubicBezTo>
                <a:cubicBezTo>
                  <a:pt x="2340" y="1905"/>
                  <a:pt x="2338" y="1906"/>
                  <a:pt x="2337" y="1906"/>
                </a:cubicBezTo>
                <a:cubicBezTo>
                  <a:pt x="2335" y="1907"/>
                  <a:pt x="2333" y="1908"/>
                  <a:pt x="2331" y="1908"/>
                </a:cubicBezTo>
                <a:cubicBezTo>
                  <a:pt x="2330" y="1909"/>
                  <a:pt x="2327" y="1910"/>
                  <a:pt x="2326" y="1911"/>
                </a:cubicBezTo>
                <a:cubicBezTo>
                  <a:pt x="2326" y="1911"/>
                  <a:pt x="2326" y="1911"/>
                  <a:pt x="2326" y="1921"/>
                </a:cubicBezTo>
                <a:cubicBezTo>
                  <a:pt x="2329" y="1920"/>
                  <a:pt x="2332" y="1919"/>
                  <a:pt x="2334" y="1918"/>
                </a:cubicBezTo>
                <a:cubicBezTo>
                  <a:pt x="2336" y="1917"/>
                  <a:pt x="2339" y="1916"/>
                  <a:pt x="2340" y="1914"/>
                </a:cubicBezTo>
                <a:cubicBezTo>
                  <a:pt x="2340" y="1914"/>
                  <a:pt x="2340" y="1914"/>
                  <a:pt x="2340" y="1973"/>
                </a:cubicBezTo>
                <a:cubicBezTo>
                  <a:pt x="2340" y="1973"/>
                  <a:pt x="2340" y="1973"/>
                  <a:pt x="2352" y="1973"/>
                </a:cubicBezTo>
                <a:cubicBezTo>
                  <a:pt x="2352" y="1973"/>
                  <a:pt x="2352" y="1973"/>
                  <a:pt x="2352" y="1900"/>
                </a:cubicBezTo>
                <a:close/>
                <a:moveTo>
                  <a:pt x="2559" y="1804"/>
                </a:moveTo>
                <a:cubicBezTo>
                  <a:pt x="2559" y="1804"/>
                  <a:pt x="2559" y="1804"/>
                  <a:pt x="2559" y="1804"/>
                </a:cubicBezTo>
                <a:cubicBezTo>
                  <a:pt x="2554" y="1804"/>
                  <a:pt x="2554" y="1804"/>
                  <a:pt x="2554" y="1804"/>
                </a:cubicBezTo>
                <a:cubicBezTo>
                  <a:pt x="2552" y="1806"/>
                  <a:pt x="2550" y="1807"/>
                  <a:pt x="2548" y="1808"/>
                </a:cubicBezTo>
                <a:cubicBezTo>
                  <a:pt x="2547" y="1809"/>
                  <a:pt x="2544" y="1810"/>
                  <a:pt x="2543" y="1811"/>
                </a:cubicBezTo>
                <a:cubicBezTo>
                  <a:pt x="2541" y="1811"/>
                  <a:pt x="2539" y="1812"/>
                  <a:pt x="2538" y="1813"/>
                </a:cubicBezTo>
                <a:cubicBezTo>
                  <a:pt x="2536" y="1814"/>
                  <a:pt x="2534" y="1814"/>
                  <a:pt x="2532" y="1815"/>
                </a:cubicBezTo>
                <a:cubicBezTo>
                  <a:pt x="2532" y="1815"/>
                  <a:pt x="2532" y="1815"/>
                  <a:pt x="2532" y="1825"/>
                </a:cubicBezTo>
                <a:cubicBezTo>
                  <a:pt x="2535" y="1824"/>
                  <a:pt x="2538" y="1823"/>
                  <a:pt x="2540" y="1822"/>
                </a:cubicBezTo>
                <a:cubicBezTo>
                  <a:pt x="2543" y="1822"/>
                  <a:pt x="2545" y="1820"/>
                  <a:pt x="2547" y="1819"/>
                </a:cubicBezTo>
                <a:cubicBezTo>
                  <a:pt x="2547" y="1819"/>
                  <a:pt x="2547" y="1819"/>
                  <a:pt x="2547" y="1877"/>
                </a:cubicBezTo>
                <a:cubicBezTo>
                  <a:pt x="2547" y="1877"/>
                  <a:pt x="2547" y="1877"/>
                  <a:pt x="2559" y="1877"/>
                </a:cubicBezTo>
                <a:cubicBezTo>
                  <a:pt x="2559" y="1877"/>
                  <a:pt x="2559" y="1877"/>
                  <a:pt x="2559" y="1804"/>
                </a:cubicBezTo>
                <a:close/>
                <a:moveTo>
                  <a:pt x="2605" y="1804"/>
                </a:moveTo>
                <a:cubicBezTo>
                  <a:pt x="2605" y="1804"/>
                  <a:pt x="2605" y="1804"/>
                  <a:pt x="2605" y="1804"/>
                </a:cubicBezTo>
                <a:cubicBezTo>
                  <a:pt x="2600" y="1804"/>
                  <a:pt x="2600" y="1804"/>
                  <a:pt x="2600" y="1804"/>
                </a:cubicBezTo>
                <a:cubicBezTo>
                  <a:pt x="2598" y="1806"/>
                  <a:pt x="2597" y="1807"/>
                  <a:pt x="2595" y="1808"/>
                </a:cubicBezTo>
                <a:cubicBezTo>
                  <a:pt x="2593" y="1809"/>
                  <a:pt x="2591" y="1810"/>
                  <a:pt x="2590" y="1811"/>
                </a:cubicBezTo>
                <a:cubicBezTo>
                  <a:pt x="2588" y="1812"/>
                  <a:pt x="2586" y="1813"/>
                  <a:pt x="2585" y="1814"/>
                </a:cubicBezTo>
                <a:cubicBezTo>
                  <a:pt x="2582" y="1814"/>
                  <a:pt x="2581" y="1815"/>
                  <a:pt x="2579" y="1815"/>
                </a:cubicBezTo>
                <a:cubicBezTo>
                  <a:pt x="2579" y="1815"/>
                  <a:pt x="2579" y="1815"/>
                  <a:pt x="2579" y="1825"/>
                </a:cubicBezTo>
                <a:cubicBezTo>
                  <a:pt x="2582" y="1824"/>
                  <a:pt x="2585" y="1824"/>
                  <a:pt x="2587" y="1822"/>
                </a:cubicBezTo>
                <a:cubicBezTo>
                  <a:pt x="2590" y="1822"/>
                  <a:pt x="2592" y="1820"/>
                  <a:pt x="2594" y="1819"/>
                </a:cubicBezTo>
                <a:cubicBezTo>
                  <a:pt x="2594" y="1819"/>
                  <a:pt x="2594" y="1819"/>
                  <a:pt x="2594" y="1877"/>
                </a:cubicBezTo>
                <a:cubicBezTo>
                  <a:pt x="2594" y="1877"/>
                  <a:pt x="2594" y="1877"/>
                  <a:pt x="2605" y="1877"/>
                </a:cubicBezTo>
                <a:cubicBezTo>
                  <a:pt x="2605" y="1877"/>
                  <a:pt x="2605" y="1877"/>
                  <a:pt x="2605" y="1804"/>
                </a:cubicBezTo>
                <a:close/>
                <a:moveTo>
                  <a:pt x="2651" y="1804"/>
                </a:moveTo>
                <a:cubicBezTo>
                  <a:pt x="2651" y="1804"/>
                  <a:pt x="2651" y="1804"/>
                  <a:pt x="2651" y="1804"/>
                </a:cubicBezTo>
                <a:cubicBezTo>
                  <a:pt x="2647" y="1804"/>
                  <a:pt x="2647" y="1804"/>
                  <a:pt x="2647" y="1804"/>
                </a:cubicBezTo>
                <a:cubicBezTo>
                  <a:pt x="2645" y="1806"/>
                  <a:pt x="2643" y="1807"/>
                  <a:pt x="2641" y="1808"/>
                </a:cubicBezTo>
                <a:cubicBezTo>
                  <a:pt x="2640" y="1809"/>
                  <a:pt x="2638" y="1810"/>
                  <a:pt x="2636" y="1811"/>
                </a:cubicBezTo>
                <a:cubicBezTo>
                  <a:pt x="2634" y="1812"/>
                  <a:pt x="2633" y="1813"/>
                  <a:pt x="2630" y="1814"/>
                </a:cubicBezTo>
                <a:cubicBezTo>
                  <a:pt x="2629" y="1814"/>
                  <a:pt x="2627" y="1815"/>
                  <a:pt x="2625" y="1815"/>
                </a:cubicBezTo>
                <a:cubicBezTo>
                  <a:pt x="2625" y="1815"/>
                  <a:pt x="2625" y="1815"/>
                  <a:pt x="2625" y="1825"/>
                </a:cubicBezTo>
                <a:cubicBezTo>
                  <a:pt x="2628" y="1824"/>
                  <a:pt x="2631" y="1824"/>
                  <a:pt x="2633" y="1822"/>
                </a:cubicBezTo>
                <a:cubicBezTo>
                  <a:pt x="2636" y="1822"/>
                  <a:pt x="2638" y="1820"/>
                  <a:pt x="2640" y="1819"/>
                </a:cubicBezTo>
                <a:cubicBezTo>
                  <a:pt x="2640" y="1819"/>
                  <a:pt x="2640" y="1819"/>
                  <a:pt x="2640" y="1877"/>
                </a:cubicBezTo>
                <a:cubicBezTo>
                  <a:pt x="2640" y="1877"/>
                  <a:pt x="2640" y="1877"/>
                  <a:pt x="2651" y="1877"/>
                </a:cubicBezTo>
                <a:cubicBezTo>
                  <a:pt x="2651" y="1877"/>
                  <a:pt x="2651" y="1877"/>
                  <a:pt x="2651" y="1804"/>
                </a:cubicBezTo>
                <a:close/>
                <a:moveTo>
                  <a:pt x="2698" y="1804"/>
                </a:moveTo>
                <a:cubicBezTo>
                  <a:pt x="2698" y="1804"/>
                  <a:pt x="2698" y="1804"/>
                  <a:pt x="2698" y="1804"/>
                </a:cubicBezTo>
                <a:cubicBezTo>
                  <a:pt x="2693" y="1804"/>
                  <a:pt x="2693" y="1804"/>
                  <a:pt x="2693" y="1804"/>
                </a:cubicBezTo>
                <a:cubicBezTo>
                  <a:pt x="2691" y="1806"/>
                  <a:pt x="2690" y="1807"/>
                  <a:pt x="2687" y="1808"/>
                </a:cubicBezTo>
                <a:cubicBezTo>
                  <a:pt x="2686" y="1809"/>
                  <a:pt x="2684" y="1810"/>
                  <a:pt x="2682" y="1811"/>
                </a:cubicBezTo>
                <a:cubicBezTo>
                  <a:pt x="2681" y="1812"/>
                  <a:pt x="2678" y="1813"/>
                  <a:pt x="2677" y="1814"/>
                </a:cubicBezTo>
                <a:cubicBezTo>
                  <a:pt x="2675" y="1814"/>
                  <a:pt x="2673" y="1815"/>
                  <a:pt x="2671" y="1815"/>
                </a:cubicBezTo>
                <a:cubicBezTo>
                  <a:pt x="2671" y="1815"/>
                  <a:pt x="2671" y="1815"/>
                  <a:pt x="2671" y="1825"/>
                </a:cubicBezTo>
                <a:cubicBezTo>
                  <a:pt x="2674" y="1824"/>
                  <a:pt x="2677" y="1824"/>
                  <a:pt x="2679" y="1822"/>
                </a:cubicBezTo>
                <a:cubicBezTo>
                  <a:pt x="2682" y="1822"/>
                  <a:pt x="2684" y="1820"/>
                  <a:pt x="2687" y="1819"/>
                </a:cubicBezTo>
                <a:cubicBezTo>
                  <a:pt x="2687" y="1819"/>
                  <a:pt x="2687" y="1819"/>
                  <a:pt x="2687" y="1877"/>
                </a:cubicBezTo>
                <a:cubicBezTo>
                  <a:pt x="2687" y="1877"/>
                  <a:pt x="2687" y="1877"/>
                  <a:pt x="2698" y="1877"/>
                </a:cubicBezTo>
                <a:cubicBezTo>
                  <a:pt x="2698" y="1877"/>
                  <a:pt x="2698" y="1877"/>
                  <a:pt x="2698" y="1804"/>
                </a:cubicBezTo>
                <a:close/>
                <a:moveTo>
                  <a:pt x="2820" y="1804"/>
                </a:moveTo>
                <a:cubicBezTo>
                  <a:pt x="2820" y="1804"/>
                  <a:pt x="2820" y="1804"/>
                  <a:pt x="2820" y="1804"/>
                </a:cubicBezTo>
                <a:cubicBezTo>
                  <a:pt x="2815" y="1804"/>
                  <a:pt x="2815" y="1804"/>
                  <a:pt x="2815" y="1804"/>
                </a:cubicBezTo>
                <a:cubicBezTo>
                  <a:pt x="2813" y="1806"/>
                  <a:pt x="2811" y="1807"/>
                  <a:pt x="2809" y="1808"/>
                </a:cubicBezTo>
                <a:cubicBezTo>
                  <a:pt x="2808" y="1809"/>
                  <a:pt x="2806" y="1810"/>
                  <a:pt x="2804" y="1811"/>
                </a:cubicBezTo>
                <a:cubicBezTo>
                  <a:pt x="2802" y="1812"/>
                  <a:pt x="2800" y="1813"/>
                  <a:pt x="2799" y="1814"/>
                </a:cubicBezTo>
                <a:cubicBezTo>
                  <a:pt x="2797" y="1814"/>
                  <a:pt x="2795" y="1815"/>
                  <a:pt x="2793" y="1815"/>
                </a:cubicBezTo>
                <a:cubicBezTo>
                  <a:pt x="2793" y="1815"/>
                  <a:pt x="2793" y="1815"/>
                  <a:pt x="2793" y="1825"/>
                </a:cubicBezTo>
                <a:cubicBezTo>
                  <a:pt x="2796" y="1824"/>
                  <a:pt x="2799" y="1824"/>
                  <a:pt x="2802" y="1822"/>
                </a:cubicBezTo>
                <a:cubicBezTo>
                  <a:pt x="2804" y="1822"/>
                  <a:pt x="2806" y="1820"/>
                  <a:pt x="2808" y="1819"/>
                </a:cubicBezTo>
                <a:cubicBezTo>
                  <a:pt x="2808" y="1819"/>
                  <a:pt x="2808" y="1819"/>
                  <a:pt x="2808" y="1877"/>
                </a:cubicBezTo>
                <a:cubicBezTo>
                  <a:pt x="2808" y="1877"/>
                  <a:pt x="2808" y="1877"/>
                  <a:pt x="2820" y="1877"/>
                </a:cubicBezTo>
                <a:cubicBezTo>
                  <a:pt x="2820" y="1877"/>
                  <a:pt x="2820" y="1877"/>
                  <a:pt x="2820" y="1804"/>
                </a:cubicBezTo>
                <a:close/>
                <a:moveTo>
                  <a:pt x="2867" y="1804"/>
                </a:moveTo>
                <a:cubicBezTo>
                  <a:pt x="2867" y="1804"/>
                  <a:pt x="2867" y="1804"/>
                  <a:pt x="2867" y="1804"/>
                </a:cubicBezTo>
                <a:cubicBezTo>
                  <a:pt x="2862" y="1804"/>
                  <a:pt x="2862" y="1804"/>
                  <a:pt x="2862" y="1804"/>
                </a:cubicBezTo>
                <a:cubicBezTo>
                  <a:pt x="2860" y="1806"/>
                  <a:pt x="2858" y="1807"/>
                  <a:pt x="2856" y="1808"/>
                </a:cubicBezTo>
                <a:cubicBezTo>
                  <a:pt x="2855" y="1809"/>
                  <a:pt x="2852" y="1810"/>
                  <a:pt x="2851" y="1811"/>
                </a:cubicBezTo>
                <a:cubicBezTo>
                  <a:pt x="2849" y="1812"/>
                  <a:pt x="2847" y="1813"/>
                  <a:pt x="2846" y="1814"/>
                </a:cubicBezTo>
                <a:cubicBezTo>
                  <a:pt x="2844" y="1814"/>
                  <a:pt x="2842" y="1815"/>
                  <a:pt x="2840" y="1815"/>
                </a:cubicBezTo>
                <a:cubicBezTo>
                  <a:pt x="2840" y="1815"/>
                  <a:pt x="2840" y="1815"/>
                  <a:pt x="2840" y="1825"/>
                </a:cubicBezTo>
                <a:cubicBezTo>
                  <a:pt x="2843" y="1824"/>
                  <a:pt x="2846" y="1824"/>
                  <a:pt x="2848" y="1822"/>
                </a:cubicBezTo>
                <a:cubicBezTo>
                  <a:pt x="2851" y="1822"/>
                  <a:pt x="2853" y="1820"/>
                  <a:pt x="2855" y="1819"/>
                </a:cubicBezTo>
                <a:cubicBezTo>
                  <a:pt x="2855" y="1819"/>
                  <a:pt x="2855" y="1819"/>
                  <a:pt x="2855" y="1877"/>
                </a:cubicBezTo>
                <a:cubicBezTo>
                  <a:pt x="2855" y="1877"/>
                  <a:pt x="2855" y="1877"/>
                  <a:pt x="2867" y="1877"/>
                </a:cubicBezTo>
                <a:cubicBezTo>
                  <a:pt x="2867" y="1877"/>
                  <a:pt x="2867" y="1877"/>
                  <a:pt x="2867" y="1804"/>
                </a:cubicBezTo>
                <a:close/>
                <a:moveTo>
                  <a:pt x="2718" y="1836"/>
                </a:moveTo>
                <a:cubicBezTo>
                  <a:pt x="2718" y="1836"/>
                  <a:pt x="2718" y="1836"/>
                  <a:pt x="2718" y="1836"/>
                </a:cubicBezTo>
                <a:cubicBezTo>
                  <a:pt x="2718" y="1844"/>
                  <a:pt x="2718" y="1844"/>
                  <a:pt x="2718" y="1844"/>
                </a:cubicBezTo>
                <a:cubicBezTo>
                  <a:pt x="2724" y="1845"/>
                  <a:pt x="2725" y="1848"/>
                  <a:pt x="2725" y="1850"/>
                </a:cubicBezTo>
                <a:cubicBezTo>
                  <a:pt x="2725" y="1853"/>
                  <a:pt x="2725" y="1855"/>
                  <a:pt x="2725" y="1857"/>
                </a:cubicBezTo>
                <a:cubicBezTo>
                  <a:pt x="2724" y="1860"/>
                  <a:pt x="2724" y="1862"/>
                  <a:pt x="2724" y="1865"/>
                </a:cubicBezTo>
                <a:cubicBezTo>
                  <a:pt x="2724" y="1874"/>
                  <a:pt x="2730" y="1877"/>
                  <a:pt x="2738" y="1877"/>
                </a:cubicBezTo>
                <a:cubicBezTo>
                  <a:pt x="2738" y="1877"/>
                  <a:pt x="2738" y="1877"/>
                  <a:pt x="2742" y="1877"/>
                </a:cubicBezTo>
                <a:cubicBezTo>
                  <a:pt x="2742" y="1877"/>
                  <a:pt x="2742" y="1877"/>
                  <a:pt x="2742" y="1868"/>
                </a:cubicBezTo>
                <a:cubicBezTo>
                  <a:pt x="2742" y="1868"/>
                  <a:pt x="2742" y="1868"/>
                  <a:pt x="2741" y="1868"/>
                </a:cubicBezTo>
                <a:cubicBezTo>
                  <a:pt x="2737" y="1868"/>
                  <a:pt x="2736" y="1866"/>
                  <a:pt x="2736" y="1862"/>
                </a:cubicBezTo>
                <a:cubicBezTo>
                  <a:pt x="2736" y="1861"/>
                  <a:pt x="2736" y="1859"/>
                  <a:pt x="2736" y="1857"/>
                </a:cubicBezTo>
                <a:cubicBezTo>
                  <a:pt x="2736" y="1856"/>
                  <a:pt x="2737" y="1854"/>
                  <a:pt x="2737" y="1852"/>
                </a:cubicBezTo>
                <a:cubicBezTo>
                  <a:pt x="2737" y="1844"/>
                  <a:pt x="2734" y="1842"/>
                  <a:pt x="2728" y="1840"/>
                </a:cubicBezTo>
                <a:cubicBezTo>
                  <a:pt x="2728" y="1840"/>
                  <a:pt x="2728" y="1840"/>
                  <a:pt x="2728" y="1840"/>
                </a:cubicBezTo>
                <a:cubicBezTo>
                  <a:pt x="2734" y="1839"/>
                  <a:pt x="2737" y="1837"/>
                  <a:pt x="2737" y="1829"/>
                </a:cubicBezTo>
                <a:cubicBezTo>
                  <a:pt x="2737" y="1827"/>
                  <a:pt x="2736" y="1825"/>
                  <a:pt x="2736" y="1823"/>
                </a:cubicBezTo>
                <a:cubicBezTo>
                  <a:pt x="2736" y="1821"/>
                  <a:pt x="2736" y="1820"/>
                  <a:pt x="2736" y="1818"/>
                </a:cubicBezTo>
                <a:cubicBezTo>
                  <a:pt x="2736" y="1815"/>
                  <a:pt x="2737" y="1813"/>
                  <a:pt x="2741" y="1813"/>
                </a:cubicBezTo>
                <a:cubicBezTo>
                  <a:pt x="2741" y="1813"/>
                  <a:pt x="2741" y="1813"/>
                  <a:pt x="2742" y="1813"/>
                </a:cubicBezTo>
                <a:cubicBezTo>
                  <a:pt x="2742" y="1813"/>
                  <a:pt x="2742" y="1813"/>
                  <a:pt x="2742" y="1803"/>
                </a:cubicBezTo>
                <a:cubicBezTo>
                  <a:pt x="2742" y="1803"/>
                  <a:pt x="2742" y="1803"/>
                  <a:pt x="2738" y="1803"/>
                </a:cubicBezTo>
                <a:cubicBezTo>
                  <a:pt x="2730" y="1803"/>
                  <a:pt x="2724" y="1807"/>
                  <a:pt x="2724" y="1816"/>
                </a:cubicBezTo>
                <a:cubicBezTo>
                  <a:pt x="2724" y="1818"/>
                  <a:pt x="2724" y="1821"/>
                  <a:pt x="2724" y="1823"/>
                </a:cubicBezTo>
                <a:cubicBezTo>
                  <a:pt x="2725" y="1826"/>
                  <a:pt x="2725" y="1828"/>
                  <a:pt x="2725" y="1830"/>
                </a:cubicBezTo>
                <a:cubicBezTo>
                  <a:pt x="2725" y="1833"/>
                  <a:pt x="2724" y="1836"/>
                  <a:pt x="2718" y="1836"/>
                </a:cubicBezTo>
                <a:close/>
                <a:moveTo>
                  <a:pt x="2773" y="1844"/>
                </a:moveTo>
                <a:cubicBezTo>
                  <a:pt x="2773" y="1844"/>
                  <a:pt x="2773" y="1844"/>
                  <a:pt x="2773" y="1844"/>
                </a:cubicBezTo>
                <a:cubicBezTo>
                  <a:pt x="2773" y="1836"/>
                  <a:pt x="2773" y="1836"/>
                  <a:pt x="2773" y="1836"/>
                </a:cubicBezTo>
                <a:cubicBezTo>
                  <a:pt x="2767" y="1836"/>
                  <a:pt x="2767" y="1833"/>
                  <a:pt x="2767" y="1830"/>
                </a:cubicBezTo>
                <a:cubicBezTo>
                  <a:pt x="2767" y="1828"/>
                  <a:pt x="2767" y="1826"/>
                  <a:pt x="2767" y="1823"/>
                </a:cubicBezTo>
                <a:cubicBezTo>
                  <a:pt x="2767" y="1821"/>
                  <a:pt x="2767" y="1818"/>
                  <a:pt x="2767" y="1816"/>
                </a:cubicBezTo>
                <a:cubicBezTo>
                  <a:pt x="2767" y="1807"/>
                  <a:pt x="2762" y="1803"/>
                  <a:pt x="2753" y="1803"/>
                </a:cubicBezTo>
                <a:cubicBezTo>
                  <a:pt x="2753" y="1803"/>
                  <a:pt x="2753" y="1803"/>
                  <a:pt x="2749" y="1803"/>
                </a:cubicBezTo>
                <a:cubicBezTo>
                  <a:pt x="2749" y="1803"/>
                  <a:pt x="2749" y="1803"/>
                  <a:pt x="2749" y="1813"/>
                </a:cubicBezTo>
                <a:cubicBezTo>
                  <a:pt x="2749" y="1813"/>
                  <a:pt x="2749" y="1813"/>
                  <a:pt x="2750" y="1813"/>
                </a:cubicBezTo>
                <a:cubicBezTo>
                  <a:pt x="2754" y="1813"/>
                  <a:pt x="2756" y="1815"/>
                  <a:pt x="2756" y="1818"/>
                </a:cubicBezTo>
                <a:cubicBezTo>
                  <a:pt x="2756" y="1820"/>
                  <a:pt x="2755" y="1821"/>
                  <a:pt x="2755" y="1823"/>
                </a:cubicBezTo>
                <a:cubicBezTo>
                  <a:pt x="2755" y="1825"/>
                  <a:pt x="2755" y="1827"/>
                  <a:pt x="2755" y="1829"/>
                </a:cubicBezTo>
                <a:cubicBezTo>
                  <a:pt x="2755" y="1837"/>
                  <a:pt x="2757" y="1839"/>
                  <a:pt x="2764" y="1840"/>
                </a:cubicBezTo>
                <a:cubicBezTo>
                  <a:pt x="2764" y="1840"/>
                  <a:pt x="2764" y="1840"/>
                  <a:pt x="2764" y="1840"/>
                </a:cubicBezTo>
                <a:cubicBezTo>
                  <a:pt x="2757" y="1842"/>
                  <a:pt x="2755" y="1844"/>
                  <a:pt x="2755" y="1852"/>
                </a:cubicBezTo>
                <a:cubicBezTo>
                  <a:pt x="2755" y="1854"/>
                  <a:pt x="2755" y="1856"/>
                  <a:pt x="2755" y="1857"/>
                </a:cubicBezTo>
                <a:cubicBezTo>
                  <a:pt x="2755" y="1859"/>
                  <a:pt x="2756" y="1861"/>
                  <a:pt x="2756" y="1862"/>
                </a:cubicBezTo>
                <a:cubicBezTo>
                  <a:pt x="2756" y="1866"/>
                  <a:pt x="2754" y="1868"/>
                  <a:pt x="2750" y="1868"/>
                </a:cubicBezTo>
                <a:cubicBezTo>
                  <a:pt x="2750" y="1868"/>
                  <a:pt x="2750" y="1868"/>
                  <a:pt x="2749" y="1868"/>
                </a:cubicBezTo>
                <a:cubicBezTo>
                  <a:pt x="2749" y="1868"/>
                  <a:pt x="2749" y="1868"/>
                  <a:pt x="2749" y="1877"/>
                </a:cubicBezTo>
                <a:cubicBezTo>
                  <a:pt x="2749" y="1877"/>
                  <a:pt x="2749" y="1877"/>
                  <a:pt x="2753" y="1877"/>
                </a:cubicBezTo>
                <a:cubicBezTo>
                  <a:pt x="2762" y="1877"/>
                  <a:pt x="2767" y="1874"/>
                  <a:pt x="2767" y="1865"/>
                </a:cubicBezTo>
                <a:cubicBezTo>
                  <a:pt x="2767" y="1862"/>
                  <a:pt x="2767" y="1860"/>
                  <a:pt x="2767" y="1857"/>
                </a:cubicBezTo>
                <a:cubicBezTo>
                  <a:pt x="2767" y="1855"/>
                  <a:pt x="2767" y="1853"/>
                  <a:pt x="2767" y="1850"/>
                </a:cubicBezTo>
                <a:cubicBezTo>
                  <a:pt x="2767" y="1848"/>
                  <a:pt x="2767" y="1845"/>
                  <a:pt x="2773" y="1844"/>
                </a:cubicBezTo>
                <a:close/>
                <a:moveTo>
                  <a:pt x="2159" y="1877"/>
                </a:moveTo>
                <a:cubicBezTo>
                  <a:pt x="2152" y="1877"/>
                  <a:pt x="2145" y="1874"/>
                  <a:pt x="2141" y="1868"/>
                </a:cubicBezTo>
                <a:cubicBezTo>
                  <a:pt x="2137" y="1862"/>
                  <a:pt x="2135" y="1853"/>
                  <a:pt x="2135" y="1841"/>
                </a:cubicBezTo>
                <a:cubicBezTo>
                  <a:pt x="2135" y="1828"/>
                  <a:pt x="2137" y="1818"/>
                  <a:pt x="2141" y="1812"/>
                </a:cubicBezTo>
                <a:cubicBezTo>
                  <a:pt x="2146" y="1805"/>
                  <a:pt x="2152" y="1801"/>
                  <a:pt x="2161" y="1801"/>
                </a:cubicBezTo>
                <a:cubicBezTo>
                  <a:pt x="2177" y="1801"/>
                  <a:pt x="2185" y="1814"/>
                  <a:pt x="2185" y="1839"/>
                </a:cubicBezTo>
                <a:cubicBezTo>
                  <a:pt x="2185" y="1852"/>
                  <a:pt x="2183" y="1861"/>
                  <a:pt x="2178" y="1868"/>
                </a:cubicBezTo>
                <a:cubicBezTo>
                  <a:pt x="2174" y="1874"/>
                  <a:pt x="2167" y="1877"/>
                  <a:pt x="2159" y="1877"/>
                </a:cubicBezTo>
                <a:close/>
                <a:moveTo>
                  <a:pt x="2160" y="1811"/>
                </a:moveTo>
                <a:cubicBezTo>
                  <a:pt x="2151" y="1811"/>
                  <a:pt x="2147" y="1821"/>
                  <a:pt x="2147" y="1841"/>
                </a:cubicBezTo>
                <a:cubicBezTo>
                  <a:pt x="2147" y="1859"/>
                  <a:pt x="2151" y="1868"/>
                  <a:pt x="2160" y="1868"/>
                </a:cubicBezTo>
                <a:cubicBezTo>
                  <a:pt x="2168" y="1868"/>
                  <a:pt x="2173" y="1859"/>
                  <a:pt x="2173" y="1840"/>
                </a:cubicBezTo>
                <a:cubicBezTo>
                  <a:pt x="2173" y="1820"/>
                  <a:pt x="2168" y="1811"/>
                  <a:pt x="2160" y="1811"/>
                </a:cubicBezTo>
                <a:close/>
                <a:moveTo>
                  <a:pt x="2230" y="1877"/>
                </a:moveTo>
                <a:cubicBezTo>
                  <a:pt x="2222" y="1877"/>
                  <a:pt x="2216" y="1874"/>
                  <a:pt x="2212" y="1868"/>
                </a:cubicBezTo>
                <a:cubicBezTo>
                  <a:pt x="2208" y="1862"/>
                  <a:pt x="2205" y="1853"/>
                  <a:pt x="2205" y="1841"/>
                </a:cubicBezTo>
                <a:cubicBezTo>
                  <a:pt x="2205" y="1828"/>
                  <a:pt x="2208" y="1818"/>
                  <a:pt x="2212" y="1812"/>
                </a:cubicBezTo>
                <a:cubicBezTo>
                  <a:pt x="2216" y="1805"/>
                  <a:pt x="2223" y="1801"/>
                  <a:pt x="2232" y="1801"/>
                </a:cubicBezTo>
                <a:cubicBezTo>
                  <a:pt x="2248" y="1801"/>
                  <a:pt x="2256" y="1814"/>
                  <a:pt x="2256" y="1839"/>
                </a:cubicBezTo>
                <a:cubicBezTo>
                  <a:pt x="2256" y="1852"/>
                  <a:pt x="2254" y="1861"/>
                  <a:pt x="2249" y="1868"/>
                </a:cubicBezTo>
                <a:cubicBezTo>
                  <a:pt x="2244" y="1874"/>
                  <a:pt x="2238" y="1877"/>
                  <a:pt x="2230" y="1877"/>
                </a:cubicBezTo>
                <a:close/>
                <a:moveTo>
                  <a:pt x="2231" y="1811"/>
                </a:moveTo>
                <a:cubicBezTo>
                  <a:pt x="2222" y="1811"/>
                  <a:pt x="2217" y="1821"/>
                  <a:pt x="2217" y="1841"/>
                </a:cubicBezTo>
                <a:cubicBezTo>
                  <a:pt x="2217" y="1859"/>
                  <a:pt x="2222" y="1868"/>
                  <a:pt x="2230" y="1868"/>
                </a:cubicBezTo>
                <a:cubicBezTo>
                  <a:pt x="2239" y="1868"/>
                  <a:pt x="2243" y="1859"/>
                  <a:pt x="2243" y="1840"/>
                </a:cubicBezTo>
                <a:cubicBezTo>
                  <a:pt x="2243" y="1820"/>
                  <a:pt x="2239" y="1811"/>
                  <a:pt x="2231" y="1811"/>
                </a:cubicBezTo>
                <a:close/>
                <a:moveTo>
                  <a:pt x="2439" y="1877"/>
                </a:moveTo>
                <a:cubicBezTo>
                  <a:pt x="2432" y="1877"/>
                  <a:pt x="2426" y="1874"/>
                  <a:pt x="2422" y="1868"/>
                </a:cubicBezTo>
                <a:cubicBezTo>
                  <a:pt x="2417" y="1862"/>
                  <a:pt x="2415" y="1852"/>
                  <a:pt x="2415" y="1841"/>
                </a:cubicBezTo>
                <a:cubicBezTo>
                  <a:pt x="2415" y="1828"/>
                  <a:pt x="2417" y="1818"/>
                  <a:pt x="2422" y="1811"/>
                </a:cubicBezTo>
                <a:cubicBezTo>
                  <a:pt x="2426" y="1804"/>
                  <a:pt x="2433" y="1801"/>
                  <a:pt x="2442" y="1801"/>
                </a:cubicBezTo>
                <a:cubicBezTo>
                  <a:pt x="2458" y="1801"/>
                  <a:pt x="2466" y="1814"/>
                  <a:pt x="2466" y="1839"/>
                </a:cubicBezTo>
                <a:cubicBezTo>
                  <a:pt x="2466" y="1852"/>
                  <a:pt x="2463" y="1861"/>
                  <a:pt x="2459" y="1868"/>
                </a:cubicBezTo>
                <a:cubicBezTo>
                  <a:pt x="2454" y="1874"/>
                  <a:pt x="2448" y="1877"/>
                  <a:pt x="2439" y="1877"/>
                </a:cubicBezTo>
                <a:close/>
                <a:moveTo>
                  <a:pt x="2441" y="1811"/>
                </a:moveTo>
                <a:cubicBezTo>
                  <a:pt x="2432" y="1811"/>
                  <a:pt x="2428" y="1820"/>
                  <a:pt x="2428" y="1840"/>
                </a:cubicBezTo>
                <a:cubicBezTo>
                  <a:pt x="2428" y="1858"/>
                  <a:pt x="2432" y="1868"/>
                  <a:pt x="2441" y="1868"/>
                </a:cubicBezTo>
                <a:cubicBezTo>
                  <a:pt x="2449" y="1868"/>
                  <a:pt x="2453" y="1858"/>
                  <a:pt x="2453" y="1840"/>
                </a:cubicBezTo>
                <a:cubicBezTo>
                  <a:pt x="2453" y="1820"/>
                  <a:pt x="2450" y="1811"/>
                  <a:pt x="2441" y="1811"/>
                </a:cubicBezTo>
                <a:close/>
                <a:moveTo>
                  <a:pt x="2512" y="1804"/>
                </a:moveTo>
                <a:cubicBezTo>
                  <a:pt x="2512" y="1804"/>
                  <a:pt x="2512" y="1804"/>
                  <a:pt x="2512" y="1804"/>
                </a:cubicBezTo>
                <a:cubicBezTo>
                  <a:pt x="2507" y="1804"/>
                  <a:pt x="2507" y="1804"/>
                  <a:pt x="2507" y="1804"/>
                </a:cubicBezTo>
                <a:cubicBezTo>
                  <a:pt x="2505" y="1806"/>
                  <a:pt x="2504" y="1807"/>
                  <a:pt x="2501" y="1808"/>
                </a:cubicBezTo>
                <a:cubicBezTo>
                  <a:pt x="2500" y="1809"/>
                  <a:pt x="2498" y="1810"/>
                  <a:pt x="2496" y="1811"/>
                </a:cubicBezTo>
                <a:cubicBezTo>
                  <a:pt x="2495" y="1811"/>
                  <a:pt x="2493" y="1812"/>
                  <a:pt x="2491" y="1813"/>
                </a:cubicBezTo>
                <a:cubicBezTo>
                  <a:pt x="2489" y="1814"/>
                  <a:pt x="2488" y="1814"/>
                  <a:pt x="2486" y="1815"/>
                </a:cubicBezTo>
                <a:cubicBezTo>
                  <a:pt x="2486" y="1815"/>
                  <a:pt x="2486" y="1815"/>
                  <a:pt x="2486" y="1825"/>
                </a:cubicBezTo>
                <a:cubicBezTo>
                  <a:pt x="2489" y="1824"/>
                  <a:pt x="2491" y="1823"/>
                  <a:pt x="2494" y="1822"/>
                </a:cubicBezTo>
                <a:cubicBezTo>
                  <a:pt x="2496" y="1822"/>
                  <a:pt x="2499" y="1820"/>
                  <a:pt x="2501" y="1819"/>
                </a:cubicBezTo>
                <a:cubicBezTo>
                  <a:pt x="2501" y="1819"/>
                  <a:pt x="2501" y="1819"/>
                  <a:pt x="2501" y="1877"/>
                </a:cubicBezTo>
                <a:cubicBezTo>
                  <a:pt x="2501" y="1877"/>
                  <a:pt x="2501" y="1877"/>
                  <a:pt x="2512" y="1877"/>
                </a:cubicBezTo>
                <a:cubicBezTo>
                  <a:pt x="2512" y="1877"/>
                  <a:pt x="2512" y="1877"/>
                  <a:pt x="2512" y="1804"/>
                </a:cubicBezTo>
                <a:close/>
                <a:moveTo>
                  <a:pt x="2303" y="1804"/>
                </a:moveTo>
                <a:cubicBezTo>
                  <a:pt x="2303" y="1804"/>
                  <a:pt x="2303" y="1804"/>
                  <a:pt x="2303" y="1804"/>
                </a:cubicBezTo>
                <a:cubicBezTo>
                  <a:pt x="2298" y="1804"/>
                  <a:pt x="2298" y="1804"/>
                  <a:pt x="2298" y="1804"/>
                </a:cubicBezTo>
                <a:cubicBezTo>
                  <a:pt x="2295" y="1806"/>
                  <a:pt x="2294" y="1807"/>
                  <a:pt x="2292" y="1808"/>
                </a:cubicBezTo>
                <a:cubicBezTo>
                  <a:pt x="2290" y="1809"/>
                  <a:pt x="2289" y="1810"/>
                  <a:pt x="2287" y="1811"/>
                </a:cubicBezTo>
                <a:cubicBezTo>
                  <a:pt x="2285" y="1812"/>
                  <a:pt x="2283" y="1813"/>
                  <a:pt x="2281" y="1814"/>
                </a:cubicBezTo>
                <a:cubicBezTo>
                  <a:pt x="2279" y="1814"/>
                  <a:pt x="2278" y="1815"/>
                  <a:pt x="2276" y="1815"/>
                </a:cubicBezTo>
                <a:cubicBezTo>
                  <a:pt x="2276" y="1815"/>
                  <a:pt x="2276" y="1815"/>
                  <a:pt x="2276" y="1825"/>
                </a:cubicBezTo>
                <a:cubicBezTo>
                  <a:pt x="2278" y="1824"/>
                  <a:pt x="2281" y="1824"/>
                  <a:pt x="2284" y="1822"/>
                </a:cubicBezTo>
                <a:cubicBezTo>
                  <a:pt x="2287" y="1822"/>
                  <a:pt x="2289" y="1820"/>
                  <a:pt x="2291" y="1819"/>
                </a:cubicBezTo>
                <a:cubicBezTo>
                  <a:pt x="2291" y="1819"/>
                  <a:pt x="2291" y="1819"/>
                  <a:pt x="2291" y="1877"/>
                </a:cubicBezTo>
                <a:cubicBezTo>
                  <a:pt x="2291" y="1877"/>
                  <a:pt x="2291" y="1877"/>
                  <a:pt x="2303" y="1877"/>
                </a:cubicBezTo>
                <a:cubicBezTo>
                  <a:pt x="2303" y="1877"/>
                  <a:pt x="2303" y="1877"/>
                  <a:pt x="2303" y="1804"/>
                </a:cubicBezTo>
                <a:close/>
                <a:moveTo>
                  <a:pt x="2349" y="1804"/>
                </a:moveTo>
                <a:cubicBezTo>
                  <a:pt x="2349" y="1804"/>
                  <a:pt x="2349" y="1804"/>
                  <a:pt x="2349" y="1804"/>
                </a:cubicBezTo>
                <a:cubicBezTo>
                  <a:pt x="2344" y="1804"/>
                  <a:pt x="2344" y="1804"/>
                  <a:pt x="2344" y="1804"/>
                </a:cubicBezTo>
                <a:cubicBezTo>
                  <a:pt x="2342" y="1806"/>
                  <a:pt x="2341" y="1807"/>
                  <a:pt x="2339" y="1808"/>
                </a:cubicBezTo>
                <a:cubicBezTo>
                  <a:pt x="2337" y="1809"/>
                  <a:pt x="2335" y="1810"/>
                  <a:pt x="2333" y="1811"/>
                </a:cubicBezTo>
                <a:cubicBezTo>
                  <a:pt x="2332" y="1812"/>
                  <a:pt x="2330" y="1813"/>
                  <a:pt x="2328" y="1814"/>
                </a:cubicBezTo>
                <a:cubicBezTo>
                  <a:pt x="2326" y="1814"/>
                  <a:pt x="2325" y="1815"/>
                  <a:pt x="2323" y="1815"/>
                </a:cubicBezTo>
                <a:cubicBezTo>
                  <a:pt x="2323" y="1815"/>
                  <a:pt x="2323" y="1815"/>
                  <a:pt x="2323" y="1825"/>
                </a:cubicBezTo>
                <a:cubicBezTo>
                  <a:pt x="2325" y="1824"/>
                  <a:pt x="2328" y="1824"/>
                  <a:pt x="2331" y="1822"/>
                </a:cubicBezTo>
                <a:cubicBezTo>
                  <a:pt x="2333" y="1822"/>
                  <a:pt x="2336" y="1820"/>
                  <a:pt x="2338" y="1819"/>
                </a:cubicBezTo>
                <a:cubicBezTo>
                  <a:pt x="2338" y="1819"/>
                  <a:pt x="2338" y="1819"/>
                  <a:pt x="2338" y="1877"/>
                </a:cubicBezTo>
                <a:cubicBezTo>
                  <a:pt x="2338" y="1877"/>
                  <a:pt x="2338" y="1877"/>
                  <a:pt x="2349" y="1877"/>
                </a:cubicBezTo>
                <a:cubicBezTo>
                  <a:pt x="2349" y="1877"/>
                  <a:pt x="2349" y="1877"/>
                  <a:pt x="2349" y="1804"/>
                </a:cubicBezTo>
                <a:close/>
                <a:moveTo>
                  <a:pt x="2396" y="1804"/>
                </a:moveTo>
                <a:cubicBezTo>
                  <a:pt x="2396" y="1804"/>
                  <a:pt x="2396" y="1804"/>
                  <a:pt x="2396" y="1804"/>
                </a:cubicBezTo>
                <a:cubicBezTo>
                  <a:pt x="2391" y="1804"/>
                  <a:pt x="2391" y="1804"/>
                  <a:pt x="2391" y="1804"/>
                </a:cubicBezTo>
                <a:cubicBezTo>
                  <a:pt x="2389" y="1806"/>
                  <a:pt x="2388" y="1807"/>
                  <a:pt x="2385" y="1808"/>
                </a:cubicBezTo>
                <a:cubicBezTo>
                  <a:pt x="2384" y="1809"/>
                  <a:pt x="2382" y="1810"/>
                  <a:pt x="2380" y="1811"/>
                </a:cubicBezTo>
                <a:cubicBezTo>
                  <a:pt x="2378" y="1811"/>
                  <a:pt x="2377" y="1812"/>
                  <a:pt x="2375" y="1813"/>
                </a:cubicBezTo>
                <a:cubicBezTo>
                  <a:pt x="2373" y="1814"/>
                  <a:pt x="2371" y="1814"/>
                  <a:pt x="2370" y="1815"/>
                </a:cubicBezTo>
                <a:cubicBezTo>
                  <a:pt x="2370" y="1815"/>
                  <a:pt x="2370" y="1815"/>
                  <a:pt x="2370" y="1825"/>
                </a:cubicBezTo>
                <a:cubicBezTo>
                  <a:pt x="2372" y="1824"/>
                  <a:pt x="2375" y="1823"/>
                  <a:pt x="2378" y="1822"/>
                </a:cubicBezTo>
                <a:cubicBezTo>
                  <a:pt x="2380" y="1822"/>
                  <a:pt x="2383" y="1820"/>
                  <a:pt x="2384" y="1819"/>
                </a:cubicBezTo>
                <a:cubicBezTo>
                  <a:pt x="2384" y="1819"/>
                  <a:pt x="2384" y="1819"/>
                  <a:pt x="2384" y="1877"/>
                </a:cubicBezTo>
                <a:cubicBezTo>
                  <a:pt x="2384" y="1877"/>
                  <a:pt x="2384" y="1877"/>
                  <a:pt x="2396" y="1877"/>
                </a:cubicBezTo>
                <a:cubicBezTo>
                  <a:pt x="2396" y="1877"/>
                  <a:pt x="2396" y="1877"/>
                  <a:pt x="2396" y="1804"/>
                </a:cubicBezTo>
                <a:close/>
                <a:moveTo>
                  <a:pt x="1961" y="1877"/>
                </a:moveTo>
                <a:cubicBezTo>
                  <a:pt x="1954" y="1877"/>
                  <a:pt x="1947" y="1874"/>
                  <a:pt x="1944" y="1868"/>
                </a:cubicBezTo>
                <a:cubicBezTo>
                  <a:pt x="1939" y="1862"/>
                  <a:pt x="1937" y="1853"/>
                  <a:pt x="1937" y="1841"/>
                </a:cubicBezTo>
                <a:cubicBezTo>
                  <a:pt x="1937" y="1828"/>
                  <a:pt x="1939" y="1818"/>
                  <a:pt x="1944" y="1812"/>
                </a:cubicBezTo>
                <a:cubicBezTo>
                  <a:pt x="1948" y="1805"/>
                  <a:pt x="1955" y="1801"/>
                  <a:pt x="1963" y="1801"/>
                </a:cubicBezTo>
                <a:cubicBezTo>
                  <a:pt x="1979" y="1801"/>
                  <a:pt x="1988" y="1814"/>
                  <a:pt x="1988" y="1839"/>
                </a:cubicBezTo>
                <a:cubicBezTo>
                  <a:pt x="1988" y="1852"/>
                  <a:pt x="1985" y="1861"/>
                  <a:pt x="1981" y="1868"/>
                </a:cubicBezTo>
                <a:cubicBezTo>
                  <a:pt x="1976" y="1874"/>
                  <a:pt x="1970" y="1877"/>
                  <a:pt x="1961" y="1877"/>
                </a:cubicBezTo>
                <a:close/>
                <a:moveTo>
                  <a:pt x="1963" y="1811"/>
                </a:moveTo>
                <a:cubicBezTo>
                  <a:pt x="1954" y="1811"/>
                  <a:pt x="1949" y="1821"/>
                  <a:pt x="1949" y="1841"/>
                </a:cubicBezTo>
                <a:cubicBezTo>
                  <a:pt x="1949" y="1859"/>
                  <a:pt x="1953" y="1868"/>
                  <a:pt x="1962" y="1868"/>
                </a:cubicBezTo>
                <a:cubicBezTo>
                  <a:pt x="1971" y="1868"/>
                  <a:pt x="1975" y="1859"/>
                  <a:pt x="1975" y="1840"/>
                </a:cubicBezTo>
                <a:cubicBezTo>
                  <a:pt x="1975" y="1820"/>
                  <a:pt x="1971" y="1811"/>
                  <a:pt x="1963" y="1811"/>
                </a:cubicBezTo>
                <a:close/>
                <a:moveTo>
                  <a:pt x="2022" y="1804"/>
                </a:moveTo>
                <a:cubicBezTo>
                  <a:pt x="2022" y="1804"/>
                  <a:pt x="2022" y="1804"/>
                  <a:pt x="2022" y="1804"/>
                </a:cubicBezTo>
                <a:cubicBezTo>
                  <a:pt x="2017" y="1804"/>
                  <a:pt x="2017" y="1804"/>
                  <a:pt x="2017" y="1804"/>
                </a:cubicBezTo>
                <a:cubicBezTo>
                  <a:pt x="2015" y="1806"/>
                  <a:pt x="2013" y="1807"/>
                  <a:pt x="2011" y="1808"/>
                </a:cubicBezTo>
                <a:cubicBezTo>
                  <a:pt x="2010" y="1809"/>
                  <a:pt x="2008" y="1810"/>
                  <a:pt x="2006" y="1811"/>
                </a:cubicBezTo>
                <a:cubicBezTo>
                  <a:pt x="2005" y="1812"/>
                  <a:pt x="2002" y="1813"/>
                  <a:pt x="2001" y="1814"/>
                </a:cubicBezTo>
                <a:cubicBezTo>
                  <a:pt x="1999" y="1814"/>
                  <a:pt x="1997" y="1815"/>
                  <a:pt x="1995" y="1815"/>
                </a:cubicBezTo>
                <a:cubicBezTo>
                  <a:pt x="1995" y="1815"/>
                  <a:pt x="1995" y="1815"/>
                  <a:pt x="1995" y="1825"/>
                </a:cubicBezTo>
                <a:cubicBezTo>
                  <a:pt x="1998" y="1824"/>
                  <a:pt x="2001" y="1824"/>
                  <a:pt x="2004" y="1822"/>
                </a:cubicBezTo>
                <a:cubicBezTo>
                  <a:pt x="2006" y="1822"/>
                  <a:pt x="2008" y="1820"/>
                  <a:pt x="2010" y="1819"/>
                </a:cubicBezTo>
                <a:cubicBezTo>
                  <a:pt x="2010" y="1819"/>
                  <a:pt x="2010" y="1819"/>
                  <a:pt x="2010" y="1877"/>
                </a:cubicBezTo>
                <a:cubicBezTo>
                  <a:pt x="2010" y="1877"/>
                  <a:pt x="2010" y="1877"/>
                  <a:pt x="2022" y="1877"/>
                </a:cubicBezTo>
                <a:cubicBezTo>
                  <a:pt x="2022" y="1877"/>
                  <a:pt x="2022" y="1877"/>
                  <a:pt x="2022" y="1804"/>
                </a:cubicBezTo>
                <a:close/>
                <a:moveTo>
                  <a:pt x="2069" y="1804"/>
                </a:moveTo>
                <a:cubicBezTo>
                  <a:pt x="2069" y="1804"/>
                  <a:pt x="2069" y="1804"/>
                  <a:pt x="2069" y="1804"/>
                </a:cubicBezTo>
                <a:cubicBezTo>
                  <a:pt x="2064" y="1804"/>
                  <a:pt x="2064" y="1804"/>
                  <a:pt x="2064" y="1804"/>
                </a:cubicBezTo>
                <a:cubicBezTo>
                  <a:pt x="2062" y="1806"/>
                  <a:pt x="2060" y="1807"/>
                  <a:pt x="2058" y="1808"/>
                </a:cubicBezTo>
                <a:cubicBezTo>
                  <a:pt x="2057" y="1809"/>
                  <a:pt x="2055" y="1810"/>
                  <a:pt x="2053" y="1811"/>
                </a:cubicBezTo>
                <a:cubicBezTo>
                  <a:pt x="2052" y="1812"/>
                  <a:pt x="2050" y="1813"/>
                  <a:pt x="2048" y="1814"/>
                </a:cubicBezTo>
                <a:cubicBezTo>
                  <a:pt x="2046" y="1814"/>
                  <a:pt x="2044" y="1815"/>
                  <a:pt x="2042" y="1815"/>
                </a:cubicBezTo>
                <a:cubicBezTo>
                  <a:pt x="2042" y="1815"/>
                  <a:pt x="2042" y="1815"/>
                  <a:pt x="2042" y="1825"/>
                </a:cubicBezTo>
                <a:cubicBezTo>
                  <a:pt x="2045" y="1824"/>
                  <a:pt x="2048" y="1824"/>
                  <a:pt x="2050" y="1822"/>
                </a:cubicBezTo>
                <a:cubicBezTo>
                  <a:pt x="2053" y="1822"/>
                  <a:pt x="2055" y="1820"/>
                  <a:pt x="2058" y="1819"/>
                </a:cubicBezTo>
                <a:cubicBezTo>
                  <a:pt x="2058" y="1819"/>
                  <a:pt x="2058" y="1819"/>
                  <a:pt x="2058" y="1877"/>
                </a:cubicBezTo>
                <a:cubicBezTo>
                  <a:pt x="2058" y="1877"/>
                  <a:pt x="2058" y="1877"/>
                  <a:pt x="2069" y="1877"/>
                </a:cubicBezTo>
                <a:cubicBezTo>
                  <a:pt x="2069" y="1877"/>
                  <a:pt x="2069" y="1877"/>
                  <a:pt x="2069" y="1804"/>
                </a:cubicBezTo>
                <a:close/>
                <a:moveTo>
                  <a:pt x="2115" y="1804"/>
                </a:moveTo>
                <a:cubicBezTo>
                  <a:pt x="2115" y="1804"/>
                  <a:pt x="2115" y="1804"/>
                  <a:pt x="2115" y="1804"/>
                </a:cubicBezTo>
                <a:cubicBezTo>
                  <a:pt x="2111" y="1804"/>
                  <a:pt x="2111" y="1804"/>
                  <a:pt x="2111" y="1804"/>
                </a:cubicBezTo>
                <a:cubicBezTo>
                  <a:pt x="2109" y="1806"/>
                  <a:pt x="2107" y="1807"/>
                  <a:pt x="2105" y="1808"/>
                </a:cubicBezTo>
                <a:cubicBezTo>
                  <a:pt x="2103" y="1809"/>
                  <a:pt x="2101" y="1810"/>
                  <a:pt x="2100" y="1811"/>
                </a:cubicBezTo>
                <a:cubicBezTo>
                  <a:pt x="2098" y="1811"/>
                  <a:pt x="2096" y="1812"/>
                  <a:pt x="2094" y="1813"/>
                </a:cubicBezTo>
                <a:cubicBezTo>
                  <a:pt x="2092" y="1814"/>
                  <a:pt x="2090" y="1814"/>
                  <a:pt x="2089" y="1815"/>
                </a:cubicBezTo>
                <a:cubicBezTo>
                  <a:pt x="2089" y="1815"/>
                  <a:pt x="2089" y="1815"/>
                  <a:pt x="2089" y="1825"/>
                </a:cubicBezTo>
                <a:cubicBezTo>
                  <a:pt x="2092" y="1824"/>
                  <a:pt x="2095" y="1823"/>
                  <a:pt x="2097" y="1822"/>
                </a:cubicBezTo>
                <a:cubicBezTo>
                  <a:pt x="2099" y="1822"/>
                  <a:pt x="2102" y="1820"/>
                  <a:pt x="2103" y="1819"/>
                </a:cubicBezTo>
                <a:cubicBezTo>
                  <a:pt x="2103" y="1819"/>
                  <a:pt x="2103" y="1819"/>
                  <a:pt x="2103" y="1877"/>
                </a:cubicBezTo>
                <a:cubicBezTo>
                  <a:pt x="2103" y="1877"/>
                  <a:pt x="2103" y="1877"/>
                  <a:pt x="2115" y="1877"/>
                </a:cubicBezTo>
                <a:cubicBezTo>
                  <a:pt x="2115" y="1877"/>
                  <a:pt x="2115" y="1877"/>
                  <a:pt x="2115" y="1804"/>
                </a:cubicBezTo>
                <a:close/>
                <a:moveTo>
                  <a:pt x="1961" y="2177"/>
                </a:moveTo>
                <a:cubicBezTo>
                  <a:pt x="1954" y="2177"/>
                  <a:pt x="1947" y="2174"/>
                  <a:pt x="1944" y="2168"/>
                </a:cubicBezTo>
                <a:cubicBezTo>
                  <a:pt x="1939" y="2162"/>
                  <a:pt x="1937" y="2153"/>
                  <a:pt x="1937" y="2141"/>
                </a:cubicBezTo>
                <a:cubicBezTo>
                  <a:pt x="1937" y="2128"/>
                  <a:pt x="1939" y="2118"/>
                  <a:pt x="1944" y="2112"/>
                </a:cubicBezTo>
                <a:cubicBezTo>
                  <a:pt x="1948" y="2105"/>
                  <a:pt x="1955" y="2101"/>
                  <a:pt x="1963" y="2101"/>
                </a:cubicBezTo>
                <a:cubicBezTo>
                  <a:pt x="1979" y="2101"/>
                  <a:pt x="1988" y="2114"/>
                  <a:pt x="1988" y="2139"/>
                </a:cubicBezTo>
                <a:cubicBezTo>
                  <a:pt x="1988" y="2152"/>
                  <a:pt x="1985" y="2161"/>
                  <a:pt x="1981" y="2168"/>
                </a:cubicBezTo>
                <a:cubicBezTo>
                  <a:pt x="1976" y="2174"/>
                  <a:pt x="1970" y="2177"/>
                  <a:pt x="1961" y="2177"/>
                </a:cubicBezTo>
                <a:close/>
                <a:moveTo>
                  <a:pt x="1963" y="2111"/>
                </a:moveTo>
                <a:cubicBezTo>
                  <a:pt x="1954" y="2111"/>
                  <a:pt x="1949" y="2121"/>
                  <a:pt x="1949" y="2141"/>
                </a:cubicBezTo>
                <a:cubicBezTo>
                  <a:pt x="1949" y="2159"/>
                  <a:pt x="1953" y="2168"/>
                  <a:pt x="1962" y="2168"/>
                </a:cubicBezTo>
                <a:cubicBezTo>
                  <a:pt x="1971" y="2168"/>
                  <a:pt x="1975" y="2159"/>
                  <a:pt x="1975" y="2140"/>
                </a:cubicBezTo>
                <a:cubicBezTo>
                  <a:pt x="1975" y="2120"/>
                  <a:pt x="1971" y="2111"/>
                  <a:pt x="1963" y="2111"/>
                </a:cubicBezTo>
                <a:close/>
                <a:moveTo>
                  <a:pt x="1963" y="2082"/>
                </a:moveTo>
                <a:cubicBezTo>
                  <a:pt x="1956" y="2082"/>
                  <a:pt x="1949" y="2079"/>
                  <a:pt x="1946" y="2073"/>
                </a:cubicBezTo>
                <a:cubicBezTo>
                  <a:pt x="1941" y="2067"/>
                  <a:pt x="1939" y="2058"/>
                  <a:pt x="1939" y="2045"/>
                </a:cubicBezTo>
                <a:cubicBezTo>
                  <a:pt x="1939" y="2032"/>
                  <a:pt x="1941" y="2023"/>
                  <a:pt x="1946" y="2016"/>
                </a:cubicBezTo>
                <a:cubicBezTo>
                  <a:pt x="1950" y="2009"/>
                  <a:pt x="1957" y="2006"/>
                  <a:pt x="1965" y="2006"/>
                </a:cubicBezTo>
                <a:cubicBezTo>
                  <a:pt x="1981" y="2006"/>
                  <a:pt x="1989" y="2018"/>
                  <a:pt x="1989" y="2044"/>
                </a:cubicBezTo>
                <a:cubicBezTo>
                  <a:pt x="1989" y="2056"/>
                  <a:pt x="1987" y="2066"/>
                  <a:pt x="1983" y="2073"/>
                </a:cubicBezTo>
                <a:cubicBezTo>
                  <a:pt x="1978" y="2079"/>
                  <a:pt x="1972" y="2082"/>
                  <a:pt x="1963" y="2082"/>
                </a:cubicBezTo>
                <a:close/>
                <a:moveTo>
                  <a:pt x="1965" y="2015"/>
                </a:moveTo>
                <a:cubicBezTo>
                  <a:pt x="1956" y="2015"/>
                  <a:pt x="1951" y="2026"/>
                  <a:pt x="1951" y="2045"/>
                </a:cubicBezTo>
                <a:cubicBezTo>
                  <a:pt x="1951" y="2064"/>
                  <a:pt x="1955" y="2073"/>
                  <a:pt x="1964" y="2073"/>
                </a:cubicBezTo>
                <a:cubicBezTo>
                  <a:pt x="1973" y="2073"/>
                  <a:pt x="1977" y="2064"/>
                  <a:pt x="1977" y="2045"/>
                </a:cubicBezTo>
                <a:cubicBezTo>
                  <a:pt x="1977" y="2025"/>
                  <a:pt x="1973" y="2015"/>
                  <a:pt x="1965" y="2015"/>
                </a:cubicBezTo>
                <a:close/>
                <a:moveTo>
                  <a:pt x="2030" y="1770"/>
                </a:moveTo>
                <a:cubicBezTo>
                  <a:pt x="2023" y="1770"/>
                  <a:pt x="2016" y="1767"/>
                  <a:pt x="2012" y="1761"/>
                </a:cubicBezTo>
                <a:cubicBezTo>
                  <a:pt x="2008" y="1755"/>
                  <a:pt x="2006" y="1746"/>
                  <a:pt x="2006" y="1733"/>
                </a:cubicBezTo>
                <a:cubicBezTo>
                  <a:pt x="2006" y="1720"/>
                  <a:pt x="2008" y="1711"/>
                  <a:pt x="2012" y="1704"/>
                </a:cubicBezTo>
                <a:cubicBezTo>
                  <a:pt x="2017" y="1697"/>
                  <a:pt x="2023" y="1694"/>
                  <a:pt x="2032" y="1694"/>
                </a:cubicBezTo>
                <a:cubicBezTo>
                  <a:pt x="2048" y="1694"/>
                  <a:pt x="2056" y="1706"/>
                  <a:pt x="2056" y="1732"/>
                </a:cubicBezTo>
                <a:cubicBezTo>
                  <a:pt x="2056" y="1744"/>
                  <a:pt x="2054" y="1754"/>
                  <a:pt x="2049" y="1761"/>
                </a:cubicBezTo>
                <a:cubicBezTo>
                  <a:pt x="2044" y="1767"/>
                  <a:pt x="2038" y="1770"/>
                  <a:pt x="2030" y="1770"/>
                </a:cubicBezTo>
                <a:close/>
                <a:moveTo>
                  <a:pt x="2031" y="1703"/>
                </a:moveTo>
                <a:cubicBezTo>
                  <a:pt x="2022" y="1703"/>
                  <a:pt x="2017" y="1714"/>
                  <a:pt x="2017" y="1733"/>
                </a:cubicBezTo>
                <a:cubicBezTo>
                  <a:pt x="2017" y="1752"/>
                  <a:pt x="2022" y="1761"/>
                  <a:pt x="2031" y="1761"/>
                </a:cubicBezTo>
                <a:cubicBezTo>
                  <a:pt x="2039" y="1761"/>
                  <a:pt x="2044" y="1752"/>
                  <a:pt x="2044" y="1733"/>
                </a:cubicBezTo>
                <a:cubicBezTo>
                  <a:pt x="2044" y="1713"/>
                  <a:pt x="2039" y="1703"/>
                  <a:pt x="2031" y="1703"/>
                </a:cubicBezTo>
                <a:close/>
                <a:moveTo>
                  <a:pt x="2104" y="1697"/>
                </a:moveTo>
                <a:cubicBezTo>
                  <a:pt x="2104" y="1697"/>
                  <a:pt x="2104" y="1697"/>
                  <a:pt x="2104" y="1697"/>
                </a:cubicBezTo>
                <a:cubicBezTo>
                  <a:pt x="2099" y="1697"/>
                  <a:pt x="2099" y="1697"/>
                  <a:pt x="2099" y="1697"/>
                </a:cubicBezTo>
                <a:cubicBezTo>
                  <a:pt x="2096" y="1698"/>
                  <a:pt x="2095" y="1700"/>
                  <a:pt x="2093" y="1700"/>
                </a:cubicBezTo>
                <a:cubicBezTo>
                  <a:pt x="2091" y="1702"/>
                  <a:pt x="2089" y="1702"/>
                  <a:pt x="2088" y="1703"/>
                </a:cubicBezTo>
                <a:cubicBezTo>
                  <a:pt x="2086" y="1704"/>
                  <a:pt x="2084" y="1705"/>
                  <a:pt x="2083" y="1705"/>
                </a:cubicBezTo>
                <a:cubicBezTo>
                  <a:pt x="2080" y="1706"/>
                  <a:pt x="2079" y="1707"/>
                  <a:pt x="2077" y="1708"/>
                </a:cubicBezTo>
                <a:cubicBezTo>
                  <a:pt x="2077" y="1708"/>
                  <a:pt x="2077" y="1708"/>
                  <a:pt x="2077" y="1718"/>
                </a:cubicBezTo>
                <a:cubicBezTo>
                  <a:pt x="2080" y="1717"/>
                  <a:pt x="2083" y="1716"/>
                  <a:pt x="2085" y="1715"/>
                </a:cubicBezTo>
                <a:cubicBezTo>
                  <a:pt x="2088" y="1714"/>
                  <a:pt x="2090" y="1713"/>
                  <a:pt x="2092" y="1711"/>
                </a:cubicBezTo>
                <a:cubicBezTo>
                  <a:pt x="2092" y="1711"/>
                  <a:pt x="2092" y="1711"/>
                  <a:pt x="2092" y="1770"/>
                </a:cubicBezTo>
                <a:cubicBezTo>
                  <a:pt x="2092" y="1770"/>
                  <a:pt x="2092" y="1770"/>
                  <a:pt x="2104" y="1770"/>
                </a:cubicBezTo>
                <a:cubicBezTo>
                  <a:pt x="2104" y="1770"/>
                  <a:pt x="2104" y="1770"/>
                  <a:pt x="2104" y="1697"/>
                </a:cubicBezTo>
                <a:close/>
                <a:moveTo>
                  <a:pt x="2151" y="1697"/>
                </a:moveTo>
                <a:cubicBezTo>
                  <a:pt x="2151" y="1697"/>
                  <a:pt x="2151" y="1697"/>
                  <a:pt x="2151" y="1697"/>
                </a:cubicBezTo>
                <a:cubicBezTo>
                  <a:pt x="2146" y="1697"/>
                  <a:pt x="2146" y="1697"/>
                  <a:pt x="2146" y="1697"/>
                </a:cubicBezTo>
                <a:cubicBezTo>
                  <a:pt x="2144" y="1698"/>
                  <a:pt x="2142" y="1700"/>
                  <a:pt x="2140" y="1700"/>
                </a:cubicBezTo>
                <a:cubicBezTo>
                  <a:pt x="2139" y="1702"/>
                  <a:pt x="2136" y="1702"/>
                  <a:pt x="2135" y="1703"/>
                </a:cubicBezTo>
                <a:cubicBezTo>
                  <a:pt x="2134" y="1705"/>
                  <a:pt x="2131" y="1705"/>
                  <a:pt x="2130" y="1706"/>
                </a:cubicBezTo>
                <a:cubicBezTo>
                  <a:pt x="2128" y="1707"/>
                  <a:pt x="2126" y="1708"/>
                  <a:pt x="2124" y="1708"/>
                </a:cubicBezTo>
                <a:cubicBezTo>
                  <a:pt x="2124" y="1708"/>
                  <a:pt x="2124" y="1708"/>
                  <a:pt x="2124" y="1718"/>
                </a:cubicBezTo>
                <a:cubicBezTo>
                  <a:pt x="2127" y="1717"/>
                  <a:pt x="2130" y="1716"/>
                  <a:pt x="2132" y="1715"/>
                </a:cubicBezTo>
                <a:cubicBezTo>
                  <a:pt x="2135" y="1714"/>
                  <a:pt x="2137" y="1713"/>
                  <a:pt x="2139" y="1711"/>
                </a:cubicBezTo>
                <a:cubicBezTo>
                  <a:pt x="2139" y="1711"/>
                  <a:pt x="2139" y="1711"/>
                  <a:pt x="2139" y="1770"/>
                </a:cubicBezTo>
                <a:cubicBezTo>
                  <a:pt x="2139" y="1770"/>
                  <a:pt x="2139" y="1770"/>
                  <a:pt x="2151" y="1770"/>
                </a:cubicBezTo>
                <a:cubicBezTo>
                  <a:pt x="2151" y="1770"/>
                  <a:pt x="2151" y="1770"/>
                  <a:pt x="2151" y="1697"/>
                </a:cubicBezTo>
                <a:close/>
                <a:moveTo>
                  <a:pt x="2197" y="1697"/>
                </a:moveTo>
                <a:cubicBezTo>
                  <a:pt x="2197" y="1697"/>
                  <a:pt x="2197" y="1697"/>
                  <a:pt x="2197" y="1697"/>
                </a:cubicBezTo>
                <a:cubicBezTo>
                  <a:pt x="2193" y="1697"/>
                  <a:pt x="2193" y="1697"/>
                  <a:pt x="2193" y="1697"/>
                </a:cubicBezTo>
                <a:cubicBezTo>
                  <a:pt x="2191" y="1698"/>
                  <a:pt x="2189" y="1700"/>
                  <a:pt x="2187" y="1700"/>
                </a:cubicBezTo>
                <a:cubicBezTo>
                  <a:pt x="2186" y="1702"/>
                  <a:pt x="2184" y="1702"/>
                  <a:pt x="2182" y="1703"/>
                </a:cubicBezTo>
                <a:cubicBezTo>
                  <a:pt x="2180" y="1705"/>
                  <a:pt x="2179" y="1705"/>
                  <a:pt x="2176" y="1706"/>
                </a:cubicBezTo>
                <a:cubicBezTo>
                  <a:pt x="2175" y="1707"/>
                  <a:pt x="2173" y="1708"/>
                  <a:pt x="2171" y="1708"/>
                </a:cubicBezTo>
                <a:cubicBezTo>
                  <a:pt x="2171" y="1708"/>
                  <a:pt x="2171" y="1708"/>
                  <a:pt x="2171" y="1718"/>
                </a:cubicBezTo>
                <a:cubicBezTo>
                  <a:pt x="2174" y="1717"/>
                  <a:pt x="2177" y="1716"/>
                  <a:pt x="2179" y="1715"/>
                </a:cubicBezTo>
                <a:cubicBezTo>
                  <a:pt x="2181" y="1714"/>
                  <a:pt x="2184" y="1713"/>
                  <a:pt x="2186" y="1711"/>
                </a:cubicBezTo>
                <a:cubicBezTo>
                  <a:pt x="2186" y="1711"/>
                  <a:pt x="2186" y="1711"/>
                  <a:pt x="2186" y="1770"/>
                </a:cubicBezTo>
                <a:cubicBezTo>
                  <a:pt x="2186" y="1770"/>
                  <a:pt x="2186" y="1770"/>
                  <a:pt x="2197" y="1770"/>
                </a:cubicBezTo>
                <a:cubicBezTo>
                  <a:pt x="2197" y="1770"/>
                  <a:pt x="2197" y="1770"/>
                  <a:pt x="2197" y="1697"/>
                </a:cubicBezTo>
                <a:close/>
                <a:moveTo>
                  <a:pt x="2245" y="1697"/>
                </a:moveTo>
                <a:cubicBezTo>
                  <a:pt x="2245" y="1697"/>
                  <a:pt x="2245" y="1697"/>
                  <a:pt x="2245" y="1697"/>
                </a:cubicBezTo>
                <a:cubicBezTo>
                  <a:pt x="2240" y="1697"/>
                  <a:pt x="2240" y="1697"/>
                  <a:pt x="2240" y="1697"/>
                </a:cubicBezTo>
                <a:cubicBezTo>
                  <a:pt x="2238" y="1698"/>
                  <a:pt x="2236" y="1700"/>
                  <a:pt x="2234" y="1700"/>
                </a:cubicBezTo>
                <a:cubicBezTo>
                  <a:pt x="2232" y="1702"/>
                  <a:pt x="2231" y="1702"/>
                  <a:pt x="2229" y="1703"/>
                </a:cubicBezTo>
                <a:cubicBezTo>
                  <a:pt x="2227" y="1705"/>
                  <a:pt x="2225" y="1705"/>
                  <a:pt x="2224" y="1706"/>
                </a:cubicBezTo>
                <a:cubicBezTo>
                  <a:pt x="2222" y="1707"/>
                  <a:pt x="2220" y="1708"/>
                  <a:pt x="2218" y="1708"/>
                </a:cubicBezTo>
                <a:cubicBezTo>
                  <a:pt x="2218" y="1708"/>
                  <a:pt x="2218" y="1708"/>
                  <a:pt x="2218" y="1718"/>
                </a:cubicBezTo>
                <a:cubicBezTo>
                  <a:pt x="2221" y="1717"/>
                  <a:pt x="2224" y="1716"/>
                  <a:pt x="2226" y="1715"/>
                </a:cubicBezTo>
                <a:cubicBezTo>
                  <a:pt x="2229" y="1714"/>
                  <a:pt x="2231" y="1713"/>
                  <a:pt x="2233" y="1711"/>
                </a:cubicBezTo>
                <a:cubicBezTo>
                  <a:pt x="2233" y="1711"/>
                  <a:pt x="2233" y="1711"/>
                  <a:pt x="2233" y="1770"/>
                </a:cubicBezTo>
                <a:cubicBezTo>
                  <a:pt x="2233" y="1770"/>
                  <a:pt x="2233" y="1770"/>
                  <a:pt x="2245" y="1770"/>
                </a:cubicBezTo>
                <a:cubicBezTo>
                  <a:pt x="2245" y="1770"/>
                  <a:pt x="2245" y="1770"/>
                  <a:pt x="2245" y="1697"/>
                </a:cubicBezTo>
                <a:close/>
                <a:moveTo>
                  <a:pt x="2368" y="1697"/>
                </a:moveTo>
                <a:cubicBezTo>
                  <a:pt x="2368" y="1697"/>
                  <a:pt x="2368" y="1697"/>
                  <a:pt x="2368" y="1697"/>
                </a:cubicBezTo>
                <a:cubicBezTo>
                  <a:pt x="2363" y="1697"/>
                  <a:pt x="2363" y="1697"/>
                  <a:pt x="2363" y="1697"/>
                </a:cubicBezTo>
                <a:cubicBezTo>
                  <a:pt x="2360" y="1698"/>
                  <a:pt x="2359" y="1700"/>
                  <a:pt x="2357" y="1700"/>
                </a:cubicBezTo>
                <a:cubicBezTo>
                  <a:pt x="2355" y="1702"/>
                  <a:pt x="2354" y="1702"/>
                  <a:pt x="2352" y="1703"/>
                </a:cubicBezTo>
                <a:cubicBezTo>
                  <a:pt x="2350" y="1705"/>
                  <a:pt x="2348" y="1705"/>
                  <a:pt x="2347" y="1706"/>
                </a:cubicBezTo>
                <a:cubicBezTo>
                  <a:pt x="2344" y="1707"/>
                  <a:pt x="2343" y="1708"/>
                  <a:pt x="2341" y="1708"/>
                </a:cubicBezTo>
                <a:cubicBezTo>
                  <a:pt x="2341" y="1708"/>
                  <a:pt x="2341" y="1708"/>
                  <a:pt x="2341" y="1718"/>
                </a:cubicBezTo>
                <a:cubicBezTo>
                  <a:pt x="2344" y="1717"/>
                  <a:pt x="2347" y="1716"/>
                  <a:pt x="2350" y="1715"/>
                </a:cubicBezTo>
                <a:cubicBezTo>
                  <a:pt x="2352" y="1714"/>
                  <a:pt x="2354" y="1713"/>
                  <a:pt x="2356" y="1711"/>
                </a:cubicBezTo>
                <a:cubicBezTo>
                  <a:pt x="2356" y="1711"/>
                  <a:pt x="2356" y="1711"/>
                  <a:pt x="2356" y="1770"/>
                </a:cubicBezTo>
                <a:cubicBezTo>
                  <a:pt x="2356" y="1770"/>
                  <a:pt x="2356" y="1770"/>
                  <a:pt x="2368" y="1770"/>
                </a:cubicBezTo>
                <a:cubicBezTo>
                  <a:pt x="2368" y="1770"/>
                  <a:pt x="2368" y="1770"/>
                  <a:pt x="2368" y="1697"/>
                </a:cubicBezTo>
                <a:close/>
                <a:moveTo>
                  <a:pt x="2415" y="1697"/>
                </a:moveTo>
                <a:cubicBezTo>
                  <a:pt x="2415" y="1697"/>
                  <a:pt x="2415" y="1697"/>
                  <a:pt x="2415" y="1697"/>
                </a:cubicBezTo>
                <a:cubicBezTo>
                  <a:pt x="2410" y="1697"/>
                  <a:pt x="2410" y="1697"/>
                  <a:pt x="2410" y="1697"/>
                </a:cubicBezTo>
                <a:cubicBezTo>
                  <a:pt x="2408" y="1698"/>
                  <a:pt x="2406" y="1700"/>
                  <a:pt x="2404" y="1700"/>
                </a:cubicBezTo>
                <a:cubicBezTo>
                  <a:pt x="2403" y="1702"/>
                  <a:pt x="2401" y="1702"/>
                  <a:pt x="2399" y="1703"/>
                </a:cubicBezTo>
                <a:cubicBezTo>
                  <a:pt x="2398" y="1705"/>
                  <a:pt x="2396" y="1705"/>
                  <a:pt x="2394" y="1706"/>
                </a:cubicBezTo>
                <a:cubicBezTo>
                  <a:pt x="2392" y="1707"/>
                  <a:pt x="2391" y="1708"/>
                  <a:pt x="2388" y="1708"/>
                </a:cubicBezTo>
                <a:cubicBezTo>
                  <a:pt x="2388" y="1708"/>
                  <a:pt x="2388" y="1708"/>
                  <a:pt x="2388" y="1718"/>
                </a:cubicBezTo>
                <a:cubicBezTo>
                  <a:pt x="2391" y="1717"/>
                  <a:pt x="2394" y="1716"/>
                  <a:pt x="2396" y="1715"/>
                </a:cubicBezTo>
                <a:cubicBezTo>
                  <a:pt x="2399" y="1714"/>
                  <a:pt x="2401" y="1713"/>
                  <a:pt x="2404" y="1711"/>
                </a:cubicBezTo>
                <a:cubicBezTo>
                  <a:pt x="2404" y="1711"/>
                  <a:pt x="2404" y="1711"/>
                  <a:pt x="2404" y="1770"/>
                </a:cubicBezTo>
                <a:cubicBezTo>
                  <a:pt x="2404" y="1770"/>
                  <a:pt x="2404" y="1770"/>
                  <a:pt x="2415" y="1770"/>
                </a:cubicBezTo>
                <a:cubicBezTo>
                  <a:pt x="2415" y="1770"/>
                  <a:pt x="2415" y="1770"/>
                  <a:pt x="2415" y="1697"/>
                </a:cubicBezTo>
                <a:close/>
                <a:moveTo>
                  <a:pt x="2463" y="1697"/>
                </a:moveTo>
                <a:cubicBezTo>
                  <a:pt x="2463" y="1697"/>
                  <a:pt x="2463" y="1697"/>
                  <a:pt x="2463" y="1697"/>
                </a:cubicBezTo>
                <a:cubicBezTo>
                  <a:pt x="2458" y="1697"/>
                  <a:pt x="2458" y="1697"/>
                  <a:pt x="2458" y="1697"/>
                </a:cubicBezTo>
                <a:cubicBezTo>
                  <a:pt x="2456" y="1698"/>
                  <a:pt x="2454" y="1700"/>
                  <a:pt x="2453" y="1700"/>
                </a:cubicBezTo>
                <a:cubicBezTo>
                  <a:pt x="2450" y="1702"/>
                  <a:pt x="2449" y="1702"/>
                  <a:pt x="2447" y="1703"/>
                </a:cubicBezTo>
                <a:cubicBezTo>
                  <a:pt x="2445" y="1705"/>
                  <a:pt x="2443" y="1705"/>
                  <a:pt x="2442" y="1706"/>
                </a:cubicBezTo>
                <a:cubicBezTo>
                  <a:pt x="2439" y="1707"/>
                  <a:pt x="2438" y="1708"/>
                  <a:pt x="2436" y="1708"/>
                </a:cubicBezTo>
                <a:cubicBezTo>
                  <a:pt x="2436" y="1708"/>
                  <a:pt x="2436" y="1708"/>
                  <a:pt x="2436" y="1718"/>
                </a:cubicBezTo>
                <a:cubicBezTo>
                  <a:pt x="2439" y="1717"/>
                  <a:pt x="2442" y="1716"/>
                  <a:pt x="2445" y="1715"/>
                </a:cubicBezTo>
                <a:cubicBezTo>
                  <a:pt x="2447" y="1714"/>
                  <a:pt x="2449" y="1713"/>
                  <a:pt x="2451" y="1711"/>
                </a:cubicBezTo>
                <a:cubicBezTo>
                  <a:pt x="2451" y="1711"/>
                  <a:pt x="2451" y="1711"/>
                  <a:pt x="2451" y="1770"/>
                </a:cubicBezTo>
                <a:cubicBezTo>
                  <a:pt x="2451" y="1770"/>
                  <a:pt x="2451" y="1770"/>
                  <a:pt x="2463" y="1770"/>
                </a:cubicBezTo>
                <a:cubicBezTo>
                  <a:pt x="2463" y="1770"/>
                  <a:pt x="2463" y="1770"/>
                  <a:pt x="2463" y="1697"/>
                </a:cubicBezTo>
                <a:close/>
                <a:moveTo>
                  <a:pt x="2509" y="1697"/>
                </a:moveTo>
                <a:cubicBezTo>
                  <a:pt x="2509" y="1697"/>
                  <a:pt x="2509" y="1697"/>
                  <a:pt x="2509" y="1697"/>
                </a:cubicBezTo>
                <a:cubicBezTo>
                  <a:pt x="2505" y="1697"/>
                  <a:pt x="2505" y="1697"/>
                  <a:pt x="2505" y="1697"/>
                </a:cubicBezTo>
                <a:cubicBezTo>
                  <a:pt x="2503" y="1698"/>
                  <a:pt x="2501" y="1700"/>
                  <a:pt x="2499" y="1700"/>
                </a:cubicBezTo>
                <a:cubicBezTo>
                  <a:pt x="2498" y="1702"/>
                  <a:pt x="2496" y="1702"/>
                  <a:pt x="2494" y="1703"/>
                </a:cubicBezTo>
                <a:cubicBezTo>
                  <a:pt x="2492" y="1704"/>
                  <a:pt x="2491" y="1705"/>
                  <a:pt x="2488" y="1705"/>
                </a:cubicBezTo>
                <a:cubicBezTo>
                  <a:pt x="2487" y="1706"/>
                  <a:pt x="2485" y="1707"/>
                  <a:pt x="2483" y="1708"/>
                </a:cubicBezTo>
                <a:cubicBezTo>
                  <a:pt x="2483" y="1708"/>
                  <a:pt x="2483" y="1708"/>
                  <a:pt x="2483" y="1718"/>
                </a:cubicBezTo>
                <a:cubicBezTo>
                  <a:pt x="2486" y="1717"/>
                  <a:pt x="2489" y="1716"/>
                  <a:pt x="2491" y="1715"/>
                </a:cubicBezTo>
                <a:cubicBezTo>
                  <a:pt x="2493" y="1714"/>
                  <a:pt x="2496" y="1713"/>
                  <a:pt x="2498" y="1711"/>
                </a:cubicBezTo>
                <a:cubicBezTo>
                  <a:pt x="2498" y="1711"/>
                  <a:pt x="2498" y="1711"/>
                  <a:pt x="2498" y="1770"/>
                </a:cubicBezTo>
                <a:cubicBezTo>
                  <a:pt x="2498" y="1770"/>
                  <a:pt x="2498" y="1770"/>
                  <a:pt x="2509" y="1770"/>
                </a:cubicBezTo>
                <a:cubicBezTo>
                  <a:pt x="2509" y="1770"/>
                  <a:pt x="2509" y="1770"/>
                  <a:pt x="2509" y="1697"/>
                </a:cubicBezTo>
                <a:close/>
                <a:moveTo>
                  <a:pt x="2266" y="1729"/>
                </a:moveTo>
                <a:cubicBezTo>
                  <a:pt x="2266" y="1729"/>
                  <a:pt x="2266" y="1729"/>
                  <a:pt x="2266" y="1729"/>
                </a:cubicBezTo>
                <a:cubicBezTo>
                  <a:pt x="2265" y="1737"/>
                  <a:pt x="2265" y="1737"/>
                  <a:pt x="2265" y="1737"/>
                </a:cubicBezTo>
                <a:cubicBezTo>
                  <a:pt x="2272" y="1738"/>
                  <a:pt x="2272" y="1741"/>
                  <a:pt x="2272" y="1743"/>
                </a:cubicBezTo>
                <a:cubicBezTo>
                  <a:pt x="2272" y="1745"/>
                  <a:pt x="2272" y="1748"/>
                  <a:pt x="2272" y="1750"/>
                </a:cubicBezTo>
                <a:cubicBezTo>
                  <a:pt x="2272" y="1753"/>
                  <a:pt x="2271" y="1755"/>
                  <a:pt x="2271" y="1757"/>
                </a:cubicBezTo>
                <a:cubicBezTo>
                  <a:pt x="2271" y="1767"/>
                  <a:pt x="2277" y="1770"/>
                  <a:pt x="2286" y="1770"/>
                </a:cubicBezTo>
                <a:cubicBezTo>
                  <a:pt x="2286" y="1770"/>
                  <a:pt x="2286" y="1770"/>
                  <a:pt x="2289" y="1770"/>
                </a:cubicBezTo>
                <a:cubicBezTo>
                  <a:pt x="2289" y="1770"/>
                  <a:pt x="2289" y="1770"/>
                  <a:pt x="2289" y="1761"/>
                </a:cubicBezTo>
                <a:cubicBezTo>
                  <a:pt x="2289" y="1761"/>
                  <a:pt x="2289" y="1761"/>
                  <a:pt x="2288" y="1761"/>
                </a:cubicBezTo>
                <a:cubicBezTo>
                  <a:pt x="2284" y="1761"/>
                  <a:pt x="2283" y="1759"/>
                  <a:pt x="2283" y="1755"/>
                </a:cubicBezTo>
                <a:cubicBezTo>
                  <a:pt x="2283" y="1754"/>
                  <a:pt x="2283" y="1752"/>
                  <a:pt x="2284" y="1750"/>
                </a:cubicBezTo>
                <a:cubicBezTo>
                  <a:pt x="2284" y="1749"/>
                  <a:pt x="2284" y="1747"/>
                  <a:pt x="2284" y="1744"/>
                </a:cubicBezTo>
                <a:cubicBezTo>
                  <a:pt x="2284" y="1737"/>
                  <a:pt x="2281" y="1734"/>
                  <a:pt x="2275" y="1733"/>
                </a:cubicBezTo>
                <a:cubicBezTo>
                  <a:pt x="2275" y="1733"/>
                  <a:pt x="2275" y="1733"/>
                  <a:pt x="2275" y="1733"/>
                </a:cubicBezTo>
                <a:cubicBezTo>
                  <a:pt x="2281" y="1732"/>
                  <a:pt x="2284" y="1729"/>
                  <a:pt x="2284" y="1722"/>
                </a:cubicBezTo>
                <a:cubicBezTo>
                  <a:pt x="2284" y="1719"/>
                  <a:pt x="2284" y="1717"/>
                  <a:pt x="2284" y="1716"/>
                </a:cubicBezTo>
                <a:cubicBezTo>
                  <a:pt x="2283" y="1714"/>
                  <a:pt x="2283" y="1712"/>
                  <a:pt x="2283" y="1711"/>
                </a:cubicBezTo>
                <a:cubicBezTo>
                  <a:pt x="2283" y="1707"/>
                  <a:pt x="2284" y="1705"/>
                  <a:pt x="2288" y="1705"/>
                </a:cubicBezTo>
                <a:cubicBezTo>
                  <a:pt x="2288" y="1705"/>
                  <a:pt x="2288" y="1705"/>
                  <a:pt x="2289" y="1705"/>
                </a:cubicBezTo>
                <a:cubicBezTo>
                  <a:pt x="2289" y="1705"/>
                  <a:pt x="2289" y="1705"/>
                  <a:pt x="2289" y="1696"/>
                </a:cubicBezTo>
                <a:cubicBezTo>
                  <a:pt x="2289" y="1696"/>
                  <a:pt x="2289" y="1696"/>
                  <a:pt x="2286" y="1696"/>
                </a:cubicBezTo>
                <a:cubicBezTo>
                  <a:pt x="2277" y="1696"/>
                  <a:pt x="2271" y="1700"/>
                  <a:pt x="2271" y="1708"/>
                </a:cubicBezTo>
                <a:cubicBezTo>
                  <a:pt x="2271" y="1711"/>
                  <a:pt x="2272" y="1713"/>
                  <a:pt x="2272" y="1716"/>
                </a:cubicBezTo>
                <a:cubicBezTo>
                  <a:pt x="2272" y="1718"/>
                  <a:pt x="2272" y="1721"/>
                  <a:pt x="2272" y="1723"/>
                </a:cubicBezTo>
                <a:cubicBezTo>
                  <a:pt x="2272" y="1725"/>
                  <a:pt x="2272" y="1729"/>
                  <a:pt x="2266" y="1729"/>
                </a:cubicBezTo>
                <a:close/>
                <a:moveTo>
                  <a:pt x="2320" y="1737"/>
                </a:moveTo>
                <a:cubicBezTo>
                  <a:pt x="2320" y="1737"/>
                  <a:pt x="2320" y="1737"/>
                  <a:pt x="2320" y="1737"/>
                </a:cubicBezTo>
                <a:cubicBezTo>
                  <a:pt x="2320" y="1729"/>
                  <a:pt x="2320" y="1729"/>
                  <a:pt x="2320" y="1729"/>
                </a:cubicBezTo>
                <a:cubicBezTo>
                  <a:pt x="2314" y="1729"/>
                  <a:pt x="2314" y="1725"/>
                  <a:pt x="2314" y="1723"/>
                </a:cubicBezTo>
                <a:cubicBezTo>
                  <a:pt x="2314" y="1721"/>
                  <a:pt x="2314" y="1718"/>
                  <a:pt x="2314" y="1716"/>
                </a:cubicBezTo>
                <a:cubicBezTo>
                  <a:pt x="2314" y="1713"/>
                  <a:pt x="2314" y="1711"/>
                  <a:pt x="2314" y="1708"/>
                </a:cubicBezTo>
                <a:cubicBezTo>
                  <a:pt x="2314" y="1700"/>
                  <a:pt x="2309" y="1696"/>
                  <a:pt x="2300" y="1696"/>
                </a:cubicBezTo>
                <a:cubicBezTo>
                  <a:pt x="2300" y="1696"/>
                  <a:pt x="2300" y="1696"/>
                  <a:pt x="2296" y="1696"/>
                </a:cubicBezTo>
                <a:cubicBezTo>
                  <a:pt x="2296" y="1696"/>
                  <a:pt x="2296" y="1696"/>
                  <a:pt x="2296" y="1705"/>
                </a:cubicBezTo>
                <a:cubicBezTo>
                  <a:pt x="2296" y="1705"/>
                  <a:pt x="2296" y="1705"/>
                  <a:pt x="2298" y="1705"/>
                </a:cubicBezTo>
                <a:cubicBezTo>
                  <a:pt x="2301" y="1705"/>
                  <a:pt x="2303" y="1707"/>
                  <a:pt x="2303" y="1711"/>
                </a:cubicBezTo>
                <a:cubicBezTo>
                  <a:pt x="2303" y="1712"/>
                  <a:pt x="2302" y="1714"/>
                  <a:pt x="2302" y="1716"/>
                </a:cubicBezTo>
                <a:cubicBezTo>
                  <a:pt x="2302" y="1717"/>
                  <a:pt x="2302" y="1719"/>
                  <a:pt x="2302" y="1722"/>
                </a:cubicBezTo>
                <a:cubicBezTo>
                  <a:pt x="2302" y="1729"/>
                  <a:pt x="2305" y="1732"/>
                  <a:pt x="2311" y="1733"/>
                </a:cubicBezTo>
                <a:cubicBezTo>
                  <a:pt x="2311" y="1733"/>
                  <a:pt x="2311" y="1733"/>
                  <a:pt x="2311" y="1733"/>
                </a:cubicBezTo>
                <a:cubicBezTo>
                  <a:pt x="2305" y="1734"/>
                  <a:pt x="2302" y="1737"/>
                  <a:pt x="2302" y="1744"/>
                </a:cubicBezTo>
                <a:cubicBezTo>
                  <a:pt x="2302" y="1747"/>
                  <a:pt x="2302" y="1749"/>
                  <a:pt x="2302" y="1750"/>
                </a:cubicBezTo>
                <a:cubicBezTo>
                  <a:pt x="2302" y="1752"/>
                  <a:pt x="2303" y="1754"/>
                  <a:pt x="2303" y="1755"/>
                </a:cubicBezTo>
                <a:cubicBezTo>
                  <a:pt x="2303" y="1759"/>
                  <a:pt x="2302" y="1761"/>
                  <a:pt x="2298" y="1761"/>
                </a:cubicBezTo>
                <a:cubicBezTo>
                  <a:pt x="2298" y="1761"/>
                  <a:pt x="2298" y="1761"/>
                  <a:pt x="2296" y="1761"/>
                </a:cubicBezTo>
                <a:cubicBezTo>
                  <a:pt x="2296" y="1761"/>
                  <a:pt x="2296" y="1761"/>
                  <a:pt x="2296" y="1770"/>
                </a:cubicBezTo>
                <a:cubicBezTo>
                  <a:pt x="2296" y="1770"/>
                  <a:pt x="2296" y="1770"/>
                  <a:pt x="2300" y="1770"/>
                </a:cubicBezTo>
                <a:cubicBezTo>
                  <a:pt x="2309" y="1770"/>
                  <a:pt x="2314" y="1767"/>
                  <a:pt x="2314" y="1757"/>
                </a:cubicBezTo>
                <a:cubicBezTo>
                  <a:pt x="2314" y="1755"/>
                  <a:pt x="2314" y="1753"/>
                  <a:pt x="2314" y="1750"/>
                </a:cubicBezTo>
                <a:cubicBezTo>
                  <a:pt x="2314" y="1748"/>
                  <a:pt x="2314" y="1745"/>
                  <a:pt x="2314" y="1743"/>
                </a:cubicBezTo>
                <a:cubicBezTo>
                  <a:pt x="2314" y="1741"/>
                  <a:pt x="2314" y="1738"/>
                  <a:pt x="2320" y="1737"/>
                </a:cubicBezTo>
                <a:close/>
                <a:moveTo>
                  <a:pt x="2647" y="1729"/>
                </a:moveTo>
                <a:cubicBezTo>
                  <a:pt x="2647" y="1729"/>
                  <a:pt x="2647" y="1729"/>
                  <a:pt x="2647" y="1729"/>
                </a:cubicBezTo>
                <a:cubicBezTo>
                  <a:pt x="2647" y="1737"/>
                  <a:pt x="2647" y="1737"/>
                  <a:pt x="2647" y="1737"/>
                </a:cubicBezTo>
                <a:cubicBezTo>
                  <a:pt x="2653" y="1738"/>
                  <a:pt x="2654" y="1741"/>
                  <a:pt x="2654" y="1743"/>
                </a:cubicBezTo>
                <a:cubicBezTo>
                  <a:pt x="2654" y="1745"/>
                  <a:pt x="2654" y="1748"/>
                  <a:pt x="2654" y="1750"/>
                </a:cubicBezTo>
                <a:cubicBezTo>
                  <a:pt x="2653" y="1753"/>
                  <a:pt x="2653" y="1755"/>
                  <a:pt x="2653" y="1757"/>
                </a:cubicBezTo>
                <a:cubicBezTo>
                  <a:pt x="2653" y="1767"/>
                  <a:pt x="2659" y="1770"/>
                  <a:pt x="2667" y="1770"/>
                </a:cubicBezTo>
                <a:cubicBezTo>
                  <a:pt x="2667" y="1770"/>
                  <a:pt x="2667" y="1770"/>
                  <a:pt x="2671" y="1770"/>
                </a:cubicBezTo>
                <a:cubicBezTo>
                  <a:pt x="2671" y="1770"/>
                  <a:pt x="2671" y="1770"/>
                  <a:pt x="2671" y="1761"/>
                </a:cubicBezTo>
                <a:cubicBezTo>
                  <a:pt x="2671" y="1761"/>
                  <a:pt x="2671" y="1761"/>
                  <a:pt x="2670" y="1761"/>
                </a:cubicBezTo>
                <a:cubicBezTo>
                  <a:pt x="2666" y="1761"/>
                  <a:pt x="2665" y="1759"/>
                  <a:pt x="2665" y="1755"/>
                </a:cubicBezTo>
                <a:cubicBezTo>
                  <a:pt x="2665" y="1754"/>
                  <a:pt x="2665" y="1752"/>
                  <a:pt x="2665" y="1750"/>
                </a:cubicBezTo>
                <a:cubicBezTo>
                  <a:pt x="2665" y="1749"/>
                  <a:pt x="2666" y="1747"/>
                  <a:pt x="2666" y="1744"/>
                </a:cubicBezTo>
                <a:cubicBezTo>
                  <a:pt x="2666" y="1737"/>
                  <a:pt x="2663" y="1734"/>
                  <a:pt x="2657" y="1733"/>
                </a:cubicBezTo>
                <a:cubicBezTo>
                  <a:pt x="2657" y="1733"/>
                  <a:pt x="2657" y="1733"/>
                  <a:pt x="2657" y="1733"/>
                </a:cubicBezTo>
                <a:cubicBezTo>
                  <a:pt x="2663" y="1732"/>
                  <a:pt x="2666" y="1729"/>
                  <a:pt x="2666" y="1722"/>
                </a:cubicBezTo>
                <a:cubicBezTo>
                  <a:pt x="2666" y="1719"/>
                  <a:pt x="2665" y="1717"/>
                  <a:pt x="2665" y="1716"/>
                </a:cubicBezTo>
                <a:cubicBezTo>
                  <a:pt x="2665" y="1714"/>
                  <a:pt x="2665" y="1712"/>
                  <a:pt x="2665" y="1711"/>
                </a:cubicBezTo>
                <a:cubicBezTo>
                  <a:pt x="2665" y="1707"/>
                  <a:pt x="2666" y="1705"/>
                  <a:pt x="2670" y="1705"/>
                </a:cubicBezTo>
                <a:cubicBezTo>
                  <a:pt x="2670" y="1705"/>
                  <a:pt x="2670" y="1705"/>
                  <a:pt x="2671" y="1705"/>
                </a:cubicBezTo>
                <a:cubicBezTo>
                  <a:pt x="2671" y="1705"/>
                  <a:pt x="2671" y="1705"/>
                  <a:pt x="2671" y="1696"/>
                </a:cubicBezTo>
                <a:cubicBezTo>
                  <a:pt x="2671" y="1696"/>
                  <a:pt x="2671" y="1696"/>
                  <a:pt x="2667" y="1696"/>
                </a:cubicBezTo>
                <a:cubicBezTo>
                  <a:pt x="2658" y="1696"/>
                  <a:pt x="2653" y="1700"/>
                  <a:pt x="2653" y="1708"/>
                </a:cubicBezTo>
                <a:cubicBezTo>
                  <a:pt x="2653" y="1711"/>
                  <a:pt x="2653" y="1713"/>
                  <a:pt x="2653" y="1716"/>
                </a:cubicBezTo>
                <a:cubicBezTo>
                  <a:pt x="2654" y="1718"/>
                  <a:pt x="2654" y="1721"/>
                  <a:pt x="2654" y="1723"/>
                </a:cubicBezTo>
                <a:cubicBezTo>
                  <a:pt x="2654" y="1725"/>
                  <a:pt x="2653" y="1729"/>
                  <a:pt x="2647" y="1729"/>
                </a:cubicBezTo>
                <a:close/>
                <a:moveTo>
                  <a:pt x="2702" y="1737"/>
                </a:moveTo>
                <a:cubicBezTo>
                  <a:pt x="2702" y="1737"/>
                  <a:pt x="2702" y="1737"/>
                  <a:pt x="2702" y="1737"/>
                </a:cubicBezTo>
                <a:cubicBezTo>
                  <a:pt x="2702" y="1729"/>
                  <a:pt x="2702" y="1729"/>
                  <a:pt x="2702" y="1729"/>
                </a:cubicBezTo>
                <a:cubicBezTo>
                  <a:pt x="2696" y="1729"/>
                  <a:pt x="2695" y="1725"/>
                  <a:pt x="2695" y="1723"/>
                </a:cubicBezTo>
                <a:cubicBezTo>
                  <a:pt x="2695" y="1721"/>
                  <a:pt x="2695" y="1718"/>
                  <a:pt x="2696" y="1716"/>
                </a:cubicBezTo>
                <a:cubicBezTo>
                  <a:pt x="2696" y="1713"/>
                  <a:pt x="2696" y="1711"/>
                  <a:pt x="2696" y="1708"/>
                </a:cubicBezTo>
                <a:cubicBezTo>
                  <a:pt x="2696" y="1700"/>
                  <a:pt x="2691" y="1696"/>
                  <a:pt x="2682" y="1696"/>
                </a:cubicBezTo>
                <a:cubicBezTo>
                  <a:pt x="2682" y="1696"/>
                  <a:pt x="2682" y="1696"/>
                  <a:pt x="2678" y="1696"/>
                </a:cubicBezTo>
                <a:cubicBezTo>
                  <a:pt x="2678" y="1696"/>
                  <a:pt x="2678" y="1696"/>
                  <a:pt x="2678" y="1705"/>
                </a:cubicBezTo>
                <a:cubicBezTo>
                  <a:pt x="2678" y="1705"/>
                  <a:pt x="2678" y="1705"/>
                  <a:pt x="2679" y="1705"/>
                </a:cubicBezTo>
                <a:cubicBezTo>
                  <a:pt x="2683" y="1705"/>
                  <a:pt x="2685" y="1707"/>
                  <a:pt x="2685" y="1711"/>
                </a:cubicBezTo>
                <a:cubicBezTo>
                  <a:pt x="2685" y="1712"/>
                  <a:pt x="2684" y="1714"/>
                  <a:pt x="2684" y="1716"/>
                </a:cubicBezTo>
                <a:cubicBezTo>
                  <a:pt x="2684" y="1717"/>
                  <a:pt x="2684" y="1719"/>
                  <a:pt x="2684" y="1722"/>
                </a:cubicBezTo>
                <a:cubicBezTo>
                  <a:pt x="2684" y="1729"/>
                  <a:pt x="2686" y="1732"/>
                  <a:pt x="2692" y="1733"/>
                </a:cubicBezTo>
                <a:cubicBezTo>
                  <a:pt x="2692" y="1733"/>
                  <a:pt x="2692" y="1733"/>
                  <a:pt x="2692" y="1733"/>
                </a:cubicBezTo>
                <a:cubicBezTo>
                  <a:pt x="2686" y="1734"/>
                  <a:pt x="2684" y="1737"/>
                  <a:pt x="2684" y="1744"/>
                </a:cubicBezTo>
                <a:cubicBezTo>
                  <a:pt x="2684" y="1747"/>
                  <a:pt x="2684" y="1749"/>
                  <a:pt x="2684" y="1750"/>
                </a:cubicBezTo>
                <a:cubicBezTo>
                  <a:pt x="2684" y="1752"/>
                  <a:pt x="2685" y="1754"/>
                  <a:pt x="2685" y="1755"/>
                </a:cubicBezTo>
                <a:cubicBezTo>
                  <a:pt x="2685" y="1759"/>
                  <a:pt x="2683" y="1761"/>
                  <a:pt x="2679" y="1761"/>
                </a:cubicBezTo>
                <a:cubicBezTo>
                  <a:pt x="2679" y="1761"/>
                  <a:pt x="2679" y="1761"/>
                  <a:pt x="2678" y="1761"/>
                </a:cubicBezTo>
                <a:cubicBezTo>
                  <a:pt x="2678" y="1761"/>
                  <a:pt x="2678" y="1761"/>
                  <a:pt x="2678" y="1770"/>
                </a:cubicBezTo>
                <a:cubicBezTo>
                  <a:pt x="2678" y="1770"/>
                  <a:pt x="2678" y="1770"/>
                  <a:pt x="2682" y="1770"/>
                </a:cubicBezTo>
                <a:cubicBezTo>
                  <a:pt x="2691" y="1770"/>
                  <a:pt x="2696" y="1767"/>
                  <a:pt x="2696" y="1757"/>
                </a:cubicBezTo>
                <a:cubicBezTo>
                  <a:pt x="2696" y="1755"/>
                  <a:pt x="2696" y="1753"/>
                  <a:pt x="2696" y="1750"/>
                </a:cubicBezTo>
                <a:cubicBezTo>
                  <a:pt x="2695" y="1748"/>
                  <a:pt x="2695" y="1745"/>
                  <a:pt x="2695" y="1743"/>
                </a:cubicBezTo>
                <a:cubicBezTo>
                  <a:pt x="2695" y="1741"/>
                  <a:pt x="2696" y="1738"/>
                  <a:pt x="2702" y="1737"/>
                </a:cubicBezTo>
                <a:close/>
                <a:moveTo>
                  <a:pt x="2750" y="1697"/>
                </a:moveTo>
                <a:cubicBezTo>
                  <a:pt x="2750" y="1697"/>
                  <a:pt x="2750" y="1697"/>
                  <a:pt x="2750" y="1697"/>
                </a:cubicBezTo>
                <a:cubicBezTo>
                  <a:pt x="2745" y="1697"/>
                  <a:pt x="2745" y="1697"/>
                  <a:pt x="2745" y="1697"/>
                </a:cubicBezTo>
                <a:cubicBezTo>
                  <a:pt x="2742" y="1698"/>
                  <a:pt x="2741" y="1700"/>
                  <a:pt x="2739" y="1700"/>
                </a:cubicBezTo>
                <a:cubicBezTo>
                  <a:pt x="2737" y="1702"/>
                  <a:pt x="2735" y="1702"/>
                  <a:pt x="2734" y="1703"/>
                </a:cubicBezTo>
                <a:cubicBezTo>
                  <a:pt x="2731" y="1704"/>
                  <a:pt x="2730" y="1705"/>
                  <a:pt x="2728" y="1705"/>
                </a:cubicBezTo>
                <a:cubicBezTo>
                  <a:pt x="2726" y="1706"/>
                  <a:pt x="2725" y="1707"/>
                  <a:pt x="2722" y="1708"/>
                </a:cubicBezTo>
                <a:cubicBezTo>
                  <a:pt x="2722" y="1708"/>
                  <a:pt x="2722" y="1708"/>
                  <a:pt x="2722" y="1718"/>
                </a:cubicBezTo>
                <a:cubicBezTo>
                  <a:pt x="2725" y="1717"/>
                  <a:pt x="2728" y="1716"/>
                  <a:pt x="2731" y="1715"/>
                </a:cubicBezTo>
                <a:cubicBezTo>
                  <a:pt x="2734" y="1714"/>
                  <a:pt x="2736" y="1713"/>
                  <a:pt x="2738" y="1711"/>
                </a:cubicBezTo>
                <a:cubicBezTo>
                  <a:pt x="2738" y="1711"/>
                  <a:pt x="2738" y="1711"/>
                  <a:pt x="2738" y="1770"/>
                </a:cubicBezTo>
                <a:cubicBezTo>
                  <a:pt x="2738" y="1770"/>
                  <a:pt x="2738" y="1770"/>
                  <a:pt x="2750" y="1770"/>
                </a:cubicBezTo>
                <a:cubicBezTo>
                  <a:pt x="2750" y="1770"/>
                  <a:pt x="2750" y="1770"/>
                  <a:pt x="2750" y="1697"/>
                </a:cubicBezTo>
                <a:close/>
                <a:moveTo>
                  <a:pt x="2796" y="1697"/>
                </a:moveTo>
                <a:cubicBezTo>
                  <a:pt x="2796" y="1697"/>
                  <a:pt x="2796" y="1697"/>
                  <a:pt x="2796" y="1697"/>
                </a:cubicBezTo>
                <a:cubicBezTo>
                  <a:pt x="2791" y="1697"/>
                  <a:pt x="2791" y="1697"/>
                  <a:pt x="2791" y="1697"/>
                </a:cubicBezTo>
                <a:cubicBezTo>
                  <a:pt x="2789" y="1698"/>
                  <a:pt x="2788" y="1700"/>
                  <a:pt x="2786" y="1700"/>
                </a:cubicBezTo>
                <a:cubicBezTo>
                  <a:pt x="2784" y="1702"/>
                  <a:pt x="2782" y="1702"/>
                  <a:pt x="2781" y="1703"/>
                </a:cubicBezTo>
                <a:cubicBezTo>
                  <a:pt x="2779" y="1705"/>
                  <a:pt x="2777" y="1705"/>
                  <a:pt x="2776" y="1706"/>
                </a:cubicBezTo>
                <a:cubicBezTo>
                  <a:pt x="2774" y="1707"/>
                  <a:pt x="2772" y="1708"/>
                  <a:pt x="2770" y="1708"/>
                </a:cubicBezTo>
                <a:cubicBezTo>
                  <a:pt x="2770" y="1708"/>
                  <a:pt x="2770" y="1708"/>
                  <a:pt x="2770" y="1718"/>
                </a:cubicBezTo>
                <a:cubicBezTo>
                  <a:pt x="2773" y="1717"/>
                  <a:pt x="2776" y="1716"/>
                  <a:pt x="2778" y="1715"/>
                </a:cubicBezTo>
                <a:cubicBezTo>
                  <a:pt x="2781" y="1714"/>
                  <a:pt x="2783" y="1713"/>
                  <a:pt x="2785" y="1711"/>
                </a:cubicBezTo>
                <a:cubicBezTo>
                  <a:pt x="2785" y="1711"/>
                  <a:pt x="2785" y="1711"/>
                  <a:pt x="2785" y="1770"/>
                </a:cubicBezTo>
                <a:cubicBezTo>
                  <a:pt x="2785" y="1770"/>
                  <a:pt x="2785" y="1770"/>
                  <a:pt x="2796" y="1770"/>
                </a:cubicBezTo>
                <a:cubicBezTo>
                  <a:pt x="2796" y="1770"/>
                  <a:pt x="2796" y="1770"/>
                  <a:pt x="2796" y="1697"/>
                </a:cubicBezTo>
                <a:close/>
                <a:moveTo>
                  <a:pt x="2843" y="1697"/>
                </a:moveTo>
                <a:cubicBezTo>
                  <a:pt x="2843" y="1697"/>
                  <a:pt x="2843" y="1697"/>
                  <a:pt x="2843" y="1697"/>
                </a:cubicBezTo>
                <a:cubicBezTo>
                  <a:pt x="2839" y="1697"/>
                  <a:pt x="2839" y="1697"/>
                  <a:pt x="2839" y="1697"/>
                </a:cubicBezTo>
                <a:cubicBezTo>
                  <a:pt x="2836" y="1698"/>
                  <a:pt x="2835" y="1700"/>
                  <a:pt x="2833" y="1700"/>
                </a:cubicBezTo>
                <a:cubicBezTo>
                  <a:pt x="2831" y="1702"/>
                  <a:pt x="2829" y="1702"/>
                  <a:pt x="2828" y="1703"/>
                </a:cubicBezTo>
                <a:cubicBezTo>
                  <a:pt x="2826" y="1705"/>
                  <a:pt x="2824" y="1705"/>
                  <a:pt x="2822" y="1706"/>
                </a:cubicBezTo>
                <a:cubicBezTo>
                  <a:pt x="2821" y="1707"/>
                  <a:pt x="2818" y="1708"/>
                  <a:pt x="2817" y="1708"/>
                </a:cubicBezTo>
                <a:cubicBezTo>
                  <a:pt x="2817" y="1708"/>
                  <a:pt x="2817" y="1708"/>
                  <a:pt x="2817" y="1718"/>
                </a:cubicBezTo>
                <a:cubicBezTo>
                  <a:pt x="2820" y="1717"/>
                  <a:pt x="2823" y="1716"/>
                  <a:pt x="2825" y="1715"/>
                </a:cubicBezTo>
                <a:cubicBezTo>
                  <a:pt x="2827" y="1714"/>
                  <a:pt x="2830" y="1713"/>
                  <a:pt x="2831" y="1711"/>
                </a:cubicBezTo>
                <a:cubicBezTo>
                  <a:pt x="2831" y="1711"/>
                  <a:pt x="2831" y="1711"/>
                  <a:pt x="2831" y="1770"/>
                </a:cubicBezTo>
                <a:cubicBezTo>
                  <a:pt x="2831" y="1770"/>
                  <a:pt x="2831" y="1770"/>
                  <a:pt x="2843" y="1770"/>
                </a:cubicBezTo>
                <a:cubicBezTo>
                  <a:pt x="2843" y="1770"/>
                  <a:pt x="2843" y="1770"/>
                  <a:pt x="2843" y="1697"/>
                </a:cubicBezTo>
                <a:close/>
                <a:moveTo>
                  <a:pt x="2966" y="1697"/>
                </a:moveTo>
                <a:cubicBezTo>
                  <a:pt x="2966" y="1697"/>
                  <a:pt x="2966" y="1697"/>
                  <a:pt x="2966" y="1697"/>
                </a:cubicBezTo>
                <a:cubicBezTo>
                  <a:pt x="2961" y="1697"/>
                  <a:pt x="2961" y="1697"/>
                  <a:pt x="2961" y="1697"/>
                </a:cubicBezTo>
                <a:cubicBezTo>
                  <a:pt x="2959" y="1698"/>
                  <a:pt x="2957" y="1700"/>
                  <a:pt x="2955" y="1700"/>
                </a:cubicBezTo>
                <a:cubicBezTo>
                  <a:pt x="2954" y="1702"/>
                  <a:pt x="2952" y="1702"/>
                  <a:pt x="2950" y="1703"/>
                </a:cubicBezTo>
                <a:cubicBezTo>
                  <a:pt x="2949" y="1705"/>
                  <a:pt x="2946" y="1705"/>
                  <a:pt x="2945" y="1706"/>
                </a:cubicBezTo>
                <a:cubicBezTo>
                  <a:pt x="2943" y="1707"/>
                  <a:pt x="2941" y="1708"/>
                  <a:pt x="2939" y="1708"/>
                </a:cubicBezTo>
                <a:cubicBezTo>
                  <a:pt x="2939" y="1708"/>
                  <a:pt x="2939" y="1708"/>
                  <a:pt x="2939" y="1718"/>
                </a:cubicBezTo>
                <a:cubicBezTo>
                  <a:pt x="2942" y="1717"/>
                  <a:pt x="2945" y="1716"/>
                  <a:pt x="2948" y="1715"/>
                </a:cubicBezTo>
                <a:cubicBezTo>
                  <a:pt x="2950" y="1714"/>
                  <a:pt x="2952" y="1713"/>
                  <a:pt x="2954" y="1711"/>
                </a:cubicBezTo>
                <a:cubicBezTo>
                  <a:pt x="2954" y="1711"/>
                  <a:pt x="2954" y="1711"/>
                  <a:pt x="2954" y="1770"/>
                </a:cubicBezTo>
                <a:cubicBezTo>
                  <a:pt x="2954" y="1770"/>
                  <a:pt x="2954" y="1770"/>
                  <a:pt x="2966" y="1770"/>
                </a:cubicBezTo>
                <a:cubicBezTo>
                  <a:pt x="2966" y="1770"/>
                  <a:pt x="2966" y="1770"/>
                  <a:pt x="2966" y="1697"/>
                </a:cubicBezTo>
                <a:close/>
                <a:moveTo>
                  <a:pt x="3014" y="1697"/>
                </a:moveTo>
                <a:cubicBezTo>
                  <a:pt x="3014" y="1697"/>
                  <a:pt x="3014" y="1697"/>
                  <a:pt x="3014" y="1697"/>
                </a:cubicBezTo>
                <a:cubicBezTo>
                  <a:pt x="3009" y="1697"/>
                  <a:pt x="3009" y="1697"/>
                  <a:pt x="3009" y="1697"/>
                </a:cubicBezTo>
                <a:cubicBezTo>
                  <a:pt x="3006" y="1698"/>
                  <a:pt x="3005" y="1700"/>
                  <a:pt x="3003" y="1700"/>
                </a:cubicBezTo>
                <a:cubicBezTo>
                  <a:pt x="3001" y="1702"/>
                  <a:pt x="2999" y="1702"/>
                  <a:pt x="2998" y="1703"/>
                </a:cubicBezTo>
                <a:cubicBezTo>
                  <a:pt x="2996" y="1705"/>
                  <a:pt x="2994" y="1705"/>
                  <a:pt x="2992" y="1706"/>
                </a:cubicBezTo>
                <a:cubicBezTo>
                  <a:pt x="2990" y="1707"/>
                  <a:pt x="2989" y="1708"/>
                  <a:pt x="2986" y="1708"/>
                </a:cubicBezTo>
                <a:cubicBezTo>
                  <a:pt x="2986" y="1708"/>
                  <a:pt x="2986" y="1708"/>
                  <a:pt x="2986" y="1718"/>
                </a:cubicBezTo>
                <a:cubicBezTo>
                  <a:pt x="2989" y="1717"/>
                  <a:pt x="2992" y="1716"/>
                  <a:pt x="2995" y="1715"/>
                </a:cubicBezTo>
                <a:cubicBezTo>
                  <a:pt x="2998" y="1714"/>
                  <a:pt x="3000" y="1713"/>
                  <a:pt x="3002" y="1711"/>
                </a:cubicBezTo>
                <a:cubicBezTo>
                  <a:pt x="3002" y="1711"/>
                  <a:pt x="3002" y="1711"/>
                  <a:pt x="3002" y="1770"/>
                </a:cubicBezTo>
                <a:cubicBezTo>
                  <a:pt x="3002" y="1770"/>
                  <a:pt x="3002" y="1770"/>
                  <a:pt x="3014" y="1770"/>
                </a:cubicBezTo>
                <a:cubicBezTo>
                  <a:pt x="3014" y="1770"/>
                  <a:pt x="3014" y="1770"/>
                  <a:pt x="3014" y="1697"/>
                </a:cubicBezTo>
                <a:close/>
                <a:moveTo>
                  <a:pt x="3060" y="1697"/>
                </a:moveTo>
                <a:cubicBezTo>
                  <a:pt x="3060" y="1697"/>
                  <a:pt x="3060" y="1697"/>
                  <a:pt x="3060" y="1697"/>
                </a:cubicBezTo>
                <a:cubicBezTo>
                  <a:pt x="3056" y="1697"/>
                  <a:pt x="3056" y="1697"/>
                  <a:pt x="3056" y="1697"/>
                </a:cubicBezTo>
                <a:cubicBezTo>
                  <a:pt x="3053" y="1698"/>
                  <a:pt x="3052" y="1700"/>
                  <a:pt x="3050" y="1700"/>
                </a:cubicBezTo>
                <a:cubicBezTo>
                  <a:pt x="3048" y="1702"/>
                  <a:pt x="3046" y="1702"/>
                  <a:pt x="3045" y="1703"/>
                </a:cubicBezTo>
                <a:cubicBezTo>
                  <a:pt x="3043" y="1704"/>
                  <a:pt x="3041" y="1705"/>
                  <a:pt x="3039" y="1705"/>
                </a:cubicBezTo>
                <a:cubicBezTo>
                  <a:pt x="3038" y="1706"/>
                  <a:pt x="3035" y="1707"/>
                  <a:pt x="3034" y="1708"/>
                </a:cubicBezTo>
                <a:cubicBezTo>
                  <a:pt x="3034" y="1708"/>
                  <a:pt x="3034" y="1708"/>
                  <a:pt x="3034" y="1718"/>
                </a:cubicBezTo>
                <a:cubicBezTo>
                  <a:pt x="3037" y="1717"/>
                  <a:pt x="3040" y="1716"/>
                  <a:pt x="3042" y="1715"/>
                </a:cubicBezTo>
                <a:cubicBezTo>
                  <a:pt x="3044" y="1714"/>
                  <a:pt x="3047" y="1713"/>
                  <a:pt x="3048" y="1711"/>
                </a:cubicBezTo>
                <a:cubicBezTo>
                  <a:pt x="3048" y="1711"/>
                  <a:pt x="3048" y="1711"/>
                  <a:pt x="3048" y="1770"/>
                </a:cubicBezTo>
                <a:cubicBezTo>
                  <a:pt x="3048" y="1770"/>
                  <a:pt x="3048" y="1770"/>
                  <a:pt x="3060" y="1770"/>
                </a:cubicBezTo>
                <a:cubicBezTo>
                  <a:pt x="3060" y="1770"/>
                  <a:pt x="3060" y="1770"/>
                  <a:pt x="3060" y="1697"/>
                </a:cubicBezTo>
                <a:close/>
                <a:moveTo>
                  <a:pt x="3105" y="1770"/>
                </a:moveTo>
                <a:cubicBezTo>
                  <a:pt x="3097" y="1770"/>
                  <a:pt x="3091" y="1767"/>
                  <a:pt x="3086" y="1761"/>
                </a:cubicBezTo>
                <a:cubicBezTo>
                  <a:pt x="3083" y="1755"/>
                  <a:pt x="3080" y="1746"/>
                  <a:pt x="3080" y="1733"/>
                </a:cubicBezTo>
                <a:cubicBezTo>
                  <a:pt x="3080" y="1720"/>
                  <a:pt x="3083" y="1711"/>
                  <a:pt x="3087" y="1704"/>
                </a:cubicBezTo>
                <a:cubicBezTo>
                  <a:pt x="3091" y="1697"/>
                  <a:pt x="3098" y="1694"/>
                  <a:pt x="3107" y="1694"/>
                </a:cubicBezTo>
                <a:cubicBezTo>
                  <a:pt x="3123" y="1694"/>
                  <a:pt x="3131" y="1706"/>
                  <a:pt x="3131" y="1732"/>
                </a:cubicBezTo>
                <a:cubicBezTo>
                  <a:pt x="3131" y="1744"/>
                  <a:pt x="3129" y="1754"/>
                  <a:pt x="3124" y="1761"/>
                </a:cubicBezTo>
                <a:cubicBezTo>
                  <a:pt x="3119" y="1767"/>
                  <a:pt x="3113" y="1770"/>
                  <a:pt x="3105" y="1770"/>
                </a:cubicBezTo>
                <a:close/>
                <a:moveTo>
                  <a:pt x="3106" y="1703"/>
                </a:moveTo>
                <a:cubicBezTo>
                  <a:pt x="3097" y="1703"/>
                  <a:pt x="3092" y="1714"/>
                  <a:pt x="3092" y="1733"/>
                </a:cubicBezTo>
                <a:cubicBezTo>
                  <a:pt x="3092" y="1752"/>
                  <a:pt x="3097" y="1761"/>
                  <a:pt x="3105" y="1761"/>
                </a:cubicBezTo>
                <a:cubicBezTo>
                  <a:pt x="3114" y="1761"/>
                  <a:pt x="3118" y="1752"/>
                  <a:pt x="3118" y="1733"/>
                </a:cubicBezTo>
                <a:cubicBezTo>
                  <a:pt x="3118" y="1713"/>
                  <a:pt x="3114" y="1703"/>
                  <a:pt x="3106" y="1703"/>
                </a:cubicBezTo>
                <a:close/>
                <a:moveTo>
                  <a:pt x="3176" y="1770"/>
                </a:moveTo>
                <a:cubicBezTo>
                  <a:pt x="3168" y="1770"/>
                  <a:pt x="3162" y="1767"/>
                  <a:pt x="3158" y="1761"/>
                </a:cubicBezTo>
                <a:cubicBezTo>
                  <a:pt x="3154" y="1755"/>
                  <a:pt x="3152" y="1746"/>
                  <a:pt x="3152" y="1733"/>
                </a:cubicBezTo>
                <a:cubicBezTo>
                  <a:pt x="3152" y="1720"/>
                  <a:pt x="3154" y="1711"/>
                  <a:pt x="3158" y="1704"/>
                </a:cubicBezTo>
                <a:cubicBezTo>
                  <a:pt x="3162" y="1697"/>
                  <a:pt x="3169" y="1694"/>
                  <a:pt x="3178" y="1694"/>
                </a:cubicBezTo>
                <a:cubicBezTo>
                  <a:pt x="3194" y="1694"/>
                  <a:pt x="3202" y="1706"/>
                  <a:pt x="3202" y="1732"/>
                </a:cubicBezTo>
                <a:cubicBezTo>
                  <a:pt x="3202" y="1744"/>
                  <a:pt x="3200" y="1754"/>
                  <a:pt x="3195" y="1761"/>
                </a:cubicBezTo>
                <a:cubicBezTo>
                  <a:pt x="3190" y="1767"/>
                  <a:pt x="3184" y="1770"/>
                  <a:pt x="3176" y="1770"/>
                </a:cubicBezTo>
                <a:close/>
                <a:moveTo>
                  <a:pt x="3177" y="1703"/>
                </a:moveTo>
                <a:cubicBezTo>
                  <a:pt x="3168" y="1703"/>
                  <a:pt x="3163" y="1714"/>
                  <a:pt x="3163" y="1733"/>
                </a:cubicBezTo>
                <a:cubicBezTo>
                  <a:pt x="3163" y="1752"/>
                  <a:pt x="3168" y="1761"/>
                  <a:pt x="3176" y="1761"/>
                </a:cubicBezTo>
                <a:cubicBezTo>
                  <a:pt x="3185" y="1761"/>
                  <a:pt x="3190" y="1752"/>
                  <a:pt x="3190" y="1733"/>
                </a:cubicBezTo>
                <a:cubicBezTo>
                  <a:pt x="3190" y="1713"/>
                  <a:pt x="3185" y="1703"/>
                  <a:pt x="3177" y="1703"/>
                </a:cubicBezTo>
                <a:close/>
                <a:moveTo>
                  <a:pt x="2864" y="1729"/>
                </a:moveTo>
                <a:cubicBezTo>
                  <a:pt x="2864" y="1729"/>
                  <a:pt x="2864" y="1729"/>
                  <a:pt x="2864" y="1729"/>
                </a:cubicBezTo>
                <a:cubicBezTo>
                  <a:pt x="2864" y="1737"/>
                  <a:pt x="2864" y="1737"/>
                  <a:pt x="2864" y="1737"/>
                </a:cubicBezTo>
                <a:cubicBezTo>
                  <a:pt x="2870" y="1738"/>
                  <a:pt x="2871" y="1741"/>
                  <a:pt x="2871" y="1743"/>
                </a:cubicBezTo>
                <a:cubicBezTo>
                  <a:pt x="2871" y="1745"/>
                  <a:pt x="2870" y="1748"/>
                  <a:pt x="2870" y="1750"/>
                </a:cubicBezTo>
                <a:cubicBezTo>
                  <a:pt x="2870" y="1753"/>
                  <a:pt x="2869" y="1755"/>
                  <a:pt x="2869" y="1757"/>
                </a:cubicBezTo>
                <a:cubicBezTo>
                  <a:pt x="2869" y="1767"/>
                  <a:pt x="2875" y="1770"/>
                  <a:pt x="2884" y="1770"/>
                </a:cubicBezTo>
                <a:cubicBezTo>
                  <a:pt x="2884" y="1770"/>
                  <a:pt x="2884" y="1770"/>
                  <a:pt x="2888" y="1770"/>
                </a:cubicBezTo>
                <a:cubicBezTo>
                  <a:pt x="2888" y="1770"/>
                  <a:pt x="2888" y="1770"/>
                  <a:pt x="2888" y="1761"/>
                </a:cubicBezTo>
                <a:cubicBezTo>
                  <a:pt x="2888" y="1761"/>
                  <a:pt x="2888" y="1761"/>
                  <a:pt x="2886" y="1761"/>
                </a:cubicBezTo>
                <a:cubicBezTo>
                  <a:pt x="2882" y="1761"/>
                  <a:pt x="2881" y="1759"/>
                  <a:pt x="2881" y="1755"/>
                </a:cubicBezTo>
                <a:cubicBezTo>
                  <a:pt x="2881" y="1754"/>
                  <a:pt x="2881" y="1752"/>
                  <a:pt x="2882" y="1750"/>
                </a:cubicBezTo>
                <a:cubicBezTo>
                  <a:pt x="2882" y="1749"/>
                  <a:pt x="2882" y="1747"/>
                  <a:pt x="2882" y="1744"/>
                </a:cubicBezTo>
                <a:cubicBezTo>
                  <a:pt x="2882" y="1737"/>
                  <a:pt x="2879" y="1734"/>
                  <a:pt x="2874" y="1733"/>
                </a:cubicBezTo>
                <a:cubicBezTo>
                  <a:pt x="2874" y="1733"/>
                  <a:pt x="2874" y="1733"/>
                  <a:pt x="2874" y="1733"/>
                </a:cubicBezTo>
                <a:cubicBezTo>
                  <a:pt x="2879" y="1732"/>
                  <a:pt x="2882" y="1729"/>
                  <a:pt x="2882" y="1722"/>
                </a:cubicBezTo>
                <a:cubicBezTo>
                  <a:pt x="2882" y="1719"/>
                  <a:pt x="2882" y="1717"/>
                  <a:pt x="2882" y="1716"/>
                </a:cubicBezTo>
                <a:cubicBezTo>
                  <a:pt x="2881" y="1714"/>
                  <a:pt x="2881" y="1712"/>
                  <a:pt x="2881" y="1711"/>
                </a:cubicBezTo>
                <a:cubicBezTo>
                  <a:pt x="2881" y="1707"/>
                  <a:pt x="2882" y="1705"/>
                  <a:pt x="2886" y="1705"/>
                </a:cubicBezTo>
                <a:cubicBezTo>
                  <a:pt x="2886" y="1705"/>
                  <a:pt x="2886" y="1705"/>
                  <a:pt x="2888" y="1705"/>
                </a:cubicBezTo>
                <a:cubicBezTo>
                  <a:pt x="2888" y="1705"/>
                  <a:pt x="2888" y="1705"/>
                  <a:pt x="2888" y="1696"/>
                </a:cubicBezTo>
                <a:cubicBezTo>
                  <a:pt x="2888" y="1696"/>
                  <a:pt x="2888" y="1696"/>
                  <a:pt x="2884" y="1696"/>
                </a:cubicBezTo>
                <a:cubicBezTo>
                  <a:pt x="2875" y="1696"/>
                  <a:pt x="2869" y="1700"/>
                  <a:pt x="2869" y="1708"/>
                </a:cubicBezTo>
                <a:cubicBezTo>
                  <a:pt x="2869" y="1711"/>
                  <a:pt x="2870" y="1713"/>
                  <a:pt x="2870" y="1716"/>
                </a:cubicBezTo>
                <a:cubicBezTo>
                  <a:pt x="2870" y="1718"/>
                  <a:pt x="2871" y="1721"/>
                  <a:pt x="2871" y="1723"/>
                </a:cubicBezTo>
                <a:cubicBezTo>
                  <a:pt x="2871" y="1725"/>
                  <a:pt x="2870" y="1729"/>
                  <a:pt x="2864" y="1729"/>
                </a:cubicBezTo>
                <a:close/>
                <a:moveTo>
                  <a:pt x="2919" y="1737"/>
                </a:moveTo>
                <a:cubicBezTo>
                  <a:pt x="2919" y="1737"/>
                  <a:pt x="2919" y="1737"/>
                  <a:pt x="2919" y="1737"/>
                </a:cubicBezTo>
                <a:cubicBezTo>
                  <a:pt x="2919" y="1729"/>
                  <a:pt x="2919" y="1729"/>
                  <a:pt x="2919" y="1729"/>
                </a:cubicBezTo>
                <a:cubicBezTo>
                  <a:pt x="2912" y="1729"/>
                  <a:pt x="2912" y="1725"/>
                  <a:pt x="2912" y="1723"/>
                </a:cubicBezTo>
                <a:cubicBezTo>
                  <a:pt x="2912" y="1721"/>
                  <a:pt x="2912" y="1718"/>
                  <a:pt x="2912" y="1716"/>
                </a:cubicBezTo>
                <a:cubicBezTo>
                  <a:pt x="2913" y="1713"/>
                  <a:pt x="2913" y="1711"/>
                  <a:pt x="2913" y="1708"/>
                </a:cubicBezTo>
                <a:cubicBezTo>
                  <a:pt x="2913" y="1700"/>
                  <a:pt x="2907" y="1696"/>
                  <a:pt x="2898" y="1696"/>
                </a:cubicBezTo>
                <a:cubicBezTo>
                  <a:pt x="2898" y="1696"/>
                  <a:pt x="2898" y="1696"/>
                  <a:pt x="2894" y="1696"/>
                </a:cubicBezTo>
                <a:cubicBezTo>
                  <a:pt x="2894" y="1696"/>
                  <a:pt x="2894" y="1696"/>
                  <a:pt x="2894" y="1705"/>
                </a:cubicBezTo>
                <a:cubicBezTo>
                  <a:pt x="2894" y="1705"/>
                  <a:pt x="2894" y="1705"/>
                  <a:pt x="2896" y="1705"/>
                </a:cubicBezTo>
                <a:cubicBezTo>
                  <a:pt x="2900" y="1705"/>
                  <a:pt x="2901" y="1707"/>
                  <a:pt x="2901" y="1711"/>
                </a:cubicBezTo>
                <a:cubicBezTo>
                  <a:pt x="2901" y="1712"/>
                  <a:pt x="2901" y="1714"/>
                  <a:pt x="2901" y="1716"/>
                </a:cubicBezTo>
                <a:cubicBezTo>
                  <a:pt x="2900" y="1717"/>
                  <a:pt x="2900" y="1719"/>
                  <a:pt x="2900" y="1722"/>
                </a:cubicBezTo>
                <a:cubicBezTo>
                  <a:pt x="2900" y="1729"/>
                  <a:pt x="2903" y="1732"/>
                  <a:pt x="2909" y="1733"/>
                </a:cubicBezTo>
                <a:cubicBezTo>
                  <a:pt x="2909" y="1733"/>
                  <a:pt x="2909" y="1733"/>
                  <a:pt x="2909" y="1733"/>
                </a:cubicBezTo>
                <a:cubicBezTo>
                  <a:pt x="2903" y="1734"/>
                  <a:pt x="2900" y="1737"/>
                  <a:pt x="2900" y="1744"/>
                </a:cubicBezTo>
                <a:cubicBezTo>
                  <a:pt x="2900" y="1747"/>
                  <a:pt x="2900" y="1749"/>
                  <a:pt x="2901" y="1750"/>
                </a:cubicBezTo>
                <a:cubicBezTo>
                  <a:pt x="2901" y="1752"/>
                  <a:pt x="2901" y="1754"/>
                  <a:pt x="2901" y="1755"/>
                </a:cubicBezTo>
                <a:cubicBezTo>
                  <a:pt x="2901" y="1759"/>
                  <a:pt x="2900" y="1761"/>
                  <a:pt x="2896" y="1761"/>
                </a:cubicBezTo>
                <a:cubicBezTo>
                  <a:pt x="2896" y="1761"/>
                  <a:pt x="2896" y="1761"/>
                  <a:pt x="2894" y="1761"/>
                </a:cubicBezTo>
                <a:cubicBezTo>
                  <a:pt x="2894" y="1761"/>
                  <a:pt x="2894" y="1761"/>
                  <a:pt x="2894" y="1770"/>
                </a:cubicBezTo>
                <a:cubicBezTo>
                  <a:pt x="2894" y="1770"/>
                  <a:pt x="2894" y="1770"/>
                  <a:pt x="2898" y="1770"/>
                </a:cubicBezTo>
                <a:cubicBezTo>
                  <a:pt x="2907" y="1770"/>
                  <a:pt x="2913" y="1767"/>
                  <a:pt x="2913" y="1757"/>
                </a:cubicBezTo>
                <a:cubicBezTo>
                  <a:pt x="2913" y="1755"/>
                  <a:pt x="2913" y="1753"/>
                  <a:pt x="2912" y="1750"/>
                </a:cubicBezTo>
                <a:cubicBezTo>
                  <a:pt x="2912" y="1748"/>
                  <a:pt x="2912" y="1745"/>
                  <a:pt x="2912" y="1743"/>
                </a:cubicBezTo>
                <a:cubicBezTo>
                  <a:pt x="2912" y="1741"/>
                  <a:pt x="2912" y="1738"/>
                  <a:pt x="2919" y="1737"/>
                </a:cubicBezTo>
                <a:close/>
                <a:moveTo>
                  <a:pt x="3388" y="1770"/>
                </a:moveTo>
                <a:cubicBezTo>
                  <a:pt x="3381" y="1770"/>
                  <a:pt x="3375" y="1767"/>
                  <a:pt x="3370" y="1761"/>
                </a:cubicBezTo>
                <a:cubicBezTo>
                  <a:pt x="3366" y="1755"/>
                  <a:pt x="3364" y="1745"/>
                  <a:pt x="3364" y="1733"/>
                </a:cubicBezTo>
                <a:cubicBezTo>
                  <a:pt x="3364" y="1720"/>
                  <a:pt x="3366" y="1711"/>
                  <a:pt x="3370" y="1703"/>
                </a:cubicBezTo>
                <a:cubicBezTo>
                  <a:pt x="3375" y="1697"/>
                  <a:pt x="3381" y="1694"/>
                  <a:pt x="3390" y="1694"/>
                </a:cubicBezTo>
                <a:cubicBezTo>
                  <a:pt x="3406" y="1694"/>
                  <a:pt x="3415" y="1706"/>
                  <a:pt x="3415" y="1731"/>
                </a:cubicBezTo>
                <a:cubicBezTo>
                  <a:pt x="3415" y="1744"/>
                  <a:pt x="3412" y="1754"/>
                  <a:pt x="3408" y="1761"/>
                </a:cubicBezTo>
                <a:cubicBezTo>
                  <a:pt x="3403" y="1767"/>
                  <a:pt x="3397" y="1770"/>
                  <a:pt x="3388" y="1770"/>
                </a:cubicBezTo>
                <a:close/>
                <a:moveTo>
                  <a:pt x="3390" y="1703"/>
                </a:moveTo>
                <a:cubicBezTo>
                  <a:pt x="3381" y="1703"/>
                  <a:pt x="3376" y="1713"/>
                  <a:pt x="3376" y="1733"/>
                </a:cubicBezTo>
                <a:cubicBezTo>
                  <a:pt x="3376" y="1751"/>
                  <a:pt x="3381" y="1761"/>
                  <a:pt x="3390" y="1761"/>
                </a:cubicBezTo>
                <a:cubicBezTo>
                  <a:pt x="3398" y="1761"/>
                  <a:pt x="3402" y="1751"/>
                  <a:pt x="3402" y="1733"/>
                </a:cubicBezTo>
                <a:cubicBezTo>
                  <a:pt x="3402" y="1713"/>
                  <a:pt x="3398" y="1703"/>
                  <a:pt x="3390" y="1703"/>
                </a:cubicBezTo>
                <a:close/>
                <a:moveTo>
                  <a:pt x="3506" y="1770"/>
                </a:moveTo>
                <a:cubicBezTo>
                  <a:pt x="3499" y="1770"/>
                  <a:pt x="3493" y="1767"/>
                  <a:pt x="3488" y="1761"/>
                </a:cubicBezTo>
                <a:cubicBezTo>
                  <a:pt x="3484" y="1755"/>
                  <a:pt x="3482" y="1745"/>
                  <a:pt x="3482" y="1733"/>
                </a:cubicBezTo>
                <a:cubicBezTo>
                  <a:pt x="3482" y="1720"/>
                  <a:pt x="3484" y="1711"/>
                  <a:pt x="3488" y="1703"/>
                </a:cubicBezTo>
                <a:cubicBezTo>
                  <a:pt x="3493" y="1697"/>
                  <a:pt x="3499" y="1694"/>
                  <a:pt x="3508" y="1694"/>
                </a:cubicBezTo>
                <a:cubicBezTo>
                  <a:pt x="3524" y="1694"/>
                  <a:pt x="3532" y="1706"/>
                  <a:pt x="3532" y="1731"/>
                </a:cubicBezTo>
                <a:cubicBezTo>
                  <a:pt x="3532" y="1744"/>
                  <a:pt x="3530" y="1754"/>
                  <a:pt x="3526" y="1761"/>
                </a:cubicBezTo>
                <a:cubicBezTo>
                  <a:pt x="3520" y="1767"/>
                  <a:pt x="3515" y="1770"/>
                  <a:pt x="3506" y="1770"/>
                </a:cubicBezTo>
                <a:close/>
                <a:moveTo>
                  <a:pt x="3507" y="1703"/>
                </a:moveTo>
                <a:cubicBezTo>
                  <a:pt x="3499" y="1703"/>
                  <a:pt x="3494" y="1713"/>
                  <a:pt x="3494" y="1733"/>
                </a:cubicBezTo>
                <a:cubicBezTo>
                  <a:pt x="3494" y="1751"/>
                  <a:pt x="3499" y="1761"/>
                  <a:pt x="3507" y="1761"/>
                </a:cubicBezTo>
                <a:cubicBezTo>
                  <a:pt x="3515" y="1761"/>
                  <a:pt x="3520" y="1751"/>
                  <a:pt x="3520" y="1733"/>
                </a:cubicBezTo>
                <a:cubicBezTo>
                  <a:pt x="3520" y="1713"/>
                  <a:pt x="3516" y="1703"/>
                  <a:pt x="3507" y="1703"/>
                </a:cubicBezTo>
                <a:close/>
                <a:moveTo>
                  <a:pt x="3462" y="1697"/>
                </a:moveTo>
                <a:cubicBezTo>
                  <a:pt x="3462" y="1697"/>
                  <a:pt x="3462" y="1697"/>
                  <a:pt x="3462" y="1697"/>
                </a:cubicBezTo>
                <a:cubicBezTo>
                  <a:pt x="3457" y="1697"/>
                  <a:pt x="3457" y="1697"/>
                  <a:pt x="3457" y="1697"/>
                </a:cubicBezTo>
                <a:cubicBezTo>
                  <a:pt x="3454" y="1698"/>
                  <a:pt x="3453" y="1700"/>
                  <a:pt x="3451" y="1700"/>
                </a:cubicBezTo>
                <a:cubicBezTo>
                  <a:pt x="3449" y="1702"/>
                  <a:pt x="3447" y="1702"/>
                  <a:pt x="3446" y="1703"/>
                </a:cubicBezTo>
                <a:cubicBezTo>
                  <a:pt x="3444" y="1704"/>
                  <a:pt x="3442" y="1705"/>
                  <a:pt x="3441" y="1705"/>
                </a:cubicBezTo>
                <a:cubicBezTo>
                  <a:pt x="3438" y="1706"/>
                  <a:pt x="3437" y="1707"/>
                  <a:pt x="3435" y="1708"/>
                </a:cubicBezTo>
                <a:cubicBezTo>
                  <a:pt x="3435" y="1708"/>
                  <a:pt x="3435" y="1708"/>
                  <a:pt x="3435" y="1718"/>
                </a:cubicBezTo>
                <a:cubicBezTo>
                  <a:pt x="3438" y="1717"/>
                  <a:pt x="3441" y="1716"/>
                  <a:pt x="3443" y="1715"/>
                </a:cubicBezTo>
                <a:cubicBezTo>
                  <a:pt x="3446" y="1714"/>
                  <a:pt x="3448" y="1713"/>
                  <a:pt x="3450" y="1711"/>
                </a:cubicBezTo>
                <a:cubicBezTo>
                  <a:pt x="3450" y="1711"/>
                  <a:pt x="3450" y="1711"/>
                  <a:pt x="3450" y="1770"/>
                </a:cubicBezTo>
                <a:cubicBezTo>
                  <a:pt x="3450" y="1770"/>
                  <a:pt x="3450" y="1770"/>
                  <a:pt x="3462" y="1770"/>
                </a:cubicBezTo>
                <a:cubicBezTo>
                  <a:pt x="3462" y="1770"/>
                  <a:pt x="3462" y="1770"/>
                  <a:pt x="3462" y="1697"/>
                </a:cubicBezTo>
                <a:close/>
                <a:moveTo>
                  <a:pt x="3577" y="1770"/>
                </a:moveTo>
                <a:cubicBezTo>
                  <a:pt x="3570" y="1770"/>
                  <a:pt x="3563" y="1767"/>
                  <a:pt x="3559" y="1761"/>
                </a:cubicBezTo>
                <a:cubicBezTo>
                  <a:pt x="3555" y="1755"/>
                  <a:pt x="3553" y="1746"/>
                  <a:pt x="3553" y="1733"/>
                </a:cubicBezTo>
                <a:cubicBezTo>
                  <a:pt x="3553" y="1720"/>
                  <a:pt x="3555" y="1711"/>
                  <a:pt x="3559" y="1704"/>
                </a:cubicBezTo>
                <a:cubicBezTo>
                  <a:pt x="3564" y="1697"/>
                  <a:pt x="3570" y="1694"/>
                  <a:pt x="3579" y="1694"/>
                </a:cubicBezTo>
                <a:cubicBezTo>
                  <a:pt x="3595" y="1694"/>
                  <a:pt x="3603" y="1706"/>
                  <a:pt x="3603" y="1732"/>
                </a:cubicBezTo>
                <a:cubicBezTo>
                  <a:pt x="3603" y="1744"/>
                  <a:pt x="3601" y="1754"/>
                  <a:pt x="3597" y="1761"/>
                </a:cubicBezTo>
                <a:cubicBezTo>
                  <a:pt x="3592" y="1767"/>
                  <a:pt x="3586" y="1770"/>
                  <a:pt x="3577" y="1770"/>
                </a:cubicBezTo>
                <a:close/>
                <a:moveTo>
                  <a:pt x="3578" y="1703"/>
                </a:moveTo>
                <a:cubicBezTo>
                  <a:pt x="3570" y="1703"/>
                  <a:pt x="3565" y="1714"/>
                  <a:pt x="3565" y="1733"/>
                </a:cubicBezTo>
                <a:cubicBezTo>
                  <a:pt x="3565" y="1752"/>
                  <a:pt x="3569" y="1761"/>
                  <a:pt x="3578" y="1761"/>
                </a:cubicBezTo>
                <a:cubicBezTo>
                  <a:pt x="3586" y="1761"/>
                  <a:pt x="3591" y="1752"/>
                  <a:pt x="3591" y="1733"/>
                </a:cubicBezTo>
                <a:cubicBezTo>
                  <a:pt x="3591" y="1713"/>
                  <a:pt x="3586" y="1703"/>
                  <a:pt x="3578" y="1703"/>
                </a:cubicBezTo>
                <a:close/>
                <a:moveTo>
                  <a:pt x="3624" y="1729"/>
                </a:moveTo>
                <a:cubicBezTo>
                  <a:pt x="3624" y="1729"/>
                  <a:pt x="3624" y="1729"/>
                  <a:pt x="3624" y="1729"/>
                </a:cubicBezTo>
                <a:cubicBezTo>
                  <a:pt x="3624" y="1737"/>
                  <a:pt x="3624" y="1737"/>
                  <a:pt x="3624" y="1737"/>
                </a:cubicBezTo>
                <a:cubicBezTo>
                  <a:pt x="3630" y="1738"/>
                  <a:pt x="3631" y="1741"/>
                  <a:pt x="3631" y="1743"/>
                </a:cubicBezTo>
                <a:cubicBezTo>
                  <a:pt x="3631" y="1745"/>
                  <a:pt x="3630" y="1748"/>
                  <a:pt x="3630" y="1750"/>
                </a:cubicBezTo>
                <a:cubicBezTo>
                  <a:pt x="3630" y="1753"/>
                  <a:pt x="3630" y="1755"/>
                  <a:pt x="3630" y="1757"/>
                </a:cubicBezTo>
                <a:cubicBezTo>
                  <a:pt x="3630" y="1767"/>
                  <a:pt x="3636" y="1770"/>
                  <a:pt x="3644" y="1770"/>
                </a:cubicBezTo>
                <a:cubicBezTo>
                  <a:pt x="3644" y="1770"/>
                  <a:pt x="3644" y="1770"/>
                  <a:pt x="3648" y="1770"/>
                </a:cubicBezTo>
                <a:cubicBezTo>
                  <a:pt x="3648" y="1770"/>
                  <a:pt x="3648" y="1770"/>
                  <a:pt x="3648" y="1761"/>
                </a:cubicBezTo>
                <a:cubicBezTo>
                  <a:pt x="3648" y="1761"/>
                  <a:pt x="3648" y="1761"/>
                  <a:pt x="3646" y="1761"/>
                </a:cubicBezTo>
                <a:cubicBezTo>
                  <a:pt x="3643" y="1761"/>
                  <a:pt x="3642" y="1759"/>
                  <a:pt x="3642" y="1755"/>
                </a:cubicBezTo>
                <a:cubicBezTo>
                  <a:pt x="3642" y="1754"/>
                  <a:pt x="3642" y="1752"/>
                  <a:pt x="3642" y="1750"/>
                </a:cubicBezTo>
                <a:cubicBezTo>
                  <a:pt x="3642" y="1749"/>
                  <a:pt x="3642" y="1747"/>
                  <a:pt x="3642" y="1744"/>
                </a:cubicBezTo>
                <a:cubicBezTo>
                  <a:pt x="3642" y="1737"/>
                  <a:pt x="3639" y="1734"/>
                  <a:pt x="3634" y="1733"/>
                </a:cubicBezTo>
                <a:cubicBezTo>
                  <a:pt x="3634" y="1733"/>
                  <a:pt x="3634" y="1733"/>
                  <a:pt x="3634" y="1733"/>
                </a:cubicBezTo>
                <a:cubicBezTo>
                  <a:pt x="3639" y="1732"/>
                  <a:pt x="3642" y="1729"/>
                  <a:pt x="3642" y="1722"/>
                </a:cubicBezTo>
                <a:cubicBezTo>
                  <a:pt x="3642" y="1719"/>
                  <a:pt x="3642" y="1717"/>
                  <a:pt x="3642" y="1716"/>
                </a:cubicBezTo>
                <a:cubicBezTo>
                  <a:pt x="3642" y="1714"/>
                  <a:pt x="3642" y="1712"/>
                  <a:pt x="3642" y="1711"/>
                </a:cubicBezTo>
                <a:cubicBezTo>
                  <a:pt x="3642" y="1707"/>
                  <a:pt x="3643" y="1705"/>
                  <a:pt x="3646" y="1705"/>
                </a:cubicBezTo>
                <a:cubicBezTo>
                  <a:pt x="3646" y="1705"/>
                  <a:pt x="3646" y="1705"/>
                  <a:pt x="3648" y="1705"/>
                </a:cubicBezTo>
                <a:cubicBezTo>
                  <a:pt x="3648" y="1705"/>
                  <a:pt x="3648" y="1705"/>
                  <a:pt x="3648" y="1696"/>
                </a:cubicBezTo>
                <a:cubicBezTo>
                  <a:pt x="3648" y="1696"/>
                  <a:pt x="3648" y="1696"/>
                  <a:pt x="3644" y="1696"/>
                </a:cubicBezTo>
                <a:cubicBezTo>
                  <a:pt x="3635" y="1696"/>
                  <a:pt x="3630" y="1700"/>
                  <a:pt x="3630" y="1708"/>
                </a:cubicBezTo>
                <a:cubicBezTo>
                  <a:pt x="3630" y="1711"/>
                  <a:pt x="3630" y="1713"/>
                  <a:pt x="3630" y="1716"/>
                </a:cubicBezTo>
                <a:cubicBezTo>
                  <a:pt x="3630" y="1718"/>
                  <a:pt x="3631" y="1721"/>
                  <a:pt x="3631" y="1723"/>
                </a:cubicBezTo>
                <a:cubicBezTo>
                  <a:pt x="3631" y="1725"/>
                  <a:pt x="3630" y="1729"/>
                  <a:pt x="3624" y="1729"/>
                </a:cubicBezTo>
                <a:close/>
                <a:moveTo>
                  <a:pt x="3679" y="1737"/>
                </a:moveTo>
                <a:cubicBezTo>
                  <a:pt x="3679" y="1737"/>
                  <a:pt x="3679" y="1737"/>
                  <a:pt x="3679" y="1737"/>
                </a:cubicBezTo>
                <a:cubicBezTo>
                  <a:pt x="3679" y="1729"/>
                  <a:pt x="3679" y="1729"/>
                  <a:pt x="3679" y="1729"/>
                </a:cubicBezTo>
                <a:cubicBezTo>
                  <a:pt x="3673" y="1729"/>
                  <a:pt x="3672" y="1725"/>
                  <a:pt x="3672" y="1723"/>
                </a:cubicBezTo>
                <a:cubicBezTo>
                  <a:pt x="3672" y="1721"/>
                  <a:pt x="3672" y="1718"/>
                  <a:pt x="3673" y="1716"/>
                </a:cubicBezTo>
                <a:cubicBezTo>
                  <a:pt x="3673" y="1713"/>
                  <a:pt x="3673" y="1711"/>
                  <a:pt x="3673" y="1708"/>
                </a:cubicBezTo>
                <a:cubicBezTo>
                  <a:pt x="3673" y="1700"/>
                  <a:pt x="3668" y="1696"/>
                  <a:pt x="3658" y="1696"/>
                </a:cubicBezTo>
                <a:cubicBezTo>
                  <a:pt x="3658" y="1696"/>
                  <a:pt x="3658" y="1696"/>
                  <a:pt x="3655" y="1696"/>
                </a:cubicBezTo>
                <a:cubicBezTo>
                  <a:pt x="3655" y="1696"/>
                  <a:pt x="3655" y="1696"/>
                  <a:pt x="3655" y="1705"/>
                </a:cubicBezTo>
                <a:cubicBezTo>
                  <a:pt x="3655" y="1705"/>
                  <a:pt x="3655" y="1705"/>
                  <a:pt x="3656" y="1705"/>
                </a:cubicBezTo>
                <a:cubicBezTo>
                  <a:pt x="3660" y="1705"/>
                  <a:pt x="3661" y="1707"/>
                  <a:pt x="3661" y="1711"/>
                </a:cubicBezTo>
                <a:cubicBezTo>
                  <a:pt x="3661" y="1712"/>
                  <a:pt x="3661" y="1714"/>
                  <a:pt x="3661" y="1716"/>
                </a:cubicBezTo>
                <a:cubicBezTo>
                  <a:pt x="3661" y="1717"/>
                  <a:pt x="3661" y="1719"/>
                  <a:pt x="3661" y="1722"/>
                </a:cubicBezTo>
                <a:cubicBezTo>
                  <a:pt x="3661" y="1729"/>
                  <a:pt x="3663" y="1732"/>
                  <a:pt x="3669" y="1733"/>
                </a:cubicBezTo>
                <a:cubicBezTo>
                  <a:pt x="3669" y="1733"/>
                  <a:pt x="3669" y="1733"/>
                  <a:pt x="3669" y="1733"/>
                </a:cubicBezTo>
                <a:cubicBezTo>
                  <a:pt x="3663" y="1734"/>
                  <a:pt x="3661" y="1737"/>
                  <a:pt x="3661" y="1744"/>
                </a:cubicBezTo>
                <a:cubicBezTo>
                  <a:pt x="3661" y="1747"/>
                  <a:pt x="3661" y="1749"/>
                  <a:pt x="3661" y="1750"/>
                </a:cubicBezTo>
                <a:cubicBezTo>
                  <a:pt x="3661" y="1752"/>
                  <a:pt x="3661" y="1754"/>
                  <a:pt x="3661" y="1755"/>
                </a:cubicBezTo>
                <a:cubicBezTo>
                  <a:pt x="3661" y="1759"/>
                  <a:pt x="3660" y="1761"/>
                  <a:pt x="3656" y="1761"/>
                </a:cubicBezTo>
                <a:cubicBezTo>
                  <a:pt x="3656" y="1761"/>
                  <a:pt x="3656" y="1761"/>
                  <a:pt x="3655" y="1761"/>
                </a:cubicBezTo>
                <a:cubicBezTo>
                  <a:pt x="3655" y="1761"/>
                  <a:pt x="3655" y="1761"/>
                  <a:pt x="3655" y="1770"/>
                </a:cubicBezTo>
                <a:cubicBezTo>
                  <a:pt x="3655" y="1770"/>
                  <a:pt x="3655" y="1770"/>
                  <a:pt x="3658" y="1770"/>
                </a:cubicBezTo>
                <a:cubicBezTo>
                  <a:pt x="3667" y="1770"/>
                  <a:pt x="3673" y="1767"/>
                  <a:pt x="3673" y="1757"/>
                </a:cubicBezTo>
                <a:cubicBezTo>
                  <a:pt x="3673" y="1755"/>
                  <a:pt x="3673" y="1753"/>
                  <a:pt x="3673" y="1750"/>
                </a:cubicBezTo>
                <a:cubicBezTo>
                  <a:pt x="3672" y="1748"/>
                  <a:pt x="3672" y="1745"/>
                  <a:pt x="3672" y="1743"/>
                </a:cubicBezTo>
                <a:cubicBezTo>
                  <a:pt x="3672" y="1741"/>
                  <a:pt x="3673" y="1738"/>
                  <a:pt x="3679" y="1737"/>
                </a:cubicBezTo>
                <a:close/>
                <a:moveTo>
                  <a:pt x="3799" y="1770"/>
                </a:moveTo>
                <a:cubicBezTo>
                  <a:pt x="3792" y="1770"/>
                  <a:pt x="3785" y="1767"/>
                  <a:pt x="3781" y="1761"/>
                </a:cubicBezTo>
                <a:cubicBezTo>
                  <a:pt x="3777" y="1755"/>
                  <a:pt x="3775" y="1746"/>
                  <a:pt x="3775" y="1733"/>
                </a:cubicBezTo>
                <a:cubicBezTo>
                  <a:pt x="3775" y="1720"/>
                  <a:pt x="3777" y="1711"/>
                  <a:pt x="3782" y="1704"/>
                </a:cubicBezTo>
                <a:cubicBezTo>
                  <a:pt x="3786" y="1697"/>
                  <a:pt x="3793" y="1694"/>
                  <a:pt x="3801" y="1694"/>
                </a:cubicBezTo>
                <a:cubicBezTo>
                  <a:pt x="3817" y="1694"/>
                  <a:pt x="3825" y="1706"/>
                  <a:pt x="3825" y="1732"/>
                </a:cubicBezTo>
                <a:cubicBezTo>
                  <a:pt x="3825" y="1744"/>
                  <a:pt x="3823" y="1754"/>
                  <a:pt x="3818" y="1761"/>
                </a:cubicBezTo>
                <a:cubicBezTo>
                  <a:pt x="3814" y="1767"/>
                  <a:pt x="3807" y="1770"/>
                  <a:pt x="3799" y="1770"/>
                </a:cubicBezTo>
                <a:close/>
                <a:moveTo>
                  <a:pt x="3801" y="1703"/>
                </a:moveTo>
                <a:cubicBezTo>
                  <a:pt x="3791" y="1703"/>
                  <a:pt x="3787" y="1714"/>
                  <a:pt x="3787" y="1733"/>
                </a:cubicBezTo>
                <a:cubicBezTo>
                  <a:pt x="3787" y="1752"/>
                  <a:pt x="3791" y="1761"/>
                  <a:pt x="3800" y="1761"/>
                </a:cubicBezTo>
                <a:cubicBezTo>
                  <a:pt x="3809" y="1761"/>
                  <a:pt x="3813" y="1752"/>
                  <a:pt x="3813" y="1733"/>
                </a:cubicBezTo>
                <a:cubicBezTo>
                  <a:pt x="3813" y="1713"/>
                  <a:pt x="3809" y="1703"/>
                  <a:pt x="3801" y="1703"/>
                </a:cubicBezTo>
                <a:close/>
                <a:moveTo>
                  <a:pt x="3869" y="1697"/>
                </a:moveTo>
                <a:cubicBezTo>
                  <a:pt x="3869" y="1697"/>
                  <a:pt x="3869" y="1697"/>
                  <a:pt x="3869" y="1697"/>
                </a:cubicBezTo>
                <a:cubicBezTo>
                  <a:pt x="3864" y="1697"/>
                  <a:pt x="3864" y="1697"/>
                  <a:pt x="3864" y="1697"/>
                </a:cubicBezTo>
                <a:cubicBezTo>
                  <a:pt x="3861" y="1698"/>
                  <a:pt x="3860" y="1700"/>
                  <a:pt x="3858" y="1700"/>
                </a:cubicBezTo>
                <a:cubicBezTo>
                  <a:pt x="3856" y="1702"/>
                  <a:pt x="3854" y="1702"/>
                  <a:pt x="3853" y="1703"/>
                </a:cubicBezTo>
                <a:cubicBezTo>
                  <a:pt x="3850" y="1704"/>
                  <a:pt x="3849" y="1705"/>
                  <a:pt x="3848" y="1705"/>
                </a:cubicBezTo>
                <a:cubicBezTo>
                  <a:pt x="3845" y="1706"/>
                  <a:pt x="3844" y="1707"/>
                  <a:pt x="3842" y="1708"/>
                </a:cubicBezTo>
                <a:cubicBezTo>
                  <a:pt x="3842" y="1708"/>
                  <a:pt x="3842" y="1708"/>
                  <a:pt x="3842" y="1718"/>
                </a:cubicBezTo>
                <a:cubicBezTo>
                  <a:pt x="3845" y="1717"/>
                  <a:pt x="3848" y="1716"/>
                  <a:pt x="3850" y="1715"/>
                </a:cubicBezTo>
                <a:cubicBezTo>
                  <a:pt x="3853" y="1714"/>
                  <a:pt x="3855" y="1713"/>
                  <a:pt x="3857" y="1711"/>
                </a:cubicBezTo>
                <a:cubicBezTo>
                  <a:pt x="3857" y="1711"/>
                  <a:pt x="3857" y="1711"/>
                  <a:pt x="3857" y="1770"/>
                </a:cubicBezTo>
                <a:cubicBezTo>
                  <a:pt x="3857" y="1770"/>
                  <a:pt x="3857" y="1770"/>
                  <a:pt x="3869" y="1770"/>
                </a:cubicBezTo>
                <a:cubicBezTo>
                  <a:pt x="3869" y="1770"/>
                  <a:pt x="3869" y="1770"/>
                  <a:pt x="3869" y="1697"/>
                </a:cubicBezTo>
                <a:close/>
                <a:moveTo>
                  <a:pt x="2065" y="1639"/>
                </a:moveTo>
                <a:cubicBezTo>
                  <a:pt x="2066" y="1640"/>
                  <a:pt x="2066" y="1642"/>
                  <a:pt x="2067" y="1643"/>
                </a:cubicBezTo>
                <a:cubicBezTo>
                  <a:pt x="2067" y="1645"/>
                  <a:pt x="2068" y="1647"/>
                  <a:pt x="2068" y="1648"/>
                </a:cubicBezTo>
                <a:cubicBezTo>
                  <a:pt x="2068" y="1650"/>
                  <a:pt x="2068" y="1652"/>
                  <a:pt x="2068" y="1653"/>
                </a:cubicBezTo>
                <a:cubicBezTo>
                  <a:pt x="2069" y="1656"/>
                  <a:pt x="2068" y="1658"/>
                  <a:pt x="2065" y="1658"/>
                </a:cubicBezTo>
                <a:cubicBezTo>
                  <a:pt x="2062" y="1658"/>
                  <a:pt x="2059" y="1657"/>
                  <a:pt x="2057" y="1657"/>
                </a:cubicBezTo>
                <a:cubicBezTo>
                  <a:pt x="2056" y="1657"/>
                  <a:pt x="2055" y="1657"/>
                  <a:pt x="2055" y="1658"/>
                </a:cubicBezTo>
                <a:cubicBezTo>
                  <a:pt x="2054" y="1659"/>
                  <a:pt x="2052" y="1661"/>
                  <a:pt x="2051" y="1662"/>
                </a:cubicBezTo>
                <a:cubicBezTo>
                  <a:pt x="2049" y="1665"/>
                  <a:pt x="2046" y="1665"/>
                  <a:pt x="2043" y="1663"/>
                </a:cubicBezTo>
                <a:cubicBezTo>
                  <a:pt x="2041" y="1661"/>
                  <a:pt x="2040" y="1658"/>
                  <a:pt x="2039" y="1656"/>
                </a:cubicBezTo>
                <a:cubicBezTo>
                  <a:pt x="2038" y="1654"/>
                  <a:pt x="2038" y="1652"/>
                  <a:pt x="2041" y="1651"/>
                </a:cubicBezTo>
                <a:cubicBezTo>
                  <a:pt x="2038" y="1651"/>
                  <a:pt x="2036" y="1651"/>
                  <a:pt x="2035" y="1651"/>
                </a:cubicBezTo>
                <a:cubicBezTo>
                  <a:pt x="2034" y="1653"/>
                  <a:pt x="2033" y="1655"/>
                  <a:pt x="2032" y="1657"/>
                </a:cubicBezTo>
                <a:cubicBezTo>
                  <a:pt x="2032" y="1657"/>
                  <a:pt x="2032" y="1658"/>
                  <a:pt x="2032" y="1659"/>
                </a:cubicBezTo>
                <a:cubicBezTo>
                  <a:pt x="2032" y="1662"/>
                  <a:pt x="2030" y="1663"/>
                  <a:pt x="2027" y="1663"/>
                </a:cubicBezTo>
                <a:cubicBezTo>
                  <a:pt x="2024" y="1663"/>
                  <a:pt x="2021" y="1662"/>
                  <a:pt x="2018" y="1661"/>
                </a:cubicBezTo>
                <a:cubicBezTo>
                  <a:pt x="2016" y="1660"/>
                  <a:pt x="2016" y="1659"/>
                  <a:pt x="2016" y="1657"/>
                </a:cubicBezTo>
                <a:cubicBezTo>
                  <a:pt x="2017" y="1656"/>
                  <a:pt x="2017" y="1655"/>
                  <a:pt x="2017" y="1655"/>
                </a:cubicBezTo>
                <a:cubicBezTo>
                  <a:pt x="2015" y="1654"/>
                  <a:pt x="2012" y="1653"/>
                  <a:pt x="2010" y="1652"/>
                </a:cubicBezTo>
                <a:cubicBezTo>
                  <a:pt x="2009" y="1651"/>
                  <a:pt x="2008" y="1649"/>
                  <a:pt x="2007" y="1647"/>
                </a:cubicBezTo>
                <a:cubicBezTo>
                  <a:pt x="2006" y="1645"/>
                  <a:pt x="2006" y="1644"/>
                  <a:pt x="2008" y="1642"/>
                </a:cubicBezTo>
                <a:cubicBezTo>
                  <a:pt x="2012" y="1640"/>
                  <a:pt x="2012" y="1637"/>
                  <a:pt x="2012" y="1633"/>
                </a:cubicBezTo>
                <a:cubicBezTo>
                  <a:pt x="2012" y="1631"/>
                  <a:pt x="2012" y="1629"/>
                  <a:pt x="2012" y="1627"/>
                </a:cubicBezTo>
                <a:cubicBezTo>
                  <a:pt x="2010" y="1626"/>
                  <a:pt x="2008" y="1626"/>
                  <a:pt x="2008" y="1625"/>
                </a:cubicBezTo>
                <a:cubicBezTo>
                  <a:pt x="2006" y="1623"/>
                  <a:pt x="2006" y="1621"/>
                  <a:pt x="2006" y="1619"/>
                </a:cubicBezTo>
                <a:cubicBezTo>
                  <a:pt x="2005" y="1616"/>
                  <a:pt x="2009" y="1614"/>
                  <a:pt x="2012" y="1613"/>
                </a:cubicBezTo>
                <a:cubicBezTo>
                  <a:pt x="2012" y="1614"/>
                  <a:pt x="2012" y="1614"/>
                  <a:pt x="2012" y="1615"/>
                </a:cubicBezTo>
                <a:cubicBezTo>
                  <a:pt x="2012" y="1616"/>
                  <a:pt x="2012" y="1617"/>
                  <a:pt x="2013" y="1618"/>
                </a:cubicBezTo>
                <a:cubicBezTo>
                  <a:pt x="2012" y="1618"/>
                  <a:pt x="2012" y="1618"/>
                  <a:pt x="2011" y="1618"/>
                </a:cubicBezTo>
                <a:cubicBezTo>
                  <a:pt x="2011" y="1619"/>
                  <a:pt x="2010" y="1620"/>
                  <a:pt x="2010" y="1622"/>
                </a:cubicBezTo>
                <a:cubicBezTo>
                  <a:pt x="2011" y="1622"/>
                  <a:pt x="2012" y="1622"/>
                  <a:pt x="2012" y="1621"/>
                </a:cubicBezTo>
                <a:cubicBezTo>
                  <a:pt x="2013" y="1620"/>
                  <a:pt x="2014" y="1619"/>
                  <a:pt x="2015" y="1618"/>
                </a:cubicBezTo>
                <a:cubicBezTo>
                  <a:pt x="2019" y="1612"/>
                  <a:pt x="2025" y="1608"/>
                  <a:pt x="2033" y="1606"/>
                </a:cubicBezTo>
                <a:cubicBezTo>
                  <a:pt x="2036" y="1606"/>
                  <a:pt x="2039" y="1604"/>
                  <a:pt x="2041" y="1602"/>
                </a:cubicBezTo>
                <a:cubicBezTo>
                  <a:pt x="2041" y="1601"/>
                  <a:pt x="2042" y="1601"/>
                  <a:pt x="2043" y="1601"/>
                </a:cubicBezTo>
                <a:cubicBezTo>
                  <a:pt x="2045" y="1600"/>
                  <a:pt x="2047" y="1598"/>
                  <a:pt x="2049" y="1596"/>
                </a:cubicBezTo>
                <a:cubicBezTo>
                  <a:pt x="2056" y="1589"/>
                  <a:pt x="2068" y="1588"/>
                  <a:pt x="2076" y="1595"/>
                </a:cubicBezTo>
                <a:cubicBezTo>
                  <a:pt x="2078" y="1597"/>
                  <a:pt x="2081" y="1599"/>
                  <a:pt x="2083" y="1601"/>
                </a:cubicBezTo>
                <a:cubicBezTo>
                  <a:pt x="2085" y="1602"/>
                  <a:pt x="2086" y="1604"/>
                  <a:pt x="2087" y="1606"/>
                </a:cubicBezTo>
                <a:cubicBezTo>
                  <a:pt x="2088" y="1607"/>
                  <a:pt x="2089" y="1607"/>
                  <a:pt x="2090" y="1606"/>
                </a:cubicBezTo>
                <a:cubicBezTo>
                  <a:pt x="2091" y="1606"/>
                  <a:pt x="2092" y="1605"/>
                  <a:pt x="2092" y="1604"/>
                </a:cubicBezTo>
                <a:cubicBezTo>
                  <a:pt x="2094" y="1601"/>
                  <a:pt x="2097" y="1601"/>
                  <a:pt x="2099" y="1604"/>
                </a:cubicBezTo>
                <a:cubicBezTo>
                  <a:pt x="2100" y="1608"/>
                  <a:pt x="2101" y="1610"/>
                  <a:pt x="2101" y="1614"/>
                </a:cubicBezTo>
                <a:cubicBezTo>
                  <a:pt x="2102" y="1618"/>
                  <a:pt x="2101" y="1622"/>
                  <a:pt x="2100" y="1627"/>
                </a:cubicBezTo>
                <a:cubicBezTo>
                  <a:pt x="2097" y="1633"/>
                  <a:pt x="2093" y="1636"/>
                  <a:pt x="2086" y="1636"/>
                </a:cubicBezTo>
                <a:cubicBezTo>
                  <a:pt x="2085" y="1636"/>
                  <a:pt x="2085" y="1636"/>
                  <a:pt x="2084" y="1636"/>
                </a:cubicBezTo>
                <a:cubicBezTo>
                  <a:pt x="2082" y="1636"/>
                  <a:pt x="2081" y="1636"/>
                  <a:pt x="2080" y="1639"/>
                </a:cubicBezTo>
                <a:cubicBezTo>
                  <a:pt x="2078" y="1643"/>
                  <a:pt x="2073" y="1645"/>
                  <a:pt x="2069" y="1642"/>
                </a:cubicBezTo>
                <a:cubicBezTo>
                  <a:pt x="2068" y="1640"/>
                  <a:pt x="2067" y="1640"/>
                  <a:pt x="2066" y="1638"/>
                </a:cubicBezTo>
                <a:cubicBezTo>
                  <a:pt x="2066" y="1639"/>
                  <a:pt x="2066" y="1639"/>
                  <a:pt x="2065" y="1639"/>
                </a:cubicBezTo>
                <a:close/>
                <a:moveTo>
                  <a:pt x="2060" y="1635"/>
                </a:moveTo>
                <a:cubicBezTo>
                  <a:pt x="2063" y="1636"/>
                  <a:pt x="2067" y="1637"/>
                  <a:pt x="2070" y="1640"/>
                </a:cubicBezTo>
                <a:cubicBezTo>
                  <a:pt x="2071" y="1642"/>
                  <a:pt x="2073" y="1642"/>
                  <a:pt x="2075" y="1642"/>
                </a:cubicBezTo>
                <a:cubicBezTo>
                  <a:pt x="2078" y="1641"/>
                  <a:pt x="2079" y="1639"/>
                  <a:pt x="2079" y="1636"/>
                </a:cubicBezTo>
                <a:cubicBezTo>
                  <a:pt x="2079" y="1636"/>
                  <a:pt x="2078" y="1636"/>
                  <a:pt x="2078" y="1636"/>
                </a:cubicBezTo>
                <a:cubicBezTo>
                  <a:pt x="2078" y="1638"/>
                  <a:pt x="2077" y="1639"/>
                  <a:pt x="2076" y="1640"/>
                </a:cubicBezTo>
                <a:cubicBezTo>
                  <a:pt x="2075" y="1641"/>
                  <a:pt x="2074" y="1641"/>
                  <a:pt x="2073" y="1640"/>
                </a:cubicBezTo>
                <a:cubicBezTo>
                  <a:pt x="2072" y="1640"/>
                  <a:pt x="2072" y="1639"/>
                  <a:pt x="2072" y="1638"/>
                </a:cubicBezTo>
                <a:cubicBezTo>
                  <a:pt x="2072" y="1636"/>
                  <a:pt x="2072" y="1634"/>
                  <a:pt x="2072" y="1632"/>
                </a:cubicBezTo>
                <a:cubicBezTo>
                  <a:pt x="2075" y="1633"/>
                  <a:pt x="2079" y="1634"/>
                  <a:pt x="2082" y="1635"/>
                </a:cubicBezTo>
                <a:cubicBezTo>
                  <a:pt x="2090" y="1636"/>
                  <a:pt x="2095" y="1634"/>
                  <a:pt x="2099" y="1625"/>
                </a:cubicBezTo>
                <a:cubicBezTo>
                  <a:pt x="2100" y="1621"/>
                  <a:pt x="2100" y="1616"/>
                  <a:pt x="2099" y="1611"/>
                </a:cubicBezTo>
                <a:cubicBezTo>
                  <a:pt x="2099" y="1609"/>
                  <a:pt x="2098" y="1607"/>
                  <a:pt x="2097" y="1605"/>
                </a:cubicBezTo>
                <a:cubicBezTo>
                  <a:pt x="2096" y="1604"/>
                  <a:pt x="2095" y="1603"/>
                  <a:pt x="2094" y="1605"/>
                </a:cubicBezTo>
                <a:cubicBezTo>
                  <a:pt x="2092" y="1606"/>
                  <a:pt x="2091" y="1608"/>
                  <a:pt x="2089" y="1609"/>
                </a:cubicBezTo>
                <a:cubicBezTo>
                  <a:pt x="2088" y="1609"/>
                  <a:pt x="2087" y="1610"/>
                  <a:pt x="2088" y="1611"/>
                </a:cubicBezTo>
                <a:cubicBezTo>
                  <a:pt x="2088" y="1614"/>
                  <a:pt x="2088" y="1617"/>
                  <a:pt x="2086" y="1621"/>
                </a:cubicBezTo>
                <a:cubicBezTo>
                  <a:pt x="2086" y="1619"/>
                  <a:pt x="2087" y="1617"/>
                  <a:pt x="2087" y="1615"/>
                </a:cubicBezTo>
                <a:cubicBezTo>
                  <a:pt x="2087" y="1614"/>
                  <a:pt x="2086" y="1614"/>
                  <a:pt x="2086" y="1614"/>
                </a:cubicBezTo>
                <a:cubicBezTo>
                  <a:pt x="2086" y="1614"/>
                  <a:pt x="2085" y="1614"/>
                  <a:pt x="2085" y="1614"/>
                </a:cubicBezTo>
                <a:cubicBezTo>
                  <a:pt x="2084" y="1616"/>
                  <a:pt x="2083" y="1617"/>
                  <a:pt x="2083" y="1618"/>
                </a:cubicBezTo>
                <a:cubicBezTo>
                  <a:pt x="2082" y="1618"/>
                  <a:pt x="2082" y="1618"/>
                  <a:pt x="2082" y="1618"/>
                </a:cubicBezTo>
                <a:cubicBezTo>
                  <a:pt x="2083" y="1617"/>
                  <a:pt x="2083" y="1615"/>
                  <a:pt x="2083" y="1613"/>
                </a:cubicBezTo>
                <a:cubicBezTo>
                  <a:pt x="2082" y="1614"/>
                  <a:pt x="2082" y="1614"/>
                  <a:pt x="2081" y="1615"/>
                </a:cubicBezTo>
                <a:cubicBezTo>
                  <a:pt x="2081" y="1615"/>
                  <a:pt x="2080" y="1616"/>
                  <a:pt x="2080" y="1617"/>
                </a:cubicBezTo>
                <a:cubicBezTo>
                  <a:pt x="2080" y="1613"/>
                  <a:pt x="2081" y="1613"/>
                  <a:pt x="2086" y="1612"/>
                </a:cubicBezTo>
                <a:cubicBezTo>
                  <a:pt x="2086" y="1612"/>
                  <a:pt x="2085" y="1611"/>
                  <a:pt x="2085" y="1611"/>
                </a:cubicBezTo>
                <a:cubicBezTo>
                  <a:pt x="2083" y="1612"/>
                  <a:pt x="2082" y="1610"/>
                  <a:pt x="2081" y="1608"/>
                </a:cubicBezTo>
                <a:cubicBezTo>
                  <a:pt x="2083" y="1607"/>
                  <a:pt x="2085" y="1607"/>
                  <a:pt x="2086" y="1606"/>
                </a:cubicBezTo>
                <a:cubicBezTo>
                  <a:pt x="2085" y="1604"/>
                  <a:pt x="2083" y="1601"/>
                  <a:pt x="2080" y="1601"/>
                </a:cubicBezTo>
                <a:cubicBezTo>
                  <a:pt x="2079" y="1601"/>
                  <a:pt x="2079" y="1600"/>
                  <a:pt x="2079" y="1600"/>
                </a:cubicBezTo>
                <a:cubicBezTo>
                  <a:pt x="2077" y="1598"/>
                  <a:pt x="2074" y="1596"/>
                  <a:pt x="2072" y="1594"/>
                </a:cubicBezTo>
                <a:cubicBezTo>
                  <a:pt x="2069" y="1593"/>
                  <a:pt x="2066" y="1592"/>
                  <a:pt x="2064" y="1592"/>
                </a:cubicBezTo>
                <a:cubicBezTo>
                  <a:pt x="2061" y="1592"/>
                  <a:pt x="2058" y="1593"/>
                  <a:pt x="2055" y="1594"/>
                </a:cubicBezTo>
                <a:cubicBezTo>
                  <a:pt x="2052" y="1595"/>
                  <a:pt x="2049" y="1597"/>
                  <a:pt x="2048" y="1600"/>
                </a:cubicBezTo>
                <a:cubicBezTo>
                  <a:pt x="2049" y="1600"/>
                  <a:pt x="2050" y="1600"/>
                  <a:pt x="2052" y="1600"/>
                </a:cubicBezTo>
                <a:cubicBezTo>
                  <a:pt x="2051" y="1600"/>
                  <a:pt x="2050" y="1601"/>
                  <a:pt x="2050" y="1601"/>
                </a:cubicBezTo>
                <a:cubicBezTo>
                  <a:pt x="2047" y="1602"/>
                  <a:pt x="2045" y="1601"/>
                  <a:pt x="2043" y="1603"/>
                </a:cubicBezTo>
                <a:cubicBezTo>
                  <a:pt x="2039" y="1607"/>
                  <a:pt x="2035" y="1611"/>
                  <a:pt x="2032" y="1615"/>
                </a:cubicBezTo>
                <a:cubicBezTo>
                  <a:pt x="2030" y="1617"/>
                  <a:pt x="2029" y="1619"/>
                  <a:pt x="2028" y="1622"/>
                </a:cubicBezTo>
                <a:cubicBezTo>
                  <a:pt x="2028" y="1622"/>
                  <a:pt x="2028" y="1623"/>
                  <a:pt x="2028" y="1623"/>
                </a:cubicBezTo>
                <a:cubicBezTo>
                  <a:pt x="2030" y="1625"/>
                  <a:pt x="2031" y="1627"/>
                  <a:pt x="2032" y="1629"/>
                </a:cubicBezTo>
                <a:cubicBezTo>
                  <a:pt x="2034" y="1628"/>
                  <a:pt x="2035" y="1626"/>
                  <a:pt x="2036" y="1625"/>
                </a:cubicBezTo>
                <a:cubicBezTo>
                  <a:pt x="2035" y="1626"/>
                  <a:pt x="2035" y="1627"/>
                  <a:pt x="2034" y="1629"/>
                </a:cubicBezTo>
                <a:cubicBezTo>
                  <a:pt x="2034" y="1630"/>
                  <a:pt x="2033" y="1631"/>
                  <a:pt x="2032" y="1633"/>
                </a:cubicBezTo>
                <a:cubicBezTo>
                  <a:pt x="2032" y="1634"/>
                  <a:pt x="2032" y="1635"/>
                  <a:pt x="2033" y="1636"/>
                </a:cubicBezTo>
                <a:cubicBezTo>
                  <a:pt x="2035" y="1639"/>
                  <a:pt x="2038" y="1639"/>
                  <a:pt x="2042" y="1637"/>
                </a:cubicBezTo>
                <a:cubicBezTo>
                  <a:pt x="2045" y="1636"/>
                  <a:pt x="2047" y="1635"/>
                  <a:pt x="2050" y="1634"/>
                </a:cubicBezTo>
                <a:cubicBezTo>
                  <a:pt x="2052" y="1633"/>
                  <a:pt x="2053" y="1633"/>
                  <a:pt x="2053" y="1631"/>
                </a:cubicBezTo>
                <a:cubicBezTo>
                  <a:pt x="2053" y="1628"/>
                  <a:pt x="2053" y="1624"/>
                  <a:pt x="2053" y="1621"/>
                </a:cubicBezTo>
                <a:cubicBezTo>
                  <a:pt x="2053" y="1618"/>
                  <a:pt x="2053" y="1615"/>
                  <a:pt x="2053" y="1612"/>
                </a:cubicBezTo>
                <a:cubicBezTo>
                  <a:pt x="2054" y="1615"/>
                  <a:pt x="2054" y="1617"/>
                  <a:pt x="2054" y="1620"/>
                </a:cubicBezTo>
                <a:cubicBezTo>
                  <a:pt x="2055" y="1625"/>
                  <a:pt x="2055" y="1629"/>
                  <a:pt x="2054" y="1633"/>
                </a:cubicBezTo>
                <a:cubicBezTo>
                  <a:pt x="2054" y="1634"/>
                  <a:pt x="2053" y="1635"/>
                  <a:pt x="2052" y="1635"/>
                </a:cubicBezTo>
                <a:cubicBezTo>
                  <a:pt x="2049" y="1635"/>
                  <a:pt x="2046" y="1637"/>
                  <a:pt x="2043" y="1639"/>
                </a:cubicBezTo>
                <a:cubicBezTo>
                  <a:pt x="2037" y="1642"/>
                  <a:pt x="2034" y="1640"/>
                  <a:pt x="2030" y="1636"/>
                </a:cubicBezTo>
                <a:cubicBezTo>
                  <a:pt x="2030" y="1636"/>
                  <a:pt x="2030" y="1635"/>
                  <a:pt x="2030" y="1634"/>
                </a:cubicBezTo>
                <a:cubicBezTo>
                  <a:pt x="2032" y="1632"/>
                  <a:pt x="2030" y="1630"/>
                  <a:pt x="2029" y="1628"/>
                </a:cubicBezTo>
                <a:cubicBezTo>
                  <a:pt x="2027" y="1626"/>
                  <a:pt x="2026" y="1623"/>
                  <a:pt x="2027" y="1621"/>
                </a:cubicBezTo>
                <a:cubicBezTo>
                  <a:pt x="2027" y="1619"/>
                  <a:pt x="2028" y="1617"/>
                  <a:pt x="2030" y="1616"/>
                </a:cubicBezTo>
                <a:cubicBezTo>
                  <a:pt x="2031" y="1613"/>
                  <a:pt x="2034" y="1610"/>
                  <a:pt x="2035" y="1608"/>
                </a:cubicBezTo>
                <a:cubicBezTo>
                  <a:pt x="2035" y="1608"/>
                  <a:pt x="2034" y="1608"/>
                  <a:pt x="2034" y="1608"/>
                </a:cubicBezTo>
                <a:cubicBezTo>
                  <a:pt x="2029" y="1609"/>
                  <a:pt x="2025" y="1610"/>
                  <a:pt x="2021" y="1614"/>
                </a:cubicBezTo>
                <a:cubicBezTo>
                  <a:pt x="2016" y="1618"/>
                  <a:pt x="2014" y="1623"/>
                  <a:pt x="2013" y="1630"/>
                </a:cubicBezTo>
                <a:cubicBezTo>
                  <a:pt x="2013" y="1636"/>
                  <a:pt x="2015" y="1642"/>
                  <a:pt x="2019" y="1648"/>
                </a:cubicBezTo>
                <a:cubicBezTo>
                  <a:pt x="2019" y="1649"/>
                  <a:pt x="2020" y="1651"/>
                  <a:pt x="2019" y="1652"/>
                </a:cubicBezTo>
                <a:cubicBezTo>
                  <a:pt x="2019" y="1654"/>
                  <a:pt x="2019" y="1655"/>
                  <a:pt x="2018" y="1656"/>
                </a:cubicBezTo>
                <a:cubicBezTo>
                  <a:pt x="2018" y="1658"/>
                  <a:pt x="2018" y="1659"/>
                  <a:pt x="2019" y="1659"/>
                </a:cubicBezTo>
                <a:cubicBezTo>
                  <a:pt x="2023" y="1660"/>
                  <a:pt x="2025" y="1661"/>
                  <a:pt x="2028" y="1661"/>
                </a:cubicBezTo>
                <a:cubicBezTo>
                  <a:pt x="2029" y="1661"/>
                  <a:pt x="2030" y="1660"/>
                  <a:pt x="2030" y="1660"/>
                </a:cubicBezTo>
                <a:cubicBezTo>
                  <a:pt x="2030" y="1659"/>
                  <a:pt x="2030" y="1657"/>
                  <a:pt x="2031" y="1656"/>
                </a:cubicBezTo>
                <a:cubicBezTo>
                  <a:pt x="2033" y="1654"/>
                  <a:pt x="2033" y="1651"/>
                  <a:pt x="2033" y="1648"/>
                </a:cubicBezTo>
                <a:cubicBezTo>
                  <a:pt x="2033" y="1648"/>
                  <a:pt x="2033" y="1648"/>
                  <a:pt x="2033" y="1647"/>
                </a:cubicBezTo>
                <a:cubicBezTo>
                  <a:pt x="2033" y="1647"/>
                  <a:pt x="2033" y="1647"/>
                  <a:pt x="2033" y="1646"/>
                </a:cubicBezTo>
                <a:cubicBezTo>
                  <a:pt x="2033" y="1649"/>
                  <a:pt x="2035" y="1649"/>
                  <a:pt x="2037" y="1649"/>
                </a:cubicBezTo>
                <a:cubicBezTo>
                  <a:pt x="2037" y="1649"/>
                  <a:pt x="2039" y="1649"/>
                  <a:pt x="2039" y="1649"/>
                </a:cubicBezTo>
                <a:cubicBezTo>
                  <a:pt x="2042" y="1649"/>
                  <a:pt x="2045" y="1650"/>
                  <a:pt x="2046" y="1646"/>
                </a:cubicBezTo>
                <a:cubicBezTo>
                  <a:pt x="2046" y="1648"/>
                  <a:pt x="2046" y="1650"/>
                  <a:pt x="2046" y="1650"/>
                </a:cubicBezTo>
                <a:cubicBezTo>
                  <a:pt x="2044" y="1651"/>
                  <a:pt x="2043" y="1652"/>
                  <a:pt x="2042" y="1652"/>
                </a:cubicBezTo>
                <a:cubicBezTo>
                  <a:pt x="2040" y="1653"/>
                  <a:pt x="2040" y="1655"/>
                  <a:pt x="2041" y="1656"/>
                </a:cubicBezTo>
                <a:cubicBezTo>
                  <a:pt x="2042" y="1658"/>
                  <a:pt x="2043" y="1660"/>
                  <a:pt x="2045" y="1662"/>
                </a:cubicBezTo>
                <a:cubicBezTo>
                  <a:pt x="2046" y="1663"/>
                  <a:pt x="2048" y="1663"/>
                  <a:pt x="2050" y="1661"/>
                </a:cubicBezTo>
                <a:cubicBezTo>
                  <a:pt x="2050" y="1660"/>
                  <a:pt x="2051" y="1659"/>
                  <a:pt x="2052" y="1659"/>
                </a:cubicBezTo>
                <a:cubicBezTo>
                  <a:pt x="2053" y="1657"/>
                  <a:pt x="2055" y="1656"/>
                  <a:pt x="2056" y="1655"/>
                </a:cubicBezTo>
                <a:cubicBezTo>
                  <a:pt x="2061" y="1651"/>
                  <a:pt x="2063" y="1645"/>
                  <a:pt x="2064" y="1639"/>
                </a:cubicBezTo>
                <a:cubicBezTo>
                  <a:pt x="2064" y="1638"/>
                  <a:pt x="2063" y="1638"/>
                  <a:pt x="2063" y="1637"/>
                </a:cubicBezTo>
                <a:cubicBezTo>
                  <a:pt x="2062" y="1636"/>
                  <a:pt x="2061" y="1635"/>
                  <a:pt x="2060" y="1635"/>
                </a:cubicBezTo>
                <a:close/>
                <a:moveTo>
                  <a:pt x="2013" y="1641"/>
                </a:moveTo>
                <a:cubicBezTo>
                  <a:pt x="2012" y="1642"/>
                  <a:pt x="2010" y="1642"/>
                  <a:pt x="2009" y="1644"/>
                </a:cubicBezTo>
                <a:cubicBezTo>
                  <a:pt x="2009" y="1644"/>
                  <a:pt x="2008" y="1645"/>
                  <a:pt x="2008" y="1646"/>
                </a:cubicBezTo>
                <a:cubicBezTo>
                  <a:pt x="2008" y="1648"/>
                  <a:pt x="2013" y="1653"/>
                  <a:pt x="2016" y="1652"/>
                </a:cubicBezTo>
                <a:cubicBezTo>
                  <a:pt x="2017" y="1652"/>
                  <a:pt x="2018" y="1651"/>
                  <a:pt x="2017" y="1650"/>
                </a:cubicBezTo>
                <a:cubicBezTo>
                  <a:pt x="2016" y="1646"/>
                  <a:pt x="2014" y="1644"/>
                  <a:pt x="2013" y="1641"/>
                </a:cubicBezTo>
                <a:close/>
                <a:moveTo>
                  <a:pt x="2065" y="1643"/>
                </a:moveTo>
                <a:cubicBezTo>
                  <a:pt x="2063" y="1648"/>
                  <a:pt x="2061" y="1652"/>
                  <a:pt x="2058" y="1656"/>
                </a:cubicBezTo>
                <a:cubicBezTo>
                  <a:pt x="2061" y="1656"/>
                  <a:pt x="2063" y="1657"/>
                  <a:pt x="2066" y="1656"/>
                </a:cubicBezTo>
                <a:cubicBezTo>
                  <a:pt x="2066" y="1656"/>
                  <a:pt x="2067" y="1655"/>
                  <a:pt x="2067" y="1655"/>
                </a:cubicBezTo>
                <a:cubicBezTo>
                  <a:pt x="2067" y="1652"/>
                  <a:pt x="2067" y="1650"/>
                  <a:pt x="2066" y="1647"/>
                </a:cubicBezTo>
                <a:cubicBezTo>
                  <a:pt x="2066" y="1646"/>
                  <a:pt x="2066" y="1644"/>
                  <a:pt x="2065" y="1643"/>
                </a:cubicBezTo>
                <a:close/>
                <a:moveTo>
                  <a:pt x="2013" y="1623"/>
                </a:moveTo>
                <a:cubicBezTo>
                  <a:pt x="2012" y="1623"/>
                  <a:pt x="2011" y="1623"/>
                  <a:pt x="2011" y="1623"/>
                </a:cubicBezTo>
                <a:cubicBezTo>
                  <a:pt x="2010" y="1623"/>
                  <a:pt x="2009" y="1623"/>
                  <a:pt x="2009" y="1623"/>
                </a:cubicBezTo>
                <a:cubicBezTo>
                  <a:pt x="2009" y="1623"/>
                  <a:pt x="2008" y="1622"/>
                  <a:pt x="2008" y="1621"/>
                </a:cubicBezTo>
                <a:cubicBezTo>
                  <a:pt x="2009" y="1619"/>
                  <a:pt x="2010" y="1617"/>
                  <a:pt x="2010" y="1615"/>
                </a:cubicBezTo>
                <a:cubicBezTo>
                  <a:pt x="2010" y="1615"/>
                  <a:pt x="2010" y="1615"/>
                  <a:pt x="2010" y="1615"/>
                </a:cubicBezTo>
                <a:cubicBezTo>
                  <a:pt x="2009" y="1616"/>
                  <a:pt x="2008" y="1617"/>
                  <a:pt x="2007" y="1618"/>
                </a:cubicBezTo>
                <a:cubicBezTo>
                  <a:pt x="2006" y="1619"/>
                  <a:pt x="2008" y="1624"/>
                  <a:pt x="2009" y="1625"/>
                </a:cubicBezTo>
                <a:cubicBezTo>
                  <a:pt x="2011" y="1626"/>
                  <a:pt x="2013" y="1625"/>
                  <a:pt x="2013" y="1623"/>
                </a:cubicBezTo>
                <a:close/>
                <a:moveTo>
                  <a:pt x="2013" y="1641"/>
                </a:moveTo>
                <a:cubicBezTo>
                  <a:pt x="2012" y="1641"/>
                  <a:pt x="2010" y="1642"/>
                  <a:pt x="2009" y="1643"/>
                </a:cubicBezTo>
                <a:cubicBezTo>
                  <a:pt x="2009" y="1644"/>
                  <a:pt x="2008" y="1645"/>
                  <a:pt x="2008" y="1645"/>
                </a:cubicBezTo>
                <a:cubicBezTo>
                  <a:pt x="2008" y="1648"/>
                  <a:pt x="2013" y="1653"/>
                  <a:pt x="2016" y="1652"/>
                </a:cubicBezTo>
                <a:cubicBezTo>
                  <a:pt x="2017" y="1652"/>
                  <a:pt x="2018" y="1651"/>
                  <a:pt x="2017" y="1649"/>
                </a:cubicBezTo>
                <a:cubicBezTo>
                  <a:pt x="2016" y="1646"/>
                  <a:pt x="2014" y="1643"/>
                  <a:pt x="2013" y="1641"/>
                </a:cubicBezTo>
                <a:close/>
                <a:moveTo>
                  <a:pt x="2065" y="1642"/>
                </a:moveTo>
                <a:cubicBezTo>
                  <a:pt x="2063" y="1647"/>
                  <a:pt x="2060" y="1652"/>
                  <a:pt x="2058" y="1656"/>
                </a:cubicBezTo>
                <a:cubicBezTo>
                  <a:pt x="2061" y="1656"/>
                  <a:pt x="2063" y="1656"/>
                  <a:pt x="2066" y="1656"/>
                </a:cubicBezTo>
                <a:cubicBezTo>
                  <a:pt x="2066" y="1656"/>
                  <a:pt x="2067" y="1655"/>
                  <a:pt x="2067" y="1654"/>
                </a:cubicBezTo>
                <a:cubicBezTo>
                  <a:pt x="2067" y="1652"/>
                  <a:pt x="2067" y="1649"/>
                  <a:pt x="2066" y="1647"/>
                </a:cubicBezTo>
                <a:cubicBezTo>
                  <a:pt x="2066" y="1645"/>
                  <a:pt x="2066" y="1644"/>
                  <a:pt x="2065" y="1642"/>
                </a:cubicBezTo>
                <a:close/>
                <a:moveTo>
                  <a:pt x="2012" y="1623"/>
                </a:moveTo>
                <a:cubicBezTo>
                  <a:pt x="2012" y="1623"/>
                  <a:pt x="2011" y="1623"/>
                  <a:pt x="2011" y="1623"/>
                </a:cubicBezTo>
                <a:cubicBezTo>
                  <a:pt x="2010" y="1623"/>
                  <a:pt x="2009" y="1623"/>
                  <a:pt x="2009" y="1623"/>
                </a:cubicBezTo>
                <a:cubicBezTo>
                  <a:pt x="2009" y="1623"/>
                  <a:pt x="2008" y="1622"/>
                  <a:pt x="2008" y="1621"/>
                </a:cubicBezTo>
                <a:cubicBezTo>
                  <a:pt x="2009" y="1619"/>
                  <a:pt x="2009" y="1617"/>
                  <a:pt x="2010" y="1615"/>
                </a:cubicBezTo>
                <a:cubicBezTo>
                  <a:pt x="2010" y="1615"/>
                  <a:pt x="2010" y="1615"/>
                  <a:pt x="2009" y="1615"/>
                </a:cubicBezTo>
                <a:cubicBezTo>
                  <a:pt x="2009" y="1616"/>
                  <a:pt x="2007" y="1617"/>
                  <a:pt x="2007" y="1618"/>
                </a:cubicBezTo>
                <a:cubicBezTo>
                  <a:pt x="2006" y="1619"/>
                  <a:pt x="2007" y="1624"/>
                  <a:pt x="2009" y="1625"/>
                </a:cubicBezTo>
                <a:cubicBezTo>
                  <a:pt x="2011" y="1626"/>
                  <a:pt x="2012" y="1624"/>
                  <a:pt x="2012" y="1623"/>
                </a:cubicBezTo>
                <a:close/>
                <a:moveTo>
                  <a:pt x="2065" y="1614"/>
                </a:moveTo>
                <a:cubicBezTo>
                  <a:pt x="2068" y="1611"/>
                  <a:pt x="2068" y="1611"/>
                  <a:pt x="2072" y="1609"/>
                </a:cubicBezTo>
                <a:cubicBezTo>
                  <a:pt x="2072" y="1611"/>
                  <a:pt x="2073" y="1613"/>
                  <a:pt x="2074" y="1613"/>
                </a:cubicBezTo>
                <a:cubicBezTo>
                  <a:pt x="2072" y="1614"/>
                  <a:pt x="2070" y="1615"/>
                  <a:pt x="2068" y="1617"/>
                </a:cubicBezTo>
                <a:cubicBezTo>
                  <a:pt x="2068" y="1616"/>
                  <a:pt x="2067" y="1615"/>
                  <a:pt x="2066" y="1614"/>
                </a:cubicBezTo>
                <a:cubicBezTo>
                  <a:pt x="2066" y="1614"/>
                  <a:pt x="2066" y="1614"/>
                  <a:pt x="2065" y="1614"/>
                </a:cubicBezTo>
                <a:close/>
                <a:moveTo>
                  <a:pt x="2071" y="1614"/>
                </a:moveTo>
                <a:cubicBezTo>
                  <a:pt x="2070" y="1613"/>
                  <a:pt x="2069" y="1613"/>
                  <a:pt x="2069" y="1613"/>
                </a:cubicBezTo>
                <a:cubicBezTo>
                  <a:pt x="2068" y="1613"/>
                  <a:pt x="2068" y="1614"/>
                  <a:pt x="2068" y="1614"/>
                </a:cubicBezTo>
                <a:cubicBezTo>
                  <a:pt x="2068" y="1615"/>
                  <a:pt x="2068" y="1615"/>
                  <a:pt x="2068" y="1615"/>
                </a:cubicBezTo>
                <a:cubicBezTo>
                  <a:pt x="2069" y="1615"/>
                  <a:pt x="2069" y="1615"/>
                  <a:pt x="2071" y="1614"/>
                </a:cubicBezTo>
                <a:close/>
                <a:moveTo>
                  <a:pt x="2052" y="1604"/>
                </a:moveTo>
                <a:cubicBezTo>
                  <a:pt x="2045" y="1604"/>
                  <a:pt x="2042" y="1606"/>
                  <a:pt x="2041" y="1614"/>
                </a:cubicBezTo>
                <a:cubicBezTo>
                  <a:pt x="2042" y="1612"/>
                  <a:pt x="2044" y="1609"/>
                  <a:pt x="2045" y="1607"/>
                </a:cubicBezTo>
                <a:cubicBezTo>
                  <a:pt x="2045" y="1607"/>
                  <a:pt x="2045" y="1607"/>
                  <a:pt x="2045" y="1607"/>
                </a:cubicBezTo>
                <a:cubicBezTo>
                  <a:pt x="2045" y="1608"/>
                  <a:pt x="2046" y="1609"/>
                  <a:pt x="2046" y="1610"/>
                </a:cubicBezTo>
                <a:cubicBezTo>
                  <a:pt x="2047" y="1607"/>
                  <a:pt x="2048" y="1605"/>
                  <a:pt x="2052" y="1604"/>
                </a:cubicBezTo>
                <a:close/>
                <a:moveTo>
                  <a:pt x="2096" y="1606"/>
                </a:moveTo>
                <a:cubicBezTo>
                  <a:pt x="2094" y="1607"/>
                  <a:pt x="2092" y="1609"/>
                  <a:pt x="2090" y="1610"/>
                </a:cubicBezTo>
                <a:cubicBezTo>
                  <a:pt x="2092" y="1610"/>
                  <a:pt x="2094" y="1609"/>
                  <a:pt x="2096" y="1606"/>
                </a:cubicBezTo>
                <a:close/>
                <a:moveTo>
                  <a:pt x="2062" y="1608"/>
                </a:moveTo>
                <a:cubicBezTo>
                  <a:pt x="2063" y="1607"/>
                  <a:pt x="2064" y="1605"/>
                  <a:pt x="2066" y="1604"/>
                </a:cubicBezTo>
                <a:cubicBezTo>
                  <a:pt x="2062" y="1605"/>
                  <a:pt x="2061" y="1606"/>
                  <a:pt x="2062" y="1608"/>
                </a:cubicBezTo>
                <a:close/>
                <a:moveTo>
                  <a:pt x="2072" y="1629"/>
                </a:moveTo>
                <a:cubicBezTo>
                  <a:pt x="2070" y="1629"/>
                  <a:pt x="2070" y="1630"/>
                  <a:pt x="2070" y="1631"/>
                </a:cubicBezTo>
                <a:cubicBezTo>
                  <a:pt x="2070" y="1631"/>
                  <a:pt x="2071" y="1630"/>
                  <a:pt x="2072" y="1629"/>
                </a:cubicBezTo>
                <a:close/>
                <a:moveTo>
                  <a:pt x="2071" y="1614"/>
                </a:moveTo>
                <a:cubicBezTo>
                  <a:pt x="2070" y="1613"/>
                  <a:pt x="2069" y="1613"/>
                  <a:pt x="2069" y="1613"/>
                </a:cubicBezTo>
                <a:cubicBezTo>
                  <a:pt x="2068" y="1613"/>
                  <a:pt x="2068" y="1614"/>
                  <a:pt x="2068" y="1614"/>
                </a:cubicBezTo>
                <a:cubicBezTo>
                  <a:pt x="2068" y="1615"/>
                  <a:pt x="2068" y="1615"/>
                  <a:pt x="2068" y="1616"/>
                </a:cubicBezTo>
                <a:cubicBezTo>
                  <a:pt x="2069" y="1615"/>
                  <a:pt x="2069" y="1615"/>
                  <a:pt x="2071" y="1614"/>
                </a:cubicBezTo>
                <a:close/>
                <a:moveTo>
                  <a:pt x="3705" y="1770"/>
                </a:moveTo>
                <a:cubicBezTo>
                  <a:pt x="3708" y="1751"/>
                  <a:pt x="3708" y="1751"/>
                  <a:pt x="3708" y="1751"/>
                </a:cubicBezTo>
                <a:cubicBezTo>
                  <a:pt x="3699" y="1751"/>
                  <a:pt x="3699" y="1751"/>
                  <a:pt x="3699" y="1751"/>
                </a:cubicBezTo>
                <a:cubicBezTo>
                  <a:pt x="3699" y="1739"/>
                  <a:pt x="3699" y="1739"/>
                  <a:pt x="3699" y="1739"/>
                </a:cubicBezTo>
                <a:cubicBezTo>
                  <a:pt x="3710" y="1739"/>
                  <a:pt x="3710" y="1739"/>
                  <a:pt x="3710" y="1739"/>
                </a:cubicBezTo>
                <a:cubicBezTo>
                  <a:pt x="3712" y="1728"/>
                  <a:pt x="3712" y="1728"/>
                  <a:pt x="3712" y="1728"/>
                </a:cubicBezTo>
                <a:cubicBezTo>
                  <a:pt x="3702" y="1728"/>
                  <a:pt x="3702" y="1728"/>
                  <a:pt x="3702" y="1728"/>
                </a:cubicBezTo>
                <a:cubicBezTo>
                  <a:pt x="3702" y="1716"/>
                  <a:pt x="3702" y="1716"/>
                  <a:pt x="3702" y="1716"/>
                </a:cubicBezTo>
                <a:cubicBezTo>
                  <a:pt x="3713" y="1716"/>
                  <a:pt x="3713" y="1716"/>
                  <a:pt x="3713" y="1716"/>
                </a:cubicBezTo>
                <a:cubicBezTo>
                  <a:pt x="3716" y="1698"/>
                  <a:pt x="3716" y="1698"/>
                  <a:pt x="3716" y="1698"/>
                </a:cubicBezTo>
                <a:cubicBezTo>
                  <a:pt x="3728" y="1698"/>
                  <a:pt x="3728" y="1698"/>
                  <a:pt x="3728" y="1698"/>
                </a:cubicBezTo>
                <a:cubicBezTo>
                  <a:pt x="3725" y="1716"/>
                  <a:pt x="3725" y="1716"/>
                  <a:pt x="3725" y="1716"/>
                </a:cubicBezTo>
                <a:cubicBezTo>
                  <a:pt x="3734" y="1716"/>
                  <a:pt x="3734" y="1716"/>
                  <a:pt x="3734" y="1716"/>
                </a:cubicBezTo>
                <a:cubicBezTo>
                  <a:pt x="3737" y="1698"/>
                  <a:pt x="3737" y="1698"/>
                  <a:pt x="3737" y="1698"/>
                </a:cubicBezTo>
                <a:cubicBezTo>
                  <a:pt x="3749" y="1698"/>
                  <a:pt x="3749" y="1698"/>
                  <a:pt x="3749" y="1698"/>
                </a:cubicBezTo>
                <a:cubicBezTo>
                  <a:pt x="3745" y="1716"/>
                  <a:pt x="3745" y="1716"/>
                  <a:pt x="3745" y="1716"/>
                </a:cubicBezTo>
                <a:cubicBezTo>
                  <a:pt x="3754" y="1716"/>
                  <a:pt x="3754" y="1716"/>
                  <a:pt x="3754" y="1716"/>
                </a:cubicBezTo>
                <a:cubicBezTo>
                  <a:pt x="3754" y="1728"/>
                  <a:pt x="3754" y="1728"/>
                  <a:pt x="3754" y="1728"/>
                </a:cubicBezTo>
                <a:cubicBezTo>
                  <a:pt x="3744" y="1728"/>
                  <a:pt x="3744" y="1728"/>
                  <a:pt x="3744" y="1728"/>
                </a:cubicBezTo>
                <a:cubicBezTo>
                  <a:pt x="3742" y="1739"/>
                  <a:pt x="3742" y="1739"/>
                  <a:pt x="3742" y="1739"/>
                </a:cubicBezTo>
                <a:cubicBezTo>
                  <a:pt x="3751" y="1739"/>
                  <a:pt x="3751" y="1739"/>
                  <a:pt x="3751" y="1739"/>
                </a:cubicBezTo>
                <a:cubicBezTo>
                  <a:pt x="3751" y="1751"/>
                  <a:pt x="3751" y="1751"/>
                  <a:pt x="3751" y="1751"/>
                </a:cubicBezTo>
                <a:cubicBezTo>
                  <a:pt x="3740" y="1751"/>
                  <a:pt x="3740" y="1751"/>
                  <a:pt x="3740" y="1751"/>
                </a:cubicBezTo>
                <a:cubicBezTo>
                  <a:pt x="3738" y="1770"/>
                  <a:pt x="3738" y="1770"/>
                  <a:pt x="3738" y="1770"/>
                </a:cubicBezTo>
                <a:cubicBezTo>
                  <a:pt x="3726" y="1770"/>
                  <a:pt x="3726" y="1770"/>
                  <a:pt x="3726" y="1770"/>
                </a:cubicBezTo>
                <a:cubicBezTo>
                  <a:pt x="3729" y="1751"/>
                  <a:pt x="3729" y="1751"/>
                  <a:pt x="3729" y="1751"/>
                </a:cubicBezTo>
                <a:cubicBezTo>
                  <a:pt x="3719" y="1751"/>
                  <a:pt x="3719" y="1751"/>
                  <a:pt x="3719" y="1751"/>
                </a:cubicBezTo>
                <a:cubicBezTo>
                  <a:pt x="3716" y="1770"/>
                  <a:pt x="3716" y="1770"/>
                  <a:pt x="3716" y="1770"/>
                </a:cubicBezTo>
                <a:cubicBezTo>
                  <a:pt x="3705" y="1770"/>
                  <a:pt x="3705" y="1770"/>
                  <a:pt x="3705" y="1770"/>
                </a:cubicBezTo>
                <a:cubicBezTo>
                  <a:pt x="3705" y="1770"/>
                  <a:pt x="3705" y="1770"/>
                  <a:pt x="3705" y="1770"/>
                </a:cubicBezTo>
                <a:close/>
                <a:moveTo>
                  <a:pt x="3731" y="1739"/>
                </a:moveTo>
                <a:cubicBezTo>
                  <a:pt x="3732" y="1728"/>
                  <a:pt x="3732" y="1728"/>
                  <a:pt x="3732" y="1728"/>
                </a:cubicBezTo>
                <a:cubicBezTo>
                  <a:pt x="3723" y="1728"/>
                  <a:pt x="3723" y="1728"/>
                  <a:pt x="3723" y="1728"/>
                </a:cubicBezTo>
                <a:cubicBezTo>
                  <a:pt x="3721" y="1739"/>
                  <a:pt x="3721" y="1739"/>
                  <a:pt x="3721" y="1739"/>
                </a:cubicBezTo>
                <a:cubicBezTo>
                  <a:pt x="3731" y="1739"/>
                  <a:pt x="3731" y="1739"/>
                  <a:pt x="3731" y="1739"/>
                </a:cubicBezTo>
                <a:cubicBezTo>
                  <a:pt x="3731" y="1739"/>
                  <a:pt x="3731" y="1739"/>
                  <a:pt x="3731" y="1739"/>
                </a:cubicBezTo>
                <a:close/>
                <a:moveTo>
                  <a:pt x="2590" y="1744"/>
                </a:moveTo>
                <a:cubicBezTo>
                  <a:pt x="2590" y="1746"/>
                  <a:pt x="2591" y="1747"/>
                  <a:pt x="2592" y="1748"/>
                </a:cubicBezTo>
                <a:cubicBezTo>
                  <a:pt x="2592" y="1750"/>
                  <a:pt x="2592" y="1752"/>
                  <a:pt x="2593" y="1753"/>
                </a:cubicBezTo>
                <a:cubicBezTo>
                  <a:pt x="2593" y="1755"/>
                  <a:pt x="2593" y="1757"/>
                  <a:pt x="2593" y="1758"/>
                </a:cubicBezTo>
                <a:cubicBezTo>
                  <a:pt x="2594" y="1761"/>
                  <a:pt x="2593" y="1763"/>
                  <a:pt x="2590" y="1763"/>
                </a:cubicBezTo>
                <a:cubicBezTo>
                  <a:pt x="2587" y="1763"/>
                  <a:pt x="2584" y="1763"/>
                  <a:pt x="2581" y="1763"/>
                </a:cubicBezTo>
                <a:cubicBezTo>
                  <a:pt x="2581" y="1763"/>
                  <a:pt x="2580" y="1763"/>
                  <a:pt x="2580" y="1763"/>
                </a:cubicBezTo>
                <a:cubicBezTo>
                  <a:pt x="2578" y="1765"/>
                  <a:pt x="2577" y="1766"/>
                  <a:pt x="2575" y="1767"/>
                </a:cubicBezTo>
                <a:cubicBezTo>
                  <a:pt x="2573" y="1770"/>
                  <a:pt x="2570" y="1770"/>
                  <a:pt x="2568" y="1768"/>
                </a:cubicBezTo>
                <a:cubicBezTo>
                  <a:pt x="2566" y="1766"/>
                  <a:pt x="2565" y="1763"/>
                  <a:pt x="2563" y="1761"/>
                </a:cubicBezTo>
                <a:cubicBezTo>
                  <a:pt x="2562" y="1759"/>
                  <a:pt x="2563" y="1757"/>
                  <a:pt x="2565" y="1756"/>
                </a:cubicBezTo>
                <a:cubicBezTo>
                  <a:pt x="2562" y="1756"/>
                  <a:pt x="2561" y="1756"/>
                  <a:pt x="2559" y="1756"/>
                </a:cubicBezTo>
                <a:cubicBezTo>
                  <a:pt x="2559" y="1758"/>
                  <a:pt x="2557" y="1760"/>
                  <a:pt x="2557" y="1762"/>
                </a:cubicBezTo>
                <a:cubicBezTo>
                  <a:pt x="2557" y="1763"/>
                  <a:pt x="2556" y="1763"/>
                  <a:pt x="2556" y="1764"/>
                </a:cubicBezTo>
                <a:cubicBezTo>
                  <a:pt x="2556" y="1767"/>
                  <a:pt x="2555" y="1769"/>
                  <a:pt x="2552" y="1768"/>
                </a:cubicBezTo>
                <a:cubicBezTo>
                  <a:pt x="2549" y="1768"/>
                  <a:pt x="2546" y="1767"/>
                  <a:pt x="2543" y="1766"/>
                </a:cubicBezTo>
                <a:cubicBezTo>
                  <a:pt x="2541" y="1765"/>
                  <a:pt x="2541" y="1764"/>
                  <a:pt x="2541" y="1762"/>
                </a:cubicBezTo>
                <a:cubicBezTo>
                  <a:pt x="2541" y="1761"/>
                  <a:pt x="2541" y="1760"/>
                  <a:pt x="2542" y="1760"/>
                </a:cubicBezTo>
                <a:cubicBezTo>
                  <a:pt x="2539" y="1759"/>
                  <a:pt x="2537" y="1758"/>
                  <a:pt x="2535" y="1757"/>
                </a:cubicBezTo>
                <a:cubicBezTo>
                  <a:pt x="2534" y="1756"/>
                  <a:pt x="2533" y="1754"/>
                  <a:pt x="2532" y="1752"/>
                </a:cubicBezTo>
                <a:cubicBezTo>
                  <a:pt x="2531" y="1750"/>
                  <a:pt x="2531" y="1749"/>
                  <a:pt x="2533" y="1747"/>
                </a:cubicBezTo>
                <a:cubicBezTo>
                  <a:pt x="2536" y="1745"/>
                  <a:pt x="2537" y="1742"/>
                  <a:pt x="2536" y="1738"/>
                </a:cubicBezTo>
                <a:cubicBezTo>
                  <a:pt x="2536" y="1736"/>
                  <a:pt x="2536" y="1734"/>
                  <a:pt x="2536" y="1732"/>
                </a:cubicBezTo>
                <a:cubicBezTo>
                  <a:pt x="2535" y="1731"/>
                  <a:pt x="2533" y="1731"/>
                  <a:pt x="2532" y="1730"/>
                </a:cubicBezTo>
                <a:cubicBezTo>
                  <a:pt x="2531" y="1728"/>
                  <a:pt x="2530" y="1726"/>
                  <a:pt x="2530" y="1724"/>
                </a:cubicBezTo>
                <a:cubicBezTo>
                  <a:pt x="2530" y="1721"/>
                  <a:pt x="2533" y="1719"/>
                  <a:pt x="2536" y="1718"/>
                </a:cubicBezTo>
                <a:cubicBezTo>
                  <a:pt x="2537" y="1719"/>
                  <a:pt x="2537" y="1719"/>
                  <a:pt x="2537" y="1720"/>
                </a:cubicBezTo>
                <a:cubicBezTo>
                  <a:pt x="2537" y="1721"/>
                  <a:pt x="2537" y="1722"/>
                  <a:pt x="2537" y="1723"/>
                </a:cubicBezTo>
                <a:cubicBezTo>
                  <a:pt x="2537" y="1723"/>
                  <a:pt x="2536" y="1723"/>
                  <a:pt x="2536" y="1723"/>
                </a:cubicBezTo>
                <a:cubicBezTo>
                  <a:pt x="2535" y="1724"/>
                  <a:pt x="2535" y="1725"/>
                  <a:pt x="2534" y="1727"/>
                </a:cubicBezTo>
                <a:cubicBezTo>
                  <a:pt x="2535" y="1727"/>
                  <a:pt x="2536" y="1727"/>
                  <a:pt x="2537" y="1727"/>
                </a:cubicBezTo>
                <a:cubicBezTo>
                  <a:pt x="2538" y="1725"/>
                  <a:pt x="2539" y="1725"/>
                  <a:pt x="2539" y="1723"/>
                </a:cubicBezTo>
                <a:cubicBezTo>
                  <a:pt x="2544" y="1717"/>
                  <a:pt x="2550" y="1713"/>
                  <a:pt x="2557" y="1711"/>
                </a:cubicBezTo>
                <a:cubicBezTo>
                  <a:pt x="2561" y="1711"/>
                  <a:pt x="2564" y="1710"/>
                  <a:pt x="2566" y="1707"/>
                </a:cubicBezTo>
                <a:cubicBezTo>
                  <a:pt x="2566" y="1706"/>
                  <a:pt x="2567" y="1706"/>
                  <a:pt x="2567" y="1706"/>
                </a:cubicBezTo>
                <a:cubicBezTo>
                  <a:pt x="2570" y="1706"/>
                  <a:pt x="2572" y="1703"/>
                  <a:pt x="2573" y="1701"/>
                </a:cubicBezTo>
                <a:cubicBezTo>
                  <a:pt x="2581" y="1694"/>
                  <a:pt x="2593" y="1693"/>
                  <a:pt x="2601" y="1700"/>
                </a:cubicBezTo>
                <a:cubicBezTo>
                  <a:pt x="2603" y="1702"/>
                  <a:pt x="2606" y="1704"/>
                  <a:pt x="2608" y="1706"/>
                </a:cubicBezTo>
                <a:cubicBezTo>
                  <a:pt x="2610" y="1707"/>
                  <a:pt x="2611" y="1709"/>
                  <a:pt x="2612" y="1711"/>
                </a:cubicBezTo>
                <a:cubicBezTo>
                  <a:pt x="2613" y="1712"/>
                  <a:pt x="2613" y="1712"/>
                  <a:pt x="2615" y="1711"/>
                </a:cubicBezTo>
                <a:cubicBezTo>
                  <a:pt x="2615" y="1711"/>
                  <a:pt x="2616" y="1710"/>
                  <a:pt x="2617" y="1709"/>
                </a:cubicBezTo>
                <a:cubicBezTo>
                  <a:pt x="2619" y="1706"/>
                  <a:pt x="2622" y="1706"/>
                  <a:pt x="2623" y="1710"/>
                </a:cubicBezTo>
                <a:cubicBezTo>
                  <a:pt x="2624" y="1713"/>
                  <a:pt x="2625" y="1715"/>
                  <a:pt x="2626" y="1719"/>
                </a:cubicBezTo>
                <a:cubicBezTo>
                  <a:pt x="2626" y="1723"/>
                  <a:pt x="2626" y="1727"/>
                  <a:pt x="2624" y="1732"/>
                </a:cubicBezTo>
                <a:cubicBezTo>
                  <a:pt x="2622" y="1738"/>
                  <a:pt x="2617" y="1742"/>
                  <a:pt x="2611" y="1742"/>
                </a:cubicBezTo>
                <a:cubicBezTo>
                  <a:pt x="2610" y="1742"/>
                  <a:pt x="2610" y="1742"/>
                  <a:pt x="2609" y="1742"/>
                </a:cubicBezTo>
                <a:cubicBezTo>
                  <a:pt x="2606" y="1741"/>
                  <a:pt x="2605" y="1742"/>
                  <a:pt x="2604" y="1744"/>
                </a:cubicBezTo>
                <a:cubicBezTo>
                  <a:pt x="2603" y="1748"/>
                  <a:pt x="2597" y="1750"/>
                  <a:pt x="2594" y="1747"/>
                </a:cubicBezTo>
                <a:cubicBezTo>
                  <a:pt x="2593" y="1746"/>
                  <a:pt x="2592" y="1745"/>
                  <a:pt x="2591" y="1744"/>
                </a:cubicBezTo>
                <a:cubicBezTo>
                  <a:pt x="2590" y="1744"/>
                  <a:pt x="2590" y="1744"/>
                  <a:pt x="2590" y="1744"/>
                </a:cubicBezTo>
                <a:close/>
                <a:moveTo>
                  <a:pt x="2584" y="1740"/>
                </a:moveTo>
                <a:cubicBezTo>
                  <a:pt x="2588" y="1741"/>
                  <a:pt x="2592" y="1742"/>
                  <a:pt x="2594" y="1745"/>
                </a:cubicBezTo>
                <a:cubicBezTo>
                  <a:pt x="2596" y="1747"/>
                  <a:pt x="2598" y="1748"/>
                  <a:pt x="2600" y="1747"/>
                </a:cubicBezTo>
                <a:cubicBezTo>
                  <a:pt x="2602" y="1746"/>
                  <a:pt x="2604" y="1744"/>
                  <a:pt x="2604" y="1741"/>
                </a:cubicBezTo>
                <a:cubicBezTo>
                  <a:pt x="2604" y="1741"/>
                  <a:pt x="2603" y="1741"/>
                  <a:pt x="2603" y="1742"/>
                </a:cubicBezTo>
                <a:cubicBezTo>
                  <a:pt x="2602" y="1743"/>
                  <a:pt x="2601" y="1744"/>
                  <a:pt x="2601" y="1745"/>
                </a:cubicBezTo>
                <a:cubicBezTo>
                  <a:pt x="2599" y="1746"/>
                  <a:pt x="2598" y="1746"/>
                  <a:pt x="2597" y="1746"/>
                </a:cubicBezTo>
                <a:cubicBezTo>
                  <a:pt x="2597" y="1746"/>
                  <a:pt x="2596" y="1744"/>
                  <a:pt x="2596" y="1744"/>
                </a:cubicBezTo>
                <a:cubicBezTo>
                  <a:pt x="2596" y="1741"/>
                  <a:pt x="2597" y="1739"/>
                  <a:pt x="2597" y="1737"/>
                </a:cubicBezTo>
                <a:cubicBezTo>
                  <a:pt x="2600" y="1738"/>
                  <a:pt x="2603" y="1739"/>
                  <a:pt x="2607" y="1740"/>
                </a:cubicBezTo>
                <a:cubicBezTo>
                  <a:pt x="2614" y="1741"/>
                  <a:pt x="2620" y="1739"/>
                  <a:pt x="2623" y="1731"/>
                </a:cubicBezTo>
                <a:cubicBezTo>
                  <a:pt x="2625" y="1726"/>
                  <a:pt x="2624" y="1721"/>
                  <a:pt x="2624" y="1716"/>
                </a:cubicBezTo>
                <a:cubicBezTo>
                  <a:pt x="2623" y="1714"/>
                  <a:pt x="2622" y="1712"/>
                  <a:pt x="2622" y="1710"/>
                </a:cubicBezTo>
                <a:cubicBezTo>
                  <a:pt x="2621" y="1709"/>
                  <a:pt x="2620" y="1708"/>
                  <a:pt x="2619" y="1710"/>
                </a:cubicBezTo>
                <a:cubicBezTo>
                  <a:pt x="2617" y="1712"/>
                  <a:pt x="2615" y="1713"/>
                  <a:pt x="2613" y="1714"/>
                </a:cubicBezTo>
                <a:cubicBezTo>
                  <a:pt x="2613" y="1714"/>
                  <a:pt x="2612" y="1715"/>
                  <a:pt x="2612" y="1716"/>
                </a:cubicBezTo>
                <a:cubicBezTo>
                  <a:pt x="2613" y="1719"/>
                  <a:pt x="2612" y="1723"/>
                  <a:pt x="2611" y="1726"/>
                </a:cubicBezTo>
                <a:cubicBezTo>
                  <a:pt x="2611" y="1724"/>
                  <a:pt x="2612" y="1722"/>
                  <a:pt x="2612" y="1720"/>
                </a:cubicBezTo>
                <a:cubicBezTo>
                  <a:pt x="2612" y="1719"/>
                  <a:pt x="2611" y="1719"/>
                  <a:pt x="2611" y="1719"/>
                </a:cubicBezTo>
                <a:cubicBezTo>
                  <a:pt x="2610" y="1719"/>
                  <a:pt x="2610" y="1719"/>
                  <a:pt x="2610" y="1719"/>
                </a:cubicBezTo>
                <a:cubicBezTo>
                  <a:pt x="2609" y="1721"/>
                  <a:pt x="2608" y="1722"/>
                  <a:pt x="2607" y="1723"/>
                </a:cubicBezTo>
                <a:cubicBezTo>
                  <a:pt x="2607" y="1723"/>
                  <a:pt x="2607" y="1723"/>
                  <a:pt x="2607" y="1723"/>
                </a:cubicBezTo>
                <a:cubicBezTo>
                  <a:pt x="2607" y="1722"/>
                  <a:pt x="2608" y="1720"/>
                  <a:pt x="2608" y="1718"/>
                </a:cubicBezTo>
                <a:cubicBezTo>
                  <a:pt x="2607" y="1719"/>
                  <a:pt x="2606" y="1719"/>
                  <a:pt x="2606" y="1720"/>
                </a:cubicBezTo>
                <a:cubicBezTo>
                  <a:pt x="2605" y="1720"/>
                  <a:pt x="2605" y="1721"/>
                  <a:pt x="2604" y="1722"/>
                </a:cubicBezTo>
                <a:cubicBezTo>
                  <a:pt x="2605" y="1718"/>
                  <a:pt x="2605" y="1718"/>
                  <a:pt x="2611" y="1717"/>
                </a:cubicBezTo>
                <a:cubicBezTo>
                  <a:pt x="2611" y="1717"/>
                  <a:pt x="2610" y="1716"/>
                  <a:pt x="2610" y="1716"/>
                </a:cubicBezTo>
                <a:cubicBezTo>
                  <a:pt x="2607" y="1717"/>
                  <a:pt x="2606" y="1715"/>
                  <a:pt x="2606" y="1713"/>
                </a:cubicBezTo>
                <a:cubicBezTo>
                  <a:pt x="2608" y="1712"/>
                  <a:pt x="2609" y="1712"/>
                  <a:pt x="2611" y="1712"/>
                </a:cubicBezTo>
                <a:cubicBezTo>
                  <a:pt x="2609" y="1709"/>
                  <a:pt x="2608" y="1706"/>
                  <a:pt x="2604" y="1706"/>
                </a:cubicBezTo>
                <a:cubicBezTo>
                  <a:pt x="2604" y="1706"/>
                  <a:pt x="2604" y="1706"/>
                  <a:pt x="2604" y="1705"/>
                </a:cubicBezTo>
                <a:cubicBezTo>
                  <a:pt x="2601" y="1703"/>
                  <a:pt x="2599" y="1701"/>
                  <a:pt x="2596" y="1699"/>
                </a:cubicBezTo>
                <a:cubicBezTo>
                  <a:pt x="2594" y="1698"/>
                  <a:pt x="2591" y="1697"/>
                  <a:pt x="2589" y="1697"/>
                </a:cubicBezTo>
                <a:cubicBezTo>
                  <a:pt x="2586" y="1697"/>
                  <a:pt x="2582" y="1698"/>
                  <a:pt x="2579" y="1699"/>
                </a:cubicBezTo>
                <a:cubicBezTo>
                  <a:pt x="2577" y="1700"/>
                  <a:pt x="2574" y="1702"/>
                  <a:pt x="2572" y="1705"/>
                </a:cubicBezTo>
                <a:cubicBezTo>
                  <a:pt x="2574" y="1705"/>
                  <a:pt x="2575" y="1705"/>
                  <a:pt x="2576" y="1705"/>
                </a:cubicBezTo>
                <a:cubicBezTo>
                  <a:pt x="2576" y="1706"/>
                  <a:pt x="2575" y="1706"/>
                  <a:pt x="2574" y="1706"/>
                </a:cubicBezTo>
                <a:cubicBezTo>
                  <a:pt x="2572" y="1707"/>
                  <a:pt x="2569" y="1706"/>
                  <a:pt x="2567" y="1708"/>
                </a:cubicBezTo>
                <a:cubicBezTo>
                  <a:pt x="2564" y="1712"/>
                  <a:pt x="2560" y="1716"/>
                  <a:pt x="2556" y="1720"/>
                </a:cubicBezTo>
                <a:cubicBezTo>
                  <a:pt x="2555" y="1722"/>
                  <a:pt x="2554" y="1725"/>
                  <a:pt x="2553" y="1727"/>
                </a:cubicBezTo>
                <a:cubicBezTo>
                  <a:pt x="2553" y="1727"/>
                  <a:pt x="2553" y="1728"/>
                  <a:pt x="2553" y="1729"/>
                </a:cubicBezTo>
                <a:cubicBezTo>
                  <a:pt x="2554" y="1731"/>
                  <a:pt x="2555" y="1733"/>
                  <a:pt x="2557" y="1734"/>
                </a:cubicBezTo>
                <a:cubicBezTo>
                  <a:pt x="2558" y="1733"/>
                  <a:pt x="2559" y="1731"/>
                  <a:pt x="2561" y="1730"/>
                </a:cubicBezTo>
                <a:cubicBezTo>
                  <a:pt x="2560" y="1731"/>
                  <a:pt x="2560" y="1733"/>
                  <a:pt x="2559" y="1734"/>
                </a:cubicBezTo>
                <a:cubicBezTo>
                  <a:pt x="2558" y="1735"/>
                  <a:pt x="2557" y="1736"/>
                  <a:pt x="2557" y="1738"/>
                </a:cubicBezTo>
                <a:cubicBezTo>
                  <a:pt x="2557" y="1739"/>
                  <a:pt x="2557" y="1740"/>
                  <a:pt x="2557" y="1741"/>
                </a:cubicBezTo>
                <a:cubicBezTo>
                  <a:pt x="2560" y="1744"/>
                  <a:pt x="2563" y="1744"/>
                  <a:pt x="2567" y="1742"/>
                </a:cubicBezTo>
                <a:cubicBezTo>
                  <a:pt x="2569" y="1741"/>
                  <a:pt x="2572" y="1740"/>
                  <a:pt x="2575" y="1739"/>
                </a:cubicBezTo>
                <a:cubicBezTo>
                  <a:pt x="2576" y="1738"/>
                  <a:pt x="2577" y="1738"/>
                  <a:pt x="2577" y="1736"/>
                </a:cubicBezTo>
                <a:cubicBezTo>
                  <a:pt x="2577" y="1733"/>
                  <a:pt x="2577" y="1729"/>
                  <a:pt x="2577" y="1726"/>
                </a:cubicBezTo>
                <a:cubicBezTo>
                  <a:pt x="2577" y="1723"/>
                  <a:pt x="2577" y="1720"/>
                  <a:pt x="2577" y="1717"/>
                </a:cubicBezTo>
                <a:cubicBezTo>
                  <a:pt x="2578" y="1720"/>
                  <a:pt x="2579" y="1723"/>
                  <a:pt x="2579" y="1725"/>
                </a:cubicBezTo>
                <a:cubicBezTo>
                  <a:pt x="2580" y="1730"/>
                  <a:pt x="2580" y="1734"/>
                  <a:pt x="2579" y="1738"/>
                </a:cubicBezTo>
                <a:cubicBezTo>
                  <a:pt x="2578" y="1739"/>
                  <a:pt x="2577" y="1740"/>
                  <a:pt x="2577" y="1740"/>
                </a:cubicBezTo>
                <a:cubicBezTo>
                  <a:pt x="2573" y="1740"/>
                  <a:pt x="2570" y="1742"/>
                  <a:pt x="2567" y="1744"/>
                </a:cubicBezTo>
                <a:cubicBezTo>
                  <a:pt x="2562" y="1747"/>
                  <a:pt x="2559" y="1745"/>
                  <a:pt x="2555" y="1741"/>
                </a:cubicBezTo>
                <a:cubicBezTo>
                  <a:pt x="2555" y="1741"/>
                  <a:pt x="2555" y="1740"/>
                  <a:pt x="2555" y="1739"/>
                </a:cubicBezTo>
                <a:cubicBezTo>
                  <a:pt x="2556" y="1737"/>
                  <a:pt x="2555" y="1735"/>
                  <a:pt x="2553" y="1733"/>
                </a:cubicBezTo>
                <a:cubicBezTo>
                  <a:pt x="2552" y="1731"/>
                  <a:pt x="2550" y="1729"/>
                  <a:pt x="2552" y="1726"/>
                </a:cubicBezTo>
                <a:cubicBezTo>
                  <a:pt x="2552" y="1724"/>
                  <a:pt x="2553" y="1722"/>
                  <a:pt x="2554" y="1721"/>
                </a:cubicBezTo>
                <a:cubicBezTo>
                  <a:pt x="2556" y="1718"/>
                  <a:pt x="2558" y="1715"/>
                  <a:pt x="2560" y="1713"/>
                </a:cubicBezTo>
                <a:cubicBezTo>
                  <a:pt x="2560" y="1713"/>
                  <a:pt x="2559" y="1713"/>
                  <a:pt x="2559" y="1713"/>
                </a:cubicBezTo>
                <a:cubicBezTo>
                  <a:pt x="2554" y="1714"/>
                  <a:pt x="2550" y="1715"/>
                  <a:pt x="2546" y="1719"/>
                </a:cubicBezTo>
                <a:cubicBezTo>
                  <a:pt x="2541" y="1723"/>
                  <a:pt x="2538" y="1728"/>
                  <a:pt x="2538" y="1735"/>
                </a:cubicBezTo>
                <a:cubicBezTo>
                  <a:pt x="2537" y="1742"/>
                  <a:pt x="2540" y="1748"/>
                  <a:pt x="2543" y="1753"/>
                </a:cubicBezTo>
                <a:cubicBezTo>
                  <a:pt x="2544" y="1754"/>
                  <a:pt x="2544" y="1756"/>
                  <a:pt x="2544" y="1757"/>
                </a:cubicBezTo>
                <a:cubicBezTo>
                  <a:pt x="2544" y="1759"/>
                  <a:pt x="2544" y="1760"/>
                  <a:pt x="2543" y="1761"/>
                </a:cubicBezTo>
                <a:cubicBezTo>
                  <a:pt x="2542" y="1763"/>
                  <a:pt x="2543" y="1764"/>
                  <a:pt x="2544" y="1765"/>
                </a:cubicBezTo>
                <a:cubicBezTo>
                  <a:pt x="2547" y="1765"/>
                  <a:pt x="2550" y="1766"/>
                  <a:pt x="2553" y="1766"/>
                </a:cubicBezTo>
                <a:cubicBezTo>
                  <a:pt x="2553" y="1766"/>
                  <a:pt x="2554" y="1765"/>
                  <a:pt x="2554" y="1765"/>
                </a:cubicBezTo>
                <a:cubicBezTo>
                  <a:pt x="2555" y="1764"/>
                  <a:pt x="2555" y="1762"/>
                  <a:pt x="2555" y="1761"/>
                </a:cubicBezTo>
                <a:cubicBezTo>
                  <a:pt x="2557" y="1759"/>
                  <a:pt x="2557" y="1756"/>
                  <a:pt x="2557" y="1753"/>
                </a:cubicBezTo>
                <a:cubicBezTo>
                  <a:pt x="2557" y="1753"/>
                  <a:pt x="2557" y="1753"/>
                  <a:pt x="2557" y="1752"/>
                </a:cubicBezTo>
                <a:cubicBezTo>
                  <a:pt x="2557" y="1752"/>
                  <a:pt x="2557" y="1752"/>
                  <a:pt x="2557" y="1752"/>
                </a:cubicBezTo>
                <a:cubicBezTo>
                  <a:pt x="2558" y="1754"/>
                  <a:pt x="2559" y="1754"/>
                  <a:pt x="2561" y="1754"/>
                </a:cubicBezTo>
                <a:cubicBezTo>
                  <a:pt x="2562" y="1754"/>
                  <a:pt x="2563" y="1754"/>
                  <a:pt x="2564" y="1754"/>
                </a:cubicBezTo>
                <a:cubicBezTo>
                  <a:pt x="2566" y="1754"/>
                  <a:pt x="2570" y="1755"/>
                  <a:pt x="2570" y="1751"/>
                </a:cubicBezTo>
                <a:cubicBezTo>
                  <a:pt x="2570" y="1753"/>
                  <a:pt x="2570" y="1755"/>
                  <a:pt x="2570" y="1755"/>
                </a:cubicBezTo>
                <a:cubicBezTo>
                  <a:pt x="2569" y="1756"/>
                  <a:pt x="2568" y="1757"/>
                  <a:pt x="2566" y="1757"/>
                </a:cubicBezTo>
                <a:cubicBezTo>
                  <a:pt x="2565" y="1758"/>
                  <a:pt x="2564" y="1760"/>
                  <a:pt x="2565" y="1761"/>
                </a:cubicBezTo>
                <a:cubicBezTo>
                  <a:pt x="2566" y="1763"/>
                  <a:pt x="2568" y="1765"/>
                  <a:pt x="2569" y="1767"/>
                </a:cubicBezTo>
                <a:cubicBezTo>
                  <a:pt x="2571" y="1768"/>
                  <a:pt x="2573" y="1768"/>
                  <a:pt x="2574" y="1766"/>
                </a:cubicBezTo>
                <a:cubicBezTo>
                  <a:pt x="2575" y="1765"/>
                  <a:pt x="2575" y="1765"/>
                  <a:pt x="2576" y="1764"/>
                </a:cubicBezTo>
                <a:cubicBezTo>
                  <a:pt x="2578" y="1763"/>
                  <a:pt x="2579" y="1761"/>
                  <a:pt x="2581" y="1760"/>
                </a:cubicBezTo>
                <a:cubicBezTo>
                  <a:pt x="2585" y="1756"/>
                  <a:pt x="2587" y="1750"/>
                  <a:pt x="2589" y="1744"/>
                </a:cubicBezTo>
                <a:cubicBezTo>
                  <a:pt x="2589" y="1744"/>
                  <a:pt x="2588" y="1743"/>
                  <a:pt x="2588" y="1742"/>
                </a:cubicBezTo>
                <a:cubicBezTo>
                  <a:pt x="2587" y="1741"/>
                  <a:pt x="2586" y="1740"/>
                  <a:pt x="2584" y="1740"/>
                </a:cubicBezTo>
                <a:close/>
                <a:moveTo>
                  <a:pt x="2537" y="1746"/>
                </a:moveTo>
                <a:cubicBezTo>
                  <a:pt x="2537" y="1747"/>
                  <a:pt x="2535" y="1748"/>
                  <a:pt x="2534" y="1749"/>
                </a:cubicBezTo>
                <a:cubicBezTo>
                  <a:pt x="2533" y="1749"/>
                  <a:pt x="2533" y="1750"/>
                  <a:pt x="2533" y="1751"/>
                </a:cubicBezTo>
                <a:cubicBezTo>
                  <a:pt x="2533" y="1753"/>
                  <a:pt x="2537" y="1758"/>
                  <a:pt x="2541" y="1757"/>
                </a:cubicBezTo>
                <a:cubicBezTo>
                  <a:pt x="2542" y="1757"/>
                  <a:pt x="2543" y="1756"/>
                  <a:pt x="2542" y="1755"/>
                </a:cubicBezTo>
                <a:cubicBezTo>
                  <a:pt x="2541" y="1752"/>
                  <a:pt x="2539" y="1749"/>
                  <a:pt x="2537" y="1746"/>
                </a:cubicBezTo>
                <a:close/>
                <a:moveTo>
                  <a:pt x="2590" y="1748"/>
                </a:moveTo>
                <a:cubicBezTo>
                  <a:pt x="2588" y="1753"/>
                  <a:pt x="2585" y="1757"/>
                  <a:pt x="2583" y="1761"/>
                </a:cubicBezTo>
                <a:cubicBezTo>
                  <a:pt x="2586" y="1761"/>
                  <a:pt x="2588" y="1762"/>
                  <a:pt x="2591" y="1761"/>
                </a:cubicBezTo>
                <a:cubicBezTo>
                  <a:pt x="2591" y="1761"/>
                  <a:pt x="2592" y="1760"/>
                  <a:pt x="2592" y="1760"/>
                </a:cubicBezTo>
                <a:cubicBezTo>
                  <a:pt x="2592" y="1757"/>
                  <a:pt x="2592" y="1755"/>
                  <a:pt x="2591" y="1752"/>
                </a:cubicBezTo>
                <a:cubicBezTo>
                  <a:pt x="2591" y="1751"/>
                  <a:pt x="2590" y="1750"/>
                  <a:pt x="2590" y="1748"/>
                </a:cubicBezTo>
                <a:close/>
                <a:moveTo>
                  <a:pt x="2537" y="1728"/>
                </a:moveTo>
                <a:cubicBezTo>
                  <a:pt x="2537" y="1728"/>
                  <a:pt x="2536" y="1729"/>
                  <a:pt x="2535" y="1729"/>
                </a:cubicBezTo>
                <a:cubicBezTo>
                  <a:pt x="2535" y="1729"/>
                  <a:pt x="2534" y="1729"/>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37" y="1746"/>
                </a:moveTo>
                <a:cubicBezTo>
                  <a:pt x="2536" y="1746"/>
                  <a:pt x="2535" y="1747"/>
                  <a:pt x="2534" y="1748"/>
                </a:cubicBezTo>
                <a:cubicBezTo>
                  <a:pt x="2533" y="1749"/>
                  <a:pt x="2533" y="1750"/>
                  <a:pt x="2533" y="1750"/>
                </a:cubicBezTo>
                <a:cubicBezTo>
                  <a:pt x="2533" y="1753"/>
                  <a:pt x="2537" y="1758"/>
                  <a:pt x="2540" y="1757"/>
                </a:cubicBezTo>
                <a:cubicBezTo>
                  <a:pt x="2542" y="1757"/>
                  <a:pt x="2543" y="1756"/>
                  <a:pt x="2542" y="1754"/>
                </a:cubicBezTo>
                <a:cubicBezTo>
                  <a:pt x="2540" y="1751"/>
                  <a:pt x="2539" y="1748"/>
                  <a:pt x="2537" y="1746"/>
                </a:cubicBezTo>
                <a:close/>
                <a:moveTo>
                  <a:pt x="2590" y="1748"/>
                </a:moveTo>
                <a:cubicBezTo>
                  <a:pt x="2587" y="1752"/>
                  <a:pt x="2585" y="1757"/>
                  <a:pt x="2583" y="1761"/>
                </a:cubicBezTo>
                <a:cubicBezTo>
                  <a:pt x="2585" y="1761"/>
                  <a:pt x="2588" y="1761"/>
                  <a:pt x="2591" y="1761"/>
                </a:cubicBezTo>
                <a:cubicBezTo>
                  <a:pt x="2591" y="1761"/>
                  <a:pt x="2591" y="1760"/>
                  <a:pt x="2591" y="1759"/>
                </a:cubicBezTo>
                <a:cubicBezTo>
                  <a:pt x="2591" y="1757"/>
                  <a:pt x="2591" y="1754"/>
                  <a:pt x="2591" y="1752"/>
                </a:cubicBezTo>
                <a:cubicBezTo>
                  <a:pt x="2591" y="1750"/>
                  <a:pt x="2590" y="1749"/>
                  <a:pt x="2590" y="1748"/>
                </a:cubicBezTo>
                <a:close/>
                <a:moveTo>
                  <a:pt x="2537" y="1728"/>
                </a:moveTo>
                <a:cubicBezTo>
                  <a:pt x="2536" y="1728"/>
                  <a:pt x="2536" y="1728"/>
                  <a:pt x="2535" y="1728"/>
                </a:cubicBezTo>
                <a:cubicBezTo>
                  <a:pt x="2535" y="1728"/>
                  <a:pt x="2534" y="1728"/>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89" y="1719"/>
                </a:moveTo>
                <a:cubicBezTo>
                  <a:pt x="2593" y="1716"/>
                  <a:pt x="2593" y="1716"/>
                  <a:pt x="2597" y="1714"/>
                </a:cubicBezTo>
                <a:cubicBezTo>
                  <a:pt x="2597" y="1716"/>
                  <a:pt x="2598" y="1718"/>
                  <a:pt x="2600" y="1718"/>
                </a:cubicBezTo>
                <a:cubicBezTo>
                  <a:pt x="2597" y="1719"/>
                  <a:pt x="2595" y="1720"/>
                  <a:pt x="2593" y="1722"/>
                </a:cubicBezTo>
                <a:cubicBezTo>
                  <a:pt x="2592" y="1721"/>
                  <a:pt x="2592" y="1720"/>
                  <a:pt x="2591" y="1719"/>
                </a:cubicBezTo>
                <a:cubicBezTo>
                  <a:pt x="2591" y="1719"/>
                  <a:pt x="2590" y="1719"/>
                  <a:pt x="2589" y="1719"/>
                </a:cubicBezTo>
                <a:close/>
                <a:moveTo>
                  <a:pt x="2596" y="1719"/>
                </a:moveTo>
                <a:cubicBezTo>
                  <a:pt x="2595" y="1718"/>
                  <a:pt x="2594" y="1718"/>
                  <a:pt x="2593" y="1718"/>
                </a:cubicBezTo>
                <a:cubicBezTo>
                  <a:pt x="2593" y="1718"/>
                  <a:pt x="2592" y="1719"/>
                  <a:pt x="2592" y="1719"/>
                </a:cubicBezTo>
                <a:cubicBezTo>
                  <a:pt x="2592" y="1720"/>
                  <a:pt x="2593" y="1720"/>
                  <a:pt x="2593" y="1720"/>
                </a:cubicBezTo>
                <a:cubicBezTo>
                  <a:pt x="2594" y="1720"/>
                  <a:pt x="2594" y="1720"/>
                  <a:pt x="2596" y="1719"/>
                </a:cubicBezTo>
                <a:close/>
                <a:moveTo>
                  <a:pt x="2576" y="1709"/>
                </a:moveTo>
                <a:cubicBezTo>
                  <a:pt x="2570" y="1709"/>
                  <a:pt x="2567" y="1711"/>
                  <a:pt x="2566" y="1719"/>
                </a:cubicBezTo>
                <a:cubicBezTo>
                  <a:pt x="2567" y="1717"/>
                  <a:pt x="2568" y="1714"/>
                  <a:pt x="2569" y="1712"/>
                </a:cubicBezTo>
                <a:cubicBezTo>
                  <a:pt x="2570" y="1712"/>
                  <a:pt x="2570" y="1712"/>
                  <a:pt x="2570" y="1712"/>
                </a:cubicBezTo>
                <a:cubicBezTo>
                  <a:pt x="2570" y="1713"/>
                  <a:pt x="2570" y="1714"/>
                  <a:pt x="2570" y="1715"/>
                </a:cubicBezTo>
                <a:cubicBezTo>
                  <a:pt x="2571" y="1712"/>
                  <a:pt x="2573" y="1710"/>
                  <a:pt x="2576" y="1709"/>
                </a:cubicBezTo>
                <a:close/>
                <a:moveTo>
                  <a:pt x="2620" y="1711"/>
                </a:moveTo>
                <a:cubicBezTo>
                  <a:pt x="2618" y="1712"/>
                  <a:pt x="2616" y="1714"/>
                  <a:pt x="2615" y="1715"/>
                </a:cubicBezTo>
                <a:cubicBezTo>
                  <a:pt x="2617" y="1715"/>
                  <a:pt x="2619" y="1714"/>
                  <a:pt x="2620" y="1711"/>
                </a:cubicBezTo>
                <a:close/>
                <a:moveTo>
                  <a:pt x="2587" y="1713"/>
                </a:moveTo>
                <a:cubicBezTo>
                  <a:pt x="2588" y="1712"/>
                  <a:pt x="2589" y="1710"/>
                  <a:pt x="2590" y="1709"/>
                </a:cubicBezTo>
                <a:cubicBezTo>
                  <a:pt x="2587" y="1710"/>
                  <a:pt x="2587" y="1711"/>
                  <a:pt x="2587" y="1713"/>
                </a:cubicBezTo>
                <a:close/>
                <a:moveTo>
                  <a:pt x="2597" y="1734"/>
                </a:moveTo>
                <a:cubicBezTo>
                  <a:pt x="2595" y="1735"/>
                  <a:pt x="2594" y="1736"/>
                  <a:pt x="2594" y="1737"/>
                </a:cubicBezTo>
                <a:cubicBezTo>
                  <a:pt x="2595" y="1736"/>
                  <a:pt x="2596" y="1735"/>
                  <a:pt x="2597" y="1734"/>
                </a:cubicBezTo>
                <a:close/>
                <a:moveTo>
                  <a:pt x="2596" y="1719"/>
                </a:moveTo>
                <a:cubicBezTo>
                  <a:pt x="2595" y="1719"/>
                  <a:pt x="2594" y="1718"/>
                  <a:pt x="2594" y="1718"/>
                </a:cubicBezTo>
                <a:cubicBezTo>
                  <a:pt x="2593" y="1718"/>
                  <a:pt x="2592" y="1719"/>
                  <a:pt x="2592" y="1719"/>
                </a:cubicBezTo>
                <a:cubicBezTo>
                  <a:pt x="2592" y="1720"/>
                  <a:pt x="2593" y="1720"/>
                  <a:pt x="2593" y="1721"/>
                </a:cubicBezTo>
                <a:cubicBezTo>
                  <a:pt x="2594" y="1720"/>
                  <a:pt x="2594" y="1720"/>
                  <a:pt x="2596" y="1719"/>
                </a:cubicBezTo>
                <a:close/>
                <a:moveTo>
                  <a:pt x="3249" y="1697"/>
                </a:moveTo>
                <a:cubicBezTo>
                  <a:pt x="3249" y="1697"/>
                  <a:pt x="3249" y="1697"/>
                  <a:pt x="3249" y="1697"/>
                </a:cubicBezTo>
                <a:cubicBezTo>
                  <a:pt x="3244" y="1697"/>
                  <a:pt x="3244" y="1697"/>
                  <a:pt x="3244" y="1697"/>
                </a:cubicBezTo>
                <a:cubicBezTo>
                  <a:pt x="3242" y="1698"/>
                  <a:pt x="3241" y="1700"/>
                  <a:pt x="3239" y="1700"/>
                </a:cubicBezTo>
                <a:cubicBezTo>
                  <a:pt x="3237" y="1702"/>
                  <a:pt x="3236" y="1702"/>
                  <a:pt x="3233" y="1703"/>
                </a:cubicBezTo>
                <a:cubicBezTo>
                  <a:pt x="3232" y="1705"/>
                  <a:pt x="3230" y="1705"/>
                  <a:pt x="3228" y="1706"/>
                </a:cubicBezTo>
                <a:cubicBezTo>
                  <a:pt x="3226" y="1707"/>
                  <a:pt x="3225" y="1708"/>
                  <a:pt x="3223" y="1708"/>
                </a:cubicBezTo>
                <a:cubicBezTo>
                  <a:pt x="3223" y="1708"/>
                  <a:pt x="3223" y="1708"/>
                  <a:pt x="3223" y="1718"/>
                </a:cubicBezTo>
                <a:cubicBezTo>
                  <a:pt x="3225" y="1717"/>
                  <a:pt x="3228" y="1716"/>
                  <a:pt x="3231" y="1715"/>
                </a:cubicBezTo>
                <a:cubicBezTo>
                  <a:pt x="3233" y="1714"/>
                  <a:pt x="3236" y="1713"/>
                  <a:pt x="3238" y="1711"/>
                </a:cubicBezTo>
                <a:cubicBezTo>
                  <a:pt x="3238" y="1711"/>
                  <a:pt x="3238" y="1711"/>
                  <a:pt x="3238" y="1770"/>
                </a:cubicBezTo>
                <a:cubicBezTo>
                  <a:pt x="3238" y="1770"/>
                  <a:pt x="3238" y="1770"/>
                  <a:pt x="3249" y="1770"/>
                </a:cubicBezTo>
                <a:cubicBezTo>
                  <a:pt x="3249" y="1770"/>
                  <a:pt x="3249" y="1770"/>
                  <a:pt x="3249" y="1697"/>
                </a:cubicBezTo>
                <a:close/>
                <a:moveTo>
                  <a:pt x="3297" y="1697"/>
                </a:moveTo>
                <a:cubicBezTo>
                  <a:pt x="3297" y="1697"/>
                  <a:pt x="3297" y="1697"/>
                  <a:pt x="3297" y="1697"/>
                </a:cubicBezTo>
                <a:cubicBezTo>
                  <a:pt x="3292" y="1697"/>
                  <a:pt x="3292" y="1697"/>
                  <a:pt x="3292" y="1697"/>
                </a:cubicBezTo>
                <a:cubicBezTo>
                  <a:pt x="3290" y="1698"/>
                  <a:pt x="3288" y="1700"/>
                  <a:pt x="3286" y="1700"/>
                </a:cubicBezTo>
                <a:cubicBezTo>
                  <a:pt x="3285" y="1702"/>
                  <a:pt x="3282" y="1702"/>
                  <a:pt x="3281" y="1703"/>
                </a:cubicBezTo>
                <a:cubicBezTo>
                  <a:pt x="3280" y="1705"/>
                  <a:pt x="3277" y="1705"/>
                  <a:pt x="3276" y="1706"/>
                </a:cubicBezTo>
                <a:cubicBezTo>
                  <a:pt x="3274" y="1707"/>
                  <a:pt x="3272" y="1708"/>
                  <a:pt x="3270" y="1708"/>
                </a:cubicBezTo>
                <a:cubicBezTo>
                  <a:pt x="3270" y="1708"/>
                  <a:pt x="3270" y="1708"/>
                  <a:pt x="3270" y="1718"/>
                </a:cubicBezTo>
                <a:cubicBezTo>
                  <a:pt x="3273" y="1717"/>
                  <a:pt x="3276" y="1716"/>
                  <a:pt x="3278" y="1715"/>
                </a:cubicBezTo>
                <a:cubicBezTo>
                  <a:pt x="3281" y="1714"/>
                  <a:pt x="3283" y="1713"/>
                  <a:pt x="3285" y="1711"/>
                </a:cubicBezTo>
                <a:cubicBezTo>
                  <a:pt x="3285" y="1711"/>
                  <a:pt x="3285" y="1711"/>
                  <a:pt x="3285" y="1770"/>
                </a:cubicBezTo>
                <a:cubicBezTo>
                  <a:pt x="3285" y="1770"/>
                  <a:pt x="3285" y="1770"/>
                  <a:pt x="3297" y="1770"/>
                </a:cubicBezTo>
                <a:cubicBezTo>
                  <a:pt x="3297" y="1770"/>
                  <a:pt x="3297" y="1770"/>
                  <a:pt x="3297" y="1697"/>
                </a:cubicBezTo>
                <a:close/>
                <a:moveTo>
                  <a:pt x="3344" y="1697"/>
                </a:moveTo>
                <a:cubicBezTo>
                  <a:pt x="3344" y="1697"/>
                  <a:pt x="3344" y="1697"/>
                  <a:pt x="3344" y="1697"/>
                </a:cubicBezTo>
                <a:cubicBezTo>
                  <a:pt x="3339" y="1697"/>
                  <a:pt x="3339" y="1697"/>
                  <a:pt x="3339" y="1697"/>
                </a:cubicBezTo>
                <a:cubicBezTo>
                  <a:pt x="3337" y="1698"/>
                  <a:pt x="3336" y="1700"/>
                  <a:pt x="3333" y="1700"/>
                </a:cubicBezTo>
                <a:cubicBezTo>
                  <a:pt x="3332" y="1702"/>
                  <a:pt x="3330" y="1702"/>
                  <a:pt x="3328" y="1703"/>
                </a:cubicBezTo>
                <a:cubicBezTo>
                  <a:pt x="3326" y="1704"/>
                  <a:pt x="3325" y="1705"/>
                  <a:pt x="3323" y="1705"/>
                </a:cubicBezTo>
                <a:cubicBezTo>
                  <a:pt x="3321" y="1706"/>
                  <a:pt x="3319" y="1707"/>
                  <a:pt x="3318" y="1708"/>
                </a:cubicBezTo>
                <a:cubicBezTo>
                  <a:pt x="3318" y="1708"/>
                  <a:pt x="3318" y="1708"/>
                  <a:pt x="3318" y="1718"/>
                </a:cubicBezTo>
                <a:cubicBezTo>
                  <a:pt x="3320" y="1717"/>
                  <a:pt x="3323" y="1716"/>
                  <a:pt x="3326" y="1715"/>
                </a:cubicBezTo>
                <a:cubicBezTo>
                  <a:pt x="3328" y="1714"/>
                  <a:pt x="3331" y="1713"/>
                  <a:pt x="3332" y="1711"/>
                </a:cubicBezTo>
                <a:cubicBezTo>
                  <a:pt x="3332" y="1711"/>
                  <a:pt x="3332" y="1711"/>
                  <a:pt x="3332" y="1770"/>
                </a:cubicBezTo>
                <a:cubicBezTo>
                  <a:pt x="3332" y="1770"/>
                  <a:pt x="3332" y="1770"/>
                  <a:pt x="3344" y="1770"/>
                </a:cubicBezTo>
                <a:cubicBezTo>
                  <a:pt x="3344" y="1770"/>
                  <a:pt x="3344" y="1770"/>
                  <a:pt x="3344" y="1697"/>
                </a:cubicBezTo>
                <a:close/>
                <a:moveTo>
                  <a:pt x="3554" y="1592"/>
                </a:moveTo>
                <a:cubicBezTo>
                  <a:pt x="3554" y="1592"/>
                  <a:pt x="3554" y="1592"/>
                  <a:pt x="3554" y="1592"/>
                </a:cubicBezTo>
                <a:cubicBezTo>
                  <a:pt x="3549" y="1592"/>
                  <a:pt x="3549" y="1592"/>
                  <a:pt x="3549" y="1592"/>
                </a:cubicBezTo>
                <a:cubicBezTo>
                  <a:pt x="3547" y="1593"/>
                  <a:pt x="3546" y="1594"/>
                  <a:pt x="3543" y="1595"/>
                </a:cubicBezTo>
                <a:cubicBezTo>
                  <a:pt x="3542" y="1597"/>
                  <a:pt x="3540" y="1597"/>
                  <a:pt x="3538" y="1598"/>
                </a:cubicBezTo>
                <a:cubicBezTo>
                  <a:pt x="3536" y="1599"/>
                  <a:pt x="3535" y="1600"/>
                  <a:pt x="3533" y="1600"/>
                </a:cubicBezTo>
                <a:cubicBezTo>
                  <a:pt x="3531" y="1601"/>
                  <a:pt x="3530" y="1602"/>
                  <a:pt x="3527" y="1602"/>
                </a:cubicBezTo>
                <a:cubicBezTo>
                  <a:pt x="3527" y="1602"/>
                  <a:pt x="3527" y="1602"/>
                  <a:pt x="3527" y="1613"/>
                </a:cubicBezTo>
                <a:cubicBezTo>
                  <a:pt x="3530" y="1612"/>
                  <a:pt x="3533" y="1610"/>
                  <a:pt x="3535" y="1610"/>
                </a:cubicBezTo>
                <a:cubicBezTo>
                  <a:pt x="3538" y="1609"/>
                  <a:pt x="3540" y="1608"/>
                  <a:pt x="3543" y="1606"/>
                </a:cubicBezTo>
                <a:cubicBezTo>
                  <a:pt x="3543" y="1606"/>
                  <a:pt x="3543" y="1606"/>
                  <a:pt x="3543" y="1665"/>
                </a:cubicBezTo>
                <a:cubicBezTo>
                  <a:pt x="3543" y="1665"/>
                  <a:pt x="3543" y="1665"/>
                  <a:pt x="3554" y="1665"/>
                </a:cubicBezTo>
                <a:cubicBezTo>
                  <a:pt x="3554" y="1665"/>
                  <a:pt x="3554" y="1665"/>
                  <a:pt x="3554" y="1592"/>
                </a:cubicBezTo>
                <a:close/>
                <a:moveTo>
                  <a:pt x="3601" y="1592"/>
                </a:moveTo>
                <a:cubicBezTo>
                  <a:pt x="3601" y="1592"/>
                  <a:pt x="3601" y="1592"/>
                  <a:pt x="3601" y="1592"/>
                </a:cubicBezTo>
                <a:cubicBezTo>
                  <a:pt x="3596" y="1592"/>
                  <a:pt x="3596" y="1592"/>
                  <a:pt x="3596" y="1592"/>
                </a:cubicBezTo>
                <a:cubicBezTo>
                  <a:pt x="3594" y="1593"/>
                  <a:pt x="3592" y="1594"/>
                  <a:pt x="3590" y="1595"/>
                </a:cubicBezTo>
                <a:cubicBezTo>
                  <a:pt x="3588" y="1597"/>
                  <a:pt x="3586" y="1597"/>
                  <a:pt x="3585" y="1598"/>
                </a:cubicBezTo>
                <a:cubicBezTo>
                  <a:pt x="3583" y="1600"/>
                  <a:pt x="3581" y="1600"/>
                  <a:pt x="3580" y="1601"/>
                </a:cubicBezTo>
                <a:cubicBezTo>
                  <a:pt x="3578" y="1602"/>
                  <a:pt x="3576" y="1602"/>
                  <a:pt x="3574" y="1602"/>
                </a:cubicBezTo>
                <a:cubicBezTo>
                  <a:pt x="3574" y="1602"/>
                  <a:pt x="3574" y="1602"/>
                  <a:pt x="3574" y="1613"/>
                </a:cubicBezTo>
                <a:cubicBezTo>
                  <a:pt x="3577" y="1612"/>
                  <a:pt x="3580" y="1611"/>
                  <a:pt x="3582" y="1610"/>
                </a:cubicBezTo>
                <a:cubicBezTo>
                  <a:pt x="3585" y="1609"/>
                  <a:pt x="3587" y="1608"/>
                  <a:pt x="3589" y="1606"/>
                </a:cubicBezTo>
                <a:cubicBezTo>
                  <a:pt x="3589" y="1606"/>
                  <a:pt x="3589" y="1606"/>
                  <a:pt x="3589" y="1665"/>
                </a:cubicBezTo>
                <a:cubicBezTo>
                  <a:pt x="3589" y="1665"/>
                  <a:pt x="3589" y="1665"/>
                  <a:pt x="3601" y="1665"/>
                </a:cubicBezTo>
                <a:cubicBezTo>
                  <a:pt x="3601" y="1665"/>
                  <a:pt x="3601" y="1665"/>
                  <a:pt x="3601" y="1592"/>
                </a:cubicBezTo>
                <a:close/>
                <a:moveTo>
                  <a:pt x="3646" y="1592"/>
                </a:moveTo>
                <a:cubicBezTo>
                  <a:pt x="3646" y="1592"/>
                  <a:pt x="3646" y="1592"/>
                  <a:pt x="3646" y="1592"/>
                </a:cubicBezTo>
                <a:cubicBezTo>
                  <a:pt x="3642" y="1592"/>
                  <a:pt x="3642" y="1592"/>
                  <a:pt x="3642" y="1592"/>
                </a:cubicBezTo>
                <a:cubicBezTo>
                  <a:pt x="3640" y="1593"/>
                  <a:pt x="3638" y="1594"/>
                  <a:pt x="3636" y="1595"/>
                </a:cubicBezTo>
                <a:cubicBezTo>
                  <a:pt x="3635" y="1597"/>
                  <a:pt x="3633" y="1597"/>
                  <a:pt x="3631" y="1598"/>
                </a:cubicBezTo>
                <a:cubicBezTo>
                  <a:pt x="3629" y="1600"/>
                  <a:pt x="3628" y="1600"/>
                  <a:pt x="3626" y="1601"/>
                </a:cubicBezTo>
                <a:cubicBezTo>
                  <a:pt x="3624" y="1602"/>
                  <a:pt x="3622" y="1602"/>
                  <a:pt x="3620" y="1602"/>
                </a:cubicBezTo>
                <a:cubicBezTo>
                  <a:pt x="3620" y="1602"/>
                  <a:pt x="3620" y="1602"/>
                  <a:pt x="3620" y="1613"/>
                </a:cubicBezTo>
                <a:cubicBezTo>
                  <a:pt x="3623" y="1612"/>
                  <a:pt x="3626" y="1611"/>
                  <a:pt x="3628" y="1610"/>
                </a:cubicBezTo>
                <a:cubicBezTo>
                  <a:pt x="3631" y="1609"/>
                  <a:pt x="3633" y="1608"/>
                  <a:pt x="3635" y="1606"/>
                </a:cubicBezTo>
                <a:cubicBezTo>
                  <a:pt x="3635" y="1606"/>
                  <a:pt x="3635" y="1606"/>
                  <a:pt x="3635" y="1665"/>
                </a:cubicBezTo>
                <a:cubicBezTo>
                  <a:pt x="3635" y="1665"/>
                  <a:pt x="3635" y="1665"/>
                  <a:pt x="3646" y="1665"/>
                </a:cubicBezTo>
                <a:cubicBezTo>
                  <a:pt x="3646" y="1665"/>
                  <a:pt x="3646" y="1665"/>
                  <a:pt x="3646" y="1592"/>
                </a:cubicBezTo>
                <a:close/>
                <a:moveTo>
                  <a:pt x="3693" y="1592"/>
                </a:moveTo>
                <a:cubicBezTo>
                  <a:pt x="3693" y="1592"/>
                  <a:pt x="3693" y="1592"/>
                  <a:pt x="3693" y="1592"/>
                </a:cubicBezTo>
                <a:cubicBezTo>
                  <a:pt x="3688" y="1592"/>
                  <a:pt x="3688" y="1592"/>
                  <a:pt x="3688" y="1592"/>
                </a:cubicBezTo>
                <a:cubicBezTo>
                  <a:pt x="3686" y="1593"/>
                  <a:pt x="3685" y="1594"/>
                  <a:pt x="3682" y="1595"/>
                </a:cubicBezTo>
                <a:cubicBezTo>
                  <a:pt x="3681" y="1597"/>
                  <a:pt x="3679" y="1597"/>
                  <a:pt x="3677" y="1598"/>
                </a:cubicBezTo>
                <a:cubicBezTo>
                  <a:pt x="3676" y="1600"/>
                  <a:pt x="3673" y="1600"/>
                  <a:pt x="3672" y="1601"/>
                </a:cubicBezTo>
                <a:cubicBezTo>
                  <a:pt x="3670" y="1602"/>
                  <a:pt x="3668" y="1602"/>
                  <a:pt x="3666" y="1602"/>
                </a:cubicBezTo>
                <a:cubicBezTo>
                  <a:pt x="3666" y="1602"/>
                  <a:pt x="3666" y="1602"/>
                  <a:pt x="3666" y="1613"/>
                </a:cubicBezTo>
                <a:cubicBezTo>
                  <a:pt x="3669" y="1612"/>
                  <a:pt x="3672" y="1611"/>
                  <a:pt x="3674" y="1610"/>
                </a:cubicBezTo>
                <a:cubicBezTo>
                  <a:pt x="3677" y="1609"/>
                  <a:pt x="3679" y="1608"/>
                  <a:pt x="3682" y="1606"/>
                </a:cubicBezTo>
                <a:cubicBezTo>
                  <a:pt x="3682" y="1606"/>
                  <a:pt x="3682" y="1606"/>
                  <a:pt x="3682" y="1665"/>
                </a:cubicBezTo>
                <a:cubicBezTo>
                  <a:pt x="3682" y="1665"/>
                  <a:pt x="3682" y="1665"/>
                  <a:pt x="3693" y="1665"/>
                </a:cubicBezTo>
                <a:cubicBezTo>
                  <a:pt x="3693" y="1665"/>
                  <a:pt x="3693" y="1665"/>
                  <a:pt x="3693" y="1592"/>
                </a:cubicBezTo>
                <a:close/>
                <a:moveTo>
                  <a:pt x="3815" y="1592"/>
                </a:moveTo>
                <a:cubicBezTo>
                  <a:pt x="3815" y="1592"/>
                  <a:pt x="3815" y="1592"/>
                  <a:pt x="3815" y="1592"/>
                </a:cubicBezTo>
                <a:cubicBezTo>
                  <a:pt x="3810" y="1592"/>
                  <a:pt x="3810" y="1592"/>
                  <a:pt x="3810" y="1592"/>
                </a:cubicBezTo>
                <a:cubicBezTo>
                  <a:pt x="3808" y="1593"/>
                  <a:pt x="3806" y="1594"/>
                  <a:pt x="3804" y="1595"/>
                </a:cubicBezTo>
                <a:cubicBezTo>
                  <a:pt x="3803" y="1597"/>
                  <a:pt x="3801" y="1597"/>
                  <a:pt x="3799" y="1598"/>
                </a:cubicBezTo>
                <a:cubicBezTo>
                  <a:pt x="3797" y="1600"/>
                  <a:pt x="3795" y="1600"/>
                  <a:pt x="3794" y="1601"/>
                </a:cubicBezTo>
                <a:cubicBezTo>
                  <a:pt x="3792" y="1602"/>
                  <a:pt x="3790" y="1602"/>
                  <a:pt x="3788" y="1602"/>
                </a:cubicBezTo>
                <a:cubicBezTo>
                  <a:pt x="3788" y="1602"/>
                  <a:pt x="3788" y="1602"/>
                  <a:pt x="3788" y="1613"/>
                </a:cubicBezTo>
                <a:cubicBezTo>
                  <a:pt x="3791" y="1612"/>
                  <a:pt x="3794" y="1611"/>
                  <a:pt x="3797" y="1610"/>
                </a:cubicBezTo>
                <a:cubicBezTo>
                  <a:pt x="3799" y="1609"/>
                  <a:pt x="3801" y="1608"/>
                  <a:pt x="3803" y="1606"/>
                </a:cubicBezTo>
                <a:cubicBezTo>
                  <a:pt x="3803" y="1606"/>
                  <a:pt x="3803" y="1606"/>
                  <a:pt x="3803" y="1665"/>
                </a:cubicBezTo>
                <a:cubicBezTo>
                  <a:pt x="3803" y="1665"/>
                  <a:pt x="3803" y="1665"/>
                  <a:pt x="3815" y="1665"/>
                </a:cubicBezTo>
                <a:cubicBezTo>
                  <a:pt x="3815" y="1665"/>
                  <a:pt x="3815" y="1665"/>
                  <a:pt x="3815" y="1592"/>
                </a:cubicBezTo>
                <a:close/>
                <a:moveTo>
                  <a:pt x="3861" y="1592"/>
                </a:moveTo>
                <a:cubicBezTo>
                  <a:pt x="3861" y="1592"/>
                  <a:pt x="3861" y="1592"/>
                  <a:pt x="3861" y="1592"/>
                </a:cubicBezTo>
                <a:cubicBezTo>
                  <a:pt x="3856" y="1592"/>
                  <a:pt x="3856" y="1592"/>
                  <a:pt x="3856" y="1592"/>
                </a:cubicBezTo>
                <a:cubicBezTo>
                  <a:pt x="3854" y="1593"/>
                  <a:pt x="3853" y="1594"/>
                  <a:pt x="3851" y="1595"/>
                </a:cubicBezTo>
                <a:cubicBezTo>
                  <a:pt x="3849" y="1597"/>
                  <a:pt x="3847" y="1597"/>
                  <a:pt x="3845" y="1598"/>
                </a:cubicBezTo>
                <a:cubicBezTo>
                  <a:pt x="3844" y="1600"/>
                  <a:pt x="3842" y="1600"/>
                  <a:pt x="3840" y="1601"/>
                </a:cubicBezTo>
                <a:cubicBezTo>
                  <a:pt x="3838" y="1602"/>
                  <a:pt x="3837" y="1602"/>
                  <a:pt x="3835" y="1602"/>
                </a:cubicBezTo>
                <a:cubicBezTo>
                  <a:pt x="3835" y="1602"/>
                  <a:pt x="3835" y="1602"/>
                  <a:pt x="3835" y="1613"/>
                </a:cubicBezTo>
                <a:cubicBezTo>
                  <a:pt x="3837" y="1612"/>
                  <a:pt x="3840" y="1611"/>
                  <a:pt x="3843" y="1610"/>
                </a:cubicBezTo>
                <a:cubicBezTo>
                  <a:pt x="3845" y="1609"/>
                  <a:pt x="3848" y="1608"/>
                  <a:pt x="3850" y="1606"/>
                </a:cubicBezTo>
                <a:cubicBezTo>
                  <a:pt x="3850" y="1606"/>
                  <a:pt x="3850" y="1606"/>
                  <a:pt x="3850" y="1665"/>
                </a:cubicBezTo>
                <a:cubicBezTo>
                  <a:pt x="3850" y="1665"/>
                  <a:pt x="3850" y="1665"/>
                  <a:pt x="3861" y="1665"/>
                </a:cubicBezTo>
                <a:cubicBezTo>
                  <a:pt x="3861" y="1665"/>
                  <a:pt x="3861" y="1665"/>
                  <a:pt x="3861" y="1592"/>
                </a:cubicBezTo>
                <a:close/>
                <a:moveTo>
                  <a:pt x="3714" y="1624"/>
                </a:moveTo>
                <a:cubicBezTo>
                  <a:pt x="3714" y="1624"/>
                  <a:pt x="3714" y="1624"/>
                  <a:pt x="3714" y="1624"/>
                </a:cubicBezTo>
                <a:cubicBezTo>
                  <a:pt x="3713" y="1632"/>
                  <a:pt x="3713" y="1632"/>
                  <a:pt x="3713" y="1632"/>
                </a:cubicBezTo>
                <a:cubicBezTo>
                  <a:pt x="3719" y="1632"/>
                  <a:pt x="3720" y="1635"/>
                  <a:pt x="3720" y="1638"/>
                </a:cubicBezTo>
                <a:cubicBezTo>
                  <a:pt x="3720" y="1640"/>
                  <a:pt x="3720" y="1643"/>
                  <a:pt x="3720" y="1645"/>
                </a:cubicBezTo>
                <a:cubicBezTo>
                  <a:pt x="3719" y="1648"/>
                  <a:pt x="3719" y="1650"/>
                  <a:pt x="3719" y="1652"/>
                </a:cubicBezTo>
                <a:cubicBezTo>
                  <a:pt x="3719" y="1662"/>
                  <a:pt x="3725" y="1665"/>
                  <a:pt x="3733" y="1665"/>
                </a:cubicBezTo>
                <a:cubicBezTo>
                  <a:pt x="3733" y="1665"/>
                  <a:pt x="3733" y="1665"/>
                  <a:pt x="3737" y="1665"/>
                </a:cubicBezTo>
                <a:cubicBezTo>
                  <a:pt x="3737" y="1665"/>
                  <a:pt x="3737" y="1665"/>
                  <a:pt x="3737" y="1656"/>
                </a:cubicBezTo>
                <a:cubicBezTo>
                  <a:pt x="3737" y="1656"/>
                  <a:pt x="3737" y="1656"/>
                  <a:pt x="3736" y="1656"/>
                </a:cubicBezTo>
                <a:cubicBezTo>
                  <a:pt x="3732" y="1656"/>
                  <a:pt x="3731" y="1653"/>
                  <a:pt x="3731" y="1650"/>
                </a:cubicBezTo>
                <a:cubicBezTo>
                  <a:pt x="3731" y="1649"/>
                  <a:pt x="3731" y="1647"/>
                  <a:pt x="3731" y="1645"/>
                </a:cubicBezTo>
                <a:cubicBezTo>
                  <a:pt x="3731" y="1644"/>
                  <a:pt x="3732" y="1641"/>
                  <a:pt x="3732" y="1639"/>
                </a:cubicBezTo>
                <a:cubicBezTo>
                  <a:pt x="3732" y="1632"/>
                  <a:pt x="3729" y="1629"/>
                  <a:pt x="3723" y="1628"/>
                </a:cubicBezTo>
                <a:cubicBezTo>
                  <a:pt x="3723" y="1628"/>
                  <a:pt x="3723" y="1628"/>
                  <a:pt x="3723" y="1628"/>
                </a:cubicBezTo>
                <a:cubicBezTo>
                  <a:pt x="3729" y="1626"/>
                  <a:pt x="3732" y="1624"/>
                  <a:pt x="3732" y="1617"/>
                </a:cubicBezTo>
                <a:cubicBezTo>
                  <a:pt x="3732" y="1614"/>
                  <a:pt x="3731" y="1612"/>
                  <a:pt x="3731" y="1610"/>
                </a:cubicBezTo>
                <a:cubicBezTo>
                  <a:pt x="3731" y="1609"/>
                  <a:pt x="3731" y="1607"/>
                  <a:pt x="3731" y="1606"/>
                </a:cubicBezTo>
                <a:cubicBezTo>
                  <a:pt x="3731" y="1602"/>
                  <a:pt x="3732" y="1600"/>
                  <a:pt x="3736" y="1600"/>
                </a:cubicBezTo>
                <a:cubicBezTo>
                  <a:pt x="3736" y="1600"/>
                  <a:pt x="3736" y="1600"/>
                  <a:pt x="3737" y="1600"/>
                </a:cubicBezTo>
                <a:cubicBezTo>
                  <a:pt x="3737" y="1600"/>
                  <a:pt x="3737" y="1600"/>
                  <a:pt x="3737" y="1591"/>
                </a:cubicBezTo>
                <a:cubicBezTo>
                  <a:pt x="3737" y="1591"/>
                  <a:pt x="3737" y="1591"/>
                  <a:pt x="3733" y="1591"/>
                </a:cubicBezTo>
                <a:cubicBezTo>
                  <a:pt x="3725" y="1591"/>
                  <a:pt x="3719" y="1595"/>
                  <a:pt x="3719" y="1603"/>
                </a:cubicBezTo>
                <a:cubicBezTo>
                  <a:pt x="3719" y="1606"/>
                  <a:pt x="3719" y="1608"/>
                  <a:pt x="3719" y="1611"/>
                </a:cubicBezTo>
                <a:cubicBezTo>
                  <a:pt x="3720" y="1613"/>
                  <a:pt x="3720" y="1616"/>
                  <a:pt x="3720" y="1618"/>
                </a:cubicBezTo>
                <a:cubicBezTo>
                  <a:pt x="3720" y="1620"/>
                  <a:pt x="3719" y="1624"/>
                  <a:pt x="3714" y="1624"/>
                </a:cubicBezTo>
                <a:close/>
                <a:moveTo>
                  <a:pt x="3768" y="1632"/>
                </a:moveTo>
                <a:cubicBezTo>
                  <a:pt x="3768" y="1632"/>
                  <a:pt x="3768" y="1632"/>
                  <a:pt x="3768" y="1632"/>
                </a:cubicBezTo>
                <a:cubicBezTo>
                  <a:pt x="3768" y="1624"/>
                  <a:pt x="3768" y="1624"/>
                  <a:pt x="3768" y="1624"/>
                </a:cubicBezTo>
                <a:cubicBezTo>
                  <a:pt x="3762" y="1624"/>
                  <a:pt x="3761" y="1620"/>
                  <a:pt x="3761" y="1618"/>
                </a:cubicBezTo>
                <a:cubicBezTo>
                  <a:pt x="3761" y="1616"/>
                  <a:pt x="3761" y="1613"/>
                  <a:pt x="3762" y="1611"/>
                </a:cubicBezTo>
                <a:cubicBezTo>
                  <a:pt x="3762" y="1608"/>
                  <a:pt x="3762" y="1606"/>
                  <a:pt x="3762" y="1603"/>
                </a:cubicBezTo>
                <a:cubicBezTo>
                  <a:pt x="3762" y="1595"/>
                  <a:pt x="3757" y="1591"/>
                  <a:pt x="3748" y="1591"/>
                </a:cubicBezTo>
                <a:cubicBezTo>
                  <a:pt x="3748" y="1591"/>
                  <a:pt x="3748" y="1591"/>
                  <a:pt x="3744" y="1591"/>
                </a:cubicBezTo>
                <a:cubicBezTo>
                  <a:pt x="3744" y="1591"/>
                  <a:pt x="3744" y="1591"/>
                  <a:pt x="3744" y="1600"/>
                </a:cubicBezTo>
                <a:cubicBezTo>
                  <a:pt x="3744" y="1600"/>
                  <a:pt x="3744" y="1600"/>
                  <a:pt x="3745" y="1600"/>
                </a:cubicBezTo>
                <a:cubicBezTo>
                  <a:pt x="3749" y="1600"/>
                  <a:pt x="3750" y="1602"/>
                  <a:pt x="3750" y="1606"/>
                </a:cubicBezTo>
                <a:cubicBezTo>
                  <a:pt x="3750" y="1607"/>
                  <a:pt x="3750" y="1609"/>
                  <a:pt x="3750" y="1610"/>
                </a:cubicBezTo>
                <a:cubicBezTo>
                  <a:pt x="3750" y="1612"/>
                  <a:pt x="3750" y="1614"/>
                  <a:pt x="3750" y="1617"/>
                </a:cubicBezTo>
                <a:cubicBezTo>
                  <a:pt x="3750" y="1624"/>
                  <a:pt x="3752" y="1626"/>
                  <a:pt x="3758" y="1628"/>
                </a:cubicBezTo>
                <a:cubicBezTo>
                  <a:pt x="3758" y="1628"/>
                  <a:pt x="3758" y="1628"/>
                  <a:pt x="3758" y="1628"/>
                </a:cubicBezTo>
                <a:cubicBezTo>
                  <a:pt x="3752" y="1629"/>
                  <a:pt x="3750" y="1632"/>
                  <a:pt x="3750" y="1639"/>
                </a:cubicBezTo>
                <a:cubicBezTo>
                  <a:pt x="3750" y="1641"/>
                  <a:pt x="3750" y="1644"/>
                  <a:pt x="3750" y="1645"/>
                </a:cubicBezTo>
                <a:cubicBezTo>
                  <a:pt x="3750" y="1647"/>
                  <a:pt x="3750" y="1649"/>
                  <a:pt x="3750" y="1650"/>
                </a:cubicBezTo>
                <a:cubicBezTo>
                  <a:pt x="3750" y="1653"/>
                  <a:pt x="3749" y="1656"/>
                  <a:pt x="3745" y="1656"/>
                </a:cubicBezTo>
                <a:cubicBezTo>
                  <a:pt x="3745" y="1656"/>
                  <a:pt x="3745" y="1656"/>
                  <a:pt x="3744" y="1656"/>
                </a:cubicBezTo>
                <a:cubicBezTo>
                  <a:pt x="3744" y="1656"/>
                  <a:pt x="3744" y="1656"/>
                  <a:pt x="3744" y="1665"/>
                </a:cubicBezTo>
                <a:cubicBezTo>
                  <a:pt x="3744" y="1665"/>
                  <a:pt x="3744" y="1665"/>
                  <a:pt x="3748" y="1665"/>
                </a:cubicBezTo>
                <a:cubicBezTo>
                  <a:pt x="3756" y="1665"/>
                  <a:pt x="3762" y="1662"/>
                  <a:pt x="3762" y="1652"/>
                </a:cubicBezTo>
                <a:cubicBezTo>
                  <a:pt x="3762" y="1650"/>
                  <a:pt x="3762" y="1648"/>
                  <a:pt x="3762" y="1645"/>
                </a:cubicBezTo>
                <a:cubicBezTo>
                  <a:pt x="3761" y="1643"/>
                  <a:pt x="3761" y="1640"/>
                  <a:pt x="3761" y="1638"/>
                </a:cubicBezTo>
                <a:cubicBezTo>
                  <a:pt x="3761" y="1635"/>
                  <a:pt x="3762" y="1632"/>
                  <a:pt x="3768" y="1632"/>
                </a:cubicBezTo>
                <a:close/>
                <a:moveTo>
                  <a:pt x="3155" y="1665"/>
                </a:moveTo>
                <a:cubicBezTo>
                  <a:pt x="3148" y="1665"/>
                  <a:pt x="3141" y="1662"/>
                  <a:pt x="3137" y="1656"/>
                </a:cubicBezTo>
                <a:cubicBezTo>
                  <a:pt x="3133" y="1650"/>
                  <a:pt x="3131" y="1641"/>
                  <a:pt x="3131" y="1628"/>
                </a:cubicBezTo>
                <a:cubicBezTo>
                  <a:pt x="3131" y="1615"/>
                  <a:pt x="3133" y="1606"/>
                  <a:pt x="3137" y="1599"/>
                </a:cubicBezTo>
                <a:cubicBezTo>
                  <a:pt x="3142" y="1592"/>
                  <a:pt x="3148" y="1589"/>
                  <a:pt x="3157" y="1589"/>
                </a:cubicBezTo>
                <a:cubicBezTo>
                  <a:pt x="3173" y="1589"/>
                  <a:pt x="3181" y="1601"/>
                  <a:pt x="3181" y="1627"/>
                </a:cubicBezTo>
                <a:cubicBezTo>
                  <a:pt x="3181" y="1639"/>
                  <a:pt x="3179" y="1649"/>
                  <a:pt x="3174" y="1655"/>
                </a:cubicBezTo>
                <a:cubicBezTo>
                  <a:pt x="3170" y="1662"/>
                  <a:pt x="3163" y="1665"/>
                  <a:pt x="3155" y="1665"/>
                </a:cubicBezTo>
                <a:close/>
                <a:moveTo>
                  <a:pt x="3156" y="1598"/>
                </a:moveTo>
                <a:cubicBezTo>
                  <a:pt x="3147" y="1598"/>
                  <a:pt x="3143" y="1608"/>
                  <a:pt x="3143" y="1628"/>
                </a:cubicBezTo>
                <a:cubicBezTo>
                  <a:pt x="3143" y="1647"/>
                  <a:pt x="3147" y="1655"/>
                  <a:pt x="3156" y="1655"/>
                </a:cubicBezTo>
                <a:cubicBezTo>
                  <a:pt x="3164" y="1655"/>
                  <a:pt x="3169" y="1647"/>
                  <a:pt x="3169" y="1628"/>
                </a:cubicBezTo>
                <a:cubicBezTo>
                  <a:pt x="3169" y="1608"/>
                  <a:pt x="3164" y="1598"/>
                  <a:pt x="3156" y="1598"/>
                </a:cubicBezTo>
                <a:close/>
                <a:moveTo>
                  <a:pt x="3225" y="1665"/>
                </a:moveTo>
                <a:cubicBezTo>
                  <a:pt x="3218" y="1665"/>
                  <a:pt x="3211" y="1662"/>
                  <a:pt x="3208" y="1656"/>
                </a:cubicBezTo>
                <a:cubicBezTo>
                  <a:pt x="3203" y="1650"/>
                  <a:pt x="3201" y="1641"/>
                  <a:pt x="3201" y="1628"/>
                </a:cubicBezTo>
                <a:cubicBezTo>
                  <a:pt x="3201" y="1615"/>
                  <a:pt x="3203" y="1606"/>
                  <a:pt x="3208" y="1599"/>
                </a:cubicBezTo>
                <a:cubicBezTo>
                  <a:pt x="3212" y="1592"/>
                  <a:pt x="3219" y="1589"/>
                  <a:pt x="3228" y="1589"/>
                </a:cubicBezTo>
                <a:cubicBezTo>
                  <a:pt x="3244" y="1589"/>
                  <a:pt x="3252" y="1601"/>
                  <a:pt x="3252" y="1627"/>
                </a:cubicBezTo>
                <a:cubicBezTo>
                  <a:pt x="3252" y="1639"/>
                  <a:pt x="3250" y="1649"/>
                  <a:pt x="3245" y="1655"/>
                </a:cubicBezTo>
                <a:cubicBezTo>
                  <a:pt x="3240" y="1662"/>
                  <a:pt x="3234" y="1665"/>
                  <a:pt x="3225" y="1665"/>
                </a:cubicBezTo>
                <a:close/>
                <a:moveTo>
                  <a:pt x="3227" y="1598"/>
                </a:moveTo>
                <a:cubicBezTo>
                  <a:pt x="3218" y="1598"/>
                  <a:pt x="3213" y="1608"/>
                  <a:pt x="3213" y="1628"/>
                </a:cubicBezTo>
                <a:cubicBezTo>
                  <a:pt x="3213" y="1647"/>
                  <a:pt x="3217" y="1655"/>
                  <a:pt x="3226" y="1655"/>
                </a:cubicBezTo>
                <a:cubicBezTo>
                  <a:pt x="3235" y="1655"/>
                  <a:pt x="3239" y="1647"/>
                  <a:pt x="3239" y="1628"/>
                </a:cubicBezTo>
                <a:cubicBezTo>
                  <a:pt x="3239" y="1608"/>
                  <a:pt x="3235" y="1598"/>
                  <a:pt x="3227" y="1598"/>
                </a:cubicBezTo>
                <a:close/>
                <a:moveTo>
                  <a:pt x="3435" y="1675"/>
                </a:moveTo>
                <a:cubicBezTo>
                  <a:pt x="3428" y="1675"/>
                  <a:pt x="3422" y="1672"/>
                  <a:pt x="3417" y="1665"/>
                </a:cubicBezTo>
                <a:cubicBezTo>
                  <a:pt x="3413" y="1659"/>
                  <a:pt x="3411" y="1650"/>
                  <a:pt x="3411" y="1638"/>
                </a:cubicBezTo>
                <a:cubicBezTo>
                  <a:pt x="3411" y="1625"/>
                  <a:pt x="3413" y="1616"/>
                  <a:pt x="3417" y="1608"/>
                </a:cubicBezTo>
                <a:cubicBezTo>
                  <a:pt x="3422" y="1602"/>
                  <a:pt x="3428" y="1599"/>
                  <a:pt x="3437" y="1599"/>
                </a:cubicBezTo>
                <a:cubicBezTo>
                  <a:pt x="3453" y="1599"/>
                  <a:pt x="3461" y="1611"/>
                  <a:pt x="3461" y="1636"/>
                </a:cubicBezTo>
                <a:cubicBezTo>
                  <a:pt x="3461" y="1649"/>
                  <a:pt x="3459" y="1659"/>
                  <a:pt x="3455" y="1665"/>
                </a:cubicBezTo>
                <a:cubicBezTo>
                  <a:pt x="3449" y="1672"/>
                  <a:pt x="3444" y="1675"/>
                  <a:pt x="3435" y="1675"/>
                </a:cubicBezTo>
                <a:close/>
                <a:moveTo>
                  <a:pt x="3436" y="1608"/>
                </a:moveTo>
                <a:cubicBezTo>
                  <a:pt x="3428" y="1608"/>
                  <a:pt x="3423" y="1618"/>
                  <a:pt x="3423" y="1637"/>
                </a:cubicBezTo>
                <a:cubicBezTo>
                  <a:pt x="3423" y="1656"/>
                  <a:pt x="3428" y="1665"/>
                  <a:pt x="3436" y="1665"/>
                </a:cubicBezTo>
                <a:cubicBezTo>
                  <a:pt x="3444" y="1665"/>
                  <a:pt x="3449" y="1656"/>
                  <a:pt x="3449" y="1637"/>
                </a:cubicBezTo>
                <a:cubicBezTo>
                  <a:pt x="3449" y="1618"/>
                  <a:pt x="3445" y="1608"/>
                  <a:pt x="3436" y="1608"/>
                </a:cubicBezTo>
                <a:close/>
                <a:moveTo>
                  <a:pt x="3508" y="1592"/>
                </a:moveTo>
                <a:cubicBezTo>
                  <a:pt x="3508" y="1592"/>
                  <a:pt x="3508" y="1592"/>
                  <a:pt x="3508" y="1592"/>
                </a:cubicBezTo>
                <a:cubicBezTo>
                  <a:pt x="3503" y="1592"/>
                  <a:pt x="3503" y="1592"/>
                  <a:pt x="3503" y="1592"/>
                </a:cubicBezTo>
                <a:cubicBezTo>
                  <a:pt x="3500" y="1593"/>
                  <a:pt x="3499" y="1594"/>
                  <a:pt x="3497" y="1595"/>
                </a:cubicBezTo>
                <a:cubicBezTo>
                  <a:pt x="3495" y="1597"/>
                  <a:pt x="3493" y="1597"/>
                  <a:pt x="3492" y="1598"/>
                </a:cubicBezTo>
                <a:cubicBezTo>
                  <a:pt x="3490" y="1599"/>
                  <a:pt x="3488" y="1600"/>
                  <a:pt x="3487" y="1600"/>
                </a:cubicBezTo>
                <a:cubicBezTo>
                  <a:pt x="3484" y="1601"/>
                  <a:pt x="3483" y="1602"/>
                  <a:pt x="3481" y="1602"/>
                </a:cubicBezTo>
                <a:cubicBezTo>
                  <a:pt x="3481" y="1602"/>
                  <a:pt x="3481" y="1602"/>
                  <a:pt x="3481" y="1613"/>
                </a:cubicBezTo>
                <a:cubicBezTo>
                  <a:pt x="3484" y="1612"/>
                  <a:pt x="3487" y="1610"/>
                  <a:pt x="3489" y="1610"/>
                </a:cubicBezTo>
                <a:cubicBezTo>
                  <a:pt x="3492" y="1609"/>
                  <a:pt x="3494" y="1608"/>
                  <a:pt x="3496" y="1606"/>
                </a:cubicBezTo>
                <a:cubicBezTo>
                  <a:pt x="3496" y="1606"/>
                  <a:pt x="3496" y="1606"/>
                  <a:pt x="3496" y="1665"/>
                </a:cubicBezTo>
                <a:cubicBezTo>
                  <a:pt x="3496" y="1665"/>
                  <a:pt x="3496" y="1665"/>
                  <a:pt x="3508" y="1665"/>
                </a:cubicBezTo>
                <a:cubicBezTo>
                  <a:pt x="3508" y="1665"/>
                  <a:pt x="3508" y="1665"/>
                  <a:pt x="3508" y="1592"/>
                </a:cubicBezTo>
                <a:close/>
                <a:moveTo>
                  <a:pt x="3298" y="1592"/>
                </a:moveTo>
                <a:cubicBezTo>
                  <a:pt x="3298" y="1592"/>
                  <a:pt x="3298" y="1592"/>
                  <a:pt x="3298" y="1592"/>
                </a:cubicBezTo>
                <a:cubicBezTo>
                  <a:pt x="3293" y="1592"/>
                  <a:pt x="3293" y="1592"/>
                  <a:pt x="3293" y="1592"/>
                </a:cubicBezTo>
                <a:cubicBezTo>
                  <a:pt x="3291" y="1593"/>
                  <a:pt x="3290" y="1594"/>
                  <a:pt x="3288" y="1595"/>
                </a:cubicBezTo>
                <a:cubicBezTo>
                  <a:pt x="3286" y="1597"/>
                  <a:pt x="3285" y="1597"/>
                  <a:pt x="3282" y="1598"/>
                </a:cubicBezTo>
                <a:cubicBezTo>
                  <a:pt x="3281" y="1600"/>
                  <a:pt x="3279" y="1600"/>
                  <a:pt x="3277" y="1601"/>
                </a:cubicBezTo>
                <a:cubicBezTo>
                  <a:pt x="3275" y="1602"/>
                  <a:pt x="3274" y="1602"/>
                  <a:pt x="3272" y="1602"/>
                </a:cubicBezTo>
                <a:cubicBezTo>
                  <a:pt x="3272" y="1602"/>
                  <a:pt x="3272" y="1602"/>
                  <a:pt x="3272" y="1613"/>
                </a:cubicBezTo>
                <a:cubicBezTo>
                  <a:pt x="3274" y="1612"/>
                  <a:pt x="3277" y="1611"/>
                  <a:pt x="3280" y="1610"/>
                </a:cubicBezTo>
                <a:cubicBezTo>
                  <a:pt x="3282" y="1609"/>
                  <a:pt x="3285" y="1608"/>
                  <a:pt x="3287" y="1606"/>
                </a:cubicBezTo>
                <a:cubicBezTo>
                  <a:pt x="3287" y="1606"/>
                  <a:pt x="3287" y="1606"/>
                  <a:pt x="3287" y="1665"/>
                </a:cubicBezTo>
                <a:cubicBezTo>
                  <a:pt x="3287" y="1665"/>
                  <a:pt x="3287" y="1665"/>
                  <a:pt x="3298" y="1665"/>
                </a:cubicBezTo>
                <a:cubicBezTo>
                  <a:pt x="3298" y="1665"/>
                  <a:pt x="3298" y="1665"/>
                  <a:pt x="3298" y="1592"/>
                </a:cubicBezTo>
                <a:close/>
                <a:moveTo>
                  <a:pt x="3345" y="1592"/>
                </a:moveTo>
                <a:cubicBezTo>
                  <a:pt x="3345" y="1592"/>
                  <a:pt x="3345" y="1592"/>
                  <a:pt x="3345" y="1592"/>
                </a:cubicBezTo>
                <a:cubicBezTo>
                  <a:pt x="3340" y="1592"/>
                  <a:pt x="3340" y="1592"/>
                  <a:pt x="3340" y="1592"/>
                </a:cubicBezTo>
                <a:cubicBezTo>
                  <a:pt x="3338" y="1593"/>
                  <a:pt x="3337" y="1594"/>
                  <a:pt x="3334" y="1595"/>
                </a:cubicBezTo>
                <a:cubicBezTo>
                  <a:pt x="3333" y="1597"/>
                  <a:pt x="3331" y="1597"/>
                  <a:pt x="3329" y="1598"/>
                </a:cubicBezTo>
                <a:cubicBezTo>
                  <a:pt x="3328" y="1600"/>
                  <a:pt x="3325" y="1600"/>
                  <a:pt x="3324" y="1601"/>
                </a:cubicBezTo>
                <a:cubicBezTo>
                  <a:pt x="3322" y="1602"/>
                  <a:pt x="3320" y="1602"/>
                  <a:pt x="3318" y="1602"/>
                </a:cubicBezTo>
                <a:cubicBezTo>
                  <a:pt x="3318" y="1602"/>
                  <a:pt x="3318" y="1602"/>
                  <a:pt x="3318" y="1613"/>
                </a:cubicBezTo>
                <a:cubicBezTo>
                  <a:pt x="3321" y="1612"/>
                  <a:pt x="3324" y="1611"/>
                  <a:pt x="3326" y="1610"/>
                </a:cubicBezTo>
                <a:cubicBezTo>
                  <a:pt x="3329" y="1609"/>
                  <a:pt x="3331" y="1608"/>
                  <a:pt x="3334" y="1606"/>
                </a:cubicBezTo>
                <a:cubicBezTo>
                  <a:pt x="3334" y="1606"/>
                  <a:pt x="3334" y="1606"/>
                  <a:pt x="3334" y="1665"/>
                </a:cubicBezTo>
                <a:cubicBezTo>
                  <a:pt x="3334" y="1665"/>
                  <a:pt x="3334" y="1665"/>
                  <a:pt x="3345" y="1665"/>
                </a:cubicBezTo>
                <a:cubicBezTo>
                  <a:pt x="3345" y="1665"/>
                  <a:pt x="3345" y="1665"/>
                  <a:pt x="3345" y="1592"/>
                </a:cubicBezTo>
                <a:close/>
                <a:moveTo>
                  <a:pt x="3391" y="1592"/>
                </a:moveTo>
                <a:cubicBezTo>
                  <a:pt x="3391" y="1592"/>
                  <a:pt x="3391" y="1592"/>
                  <a:pt x="3391" y="1592"/>
                </a:cubicBezTo>
                <a:cubicBezTo>
                  <a:pt x="3387" y="1592"/>
                  <a:pt x="3387" y="1592"/>
                  <a:pt x="3387" y="1592"/>
                </a:cubicBezTo>
                <a:cubicBezTo>
                  <a:pt x="3385" y="1593"/>
                  <a:pt x="3383" y="1594"/>
                  <a:pt x="3381" y="1595"/>
                </a:cubicBezTo>
                <a:cubicBezTo>
                  <a:pt x="3380" y="1597"/>
                  <a:pt x="3377" y="1597"/>
                  <a:pt x="3376" y="1598"/>
                </a:cubicBezTo>
                <a:cubicBezTo>
                  <a:pt x="3374" y="1599"/>
                  <a:pt x="3372" y="1600"/>
                  <a:pt x="3370" y="1600"/>
                </a:cubicBezTo>
                <a:cubicBezTo>
                  <a:pt x="3369" y="1601"/>
                  <a:pt x="3367" y="1602"/>
                  <a:pt x="3365" y="1602"/>
                </a:cubicBezTo>
                <a:cubicBezTo>
                  <a:pt x="3365" y="1602"/>
                  <a:pt x="3365" y="1602"/>
                  <a:pt x="3365" y="1613"/>
                </a:cubicBezTo>
                <a:cubicBezTo>
                  <a:pt x="3368" y="1612"/>
                  <a:pt x="3371" y="1610"/>
                  <a:pt x="3373" y="1610"/>
                </a:cubicBezTo>
                <a:cubicBezTo>
                  <a:pt x="3375" y="1609"/>
                  <a:pt x="3378" y="1608"/>
                  <a:pt x="3380" y="1606"/>
                </a:cubicBezTo>
                <a:cubicBezTo>
                  <a:pt x="3380" y="1606"/>
                  <a:pt x="3380" y="1606"/>
                  <a:pt x="3380" y="1665"/>
                </a:cubicBezTo>
                <a:cubicBezTo>
                  <a:pt x="3380" y="1665"/>
                  <a:pt x="3380" y="1665"/>
                  <a:pt x="3391" y="1665"/>
                </a:cubicBezTo>
                <a:cubicBezTo>
                  <a:pt x="3391" y="1665"/>
                  <a:pt x="3391" y="1665"/>
                  <a:pt x="3391" y="1592"/>
                </a:cubicBezTo>
                <a:close/>
                <a:moveTo>
                  <a:pt x="2149" y="1592"/>
                </a:moveTo>
                <a:cubicBezTo>
                  <a:pt x="2149" y="1592"/>
                  <a:pt x="2149" y="1592"/>
                  <a:pt x="2149" y="1592"/>
                </a:cubicBezTo>
                <a:cubicBezTo>
                  <a:pt x="2144" y="1592"/>
                  <a:pt x="2144" y="1592"/>
                  <a:pt x="2144" y="1592"/>
                </a:cubicBezTo>
                <a:cubicBezTo>
                  <a:pt x="2141" y="1593"/>
                  <a:pt x="2140" y="1594"/>
                  <a:pt x="2138" y="1595"/>
                </a:cubicBezTo>
                <a:cubicBezTo>
                  <a:pt x="2136" y="1597"/>
                  <a:pt x="2134" y="1597"/>
                  <a:pt x="2133" y="1598"/>
                </a:cubicBezTo>
                <a:cubicBezTo>
                  <a:pt x="2131" y="1600"/>
                  <a:pt x="2129" y="1600"/>
                  <a:pt x="2127" y="1601"/>
                </a:cubicBezTo>
                <a:cubicBezTo>
                  <a:pt x="2125" y="1602"/>
                  <a:pt x="2124" y="1602"/>
                  <a:pt x="2121" y="1602"/>
                </a:cubicBezTo>
                <a:cubicBezTo>
                  <a:pt x="2121" y="1602"/>
                  <a:pt x="2121" y="1602"/>
                  <a:pt x="2121" y="1613"/>
                </a:cubicBezTo>
                <a:cubicBezTo>
                  <a:pt x="2124" y="1612"/>
                  <a:pt x="2127" y="1611"/>
                  <a:pt x="2130" y="1610"/>
                </a:cubicBezTo>
                <a:cubicBezTo>
                  <a:pt x="2133" y="1609"/>
                  <a:pt x="2135" y="1608"/>
                  <a:pt x="2137" y="1606"/>
                </a:cubicBezTo>
                <a:cubicBezTo>
                  <a:pt x="2137" y="1606"/>
                  <a:pt x="2137" y="1606"/>
                  <a:pt x="2137" y="1665"/>
                </a:cubicBezTo>
                <a:cubicBezTo>
                  <a:pt x="2137" y="1665"/>
                  <a:pt x="2137" y="1665"/>
                  <a:pt x="2149" y="1665"/>
                </a:cubicBezTo>
                <a:cubicBezTo>
                  <a:pt x="2149" y="1665"/>
                  <a:pt x="2149" y="1665"/>
                  <a:pt x="2149" y="1592"/>
                </a:cubicBezTo>
                <a:close/>
                <a:moveTo>
                  <a:pt x="2195" y="1592"/>
                </a:moveTo>
                <a:cubicBezTo>
                  <a:pt x="2195" y="1592"/>
                  <a:pt x="2195" y="1592"/>
                  <a:pt x="2195" y="1592"/>
                </a:cubicBezTo>
                <a:cubicBezTo>
                  <a:pt x="2190" y="1592"/>
                  <a:pt x="2190" y="1592"/>
                  <a:pt x="2190" y="1592"/>
                </a:cubicBezTo>
                <a:cubicBezTo>
                  <a:pt x="2189" y="1593"/>
                  <a:pt x="2187" y="1594"/>
                  <a:pt x="2185" y="1595"/>
                </a:cubicBezTo>
                <a:cubicBezTo>
                  <a:pt x="2183" y="1597"/>
                  <a:pt x="2182" y="1597"/>
                  <a:pt x="2179" y="1598"/>
                </a:cubicBezTo>
                <a:cubicBezTo>
                  <a:pt x="2178" y="1600"/>
                  <a:pt x="2176" y="1600"/>
                  <a:pt x="2174" y="1601"/>
                </a:cubicBezTo>
                <a:cubicBezTo>
                  <a:pt x="2172" y="1602"/>
                  <a:pt x="2171" y="1602"/>
                  <a:pt x="2168" y="1602"/>
                </a:cubicBezTo>
                <a:cubicBezTo>
                  <a:pt x="2168" y="1602"/>
                  <a:pt x="2168" y="1602"/>
                  <a:pt x="2168" y="1613"/>
                </a:cubicBezTo>
                <a:cubicBezTo>
                  <a:pt x="2171" y="1612"/>
                  <a:pt x="2174" y="1611"/>
                  <a:pt x="2177" y="1610"/>
                </a:cubicBezTo>
                <a:cubicBezTo>
                  <a:pt x="2179" y="1609"/>
                  <a:pt x="2182" y="1608"/>
                  <a:pt x="2184" y="1606"/>
                </a:cubicBezTo>
                <a:cubicBezTo>
                  <a:pt x="2184" y="1606"/>
                  <a:pt x="2184" y="1606"/>
                  <a:pt x="2184" y="1665"/>
                </a:cubicBezTo>
                <a:cubicBezTo>
                  <a:pt x="2184" y="1665"/>
                  <a:pt x="2184" y="1665"/>
                  <a:pt x="2195" y="1665"/>
                </a:cubicBezTo>
                <a:cubicBezTo>
                  <a:pt x="2195" y="1665"/>
                  <a:pt x="2195" y="1665"/>
                  <a:pt x="2195" y="1592"/>
                </a:cubicBezTo>
                <a:close/>
                <a:moveTo>
                  <a:pt x="2241" y="1592"/>
                </a:moveTo>
                <a:cubicBezTo>
                  <a:pt x="2241" y="1592"/>
                  <a:pt x="2241" y="1592"/>
                  <a:pt x="2241" y="1592"/>
                </a:cubicBezTo>
                <a:cubicBezTo>
                  <a:pt x="2237" y="1592"/>
                  <a:pt x="2237" y="1592"/>
                  <a:pt x="2237" y="1592"/>
                </a:cubicBezTo>
                <a:cubicBezTo>
                  <a:pt x="2235" y="1593"/>
                  <a:pt x="2233" y="1594"/>
                  <a:pt x="2231" y="1595"/>
                </a:cubicBezTo>
                <a:cubicBezTo>
                  <a:pt x="2230" y="1597"/>
                  <a:pt x="2228" y="1597"/>
                  <a:pt x="2226" y="1598"/>
                </a:cubicBezTo>
                <a:cubicBezTo>
                  <a:pt x="2224" y="1599"/>
                  <a:pt x="2222" y="1600"/>
                  <a:pt x="2220" y="1600"/>
                </a:cubicBezTo>
                <a:cubicBezTo>
                  <a:pt x="2219" y="1601"/>
                  <a:pt x="2217" y="1602"/>
                  <a:pt x="2215" y="1602"/>
                </a:cubicBezTo>
                <a:cubicBezTo>
                  <a:pt x="2215" y="1602"/>
                  <a:pt x="2215" y="1602"/>
                  <a:pt x="2215" y="1613"/>
                </a:cubicBezTo>
                <a:cubicBezTo>
                  <a:pt x="2218" y="1612"/>
                  <a:pt x="2221" y="1610"/>
                  <a:pt x="2223" y="1610"/>
                </a:cubicBezTo>
                <a:cubicBezTo>
                  <a:pt x="2225" y="1609"/>
                  <a:pt x="2228" y="1608"/>
                  <a:pt x="2230" y="1606"/>
                </a:cubicBezTo>
                <a:cubicBezTo>
                  <a:pt x="2230" y="1606"/>
                  <a:pt x="2230" y="1606"/>
                  <a:pt x="2230" y="1665"/>
                </a:cubicBezTo>
                <a:cubicBezTo>
                  <a:pt x="2230" y="1665"/>
                  <a:pt x="2230" y="1665"/>
                  <a:pt x="2241" y="1665"/>
                </a:cubicBezTo>
                <a:cubicBezTo>
                  <a:pt x="2241" y="1665"/>
                  <a:pt x="2241" y="1665"/>
                  <a:pt x="2241" y="1592"/>
                </a:cubicBezTo>
                <a:close/>
                <a:moveTo>
                  <a:pt x="2378" y="1624"/>
                </a:moveTo>
                <a:cubicBezTo>
                  <a:pt x="2378" y="1624"/>
                  <a:pt x="2378" y="1624"/>
                  <a:pt x="2378" y="1624"/>
                </a:cubicBezTo>
                <a:cubicBezTo>
                  <a:pt x="2377" y="1632"/>
                  <a:pt x="2377" y="1632"/>
                  <a:pt x="2377" y="1632"/>
                </a:cubicBezTo>
                <a:cubicBezTo>
                  <a:pt x="2384" y="1632"/>
                  <a:pt x="2384" y="1635"/>
                  <a:pt x="2384" y="1638"/>
                </a:cubicBezTo>
                <a:cubicBezTo>
                  <a:pt x="2384" y="1640"/>
                  <a:pt x="2384" y="1643"/>
                  <a:pt x="2384" y="1645"/>
                </a:cubicBezTo>
                <a:cubicBezTo>
                  <a:pt x="2384" y="1648"/>
                  <a:pt x="2383" y="1650"/>
                  <a:pt x="2383" y="1652"/>
                </a:cubicBezTo>
                <a:cubicBezTo>
                  <a:pt x="2383" y="1662"/>
                  <a:pt x="2389" y="1665"/>
                  <a:pt x="2398" y="1665"/>
                </a:cubicBezTo>
                <a:cubicBezTo>
                  <a:pt x="2398" y="1665"/>
                  <a:pt x="2398" y="1665"/>
                  <a:pt x="2401" y="1665"/>
                </a:cubicBezTo>
                <a:cubicBezTo>
                  <a:pt x="2401" y="1665"/>
                  <a:pt x="2401" y="1665"/>
                  <a:pt x="2401" y="1656"/>
                </a:cubicBezTo>
                <a:cubicBezTo>
                  <a:pt x="2401" y="1656"/>
                  <a:pt x="2401" y="1656"/>
                  <a:pt x="2400" y="1656"/>
                </a:cubicBezTo>
                <a:cubicBezTo>
                  <a:pt x="2396" y="1656"/>
                  <a:pt x="2395" y="1653"/>
                  <a:pt x="2395" y="1650"/>
                </a:cubicBezTo>
                <a:cubicBezTo>
                  <a:pt x="2395" y="1649"/>
                  <a:pt x="2395" y="1647"/>
                  <a:pt x="2395" y="1645"/>
                </a:cubicBezTo>
                <a:cubicBezTo>
                  <a:pt x="2395" y="1644"/>
                  <a:pt x="2396" y="1641"/>
                  <a:pt x="2396" y="1639"/>
                </a:cubicBezTo>
                <a:cubicBezTo>
                  <a:pt x="2396" y="1632"/>
                  <a:pt x="2393" y="1629"/>
                  <a:pt x="2387" y="1628"/>
                </a:cubicBezTo>
                <a:cubicBezTo>
                  <a:pt x="2387" y="1628"/>
                  <a:pt x="2387" y="1628"/>
                  <a:pt x="2387" y="1628"/>
                </a:cubicBezTo>
                <a:cubicBezTo>
                  <a:pt x="2393" y="1626"/>
                  <a:pt x="2396" y="1624"/>
                  <a:pt x="2396" y="1617"/>
                </a:cubicBezTo>
                <a:cubicBezTo>
                  <a:pt x="2396" y="1614"/>
                  <a:pt x="2395" y="1612"/>
                  <a:pt x="2395" y="1610"/>
                </a:cubicBezTo>
                <a:cubicBezTo>
                  <a:pt x="2395" y="1609"/>
                  <a:pt x="2395" y="1607"/>
                  <a:pt x="2395" y="1606"/>
                </a:cubicBezTo>
                <a:cubicBezTo>
                  <a:pt x="2395" y="1602"/>
                  <a:pt x="2396" y="1600"/>
                  <a:pt x="2400" y="1600"/>
                </a:cubicBezTo>
                <a:cubicBezTo>
                  <a:pt x="2400" y="1600"/>
                  <a:pt x="2400" y="1600"/>
                  <a:pt x="2401" y="1600"/>
                </a:cubicBezTo>
                <a:cubicBezTo>
                  <a:pt x="2401" y="1600"/>
                  <a:pt x="2401" y="1600"/>
                  <a:pt x="2401" y="1591"/>
                </a:cubicBezTo>
                <a:cubicBezTo>
                  <a:pt x="2401" y="1591"/>
                  <a:pt x="2401" y="1591"/>
                  <a:pt x="2398" y="1591"/>
                </a:cubicBezTo>
                <a:cubicBezTo>
                  <a:pt x="2389" y="1591"/>
                  <a:pt x="2383" y="1595"/>
                  <a:pt x="2383" y="1603"/>
                </a:cubicBezTo>
                <a:cubicBezTo>
                  <a:pt x="2383" y="1606"/>
                  <a:pt x="2384" y="1608"/>
                  <a:pt x="2384" y="1611"/>
                </a:cubicBezTo>
                <a:cubicBezTo>
                  <a:pt x="2384" y="1613"/>
                  <a:pt x="2384" y="1616"/>
                  <a:pt x="2384" y="1618"/>
                </a:cubicBezTo>
                <a:cubicBezTo>
                  <a:pt x="2384" y="1620"/>
                  <a:pt x="2384" y="1624"/>
                  <a:pt x="2378" y="1624"/>
                </a:cubicBezTo>
                <a:close/>
                <a:moveTo>
                  <a:pt x="2432" y="1632"/>
                </a:moveTo>
                <a:cubicBezTo>
                  <a:pt x="2432" y="1632"/>
                  <a:pt x="2432" y="1632"/>
                  <a:pt x="2432" y="1632"/>
                </a:cubicBezTo>
                <a:cubicBezTo>
                  <a:pt x="2432" y="1624"/>
                  <a:pt x="2432" y="1624"/>
                  <a:pt x="2432" y="1624"/>
                </a:cubicBezTo>
                <a:cubicBezTo>
                  <a:pt x="2426" y="1624"/>
                  <a:pt x="2426" y="1620"/>
                  <a:pt x="2426" y="1618"/>
                </a:cubicBezTo>
                <a:cubicBezTo>
                  <a:pt x="2426" y="1616"/>
                  <a:pt x="2426" y="1613"/>
                  <a:pt x="2426" y="1611"/>
                </a:cubicBezTo>
                <a:cubicBezTo>
                  <a:pt x="2427" y="1608"/>
                  <a:pt x="2427" y="1606"/>
                  <a:pt x="2427" y="1603"/>
                </a:cubicBezTo>
                <a:cubicBezTo>
                  <a:pt x="2427" y="1595"/>
                  <a:pt x="2421" y="1591"/>
                  <a:pt x="2412" y="1591"/>
                </a:cubicBezTo>
                <a:cubicBezTo>
                  <a:pt x="2412" y="1591"/>
                  <a:pt x="2412" y="1591"/>
                  <a:pt x="2408" y="1591"/>
                </a:cubicBezTo>
                <a:cubicBezTo>
                  <a:pt x="2408" y="1591"/>
                  <a:pt x="2408" y="1591"/>
                  <a:pt x="2408" y="1600"/>
                </a:cubicBezTo>
                <a:cubicBezTo>
                  <a:pt x="2408" y="1600"/>
                  <a:pt x="2408" y="1600"/>
                  <a:pt x="2410" y="1600"/>
                </a:cubicBezTo>
                <a:cubicBezTo>
                  <a:pt x="2414" y="1600"/>
                  <a:pt x="2415" y="1602"/>
                  <a:pt x="2415" y="1606"/>
                </a:cubicBezTo>
                <a:cubicBezTo>
                  <a:pt x="2415" y="1607"/>
                  <a:pt x="2415" y="1609"/>
                  <a:pt x="2415" y="1610"/>
                </a:cubicBezTo>
                <a:cubicBezTo>
                  <a:pt x="2414" y="1612"/>
                  <a:pt x="2414" y="1614"/>
                  <a:pt x="2414" y="1617"/>
                </a:cubicBezTo>
                <a:cubicBezTo>
                  <a:pt x="2414" y="1624"/>
                  <a:pt x="2417" y="1626"/>
                  <a:pt x="2423" y="1628"/>
                </a:cubicBezTo>
                <a:cubicBezTo>
                  <a:pt x="2423" y="1628"/>
                  <a:pt x="2423" y="1628"/>
                  <a:pt x="2423" y="1628"/>
                </a:cubicBezTo>
                <a:cubicBezTo>
                  <a:pt x="2417" y="1629"/>
                  <a:pt x="2414" y="1632"/>
                  <a:pt x="2414" y="1639"/>
                </a:cubicBezTo>
                <a:cubicBezTo>
                  <a:pt x="2414" y="1641"/>
                  <a:pt x="2414" y="1644"/>
                  <a:pt x="2415" y="1645"/>
                </a:cubicBezTo>
                <a:cubicBezTo>
                  <a:pt x="2415" y="1647"/>
                  <a:pt x="2415" y="1649"/>
                  <a:pt x="2415" y="1650"/>
                </a:cubicBezTo>
                <a:cubicBezTo>
                  <a:pt x="2415" y="1653"/>
                  <a:pt x="2414" y="1656"/>
                  <a:pt x="2410" y="1656"/>
                </a:cubicBezTo>
                <a:cubicBezTo>
                  <a:pt x="2410" y="1656"/>
                  <a:pt x="2410" y="1656"/>
                  <a:pt x="2408" y="1656"/>
                </a:cubicBezTo>
                <a:cubicBezTo>
                  <a:pt x="2408" y="1656"/>
                  <a:pt x="2408" y="1656"/>
                  <a:pt x="2408" y="1665"/>
                </a:cubicBezTo>
                <a:cubicBezTo>
                  <a:pt x="2408" y="1665"/>
                  <a:pt x="2408" y="1665"/>
                  <a:pt x="2412" y="1665"/>
                </a:cubicBezTo>
                <a:cubicBezTo>
                  <a:pt x="2421" y="1665"/>
                  <a:pt x="2427" y="1662"/>
                  <a:pt x="2427" y="1652"/>
                </a:cubicBezTo>
                <a:cubicBezTo>
                  <a:pt x="2427" y="1650"/>
                  <a:pt x="2427" y="1648"/>
                  <a:pt x="2426" y="1645"/>
                </a:cubicBezTo>
                <a:cubicBezTo>
                  <a:pt x="2426" y="1643"/>
                  <a:pt x="2426" y="1640"/>
                  <a:pt x="2426" y="1638"/>
                </a:cubicBezTo>
                <a:cubicBezTo>
                  <a:pt x="2426" y="1635"/>
                  <a:pt x="2426" y="1632"/>
                  <a:pt x="2432" y="1632"/>
                </a:cubicBezTo>
                <a:close/>
                <a:moveTo>
                  <a:pt x="2479" y="1592"/>
                </a:moveTo>
                <a:cubicBezTo>
                  <a:pt x="2479" y="1592"/>
                  <a:pt x="2479" y="1592"/>
                  <a:pt x="2479" y="1592"/>
                </a:cubicBezTo>
                <a:cubicBezTo>
                  <a:pt x="2474" y="1592"/>
                  <a:pt x="2474" y="1592"/>
                  <a:pt x="2474" y="1592"/>
                </a:cubicBezTo>
                <a:cubicBezTo>
                  <a:pt x="2472" y="1593"/>
                  <a:pt x="2470" y="1594"/>
                  <a:pt x="2468" y="1595"/>
                </a:cubicBezTo>
                <a:cubicBezTo>
                  <a:pt x="2467" y="1597"/>
                  <a:pt x="2465" y="1597"/>
                  <a:pt x="2463" y="1598"/>
                </a:cubicBezTo>
                <a:cubicBezTo>
                  <a:pt x="2461" y="1599"/>
                  <a:pt x="2459" y="1600"/>
                  <a:pt x="2458" y="1600"/>
                </a:cubicBezTo>
                <a:cubicBezTo>
                  <a:pt x="2456" y="1601"/>
                  <a:pt x="2454" y="1602"/>
                  <a:pt x="2452" y="1602"/>
                </a:cubicBezTo>
                <a:cubicBezTo>
                  <a:pt x="2452" y="1602"/>
                  <a:pt x="2452" y="1602"/>
                  <a:pt x="2452" y="1613"/>
                </a:cubicBezTo>
                <a:cubicBezTo>
                  <a:pt x="2455" y="1612"/>
                  <a:pt x="2458" y="1610"/>
                  <a:pt x="2460" y="1610"/>
                </a:cubicBezTo>
                <a:cubicBezTo>
                  <a:pt x="2463" y="1609"/>
                  <a:pt x="2465" y="1608"/>
                  <a:pt x="2467" y="1606"/>
                </a:cubicBezTo>
                <a:cubicBezTo>
                  <a:pt x="2467" y="1606"/>
                  <a:pt x="2467" y="1606"/>
                  <a:pt x="2467" y="1665"/>
                </a:cubicBezTo>
                <a:cubicBezTo>
                  <a:pt x="2467" y="1665"/>
                  <a:pt x="2467" y="1665"/>
                  <a:pt x="2479" y="1665"/>
                </a:cubicBezTo>
                <a:cubicBezTo>
                  <a:pt x="2479" y="1665"/>
                  <a:pt x="2479" y="1665"/>
                  <a:pt x="2479" y="1592"/>
                </a:cubicBezTo>
                <a:close/>
                <a:moveTo>
                  <a:pt x="2526" y="1592"/>
                </a:moveTo>
                <a:cubicBezTo>
                  <a:pt x="2526" y="1592"/>
                  <a:pt x="2526" y="1592"/>
                  <a:pt x="2526" y="1592"/>
                </a:cubicBezTo>
                <a:cubicBezTo>
                  <a:pt x="2521" y="1592"/>
                  <a:pt x="2521" y="1592"/>
                  <a:pt x="2521" y="1592"/>
                </a:cubicBezTo>
                <a:cubicBezTo>
                  <a:pt x="2518" y="1593"/>
                  <a:pt x="2517" y="1594"/>
                  <a:pt x="2515" y="1595"/>
                </a:cubicBezTo>
                <a:cubicBezTo>
                  <a:pt x="2513" y="1597"/>
                  <a:pt x="2511" y="1597"/>
                  <a:pt x="2510" y="1598"/>
                </a:cubicBezTo>
                <a:cubicBezTo>
                  <a:pt x="2508" y="1600"/>
                  <a:pt x="2506" y="1600"/>
                  <a:pt x="2505" y="1601"/>
                </a:cubicBezTo>
                <a:cubicBezTo>
                  <a:pt x="2502" y="1602"/>
                  <a:pt x="2501" y="1602"/>
                  <a:pt x="2499" y="1602"/>
                </a:cubicBezTo>
                <a:cubicBezTo>
                  <a:pt x="2499" y="1602"/>
                  <a:pt x="2499" y="1602"/>
                  <a:pt x="2499" y="1613"/>
                </a:cubicBezTo>
                <a:cubicBezTo>
                  <a:pt x="2502" y="1612"/>
                  <a:pt x="2505" y="1611"/>
                  <a:pt x="2507" y="1610"/>
                </a:cubicBezTo>
                <a:cubicBezTo>
                  <a:pt x="2510" y="1609"/>
                  <a:pt x="2512" y="1608"/>
                  <a:pt x="2514" y="1606"/>
                </a:cubicBezTo>
                <a:cubicBezTo>
                  <a:pt x="2514" y="1606"/>
                  <a:pt x="2514" y="1606"/>
                  <a:pt x="2514" y="1665"/>
                </a:cubicBezTo>
                <a:cubicBezTo>
                  <a:pt x="2514" y="1665"/>
                  <a:pt x="2514" y="1665"/>
                  <a:pt x="2526" y="1665"/>
                </a:cubicBezTo>
                <a:cubicBezTo>
                  <a:pt x="2526" y="1665"/>
                  <a:pt x="2526" y="1665"/>
                  <a:pt x="2526" y="1592"/>
                </a:cubicBezTo>
                <a:close/>
                <a:moveTo>
                  <a:pt x="2571" y="1592"/>
                </a:moveTo>
                <a:cubicBezTo>
                  <a:pt x="2571" y="1592"/>
                  <a:pt x="2571" y="1592"/>
                  <a:pt x="2571" y="1592"/>
                </a:cubicBezTo>
                <a:cubicBezTo>
                  <a:pt x="2567" y="1592"/>
                  <a:pt x="2567" y="1592"/>
                  <a:pt x="2567" y="1592"/>
                </a:cubicBezTo>
                <a:cubicBezTo>
                  <a:pt x="2565" y="1593"/>
                  <a:pt x="2563" y="1594"/>
                  <a:pt x="2561" y="1595"/>
                </a:cubicBezTo>
                <a:cubicBezTo>
                  <a:pt x="2560" y="1597"/>
                  <a:pt x="2558" y="1597"/>
                  <a:pt x="2556" y="1598"/>
                </a:cubicBezTo>
                <a:cubicBezTo>
                  <a:pt x="2554" y="1600"/>
                  <a:pt x="2552" y="1600"/>
                  <a:pt x="2550" y="1601"/>
                </a:cubicBezTo>
                <a:cubicBezTo>
                  <a:pt x="2549" y="1602"/>
                  <a:pt x="2547" y="1602"/>
                  <a:pt x="2545" y="1602"/>
                </a:cubicBezTo>
                <a:cubicBezTo>
                  <a:pt x="2545" y="1602"/>
                  <a:pt x="2545" y="1602"/>
                  <a:pt x="2545" y="1613"/>
                </a:cubicBezTo>
                <a:cubicBezTo>
                  <a:pt x="2548" y="1612"/>
                  <a:pt x="2551" y="1611"/>
                  <a:pt x="2553" y="1610"/>
                </a:cubicBezTo>
                <a:cubicBezTo>
                  <a:pt x="2555" y="1609"/>
                  <a:pt x="2558" y="1608"/>
                  <a:pt x="2560" y="1606"/>
                </a:cubicBezTo>
                <a:cubicBezTo>
                  <a:pt x="2560" y="1606"/>
                  <a:pt x="2560" y="1606"/>
                  <a:pt x="2560" y="1665"/>
                </a:cubicBezTo>
                <a:cubicBezTo>
                  <a:pt x="2560" y="1665"/>
                  <a:pt x="2560" y="1665"/>
                  <a:pt x="2571" y="1665"/>
                </a:cubicBezTo>
                <a:cubicBezTo>
                  <a:pt x="2571" y="1665"/>
                  <a:pt x="2571" y="1665"/>
                  <a:pt x="2571" y="1592"/>
                </a:cubicBezTo>
                <a:close/>
                <a:moveTo>
                  <a:pt x="2321" y="1639"/>
                </a:moveTo>
                <a:cubicBezTo>
                  <a:pt x="2322" y="1640"/>
                  <a:pt x="2322" y="1642"/>
                  <a:pt x="2323" y="1643"/>
                </a:cubicBezTo>
                <a:cubicBezTo>
                  <a:pt x="2323" y="1645"/>
                  <a:pt x="2323" y="1647"/>
                  <a:pt x="2324" y="1648"/>
                </a:cubicBezTo>
                <a:cubicBezTo>
                  <a:pt x="2324" y="1650"/>
                  <a:pt x="2324" y="1652"/>
                  <a:pt x="2324" y="1653"/>
                </a:cubicBezTo>
                <a:cubicBezTo>
                  <a:pt x="2325" y="1656"/>
                  <a:pt x="2324" y="1658"/>
                  <a:pt x="2321" y="1658"/>
                </a:cubicBezTo>
                <a:cubicBezTo>
                  <a:pt x="2318" y="1658"/>
                  <a:pt x="2315" y="1657"/>
                  <a:pt x="2313" y="1657"/>
                </a:cubicBezTo>
                <a:cubicBezTo>
                  <a:pt x="2312" y="1657"/>
                  <a:pt x="2311" y="1657"/>
                  <a:pt x="2311" y="1658"/>
                </a:cubicBezTo>
                <a:cubicBezTo>
                  <a:pt x="2309" y="1659"/>
                  <a:pt x="2308" y="1661"/>
                  <a:pt x="2307" y="1662"/>
                </a:cubicBezTo>
                <a:cubicBezTo>
                  <a:pt x="2305" y="1665"/>
                  <a:pt x="2302" y="1665"/>
                  <a:pt x="2299" y="1663"/>
                </a:cubicBezTo>
                <a:cubicBezTo>
                  <a:pt x="2297" y="1661"/>
                  <a:pt x="2296" y="1658"/>
                  <a:pt x="2294" y="1656"/>
                </a:cubicBezTo>
                <a:cubicBezTo>
                  <a:pt x="2294" y="1654"/>
                  <a:pt x="2294" y="1652"/>
                  <a:pt x="2296" y="1651"/>
                </a:cubicBezTo>
                <a:cubicBezTo>
                  <a:pt x="2294" y="1651"/>
                  <a:pt x="2292" y="1651"/>
                  <a:pt x="2291" y="1651"/>
                </a:cubicBezTo>
                <a:cubicBezTo>
                  <a:pt x="2290" y="1653"/>
                  <a:pt x="2289" y="1655"/>
                  <a:pt x="2288" y="1657"/>
                </a:cubicBezTo>
                <a:cubicBezTo>
                  <a:pt x="2288" y="1657"/>
                  <a:pt x="2287" y="1658"/>
                  <a:pt x="2287" y="1659"/>
                </a:cubicBezTo>
                <a:cubicBezTo>
                  <a:pt x="2287" y="1662"/>
                  <a:pt x="2286" y="1663"/>
                  <a:pt x="2283" y="1663"/>
                </a:cubicBezTo>
                <a:cubicBezTo>
                  <a:pt x="2280" y="1663"/>
                  <a:pt x="2277" y="1662"/>
                  <a:pt x="2274" y="1661"/>
                </a:cubicBezTo>
                <a:cubicBezTo>
                  <a:pt x="2272" y="1660"/>
                  <a:pt x="2272" y="1659"/>
                  <a:pt x="2272" y="1657"/>
                </a:cubicBezTo>
                <a:cubicBezTo>
                  <a:pt x="2273" y="1656"/>
                  <a:pt x="2273" y="1655"/>
                  <a:pt x="2273" y="1655"/>
                </a:cubicBezTo>
                <a:cubicBezTo>
                  <a:pt x="2271" y="1654"/>
                  <a:pt x="2268" y="1653"/>
                  <a:pt x="2266" y="1652"/>
                </a:cubicBezTo>
                <a:cubicBezTo>
                  <a:pt x="2265" y="1651"/>
                  <a:pt x="2264" y="1649"/>
                  <a:pt x="2263" y="1647"/>
                </a:cubicBezTo>
                <a:cubicBezTo>
                  <a:pt x="2262" y="1645"/>
                  <a:pt x="2262" y="1644"/>
                  <a:pt x="2264" y="1642"/>
                </a:cubicBezTo>
                <a:cubicBezTo>
                  <a:pt x="2267" y="1640"/>
                  <a:pt x="2268" y="1637"/>
                  <a:pt x="2267" y="1633"/>
                </a:cubicBezTo>
                <a:cubicBezTo>
                  <a:pt x="2267" y="1631"/>
                  <a:pt x="2267" y="1629"/>
                  <a:pt x="2267" y="1627"/>
                </a:cubicBezTo>
                <a:cubicBezTo>
                  <a:pt x="2266" y="1626"/>
                  <a:pt x="2264" y="1626"/>
                  <a:pt x="2263" y="1625"/>
                </a:cubicBezTo>
                <a:cubicBezTo>
                  <a:pt x="2262" y="1623"/>
                  <a:pt x="2262" y="1621"/>
                  <a:pt x="2262" y="1619"/>
                </a:cubicBezTo>
                <a:cubicBezTo>
                  <a:pt x="2261" y="1616"/>
                  <a:pt x="2265" y="1614"/>
                  <a:pt x="2267" y="1613"/>
                </a:cubicBezTo>
                <a:cubicBezTo>
                  <a:pt x="2268" y="1614"/>
                  <a:pt x="2268" y="1614"/>
                  <a:pt x="2268" y="1615"/>
                </a:cubicBezTo>
                <a:cubicBezTo>
                  <a:pt x="2268" y="1616"/>
                  <a:pt x="2268" y="1617"/>
                  <a:pt x="2269" y="1618"/>
                </a:cubicBezTo>
                <a:cubicBezTo>
                  <a:pt x="2268" y="1618"/>
                  <a:pt x="2267" y="1618"/>
                  <a:pt x="2267" y="1618"/>
                </a:cubicBezTo>
                <a:cubicBezTo>
                  <a:pt x="2267" y="1619"/>
                  <a:pt x="2266" y="1620"/>
                  <a:pt x="2265" y="1622"/>
                </a:cubicBezTo>
                <a:cubicBezTo>
                  <a:pt x="2267" y="1622"/>
                  <a:pt x="2267" y="1622"/>
                  <a:pt x="2268" y="1621"/>
                </a:cubicBezTo>
                <a:cubicBezTo>
                  <a:pt x="2269" y="1620"/>
                  <a:pt x="2270" y="1619"/>
                  <a:pt x="2271" y="1618"/>
                </a:cubicBezTo>
                <a:cubicBezTo>
                  <a:pt x="2275" y="1612"/>
                  <a:pt x="2281" y="1608"/>
                  <a:pt x="2289" y="1606"/>
                </a:cubicBezTo>
                <a:cubicBezTo>
                  <a:pt x="2292" y="1606"/>
                  <a:pt x="2295" y="1604"/>
                  <a:pt x="2297" y="1602"/>
                </a:cubicBezTo>
                <a:cubicBezTo>
                  <a:pt x="2297" y="1601"/>
                  <a:pt x="2298" y="1601"/>
                  <a:pt x="2298" y="1601"/>
                </a:cubicBezTo>
                <a:cubicBezTo>
                  <a:pt x="2301" y="1600"/>
                  <a:pt x="2303" y="1598"/>
                  <a:pt x="2305" y="1596"/>
                </a:cubicBezTo>
                <a:cubicBezTo>
                  <a:pt x="2312" y="1589"/>
                  <a:pt x="2324" y="1588"/>
                  <a:pt x="2332" y="1595"/>
                </a:cubicBezTo>
                <a:cubicBezTo>
                  <a:pt x="2334" y="1597"/>
                  <a:pt x="2337" y="1599"/>
                  <a:pt x="2339" y="1601"/>
                </a:cubicBezTo>
                <a:cubicBezTo>
                  <a:pt x="2341" y="1602"/>
                  <a:pt x="2342" y="1604"/>
                  <a:pt x="2343" y="1606"/>
                </a:cubicBezTo>
                <a:cubicBezTo>
                  <a:pt x="2344" y="1607"/>
                  <a:pt x="2345" y="1607"/>
                  <a:pt x="2346" y="1606"/>
                </a:cubicBezTo>
                <a:cubicBezTo>
                  <a:pt x="2347" y="1606"/>
                  <a:pt x="2347" y="1605"/>
                  <a:pt x="2348" y="1604"/>
                </a:cubicBezTo>
                <a:cubicBezTo>
                  <a:pt x="2350" y="1601"/>
                  <a:pt x="2353" y="1601"/>
                  <a:pt x="2354" y="1604"/>
                </a:cubicBezTo>
                <a:cubicBezTo>
                  <a:pt x="2356" y="1608"/>
                  <a:pt x="2356" y="1610"/>
                  <a:pt x="2357" y="1614"/>
                </a:cubicBezTo>
                <a:cubicBezTo>
                  <a:pt x="2358" y="1618"/>
                  <a:pt x="2357" y="1622"/>
                  <a:pt x="2356" y="1627"/>
                </a:cubicBezTo>
                <a:cubicBezTo>
                  <a:pt x="2353" y="1633"/>
                  <a:pt x="2349" y="1636"/>
                  <a:pt x="2342" y="1636"/>
                </a:cubicBezTo>
                <a:cubicBezTo>
                  <a:pt x="2341" y="1636"/>
                  <a:pt x="2341" y="1636"/>
                  <a:pt x="2340" y="1636"/>
                </a:cubicBezTo>
                <a:cubicBezTo>
                  <a:pt x="2338" y="1636"/>
                  <a:pt x="2336" y="1636"/>
                  <a:pt x="2336" y="1639"/>
                </a:cubicBezTo>
                <a:cubicBezTo>
                  <a:pt x="2334" y="1643"/>
                  <a:pt x="2329" y="1645"/>
                  <a:pt x="2325" y="1642"/>
                </a:cubicBezTo>
                <a:cubicBezTo>
                  <a:pt x="2324" y="1640"/>
                  <a:pt x="2323" y="1640"/>
                  <a:pt x="2322" y="1638"/>
                </a:cubicBezTo>
                <a:cubicBezTo>
                  <a:pt x="2322" y="1639"/>
                  <a:pt x="2322" y="1639"/>
                  <a:pt x="2321" y="1639"/>
                </a:cubicBezTo>
                <a:close/>
                <a:moveTo>
                  <a:pt x="2316" y="1635"/>
                </a:moveTo>
                <a:cubicBezTo>
                  <a:pt x="2319" y="1636"/>
                  <a:pt x="2323" y="1637"/>
                  <a:pt x="2325" y="1640"/>
                </a:cubicBezTo>
                <a:cubicBezTo>
                  <a:pt x="2327" y="1642"/>
                  <a:pt x="2329" y="1642"/>
                  <a:pt x="2331" y="1642"/>
                </a:cubicBezTo>
                <a:cubicBezTo>
                  <a:pt x="2334" y="1641"/>
                  <a:pt x="2335" y="1639"/>
                  <a:pt x="2335" y="1636"/>
                </a:cubicBezTo>
                <a:cubicBezTo>
                  <a:pt x="2335" y="1636"/>
                  <a:pt x="2334" y="1636"/>
                  <a:pt x="2334" y="1636"/>
                </a:cubicBezTo>
                <a:cubicBezTo>
                  <a:pt x="2334" y="1638"/>
                  <a:pt x="2333" y="1639"/>
                  <a:pt x="2332" y="1640"/>
                </a:cubicBezTo>
                <a:cubicBezTo>
                  <a:pt x="2331" y="1641"/>
                  <a:pt x="2329" y="1641"/>
                  <a:pt x="2329" y="1640"/>
                </a:cubicBezTo>
                <a:cubicBezTo>
                  <a:pt x="2328" y="1640"/>
                  <a:pt x="2327" y="1639"/>
                  <a:pt x="2327" y="1638"/>
                </a:cubicBezTo>
                <a:cubicBezTo>
                  <a:pt x="2327" y="1636"/>
                  <a:pt x="2328" y="1634"/>
                  <a:pt x="2328" y="1632"/>
                </a:cubicBezTo>
                <a:cubicBezTo>
                  <a:pt x="2331" y="1633"/>
                  <a:pt x="2334" y="1634"/>
                  <a:pt x="2338" y="1635"/>
                </a:cubicBezTo>
                <a:cubicBezTo>
                  <a:pt x="2345" y="1636"/>
                  <a:pt x="2351" y="1634"/>
                  <a:pt x="2354" y="1625"/>
                </a:cubicBezTo>
                <a:cubicBezTo>
                  <a:pt x="2356" y="1621"/>
                  <a:pt x="2356" y="1616"/>
                  <a:pt x="2355" y="1611"/>
                </a:cubicBezTo>
                <a:cubicBezTo>
                  <a:pt x="2354" y="1609"/>
                  <a:pt x="2354" y="1607"/>
                  <a:pt x="2353" y="1605"/>
                </a:cubicBezTo>
                <a:cubicBezTo>
                  <a:pt x="2352" y="1604"/>
                  <a:pt x="2351" y="1603"/>
                  <a:pt x="2350" y="1605"/>
                </a:cubicBezTo>
                <a:cubicBezTo>
                  <a:pt x="2348" y="1606"/>
                  <a:pt x="2347" y="1608"/>
                  <a:pt x="2345" y="1609"/>
                </a:cubicBezTo>
                <a:cubicBezTo>
                  <a:pt x="2344" y="1609"/>
                  <a:pt x="2343" y="1610"/>
                  <a:pt x="2343" y="1611"/>
                </a:cubicBezTo>
                <a:cubicBezTo>
                  <a:pt x="2344" y="1614"/>
                  <a:pt x="2343" y="1617"/>
                  <a:pt x="2342" y="1621"/>
                </a:cubicBezTo>
                <a:cubicBezTo>
                  <a:pt x="2342" y="1619"/>
                  <a:pt x="2343" y="1617"/>
                  <a:pt x="2343" y="1615"/>
                </a:cubicBezTo>
                <a:cubicBezTo>
                  <a:pt x="2343" y="1614"/>
                  <a:pt x="2342" y="1614"/>
                  <a:pt x="2342" y="1614"/>
                </a:cubicBezTo>
                <a:cubicBezTo>
                  <a:pt x="2342" y="1614"/>
                  <a:pt x="2341" y="1614"/>
                  <a:pt x="2341" y="1614"/>
                </a:cubicBezTo>
                <a:cubicBezTo>
                  <a:pt x="2340" y="1616"/>
                  <a:pt x="2339" y="1617"/>
                  <a:pt x="2338" y="1618"/>
                </a:cubicBezTo>
                <a:cubicBezTo>
                  <a:pt x="2338" y="1618"/>
                  <a:pt x="2338" y="1618"/>
                  <a:pt x="2338" y="1618"/>
                </a:cubicBezTo>
                <a:cubicBezTo>
                  <a:pt x="2338" y="1617"/>
                  <a:pt x="2339" y="1615"/>
                  <a:pt x="2339" y="1613"/>
                </a:cubicBezTo>
                <a:cubicBezTo>
                  <a:pt x="2338" y="1614"/>
                  <a:pt x="2338" y="1614"/>
                  <a:pt x="2337" y="1615"/>
                </a:cubicBezTo>
                <a:cubicBezTo>
                  <a:pt x="2336" y="1615"/>
                  <a:pt x="2336" y="1616"/>
                  <a:pt x="2336" y="1617"/>
                </a:cubicBezTo>
                <a:cubicBezTo>
                  <a:pt x="2336" y="1613"/>
                  <a:pt x="2336" y="1613"/>
                  <a:pt x="2342" y="1612"/>
                </a:cubicBezTo>
                <a:cubicBezTo>
                  <a:pt x="2342" y="1612"/>
                  <a:pt x="2341" y="1611"/>
                  <a:pt x="2341" y="1611"/>
                </a:cubicBezTo>
                <a:cubicBezTo>
                  <a:pt x="2338" y="1612"/>
                  <a:pt x="2338" y="1610"/>
                  <a:pt x="2337" y="1608"/>
                </a:cubicBezTo>
                <a:cubicBezTo>
                  <a:pt x="2339" y="1607"/>
                  <a:pt x="2340" y="1607"/>
                  <a:pt x="2342" y="1606"/>
                </a:cubicBezTo>
                <a:cubicBezTo>
                  <a:pt x="2340" y="1604"/>
                  <a:pt x="2339" y="1601"/>
                  <a:pt x="2336" y="1601"/>
                </a:cubicBezTo>
                <a:cubicBezTo>
                  <a:pt x="2335" y="1601"/>
                  <a:pt x="2335" y="1600"/>
                  <a:pt x="2335" y="1600"/>
                </a:cubicBezTo>
                <a:cubicBezTo>
                  <a:pt x="2333" y="1598"/>
                  <a:pt x="2330" y="1596"/>
                  <a:pt x="2327" y="1594"/>
                </a:cubicBezTo>
                <a:cubicBezTo>
                  <a:pt x="2325" y="1593"/>
                  <a:pt x="2322" y="1592"/>
                  <a:pt x="2320" y="1592"/>
                </a:cubicBezTo>
                <a:cubicBezTo>
                  <a:pt x="2317" y="1592"/>
                  <a:pt x="2314" y="1593"/>
                  <a:pt x="2311" y="1594"/>
                </a:cubicBezTo>
                <a:cubicBezTo>
                  <a:pt x="2308" y="1595"/>
                  <a:pt x="2305" y="1597"/>
                  <a:pt x="2303" y="1600"/>
                </a:cubicBezTo>
                <a:cubicBezTo>
                  <a:pt x="2305" y="1600"/>
                  <a:pt x="2306" y="1600"/>
                  <a:pt x="2307" y="1600"/>
                </a:cubicBezTo>
                <a:cubicBezTo>
                  <a:pt x="2307" y="1600"/>
                  <a:pt x="2306" y="1601"/>
                  <a:pt x="2305" y="1601"/>
                </a:cubicBezTo>
                <a:cubicBezTo>
                  <a:pt x="2303" y="1602"/>
                  <a:pt x="2300" y="1601"/>
                  <a:pt x="2298" y="1603"/>
                </a:cubicBezTo>
                <a:cubicBezTo>
                  <a:pt x="2295" y="1607"/>
                  <a:pt x="2291" y="1611"/>
                  <a:pt x="2287" y="1615"/>
                </a:cubicBezTo>
                <a:cubicBezTo>
                  <a:pt x="2286" y="1617"/>
                  <a:pt x="2285" y="1619"/>
                  <a:pt x="2284" y="1622"/>
                </a:cubicBezTo>
                <a:cubicBezTo>
                  <a:pt x="2284" y="1622"/>
                  <a:pt x="2284" y="1623"/>
                  <a:pt x="2284" y="1623"/>
                </a:cubicBezTo>
                <a:cubicBezTo>
                  <a:pt x="2285" y="1625"/>
                  <a:pt x="2287" y="1627"/>
                  <a:pt x="2288" y="1629"/>
                </a:cubicBezTo>
                <a:cubicBezTo>
                  <a:pt x="2289" y="1628"/>
                  <a:pt x="2291" y="1626"/>
                  <a:pt x="2292" y="1625"/>
                </a:cubicBezTo>
                <a:cubicBezTo>
                  <a:pt x="2291" y="1626"/>
                  <a:pt x="2291" y="1627"/>
                  <a:pt x="2290" y="1629"/>
                </a:cubicBezTo>
                <a:cubicBezTo>
                  <a:pt x="2289" y="1630"/>
                  <a:pt x="2289" y="1631"/>
                  <a:pt x="2288" y="1633"/>
                </a:cubicBezTo>
                <a:cubicBezTo>
                  <a:pt x="2288" y="1634"/>
                  <a:pt x="2288" y="1635"/>
                  <a:pt x="2289" y="1636"/>
                </a:cubicBezTo>
                <a:cubicBezTo>
                  <a:pt x="2291" y="1639"/>
                  <a:pt x="2294" y="1639"/>
                  <a:pt x="2298" y="1637"/>
                </a:cubicBezTo>
                <a:cubicBezTo>
                  <a:pt x="2300" y="1636"/>
                  <a:pt x="2303" y="1635"/>
                  <a:pt x="2306" y="1634"/>
                </a:cubicBezTo>
                <a:cubicBezTo>
                  <a:pt x="2307" y="1633"/>
                  <a:pt x="2309" y="1633"/>
                  <a:pt x="2309" y="1631"/>
                </a:cubicBezTo>
                <a:cubicBezTo>
                  <a:pt x="2309" y="1628"/>
                  <a:pt x="2309" y="1624"/>
                  <a:pt x="2309" y="1621"/>
                </a:cubicBezTo>
                <a:cubicBezTo>
                  <a:pt x="2309" y="1618"/>
                  <a:pt x="2309" y="1615"/>
                  <a:pt x="2309" y="1612"/>
                </a:cubicBezTo>
                <a:cubicBezTo>
                  <a:pt x="2309" y="1615"/>
                  <a:pt x="2310" y="1617"/>
                  <a:pt x="2310" y="1620"/>
                </a:cubicBezTo>
                <a:cubicBezTo>
                  <a:pt x="2311" y="1625"/>
                  <a:pt x="2311" y="1629"/>
                  <a:pt x="2310" y="1633"/>
                </a:cubicBezTo>
                <a:cubicBezTo>
                  <a:pt x="2309" y="1634"/>
                  <a:pt x="2309" y="1635"/>
                  <a:pt x="2308" y="1635"/>
                </a:cubicBezTo>
                <a:cubicBezTo>
                  <a:pt x="2305" y="1635"/>
                  <a:pt x="2302" y="1637"/>
                  <a:pt x="2298" y="1639"/>
                </a:cubicBezTo>
                <a:cubicBezTo>
                  <a:pt x="2293" y="1642"/>
                  <a:pt x="2290" y="1640"/>
                  <a:pt x="2286" y="1636"/>
                </a:cubicBezTo>
                <a:cubicBezTo>
                  <a:pt x="2286" y="1636"/>
                  <a:pt x="2286" y="1635"/>
                  <a:pt x="2286" y="1634"/>
                </a:cubicBezTo>
                <a:cubicBezTo>
                  <a:pt x="2287" y="1632"/>
                  <a:pt x="2286" y="1630"/>
                  <a:pt x="2285" y="1628"/>
                </a:cubicBezTo>
                <a:cubicBezTo>
                  <a:pt x="2283" y="1626"/>
                  <a:pt x="2282" y="1623"/>
                  <a:pt x="2283" y="1621"/>
                </a:cubicBezTo>
                <a:cubicBezTo>
                  <a:pt x="2283" y="1619"/>
                  <a:pt x="2284" y="1617"/>
                  <a:pt x="2285" y="1616"/>
                </a:cubicBezTo>
                <a:cubicBezTo>
                  <a:pt x="2287" y="1613"/>
                  <a:pt x="2289" y="1610"/>
                  <a:pt x="2291" y="1608"/>
                </a:cubicBezTo>
                <a:cubicBezTo>
                  <a:pt x="2291" y="1608"/>
                  <a:pt x="2290" y="1608"/>
                  <a:pt x="2290" y="1608"/>
                </a:cubicBezTo>
                <a:cubicBezTo>
                  <a:pt x="2285" y="1609"/>
                  <a:pt x="2281" y="1610"/>
                  <a:pt x="2277" y="1614"/>
                </a:cubicBezTo>
                <a:cubicBezTo>
                  <a:pt x="2272" y="1618"/>
                  <a:pt x="2269" y="1623"/>
                  <a:pt x="2269" y="1630"/>
                </a:cubicBezTo>
                <a:cubicBezTo>
                  <a:pt x="2269" y="1636"/>
                  <a:pt x="2271" y="1642"/>
                  <a:pt x="2274" y="1648"/>
                </a:cubicBezTo>
                <a:cubicBezTo>
                  <a:pt x="2275" y="1649"/>
                  <a:pt x="2276" y="1651"/>
                  <a:pt x="2275" y="1652"/>
                </a:cubicBezTo>
                <a:cubicBezTo>
                  <a:pt x="2275" y="1654"/>
                  <a:pt x="2275" y="1655"/>
                  <a:pt x="2274" y="1656"/>
                </a:cubicBezTo>
                <a:cubicBezTo>
                  <a:pt x="2274" y="1658"/>
                  <a:pt x="2274" y="1659"/>
                  <a:pt x="2275" y="1659"/>
                </a:cubicBezTo>
                <a:cubicBezTo>
                  <a:pt x="2278" y="1660"/>
                  <a:pt x="2281" y="1661"/>
                  <a:pt x="2284" y="1661"/>
                </a:cubicBezTo>
                <a:cubicBezTo>
                  <a:pt x="2285" y="1661"/>
                  <a:pt x="2285" y="1660"/>
                  <a:pt x="2285" y="1660"/>
                </a:cubicBezTo>
                <a:cubicBezTo>
                  <a:pt x="2286" y="1659"/>
                  <a:pt x="2286" y="1657"/>
                  <a:pt x="2287" y="1656"/>
                </a:cubicBezTo>
                <a:cubicBezTo>
                  <a:pt x="2289" y="1654"/>
                  <a:pt x="2289" y="1651"/>
                  <a:pt x="2289" y="1648"/>
                </a:cubicBezTo>
                <a:cubicBezTo>
                  <a:pt x="2289" y="1648"/>
                  <a:pt x="2289" y="1648"/>
                  <a:pt x="2289" y="1647"/>
                </a:cubicBezTo>
                <a:cubicBezTo>
                  <a:pt x="2289" y="1647"/>
                  <a:pt x="2289" y="1647"/>
                  <a:pt x="2289" y="1646"/>
                </a:cubicBezTo>
                <a:cubicBezTo>
                  <a:pt x="2289" y="1649"/>
                  <a:pt x="2291" y="1649"/>
                  <a:pt x="2293" y="1649"/>
                </a:cubicBezTo>
                <a:cubicBezTo>
                  <a:pt x="2293" y="1649"/>
                  <a:pt x="2294" y="1649"/>
                  <a:pt x="2295" y="1649"/>
                </a:cubicBezTo>
                <a:cubicBezTo>
                  <a:pt x="2298" y="1649"/>
                  <a:pt x="2301" y="1650"/>
                  <a:pt x="2302" y="1646"/>
                </a:cubicBezTo>
                <a:cubicBezTo>
                  <a:pt x="2302" y="1648"/>
                  <a:pt x="2302" y="1650"/>
                  <a:pt x="2302" y="1650"/>
                </a:cubicBezTo>
                <a:cubicBezTo>
                  <a:pt x="2300" y="1651"/>
                  <a:pt x="2299" y="1652"/>
                  <a:pt x="2298" y="1652"/>
                </a:cubicBezTo>
                <a:cubicBezTo>
                  <a:pt x="2296" y="1653"/>
                  <a:pt x="2296" y="1655"/>
                  <a:pt x="2296" y="1656"/>
                </a:cubicBezTo>
                <a:cubicBezTo>
                  <a:pt x="2298" y="1658"/>
                  <a:pt x="2299" y="1660"/>
                  <a:pt x="2300" y="1662"/>
                </a:cubicBezTo>
                <a:cubicBezTo>
                  <a:pt x="2302" y="1663"/>
                  <a:pt x="2304" y="1663"/>
                  <a:pt x="2305" y="1661"/>
                </a:cubicBezTo>
                <a:cubicBezTo>
                  <a:pt x="2306" y="1660"/>
                  <a:pt x="2307" y="1659"/>
                  <a:pt x="2307" y="1659"/>
                </a:cubicBezTo>
                <a:cubicBezTo>
                  <a:pt x="2309" y="1657"/>
                  <a:pt x="2311" y="1656"/>
                  <a:pt x="2312" y="1655"/>
                </a:cubicBezTo>
                <a:cubicBezTo>
                  <a:pt x="2316" y="1651"/>
                  <a:pt x="2318" y="1645"/>
                  <a:pt x="2320" y="1639"/>
                </a:cubicBezTo>
                <a:cubicBezTo>
                  <a:pt x="2320" y="1638"/>
                  <a:pt x="2319" y="1638"/>
                  <a:pt x="2319" y="1637"/>
                </a:cubicBezTo>
                <a:cubicBezTo>
                  <a:pt x="2318" y="1636"/>
                  <a:pt x="2317" y="1635"/>
                  <a:pt x="2316" y="1635"/>
                </a:cubicBezTo>
                <a:close/>
                <a:moveTo>
                  <a:pt x="2269" y="1641"/>
                </a:moveTo>
                <a:cubicBezTo>
                  <a:pt x="2268" y="1642"/>
                  <a:pt x="2266" y="1642"/>
                  <a:pt x="2265" y="1644"/>
                </a:cubicBezTo>
                <a:cubicBezTo>
                  <a:pt x="2265" y="1644"/>
                  <a:pt x="2264" y="1645"/>
                  <a:pt x="2264" y="1646"/>
                </a:cubicBezTo>
                <a:cubicBezTo>
                  <a:pt x="2264" y="1648"/>
                  <a:pt x="2269" y="1653"/>
                  <a:pt x="2272" y="1652"/>
                </a:cubicBezTo>
                <a:cubicBezTo>
                  <a:pt x="2273" y="1652"/>
                  <a:pt x="2274" y="1651"/>
                  <a:pt x="2273" y="1650"/>
                </a:cubicBezTo>
                <a:cubicBezTo>
                  <a:pt x="2272" y="1646"/>
                  <a:pt x="2270" y="1644"/>
                  <a:pt x="2269" y="1641"/>
                </a:cubicBezTo>
                <a:close/>
                <a:moveTo>
                  <a:pt x="2321" y="1643"/>
                </a:moveTo>
                <a:cubicBezTo>
                  <a:pt x="2319" y="1648"/>
                  <a:pt x="2316" y="1652"/>
                  <a:pt x="2314" y="1656"/>
                </a:cubicBezTo>
                <a:cubicBezTo>
                  <a:pt x="2317" y="1656"/>
                  <a:pt x="2319" y="1657"/>
                  <a:pt x="2322" y="1656"/>
                </a:cubicBezTo>
                <a:cubicBezTo>
                  <a:pt x="2322" y="1656"/>
                  <a:pt x="2323" y="1655"/>
                  <a:pt x="2323" y="1655"/>
                </a:cubicBezTo>
                <a:cubicBezTo>
                  <a:pt x="2323" y="1652"/>
                  <a:pt x="2323" y="1650"/>
                  <a:pt x="2322" y="1647"/>
                </a:cubicBezTo>
                <a:cubicBezTo>
                  <a:pt x="2322" y="1646"/>
                  <a:pt x="2322" y="1644"/>
                  <a:pt x="2321" y="1643"/>
                </a:cubicBezTo>
                <a:close/>
                <a:moveTo>
                  <a:pt x="2269" y="1623"/>
                </a:moveTo>
                <a:cubicBezTo>
                  <a:pt x="2268" y="1623"/>
                  <a:pt x="2267" y="1623"/>
                  <a:pt x="2267" y="1623"/>
                </a:cubicBezTo>
                <a:cubicBezTo>
                  <a:pt x="2266" y="1623"/>
                  <a:pt x="2265" y="1623"/>
                  <a:pt x="2265" y="1623"/>
                </a:cubicBezTo>
                <a:cubicBezTo>
                  <a:pt x="2265" y="1623"/>
                  <a:pt x="2264" y="1622"/>
                  <a:pt x="2264" y="1621"/>
                </a:cubicBezTo>
                <a:cubicBezTo>
                  <a:pt x="2265" y="1619"/>
                  <a:pt x="2265" y="1617"/>
                  <a:pt x="2266" y="1615"/>
                </a:cubicBezTo>
                <a:cubicBezTo>
                  <a:pt x="2266" y="1615"/>
                  <a:pt x="2266" y="1615"/>
                  <a:pt x="2265" y="1615"/>
                </a:cubicBezTo>
                <a:cubicBezTo>
                  <a:pt x="2265" y="1616"/>
                  <a:pt x="2263" y="1617"/>
                  <a:pt x="2263" y="1618"/>
                </a:cubicBezTo>
                <a:cubicBezTo>
                  <a:pt x="2262" y="1619"/>
                  <a:pt x="2263" y="1624"/>
                  <a:pt x="2265" y="1625"/>
                </a:cubicBezTo>
                <a:cubicBezTo>
                  <a:pt x="2267" y="1626"/>
                  <a:pt x="2269" y="1625"/>
                  <a:pt x="2269" y="1623"/>
                </a:cubicBezTo>
                <a:close/>
                <a:moveTo>
                  <a:pt x="2268" y="1641"/>
                </a:moveTo>
                <a:cubicBezTo>
                  <a:pt x="2268" y="1641"/>
                  <a:pt x="2266" y="1642"/>
                  <a:pt x="2265" y="1643"/>
                </a:cubicBezTo>
                <a:cubicBezTo>
                  <a:pt x="2264" y="1644"/>
                  <a:pt x="2264" y="1645"/>
                  <a:pt x="2264" y="1645"/>
                </a:cubicBezTo>
                <a:cubicBezTo>
                  <a:pt x="2264" y="1648"/>
                  <a:pt x="2268" y="1653"/>
                  <a:pt x="2272" y="1652"/>
                </a:cubicBezTo>
                <a:cubicBezTo>
                  <a:pt x="2273" y="1652"/>
                  <a:pt x="2274" y="1651"/>
                  <a:pt x="2273" y="1649"/>
                </a:cubicBezTo>
                <a:cubicBezTo>
                  <a:pt x="2272" y="1646"/>
                  <a:pt x="2270" y="1643"/>
                  <a:pt x="2268" y="1641"/>
                </a:cubicBezTo>
                <a:close/>
                <a:moveTo>
                  <a:pt x="2321" y="1642"/>
                </a:moveTo>
                <a:cubicBezTo>
                  <a:pt x="2319" y="1647"/>
                  <a:pt x="2316" y="1652"/>
                  <a:pt x="2314" y="1656"/>
                </a:cubicBezTo>
                <a:cubicBezTo>
                  <a:pt x="2317" y="1656"/>
                  <a:pt x="2319" y="1656"/>
                  <a:pt x="2322" y="1656"/>
                </a:cubicBezTo>
                <a:cubicBezTo>
                  <a:pt x="2322" y="1656"/>
                  <a:pt x="2323" y="1655"/>
                  <a:pt x="2323" y="1654"/>
                </a:cubicBezTo>
                <a:cubicBezTo>
                  <a:pt x="2323" y="1652"/>
                  <a:pt x="2323" y="1649"/>
                  <a:pt x="2322" y="1647"/>
                </a:cubicBezTo>
                <a:cubicBezTo>
                  <a:pt x="2322" y="1645"/>
                  <a:pt x="2321" y="1644"/>
                  <a:pt x="2321" y="1642"/>
                </a:cubicBezTo>
                <a:close/>
                <a:moveTo>
                  <a:pt x="2268" y="1623"/>
                </a:moveTo>
                <a:cubicBezTo>
                  <a:pt x="2268" y="1623"/>
                  <a:pt x="2267" y="1623"/>
                  <a:pt x="2266" y="1623"/>
                </a:cubicBezTo>
                <a:cubicBezTo>
                  <a:pt x="2266" y="1623"/>
                  <a:pt x="2265" y="1623"/>
                  <a:pt x="2265" y="1623"/>
                </a:cubicBezTo>
                <a:cubicBezTo>
                  <a:pt x="2264" y="1623"/>
                  <a:pt x="2264" y="1622"/>
                  <a:pt x="2264" y="1621"/>
                </a:cubicBezTo>
                <a:cubicBezTo>
                  <a:pt x="2265" y="1619"/>
                  <a:pt x="2265" y="1617"/>
                  <a:pt x="2266" y="1615"/>
                </a:cubicBezTo>
                <a:cubicBezTo>
                  <a:pt x="2266" y="1615"/>
                  <a:pt x="2266" y="1615"/>
                  <a:pt x="2265" y="1615"/>
                </a:cubicBezTo>
                <a:cubicBezTo>
                  <a:pt x="2264" y="1616"/>
                  <a:pt x="2263" y="1617"/>
                  <a:pt x="2262" y="1618"/>
                </a:cubicBezTo>
                <a:cubicBezTo>
                  <a:pt x="2262" y="1619"/>
                  <a:pt x="2263" y="1624"/>
                  <a:pt x="2265" y="1625"/>
                </a:cubicBezTo>
                <a:cubicBezTo>
                  <a:pt x="2266" y="1626"/>
                  <a:pt x="2268" y="1624"/>
                  <a:pt x="2268" y="1623"/>
                </a:cubicBezTo>
                <a:close/>
                <a:moveTo>
                  <a:pt x="2321" y="1614"/>
                </a:moveTo>
                <a:cubicBezTo>
                  <a:pt x="2324" y="1611"/>
                  <a:pt x="2324" y="1611"/>
                  <a:pt x="2328" y="1609"/>
                </a:cubicBezTo>
                <a:cubicBezTo>
                  <a:pt x="2328" y="1611"/>
                  <a:pt x="2329" y="1613"/>
                  <a:pt x="2330" y="1613"/>
                </a:cubicBezTo>
                <a:cubicBezTo>
                  <a:pt x="2328" y="1614"/>
                  <a:pt x="2326" y="1615"/>
                  <a:pt x="2324" y="1617"/>
                </a:cubicBezTo>
                <a:cubicBezTo>
                  <a:pt x="2323" y="1616"/>
                  <a:pt x="2323" y="1615"/>
                  <a:pt x="2322" y="1614"/>
                </a:cubicBezTo>
                <a:cubicBezTo>
                  <a:pt x="2322" y="1614"/>
                  <a:pt x="2321" y="1614"/>
                  <a:pt x="2321" y="1614"/>
                </a:cubicBezTo>
                <a:close/>
                <a:moveTo>
                  <a:pt x="2326" y="1614"/>
                </a:moveTo>
                <a:cubicBezTo>
                  <a:pt x="2326" y="1613"/>
                  <a:pt x="2325" y="1613"/>
                  <a:pt x="2324" y="1613"/>
                </a:cubicBezTo>
                <a:cubicBezTo>
                  <a:pt x="2324" y="1613"/>
                  <a:pt x="2323" y="1614"/>
                  <a:pt x="2323" y="1614"/>
                </a:cubicBezTo>
                <a:cubicBezTo>
                  <a:pt x="2323" y="1615"/>
                  <a:pt x="2324" y="1615"/>
                  <a:pt x="2324" y="1615"/>
                </a:cubicBezTo>
                <a:cubicBezTo>
                  <a:pt x="2325" y="1615"/>
                  <a:pt x="2325" y="1615"/>
                  <a:pt x="2326" y="1614"/>
                </a:cubicBezTo>
                <a:close/>
                <a:moveTo>
                  <a:pt x="2308" y="1604"/>
                </a:moveTo>
                <a:cubicBezTo>
                  <a:pt x="2301" y="1604"/>
                  <a:pt x="2298" y="1606"/>
                  <a:pt x="2297" y="1614"/>
                </a:cubicBezTo>
                <a:cubicBezTo>
                  <a:pt x="2298" y="1612"/>
                  <a:pt x="2299" y="1609"/>
                  <a:pt x="2301" y="1607"/>
                </a:cubicBezTo>
                <a:cubicBezTo>
                  <a:pt x="2301" y="1607"/>
                  <a:pt x="2301" y="1607"/>
                  <a:pt x="2301" y="1607"/>
                </a:cubicBezTo>
                <a:cubicBezTo>
                  <a:pt x="2301" y="1608"/>
                  <a:pt x="2301" y="1609"/>
                  <a:pt x="2301" y="1610"/>
                </a:cubicBezTo>
                <a:cubicBezTo>
                  <a:pt x="2303" y="1607"/>
                  <a:pt x="2304" y="1605"/>
                  <a:pt x="2308" y="1604"/>
                </a:cubicBezTo>
                <a:close/>
                <a:moveTo>
                  <a:pt x="2351" y="1606"/>
                </a:moveTo>
                <a:cubicBezTo>
                  <a:pt x="2349" y="1607"/>
                  <a:pt x="2347" y="1609"/>
                  <a:pt x="2346" y="1610"/>
                </a:cubicBezTo>
                <a:cubicBezTo>
                  <a:pt x="2348" y="1610"/>
                  <a:pt x="2350" y="1609"/>
                  <a:pt x="2351" y="1606"/>
                </a:cubicBezTo>
                <a:close/>
                <a:moveTo>
                  <a:pt x="2318" y="1608"/>
                </a:moveTo>
                <a:cubicBezTo>
                  <a:pt x="2319" y="1607"/>
                  <a:pt x="2320" y="1605"/>
                  <a:pt x="2322" y="1604"/>
                </a:cubicBezTo>
                <a:cubicBezTo>
                  <a:pt x="2318" y="1605"/>
                  <a:pt x="2317" y="1606"/>
                  <a:pt x="2318" y="1608"/>
                </a:cubicBezTo>
                <a:close/>
                <a:moveTo>
                  <a:pt x="2328" y="1629"/>
                </a:moveTo>
                <a:cubicBezTo>
                  <a:pt x="2326" y="1629"/>
                  <a:pt x="2325" y="1630"/>
                  <a:pt x="2325" y="1631"/>
                </a:cubicBezTo>
                <a:cubicBezTo>
                  <a:pt x="2326" y="1631"/>
                  <a:pt x="2327" y="1630"/>
                  <a:pt x="2328" y="1629"/>
                </a:cubicBezTo>
                <a:close/>
                <a:moveTo>
                  <a:pt x="2326" y="1614"/>
                </a:moveTo>
                <a:cubicBezTo>
                  <a:pt x="2326" y="1613"/>
                  <a:pt x="2325" y="1613"/>
                  <a:pt x="2325" y="1613"/>
                </a:cubicBezTo>
                <a:cubicBezTo>
                  <a:pt x="2324" y="1613"/>
                  <a:pt x="2324" y="1614"/>
                  <a:pt x="2324" y="1614"/>
                </a:cubicBezTo>
                <a:cubicBezTo>
                  <a:pt x="2324" y="1615"/>
                  <a:pt x="2324" y="1615"/>
                  <a:pt x="2324" y="1616"/>
                </a:cubicBezTo>
                <a:cubicBezTo>
                  <a:pt x="2325" y="1615"/>
                  <a:pt x="2325" y="1615"/>
                  <a:pt x="2326" y="1614"/>
                </a:cubicBezTo>
                <a:close/>
                <a:moveTo>
                  <a:pt x="2617" y="1592"/>
                </a:moveTo>
                <a:cubicBezTo>
                  <a:pt x="2617" y="1592"/>
                  <a:pt x="2617" y="1592"/>
                  <a:pt x="2617" y="1592"/>
                </a:cubicBezTo>
                <a:cubicBezTo>
                  <a:pt x="2613" y="1592"/>
                  <a:pt x="2613" y="1592"/>
                  <a:pt x="2613" y="1592"/>
                </a:cubicBezTo>
                <a:cubicBezTo>
                  <a:pt x="2611" y="1593"/>
                  <a:pt x="2609" y="1594"/>
                  <a:pt x="2607" y="1595"/>
                </a:cubicBezTo>
                <a:cubicBezTo>
                  <a:pt x="2606" y="1597"/>
                  <a:pt x="2603" y="1597"/>
                  <a:pt x="2602" y="1598"/>
                </a:cubicBezTo>
                <a:cubicBezTo>
                  <a:pt x="2600" y="1600"/>
                  <a:pt x="2598" y="1600"/>
                  <a:pt x="2596" y="1601"/>
                </a:cubicBezTo>
                <a:cubicBezTo>
                  <a:pt x="2595" y="1602"/>
                  <a:pt x="2592" y="1602"/>
                  <a:pt x="2591" y="1602"/>
                </a:cubicBezTo>
                <a:cubicBezTo>
                  <a:pt x="2591" y="1602"/>
                  <a:pt x="2591" y="1602"/>
                  <a:pt x="2591" y="1613"/>
                </a:cubicBezTo>
                <a:cubicBezTo>
                  <a:pt x="2594" y="1612"/>
                  <a:pt x="2597" y="1611"/>
                  <a:pt x="2599" y="1610"/>
                </a:cubicBezTo>
                <a:cubicBezTo>
                  <a:pt x="2601" y="1609"/>
                  <a:pt x="2604" y="1608"/>
                  <a:pt x="2606" y="1606"/>
                </a:cubicBezTo>
                <a:cubicBezTo>
                  <a:pt x="2606" y="1606"/>
                  <a:pt x="2606" y="1606"/>
                  <a:pt x="2606" y="1665"/>
                </a:cubicBezTo>
                <a:cubicBezTo>
                  <a:pt x="2606" y="1665"/>
                  <a:pt x="2606" y="1665"/>
                  <a:pt x="2617" y="1665"/>
                </a:cubicBezTo>
                <a:cubicBezTo>
                  <a:pt x="2617" y="1665"/>
                  <a:pt x="2617" y="1665"/>
                  <a:pt x="2617" y="1592"/>
                </a:cubicBezTo>
                <a:close/>
                <a:moveTo>
                  <a:pt x="2739" y="1592"/>
                </a:moveTo>
                <a:cubicBezTo>
                  <a:pt x="2739" y="1592"/>
                  <a:pt x="2739" y="1592"/>
                  <a:pt x="2739" y="1592"/>
                </a:cubicBezTo>
                <a:cubicBezTo>
                  <a:pt x="2734" y="1592"/>
                  <a:pt x="2734" y="1592"/>
                  <a:pt x="2734" y="1592"/>
                </a:cubicBezTo>
                <a:cubicBezTo>
                  <a:pt x="2731" y="1593"/>
                  <a:pt x="2730" y="1594"/>
                  <a:pt x="2728" y="1595"/>
                </a:cubicBezTo>
                <a:cubicBezTo>
                  <a:pt x="2726" y="1597"/>
                  <a:pt x="2725" y="1597"/>
                  <a:pt x="2722" y="1598"/>
                </a:cubicBezTo>
                <a:cubicBezTo>
                  <a:pt x="2721" y="1600"/>
                  <a:pt x="2719" y="1600"/>
                  <a:pt x="2717" y="1601"/>
                </a:cubicBezTo>
                <a:cubicBezTo>
                  <a:pt x="2715" y="1602"/>
                  <a:pt x="2714" y="1602"/>
                  <a:pt x="2711" y="1602"/>
                </a:cubicBezTo>
                <a:cubicBezTo>
                  <a:pt x="2711" y="1602"/>
                  <a:pt x="2711" y="1602"/>
                  <a:pt x="2711" y="1613"/>
                </a:cubicBezTo>
                <a:cubicBezTo>
                  <a:pt x="2714" y="1612"/>
                  <a:pt x="2717" y="1611"/>
                  <a:pt x="2720" y="1610"/>
                </a:cubicBezTo>
                <a:cubicBezTo>
                  <a:pt x="2722" y="1609"/>
                  <a:pt x="2725" y="1608"/>
                  <a:pt x="2727" y="1606"/>
                </a:cubicBezTo>
                <a:cubicBezTo>
                  <a:pt x="2727" y="1606"/>
                  <a:pt x="2727" y="1606"/>
                  <a:pt x="2727" y="1665"/>
                </a:cubicBezTo>
                <a:cubicBezTo>
                  <a:pt x="2727" y="1665"/>
                  <a:pt x="2727" y="1665"/>
                  <a:pt x="2739" y="1665"/>
                </a:cubicBezTo>
                <a:cubicBezTo>
                  <a:pt x="2739" y="1665"/>
                  <a:pt x="2739" y="1665"/>
                  <a:pt x="2739" y="1592"/>
                </a:cubicBezTo>
                <a:close/>
                <a:moveTo>
                  <a:pt x="2785" y="1592"/>
                </a:moveTo>
                <a:cubicBezTo>
                  <a:pt x="2785" y="1592"/>
                  <a:pt x="2785" y="1592"/>
                  <a:pt x="2785" y="1592"/>
                </a:cubicBezTo>
                <a:cubicBezTo>
                  <a:pt x="2780" y="1592"/>
                  <a:pt x="2780" y="1592"/>
                  <a:pt x="2780" y="1592"/>
                </a:cubicBezTo>
                <a:cubicBezTo>
                  <a:pt x="2778" y="1593"/>
                  <a:pt x="2777" y="1594"/>
                  <a:pt x="2774" y="1595"/>
                </a:cubicBezTo>
                <a:cubicBezTo>
                  <a:pt x="2773" y="1597"/>
                  <a:pt x="2771" y="1597"/>
                  <a:pt x="2769" y="1598"/>
                </a:cubicBezTo>
                <a:cubicBezTo>
                  <a:pt x="2768" y="1600"/>
                  <a:pt x="2766" y="1600"/>
                  <a:pt x="2764" y="1601"/>
                </a:cubicBezTo>
                <a:cubicBezTo>
                  <a:pt x="2762" y="1602"/>
                  <a:pt x="2761" y="1602"/>
                  <a:pt x="2758" y="1602"/>
                </a:cubicBezTo>
                <a:cubicBezTo>
                  <a:pt x="2758" y="1602"/>
                  <a:pt x="2758" y="1602"/>
                  <a:pt x="2758" y="1613"/>
                </a:cubicBezTo>
                <a:cubicBezTo>
                  <a:pt x="2761" y="1612"/>
                  <a:pt x="2764" y="1611"/>
                  <a:pt x="2766" y="1610"/>
                </a:cubicBezTo>
                <a:cubicBezTo>
                  <a:pt x="2769" y="1609"/>
                  <a:pt x="2771" y="1608"/>
                  <a:pt x="2774" y="1606"/>
                </a:cubicBezTo>
                <a:cubicBezTo>
                  <a:pt x="2774" y="1606"/>
                  <a:pt x="2774" y="1606"/>
                  <a:pt x="2774" y="1665"/>
                </a:cubicBezTo>
                <a:cubicBezTo>
                  <a:pt x="2774" y="1665"/>
                  <a:pt x="2774" y="1665"/>
                  <a:pt x="2785" y="1665"/>
                </a:cubicBezTo>
                <a:cubicBezTo>
                  <a:pt x="2785" y="1665"/>
                  <a:pt x="2785" y="1665"/>
                  <a:pt x="2785" y="1592"/>
                </a:cubicBezTo>
                <a:close/>
                <a:moveTo>
                  <a:pt x="2831" y="1592"/>
                </a:moveTo>
                <a:cubicBezTo>
                  <a:pt x="2831" y="1592"/>
                  <a:pt x="2831" y="1592"/>
                  <a:pt x="2831" y="1592"/>
                </a:cubicBezTo>
                <a:cubicBezTo>
                  <a:pt x="2827" y="1592"/>
                  <a:pt x="2827" y="1592"/>
                  <a:pt x="2827" y="1592"/>
                </a:cubicBezTo>
                <a:cubicBezTo>
                  <a:pt x="2825" y="1593"/>
                  <a:pt x="2823" y="1594"/>
                  <a:pt x="2821" y="1595"/>
                </a:cubicBezTo>
                <a:cubicBezTo>
                  <a:pt x="2820" y="1597"/>
                  <a:pt x="2817" y="1597"/>
                  <a:pt x="2816" y="1598"/>
                </a:cubicBezTo>
                <a:cubicBezTo>
                  <a:pt x="2814" y="1599"/>
                  <a:pt x="2812" y="1600"/>
                  <a:pt x="2810" y="1600"/>
                </a:cubicBezTo>
                <a:cubicBezTo>
                  <a:pt x="2809" y="1601"/>
                  <a:pt x="2806" y="1602"/>
                  <a:pt x="2805" y="1602"/>
                </a:cubicBezTo>
                <a:cubicBezTo>
                  <a:pt x="2805" y="1602"/>
                  <a:pt x="2805" y="1602"/>
                  <a:pt x="2805" y="1613"/>
                </a:cubicBezTo>
                <a:cubicBezTo>
                  <a:pt x="2808" y="1612"/>
                  <a:pt x="2811" y="1610"/>
                  <a:pt x="2813" y="1610"/>
                </a:cubicBezTo>
                <a:cubicBezTo>
                  <a:pt x="2815" y="1609"/>
                  <a:pt x="2818" y="1608"/>
                  <a:pt x="2820" y="1606"/>
                </a:cubicBezTo>
                <a:cubicBezTo>
                  <a:pt x="2820" y="1606"/>
                  <a:pt x="2820" y="1606"/>
                  <a:pt x="2820" y="1665"/>
                </a:cubicBezTo>
                <a:cubicBezTo>
                  <a:pt x="2820" y="1665"/>
                  <a:pt x="2820" y="1665"/>
                  <a:pt x="2831" y="1665"/>
                </a:cubicBezTo>
                <a:cubicBezTo>
                  <a:pt x="2831" y="1665"/>
                  <a:pt x="2831" y="1665"/>
                  <a:pt x="2831" y="1592"/>
                </a:cubicBezTo>
                <a:close/>
                <a:moveTo>
                  <a:pt x="2637" y="1624"/>
                </a:moveTo>
                <a:cubicBezTo>
                  <a:pt x="2637" y="1624"/>
                  <a:pt x="2637" y="1624"/>
                  <a:pt x="2637" y="1624"/>
                </a:cubicBezTo>
                <a:cubicBezTo>
                  <a:pt x="2637" y="1632"/>
                  <a:pt x="2637" y="1632"/>
                  <a:pt x="2637" y="1632"/>
                </a:cubicBezTo>
                <a:cubicBezTo>
                  <a:pt x="2643" y="1632"/>
                  <a:pt x="2644" y="1635"/>
                  <a:pt x="2644" y="1638"/>
                </a:cubicBezTo>
                <a:cubicBezTo>
                  <a:pt x="2644" y="1640"/>
                  <a:pt x="2644" y="1643"/>
                  <a:pt x="2644" y="1645"/>
                </a:cubicBezTo>
                <a:cubicBezTo>
                  <a:pt x="2643" y="1648"/>
                  <a:pt x="2643" y="1650"/>
                  <a:pt x="2643" y="1652"/>
                </a:cubicBezTo>
                <a:cubicBezTo>
                  <a:pt x="2643" y="1662"/>
                  <a:pt x="2649" y="1665"/>
                  <a:pt x="2657" y="1665"/>
                </a:cubicBezTo>
                <a:cubicBezTo>
                  <a:pt x="2657" y="1665"/>
                  <a:pt x="2657" y="1665"/>
                  <a:pt x="2661" y="1665"/>
                </a:cubicBezTo>
                <a:cubicBezTo>
                  <a:pt x="2661" y="1665"/>
                  <a:pt x="2661" y="1665"/>
                  <a:pt x="2661" y="1656"/>
                </a:cubicBezTo>
                <a:cubicBezTo>
                  <a:pt x="2661" y="1656"/>
                  <a:pt x="2661" y="1656"/>
                  <a:pt x="2659" y="1656"/>
                </a:cubicBezTo>
                <a:cubicBezTo>
                  <a:pt x="2656" y="1656"/>
                  <a:pt x="2655" y="1653"/>
                  <a:pt x="2655" y="1650"/>
                </a:cubicBezTo>
                <a:cubicBezTo>
                  <a:pt x="2655" y="1649"/>
                  <a:pt x="2655" y="1647"/>
                  <a:pt x="2655" y="1645"/>
                </a:cubicBezTo>
                <a:cubicBezTo>
                  <a:pt x="2655" y="1644"/>
                  <a:pt x="2655" y="1641"/>
                  <a:pt x="2655" y="1639"/>
                </a:cubicBezTo>
                <a:cubicBezTo>
                  <a:pt x="2655" y="1632"/>
                  <a:pt x="2652" y="1629"/>
                  <a:pt x="2647" y="1628"/>
                </a:cubicBezTo>
                <a:cubicBezTo>
                  <a:pt x="2647" y="1628"/>
                  <a:pt x="2647" y="1628"/>
                  <a:pt x="2647" y="1628"/>
                </a:cubicBezTo>
                <a:cubicBezTo>
                  <a:pt x="2652" y="1626"/>
                  <a:pt x="2655" y="1624"/>
                  <a:pt x="2655" y="1617"/>
                </a:cubicBezTo>
                <a:cubicBezTo>
                  <a:pt x="2655" y="1614"/>
                  <a:pt x="2655" y="1612"/>
                  <a:pt x="2655" y="1610"/>
                </a:cubicBezTo>
                <a:cubicBezTo>
                  <a:pt x="2655" y="1609"/>
                  <a:pt x="2655" y="1607"/>
                  <a:pt x="2655" y="1606"/>
                </a:cubicBezTo>
                <a:cubicBezTo>
                  <a:pt x="2655" y="1602"/>
                  <a:pt x="2656" y="1600"/>
                  <a:pt x="2659" y="1600"/>
                </a:cubicBezTo>
                <a:cubicBezTo>
                  <a:pt x="2659" y="1600"/>
                  <a:pt x="2659" y="1600"/>
                  <a:pt x="2661" y="1600"/>
                </a:cubicBezTo>
                <a:cubicBezTo>
                  <a:pt x="2661" y="1600"/>
                  <a:pt x="2661" y="1600"/>
                  <a:pt x="2661" y="1591"/>
                </a:cubicBezTo>
                <a:cubicBezTo>
                  <a:pt x="2661" y="1591"/>
                  <a:pt x="2661" y="1591"/>
                  <a:pt x="2657" y="1591"/>
                </a:cubicBezTo>
                <a:cubicBezTo>
                  <a:pt x="2648" y="1591"/>
                  <a:pt x="2643" y="1595"/>
                  <a:pt x="2643" y="1603"/>
                </a:cubicBezTo>
                <a:cubicBezTo>
                  <a:pt x="2643" y="1606"/>
                  <a:pt x="2643" y="1608"/>
                  <a:pt x="2643" y="1611"/>
                </a:cubicBezTo>
                <a:cubicBezTo>
                  <a:pt x="2644" y="1613"/>
                  <a:pt x="2644" y="1616"/>
                  <a:pt x="2644" y="1618"/>
                </a:cubicBezTo>
                <a:cubicBezTo>
                  <a:pt x="2644" y="1620"/>
                  <a:pt x="2643" y="1624"/>
                  <a:pt x="2637" y="1624"/>
                </a:cubicBezTo>
                <a:close/>
                <a:moveTo>
                  <a:pt x="2692" y="1632"/>
                </a:moveTo>
                <a:cubicBezTo>
                  <a:pt x="2692" y="1632"/>
                  <a:pt x="2692" y="1632"/>
                  <a:pt x="2692" y="1632"/>
                </a:cubicBezTo>
                <a:cubicBezTo>
                  <a:pt x="2692" y="1624"/>
                  <a:pt x="2692" y="1624"/>
                  <a:pt x="2692" y="1624"/>
                </a:cubicBezTo>
                <a:cubicBezTo>
                  <a:pt x="2685" y="1624"/>
                  <a:pt x="2685" y="1620"/>
                  <a:pt x="2685" y="1618"/>
                </a:cubicBezTo>
                <a:cubicBezTo>
                  <a:pt x="2685" y="1616"/>
                  <a:pt x="2685" y="1613"/>
                  <a:pt x="2685" y="1611"/>
                </a:cubicBezTo>
                <a:cubicBezTo>
                  <a:pt x="2686" y="1608"/>
                  <a:pt x="2686" y="1606"/>
                  <a:pt x="2686" y="1603"/>
                </a:cubicBezTo>
                <a:cubicBezTo>
                  <a:pt x="2686" y="1595"/>
                  <a:pt x="2681" y="1591"/>
                  <a:pt x="2671" y="1591"/>
                </a:cubicBezTo>
                <a:cubicBezTo>
                  <a:pt x="2671" y="1591"/>
                  <a:pt x="2671" y="1591"/>
                  <a:pt x="2668" y="1591"/>
                </a:cubicBezTo>
                <a:cubicBezTo>
                  <a:pt x="2668" y="1591"/>
                  <a:pt x="2668" y="1591"/>
                  <a:pt x="2668" y="1600"/>
                </a:cubicBezTo>
                <a:cubicBezTo>
                  <a:pt x="2668" y="1600"/>
                  <a:pt x="2668" y="1600"/>
                  <a:pt x="2669" y="1600"/>
                </a:cubicBezTo>
                <a:cubicBezTo>
                  <a:pt x="2673" y="1600"/>
                  <a:pt x="2674" y="1602"/>
                  <a:pt x="2674" y="1606"/>
                </a:cubicBezTo>
                <a:cubicBezTo>
                  <a:pt x="2674" y="1607"/>
                  <a:pt x="2674" y="1609"/>
                  <a:pt x="2674" y="1610"/>
                </a:cubicBezTo>
                <a:cubicBezTo>
                  <a:pt x="2674" y="1612"/>
                  <a:pt x="2674" y="1614"/>
                  <a:pt x="2674" y="1617"/>
                </a:cubicBezTo>
                <a:cubicBezTo>
                  <a:pt x="2674" y="1624"/>
                  <a:pt x="2676" y="1626"/>
                  <a:pt x="2682" y="1628"/>
                </a:cubicBezTo>
                <a:cubicBezTo>
                  <a:pt x="2682" y="1628"/>
                  <a:pt x="2682" y="1628"/>
                  <a:pt x="2682" y="1628"/>
                </a:cubicBezTo>
                <a:cubicBezTo>
                  <a:pt x="2676" y="1629"/>
                  <a:pt x="2674" y="1632"/>
                  <a:pt x="2674" y="1639"/>
                </a:cubicBezTo>
                <a:cubicBezTo>
                  <a:pt x="2674" y="1641"/>
                  <a:pt x="2674" y="1644"/>
                  <a:pt x="2674" y="1645"/>
                </a:cubicBezTo>
                <a:cubicBezTo>
                  <a:pt x="2674" y="1647"/>
                  <a:pt x="2674" y="1649"/>
                  <a:pt x="2674" y="1650"/>
                </a:cubicBezTo>
                <a:cubicBezTo>
                  <a:pt x="2674" y="1653"/>
                  <a:pt x="2673" y="1656"/>
                  <a:pt x="2669" y="1656"/>
                </a:cubicBezTo>
                <a:cubicBezTo>
                  <a:pt x="2669" y="1656"/>
                  <a:pt x="2669" y="1656"/>
                  <a:pt x="2668" y="1656"/>
                </a:cubicBezTo>
                <a:cubicBezTo>
                  <a:pt x="2668" y="1656"/>
                  <a:pt x="2668" y="1656"/>
                  <a:pt x="2668" y="1665"/>
                </a:cubicBezTo>
                <a:cubicBezTo>
                  <a:pt x="2668" y="1665"/>
                  <a:pt x="2668" y="1665"/>
                  <a:pt x="2671" y="1665"/>
                </a:cubicBezTo>
                <a:cubicBezTo>
                  <a:pt x="2680" y="1665"/>
                  <a:pt x="2686" y="1662"/>
                  <a:pt x="2686" y="1652"/>
                </a:cubicBezTo>
                <a:cubicBezTo>
                  <a:pt x="2686" y="1650"/>
                  <a:pt x="2686" y="1648"/>
                  <a:pt x="2685" y="1645"/>
                </a:cubicBezTo>
                <a:cubicBezTo>
                  <a:pt x="2685" y="1643"/>
                  <a:pt x="2685" y="1640"/>
                  <a:pt x="2685" y="1638"/>
                </a:cubicBezTo>
                <a:cubicBezTo>
                  <a:pt x="2685" y="1635"/>
                  <a:pt x="2685" y="1632"/>
                  <a:pt x="2692" y="1632"/>
                </a:cubicBezTo>
                <a:close/>
                <a:moveTo>
                  <a:pt x="2875" y="1665"/>
                </a:moveTo>
                <a:cubicBezTo>
                  <a:pt x="2868" y="1665"/>
                  <a:pt x="2861" y="1662"/>
                  <a:pt x="2857" y="1656"/>
                </a:cubicBezTo>
                <a:cubicBezTo>
                  <a:pt x="2853" y="1650"/>
                  <a:pt x="2851" y="1641"/>
                  <a:pt x="2851" y="1628"/>
                </a:cubicBezTo>
                <a:cubicBezTo>
                  <a:pt x="2851" y="1615"/>
                  <a:pt x="2853" y="1606"/>
                  <a:pt x="2858" y="1599"/>
                </a:cubicBezTo>
                <a:cubicBezTo>
                  <a:pt x="2862" y="1592"/>
                  <a:pt x="2869" y="1589"/>
                  <a:pt x="2877" y="1589"/>
                </a:cubicBezTo>
                <a:cubicBezTo>
                  <a:pt x="2893" y="1589"/>
                  <a:pt x="2901" y="1601"/>
                  <a:pt x="2901" y="1627"/>
                </a:cubicBezTo>
                <a:cubicBezTo>
                  <a:pt x="2901" y="1639"/>
                  <a:pt x="2899" y="1649"/>
                  <a:pt x="2894" y="1655"/>
                </a:cubicBezTo>
                <a:cubicBezTo>
                  <a:pt x="2890" y="1662"/>
                  <a:pt x="2883" y="1665"/>
                  <a:pt x="2875" y="1665"/>
                </a:cubicBezTo>
                <a:close/>
                <a:moveTo>
                  <a:pt x="2877" y="1598"/>
                </a:moveTo>
                <a:cubicBezTo>
                  <a:pt x="2867" y="1598"/>
                  <a:pt x="2863" y="1608"/>
                  <a:pt x="2863" y="1628"/>
                </a:cubicBezTo>
                <a:cubicBezTo>
                  <a:pt x="2863" y="1647"/>
                  <a:pt x="2867" y="1655"/>
                  <a:pt x="2876" y="1655"/>
                </a:cubicBezTo>
                <a:cubicBezTo>
                  <a:pt x="2885" y="1655"/>
                  <a:pt x="2889" y="1647"/>
                  <a:pt x="2889" y="1628"/>
                </a:cubicBezTo>
                <a:cubicBezTo>
                  <a:pt x="2889" y="1608"/>
                  <a:pt x="2885" y="1598"/>
                  <a:pt x="2877" y="1598"/>
                </a:cubicBezTo>
                <a:close/>
                <a:moveTo>
                  <a:pt x="2945" y="1665"/>
                </a:moveTo>
                <a:cubicBezTo>
                  <a:pt x="2938" y="1665"/>
                  <a:pt x="2931" y="1662"/>
                  <a:pt x="2928" y="1656"/>
                </a:cubicBezTo>
                <a:cubicBezTo>
                  <a:pt x="2923" y="1650"/>
                  <a:pt x="2921" y="1641"/>
                  <a:pt x="2921" y="1628"/>
                </a:cubicBezTo>
                <a:cubicBezTo>
                  <a:pt x="2921" y="1615"/>
                  <a:pt x="2923" y="1606"/>
                  <a:pt x="2928" y="1599"/>
                </a:cubicBezTo>
                <a:cubicBezTo>
                  <a:pt x="2932" y="1592"/>
                  <a:pt x="2939" y="1589"/>
                  <a:pt x="2947" y="1589"/>
                </a:cubicBezTo>
                <a:cubicBezTo>
                  <a:pt x="2963" y="1589"/>
                  <a:pt x="2972" y="1601"/>
                  <a:pt x="2972" y="1627"/>
                </a:cubicBezTo>
                <a:cubicBezTo>
                  <a:pt x="2972" y="1639"/>
                  <a:pt x="2969" y="1649"/>
                  <a:pt x="2965" y="1655"/>
                </a:cubicBezTo>
                <a:cubicBezTo>
                  <a:pt x="2960" y="1662"/>
                  <a:pt x="2954" y="1665"/>
                  <a:pt x="2945" y="1665"/>
                </a:cubicBezTo>
                <a:close/>
                <a:moveTo>
                  <a:pt x="2947" y="1598"/>
                </a:moveTo>
                <a:cubicBezTo>
                  <a:pt x="2938" y="1598"/>
                  <a:pt x="2933" y="1608"/>
                  <a:pt x="2933" y="1628"/>
                </a:cubicBezTo>
                <a:cubicBezTo>
                  <a:pt x="2933" y="1647"/>
                  <a:pt x="2937" y="1655"/>
                  <a:pt x="2946" y="1655"/>
                </a:cubicBezTo>
                <a:cubicBezTo>
                  <a:pt x="2955" y="1655"/>
                  <a:pt x="2959" y="1647"/>
                  <a:pt x="2959" y="1628"/>
                </a:cubicBezTo>
                <a:cubicBezTo>
                  <a:pt x="2959" y="1608"/>
                  <a:pt x="2955" y="1598"/>
                  <a:pt x="2947" y="1598"/>
                </a:cubicBezTo>
                <a:close/>
                <a:moveTo>
                  <a:pt x="3019" y="1592"/>
                </a:moveTo>
                <a:cubicBezTo>
                  <a:pt x="3019" y="1592"/>
                  <a:pt x="3019" y="1592"/>
                  <a:pt x="3019" y="1592"/>
                </a:cubicBezTo>
                <a:cubicBezTo>
                  <a:pt x="3013" y="1592"/>
                  <a:pt x="3013" y="1592"/>
                  <a:pt x="3013" y="1592"/>
                </a:cubicBezTo>
                <a:cubicBezTo>
                  <a:pt x="3011" y="1593"/>
                  <a:pt x="3010" y="1594"/>
                  <a:pt x="3008" y="1595"/>
                </a:cubicBezTo>
                <a:cubicBezTo>
                  <a:pt x="3006" y="1597"/>
                  <a:pt x="3005" y="1597"/>
                  <a:pt x="3003" y="1598"/>
                </a:cubicBezTo>
                <a:cubicBezTo>
                  <a:pt x="3001" y="1600"/>
                  <a:pt x="2999" y="1600"/>
                  <a:pt x="2998" y="1601"/>
                </a:cubicBezTo>
                <a:cubicBezTo>
                  <a:pt x="2995" y="1602"/>
                  <a:pt x="2994" y="1602"/>
                  <a:pt x="2992" y="1602"/>
                </a:cubicBezTo>
                <a:cubicBezTo>
                  <a:pt x="2992" y="1602"/>
                  <a:pt x="2992" y="1602"/>
                  <a:pt x="2992" y="1613"/>
                </a:cubicBezTo>
                <a:cubicBezTo>
                  <a:pt x="2995" y="1612"/>
                  <a:pt x="2998" y="1611"/>
                  <a:pt x="3000" y="1610"/>
                </a:cubicBezTo>
                <a:cubicBezTo>
                  <a:pt x="3003" y="1609"/>
                  <a:pt x="3005" y="1608"/>
                  <a:pt x="3007" y="1606"/>
                </a:cubicBezTo>
                <a:cubicBezTo>
                  <a:pt x="3007" y="1606"/>
                  <a:pt x="3007" y="1606"/>
                  <a:pt x="3007" y="1665"/>
                </a:cubicBezTo>
                <a:cubicBezTo>
                  <a:pt x="3007" y="1665"/>
                  <a:pt x="3007" y="1665"/>
                  <a:pt x="3019" y="1665"/>
                </a:cubicBezTo>
                <a:cubicBezTo>
                  <a:pt x="3019" y="1665"/>
                  <a:pt x="3019" y="1665"/>
                  <a:pt x="3019" y="1592"/>
                </a:cubicBezTo>
                <a:close/>
                <a:moveTo>
                  <a:pt x="3065" y="1592"/>
                </a:moveTo>
                <a:cubicBezTo>
                  <a:pt x="3065" y="1592"/>
                  <a:pt x="3065" y="1592"/>
                  <a:pt x="3065" y="1592"/>
                </a:cubicBezTo>
                <a:cubicBezTo>
                  <a:pt x="3060" y="1592"/>
                  <a:pt x="3060" y="1592"/>
                  <a:pt x="3060" y="1592"/>
                </a:cubicBezTo>
                <a:cubicBezTo>
                  <a:pt x="3058" y="1593"/>
                  <a:pt x="3056" y="1594"/>
                  <a:pt x="3054" y="1595"/>
                </a:cubicBezTo>
                <a:cubicBezTo>
                  <a:pt x="3053" y="1597"/>
                  <a:pt x="3051" y="1597"/>
                  <a:pt x="3049" y="1598"/>
                </a:cubicBezTo>
                <a:cubicBezTo>
                  <a:pt x="3048" y="1600"/>
                  <a:pt x="3046" y="1600"/>
                  <a:pt x="3044" y="1601"/>
                </a:cubicBezTo>
                <a:cubicBezTo>
                  <a:pt x="3042" y="1602"/>
                  <a:pt x="3040" y="1602"/>
                  <a:pt x="3038" y="1602"/>
                </a:cubicBezTo>
                <a:cubicBezTo>
                  <a:pt x="3038" y="1602"/>
                  <a:pt x="3038" y="1602"/>
                  <a:pt x="3038" y="1613"/>
                </a:cubicBezTo>
                <a:cubicBezTo>
                  <a:pt x="3041" y="1612"/>
                  <a:pt x="3044" y="1611"/>
                  <a:pt x="3046" y="1610"/>
                </a:cubicBezTo>
                <a:cubicBezTo>
                  <a:pt x="3049" y="1609"/>
                  <a:pt x="3051" y="1608"/>
                  <a:pt x="3054" y="1606"/>
                </a:cubicBezTo>
                <a:cubicBezTo>
                  <a:pt x="3054" y="1606"/>
                  <a:pt x="3054" y="1606"/>
                  <a:pt x="3054" y="1665"/>
                </a:cubicBezTo>
                <a:cubicBezTo>
                  <a:pt x="3054" y="1665"/>
                  <a:pt x="3054" y="1665"/>
                  <a:pt x="3065" y="1665"/>
                </a:cubicBezTo>
                <a:cubicBezTo>
                  <a:pt x="3065" y="1665"/>
                  <a:pt x="3065" y="1665"/>
                  <a:pt x="3065" y="1592"/>
                </a:cubicBezTo>
                <a:close/>
                <a:moveTo>
                  <a:pt x="3111" y="1592"/>
                </a:moveTo>
                <a:cubicBezTo>
                  <a:pt x="3111" y="1592"/>
                  <a:pt x="3111" y="1592"/>
                  <a:pt x="3111" y="1592"/>
                </a:cubicBezTo>
                <a:cubicBezTo>
                  <a:pt x="3107" y="1592"/>
                  <a:pt x="3107" y="1592"/>
                  <a:pt x="3107" y="1592"/>
                </a:cubicBezTo>
                <a:cubicBezTo>
                  <a:pt x="3105" y="1593"/>
                  <a:pt x="3103" y="1594"/>
                  <a:pt x="3101" y="1595"/>
                </a:cubicBezTo>
                <a:cubicBezTo>
                  <a:pt x="3100" y="1597"/>
                  <a:pt x="3098" y="1597"/>
                  <a:pt x="3096" y="1598"/>
                </a:cubicBezTo>
                <a:cubicBezTo>
                  <a:pt x="3094" y="1599"/>
                  <a:pt x="3092" y="1600"/>
                  <a:pt x="3090" y="1600"/>
                </a:cubicBezTo>
                <a:cubicBezTo>
                  <a:pt x="3089" y="1601"/>
                  <a:pt x="3087" y="1602"/>
                  <a:pt x="3085" y="1602"/>
                </a:cubicBezTo>
                <a:cubicBezTo>
                  <a:pt x="3085" y="1602"/>
                  <a:pt x="3085" y="1602"/>
                  <a:pt x="3085" y="1613"/>
                </a:cubicBezTo>
                <a:cubicBezTo>
                  <a:pt x="3088" y="1612"/>
                  <a:pt x="3091" y="1610"/>
                  <a:pt x="3093" y="1610"/>
                </a:cubicBezTo>
                <a:cubicBezTo>
                  <a:pt x="3095" y="1609"/>
                  <a:pt x="3098" y="1608"/>
                  <a:pt x="3100" y="1606"/>
                </a:cubicBezTo>
                <a:cubicBezTo>
                  <a:pt x="3100" y="1606"/>
                  <a:pt x="3100" y="1606"/>
                  <a:pt x="3100" y="1665"/>
                </a:cubicBezTo>
                <a:cubicBezTo>
                  <a:pt x="3100" y="1665"/>
                  <a:pt x="3100" y="1665"/>
                  <a:pt x="3111" y="1665"/>
                </a:cubicBezTo>
                <a:cubicBezTo>
                  <a:pt x="3111" y="1665"/>
                  <a:pt x="3111" y="1665"/>
                  <a:pt x="3111" y="1592"/>
                </a:cubicBezTo>
                <a:close/>
                <a:moveTo>
                  <a:pt x="2920" y="1566"/>
                </a:moveTo>
                <a:cubicBezTo>
                  <a:pt x="2913" y="1566"/>
                  <a:pt x="2906" y="1563"/>
                  <a:pt x="2902" y="1557"/>
                </a:cubicBezTo>
                <a:cubicBezTo>
                  <a:pt x="2898" y="1551"/>
                  <a:pt x="2896" y="1542"/>
                  <a:pt x="2896" y="1530"/>
                </a:cubicBezTo>
                <a:cubicBezTo>
                  <a:pt x="2896" y="1517"/>
                  <a:pt x="2898" y="1507"/>
                  <a:pt x="2903" y="1500"/>
                </a:cubicBezTo>
                <a:cubicBezTo>
                  <a:pt x="2907" y="1494"/>
                  <a:pt x="2914" y="1490"/>
                  <a:pt x="2922" y="1490"/>
                </a:cubicBezTo>
                <a:cubicBezTo>
                  <a:pt x="2939" y="1490"/>
                  <a:pt x="2947" y="1503"/>
                  <a:pt x="2947" y="1528"/>
                </a:cubicBezTo>
                <a:cubicBezTo>
                  <a:pt x="2947" y="1541"/>
                  <a:pt x="2944" y="1550"/>
                  <a:pt x="2939" y="1557"/>
                </a:cubicBezTo>
                <a:cubicBezTo>
                  <a:pt x="2935" y="1563"/>
                  <a:pt x="2928" y="1566"/>
                  <a:pt x="2920" y="1566"/>
                </a:cubicBezTo>
                <a:close/>
                <a:moveTo>
                  <a:pt x="2922" y="1500"/>
                </a:moveTo>
                <a:cubicBezTo>
                  <a:pt x="2912" y="1500"/>
                  <a:pt x="2908" y="1510"/>
                  <a:pt x="2908" y="1530"/>
                </a:cubicBezTo>
                <a:cubicBezTo>
                  <a:pt x="2908" y="1548"/>
                  <a:pt x="2912" y="1557"/>
                  <a:pt x="2921" y="1557"/>
                </a:cubicBezTo>
                <a:cubicBezTo>
                  <a:pt x="2930" y="1557"/>
                  <a:pt x="2934" y="1548"/>
                  <a:pt x="2934" y="1529"/>
                </a:cubicBezTo>
                <a:cubicBezTo>
                  <a:pt x="2934" y="1509"/>
                  <a:pt x="2930" y="1500"/>
                  <a:pt x="2922" y="1500"/>
                </a:cubicBezTo>
                <a:close/>
                <a:moveTo>
                  <a:pt x="2994" y="1493"/>
                </a:moveTo>
                <a:cubicBezTo>
                  <a:pt x="2994" y="1493"/>
                  <a:pt x="2994" y="1493"/>
                  <a:pt x="2994" y="1493"/>
                </a:cubicBezTo>
                <a:cubicBezTo>
                  <a:pt x="2989" y="1493"/>
                  <a:pt x="2989" y="1493"/>
                  <a:pt x="2989" y="1493"/>
                </a:cubicBezTo>
                <a:cubicBezTo>
                  <a:pt x="2987" y="1494"/>
                  <a:pt x="2985" y="1496"/>
                  <a:pt x="2983" y="1496"/>
                </a:cubicBezTo>
                <a:cubicBezTo>
                  <a:pt x="2982" y="1498"/>
                  <a:pt x="2980" y="1498"/>
                  <a:pt x="2978" y="1499"/>
                </a:cubicBezTo>
                <a:cubicBezTo>
                  <a:pt x="2976" y="1500"/>
                  <a:pt x="2974" y="1501"/>
                  <a:pt x="2973" y="1501"/>
                </a:cubicBezTo>
                <a:cubicBezTo>
                  <a:pt x="2971" y="1502"/>
                  <a:pt x="2969" y="1503"/>
                  <a:pt x="2967" y="1504"/>
                </a:cubicBezTo>
                <a:cubicBezTo>
                  <a:pt x="2967" y="1504"/>
                  <a:pt x="2967" y="1504"/>
                  <a:pt x="2967" y="1514"/>
                </a:cubicBezTo>
                <a:cubicBezTo>
                  <a:pt x="2970" y="1513"/>
                  <a:pt x="2973" y="1512"/>
                  <a:pt x="2975" y="1511"/>
                </a:cubicBezTo>
                <a:cubicBezTo>
                  <a:pt x="2978" y="1510"/>
                  <a:pt x="2980" y="1509"/>
                  <a:pt x="2982" y="1507"/>
                </a:cubicBezTo>
                <a:cubicBezTo>
                  <a:pt x="2982" y="1507"/>
                  <a:pt x="2982" y="1507"/>
                  <a:pt x="2982" y="1566"/>
                </a:cubicBezTo>
                <a:cubicBezTo>
                  <a:pt x="2982" y="1566"/>
                  <a:pt x="2982" y="1566"/>
                  <a:pt x="2994" y="1566"/>
                </a:cubicBezTo>
                <a:cubicBezTo>
                  <a:pt x="2994" y="1566"/>
                  <a:pt x="2994" y="1566"/>
                  <a:pt x="2994" y="1493"/>
                </a:cubicBezTo>
                <a:close/>
                <a:moveTo>
                  <a:pt x="3041" y="1493"/>
                </a:moveTo>
                <a:cubicBezTo>
                  <a:pt x="3041" y="1493"/>
                  <a:pt x="3041" y="1493"/>
                  <a:pt x="3041" y="1493"/>
                </a:cubicBezTo>
                <a:cubicBezTo>
                  <a:pt x="3036" y="1493"/>
                  <a:pt x="3036" y="1493"/>
                  <a:pt x="3036" y="1493"/>
                </a:cubicBezTo>
                <a:cubicBezTo>
                  <a:pt x="3034" y="1494"/>
                  <a:pt x="3033" y="1496"/>
                  <a:pt x="3030" y="1496"/>
                </a:cubicBezTo>
                <a:cubicBezTo>
                  <a:pt x="3029" y="1498"/>
                  <a:pt x="3027" y="1498"/>
                  <a:pt x="3025" y="1499"/>
                </a:cubicBezTo>
                <a:cubicBezTo>
                  <a:pt x="3024" y="1501"/>
                  <a:pt x="3022" y="1501"/>
                  <a:pt x="3020" y="1502"/>
                </a:cubicBezTo>
                <a:cubicBezTo>
                  <a:pt x="3018" y="1503"/>
                  <a:pt x="3017" y="1504"/>
                  <a:pt x="3015" y="1504"/>
                </a:cubicBezTo>
                <a:cubicBezTo>
                  <a:pt x="3015" y="1504"/>
                  <a:pt x="3015" y="1504"/>
                  <a:pt x="3015" y="1514"/>
                </a:cubicBezTo>
                <a:cubicBezTo>
                  <a:pt x="3018" y="1513"/>
                  <a:pt x="3020" y="1512"/>
                  <a:pt x="3023" y="1511"/>
                </a:cubicBezTo>
                <a:cubicBezTo>
                  <a:pt x="3025" y="1510"/>
                  <a:pt x="3028" y="1509"/>
                  <a:pt x="3030" y="1507"/>
                </a:cubicBezTo>
                <a:cubicBezTo>
                  <a:pt x="3030" y="1507"/>
                  <a:pt x="3030" y="1507"/>
                  <a:pt x="3030" y="1566"/>
                </a:cubicBezTo>
                <a:cubicBezTo>
                  <a:pt x="3030" y="1566"/>
                  <a:pt x="3030" y="1566"/>
                  <a:pt x="3041" y="1566"/>
                </a:cubicBezTo>
                <a:cubicBezTo>
                  <a:pt x="3041" y="1566"/>
                  <a:pt x="3041" y="1566"/>
                  <a:pt x="3041" y="1493"/>
                </a:cubicBezTo>
                <a:close/>
                <a:moveTo>
                  <a:pt x="3088" y="1493"/>
                </a:moveTo>
                <a:cubicBezTo>
                  <a:pt x="3088" y="1493"/>
                  <a:pt x="3088" y="1493"/>
                  <a:pt x="3088" y="1493"/>
                </a:cubicBezTo>
                <a:cubicBezTo>
                  <a:pt x="3083" y="1493"/>
                  <a:pt x="3083" y="1493"/>
                  <a:pt x="3083" y="1493"/>
                </a:cubicBezTo>
                <a:cubicBezTo>
                  <a:pt x="3081" y="1494"/>
                  <a:pt x="3080" y="1496"/>
                  <a:pt x="3078" y="1496"/>
                </a:cubicBezTo>
                <a:cubicBezTo>
                  <a:pt x="3076" y="1498"/>
                  <a:pt x="3074" y="1498"/>
                  <a:pt x="3073" y="1499"/>
                </a:cubicBezTo>
                <a:cubicBezTo>
                  <a:pt x="3070" y="1501"/>
                  <a:pt x="3069" y="1501"/>
                  <a:pt x="3067" y="1502"/>
                </a:cubicBezTo>
                <a:cubicBezTo>
                  <a:pt x="3065" y="1503"/>
                  <a:pt x="3063" y="1504"/>
                  <a:pt x="3062" y="1504"/>
                </a:cubicBezTo>
                <a:cubicBezTo>
                  <a:pt x="3062" y="1504"/>
                  <a:pt x="3062" y="1504"/>
                  <a:pt x="3062" y="1514"/>
                </a:cubicBezTo>
                <a:cubicBezTo>
                  <a:pt x="3065" y="1513"/>
                  <a:pt x="3068" y="1512"/>
                  <a:pt x="3070" y="1511"/>
                </a:cubicBezTo>
                <a:cubicBezTo>
                  <a:pt x="3072" y="1510"/>
                  <a:pt x="3075" y="1509"/>
                  <a:pt x="3076" y="1507"/>
                </a:cubicBezTo>
                <a:cubicBezTo>
                  <a:pt x="3076" y="1507"/>
                  <a:pt x="3076" y="1507"/>
                  <a:pt x="3076" y="1566"/>
                </a:cubicBezTo>
                <a:cubicBezTo>
                  <a:pt x="3076" y="1566"/>
                  <a:pt x="3076" y="1566"/>
                  <a:pt x="3088" y="1566"/>
                </a:cubicBezTo>
                <a:cubicBezTo>
                  <a:pt x="3088" y="1566"/>
                  <a:pt x="3088" y="1566"/>
                  <a:pt x="3088" y="1493"/>
                </a:cubicBezTo>
                <a:close/>
                <a:moveTo>
                  <a:pt x="3135" y="1493"/>
                </a:moveTo>
                <a:cubicBezTo>
                  <a:pt x="3135" y="1493"/>
                  <a:pt x="3135" y="1493"/>
                  <a:pt x="3135" y="1493"/>
                </a:cubicBezTo>
                <a:cubicBezTo>
                  <a:pt x="3130" y="1493"/>
                  <a:pt x="3130" y="1493"/>
                  <a:pt x="3130" y="1493"/>
                </a:cubicBezTo>
                <a:cubicBezTo>
                  <a:pt x="3128" y="1494"/>
                  <a:pt x="3126" y="1496"/>
                  <a:pt x="3124" y="1496"/>
                </a:cubicBezTo>
                <a:cubicBezTo>
                  <a:pt x="3123" y="1498"/>
                  <a:pt x="3121" y="1498"/>
                  <a:pt x="3119" y="1499"/>
                </a:cubicBezTo>
                <a:cubicBezTo>
                  <a:pt x="3118" y="1501"/>
                  <a:pt x="3116" y="1501"/>
                  <a:pt x="3114" y="1502"/>
                </a:cubicBezTo>
                <a:cubicBezTo>
                  <a:pt x="3112" y="1503"/>
                  <a:pt x="3111" y="1504"/>
                  <a:pt x="3108" y="1504"/>
                </a:cubicBezTo>
                <a:cubicBezTo>
                  <a:pt x="3108" y="1504"/>
                  <a:pt x="3108" y="1504"/>
                  <a:pt x="3108" y="1514"/>
                </a:cubicBezTo>
                <a:cubicBezTo>
                  <a:pt x="3111" y="1513"/>
                  <a:pt x="3114" y="1512"/>
                  <a:pt x="3116" y="1511"/>
                </a:cubicBezTo>
                <a:cubicBezTo>
                  <a:pt x="3119" y="1510"/>
                  <a:pt x="3121" y="1509"/>
                  <a:pt x="3124" y="1507"/>
                </a:cubicBezTo>
                <a:cubicBezTo>
                  <a:pt x="3124" y="1507"/>
                  <a:pt x="3124" y="1507"/>
                  <a:pt x="3124" y="1566"/>
                </a:cubicBezTo>
                <a:cubicBezTo>
                  <a:pt x="3124" y="1566"/>
                  <a:pt x="3124" y="1566"/>
                  <a:pt x="3135" y="1566"/>
                </a:cubicBezTo>
                <a:cubicBezTo>
                  <a:pt x="3135" y="1566"/>
                  <a:pt x="3135" y="1566"/>
                  <a:pt x="3135" y="1493"/>
                </a:cubicBezTo>
                <a:close/>
                <a:moveTo>
                  <a:pt x="3259" y="1493"/>
                </a:moveTo>
                <a:cubicBezTo>
                  <a:pt x="3259" y="1493"/>
                  <a:pt x="3259" y="1493"/>
                  <a:pt x="3259" y="1493"/>
                </a:cubicBezTo>
                <a:cubicBezTo>
                  <a:pt x="3253" y="1493"/>
                  <a:pt x="3253" y="1493"/>
                  <a:pt x="3253" y="1493"/>
                </a:cubicBezTo>
                <a:cubicBezTo>
                  <a:pt x="3251" y="1494"/>
                  <a:pt x="3250" y="1496"/>
                  <a:pt x="3247" y="1496"/>
                </a:cubicBezTo>
                <a:cubicBezTo>
                  <a:pt x="3246" y="1498"/>
                  <a:pt x="3245" y="1498"/>
                  <a:pt x="3242" y="1499"/>
                </a:cubicBezTo>
                <a:cubicBezTo>
                  <a:pt x="3241" y="1501"/>
                  <a:pt x="3239" y="1501"/>
                  <a:pt x="3237" y="1502"/>
                </a:cubicBezTo>
                <a:cubicBezTo>
                  <a:pt x="3235" y="1503"/>
                  <a:pt x="3233" y="1504"/>
                  <a:pt x="3231" y="1504"/>
                </a:cubicBezTo>
                <a:cubicBezTo>
                  <a:pt x="3231" y="1504"/>
                  <a:pt x="3231" y="1504"/>
                  <a:pt x="3231" y="1514"/>
                </a:cubicBezTo>
                <a:cubicBezTo>
                  <a:pt x="3234" y="1513"/>
                  <a:pt x="3237" y="1512"/>
                  <a:pt x="3240" y="1511"/>
                </a:cubicBezTo>
                <a:cubicBezTo>
                  <a:pt x="3242" y="1510"/>
                  <a:pt x="3245" y="1509"/>
                  <a:pt x="3247" y="1507"/>
                </a:cubicBezTo>
                <a:cubicBezTo>
                  <a:pt x="3247" y="1507"/>
                  <a:pt x="3247" y="1507"/>
                  <a:pt x="3247" y="1566"/>
                </a:cubicBezTo>
                <a:cubicBezTo>
                  <a:pt x="3247" y="1566"/>
                  <a:pt x="3247" y="1566"/>
                  <a:pt x="3259" y="1566"/>
                </a:cubicBezTo>
                <a:cubicBezTo>
                  <a:pt x="3259" y="1566"/>
                  <a:pt x="3259" y="1566"/>
                  <a:pt x="3259" y="1493"/>
                </a:cubicBezTo>
                <a:close/>
                <a:moveTo>
                  <a:pt x="3306" y="1493"/>
                </a:moveTo>
                <a:cubicBezTo>
                  <a:pt x="3306" y="1493"/>
                  <a:pt x="3306" y="1493"/>
                  <a:pt x="3306" y="1493"/>
                </a:cubicBezTo>
                <a:cubicBezTo>
                  <a:pt x="3301" y="1493"/>
                  <a:pt x="3301" y="1493"/>
                  <a:pt x="3301" y="1493"/>
                </a:cubicBezTo>
                <a:cubicBezTo>
                  <a:pt x="3299" y="1494"/>
                  <a:pt x="3297" y="1496"/>
                  <a:pt x="3295" y="1496"/>
                </a:cubicBezTo>
                <a:cubicBezTo>
                  <a:pt x="3294" y="1498"/>
                  <a:pt x="3292" y="1498"/>
                  <a:pt x="3290" y="1499"/>
                </a:cubicBezTo>
                <a:cubicBezTo>
                  <a:pt x="3289" y="1501"/>
                  <a:pt x="3286" y="1501"/>
                  <a:pt x="3285" y="1502"/>
                </a:cubicBezTo>
                <a:cubicBezTo>
                  <a:pt x="3283" y="1503"/>
                  <a:pt x="3281" y="1504"/>
                  <a:pt x="3279" y="1504"/>
                </a:cubicBezTo>
                <a:cubicBezTo>
                  <a:pt x="3279" y="1504"/>
                  <a:pt x="3279" y="1504"/>
                  <a:pt x="3279" y="1514"/>
                </a:cubicBezTo>
                <a:cubicBezTo>
                  <a:pt x="3282" y="1513"/>
                  <a:pt x="3285" y="1512"/>
                  <a:pt x="3287" y="1511"/>
                </a:cubicBezTo>
                <a:cubicBezTo>
                  <a:pt x="3290" y="1510"/>
                  <a:pt x="3292" y="1509"/>
                  <a:pt x="3294" y="1507"/>
                </a:cubicBezTo>
                <a:cubicBezTo>
                  <a:pt x="3294" y="1507"/>
                  <a:pt x="3294" y="1507"/>
                  <a:pt x="3294" y="1566"/>
                </a:cubicBezTo>
                <a:cubicBezTo>
                  <a:pt x="3294" y="1566"/>
                  <a:pt x="3294" y="1566"/>
                  <a:pt x="3306" y="1566"/>
                </a:cubicBezTo>
                <a:cubicBezTo>
                  <a:pt x="3306" y="1566"/>
                  <a:pt x="3306" y="1566"/>
                  <a:pt x="3306" y="1493"/>
                </a:cubicBezTo>
                <a:close/>
                <a:moveTo>
                  <a:pt x="3354" y="1493"/>
                </a:moveTo>
                <a:cubicBezTo>
                  <a:pt x="3354" y="1493"/>
                  <a:pt x="3354" y="1493"/>
                  <a:pt x="3354" y="1493"/>
                </a:cubicBezTo>
                <a:cubicBezTo>
                  <a:pt x="3349" y="1493"/>
                  <a:pt x="3349" y="1493"/>
                  <a:pt x="3349" y="1493"/>
                </a:cubicBezTo>
                <a:cubicBezTo>
                  <a:pt x="3347" y="1494"/>
                  <a:pt x="3345" y="1496"/>
                  <a:pt x="3343" y="1496"/>
                </a:cubicBezTo>
                <a:cubicBezTo>
                  <a:pt x="3341" y="1498"/>
                  <a:pt x="3340" y="1498"/>
                  <a:pt x="3338" y="1499"/>
                </a:cubicBezTo>
                <a:cubicBezTo>
                  <a:pt x="3336" y="1501"/>
                  <a:pt x="3334" y="1501"/>
                  <a:pt x="3333" y="1502"/>
                </a:cubicBezTo>
                <a:cubicBezTo>
                  <a:pt x="3330" y="1503"/>
                  <a:pt x="3329" y="1504"/>
                  <a:pt x="3327" y="1504"/>
                </a:cubicBezTo>
                <a:cubicBezTo>
                  <a:pt x="3327" y="1504"/>
                  <a:pt x="3327" y="1504"/>
                  <a:pt x="3327" y="1514"/>
                </a:cubicBezTo>
                <a:cubicBezTo>
                  <a:pt x="3330" y="1513"/>
                  <a:pt x="3333" y="1512"/>
                  <a:pt x="3335" y="1511"/>
                </a:cubicBezTo>
                <a:cubicBezTo>
                  <a:pt x="3338" y="1510"/>
                  <a:pt x="3340" y="1509"/>
                  <a:pt x="3342" y="1507"/>
                </a:cubicBezTo>
                <a:cubicBezTo>
                  <a:pt x="3342" y="1507"/>
                  <a:pt x="3342" y="1507"/>
                  <a:pt x="3342" y="1566"/>
                </a:cubicBezTo>
                <a:cubicBezTo>
                  <a:pt x="3342" y="1566"/>
                  <a:pt x="3342" y="1566"/>
                  <a:pt x="3354" y="1566"/>
                </a:cubicBezTo>
                <a:cubicBezTo>
                  <a:pt x="3354" y="1566"/>
                  <a:pt x="3354" y="1566"/>
                  <a:pt x="3354" y="1493"/>
                </a:cubicBezTo>
                <a:close/>
                <a:moveTo>
                  <a:pt x="3400" y="1493"/>
                </a:moveTo>
                <a:cubicBezTo>
                  <a:pt x="3400" y="1493"/>
                  <a:pt x="3400" y="1493"/>
                  <a:pt x="3400" y="1493"/>
                </a:cubicBezTo>
                <a:cubicBezTo>
                  <a:pt x="3396" y="1493"/>
                  <a:pt x="3396" y="1493"/>
                  <a:pt x="3396" y="1493"/>
                </a:cubicBezTo>
                <a:cubicBezTo>
                  <a:pt x="3394" y="1494"/>
                  <a:pt x="3392" y="1496"/>
                  <a:pt x="3390" y="1496"/>
                </a:cubicBezTo>
                <a:cubicBezTo>
                  <a:pt x="3389" y="1498"/>
                  <a:pt x="3386" y="1498"/>
                  <a:pt x="3385" y="1499"/>
                </a:cubicBezTo>
                <a:cubicBezTo>
                  <a:pt x="3383" y="1500"/>
                  <a:pt x="3381" y="1501"/>
                  <a:pt x="3379" y="1501"/>
                </a:cubicBezTo>
                <a:cubicBezTo>
                  <a:pt x="3378" y="1502"/>
                  <a:pt x="3376" y="1503"/>
                  <a:pt x="3374" y="1504"/>
                </a:cubicBezTo>
                <a:cubicBezTo>
                  <a:pt x="3374" y="1504"/>
                  <a:pt x="3374" y="1504"/>
                  <a:pt x="3374" y="1514"/>
                </a:cubicBezTo>
                <a:cubicBezTo>
                  <a:pt x="3377" y="1513"/>
                  <a:pt x="3380" y="1512"/>
                  <a:pt x="3382" y="1511"/>
                </a:cubicBezTo>
                <a:cubicBezTo>
                  <a:pt x="3384" y="1510"/>
                  <a:pt x="3387" y="1509"/>
                  <a:pt x="3389" y="1507"/>
                </a:cubicBezTo>
                <a:cubicBezTo>
                  <a:pt x="3389" y="1507"/>
                  <a:pt x="3389" y="1507"/>
                  <a:pt x="3389" y="1566"/>
                </a:cubicBezTo>
                <a:cubicBezTo>
                  <a:pt x="3389" y="1566"/>
                  <a:pt x="3389" y="1566"/>
                  <a:pt x="3400" y="1566"/>
                </a:cubicBezTo>
                <a:cubicBezTo>
                  <a:pt x="3400" y="1566"/>
                  <a:pt x="3400" y="1566"/>
                  <a:pt x="3400" y="1493"/>
                </a:cubicBezTo>
                <a:close/>
                <a:moveTo>
                  <a:pt x="3156" y="1525"/>
                </a:moveTo>
                <a:cubicBezTo>
                  <a:pt x="3156" y="1525"/>
                  <a:pt x="3156" y="1525"/>
                  <a:pt x="3156" y="1525"/>
                </a:cubicBezTo>
                <a:cubicBezTo>
                  <a:pt x="3156" y="1533"/>
                  <a:pt x="3156" y="1533"/>
                  <a:pt x="3156" y="1533"/>
                </a:cubicBezTo>
                <a:cubicBezTo>
                  <a:pt x="3162" y="1534"/>
                  <a:pt x="3163" y="1537"/>
                  <a:pt x="3163" y="1539"/>
                </a:cubicBezTo>
                <a:cubicBezTo>
                  <a:pt x="3163" y="1541"/>
                  <a:pt x="3162" y="1544"/>
                  <a:pt x="3162" y="1546"/>
                </a:cubicBezTo>
                <a:cubicBezTo>
                  <a:pt x="3162" y="1549"/>
                  <a:pt x="3162" y="1551"/>
                  <a:pt x="3162" y="1553"/>
                </a:cubicBezTo>
                <a:cubicBezTo>
                  <a:pt x="3162" y="1563"/>
                  <a:pt x="3168" y="1566"/>
                  <a:pt x="3176" y="1566"/>
                </a:cubicBezTo>
                <a:cubicBezTo>
                  <a:pt x="3176" y="1566"/>
                  <a:pt x="3176" y="1566"/>
                  <a:pt x="3180" y="1566"/>
                </a:cubicBezTo>
                <a:cubicBezTo>
                  <a:pt x="3180" y="1566"/>
                  <a:pt x="3180" y="1566"/>
                  <a:pt x="3180" y="1557"/>
                </a:cubicBezTo>
                <a:cubicBezTo>
                  <a:pt x="3180" y="1557"/>
                  <a:pt x="3180" y="1557"/>
                  <a:pt x="3178" y="1557"/>
                </a:cubicBezTo>
                <a:cubicBezTo>
                  <a:pt x="3175" y="1557"/>
                  <a:pt x="3174" y="1555"/>
                  <a:pt x="3174" y="1551"/>
                </a:cubicBezTo>
                <a:cubicBezTo>
                  <a:pt x="3174" y="1550"/>
                  <a:pt x="3174" y="1548"/>
                  <a:pt x="3174" y="1546"/>
                </a:cubicBezTo>
                <a:cubicBezTo>
                  <a:pt x="3174" y="1545"/>
                  <a:pt x="3174" y="1543"/>
                  <a:pt x="3174" y="1540"/>
                </a:cubicBezTo>
                <a:cubicBezTo>
                  <a:pt x="3174" y="1533"/>
                  <a:pt x="3171" y="1530"/>
                  <a:pt x="3166" y="1529"/>
                </a:cubicBezTo>
                <a:cubicBezTo>
                  <a:pt x="3166" y="1529"/>
                  <a:pt x="3166" y="1529"/>
                  <a:pt x="3166" y="1529"/>
                </a:cubicBezTo>
                <a:cubicBezTo>
                  <a:pt x="3171" y="1528"/>
                  <a:pt x="3174" y="1525"/>
                  <a:pt x="3174" y="1518"/>
                </a:cubicBezTo>
                <a:cubicBezTo>
                  <a:pt x="3174" y="1515"/>
                  <a:pt x="3174" y="1513"/>
                  <a:pt x="3174" y="1512"/>
                </a:cubicBezTo>
                <a:cubicBezTo>
                  <a:pt x="3174" y="1510"/>
                  <a:pt x="3174" y="1508"/>
                  <a:pt x="3174" y="1507"/>
                </a:cubicBezTo>
                <a:cubicBezTo>
                  <a:pt x="3174" y="1503"/>
                  <a:pt x="3175" y="1501"/>
                  <a:pt x="3178" y="1501"/>
                </a:cubicBezTo>
                <a:cubicBezTo>
                  <a:pt x="3178" y="1501"/>
                  <a:pt x="3178" y="1501"/>
                  <a:pt x="3180" y="1501"/>
                </a:cubicBezTo>
                <a:cubicBezTo>
                  <a:pt x="3180" y="1501"/>
                  <a:pt x="3180" y="1501"/>
                  <a:pt x="3180" y="1492"/>
                </a:cubicBezTo>
                <a:cubicBezTo>
                  <a:pt x="3180" y="1492"/>
                  <a:pt x="3180" y="1492"/>
                  <a:pt x="3176" y="1492"/>
                </a:cubicBezTo>
                <a:cubicBezTo>
                  <a:pt x="3167" y="1492"/>
                  <a:pt x="3162" y="1496"/>
                  <a:pt x="3162" y="1504"/>
                </a:cubicBezTo>
                <a:cubicBezTo>
                  <a:pt x="3162" y="1507"/>
                  <a:pt x="3162" y="1509"/>
                  <a:pt x="3162" y="1512"/>
                </a:cubicBezTo>
                <a:cubicBezTo>
                  <a:pt x="3162" y="1514"/>
                  <a:pt x="3163" y="1517"/>
                  <a:pt x="3163" y="1519"/>
                </a:cubicBezTo>
                <a:cubicBezTo>
                  <a:pt x="3163" y="1521"/>
                  <a:pt x="3162" y="1525"/>
                  <a:pt x="3156" y="1525"/>
                </a:cubicBezTo>
                <a:close/>
                <a:moveTo>
                  <a:pt x="3211" y="1533"/>
                </a:moveTo>
                <a:cubicBezTo>
                  <a:pt x="3211" y="1533"/>
                  <a:pt x="3211" y="1533"/>
                  <a:pt x="3211" y="1533"/>
                </a:cubicBezTo>
                <a:cubicBezTo>
                  <a:pt x="3211" y="1525"/>
                  <a:pt x="3211" y="1525"/>
                  <a:pt x="3211" y="1525"/>
                </a:cubicBezTo>
                <a:cubicBezTo>
                  <a:pt x="3205" y="1525"/>
                  <a:pt x="3204" y="1521"/>
                  <a:pt x="3204" y="1519"/>
                </a:cubicBezTo>
                <a:cubicBezTo>
                  <a:pt x="3204" y="1517"/>
                  <a:pt x="3204" y="1514"/>
                  <a:pt x="3205" y="1512"/>
                </a:cubicBezTo>
                <a:cubicBezTo>
                  <a:pt x="3205" y="1509"/>
                  <a:pt x="3205" y="1507"/>
                  <a:pt x="3205" y="1504"/>
                </a:cubicBezTo>
                <a:cubicBezTo>
                  <a:pt x="3205" y="1496"/>
                  <a:pt x="3200" y="1492"/>
                  <a:pt x="3190" y="1492"/>
                </a:cubicBezTo>
                <a:cubicBezTo>
                  <a:pt x="3190" y="1492"/>
                  <a:pt x="3190" y="1492"/>
                  <a:pt x="3187" y="1492"/>
                </a:cubicBezTo>
                <a:cubicBezTo>
                  <a:pt x="3187" y="1492"/>
                  <a:pt x="3187" y="1492"/>
                  <a:pt x="3187" y="1501"/>
                </a:cubicBezTo>
                <a:cubicBezTo>
                  <a:pt x="3187" y="1501"/>
                  <a:pt x="3187" y="1501"/>
                  <a:pt x="3188" y="1501"/>
                </a:cubicBezTo>
                <a:cubicBezTo>
                  <a:pt x="3192" y="1501"/>
                  <a:pt x="3193" y="1503"/>
                  <a:pt x="3193" y="1507"/>
                </a:cubicBezTo>
                <a:cubicBezTo>
                  <a:pt x="3193" y="1508"/>
                  <a:pt x="3193" y="1510"/>
                  <a:pt x="3193" y="1512"/>
                </a:cubicBezTo>
                <a:cubicBezTo>
                  <a:pt x="3193" y="1513"/>
                  <a:pt x="3193" y="1515"/>
                  <a:pt x="3193" y="1518"/>
                </a:cubicBezTo>
                <a:cubicBezTo>
                  <a:pt x="3193" y="1525"/>
                  <a:pt x="3195" y="1528"/>
                  <a:pt x="3201" y="1529"/>
                </a:cubicBezTo>
                <a:cubicBezTo>
                  <a:pt x="3201" y="1529"/>
                  <a:pt x="3201" y="1529"/>
                  <a:pt x="3201" y="1529"/>
                </a:cubicBezTo>
                <a:cubicBezTo>
                  <a:pt x="3195" y="1530"/>
                  <a:pt x="3193" y="1533"/>
                  <a:pt x="3193" y="1540"/>
                </a:cubicBezTo>
                <a:cubicBezTo>
                  <a:pt x="3193" y="1543"/>
                  <a:pt x="3193" y="1545"/>
                  <a:pt x="3193" y="1546"/>
                </a:cubicBezTo>
                <a:cubicBezTo>
                  <a:pt x="3193" y="1548"/>
                  <a:pt x="3193" y="1550"/>
                  <a:pt x="3193" y="1551"/>
                </a:cubicBezTo>
                <a:cubicBezTo>
                  <a:pt x="3193" y="1555"/>
                  <a:pt x="3192" y="1557"/>
                  <a:pt x="3188" y="1557"/>
                </a:cubicBezTo>
                <a:cubicBezTo>
                  <a:pt x="3188" y="1557"/>
                  <a:pt x="3188" y="1557"/>
                  <a:pt x="3187" y="1557"/>
                </a:cubicBezTo>
                <a:cubicBezTo>
                  <a:pt x="3187" y="1557"/>
                  <a:pt x="3187" y="1557"/>
                  <a:pt x="3187" y="1566"/>
                </a:cubicBezTo>
                <a:cubicBezTo>
                  <a:pt x="3187" y="1566"/>
                  <a:pt x="3187" y="1566"/>
                  <a:pt x="3190" y="1566"/>
                </a:cubicBezTo>
                <a:cubicBezTo>
                  <a:pt x="3199" y="1566"/>
                  <a:pt x="3205" y="1563"/>
                  <a:pt x="3205" y="1553"/>
                </a:cubicBezTo>
                <a:cubicBezTo>
                  <a:pt x="3205" y="1551"/>
                  <a:pt x="3205" y="1549"/>
                  <a:pt x="3205" y="1546"/>
                </a:cubicBezTo>
                <a:cubicBezTo>
                  <a:pt x="3204" y="1544"/>
                  <a:pt x="3204" y="1541"/>
                  <a:pt x="3204" y="1539"/>
                </a:cubicBezTo>
                <a:cubicBezTo>
                  <a:pt x="3204" y="1537"/>
                  <a:pt x="3205" y="1534"/>
                  <a:pt x="3211" y="1533"/>
                </a:cubicBezTo>
                <a:close/>
                <a:moveTo>
                  <a:pt x="3538" y="1525"/>
                </a:moveTo>
                <a:cubicBezTo>
                  <a:pt x="3538" y="1525"/>
                  <a:pt x="3538" y="1525"/>
                  <a:pt x="3538" y="1525"/>
                </a:cubicBezTo>
                <a:cubicBezTo>
                  <a:pt x="3538" y="1533"/>
                  <a:pt x="3538" y="1533"/>
                  <a:pt x="3538" y="1533"/>
                </a:cubicBezTo>
                <a:cubicBezTo>
                  <a:pt x="3544" y="1534"/>
                  <a:pt x="3545" y="1537"/>
                  <a:pt x="3545" y="1539"/>
                </a:cubicBezTo>
                <a:cubicBezTo>
                  <a:pt x="3545" y="1541"/>
                  <a:pt x="3545" y="1544"/>
                  <a:pt x="3545" y="1546"/>
                </a:cubicBezTo>
                <a:cubicBezTo>
                  <a:pt x="3544" y="1549"/>
                  <a:pt x="3544" y="1551"/>
                  <a:pt x="3544" y="1553"/>
                </a:cubicBezTo>
                <a:cubicBezTo>
                  <a:pt x="3544" y="1563"/>
                  <a:pt x="3550" y="1566"/>
                  <a:pt x="3558" y="1566"/>
                </a:cubicBezTo>
                <a:cubicBezTo>
                  <a:pt x="3558" y="1566"/>
                  <a:pt x="3558" y="1566"/>
                  <a:pt x="3562" y="1566"/>
                </a:cubicBezTo>
                <a:cubicBezTo>
                  <a:pt x="3562" y="1566"/>
                  <a:pt x="3562" y="1566"/>
                  <a:pt x="3562" y="1557"/>
                </a:cubicBezTo>
                <a:cubicBezTo>
                  <a:pt x="3562" y="1557"/>
                  <a:pt x="3562" y="1557"/>
                  <a:pt x="3560" y="1557"/>
                </a:cubicBezTo>
                <a:cubicBezTo>
                  <a:pt x="3557" y="1557"/>
                  <a:pt x="3556" y="1555"/>
                  <a:pt x="3556" y="1551"/>
                </a:cubicBezTo>
                <a:cubicBezTo>
                  <a:pt x="3556" y="1550"/>
                  <a:pt x="3556" y="1548"/>
                  <a:pt x="3556" y="1546"/>
                </a:cubicBezTo>
                <a:cubicBezTo>
                  <a:pt x="3556" y="1545"/>
                  <a:pt x="3556" y="1543"/>
                  <a:pt x="3556" y="1540"/>
                </a:cubicBezTo>
                <a:cubicBezTo>
                  <a:pt x="3556" y="1533"/>
                  <a:pt x="3553" y="1530"/>
                  <a:pt x="3548" y="1529"/>
                </a:cubicBezTo>
                <a:cubicBezTo>
                  <a:pt x="3548" y="1529"/>
                  <a:pt x="3548" y="1529"/>
                  <a:pt x="3548" y="1529"/>
                </a:cubicBezTo>
                <a:cubicBezTo>
                  <a:pt x="3553" y="1528"/>
                  <a:pt x="3556" y="1525"/>
                  <a:pt x="3556" y="1518"/>
                </a:cubicBezTo>
                <a:cubicBezTo>
                  <a:pt x="3556" y="1515"/>
                  <a:pt x="3556" y="1513"/>
                  <a:pt x="3556" y="1512"/>
                </a:cubicBezTo>
                <a:cubicBezTo>
                  <a:pt x="3556" y="1510"/>
                  <a:pt x="3556" y="1508"/>
                  <a:pt x="3556" y="1507"/>
                </a:cubicBezTo>
                <a:cubicBezTo>
                  <a:pt x="3556" y="1503"/>
                  <a:pt x="3557" y="1501"/>
                  <a:pt x="3560" y="1501"/>
                </a:cubicBezTo>
                <a:cubicBezTo>
                  <a:pt x="3560" y="1501"/>
                  <a:pt x="3560" y="1501"/>
                  <a:pt x="3562" y="1501"/>
                </a:cubicBezTo>
                <a:cubicBezTo>
                  <a:pt x="3562" y="1501"/>
                  <a:pt x="3562" y="1501"/>
                  <a:pt x="3562" y="1492"/>
                </a:cubicBezTo>
                <a:cubicBezTo>
                  <a:pt x="3562" y="1492"/>
                  <a:pt x="3562" y="1492"/>
                  <a:pt x="3558" y="1492"/>
                </a:cubicBezTo>
                <a:cubicBezTo>
                  <a:pt x="3549" y="1492"/>
                  <a:pt x="3544" y="1496"/>
                  <a:pt x="3544" y="1504"/>
                </a:cubicBezTo>
                <a:cubicBezTo>
                  <a:pt x="3544" y="1507"/>
                  <a:pt x="3544" y="1509"/>
                  <a:pt x="3544" y="1512"/>
                </a:cubicBezTo>
                <a:cubicBezTo>
                  <a:pt x="3545" y="1514"/>
                  <a:pt x="3545" y="1517"/>
                  <a:pt x="3545" y="1519"/>
                </a:cubicBezTo>
                <a:cubicBezTo>
                  <a:pt x="3545" y="1521"/>
                  <a:pt x="3544" y="1525"/>
                  <a:pt x="3538" y="1525"/>
                </a:cubicBezTo>
                <a:close/>
                <a:moveTo>
                  <a:pt x="3593" y="1533"/>
                </a:moveTo>
                <a:cubicBezTo>
                  <a:pt x="3593" y="1533"/>
                  <a:pt x="3593" y="1533"/>
                  <a:pt x="3593" y="1533"/>
                </a:cubicBezTo>
                <a:cubicBezTo>
                  <a:pt x="3593" y="1525"/>
                  <a:pt x="3593" y="1525"/>
                  <a:pt x="3593" y="1525"/>
                </a:cubicBezTo>
                <a:cubicBezTo>
                  <a:pt x="3587" y="1525"/>
                  <a:pt x="3586" y="1521"/>
                  <a:pt x="3586" y="1519"/>
                </a:cubicBezTo>
                <a:cubicBezTo>
                  <a:pt x="3586" y="1517"/>
                  <a:pt x="3586" y="1514"/>
                  <a:pt x="3587" y="1512"/>
                </a:cubicBezTo>
                <a:cubicBezTo>
                  <a:pt x="3587" y="1509"/>
                  <a:pt x="3587" y="1507"/>
                  <a:pt x="3587" y="1504"/>
                </a:cubicBezTo>
                <a:cubicBezTo>
                  <a:pt x="3587" y="1496"/>
                  <a:pt x="3582" y="1492"/>
                  <a:pt x="3572" y="1492"/>
                </a:cubicBezTo>
                <a:cubicBezTo>
                  <a:pt x="3572" y="1492"/>
                  <a:pt x="3572" y="1492"/>
                  <a:pt x="3569" y="1492"/>
                </a:cubicBezTo>
                <a:cubicBezTo>
                  <a:pt x="3569" y="1492"/>
                  <a:pt x="3569" y="1492"/>
                  <a:pt x="3569" y="1501"/>
                </a:cubicBezTo>
                <a:cubicBezTo>
                  <a:pt x="3569" y="1501"/>
                  <a:pt x="3569" y="1501"/>
                  <a:pt x="3570" y="1501"/>
                </a:cubicBezTo>
                <a:cubicBezTo>
                  <a:pt x="3574" y="1501"/>
                  <a:pt x="3575" y="1503"/>
                  <a:pt x="3575" y="1507"/>
                </a:cubicBezTo>
                <a:cubicBezTo>
                  <a:pt x="3575" y="1508"/>
                  <a:pt x="3575" y="1510"/>
                  <a:pt x="3575" y="1512"/>
                </a:cubicBezTo>
                <a:cubicBezTo>
                  <a:pt x="3575" y="1513"/>
                  <a:pt x="3575" y="1515"/>
                  <a:pt x="3575" y="1518"/>
                </a:cubicBezTo>
                <a:cubicBezTo>
                  <a:pt x="3575" y="1525"/>
                  <a:pt x="3577" y="1528"/>
                  <a:pt x="3583" y="1529"/>
                </a:cubicBezTo>
                <a:cubicBezTo>
                  <a:pt x="3583" y="1529"/>
                  <a:pt x="3583" y="1529"/>
                  <a:pt x="3583" y="1529"/>
                </a:cubicBezTo>
                <a:cubicBezTo>
                  <a:pt x="3577" y="1530"/>
                  <a:pt x="3575" y="1533"/>
                  <a:pt x="3575" y="1540"/>
                </a:cubicBezTo>
                <a:cubicBezTo>
                  <a:pt x="3575" y="1543"/>
                  <a:pt x="3575" y="1545"/>
                  <a:pt x="3575" y="1546"/>
                </a:cubicBezTo>
                <a:cubicBezTo>
                  <a:pt x="3575" y="1548"/>
                  <a:pt x="3575" y="1550"/>
                  <a:pt x="3575" y="1551"/>
                </a:cubicBezTo>
                <a:cubicBezTo>
                  <a:pt x="3575" y="1555"/>
                  <a:pt x="3574" y="1557"/>
                  <a:pt x="3570" y="1557"/>
                </a:cubicBezTo>
                <a:cubicBezTo>
                  <a:pt x="3570" y="1557"/>
                  <a:pt x="3570" y="1557"/>
                  <a:pt x="3569" y="1557"/>
                </a:cubicBezTo>
                <a:cubicBezTo>
                  <a:pt x="3569" y="1557"/>
                  <a:pt x="3569" y="1557"/>
                  <a:pt x="3569" y="1566"/>
                </a:cubicBezTo>
                <a:cubicBezTo>
                  <a:pt x="3569" y="1566"/>
                  <a:pt x="3569" y="1566"/>
                  <a:pt x="3572" y="1566"/>
                </a:cubicBezTo>
                <a:cubicBezTo>
                  <a:pt x="3581" y="1566"/>
                  <a:pt x="3587" y="1563"/>
                  <a:pt x="3587" y="1553"/>
                </a:cubicBezTo>
                <a:cubicBezTo>
                  <a:pt x="3587" y="1551"/>
                  <a:pt x="3587" y="1549"/>
                  <a:pt x="3587" y="1546"/>
                </a:cubicBezTo>
                <a:cubicBezTo>
                  <a:pt x="3586" y="1544"/>
                  <a:pt x="3586" y="1541"/>
                  <a:pt x="3586" y="1539"/>
                </a:cubicBezTo>
                <a:cubicBezTo>
                  <a:pt x="3586" y="1537"/>
                  <a:pt x="3587" y="1534"/>
                  <a:pt x="3593" y="1533"/>
                </a:cubicBezTo>
                <a:close/>
                <a:moveTo>
                  <a:pt x="3641" y="1493"/>
                </a:moveTo>
                <a:cubicBezTo>
                  <a:pt x="3641" y="1493"/>
                  <a:pt x="3641" y="1493"/>
                  <a:pt x="3641" y="1493"/>
                </a:cubicBezTo>
                <a:cubicBezTo>
                  <a:pt x="3636" y="1493"/>
                  <a:pt x="3636" y="1493"/>
                  <a:pt x="3636" y="1493"/>
                </a:cubicBezTo>
                <a:cubicBezTo>
                  <a:pt x="3633" y="1494"/>
                  <a:pt x="3632" y="1496"/>
                  <a:pt x="3630" y="1496"/>
                </a:cubicBezTo>
                <a:cubicBezTo>
                  <a:pt x="3628" y="1498"/>
                  <a:pt x="3626" y="1498"/>
                  <a:pt x="3625" y="1499"/>
                </a:cubicBezTo>
                <a:cubicBezTo>
                  <a:pt x="3622" y="1500"/>
                  <a:pt x="3621" y="1501"/>
                  <a:pt x="3620" y="1501"/>
                </a:cubicBezTo>
                <a:cubicBezTo>
                  <a:pt x="3617" y="1502"/>
                  <a:pt x="3616" y="1503"/>
                  <a:pt x="3614" y="1504"/>
                </a:cubicBezTo>
                <a:cubicBezTo>
                  <a:pt x="3614" y="1504"/>
                  <a:pt x="3614" y="1504"/>
                  <a:pt x="3614" y="1514"/>
                </a:cubicBezTo>
                <a:cubicBezTo>
                  <a:pt x="3617" y="1513"/>
                  <a:pt x="3620" y="1512"/>
                  <a:pt x="3622" y="1511"/>
                </a:cubicBezTo>
                <a:cubicBezTo>
                  <a:pt x="3625" y="1510"/>
                  <a:pt x="3627" y="1509"/>
                  <a:pt x="3629" y="1507"/>
                </a:cubicBezTo>
                <a:cubicBezTo>
                  <a:pt x="3629" y="1507"/>
                  <a:pt x="3629" y="1507"/>
                  <a:pt x="3629" y="1566"/>
                </a:cubicBezTo>
                <a:cubicBezTo>
                  <a:pt x="3629" y="1566"/>
                  <a:pt x="3629" y="1566"/>
                  <a:pt x="3641" y="1566"/>
                </a:cubicBezTo>
                <a:cubicBezTo>
                  <a:pt x="3641" y="1566"/>
                  <a:pt x="3641" y="1566"/>
                  <a:pt x="3641" y="1493"/>
                </a:cubicBezTo>
                <a:close/>
                <a:moveTo>
                  <a:pt x="3688" y="1493"/>
                </a:moveTo>
                <a:cubicBezTo>
                  <a:pt x="3688" y="1493"/>
                  <a:pt x="3688" y="1493"/>
                  <a:pt x="3688" y="1493"/>
                </a:cubicBezTo>
                <a:cubicBezTo>
                  <a:pt x="3683" y="1493"/>
                  <a:pt x="3683" y="1493"/>
                  <a:pt x="3683" y="1493"/>
                </a:cubicBezTo>
                <a:cubicBezTo>
                  <a:pt x="3681" y="1494"/>
                  <a:pt x="3679" y="1496"/>
                  <a:pt x="3677" y="1496"/>
                </a:cubicBezTo>
                <a:cubicBezTo>
                  <a:pt x="3676" y="1498"/>
                  <a:pt x="3673" y="1498"/>
                  <a:pt x="3672" y="1499"/>
                </a:cubicBezTo>
                <a:cubicBezTo>
                  <a:pt x="3671" y="1501"/>
                  <a:pt x="3668" y="1501"/>
                  <a:pt x="3667" y="1502"/>
                </a:cubicBezTo>
                <a:cubicBezTo>
                  <a:pt x="3665" y="1503"/>
                  <a:pt x="3663" y="1504"/>
                  <a:pt x="3661" y="1504"/>
                </a:cubicBezTo>
                <a:cubicBezTo>
                  <a:pt x="3661" y="1504"/>
                  <a:pt x="3661" y="1504"/>
                  <a:pt x="3661" y="1514"/>
                </a:cubicBezTo>
                <a:cubicBezTo>
                  <a:pt x="3664" y="1513"/>
                  <a:pt x="3667" y="1512"/>
                  <a:pt x="3669" y="1511"/>
                </a:cubicBezTo>
                <a:cubicBezTo>
                  <a:pt x="3672" y="1510"/>
                  <a:pt x="3674" y="1509"/>
                  <a:pt x="3676" y="1507"/>
                </a:cubicBezTo>
                <a:cubicBezTo>
                  <a:pt x="3676" y="1507"/>
                  <a:pt x="3676" y="1507"/>
                  <a:pt x="3676" y="1566"/>
                </a:cubicBezTo>
                <a:cubicBezTo>
                  <a:pt x="3676" y="1566"/>
                  <a:pt x="3676" y="1566"/>
                  <a:pt x="3688" y="1566"/>
                </a:cubicBezTo>
                <a:cubicBezTo>
                  <a:pt x="3688" y="1566"/>
                  <a:pt x="3688" y="1566"/>
                  <a:pt x="3688" y="1493"/>
                </a:cubicBezTo>
                <a:close/>
                <a:moveTo>
                  <a:pt x="3734" y="1493"/>
                </a:moveTo>
                <a:cubicBezTo>
                  <a:pt x="3734" y="1493"/>
                  <a:pt x="3734" y="1493"/>
                  <a:pt x="3734" y="1493"/>
                </a:cubicBezTo>
                <a:cubicBezTo>
                  <a:pt x="3730" y="1493"/>
                  <a:pt x="3730" y="1493"/>
                  <a:pt x="3730" y="1493"/>
                </a:cubicBezTo>
                <a:cubicBezTo>
                  <a:pt x="3728" y="1494"/>
                  <a:pt x="3726" y="1496"/>
                  <a:pt x="3724" y="1496"/>
                </a:cubicBezTo>
                <a:cubicBezTo>
                  <a:pt x="3723" y="1498"/>
                  <a:pt x="3721" y="1498"/>
                  <a:pt x="3719" y="1499"/>
                </a:cubicBezTo>
                <a:cubicBezTo>
                  <a:pt x="3717" y="1501"/>
                  <a:pt x="3716" y="1501"/>
                  <a:pt x="3713" y="1502"/>
                </a:cubicBezTo>
                <a:cubicBezTo>
                  <a:pt x="3712" y="1503"/>
                  <a:pt x="3710" y="1504"/>
                  <a:pt x="3708" y="1504"/>
                </a:cubicBezTo>
                <a:cubicBezTo>
                  <a:pt x="3708" y="1504"/>
                  <a:pt x="3708" y="1504"/>
                  <a:pt x="3708" y="1514"/>
                </a:cubicBezTo>
                <a:cubicBezTo>
                  <a:pt x="3711" y="1513"/>
                  <a:pt x="3714" y="1512"/>
                  <a:pt x="3716" y="1511"/>
                </a:cubicBezTo>
                <a:cubicBezTo>
                  <a:pt x="3718" y="1510"/>
                  <a:pt x="3721" y="1509"/>
                  <a:pt x="3723" y="1507"/>
                </a:cubicBezTo>
                <a:cubicBezTo>
                  <a:pt x="3723" y="1507"/>
                  <a:pt x="3723" y="1507"/>
                  <a:pt x="3723" y="1566"/>
                </a:cubicBezTo>
                <a:cubicBezTo>
                  <a:pt x="3723" y="1566"/>
                  <a:pt x="3723" y="1566"/>
                  <a:pt x="3734" y="1566"/>
                </a:cubicBezTo>
                <a:cubicBezTo>
                  <a:pt x="3734" y="1566"/>
                  <a:pt x="3734" y="1566"/>
                  <a:pt x="3734" y="1493"/>
                </a:cubicBezTo>
                <a:close/>
                <a:moveTo>
                  <a:pt x="3858" y="1493"/>
                </a:moveTo>
                <a:cubicBezTo>
                  <a:pt x="3858" y="1493"/>
                  <a:pt x="3858" y="1493"/>
                  <a:pt x="3858" y="1493"/>
                </a:cubicBezTo>
                <a:cubicBezTo>
                  <a:pt x="3852" y="1493"/>
                  <a:pt x="3852" y="1493"/>
                  <a:pt x="3852" y="1493"/>
                </a:cubicBezTo>
                <a:cubicBezTo>
                  <a:pt x="3850" y="1494"/>
                  <a:pt x="3849" y="1496"/>
                  <a:pt x="3847" y="1496"/>
                </a:cubicBezTo>
                <a:cubicBezTo>
                  <a:pt x="3845" y="1498"/>
                  <a:pt x="3844" y="1498"/>
                  <a:pt x="3841" y="1499"/>
                </a:cubicBezTo>
                <a:cubicBezTo>
                  <a:pt x="3840" y="1501"/>
                  <a:pt x="3838" y="1501"/>
                  <a:pt x="3836" y="1502"/>
                </a:cubicBezTo>
                <a:cubicBezTo>
                  <a:pt x="3834" y="1503"/>
                  <a:pt x="3832" y="1504"/>
                  <a:pt x="3830" y="1504"/>
                </a:cubicBezTo>
                <a:cubicBezTo>
                  <a:pt x="3830" y="1504"/>
                  <a:pt x="3830" y="1504"/>
                  <a:pt x="3830" y="1514"/>
                </a:cubicBezTo>
                <a:cubicBezTo>
                  <a:pt x="3833" y="1513"/>
                  <a:pt x="3836" y="1512"/>
                  <a:pt x="3839" y="1511"/>
                </a:cubicBezTo>
                <a:cubicBezTo>
                  <a:pt x="3841" y="1510"/>
                  <a:pt x="3844" y="1509"/>
                  <a:pt x="3846" y="1507"/>
                </a:cubicBezTo>
                <a:cubicBezTo>
                  <a:pt x="3846" y="1507"/>
                  <a:pt x="3846" y="1507"/>
                  <a:pt x="3846" y="1566"/>
                </a:cubicBezTo>
                <a:cubicBezTo>
                  <a:pt x="3846" y="1566"/>
                  <a:pt x="3846" y="1566"/>
                  <a:pt x="3858" y="1566"/>
                </a:cubicBezTo>
                <a:cubicBezTo>
                  <a:pt x="3858" y="1566"/>
                  <a:pt x="3858" y="1566"/>
                  <a:pt x="3858" y="1493"/>
                </a:cubicBezTo>
                <a:close/>
                <a:moveTo>
                  <a:pt x="3755" y="1525"/>
                </a:moveTo>
                <a:cubicBezTo>
                  <a:pt x="3755" y="1525"/>
                  <a:pt x="3755" y="1525"/>
                  <a:pt x="3755" y="1525"/>
                </a:cubicBezTo>
                <a:cubicBezTo>
                  <a:pt x="3755" y="1533"/>
                  <a:pt x="3755" y="1533"/>
                  <a:pt x="3755" y="1533"/>
                </a:cubicBezTo>
                <a:cubicBezTo>
                  <a:pt x="3761" y="1534"/>
                  <a:pt x="3762" y="1537"/>
                  <a:pt x="3762" y="1539"/>
                </a:cubicBezTo>
                <a:cubicBezTo>
                  <a:pt x="3762" y="1541"/>
                  <a:pt x="3762" y="1544"/>
                  <a:pt x="3762" y="1546"/>
                </a:cubicBezTo>
                <a:cubicBezTo>
                  <a:pt x="3761" y="1549"/>
                  <a:pt x="3761" y="1551"/>
                  <a:pt x="3761" y="1553"/>
                </a:cubicBezTo>
                <a:cubicBezTo>
                  <a:pt x="3761" y="1563"/>
                  <a:pt x="3767" y="1566"/>
                  <a:pt x="3775" y="1566"/>
                </a:cubicBezTo>
                <a:cubicBezTo>
                  <a:pt x="3775" y="1566"/>
                  <a:pt x="3775" y="1566"/>
                  <a:pt x="3779" y="1566"/>
                </a:cubicBezTo>
                <a:cubicBezTo>
                  <a:pt x="3779" y="1566"/>
                  <a:pt x="3779" y="1566"/>
                  <a:pt x="3779" y="1557"/>
                </a:cubicBezTo>
                <a:cubicBezTo>
                  <a:pt x="3779" y="1557"/>
                  <a:pt x="3779" y="1557"/>
                  <a:pt x="3777" y="1557"/>
                </a:cubicBezTo>
                <a:cubicBezTo>
                  <a:pt x="3774" y="1557"/>
                  <a:pt x="3773" y="1555"/>
                  <a:pt x="3773" y="1551"/>
                </a:cubicBezTo>
                <a:cubicBezTo>
                  <a:pt x="3773" y="1550"/>
                  <a:pt x="3773" y="1548"/>
                  <a:pt x="3773" y="1546"/>
                </a:cubicBezTo>
                <a:cubicBezTo>
                  <a:pt x="3773" y="1545"/>
                  <a:pt x="3773" y="1543"/>
                  <a:pt x="3773" y="1540"/>
                </a:cubicBezTo>
                <a:cubicBezTo>
                  <a:pt x="3773" y="1533"/>
                  <a:pt x="3770" y="1530"/>
                  <a:pt x="3765" y="1529"/>
                </a:cubicBezTo>
                <a:cubicBezTo>
                  <a:pt x="3765" y="1529"/>
                  <a:pt x="3765" y="1529"/>
                  <a:pt x="3765" y="1529"/>
                </a:cubicBezTo>
                <a:cubicBezTo>
                  <a:pt x="3770" y="1528"/>
                  <a:pt x="3773" y="1525"/>
                  <a:pt x="3773" y="1518"/>
                </a:cubicBezTo>
                <a:cubicBezTo>
                  <a:pt x="3773" y="1515"/>
                  <a:pt x="3773" y="1513"/>
                  <a:pt x="3773" y="1512"/>
                </a:cubicBezTo>
                <a:cubicBezTo>
                  <a:pt x="3773" y="1510"/>
                  <a:pt x="3773" y="1508"/>
                  <a:pt x="3773" y="1507"/>
                </a:cubicBezTo>
                <a:cubicBezTo>
                  <a:pt x="3773" y="1503"/>
                  <a:pt x="3774" y="1501"/>
                  <a:pt x="3777" y="1501"/>
                </a:cubicBezTo>
                <a:cubicBezTo>
                  <a:pt x="3777" y="1501"/>
                  <a:pt x="3777" y="1501"/>
                  <a:pt x="3779" y="1501"/>
                </a:cubicBezTo>
                <a:cubicBezTo>
                  <a:pt x="3779" y="1501"/>
                  <a:pt x="3779" y="1501"/>
                  <a:pt x="3779" y="1492"/>
                </a:cubicBezTo>
                <a:cubicBezTo>
                  <a:pt x="3779" y="1492"/>
                  <a:pt x="3779" y="1492"/>
                  <a:pt x="3775" y="1492"/>
                </a:cubicBezTo>
                <a:cubicBezTo>
                  <a:pt x="3766" y="1492"/>
                  <a:pt x="3761" y="1496"/>
                  <a:pt x="3761" y="1504"/>
                </a:cubicBezTo>
                <a:cubicBezTo>
                  <a:pt x="3761" y="1507"/>
                  <a:pt x="3761" y="1509"/>
                  <a:pt x="3761" y="1512"/>
                </a:cubicBezTo>
                <a:cubicBezTo>
                  <a:pt x="3762" y="1514"/>
                  <a:pt x="3762" y="1517"/>
                  <a:pt x="3762" y="1519"/>
                </a:cubicBezTo>
                <a:cubicBezTo>
                  <a:pt x="3762" y="1521"/>
                  <a:pt x="3761" y="1525"/>
                  <a:pt x="3755" y="1525"/>
                </a:cubicBezTo>
                <a:close/>
                <a:moveTo>
                  <a:pt x="3810" y="1533"/>
                </a:moveTo>
                <a:cubicBezTo>
                  <a:pt x="3810" y="1533"/>
                  <a:pt x="3810" y="1533"/>
                  <a:pt x="3810" y="1533"/>
                </a:cubicBezTo>
                <a:cubicBezTo>
                  <a:pt x="3810" y="1525"/>
                  <a:pt x="3810" y="1525"/>
                  <a:pt x="3810" y="1525"/>
                </a:cubicBezTo>
                <a:cubicBezTo>
                  <a:pt x="3803" y="1525"/>
                  <a:pt x="3803" y="1521"/>
                  <a:pt x="3803" y="1519"/>
                </a:cubicBezTo>
                <a:cubicBezTo>
                  <a:pt x="3803" y="1517"/>
                  <a:pt x="3803" y="1514"/>
                  <a:pt x="3803" y="1512"/>
                </a:cubicBezTo>
                <a:cubicBezTo>
                  <a:pt x="3804" y="1509"/>
                  <a:pt x="3804" y="1507"/>
                  <a:pt x="3804" y="1504"/>
                </a:cubicBezTo>
                <a:cubicBezTo>
                  <a:pt x="3804" y="1496"/>
                  <a:pt x="3799" y="1492"/>
                  <a:pt x="3789" y="1492"/>
                </a:cubicBezTo>
                <a:cubicBezTo>
                  <a:pt x="3789" y="1492"/>
                  <a:pt x="3789" y="1492"/>
                  <a:pt x="3786" y="1492"/>
                </a:cubicBezTo>
                <a:cubicBezTo>
                  <a:pt x="3786" y="1492"/>
                  <a:pt x="3786" y="1492"/>
                  <a:pt x="3786" y="1501"/>
                </a:cubicBezTo>
                <a:cubicBezTo>
                  <a:pt x="3786" y="1501"/>
                  <a:pt x="3786" y="1501"/>
                  <a:pt x="3787" y="1501"/>
                </a:cubicBezTo>
                <a:cubicBezTo>
                  <a:pt x="3791" y="1501"/>
                  <a:pt x="3792" y="1503"/>
                  <a:pt x="3792" y="1507"/>
                </a:cubicBezTo>
                <a:cubicBezTo>
                  <a:pt x="3792" y="1508"/>
                  <a:pt x="3792" y="1510"/>
                  <a:pt x="3792" y="1512"/>
                </a:cubicBezTo>
                <a:cubicBezTo>
                  <a:pt x="3792" y="1513"/>
                  <a:pt x="3792" y="1515"/>
                  <a:pt x="3792" y="1518"/>
                </a:cubicBezTo>
                <a:cubicBezTo>
                  <a:pt x="3792" y="1525"/>
                  <a:pt x="3794" y="1528"/>
                  <a:pt x="3800" y="1529"/>
                </a:cubicBezTo>
                <a:cubicBezTo>
                  <a:pt x="3800" y="1529"/>
                  <a:pt x="3800" y="1529"/>
                  <a:pt x="3800" y="1529"/>
                </a:cubicBezTo>
                <a:cubicBezTo>
                  <a:pt x="3794" y="1530"/>
                  <a:pt x="3792" y="1533"/>
                  <a:pt x="3792" y="1540"/>
                </a:cubicBezTo>
                <a:cubicBezTo>
                  <a:pt x="3792" y="1543"/>
                  <a:pt x="3792" y="1545"/>
                  <a:pt x="3792" y="1546"/>
                </a:cubicBezTo>
                <a:cubicBezTo>
                  <a:pt x="3792" y="1548"/>
                  <a:pt x="3792" y="1550"/>
                  <a:pt x="3792" y="1551"/>
                </a:cubicBezTo>
                <a:cubicBezTo>
                  <a:pt x="3792" y="1555"/>
                  <a:pt x="3791" y="1557"/>
                  <a:pt x="3787" y="1557"/>
                </a:cubicBezTo>
                <a:cubicBezTo>
                  <a:pt x="3787" y="1557"/>
                  <a:pt x="3787" y="1557"/>
                  <a:pt x="3786" y="1557"/>
                </a:cubicBezTo>
                <a:cubicBezTo>
                  <a:pt x="3786" y="1557"/>
                  <a:pt x="3786" y="1557"/>
                  <a:pt x="3786" y="1566"/>
                </a:cubicBezTo>
                <a:cubicBezTo>
                  <a:pt x="3786" y="1566"/>
                  <a:pt x="3786" y="1566"/>
                  <a:pt x="3789" y="1566"/>
                </a:cubicBezTo>
                <a:cubicBezTo>
                  <a:pt x="3798" y="1566"/>
                  <a:pt x="3804" y="1563"/>
                  <a:pt x="3804" y="1553"/>
                </a:cubicBezTo>
                <a:cubicBezTo>
                  <a:pt x="3804" y="1551"/>
                  <a:pt x="3804" y="1549"/>
                  <a:pt x="3803" y="1546"/>
                </a:cubicBezTo>
                <a:cubicBezTo>
                  <a:pt x="3803" y="1544"/>
                  <a:pt x="3803" y="1541"/>
                  <a:pt x="3803" y="1539"/>
                </a:cubicBezTo>
                <a:cubicBezTo>
                  <a:pt x="3803" y="1537"/>
                  <a:pt x="3803" y="1534"/>
                  <a:pt x="3810" y="1533"/>
                </a:cubicBezTo>
                <a:close/>
                <a:moveTo>
                  <a:pt x="2951" y="1444"/>
                </a:moveTo>
                <a:cubicBezTo>
                  <a:pt x="2951" y="1446"/>
                  <a:pt x="2952" y="1447"/>
                  <a:pt x="2952" y="1448"/>
                </a:cubicBezTo>
                <a:cubicBezTo>
                  <a:pt x="2953" y="1450"/>
                  <a:pt x="2953" y="1452"/>
                  <a:pt x="2954" y="1453"/>
                </a:cubicBezTo>
                <a:cubicBezTo>
                  <a:pt x="2954" y="1455"/>
                  <a:pt x="2954" y="1457"/>
                  <a:pt x="2954" y="1458"/>
                </a:cubicBezTo>
                <a:cubicBezTo>
                  <a:pt x="2955" y="1461"/>
                  <a:pt x="2954" y="1463"/>
                  <a:pt x="2951" y="1463"/>
                </a:cubicBezTo>
                <a:cubicBezTo>
                  <a:pt x="2948" y="1463"/>
                  <a:pt x="2945" y="1463"/>
                  <a:pt x="2942" y="1463"/>
                </a:cubicBezTo>
                <a:cubicBezTo>
                  <a:pt x="2942" y="1463"/>
                  <a:pt x="2941" y="1463"/>
                  <a:pt x="2941" y="1463"/>
                </a:cubicBezTo>
                <a:cubicBezTo>
                  <a:pt x="2939" y="1465"/>
                  <a:pt x="2938" y="1466"/>
                  <a:pt x="2936" y="1467"/>
                </a:cubicBezTo>
                <a:cubicBezTo>
                  <a:pt x="2934" y="1470"/>
                  <a:pt x="2931" y="1470"/>
                  <a:pt x="2929" y="1468"/>
                </a:cubicBezTo>
                <a:cubicBezTo>
                  <a:pt x="2927" y="1466"/>
                  <a:pt x="2926" y="1463"/>
                  <a:pt x="2924" y="1461"/>
                </a:cubicBezTo>
                <a:cubicBezTo>
                  <a:pt x="2923" y="1459"/>
                  <a:pt x="2924" y="1457"/>
                  <a:pt x="2926" y="1456"/>
                </a:cubicBezTo>
                <a:cubicBezTo>
                  <a:pt x="2923" y="1456"/>
                  <a:pt x="2922" y="1456"/>
                  <a:pt x="2920" y="1456"/>
                </a:cubicBezTo>
                <a:cubicBezTo>
                  <a:pt x="2920" y="1458"/>
                  <a:pt x="2918" y="1460"/>
                  <a:pt x="2918" y="1462"/>
                </a:cubicBezTo>
                <a:cubicBezTo>
                  <a:pt x="2918" y="1463"/>
                  <a:pt x="2917" y="1463"/>
                  <a:pt x="2917" y="1464"/>
                </a:cubicBezTo>
                <a:cubicBezTo>
                  <a:pt x="2917" y="1467"/>
                  <a:pt x="2916" y="1469"/>
                  <a:pt x="2913" y="1468"/>
                </a:cubicBezTo>
                <a:cubicBezTo>
                  <a:pt x="2910" y="1468"/>
                  <a:pt x="2907" y="1467"/>
                  <a:pt x="2904" y="1466"/>
                </a:cubicBezTo>
                <a:cubicBezTo>
                  <a:pt x="2902" y="1465"/>
                  <a:pt x="2901" y="1464"/>
                  <a:pt x="2902" y="1462"/>
                </a:cubicBezTo>
                <a:cubicBezTo>
                  <a:pt x="2902" y="1461"/>
                  <a:pt x="2902" y="1460"/>
                  <a:pt x="2903" y="1460"/>
                </a:cubicBezTo>
                <a:cubicBezTo>
                  <a:pt x="2900" y="1459"/>
                  <a:pt x="2898" y="1458"/>
                  <a:pt x="2896" y="1457"/>
                </a:cubicBezTo>
                <a:cubicBezTo>
                  <a:pt x="2895" y="1456"/>
                  <a:pt x="2894" y="1454"/>
                  <a:pt x="2893" y="1452"/>
                </a:cubicBezTo>
                <a:cubicBezTo>
                  <a:pt x="2892" y="1450"/>
                  <a:pt x="2892" y="1449"/>
                  <a:pt x="2894" y="1447"/>
                </a:cubicBezTo>
                <a:cubicBezTo>
                  <a:pt x="2897" y="1445"/>
                  <a:pt x="2898" y="1442"/>
                  <a:pt x="2897" y="1438"/>
                </a:cubicBezTo>
                <a:cubicBezTo>
                  <a:pt x="2897" y="1436"/>
                  <a:pt x="2897" y="1434"/>
                  <a:pt x="2897" y="1432"/>
                </a:cubicBezTo>
                <a:cubicBezTo>
                  <a:pt x="2896" y="1431"/>
                  <a:pt x="2894" y="1431"/>
                  <a:pt x="2893" y="1430"/>
                </a:cubicBezTo>
                <a:cubicBezTo>
                  <a:pt x="2892" y="1428"/>
                  <a:pt x="2891" y="1426"/>
                  <a:pt x="2891" y="1424"/>
                </a:cubicBezTo>
                <a:cubicBezTo>
                  <a:pt x="2891" y="1421"/>
                  <a:pt x="2894" y="1419"/>
                  <a:pt x="2897" y="1418"/>
                </a:cubicBezTo>
                <a:cubicBezTo>
                  <a:pt x="2898" y="1419"/>
                  <a:pt x="2898" y="1419"/>
                  <a:pt x="2898" y="1420"/>
                </a:cubicBezTo>
                <a:cubicBezTo>
                  <a:pt x="2898" y="1421"/>
                  <a:pt x="2898" y="1422"/>
                  <a:pt x="2898" y="1423"/>
                </a:cubicBezTo>
                <a:cubicBezTo>
                  <a:pt x="2898" y="1423"/>
                  <a:pt x="2897" y="1423"/>
                  <a:pt x="2897" y="1423"/>
                </a:cubicBezTo>
                <a:cubicBezTo>
                  <a:pt x="2896" y="1424"/>
                  <a:pt x="2896" y="1425"/>
                  <a:pt x="2895" y="1427"/>
                </a:cubicBezTo>
                <a:cubicBezTo>
                  <a:pt x="2896" y="1427"/>
                  <a:pt x="2897" y="1427"/>
                  <a:pt x="2898" y="1427"/>
                </a:cubicBezTo>
                <a:cubicBezTo>
                  <a:pt x="2899" y="1425"/>
                  <a:pt x="2900" y="1425"/>
                  <a:pt x="2900" y="1423"/>
                </a:cubicBezTo>
                <a:cubicBezTo>
                  <a:pt x="2905" y="1417"/>
                  <a:pt x="2911" y="1413"/>
                  <a:pt x="2918" y="1411"/>
                </a:cubicBezTo>
                <a:cubicBezTo>
                  <a:pt x="2921" y="1411"/>
                  <a:pt x="2925" y="1410"/>
                  <a:pt x="2927" y="1407"/>
                </a:cubicBezTo>
                <a:cubicBezTo>
                  <a:pt x="2927" y="1406"/>
                  <a:pt x="2928" y="1406"/>
                  <a:pt x="2928" y="1406"/>
                </a:cubicBezTo>
                <a:cubicBezTo>
                  <a:pt x="2931" y="1406"/>
                  <a:pt x="2932" y="1403"/>
                  <a:pt x="2934" y="1401"/>
                </a:cubicBezTo>
                <a:cubicBezTo>
                  <a:pt x="2942" y="1394"/>
                  <a:pt x="2954" y="1393"/>
                  <a:pt x="2961" y="1400"/>
                </a:cubicBezTo>
                <a:cubicBezTo>
                  <a:pt x="2964" y="1402"/>
                  <a:pt x="2967" y="1404"/>
                  <a:pt x="2969" y="1406"/>
                </a:cubicBezTo>
                <a:cubicBezTo>
                  <a:pt x="2971" y="1407"/>
                  <a:pt x="2972" y="1409"/>
                  <a:pt x="2973" y="1411"/>
                </a:cubicBezTo>
                <a:cubicBezTo>
                  <a:pt x="2974" y="1412"/>
                  <a:pt x="2974" y="1412"/>
                  <a:pt x="2976" y="1411"/>
                </a:cubicBezTo>
                <a:cubicBezTo>
                  <a:pt x="2976" y="1411"/>
                  <a:pt x="2977" y="1410"/>
                  <a:pt x="2978" y="1409"/>
                </a:cubicBezTo>
                <a:cubicBezTo>
                  <a:pt x="2980" y="1406"/>
                  <a:pt x="2983" y="1406"/>
                  <a:pt x="2984" y="1410"/>
                </a:cubicBezTo>
                <a:cubicBezTo>
                  <a:pt x="2985" y="1413"/>
                  <a:pt x="2986" y="1415"/>
                  <a:pt x="2987" y="1419"/>
                </a:cubicBezTo>
                <a:cubicBezTo>
                  <a:pt x="2987" y="1423"/>
                  <a:pt x="2987" y="1427"/>
                  <a:pt x="2985" y="1432"/>
                </a:cubicBezTo>
                <a:cubicBezTo>
                  <a:pt x="2983" y="1438"/>
                  <a:pt x="2978" y="1442"/>
                  <a:pt x="2972" y="1442"/>
                </a:cubicBezTo>
                <a:cubicBezTo>
                  <a:pt x="2971" y="1442"/>
                  <a:pt x="2971" y="1442"/>
                  <a:pt x="2970" y="1442"/>
                </a:cubicBezTo>
                <a:cubicBezTo>
                  <a:pt x="2967" y="1441"/>
                  <a:pt x="2966" y="1442"/>
                  <a:pt x="2965" y="1444"/>
                </a:cubicBezTo>
                <a:cubicBezTo>
                  <a:pt x="2964" y="1448"/>
                  <a:pt x="2958" y="1450"/>
                  <a:pt x="2955" y="1447"/>
                </a:cubicBezTo>
                <a:cubicBezTo>
                  <a:pt x="2954" y="1446"/>
                  <a:pt x="2953" y="1445"/>
                  <a:pt x="2952" y="1444"/>
                </a:cubicBezTo>
                <a:cubicBezTo>
                  <a:pt x="2951" y="1444"/>
                  <a:pt x="2951" y="1444"/>
                  <a:pt x="2951" y="1444"/>
                </a:cubicBezTo>
                <a:close/>
                <a:moveTo>
                  <a:pt x="2945" y="1440"/>
                </a:moveTo>
                <a:cubicBezTo>
                  <a:pt x="2949" y="1441"/>
                  <a:pt x="2952" y="1442"/>
                  <a:pt x="2955" y="1445"/>
                </a:cubicBezTo>
                <a:cubicBezTo>
                  <a:pt x="2957" y="1447"/>
                  <a:pt x="2959" y="1448"/>
                  <a:pt x="2961" y="1447"/>
                </a:cubicBezTo>
                <a:cubicBezTo>
                  <a:pt x="2963" y="1446"/>
                  <a:pt x="2965" y="1444"/>
                  <a:pt x="2965" y="1441"/>
                </a:cubicBezTo>
                <a:cubicBezTo>
                  <a:pt x="2965" y="1441"/>
                  <a:pt x="2964" y="1441"/>
                  <a:pt x="2964" y="1442"/>
                </a:cubicBezTo>
                <a:cubicBezTo>
                  <a:pt x="2963" y="1443"/>
                  <a:pt x="2962" y="1444"/>
                  <a:pt x="2961" y="1445"/>
                </a:cubicBezTo>
                <a:cubicBezTo>
                  <a:pt x="2960" y="1446"/>
                  <a:pt x="2959" y="1446"/>
                  <a:pt x="2958" y="1446"/>
                </a:cubicBezTo>
                <a:cubicBezTo>
                  <a:pt x="2958" y="1446"/>
                  <a:pt x="2957" y="1444"/>
                  <a:pt x="2957" y="1444"/>
                </a:cubicBezTo>
                <a:cubicBezTo>
                  <a:pt x="2957" y="1441"/>
                  <a:pt x="2958" y="1439"/>
                  <a:pt x="2958" y="1437"/>
                </a:cubicBezTo>
                <a:cubicBezTo>
                  <a:pt x="2961" y="1438"/>
                  <a:pt x="2964" y="1439"/>
                  <a:pt x="2968" y="1440"/>
                </a:cubicBezTo>
                <a:cubicBezTo>
                  <a:pt x="2975" y="1441"/>
                  <a:pt x="2981" y="1439"/>
                  <a:pt x="2984" y="1431"/>
                </a:cubicBezTo>
                <a:cubicBezTo>
                  <a:pt x="2986" y="1426"/>
                  <a:pt x="2985" y="1421"/>
                  <a:pt x="2985" y="1416"/>
                </a:cubicBezTo>
                <a:cubicBezTo>
                  <a:pt x="2984" y="1414"/>
                  <a:pt x="2983" y="1412"/>
                  <a:pt x="2983" y="1410"/>
                </a:cubicBezTo>
                <a:cubicBezTo>
                  <a:pt x="2982" y="1409"/>
                  <a:pt x="2981" y="1408"/>
                  <a:pt x="2980" y="1410"/>
                </a:cubicBezTo>
                <a:cubicBezTo>
                  <a:pt x="2978" y="1412"/>
                  <a:pt x="2976" y="1413"/>
                  <a:pt x="2974" y="1414"/>
                </a:cubicBezTo>
                <a:cubicBezTo>
                  <a:pt x="2974" y="1414"/>
                  <a:pt x="2973" y="1415"/>
                  <a:pt x="2973" y="1416"/>
                </a:cubicBezTo>
                <a:cubicBezTo>
                  <a:pt x="2974" y="1419"/>
                  <a:pt x="2973" y="1423"/>
                  <a:pt x="2972" y="1426"/>
                </a:cubicBezTo>
                <a:cubicBezTo>
                  <a:pt x="2972" y="1424"/>
                  <a:pt x="2972" y="1422"/>
                  <a:pt x="2972" y="1420"/>
                </a:cubicBezTo>
                <a:cubicBezTo>
                  <a:pt x="2972" y="1419"/>
                  <a:pt x="2972" y="1419"/>
                  <a:pt x="2972" y="1419"/>
                </a:cubicBezTo>
                <a:cubicBezTo>
                  <a:pt x="2971" y="1419"/>
                  <a:pt x="2971" y="1419"/>
                  <a:pt x="2971" y="1419"/>
                </a:cubicBezTo>
                <a:cubicBezTo>
                  <a:pt x="2970" y="1421"/>
                  <a:pt x="2969" y="1422"/>
                  <a:pt x="2968" y="1423"/>
                </a:cubicBezTo>
                <a:cubicBezTo>
                  <a:pt x="2968" y="1423"/>
                  <a:pt x="2968" y="1423"/>
                  <a:pt x="2968" y="1423"/>
                </a:cubicBezTo>
                <a:cubicBezTo>
                  <a:pt x="2968" y="1422"/>
                  <a:pt x="2969" y="1420"/>
                  <a:pt x="2969" y="1418"/>
                </a:cubicBezTo>
                <a:cubicBezTo>
                  <a:pt x="2968" y="1419"/>
                  <a:pt x="2967" y="1419"/>
                  <a:pt x="2967" y="1420"/>
                </a:cubicBezTo>
                <a:cubicBezTo>
                  <a:pt x="2966" y="1420"/>
                  <a:pt x="2966" y="1421"/>
                  <a:pt x="2965" y="1422"/>
                </a:cubicBezTo>
                <a:cubicBezTo>
                  <a:pt x="2966" y="1418"/>
                  <a:pt x="2966" y="1418"/>
                  <a:pt x="2972" y="1417"/>
                </a:cubicBezTo>
                <a:cubicBezTo>
                  <a:pt x="2972" y="1417"/>
                  <a:pt x="2971" y="1416"/>
                  <a:pt x="2971" y="1416"/>
                </a:cubicBezTo>
                <a:cubicBezTo>
                  <a:pt x="2968" y="1417"/>
                  <a:pt x="2967" y="1415"/>
                  <a:pt x="2967" y="1413"/>
                </a:cubicBezTo>
                <a:cubicBezTo>
                  <a:pt x="2969" y="1412"/>
                  <a:pt x="2970" y="1412"/>
                  <a:pt x="2972" y="1412"/>
                </a:cubicBezTo>
                <a:cubicBezTo>
                  <a:pt x="2970" y="1409"/>
                  <a:pt x="2969" y="1406"/>
                  <a:pt x="2965" y="1406"/>
                </a:cubicBezTo>
                <a:cubicBezTo>
                  <a:pt x="2965" y="1406"/>
                  <a:pt x="2965" y="1406"/>
                  <a:pt x="2965" y="1405"/>
                </a:cubicBezTo>
                <a:cubicBezTo>
                  <a:pt x="2962" y="1403"/>
                  <a:pt x="2960" y="1401"/>
                  <a:pt x="2957" y="1399"/>
                </a:cubicBezTo>
                <a:cubicBezTo>
                  <a:pt x="2955" y="1398"/>
                  <a:pt x="2952" y="1397"/>
                  <a:pt x="2950" y="1397"/>
                </a:cubicBezTo>
                <a:cubicBezTo>
                  <a:pt x="2947" y="1397"/>
                  <a:pt x="2943" y="1398"/>
                  <a:pt x="2940" y="1399"/>
                </a:cubicBezTo>
                <a:cubicBezTo>
                  <a:pt x="2938" y="1400"/>
                  <a:pt x="2935" y="1402"/>
                  <a:pt x="2933" y="1405"/>
                </a:cubicBezTo>
                <a:cubicBezTo>
                  <a:pt x="2935" y="1405"/>
                  <a:pt x="2936" y="1405"/>
                  <a:pt x="2937" y="1405"/>
                </a:cubicBezTo>
                <a:cubicBezTo>
                  <a:pt x="2937" y="1406"/>
                  <a:pt x="2936" y="1406"/>
                  <a:pt x="2935" y="1406"/>
                </a:cubicBezTo>
                <a:cubicBezTo>
                  <a:pt x="2933" y="1407"/>
                  <a:pt x="2930" y="1406"/>
                  <a:pt x="2928" y="1408"/>
                </a:cubicBezTo>
                <a:cubicBezTo>
                  <a:pt x="2925" y="1412"/>
                  <a:pt x="2921" y="1416"/>
                  <a:pt x="2917" y="1420"/>
                </a:cubicBezTo>
                <a:cubicBezTo>
                  <a:pt x="2916" y="1422"/>
                  <a:pt x="2915" y="1425"/>
                  <a:pt x="2914" y="1427"/>
                </a:cubicBezTo>
                <a:cubicBezTo>
                  <a:pt x="2914" y="1427"/>
                  <a:pt x="2914" y="1428"/>
                  <a:pt x="2914" y="1429"/>
                </a:cubicBezTo>
                <a:cubicBezTo>
                  <a:pt x="2915" y="1431"/>
                  <a:pt x="2916" y="1433"/>
                  <a:pt x="2918" y="1434"/>
                </a:cubicBezTo>
                <a:cubicBezTo>
                  <a:pt x="2919" y="1433"/>
                  <a:pt x="2920" y="1431"/>
                  <a:pt x="2921" y="1430"/>
                </a:cubicBezTo>
                <a:cubicBezTo>
                  <a:pt x="2921" y="1431"/>
                  <a:pt x="2921" y="1433"/>
                  <a:pt x="2920" y="1434"/>
                </a:cubicBezTo>
                <a:cubicBezTo>
                  <a:pt x="2919" y="1435"/>
                  <a:pt x="2918" y="1436"/>
                  <a:pt x="2918" y="1438"/>
                </a:cubicBezTo>
                <a:cubicBezTo>
                  <a:pt x="2918" y="1439"/>
                  <a:pt x="2918" y="1440"/>
                  <a:pt x="2918" y="1441"/>
                </a:cubicBezTo>
                <a:cubicBezTo>
                  <a:pt x="2921" y="1444"/>
                  <a:pt x="2924" y="1444"/>
                  <a:pt x="2928" y="1442"/>
                </a:cubicBezTo>
                <a:cubicBezTo>
                  <a:pt x="2930" y="1441"/>
                  <a:pt x="2933" y="1440"/>
                  <a:pt x="2936" y="1439"/>
                </a:cubicBezTo>
                <a:cubicBezTo>
                  <a:pt x="2937" y="1438"/>
                  <a:pt x="2938" y="1438"/>
                  <a:pt x="2938" y="1436"/>
                </a:cubicBezTo>
                <a:cubicBezTo>
                  <a:pt x="2938" y="1433"/>
                  <a:pt x="2938" y="1429"/>
                  <a:pt x="2938" y="1426"/>
                </a:cubicBezTo>
                <a:cubicBezTo>
                  <a:pt x="2938" y="1423"/>
                  <a:pt x="2938" y="1420"/>
                  <a:pt x="2938" y="1417"/>
                </a:cubicBezTo>
                <a:cubicBezTo>
                  <a:pt x="2939" y="1420"/>
                  <a:pt x="2940" y="1423"/>
                  <a:pt x="2940" y="1425"/>
                </a:cubicBezTo>
                <a:cubicBezTo>
                  <a:pt x="2941" y="1430"/>
                  <a:pt x="2941" y="1434"/>
                  <a:pt x="2940" y="1438"/>
                </a:cubicBezTo>
                <a:cubicBezTo>
                  <a:pt x="2939" y="1439"/>
                  <a:pt x="2938" y="1440"/>
                  <a:pt x="2938" y="1440"/>
                </a:cubicBezTo>
                <a:cubicBezTo>
                  <a:pt x="2934" y="1440"/>
                  <a:pt x="2931" y="1442"/>
                  <a:pt x="2928" y="1444"/>
                </a:cubicBezTo>
                <a:cubicBezTo>
                  <a:pt x="2923" y="1447"/>
                  <a:pt x="2920" y="1445"/>
                  <a:pt x="2916" y="1441"/>
                </a:cubicBezTo>
                <a:cubicBezTo>
                  <a:pt x="2916" y="1441"/>
                  <a:pt x="2916" y="1440"/>
                  <a:pt x="2916" y="1439"/>
                </a:cubicBezTo>
                <a:cubicBezTo>
                  <a:pt x="2917" y="1437"/>
                  <a:pt x="2916" y="1435"/>
                  <a:pt x="2914" y="1433"/>
                </a:cubicBezTo>
                <a:cubicBezTo>
                  <a:pt x="2913" y="1431"/>
                  <a:pt x="2911" y="1429"/>
                  <a:pt x="2912" y="1426"/>
                </a:cubicBezTo>
                <a:cubicBezTo>
                  <a:pt x="2913" y="1424"/>
                  <a:pt x="2914" y="1422"/>
                  <a:pt x="2915" y="1421"/>
                </a:cubicBezTo>
                <a:cubicBezTo>
                  <a:pt x="2917" y="1418"/>
                  <a:pt x="2919" y="1415"/>
                  <a:pt x="2921" y="1413"/>
                </a:cubicBezTo>
                <a:cubicBezTo>
                  <a:pt x="2921" y="1413"/>
                  <a:pt x="2920" y="1413"/>
                  <a:pt x="2920" y="1413"/>
                </a:cubicBezTo>
                <a:cubicBezTo>
                  <a:pt x="2915" y="1414"/>
                  <a:pt x="2911" y="1415"/>
                  <a:pt x="2907" y="1419"/>
                </a:cubicBezTo>
                <a:cubicBezTo>
                  <a:pt x="2902" y="1423"/>
                  <a:pt x="2899" y="1428"/>
                  <a:pt x="2899" y="1435"/>
                </a:cubicBezTo>
                <a:cubicBezTo>
                  <a:pt x="2898" y="1442"/>
                  <a:pt x="2901" y="1448"/>
                  <a:pt x="2904" y="1453"/>
                </a:cubicBezTo>
                <a:cubicBezTo>
                  <a:pt x="2905" y="1454"/>
                  <a:pt x="2905" y="1456"/>
                  <a:pt x="2905" y="1457"/>
                </a:cubicBezTo>
                <a:cubicBezTo>
                  <a:pt x="2905" y="1459"/>
                  <a:pt x="2905" y="1460"/>
                  <a:pt x="2904" y="1461"/>
                </a:cubicBezTo>
                <a:cubicBezTo>
                  <a:pt x="2903" y="1463"/>
                  <a:pt x="2904" y="1464"/>
                  <a:pt x="2905" y="1465"/>
                </a:cubicBezTo>
                <a:cubicBezTo>
                  <a:pt x="2908" y="1465"/>
                  <a:pt x="2911" y="1466"/>
                  <a:pt x="2914" y="1466"/>
                </a:cubicBezTo>
                <a:cubicBezTo>
                  <a:pt x="2914" y="1466"/>
                  <a:pt x="2915" y="1465"/>
                  <a:pt x="2915" y="1465"/>
                </a:cubicBezTo>
                <a:cubicBezTo>
                  <a:pt x="2916" y="1464"/>
                  <a:pt x="2916" y="1462"/>
                  <a:pt x="2916" y="1461"/>
                </a:cubicBezTo>
                <a:cubicBezTo>
                  <a:pt x="2918" y="1459"/>
                  <a:pt x="2918" y="1456"/>
                  <a:pt x="2918" y="1453"/>
                </a:cubicBezTo>
                <a:cubicBezTo>
                  <a:pt x="2918" y="1453"/>
                  <a:pt x="2918" y="1453"/>
                  <a:pt x="2918" y="1452"/>
                </a:cubicBezTo>
                <a:cubicBezTo>
                  <a:pt x="2918" y="1452"/>
                  <a:pt x="2918" y="1452"/>
                  <a:pt x="2918" y="1452"/>
                </a:cubicBezTo>
                <a:cubicBezTo>
                  <a:pt x="2919" y="1454"/>
                  <a:pt x="2920" y="1454"/>
                  <a:pt x="2922" y="1454"/>
                </a:cubicBezTo>
                <a:cubicBezTo>
                  <a:pt x="2923" y="1454"/>
                  <a:pt x="2924" y="1454"/>
                  <a:pt x="2925" y="1454"/>
                </a:cubicBezTo>
                <a:cubicBezTo>
                  <a:pt x="2927" y="1454"/>
                  <a:pt x="2931" y="1455"/>
                  <a:pt x="2931" y="1451"/>
                </a:cubicBezTo>
                <a:cubicBezTo>
                  <a:pt x="2931" y="1453"/>
                  <a:pt x="2931" y="1455"/>
                  <a:pt x="2931" y="1455"/>
                </a:cubicBezTo>
                <a:cubicBezTo>
                  <a:pt x="2930" y="1456"/>
                  <a:pt x="2929" y="1457"/>
                  <a:pt x="2927" y="1457"/>
                </a:cubicBezTo>
                <a:cubicBezTo>
                  <a:pt x="2926" y="1458"/>
                  <a:pt x="2925" y="1460"/>
                  <a:pt x="2926" y="1461"/>
                </a:cubicBezTo>
                <a:cubicBezTo>
                  <a:pt x="2927" y="1463"/>
                  <a:pt x="2929" y="1465"/>
                  <a:pt x="2930" y="1467"/>
                </a:cubicBezTo>
                <a:cubicBezTo>
                  <a:pt x="2932" y="1468"/>
                  <a:pt x="2934" y="1468"/>
                  <a:pt x="2935" y="1466"/>
                </a:cubicBezTo>
                <a:cubicBezTo>
                  <a:pt x="2936" y="1465"/>
                  <a:pt x="2936" y="1465"/>
                  <a:pt x="2937" y="1464"/>
                </a:cubicBezTo>
                <a:cubicBezTo>
                  <a:pt x="2939" y="1463"/>
                  <a:pt x="2940" y="1461"/>
                  <a:pt x="2942" y="1460"/>
                </a:cubicBezTo>
                <a:cubicBezTo>
                  <a:pt x="2946" y="1456"/>
                  <a:pt x="2948" y="1450"/>
                  <a:pt x="2950" y="1444"/>
                </a:cubicBezTo>
                <a:cubicBezTo>
                  <a:pt x="2950" y="1444"/>
                  <a:pt x="2949" y="1443"/>
                  <a:pt x="2949" y="1442"/>
                </a:cubicBezTo>
                <a:cubicBezTo>
                  <a:pt x="2948" y="1441"/>
                  <a:pt x="2947" y="1440"/>
                  <a:pt x="2945" y="1440"/>
                </a:cubicBezTo>
                <a:close/>
                <a:moveTo>
                  <a:pt x="2898" y="1446"/>
                </a:moveTo>
                <a:cubicBezTo>
                  <a:pt x="2898" y="1447"/>
                  <a:pt x="2896" y="1448"/>
                  <a:pt x="2895" y="1449"/>
                </a:cubicBezTo>
                <a:cubicBezTo>
                  <a:pt x="2894" y="1449"/>
                  <a:pt x="2894" y="1450"/>
                  <a:pt x="2894" y="1451"/>
                </a:cubicBezTo>
                <a:cubicBezTo>
                  <a:pt x="2894" y="1453"/>
                  <a:pt x="2898" y="1458"/>
                  <a:pt x="2901" y="1457"/>
                </a:cubicBezTo>
                <a:cubicBezTo>
                  <a:pt x="2903" y="1457"/>
                  <a:pt x="2904" y="1456"/>
                  <a:pt x="2903" y="1455"/>
                </a:cubicBezTo>
                <a:cubicBezTo>
                  <a:pt x="2901" y="1452"/>
                  <a:pt x="2900" y="1449"/>
                  <a:pt x="2898" y="1446"/>
                </a:cubicBezTo>
                <a:close/>
                <a:moveTo>
                  <a:pt x="2951" y="1448"/>
                </a:moveTo>
                <a:cubicBezTo>
                  <a:pt x="2949" y="1453"/>
                  <a:pt x="2946" y="1457"/>
                  <a:pt x="2944" y="1461"/>
                </a:cubicBezTo>
                <a:cubicBezTo>
                  <a:pt x="2947" y="1461"/>
                  <a:pt x="2949" y="1462"/>
                  <a:pt x="2952" y="1461"/>
                </a:cubicBezTo>
                <a:cubicBezTo>
                  <a:pt x="2952" y="1461"/>
                  <a:pt x="2952" y="1460"/>
                  <a:pt x="2952" y="1460"/>
                </a:cubicBezTo>
                <a:cubicBezTo>
                  <a:pt x="2952" y="1457"/>
                  <a:pt x="2952" y="1455"/>
                  <a:pt x="2952" y="1452"/>
                </a:cubicBezTo>
                <a:cubicBezTo>
                  <a:pt x="2952" y="1451"/>
                  <a:pt x="2951" y="1450"/>
                  <a:pt x="2951" y="1448"/>
                </a:cubicBezTo>
                <a:close/>
                <a:moveTo>
                  <a:pt x="2898" y="1428"/>
                </a:moveTo>
                <a:cubicBezTo>
                  <a:pt x="2898"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2" y="1423"/>
                </a:cubicBezTo>
                <a:cubicBezTo>
                  <a:pt x="2892" y="1424"/>
                  <a:pt x="2893" y="1429"/>
                  <a:pt x="2895" y="1430"/>
                </a:cubicBezTo>
                <a:cubicBezTo>
                  <a:pt x="2896" y="1431"/>
                  <a:pt x="2898" y="1430"/>
                  <a:pt x="2898" y="1428"/>
                </a:cubicBezTo>
                <a:close/>
                <a:moveTo>
                  <a:pt x="2898" y="1446"/>
                </a:moveTo>
                <a:cubicBezTo>
                  <a:pt x="2897" y="1447"/>
                  <a:pt x="2896" y="1448"/>
                  <a:pt x="2895" y="1449"/>
                </a:cubicBezTo>
                <a:cubicBezTo>
                  <a:pt x="2894" y="1449"/>
                  <a:pt x="2894" y="1450"/>
                  <a:pt x="2894" y="1451"/>
                </a:cubicBezTo>
                <a:cubicBezTo>
                  <a:pt x="2894" y="1454"/>
                  <a:pt x="2898" y="1458"/>
                  <a:pt x="2901" y="1458"/>
                </a:cubicBezTo>
                <a:cubicBezTo>
                  <a:pt x="2903" y="1458"/>
                  <a:pt x="2904" y="1457"/>
                  <a:pt x="2903" y="1455"/>
                </a:cubicBezTo>
                <a:cubicBezTo>
                  <a:pt x="2901" y="1452"/>
                  <a:pt x="2900" y="1449"/>
                  <a:pt x="2898" y="1446"/>
                </a:cubicBezTo>
                <a:close/>
                <a:moveTo>
                  <a:pt x="2951" y="1448"/>
                </a:moveTo>
                <a:cubicBezTo>
                  <a:pt x="2948" y="1453"/>
                  <a:pt x="2946" y="1457"/>
                  <a:pt x="2944" y="1462"/>
                </a:cubicBezTo>
                <a:cubicBezTo>
                  <a:pt x="2946" y="1462"/>
                  <a:pt x="2949" y="1462"/>
                  <a:pt x="2952" y="1462"/>
                </a:cubicBezTo>
                <a:cubicBezTo>
                  <a:pt x="2952" y="1462"/>
                  <a:pt x="2952" y="1460"/>
                  <a:pt x="2952" y="1460"/>
                </a:cubicBezTo>
                <a:cubicBezTo>
                  <a:pt x="2952" y="1457"/>
                  <a:pt x="2952" y="1455"/>
                  <a:pt x="2952" y="1452"/>
                </a:cubicBezTo>
                <a:cubicBezTo>
                  <a:pt x="2952" y="1451"/>
                  <a:pt x="2951" y="1450"/>
                  <a:pt x="2951" y="1448"/>
                </a:cubicBezTo>
                <a:close/>
                <a:moveTo>
                  <a:pt x="2898" y="1428"/>
                </a:moveTo>
                <a:cubicBezTo>
                  <a:pt x="2897"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3" y="1423"/>
                </a:cubicBezTo>
                <a:cubicBezTo>
                  <a:pt x="2892" y="1424"/>
                  <a:pt x="2893" y="1430"/>
                  <a:pt x="2895" y="1430"/>
                </a:cubicBezTo>
                <a:cubicBezTo>
                  <a:pt x="2896" y="1431"/>
                  <a:pt x="2898" y="1430"/>
                  <a:pt x="2898" y="1428"/>
                </a:cubicBezTo>
                <a:close/>
                <a:moveTo>
                  <a:pt x="2950" y="1420"/>
                </a:moveTo>
                <a:cubicBezTo>
                  <a:pt x="2954" y="1416"/>
                  <a:pt x="2954" y="1416"/>
                  <a:pt x="2958" y="1415"/>
                </a:cubicBezTo>
                <a:cubicBezTo>
                  <a:pt x="2958" y="1417"/>
                  <a:pt x="2959" y="1418"/>
                  <a:pt x="2960" y="1418"/>
                </a:cubicBezTo>
                <a:cubicBezTo>
                  <a:pt x="2958" y="1419"/>
                  <a:pt x="2956" y="1421"/>
                  <a:pt x="2954" y="1422"/>
                </a:cubicBezTo>
                <a:cubicBezTo>
                  <a:pt x="2953" y="1421"/>
                  <a:pt x="2953" y="1421"/>
                  <a:pt x="2952" y="1419"/>
                </a:cubicBezTo>
                <a:cubicBezTo>
                  <a:pt x="2952" y="1419"/>
                  <a:pt x="2951" y="1419"/>
                  <a:pt x="2950" y="1420"/>
                </a:cubicBezTo>
                <a:close/>
                <a:moveTo>
                  <a:pt x="2956" y="1419"/>
                </a:moveTo>
                <a:cubicBezTo>
                  <a:pt x="2956" y="1419"/>
                  <a:pt x="2955" y="1419"/>
                  <a:pt x="2954" y="1419"/>
                </a:cubicBezTo>
                <a:cubicBezTo>
                  <a:pt x="2954" y="1419"/>
                  <a:pt x="2953" y="1419"/>
                  <a:pt x="2953" y="1420"/>
                </a:cubicBezTo>
                <a:cubicBezTo>
                  <a:pt x="2953" y="1420"/>
                  <a:pt x="2954" y="1421"/>
                  <a:pt x="2954" y="1421"/>
                </a:cubicBezTo>
                <a:cubicBezTo>
                  <a:pt x="2955" y="1421"/>
                  <a:pt x="2955" y="1420"/>
                  <a:pt x="2956" y="1419"/>
                </a:cubicBezTo>
                <a:close/>
                <a:moveTo>
                  <a:pt x="2937" y="1409"/>
                </a:moveTo>
                <a:cubicBezTo>
                  <a:pt x="2931" y="1409"/>
                  <a:pt x="2928" y="1411"/>
                  <a:pt x="2927" y="1419"/>
                </a:cubicBezTo>
                <a:cubicBezTo>
                  <a:pt x="2928" y="1417"/>
                  <a:pt x="2929" y="1415"/>
                  <a:pt x="2930" y="1412"/>
                </a:cubicBezTo>
                <a:cubicBezTo>
                  <a:pt x="2931" y="1412"/>
                  <a:pt x="2931" y="1412"/>
                  <a:pt x="2931" y="1412"/>
                </a:cubicBezTo>
                <a:cubicBezTo>
                  <a:pt x="2931" y="1414"/>
                  <a:pt x="2931" y="1414"/>
                  <a:pt x="2931" y="1415"/>
                </a:cubicBezTo>
                <a:cubicBezTo>
                  <a:pt x="2932" y="1412"/>
                  <a:pt x="2934" y="1410"/>
                  <a:pt x="2937" y="1409"/>
                </a:cubicBezTo>
                <a:close/>
                <a:moveTo>
                  <a:pt x="2981" y="1411"/>
                </a:moveTo>
                <a:cubicBezTo>
                  <a:pt x="2979" y="1412"/>
                  <a:pt x="2977" y="1414"/>
                  <a:pt x="2976" y="1415"/>
                </a:cubicBezTo>
                <a:cubicBezTo>
                  <a:pt x="2978" y="1416"/>
                  <a:pt x="2980" y="1414"/>
                  <a:pt x="2981" y="1411"/>
                </a:cubicBezTo>
                <a:close/>
                <a:moveTo>
                  <a:pt x="2948" y="1413"/>
                </a:moveTo>
                <a:cubicBezTo>
                  <a:pt x="2949" y="1412"/>
                  <a:pt x="2950" y="1410"/>
                  <a:pt x="2951" y="1409"/>
                </a:cubicBezTo>
                <a:cubicBezTo>
                  <a:pt x="2948" y="1410"/>
                  <a:pt x="2948" y="1411"/>
                  <a:pt x="2948" y="1413"/>
                </a:cubicBezTo>
                <a:close/>
                <a:moveTo>
                  <a:pt x="2958" y="1435"/>
                </a:moveTo>
                <a:cubicBezTo>
                  <a:pt x="2956" y="1435"/>
                  <a:pt x="2955" y="1436"/>
                  <a:pt x="2955" y="1437"/>
                </a:cubicBezTo>
                <a:cubicBezTo>
                  <a:pt x="2956" y="1436"/>
                  <a:pt x="2957" y="1435"/>
                  <a:pt x="2958" y="1435"/>
                </a:cubicBezTo>
                <a:close/>
                <a:moveTo>
                  <a:pt x="2957" y="1419"/>
                </a:moveTo>
                <a:cubicBezTo>
                  <a:pt x="2956" y="1419"/>
                  <a:pt x="2955" y="1418"/>
                  <a:pt x="2955" y="1418"/>
                </a:cubicBezTo>
                <a:cubicBezTo>
                  <a:pt x="2954" y="1418"/>
                  <a:pt x="2953" y="1419"/>
                  <a:pt x="2953" y="1419"/>
                </a:cubicBezTo>
                <a:cubicBezTo>
                  <a:pt x="2953" y="1420"/>
                  <a:pt x="2954" y="1420"/>
                  <a:pt x="2954" y="1421"/>
                </a:cubicBezTo>
                <a:cubicBezTo>
                  <a:pt x="2955" y="1420"/>
                  <a:pt x="2955" y="1420"/>
                  <a:pt x="2957" y="1419"/>
                </a:cubicBezTo>
                <a:close/>
                <a:moveTo>
                  <a:pt x="3481" y="1540"/>
                </a:moveTo>
                <a:cubicBezTo>
                  <a:pt x="3481" y="1542"/>
                  <a:pt x="3482" y="1543"/>
                  <a:pt x="3482" y="1544"/>
                </a:cubicBezTo>
                <a:cubicBezTo>
                  <a:pt x="3483" y="1546"/>
                  <a:pt x="3483" y="1548"/>
                  <a:pt x="3484" y="1549"/>
                </a:cubicBezTo>
                <a:cubicBezTo>
                  <a:pt x="3484" y="1551"/>
                  <a:pt x="3484" y="1553"/>
                  <a:pt x="3484" y="1554"/>
                </a:cubicBezTo>
                <a:cubicBezTo>
                  <a:pt x="3485" y="1557"/>
                  <a:pt x="3484" y="1559"/>
                  <a:pt x="3480" y="1559"/>
                </a:cubicBezTo>
                <a:cubicBezTo>
                  <a:pt x="3478" y="1559"/>
                  <a:pt x="3475" y="1559"/>
                  <a:pt x="3472" y="1559"/>
                </a:cubicBezTo>
                <a:cubicBezTo>
                  <a:pt x="3472" y="1559"/>
                  <a:pt x="3471" y="1559"/>
                  <a:pt x="3471" y="1559"/>
                </a:cubicBezTo>
                <a:cubicBezTo>
                  <a:pt x="3469" y="1561"/>
                  <a:pt x="3467" y="1562"/>
                  <a:pt x="3466" y="1563"/>
                </a:cubicBezTo>
                <a:cubicBezTo>
                  <a:pt x="3464" y="1566"/>
                  <a:pt x="3461" y="1566"/>
                  <a:pt x="3459" y="1564"/>
                </a:cubicBezTo>
                <a:cubicBezTo>
                  <a:pt x="3457" y="1562"/>
                  <a:pt x="3456" y="1559"/>
                  <a:pt x="3454" y="1557"/>
                </a:cubicBezTo>
                <a:cubicBezTo>
                  <a:pt x="3453" y="1555"/>
                  <a:pt x="3454" y="1553"/>
                  <a:pt x="3456" y="1552"/>
                </a:cubicBezTo>
                <a:cubicBezTo>
                  <a:pt x="3453" y="1552"/>
                  <a:pt x="3452" y="1552"/>
                  <a:pt x="3450" y="1552"/>
                </a:cubicBezTo>
                <a:cubicBezTo>
                  <a:pt x="3449" y="1554"/>
                  <a:pt x="3448" y="1556"/>
                  <a:pt x="3447" y="1558"/>
                </a:cubicBezTo>
                <a:cubicBezTo>
                  <a:pt x="3447" y="1559"/>
                  <a:pt x="3447" y="1559"/>
                  <a:pt x="3447" y="1560"/>
                </a:cubicBezTo>
                <a:cubicBezTo>
                  <a:pt x="3447" y="1563"/>
                  <a:pt x="3446" y="1565"/>
                  <a:pt x="3443" y="1564"/>
                </a:cubicBezTo>
                <a:cubicBezTo>
                  <a:pt x="3440" y="1564"/>
                  <a:pt x="3437" y="1563"/>
                  <a:pt x="3434" y="1562"/>
                </a:cubicBezTo>
                <a:cubicBezTo>
                  <a:pt x="3432" y="1561"/>
                  <a:pt x="3431" y="1560"/>
                  <a:pt x="3432" y="1558"/>
                </a:cubicBezTo>
                <a:cubicBezTo>
                  <a:pt x="3432" y="1557"/>
                  <a:pt x="3432" y="1556"/>
                  <a:pt x="3433" y="1556"/>
                </a:cubicBezTo>
                <a:cubicBezTo>
                  <a:pt x="3430" y="1555"/>
                  <a:pt x="3428" y="1554"/>
                  <a:pt x="3426" y="1553"/>
                </a:cubicBezTo>
                <a:cubicBezTo>
                  <a:pt x="3425" y="1552"/>
                  <a:pt x="3424" y="1550"/>
                  <a:pt x="3423" y="1548"/>
                </a:cubicBezTo>
                <a:cubicBezTo>
                  <a:pt x="3422" y="1546"/>
                  <a:pt x="3422" y="1545"/>
                  <a:pt x="3424" y="1543"/>
                </a:cubicBezTo>
                <a:cubicBezTo>
                  <a:pt x="3427" y="1541"/>
                  <a:pt x="3428" y="1538"/>
                  <a:pt x="3427" y="1534"/>
                </a:cubicBezTo>
                <a:cubicBezTo>
                  <a:pt x="3427" y="1532"/>
                  <a:pt x="3427" y="1530"/>
                  <a:pt x="3427" y="1528"/>
                </a:cubicBezTo>
                <a:cubicBezTo>
                  <a:pt x="3426" y="1527"/>
                  <a:pt x="3424" y="1527"/>
                  <a:pt x="3423" y="1526"/>
                </a:cubicBezTo>
                <a:cubicBezTo>
                  <a:pt x="3422" y="1524"/>
                  <a:pt x="3421" y="1522"/>
                  <a:pt x="3421" y="1520"/>
                </a:cubicBezTo>
                <a:cubicBezTo>
                  <a:pt x="3421" y="1517"/>
                  <a:pt x="3424" y="1515"/>
                  <a:pt x="3427" y="1514"/>
                </a:cubicBezTo>
                <a:cubicBezTo>
                  <a:pt x="3427" y="1515"/>
                  <a:pt x="3427" y="1515"/>
                  <a:pt x="3428" y="1516"/>
                </a:cubicBezTo>
                <a:cubicBezTo>
                  <a:pt x="3428" y="1517"/>
                  <a:pt x="3428" y="1518"/>
                  <a:pt x="3428" y="1519"/>
                </a:cubicBezTo>
                <a:cubicBezTo>
                  <a:pt x="3427" y="1519"/>
                  <a:pt x="3427" y="1519"/>
                  <a:pt x="3427" y="1519"/>
                </a:cubicBezTo>
                <a:cubicBezTo>
                  <a:pt x="3426" y="1520"/>
                  <a:pt x="3426" y="1521"/>
                  <a:pt x="3425" y="1523"/>
                </a:cubicBezTo>
                <a:cubicBezTo>
                  <a:pt x="3426" y="1523"/>
                  <a:pt x="3427" y="1523"/>
                  <a:pt x="3427" y="1523"/>
                </a:cubicBezTo>
                <a:cubicBezTo>
                  <a:pt x="3429" y="1521"/>
                  <a:pt x="3429" y="1521"/>
                  <a:pt x="3430" y="1519"/>
                </a:cubicBezTo>
                <a:cubicBezTo>
                  <a:pt x="3435" y="1513"/>
                  <a:pt x="3440" y="1509"/>
                  <a:pt x="3448" y="1507"/>
                </a:cubicBezTo>
                <a:cubicBezTo>
                  <a:pt x="3451" y="1507"/>
                  <a:pt x="3455" y="1506"/>
                  <a:pt x="3457" y="1503"/>
                </a:cubicBezTo>
                <a:cubicBezTo>
                  <a:pt x="3457" y="1502"/>
                  <a:pt x="3458" y="1502"/>
                  <a:pt x="3458" y="1502"/>
                </a:cubicBezTo>
                <a:cubicBezTo>
                  <a:pt x="3461" y="1502"/>
                  <a:pt x="3462" y="1499"/>
                  <a:pt x="3464" y="1497"/>
                </a:cubicBezTo>
                <a:cubicBezTo>
                  <a:pt x="3472" y="1490"/>
                  <a:pt x="3484" y="1489"/>
                  <a:pt x="3491" y="1496"/>
                </a:cubicBezTo>
                <a:cubicBezTo>
                  <a:pt x="3494" y="1498"/>
                  <a:pt x="3497" y="1500"/>
                  <a:pt x="3499" y="1502"/>
                </a:cubicBezTo>
                <a:cubicBezTo>
                  <a:pt x="3500" y="1503"/>
                  <a:pt x="3502" y="1505"/>
                  <a:pt x="3503" y="1507"/>
                </a:cubicBezTo>
                <a:cubicBezTo>
                  <a:pt x="3504" y="1508"/>
                  <a:pt x="3504" y="1508"/>
                  <a:pt x="3506" y="1507"/>
                </a:cubicBezTo>
                <a:cubicBezTo>
                  <a:pt x="3506" y="1507"/>
                  <a:pt x="3507" y="1506"/>
                  <a:pt x="3508" y="1505"/>
                </a:cubicBezTo>
                <a:cubicBezTo>
                  <a:pt x="3510" y="1502"/>
                  <a:pt x="3513" y="1502"/>
                  <a:pt x="3514" y="1506"/>
                </a:cubicBezTo>
                <a:cubicBezTo>
                  <a:pt x="3515" y="1509"/>
                  <a:pt x="3516" y="1511"/>
                  <a:pt x="3517" y="1515"/>
                </a:cubicBezTo>
                <a:cubicBezTo>
                  <a:pt x="3517" y="1519"/>
                  <a:pt x="3517" y="1523"/>
                  <a:pt x="3515" y="1528"/>
                </a:cubicBezTo>
                <a:cubicBezTo>
                  <a:pt x="3513" y="1534"/>
                  <a:pt x="3508" y="1538"/>
                  <a:pt x="3502" y="1538"/>
                </a:cubicBezTo>
                <a:cubicBezTo>
                  <a:pt x="3501" y="1538"/>
                  <a:pt x="3500" y="1538"/>
                  <a:pt x="3500" y="1538"/>
                </a:cubicBezTo>
                <a:cubicBezTo>
                  <a:pt x="3497" y="1537"/>
                  <a:pt x="3496" y="1538"/>
                  <a:pt x="3495" y="1540"/>
                </a:cubicBezTo>
                <a:cubicBezTo>
                  <a:pt x="3494" y="1544"/>
                  <a:pt x="3488" y="1546"/>
                  <a:pt x="3485" y="1543"/>
                </a:cubicBezTo>
                <a:cubicBezTo>
                  <a:pt x="3484" y="1542"/>
                  <a:pt x="3483" y="1541"/>
                  <a:pt x="3482" y="1540"/>
                </a:cubicBezTo>
                <a:cubicBezTo>
                  <a:pt x="3481" y="1540"/>
                  <a:pt x="3481" y="1540"/>
                  <a:pt x="3481" y="1540"/>
                </a:cubicBezTo>
                <a:close/>
                <a:moveTo>
                  <a:pt x="3475" y="1536"/>
                </a:moveTo>
                <a:cubicBezTo>
                  <a:pt x="3479" y="1537"/>
                  <a:pt x="3482" y="1538"/>
                  <a:pt x="3485" y="1541"/>
                </a:cubicBezTo>
                <a:cubicBezTo>
                  <a:pt x="3487" y="1543"/>
                  <a:pt x="3489" y="1544"/>
                  <a:pt x="3491" y="1543"/>
                </a:cubicBezTo>
                <a:cubicBezTo>
                  <a:pt x="3493" y="1542"/>
                  <a:pt x="3495" y="1540"/>
                  <a:pt x="3495" y="1537"/>
                </a:cubicBezTo>
                <a:cubicBezTo>
                  <a:pt x="3495" y="1537"/>
                  <a:pt x="3494" y="1537"/>
                  <a:pt x="3494" y="1538"/>
                </a:cubicBezTo>
                <a:cubicBezTo>
                  <a:pt x="3493" y="1539"/>
                  <a:pt x="3492" y="1540"/>
                  <a:pt x="3491" y="1541"/>
                </a:cubicBezTo>
                <a:cubicBezTo>
                  <a:pt x="3490" y="1542"/>
                  <a:pt x="3489" y="1542"/>
                  <a:pt x="3488" y="1542"/>
                </a:cubicBezTo>
                <a:cubicBezTo>
                  <a:pt x="3487" y="1542"/>
                  <a:pt x="3487" y="1540"/>
                  <a:pt x="3487" y="1540"/>
                </a:cubicBezTo>
                <a:cubicBezTo>
                  <a:pt x="3487" y="1537"/>
                  <a:pt x="3487" y="1535"/>
                  <a:pt x="3488" y="1533"/>
                </a:cubicBezTo>
                <a:cubicBezTo>
                  <a:pt x="3491" y="1534"/>
                  <a:pt x="3494" y="1535"/>
                  <a:pt x="3498" y="1536"/>
                </a:cubicBezTo>
                <a:cubicBezTo>
                  <a:pt x="3505" y="1537"/>
                  <a:pt x="3511" y="1535"/>
                  <a:pt x="3514" y="1527"/>
                </a:cubicBezTo>
                <a:cubicBezTo>
                  <a:pt x="3516" y="1522"/>
                  <a:pt x="3515" y="1517"/>
                  <a:pt x="3515" y="1512"/>
                </a:cubicBezTo>
                <a:cubicBezTo>
                  <a:pt x="3514" y="1510"/>
                  <a:pt x="3513" y="1508"/>
                  <a:pt x="3513" y="1506"/>
                </a:cubicBezTo>
                <a:cubicBezTo>
                  <a:pt x="3512" y="1505"/>
                  <a:pt x="3511" y="1504"/>
                  <a:pt x="3509" y="1506"/>
                </a:cubicBezTo>
                <a:cubicBezTo>
                  <a:pt x="3508" y="1508"/>
                  <a:pt x="3506" y="1509"/>
                  <a:pt x="3504" y="1510"/>
                </a:cubicBezTo>
                <a:cubicBezTo>
                  <a:pt x="3504" y="1510"/>
                  <a:pt x="3503" y="1511"/>
                  <a:pt x="3503" y="1512"/>
                </a:cubicBezTo>
                <a:cubicBezTo>
                  <a:pt x="3504" y="1515"/>
                  <a:pt x="3503" y="1519"/>
                  <a:pt x="3502" y="1522"/>
                </a:cubicBezTo>
                <a:cubicBezTo>
                  <a:pt x="3502" y="1520"/>
                  <a:pt x="3502" y="1518"/>
                  <a:pt x="3502" y="1516"/>
                </a:cubicBezTo>
                <a:cubicBezTo>
                  <a:pt x="3502" y="1515"/>
                  <a:pt x="3502" y="1515"/>
                  <a:pt x="3502" y="1515"/>
                </a:cubicBezTo>
                <a:cubicBezTo>
                  <a:pt x="3501" y="1515"/>
                  <a:pt x="3500" y="1515"/>
                  <a:pt x="3500" y="1515"/>
                </a:cubicBezTo>
                <a:cubicBezTo>
                  <a:pt x="3500" y="1517"/>
                  <a:pt x="3499" y="1518"/>
                  <a:pt x="3498" y="1519"/>
                </a:cubicBezTo>
                <a:cubicBezTo>
                  <a:pt x="3498" y="1519"/>
                  <a:pt x="3498" y="1519"/>
                  <a:pt x="3498" y="1519"/>
                </a:cubicBezTo>
                <a:cubicBezTo>
                  <a:pt x="3498" y="1518"/>
                  <a:pt x="3498" y="1516"/>
                  <a:pt x="3499" y="1514"/>
                </a:cubicBezTo>
                <a:cubicBezTo>
                  <a:pt x="3498" y="1515"/>
                  <a:pt x="3497" y="1515"/>
                  <a:pt x="3497" y="1516"/>
                </a:cubicBezTo>
                <a:cubicBezTo>
                  <a:pt x="3496" y="1516"/>
                  <a:pt x="3496" y="1517"/>
                  <a:pt x="3495" y="1518"/>
                </a:cubicBezTo>
                <a:cubicBezTo>
                  <a:pt x="3496" y="1514"/>
                  <a:pt x="3496" y="1514"/>
                  <a:pt x="3502" y="1513"/>
                </a:cubicBezTo>
                <a:cubicBezTo>
                  <a:pt x="3502" y="1513"/>
                  <a:pt x="3501" y="1512"/>
                  <a:pt x="3501" y="1512"/>
                </a:cubicBezTo>
                <a:cubicBezTo>
                  <a:pt x="3498" y="1513"/>
                  <a:pt x="3497" y="1511"/>
                  <a:pt x="3497" y="1509"/>
                </a:cubicBezTo>
                <a:cubicBezTo>
                  <a:pt x="3498" y="1508"/>
                  <a:pt x="3500" y="1508"/>
                  <a:pt x="3502" y="1508"/>
                </a:cubicBezTo>
                <a:cubicBezTo>
                  <a:pt x="3500" y="1505"/>
                  <a:pt x="3498" y="1502"/>
                  <a:pt x="3495" y="1502"/>
                </a:cubicBezTo>
                <a:cubicBezTo>
                  <a:pt x="3495" y="1502"/>
                  <a:pt x="3495" y="1502"/>
                  <a:pt x="3495" y="1501"/>
                </a:cubicBezTo>
                <a:cubicBezTo>
                  <a:pt x="3492" y="1499"/>
                  <a:pt x="3490" y="1497"/>
                  <a:pt x="3487" y="1495"/>
                </a:cubicBezTo>
                <a:cubicBezTo>
                  <a:pt x="3485" y="1494"/>
                  <a:pt x="3482" y="1493"/>
                  <a:pt x="3480" y="1493"/>
                </a:cubicBezTo>
                <a:cubicBezTo>
                  <a:pt x="3477" y="1493"/>
                  <a:pt x="3473" y="1494"/>
                  <a:pt x="3470" y="1495"/>
                </a:cubicBezTo>
                <a:cubicBezTo>
                  <a:pt x="3467" y="1496"/>
                  <a:pt x="3465" y="1498"/>
                  <a:pt x="3463" y="1501"/>
                </a:cubicBezTo>
                <a:cubicBezTo>
                  <a:pt x="3465" y="1501"/>
                  <a:pt x="3466" y="1501"/>
                  <a:pt x="3467" y="1501"/>
                </a:cubicBezTo>
                <a:cubicBezTo>
                  <a:pt x="3467" y="1502"/>
                  <a:pt x="3466" y="1502"/>
                  <a:pt x="3465" y="1502"/>
                </a:cubicBezTo>
                <a:cubicBezTo>
                  <a:pt x="3463" y="1503"/>
                  <a:pt x="3460" y="1502"/>
                  <a:pt x="3458" y="1504"/>
                </a:cubicBezTo>
                <a:cubicBezTo>
                  <a:pt x="3455" y="1508"/>
                  <a:pt x="3451" y="1512"/>
                  <a:pt x="3447" y="1516"/>
                </a:cubicBezTo>
                <a:cubicBezTo>
                  <a:pt x="3446" y="1518"/>
                  <a:pt x="3445" y="1521"/>
                  <a:pt x="3444" y="1523"/>
                </a:cubicBezTo>
                <a:cubicBezTo>
                  <a:pt x="3444" y="1523"/>
                  <a:pt x="3444" y="1524"/>
                  <a:pt x="3444" y="1525"/>
                </a:cubicBezTo>
                <a:cubicBezTo>
                  <a:pt x="3445" y="1527"/>
                  <a:pt x="3446" y="1529"/>
                  <a:pt x="3448" y="1530"/>
                </a:cubicBezTo>
                <a:cubicBezTo>
                  <a:pt x="3449" y="1529"/>
                  <a:pt x="3450" y="1527"/>
                  <a:pt x="3451" y="1526"/>
                </a:cubicBezTo>
                <a:cubicBezTo>
                  <a:pt x="3451" y="1527"/>
                  <a:pt x="3451" y="1529"/>
                  <a:pt x="3450" y="1530"/>
                </a:cubicBezTo>
                <a:cubicBezTo>
                  <a:pt x="3449" y="1531"/>
                  <a:pt x="3448" y="1532"/>
                  <a:pt x="3448" y="1534"/>
                </a:cubicBezTo>
                <a:cubicBezTo>
                  <a:pt x="3447" y="1535"/>
                  <a:pt x="3448" y="1536"/>
                  <a:pt x="3448" y="1537"/>
                </a:cubicBezTo>
                <a:cubicBezTo>
                  <a:pt x="3451" y="1540"/>
                  <a:pt x="3454" y="1540"/>
                  <a:pt x="3458" y="1538"/>
                </a:cubicBezTo>
                <a:cubicBezTo>
                  <a:pt x="3460" y="1537"/>
                  <a:pt x="3463" y="1536"/>
                  <a:pt x="3466" y="1535"/>
                </a:cubicBezTo>
                <a:cubicBezTo>
                  <a:pt x="3467" y="1534"/>
                  <a:pt x="3468" y="1534"/>
                  <a:pt x="3468" y="1532"/>
                </a:cubicBezTo>
                <a:cubicBezTo>
                  <a:pt x="3468" y="1529"/>
                  <a:pt x="3468" y="1525"/>
                  <a:pt x="3468" y="1522"/>
                </a:cubicBezTo>
                <a:cubicBezTo>
                  <a:pt x="3468" y="1519"/>
                  <a:pt x="3468" y="1516"/>
                  <a:pt x="3468" y="1513"/>
                </a:cubicBezTo>
                <a:cubicBezTo>
                  <a:pt x="3469" y="1516"/>
                  <a:pt x="3469" y="1519"/>
                  <a:pt x="3470" y="1521"/>
                </a:cubicBezTo>
                <a:cubicBezTo>
                  <a:pt x="3471" y="1526"/>
                  <a:pt x="3471" y="1530"/>
                  <a:pt x="3469" y="1534"/>
                </a:cubicBezTo>
                <a:cubicBezTo>
                  <a:pt x="3469" y="1535"/>
                  <a:pt x="3468" y="1536"/>
                  <a:pt x="3468" y="1536"/>
                </a:cubicBezTo>
                <a:cubicBezTo>
                  <a:pt x="3464" y="1536"/>
                  <a:pt x="3461" y="1538"/>
                  <a:pt x="3458" y="1540"/>
                </a:cubicBezTo>
                <a:cubicBezTo>
                  <a:pt x="3453" y="1543"/>
                  <a:pt x="3449" y="1541"/>
                  <a:pt x="3446" y="1537"/>
                </a:cubicBezTo>
                <a:cubicBezTo>
                  <a:pt x="3446" y="1537"/>
                  <a:pt x="3446" y="1536"/>
                  <a:pt x="3446" y="1535"/>
                </a:cubicBezTo>
                <a:cubicBezTo>
                  <a:pt x="3447" y="1533"/>
                  <a:pt x="3446" y="1531"/>
                  <a:pt x="3444" y="1529"/>
                </a:cubicBezTo>
                <a:cubicBezTo>
                  <a:pt x="3443" y="1527"/>
                  <a:pt x="3441" y="1525"/>
                  <a:pt x="3442" y="1522"/>
                </a:cubicBezTo>
                <a:cubicBezTo>
                  <a:pt x="3443" y="1520"/>
                  <a:pt x="3444" y="1518"/>
                  <a:pt x="3445" y="1517"/>
                </a:cubicBezTo>
                <a:cubicBezTo>
                  <a:pt x="3447" y="1514"/>
                  <a:pt x="3449" y="1511"/>
                  <a:pt x="3451" y="1509"/>
                </a:cubicBezTo>
                <a:cubicBezTo>
                  <a:pt x="3451" y="1509"/>
                  <a:pt x="3450" y="1509"/>
                  <a:pt x="3450" y="1509"/>
                </a:cubicBezTo>
                <a:cubicBezTo>
                  <a:pt x="3445" y="1510"/>
                  <a:pt x="3440" y="1511"/>
                  <a:pt x="3437" y="1515"/>
                </a:cubicBezTo>
                <a:cubicBezTo>
                  <a:pt x="3432" y="1519"/>
                  <a:pt x="3429" y="1524"/>
                  <a:pt x="3429" y="1531"/>
                </a:cubicBezTo>
                <a:cubicBezTo>
                  <a:pt x="3428" y="1538"/>
                  <a:pt x="3431" y="1544"/>
                  <a:pt x="3434" y="1549"/>
                </a:cubicBezTo>
                <a:cubicBezTo>
                  <a:pt x="3435" y="1550"/>
                  <a:pt x="3435" y="1552"/>
                  <a:pt x="3435" y="1553"/>
                </a:cubicBezTo>
                <a:cubicBezTo>
                  <a:pt x="3435" y="1555"/>
                  <a:pt x="3435" y="1556"/>
                  <a:pt x="3434" y="1557"/>
                </a:cubicBezTo>
                <a:cubicBezTo>
                  <a:pt x="3433" y="1559"/>
                  <a:pt x="3434" y="1560"/>
                  <a:pt x="3435" y="1561"/>
                </a:cubicBezTo>
                <a:cubicBezTo>
                  <a:pt x="3438" y="1561"/>
                  <a:pt x="3441" y="1562"/>
                  <a:pt x="3444" y="1562"/>
                </a:cubicBezTo>
                <a:cubicBezTo>
                  <a:pt x="3444" y="1562"/>
                  <a:pt x="3445" y="1561"/>
                  <a:pt x="3445" y="1561"/>
                </a:cubicBezTo>
                <a:cubicBezTo>
                  <a:pt x="3446" y="1560"/>
                  <a:pt x="3446" y="1558"/>
                  <a:pt x="3446" y="1557"/>
                </a:cubicBezTo>
                <a:cubicBezTo>
                  <a:pt x="3448" y="1555"/>
                  <a:pt x="3448" y="1552"/>
                  <a:pt x="3448" y="1549"/>
                </a:cubicBezTo>
                <a:cubicBezTo>
                  <a:pt x="3448" y="1549"/>
                  <a:pt x="3448" y="1549"/>
                  <a:pt x="3448" y="1548"/>
                </a:cubicBezTo>
                <a:cubicBezTo>
                  <a:pt x="3448" y="1548"/>
                  <a:pt x="3448" y="1548"/>
                  <a:pt x="3448" y="1548"/>
                </a:cubicBezTo>
                <a:cubicBezTo>
                  <a:pt x="3449" y="1550"/>
                  <a:pt x="3450" y="1550"/>
                  <a:pt x="3452" y="1550"/>
                </a:cubicBezTo>
                <a:cubicBezTo>
                  <a:pt x="3453" y="1550"/>
                  <a:pt x="3454" y="1550"/>
                  <a:pt x="3455" y="1550"/>
                </a:cubicBezTo>
                <a:cubicBezTo>
                  <a:pt x="3457" y="1550"/>
                  <a:pt x="3460" y="1551"/>
                  <a:pt x="3461" y="1547"/>
                </a:cubicBezTo>
                <a:cubicBezTo>
                  <a:pt x="3461" y="1549"/>
                  <a:pt x="3461" y="1551"/>
                  <a:pt x="3461" y="1551"/>
                </a:cubicBezTo>
                <a:cubicBezTo>
                  <a:pt x="3460" y="1552"/>
                  <a:pt x="3458" y="1553"/>
                  <a:pt x="3457" y="1553"/>
                </a:cubicBezTo>
                <a:cubicBezTo>
                  <a:pt x="3456" y="1554"/>
                  <a:pt x="3455" y="1556"/>
                  <a:pt x="3456" y="1557"/>
                </a:cubicBezTo>
                <a:cubicBezTo>
                  <a:pt x="3457" y="1559"/>
                  <a:pt x="3458" y="1561"/>
                  <a:pt x="3460" y="1563"/>
                </a:cubicBezTo>
                <a:cubicBezTo>
                  <a:pt x="3462" y="1564"/>
                  <a:pt x="3464" y="1564"/>
                  <a:pt x="3465" y="1562"/>
                </a:cubicBezTo>
                <a:cubicBezTo>
                  <a:pt x="3466" y="1561"/>
                  <a:pt x="3466" y="1561"/>
                  <a:pt x="3467" y="1560"/>
                </a:cubicBezTo>
                <a:cubicBezTo>
                  <a:pt x="3469" y="1559"/>
                  <a:pt x="3470" y="1557"/>
                  <a:pt x="3472" y="1556"/>
                </a:cubicBezTo>
                <a:cubicBezTo>
                  <a:pt x="3476" y="1552"/>
                  <a:pt x="3478" y="1546"/>
                  <a:pt x="3480" y="1540"/>
                </a:cubicBezTo>
                <a:cubicBezTo>
                  <a:pt x="3480" y="1540"/>
                  <a:pt x="3479" y="1539"/>
                  <a:pt x="3478" y="1538"/>
                </a:cubicBezTo>
                <a:cubicBezTo>
                  <a:pt x="3478" y="1537"/>
                  <a:pt x="3477" y="1536"/>
                  <a:pt x="3475" y="1536"/>
                </a:cubicBezTo>
                <a:close/>
                <a:moveTo>
                  <a:pt x="3428" y="1542"/>
                </a:moveTo>
                <a:cubicBezTo>
                  <a:pt x="3427" y="1543"/>
                  <a:pt x="3426" y="1544"/>
                  <a:pt x="3425" y="1545"/>
                </a:cubicBezTo>
                <a:cubicBezTo>
                  <a:pt x="3424" y="1545"/>
                  <a:pt x="3424" y="1546"/>
                  <a:pt x="3424" y="1547"/>
                </a:cubicBezTo>
                <a:cubicBezTo>
                  <a:pt x="3424" y="1549"/>
                  <a:pt x="3428" y="1554"/>
                  <a:pt x="3431" y="1553"/>
                </a:cubicBezTo>
                <a:cubicBezTo>
                  <a:pt x="3433" y="1553"/>
                  <a:pt x="3434" y="1552"/>
                  <a:pt x="3433" y="1551"/>
                </a:cubicBezTo>
                <a:cubicBezTo>
                  <a:pt x="3431" y="1548"/>
                  <a:pt x="3430" y="1545"/>
                  <a:pt x="3428" y="1542"/>
                </a:cubicBezTo>
                <a:close/>
                <a:moveTo>
                  <a:pt x="3481" y="1544"/>
                </a:moveTo>
                <a:cubicBezTo>
                  <a:pt x="3478" y="1549"/>
                  <a:pt x="3476" y="1553"/>
                  <a:pt x="3474" y="1557"/>
                </a:cubicBezTo>
                <a:cubicBezTo>
                  <a:pt x="3477" y="1557"/>
                  <a:pt x="3479" y="1558"/>
                  <a:pt x="3482" y="1557"/>
                </a:cubicBezTo>
                <a:cubicBezTo>
                  <a:pt x="3482" y="1557"/>
                  <a:pt x="3482" y="1556"/>
                  <a:pt x="3482" y="1556"/>
                </a:cubicBezTo>
                <a:cubicBezTo>
                  <a:pt x="3482" y="1553"/>
                  <a:pt x="3482" y="1551"/>
                  <a:pt x="3482" y="1548"/>
                </a:cubicBezTo>
                <a:cubicBezTo>
                  <a:pt x="3482" y="1547"/>
                  <a:pt x="3481" y="1546"/>
                  <a:pt x="3481" y="1544"/>
                </a:cubicBezTo>
                <a:close/>
                <a:moveTo>
                  <a:pt x="3428" y="1524"/>
                </a:moveTo>
                <a:cubicBezTo>
                  <a:pt x="3427" y="1524"/>
                  <a:pt x="3427" y="1525"/>
                  <a:pt x="3426" y="1525"/>
                </a:cubicBezTo>
                <a:cubicBezTo>
                  <a:pt x="3426" y="1525"/>
                  <a:pt x="3425" y="1525"/>
                  <a:pt x="3425" y="1524"/>
                </a:cubicBezTo>
                <a:cubicBezTo>
                  <a:pt x="3424" y="1524"/>
                  <a:pt x="3424" y="1523"/>
                  <a:pt x="3424" y="1522"/>
                </a:cubicBezTo>
                <a:cubicBezTo>
                  <a:pt x="3425" y="1520"/>
                  <a:pt x="3425" y="1518"/>
                  <a:pt x="3426" y="1516"/>
                </a:cubicBezTo>
                <a:cubicBezTo>
                  <a:pt x="3426" y="1516"/>
                  <a:pt x="3426" y="1516"/>
                  <a:pt x="3425" y="1516"/>
                </a:cubicBezTo>
                <a:cubicBezTo>
                  <a:pt x="3424" y="1517"/>
                  <a:pt x="3423" y="1518"/>
                  <a:pt x="3422" y="1519"/>
                </a:cubicBezTo>
                <a:cubicBezTo>
                  <a:pt x="3422" y="1520"/>
                  <a:pt x="3423" y="1525"/>
                  <a:pt x="3425" y="1526"/>
                </a:cubicBezTo>
                <a:cubicBezTo>
                  <a:pt x="3426" y="1527"/>
                  <a:pt x="3428" y="1526"/>
                  <a:pt x="3428" y="1524"/>
                </a:cubicBezTo>
                <a:close/>
                <a:moveTo>
                  <a:pt x="3428" y="1542"/>
                </a:moveTo>
                <a:cubicBezTo>
                  <a:pt x="3427" y="1543"/>
                  <a:pt x="3426" y="1544"/>
                  <a:pt x="3424" y="1545"/>
                </a:cubicBezTo>
                <a:cubicBezTo>
                  <a:pt x="3424" y="1545"/>
                  <a:pt x="3424" y="1546"/>
                  <a:pt x="3424" y="1547"/>
                </a:cubicBezTo>
                <a:cubicBezTo>
                  <a:pt x="3424" y="1550"/>
                  <a:pt x="3428" y="1554"/>
                  <a:pt x="3431" y="1554"/>
                </a:cubicBezTo>
                <a:cubicBezTo>
                  <a:pt x="3433" y="1554"/>
                  <a:pt x="3434" y="1553"/>
                  <a:pt x="3433" y="1551"/>
                </a:cubicBezTo>
                <a:cubicBezTo>
                  <a:pt x="3431" y="1548"/>
                  <a:pt x="3430" y="1545"/>
                  <a:pt x="3428" y="1542"/>
                </a:cubicBezTo>
                <a:close/>
                <a:moveTo>
                  <a:pt x="3481" y="1544"/>
                </a:moveTo>
                <a:cubicBezTo>
                  <a:pt x="3478" y="1549"/>
                  <a:pt x="3476" y="1553"/>
                  <a:pt x="3474" y="1558"/>
                </a:cubicBezTo>
                <a:cubicBezTo>
                  <a:pt x="3476" y="1558"/>
                  <a:pt x="3479" y="1558"/>
                  <a:pt x="3481" y="1558"/>
                </a:cubicBezTo>
                <a:cubicBezTo>
                  <a:pt x="3482" y="1558"/>
                  <a:pt x="3482" y="1556"/>
                  <a:pt x="3482" y="1556"/>
                </a:cubicBezTo>
                <a:cubicBezTo>
                  <a:pt x="3482" y="1553"/>
                  <a:pt x="3482" y="1551"/>
                  <a:pt x="3482" y="1548"/>
                </a:cubicBezTo>
                <a:cubicBezTo>
                  <a:pt x="3481" y="1547"/>
                  <a:pt x="3481" y="1546"/>
                  <a:pt x="3481" y="1544"/>
                </a:cubicBezTo>
                <a:close/>
                <a:moveTo>
                  <a:pt x="3428" y="1524"/>
                </a:moveTo>
                <a:cubicBezTo>
                  <a:pt x="3427" y="1524"/>
                  <a:pt x="3427" y="1525"/>
                  <a:pt x="3426" y="1525"/>
                </a:cubicBezTo>
                <a:cubicBezTo>
                  <a:pt x="3425" y="1525"/>
                  <a:pt x="3425" y="1525"/>
                  <a:pt x="3425" y="1524"/>
                </a:cubicBezTo>
                <a:cubicBezTo>
                  <a:pt x="3424" y="1524"/>
                  <a:pt x="3424" y="1523"/>
                  <a:pt x="3424" y="1522"/>
                </a:cubicBezTo>
                <a:cubicBezTo>
                  <a:pt x="3425" y="1520"/>
                  <a:pt x="3425" y="1518"/>
                  <a:pt x="3426" y="1516"/>
                </a:cubicBezTo>
                <a:cubicBezTo>
                  <a:pt x="3425" y="1516"/>
                  <a:pt x="3425" y="1516"/>
                  <a:pt x="3425" y="1516"/>
                </a:cubicBezTo>
                <a:cubicBezTo>
                  <a:pt x="3424" y="1517"/>
                  <a:pt x="3423" y="1518"/>
                  <a:pt x="3423" y="1519"/>
                </a:cubicBezTo>
                <a:cubicBezTo>
                  <a:pt x="3422" y="1520"/>
                  <a:pt x="3423" y="1526"/>
                  <a:pt x="3425" y="1526"/>
                </a:cubicBezTo>
                <a:cubicBezTo>
                  <a:pt x="3426" y="1527"/>
                  <a:pt x="3428" y="1526"/>
                  <a:pt x="3428" y="1524"/>
                </a:cubicBezTo>
                <a:close/>
                <a:moveTo>
                  <a:pt x="3480" y="1516"/>
                </a:moveTo>
                <a:cubicBezTo>
                  <a:pt x="3484" y="1512"/>
                  <a:pt x="3484" y="1512"/>
                  <a:pt x="3488" y="1511"/>
                </a:cubicBezTo>
                <a:cubicBezTo>
                  <a:pt x="3488" y="1513"/>
                  <a:pt x="3489" y="1514"/>
                  <a:pt x="3490" y="1514"/>
                </a:cubicBezTo>
                <a:cubicBezTo>
                  <a:pt x="3488" y="1515"/>
                  <a:pt x="3486" y="1517"/>
                  <a:pt x="3484" y="1518"/>
                </a:cubicBezTo>
                <a:cubicBezTo>
                  <a:pt x="3483" y="1517"/>
                  <a:pt x="3483" y="1517"/>
                  <a:pt x="3482" y="1515"/>
                </a:cubicBezTo>
                <a:cubicBezTo>
                  <a:pt x="3482" y="1515"/>
                  <a:pt x="3481" y="1515"/>
                  <a:pt x="3480" y="1516"/>
                </a:cubicBezTo>
                <a:close/>
                <a:moveTo>
                  <a:pt x="3486" y="1515"/>
                </a:moveTo>
                <a:cubicBezTo>
                  <a:pt x="3486" y="1515"/>
                  <a:pt x="3485" y="1515"/>
                  <a:pt x="3484" y="1515"/>
                </a:cubicBezTo>
                <a:cubicBezTo>
                  <a:pt x="3484" y="1515"/>
                  <a:pt x="3483" y="1515"/>
                  <a:pt x="3483" y="1516"/>
                </a:cubicBezTo>
                <a:cubicBezTo>
                  <a:pt x="3483" y="1516"/>
                  <a:pt x="3484" y="1517"/>
                  <a:pt x="3484" y="1517"/>
                </a:cubicBezTo>
                <a:cubicBezTo>
                  <a:pt x="3485" y="1517"/>
                  <a:pt x="3485" y="1516"/>
                  <a:pt x="3486" y="1515"/>
                </a:cubicBezTo>
                <a:close/>
                <a:moveTo>
                  <a:pt x="3467" y="1505"/>
                </a:moveTo>
                <a:cubicBezTo>
                  <a:pt x="3461" y="1505"/>
                  <a:pt x="3458" y="1507"/>
                  <a:pt x="3457" y="1515"/>
                </a:cubicBezTo>
                <a:cubicBezTo>
                  <a:pt x="3458" y="1513"/>
                  <a:pt x="3459" y="1511"/>
                  <a:pt x="3460" y="1508"/>
                </a:cubicBezTo>
                <a:cubicBezTo>
                  <a:pt x="3461" y="1508"/>
                  <a:pt x="3461" y="1508"/>
                  <a:pt x="3461" y="1508"/>
                </a:cubicBezTo>
                <a:cubicBezTo>
                  <a:pt x="3461" y="1510"/>
                  <a:pt x="3461" y="1510"/>
                  <a:pt x="3461" y="1511"/>
                </a:cubicBezTo>
                <a:cubicBezTo>
                  <a:pt x="3462" y="1508"/>
                  <a:pt x="3464" y="1506"/>
                  <a:pt x="3467" y="1505"/>
                </a:cubicBezTo>
                <a:close/>
                <a:moveTo>
                  <a:pt x="3511" y="1507"/>
                </a:moveTo>
                <a:cubicBezTo>
                  <a:pt x="3509" y="1508"/>
                  <a:pt x="3507" y="1510"/>
                  <a:pt x="3506" y="1511"/>
                </a:cubicBezTo>
                <a:cubicBezTo>
                  <a:pt x="3508" y="1511"/>
                  <a:pt x="3510" y="1510"/>
                  <a:pt x="3511" y="1507"/>
                </a:cubicBezTo>
                <a:close/>
                <a:moveTo>
                  <a:pt x="3478" y="1509"/>
                </a:moveTo>
                <a:cubicBezTo>
                  <a:pt x="3479" y="1508"/>
                  <a:pt x="3480" y="1506"/>
                  <a:pt x="3481" y="1505"/>
                </a:cubicBezTo>
                <a:cubicBezTo>
                  <a:pt x="3478" y="1506"/>
                  <a:pt x="3477" y="1507"/>
                  <a:pt x="3478" y="1509"/>
                </a:cubicBezTo>
                <a:close/>
                <a:moveTo>
                  <a:pt x="3488" y="1531"/>
                </a:moveTo>
                <a:cubicBezTo>
                  <a:pt x="3486" y="1531"/>
                  <a:pt x="3485" y="1532"/>
                  <a:pt x="3485" y="1533"/>
                </a:cubicBezTo>
                <a:cubicBezTo>
                  <a:pt x="3486" y="1532"/>
                  <a:pt x="3487" y="1531"/>
                  <a:pt x="3488" y="1531"/>
                </a:cubicBezTo>
                <a:close/>
                <a:moveTo>
                  <a:pt x="3487" y="1515"/>
                </a:moveTo>
                <a:cubicBezTo>
                  <a:pt x="3486" y="1515"/>
                  <a:pt x="3485" y="1514"/>
                  <a:pt x="3484" y="1514"/>
                </a:cubicBezTo>
                <a:cubicBezTo>
                  <a:pt x="3484" y="1514"/>
                  <a:pt x="3483" y="1515"/>
                  <a:pt x="3483" y="1515"/>
                </a:cubicBezTo>
                <a:cubicBezTo>
                  <a:pt x="3483" y="1516"/>
                  <a:pt x="3484" y="1516"/>
                  <a:pt x="3484" y="1517"/>
                </a:cubicBezTo>
                <a:cubicBezTo>
                  <a:pt x="3485" y="1516"/>
                  <a:pt x="3485" y="1516"/>
                  <a:pt x="3487" y="1515"/>
                </a:cubicBezTo>
                <a:close/>
                <a:moveTo>
                  <a:pt x="3034" y="1397"/>
                </a:moveTo>
                <a:cubicBezTo>
                  <a:pt x="3034" y="1397"/>
                  <a:pt x="3034" y="1397"/>
                  <a:pt x="3034" y="1397"/>
                </a:cubicBezTo>
                <a:cubicBezTo>
                  <a:pt x="3029" y="1397"/>
                  <a:pt x="3029" y="1397"/>
                  <a:pt x="3029" y="1397"/>
                </a:cubicBezTo>
                <a:cubicBezTo>
                  <a:pt x="3027" y="1398"/>
                  <a:pt x="3026" y="1400"/>
                  <a:pt x="3024" y="1400"/>
                </a:cubicBezTo>
                <a:cubicBezTo>
                  <a:pt x="3022" y="1402"/>
                  <a:pt x="3020" y="1402"/>
                  <a:pt x="3018" y="1403"/>
                </a:cubicBezTo>
                <a:cubicBezTo>
                  <a:pt x="3017" y="1405"/>
                  <a:pt x="3015" y="1405"/>
                  <a:pt x="3013" y="1406"/>
                </a:cubicBezTo>
                <a:cubicBezTo>
                  <a:pt x="3011" y="1407"/>
                  <a:pt x="3010" y="1408"/>
                  <a:pt x="3008" y="1408"/>
                </a:cubicBezTo>
                <a:cubicBezTo>
                  <a:pt x="3008" y="1408"/>
                  <a:pt x="3008" y="1408"/>
                  <a:pt x="3008" y="1418"/>
                </a:cubicBezTo>
                <a:cubicBezTo>
                  <a:pt x="3010" y="1417"/>
                  <a:pt x="3013" y="1416"/>
                  <a:pt x="3016" y="1415"/>
                </a:cubicBezTo>
                <a:cubicBezTo>
                  <a:pt x="3018" y="1414"/>
                  <a:pt x="3021" y="1413"/>
                  <a:pt x="3023" y="1411"/>
                </a:cubicBezTo>
                <a:cubicBezTo>
                  <a:pt x="3023" y="1411"/>
                  <a:pt x="3023" y="1411"/>
                  <a:pt x="3023" y="1470"/>
                </a:cubicBezTo>
                <a:cubicBezTo>
                  <a:pt x="3023" y="1470"/>
                  <a:pt x="3023" y="1470"/>
                  <a:pt x="3034" y="1470"/>
                </a:cubicBezTo>
                <a:cubicBezTo>
                  <a:pt x="3034" y="1470"/>
                  <a:pt x="3034" y="1470"/>
                  <a:pt x="3034" y="1397"/>
                </a:cubicBezTo>
                <a:close/>
                <a:moveTo>
                  <a:pt x="3081" y="1397"/>
                </a:moveTo>
                <a:cubicBezTo>
                  <a:pt x="3081" y="1397"/>
                  <a:pt x="3081" y="1397"/>
                  <a:pt x="3081" y="1397"/>
                </a:cubicBezTo>
                <a:cubicBezTo>
                  <a:pt x="3076" y="1397"/>
                  <a:pt x="3076" y="1397"/>
                  <a:pt x="3076" y="1397"/>
                </a:cubicBezTo>
                <a:cubicBezTo>
                  <a:pt x="3075" y="1398"/>
                  <a:pt x="3073" y="1400"/>
                  <a:pt x="3071" y="1400"/>
                </a:cubicBezTo>
                <a:cubicBezTo>
                  <a:pt x="3069" y="1402"/>
                  <a:pt x="3067" y="1402"/>
                  <a:pt x="3065" y="1403"/>
                </a:cubicBezTo>
                <a:cubicBezTo>
                  <a:pt x="3064" y="1405"/>
                  <a:pt x="3061" y="1405"/>
                  <a:pt x="3060" y="1406"/>
                </a:cubicBezTo>
                <a:cubicBezTo>
                  <a:pt x="3058" y="1407"/>
                  <a:pt x="3056" y="1408"/>
                  <a:pt x="3054" y="1408"/>
                </a:cubicBezTo>
                <a:cubicBezTo>
                  <a:pt x="3054" y="1408"/>
                  <a:pt x="3054" y="1408"/>
                  <a:pt x="3054" y="1418"/>
                </a:cubicBezTo>
                <a:cubicBezTo>
                  <a:pt x="3057" y="1417"/>
                  <a:pt x="3060" y="1416"/>
                  <a:pt x="3063" y="1415"/>
                </a:cubicBezTo>
                <a:cubicBezTo>
                  <a:pt x="3065" y="1414"/>
                  <a:pt x="3067" y="1413"/>
                  <a:pt x="3070" y="1411"/>
                </a:cubicBezTo>
                <a:cubicBezTo>
                  <a:pt x="3070" y="1411"/>
                  <a:pt x="3070" y="1411"/>
                  <a:pt x="3070" y="1470"/>
                </a:cubicBezTo>
                <a:cubicBezTo>
                  <a:pt x="3070" y="1470"/>
                  <a:pt x="3070" y="1470"/>
                  <a:pt x="3081" y="1470"/>
                </a:cubicBezTo>
                <a:cubicBezTo>
                  <a:pt x="3081" y="1470"/>
                  <a:pt x="3081" y="1470"/>
                  <a:pt x="3081" y="1397"/>
                </a:cubicBezTo>
                <a:close/>
                <a:moveTo>
                  <a:pt x="3127" y="1397"/>
                </a:moveTo>
                <a:cubicBezTo>
                  <a:pt x="3127" y="1397"/>
                  <a:pt x="3127" y="1397"/>
                  <a:pt x="3127" y="1397"/>
                </a:cubicBezTo>
                <a:cubicBezTo>
                  <a:pt x="3123" y="1397"/>
                  <a:pt x="3123" y="1397"/>
                  <a:pt x="3123" y="1397"/>
                </a:cubicBezTo>
                <a:cubicBezTo>
                  <a:pt x="3121" y="1398"/>
                  <a:pt x="3119" y="1400"/>
                  <a:pt x="3117" y="1400"/>
                </a:cubicBezTo>
                <a:cubicBezTo>
                  <a:pt x="3116" y="1402"/>
                  <a:pt x="3113" y="1402"/>
                  <a:pt x="3112" y="1403"/>
                </a:cubicBezTo>
                <a:cubicBezTo>
                  <a:pt x="3110" y="1404"/>
                  <a:pt x="3108" y="1405"/>
                  <a:pt x="3106" y="1405"/>
                </a:cubicBezTo>
                <a:cubicBezTo>
                  <a:pt x="3105" y="1406"/>
                  <a:pt x="3103" y="1407"/>
                  <a:pt x="3101" y="1408"/>
                </a:cubicBezTo>
                <a:cubicBezTo>
                  <a:pt x="3101" y="1408"/>
                  <a:pt x="3101" y="1408"/>
                  <a:pt x="3101" y="1418"/>
                </a:cubicBezTo>
                <a:cubicBezTo>
                  <a:pt x="3104" y="1417"/>
                  <a:pt x="3107" y="1416"/>
                  <a:pt x="3109" y="1415"/>
                </a:cubicBezTo>
                <a:cubicBezTo>
                  <a:pt x="3111" y="1414"/>
                  <a:pt x="3114" y="1413"/>
                  <a:pt x="3116" y="1411"/>
                </a:cubicBezTo>
                <a:cubicBezTo>
                  <a:pt x="3116" y="1411"/>
                  <a:pt x="3116" y="1411"/>
                  <a:pt x="3116" y="1470"/>
                </a:cubicBezTo>
                <a:cubicBezTo>
                  <a:pt x="3116" y="1470"/>
                  <a:pt x="3116" y="1470"/>
                  <a:pt x="3127" y="1470"/>
                </a:cubicBezTo>
                <a:cubicBezTo>
                  <a:pt x="3127" y="1470"/>
                  <a:pt x="3127" y="1470"/>
                  <a:pt x="3127" y="1397"/>
                </a:cubicBezTo>
                <a:close/>
                <a:moveTo>
                  <a:pt x="3264" y="1429"/>
                </a:moveTo>
                <a:cubicBezTo>
                  <a:pt x="3264" y="1429"/>
                  <a:pt x="3264" y="1429"/>
                  <a:pt x="3264" y="1429"/>
                </a:cubicBezTo>
                <a:cubicBezTo>
                  <a:pt x="3263" y="1437"/>
                  <a:pt x="3263" y="1437"/>
                  <a:pt x="3263" y="1437"/>
                </a:cubicBezTo>
                <a:cubicBezTo>
                  <a:pt x="3270" y="1438"/>
                  <a:pt x="3271" y="1441"/>
                  <a:pt x="3271" y="1443"/>
                </a:cubicBezTo>
                <a:cubicBezTo>
                  <a:pt x="3271" y="1445"/>
                  <a:pt x="3270" y="1448"/>
                  <a:pt x="3270" y="1450"/>
                </a:cubicBezTo>
                <a:cubicBezTo>
                  <a:pt x="3270" y="1453"/>
                  <a:pt x="3269" y="1455"/>
                  <a:pt x="3269" y="1457"/>
                </a:cubicBezTo>
                <a:cubicBezTo>
                  <a:pt x="3269" y="1467"/>
                  <a:pt x="3275" y="1470"/>
                  <a:pt x="3284" y="1470"/>
                </a:cubicBezTo>
                <a:cubicBezTo>
                  <a:pt x="3284" y="1470"/>
                  <a:pt x="3284" y="1470"/>
                  <a:pt x="3288" y="1470"/>
                </a:cubicBezTo>
                <a:cubicBezTo>
                  <a:pt x="3288" y="1470"/>
                  <a:pt x="3288" y="1470"/>
                  <a:pt x="3288" y="1461"/>
                </a:cubicBezTo>
                <a:cubicBezTo>
                  <a:pt x="3288" y="1461"/>
                  <a:pt x="3288" y="1461"/>
                  <a:pt x="3286" y="1461"/>
                </a:cubicBezTo>
                <a:cubicBezTo>
                  <a:pt x="3283" y="1461"/>
                  <a:pt x="3281" y="1459"/>
                  <a:pt x="3281" y="1455"/>
                </a:cubicBezTo>
                <a:cubicBezTo>
                  <a:pt x="3281" y="1454"/>
                  <a:pt x="3281" y="1452"/>
                  <a:pt x="3282" y="1450"/>
                </a:cubicBezTo>
                <a:cubicBezTo>
                  <a:pt x="3282" y="1449"/>
                  <a:pt x="3282" y="1447"/>
                  <a:pt x="3282" y="1444"/>
                </a:cubicBezTo>
                <a:cubicBezTo>
                  <a:pt x="3282" y="1437"/>
                  <a:pt x="3279" y="1434"/>
                  <a:pt x="3274" y="1433"/>
                </a:cubicBezTo>
                <a:cubicBezTo>
                  <a:pt x="3274" y="1433"/>
                  <a:pt x="3274" y="1433"/>
                  <a:pt x="3274" y="1433"/>
                </a:cubicBezTo>
                <a:cubicBezTo>
                  <a:pt x="3279" y="1432"/>
                  <a:pt x="3282" y="1429"/>
                  <a:pt x="3282" y="1422"/>
                </a:cubicBezTo>
                <a:cubicBezTo>
                  <a:pt x="3282" y="1419"/>
                  <a:pt x="3282" y="1417"/>
                  <a:pt x="3282" y="1416"/>
                </a:cubicBezTo>
                <a:cubicBezTo>
                  <a:pt x="3281" y="1414"/>
                  <a:pt x="3281" y="1412"/>
                  <a:pt x="3281" y="1411"/>
                </a:cubicBezTo>
                <a:cubicBezTo>
                  <a:pt x="3281" y="1407"/>
                  <a:pt x="3283" y="1405"/>
                  <a:pt x="3286" y="1405"/>
                </a:cubicBezTo>
                <a:cubicBezTo>
                  <a:pt x="3286" y="1405"/>
                  <a:pt x="3286" y="1405"/>
                  <a:pt x="3288" y="1405"/>
                </a:cubicBezTo>
                <a:cubicBezTo>
                  <a:pt x="3288" y="1405"/>
                  <a:pt x="3288" y="1405"/>
                  <a:pt x="3288" y="1396"/>
                </a:cubicBezTo>
                <a:cubicBezTo>
                  <a:pt x="3288" y="1396"/>
                  <a:pt x="3288" y="1396"/>
                  <a:pt x="3284" y="1396"/>
                </a:cubicBezTo>
                <a:cubicBezTo>
                  <a:pt x="3275" y="1396"/>
                  <a:pt x="3269" y="1400"/>
                  <a:pt x="3269" y="1408"/>
                </a:cubicBezTo>
                <a:cubicBezTo>
                  <a:pt x="3269" y="1411"/>
                  <a:pt x="3270" y="1413"/>
                  <a:pt x="3270" y="1416"/>
                </a:cubicBezTo>
                <a:cubicBezTo>
                  <a:pt x="3270" y="1418"/>
                  <a:pt x="3271" y="1421"/>
                  <a:pt x="3271" y="1423"/>
                </a:cubicBezTo>
                <a:cubicBezTo>
                  <a:pt x="3271" y="1425"/>
                  <a:pt x="3270" y="1429"/>
                  <a:pt x="3264" y="1429"/>
                </a:cubicBezTo>
                <a:close/>
                <a:moveTo>
                  <a:pt x="3319" y="1437"/>
                </a:moveTo>
                <a:cubicBezTo>
                  <a:pt x="3319" y="1437"/>
                  <a:pt x="3319" y="1437"/>
                  <a:pt x="3319" y="1437"/>
                </a:cubicBezTo>
                <a:cubicBezTo>
                  <a:pt x="3319" y="1429"/>
                  <a:pt x="3319" y="1429"/>
                  <a:pt x="3319" y="1429"/>
                </a:cubicBezTo>
                <a:cubicBezTo>
                  <a:pt x="3312" y="1429"/>
                  <a:pt x="3312" y="1425"/>
                  <a:pt x="3312" y="1423"/>
                </a:cubicBezTo>
                <a:cubicBezTo>
                  <a:pt x="3312" y="1421"/>
                  <a:pt x="3312" y="1418"/>
                  <a:pt x="3312" y="1416"/>
                </a:cubicBezTo>
                <a:cubicBezTo>
                  <a:pt x="3313" y="1413"/>
                  <a:pt x="3313" y="1411"/>
                  <a:pt x="3313" y="1408"/>
                </a:cubicBezTo>
                <a:cubicBezTo>
                  <a:pt x="3313" y="1400"/>
                  <a:pt x="3307" y="1396"/>
                  <a:pt x="3298" y="1396"/>
                </a:cubicBezTo>
                <a:cubicBezTo>
                  <a:pt x="3298" y="1396"/>
                  <a:pt x="3298" y="1396"/>
                  <a:pt x="3295" y="1396"/>
                </a:cubicBezTo>
                <a:cubicBezTo>
                  <a:pt x="3295" y="1396"/>
                  <a:pt x="3295" y="1396"/>
                  <a:pt x="3295" y="1405"/>
                </a:cubicBezTo>
                <a:cubicBezTo>
                  <a:pt x="3295" y="1405"/>
                  <a:pt x="3295" y="1405"/>
                  <a:pt x="3296" y="1405"/>
                </a:cubicBezTo>
                <a:cubicBezTo>
                  <a:pt x="3300" y="1405"/>
                  <a:pt x="3301" y="1407"/>
                  <a:pt x="3301" y="1411"/>
                </a:cubicBezTo>
                <a:cubicBezTo>
                  <a:pt x="3301" y="1412"/>
                  <a:pt x="3301" y="1414"/>
                  <a:pt x="3301" y="1416"/>
                </a:cubicBezTo>
                <a:cubicBezTo>
                  <a:pt x="3300" y="1417"/>
                  <a:pt x="3300" y="1419"/>
                  <a:pt x="3300" y="1422"/>
                </a:cubicBezTo>
                <a:cubicBezTo>
                  <a:pt x="3300" y="1429"/>
                  <a:pt x="3303" y="1432"/>
                  <a:pt x="3309" y="1433"/>
                </a:cubicBezTo>
                <a:cubicBezTo>
                  <a:pt x="3309" y="1433"/>
                  <a:pt x="3309" y="1433"/>
                  <a:pt x="3309" y="1433"/>
                </a:cubicBezTo>
                <a:cubicBezTo>
                  <a:pt x="3303" y="1434"/>
                  <a:pt x="3300" y="1437"/>
                  <a:pt x="3300" y="1444"/>
                </a:cubicBezTo>
                <a:cubicBezTo>
                  <a:pt x="3300" y="1447"/>
                  <a:pt x="3300" y="1449"/>
                  <a:pt x="3301" y="1450"/>
                </a:cubicBezTo>
                <a:cubicBezTo>
                  <a:pt x="3301" y="1452"/>
                  <a:pt x="3301" y="1454"/>
                  <a:pt x="3301" y="1455"/>
                </a:cubicBezTo>
                <a:cubicBezTo>
                  <a:pt x="3301" y="1459"/>
                  <a:pt x="3300" y="1461"/>
                  <a:pt x="3296" y="1461"/>
                </a:cubicBezTo>
                <a:cubicBezTo>
                  <a:pt x="3296" y="1461"/>
                  <a:pt x="3296" y="1461"/>
                  <a:pt x="3295" y="1461"/>
                </a:cubicBezTo>
                <a:cubicBezTo>
                  <a:pt x="3295" y="1461"/>
                  <a:pt x="3295" y="1461"/>
                  <a:pt x="3295" y="1470"/>
                </a:cubicBezTo>
                <a:cubicBezTo>
                  <a:pt x="3295" y="1470"/>
                  <a:pt x="3295" y="1470"/>
                  <a:pt x="3298" y="1470"/>
                </a:cubicBezTo>
                <a:cubicBezTo>
                  <a:pt x="3307" y="1470"/>
                  <a:pt x="3313" y="1467"/>
                  <a:pt x="3313" y="1457"/>
                </a:cubicBezTo>
                <a:cubicBezTo>
                  <a:pt x="3313" y="1455"/>
                  <a:pt x="3313" y="1453"/>
                  <a:pt x="3312" y="1450"/>
                </a:cubicBezTo>
                <a:cubicBezTo>
                  <a:pt x="3312" y="1448"/>
                  <a:pt x="3312" y="1445"/>
                  <a:pt x="3312" y="1443"/>
                </a:cubicBezTo>
                <a:cubicBezTo>
                  <a:pt x="3312" y="1441"/>
                  <a:pt x="3312" y="1438"/>
                  <a:pt x="3319" y="1437"/>
                </a:cubicBezTo>
                <a:close/>
                <a:moveTo>
                  <a:pt x="3366" y="1397"/>
                </a:moveTo>
                <a:cubicBezTo>
                  <a:pt x="3366" y="1397"/>
                  <a:pt x="3366" y="1397"/>
                  <a:pt x="3366" y="1397"/>
                </a:cubicBezTo>
                <a:cubicBezTo>
                  <a:pt x="3360" y="1397"/>
                  <a:pt x="3360" y="1397"/>
                  <a:pt x="3360" y="1397"/>
                </a:cubicBezTo>
                <a:cubicBezTo>
                  <a:pt x="3358" y="1398"/>
                  <a:pt x="3357" y="1400"/>
                  <a:pt x="3355" y="1400"/>
                </a:cubicBezTo>
                <a:cubicBezTo>
                  <a:pt x="3353" y="1402"/>
                  <a:pt x="3351" y="1402"/>
                  <a:pt x="3349" y="1403"/>
                </a:cubicBezTo>
                <a:cubicBezTo>
                  <a:pt x="3347" y="1404"/>
                  <a:pt x="3346" y="1405"/>
                  <a:pt x="3344" y="1405"/>
                </a:cubicBezTo>
                <a:cubicBezTo>
                  <a:pt x="3342" y="1406"/>
                  <a:pt x="3340" y="1407"/>
                  <a:pt x="3338" y="1408"/>
                </a:cubicBezTo>
                <a:cubicBezTo>
                  <a:pt x="3338" y="1408"/>
                  <a:pt x="3338" y="1408"/>
                  <a:pt x="3338" y="1418"/>
                </a:cubicBezTo>
                <a:cubicBezTo>
                  <a:pt x="3341" y="1417"/>
                  <a:pt x="3344" y="1416"/>
                  <a:pt x="3346" y="1415"/>
                </a:cubicBezTo>
                <a:cubicBezTo>
                  <a:pt x="3349" y="1414"/>
                  <a:pt x="3352" y="1413"/>
                  <a:pt x="3354" y="1411"/>
                </a:cubicBezTo>
                <a:cubicBezTo>
                  <a:pt x="3354" y="1411"/>
                  <a:pt x="3354" y="1411"/>
                  <a:pt x="3354" y="1470"/>
                </a:cubicBezTo>
                <a:cubicBezTo>
                  <a:pt x="3354" y="1470"/>
                  <a:pt x="3354" y="1470"/>
                  <a:pt x="3366" y="1470"/>
                </a:cubicBezTo>
                <a:cubicBezTo>
                  <a:pt x="3366" y="1470"/>
                  <a:pt x="3366" y="1470"/>
                  <a:pt x="3366" y="1397"/>
                </a:cubicBezTo>
                <a:close/>
                <a:moveTo>
                  <a:pt x="3412" y="1397"/>
                </a:moveTo>
                <a:cubicBezTo>
                  <a:pt x="3412" y="1397"/>
                  <a:pt x="3412" y="1397"/>
                  <a:pt x="3412" y="1397"/>
                </a:cubicBezTo>
                <a:cubicBezTo>
                  <a:pt x="3407" y="1397"/>
                  <a:pt x="3407" y="1397"/>
                  <a:pt x="3407" y="1397"/>
                </a:cubicBezTo>
                <a:cubicBezTo>
                  <a:pt x="3405" y="1398"/>
                  <a:pt x="3403" y="1400"/>
                  <a:pt x="3401" y="1400"/>
                </a:cubicBezTo>
                <a:cubicBezTo>
                  <a:pt x="3400" y="1402"/>
                  <a:pt x="3397" y="1402"/>
                  <a:pt x="3396" y="1403"/>
                </a:cubicBezTo>
                <a:cubicBezTo>
                  <a:pt x="3395" y="1405"/>
                  <a:pt x="3392" y="1405"/>
                  <a:pt x="3391" y="1406"/>
                </a:cubicBezTo>
                <a:cubicBezTo>
                  <a:pt x="3389" y="1407"/>
                  <a:pt x="3387" y="1408"/>
                  <a:pt x="3385" y="1408"/>
                </a:cubicBezTo>
                <a:cubicBezTo>
                  <a:pt x="3385" y="1408"/>
                  <a:pt x="3385" y="1408"/>
                  <a:pt x="3385" y="1418"/>
                </a:cubicBezTo>
                <a:cubicBezTo>
                  <a:pt x="3388" y="1417"/>
                  <a:pt x="3391" y="1416"/>
                  <a:pt x="3393" y="1415"/>
                </a:cubicBezTo>
                <a:cubicBezTo>
                  <a:pt x="3396" y="1414"/>
                  <a:pt x="3398" y="1413"/>
                  <a:pt x="3400" y="1411"/>
                </a:cubicBezTo>
                <a:cubicBezTo>
                  <a:pt x="3400" y="1411"/>
                  <a:pt x="3400" y="1411"/>
                  <a:pt x="3400" y="1470"/>
                </a:cubicBezTo>
                <a:cubicBezTo>
                  <a:pt x="3400" y="1470"/>
                  <a:pt x="3400" y="1470"/>
                  <a:pt x="3412" y="1470"/>
                </a:cubicBezTo>
                <a:cubicBezTo>
                  <a:pt x="3412" y="1470"/>
                  <a:pt x="3412" y="1470"/>
                  <a:pt x="3412" y="1397"/>
                </a:cubicBezTo>
                <a:close/>
                <a:moveTo>
                  <a:pt x="3458" y="1397"/>
                </a:moveTo>
                <a:cubicBezTo>
                  <a:pt x="3458" y="1397"/>
                  <a:pt x="3458" y="1397"/>
                  <a:pt x="3458" y="1397"/>
                </a:cubicBezTo>
                <a:cubicBezTo>
                  <a:pt x="3453" y="1397"/>
                  <a:pt x="3453" y="1397"/>
                  <a:pt x="3453" y="1397"/>
                </a:cubicBezTo>
                <a:cubicBezTo>
                  <a:pt x="3451" y="1398"/>
                  <a:pt x="3450" y="1400"/>
                  <a:pt x="3448" y="1400"/>
                </a:cubicBezTo>
                <a:cubicBezTo>
                  <a:pt x="3446" y="1402"/>
                  <a:pt x="3444" y="1402"/>
                  <a:pt x="3443" y="1403"/>
                </a:cubicBezTo>
                <a:cubicBezTo>
                  <a:pt x="3440" y="1405"/>
                  <a:pt x="3439" y="1405"/>
                  <a:pt x="3437" y="1406"/>
                </a:cubicBezTo>
                <a:cubicBezTo>
                  <a:pt x="3435" y="1407"/>
                  <a:pt x="3433" y="1408"/>
                  <a:pt x="3432" y="1408"/>
                </a:cubicBezTo>
                <a:cubicBezTo>
                  <a:pt x="3432" y="1408"/>
                  <a:pt x="3432" y="1408"/>
                  <a:pt x="3432" y="1418"/>
                </a:cubicBezTo>
                <a:cubicBezTo>
                  <a:pt x="3435" y="1417"/>
                  <a:pt x="3438" y="1416"/>
                  <a:pt x="3440" y="1415"/>
                </a:cubicBezTo>
                <a:cubicBezTo>
                  <a:pt x="3442" y="1414"/>
                  <a:pt x="3445" y="1413"/>
                  <a:pt x="3446" y="1411"/>
                </a:cubicBezTo>
                <a:cubicBezTo>
                  <a:pt x="3446" y="1411"/>
                  <a:pt x="3446" y="1411"/>
                  <a:pt x="3446" y="1470"/>
                </a:cubicBezTo>
                <a:cubicBezTo>
                  <a:pt x="3446" y="1470"/>
                  <a:pt x="3446" y="1470"/>
                  <a:pt x="3458" y="1470"/>
                </a:cubicBezTo>
                <a:cubicBezTo>
                  <a:pt x="3458" y="1470"/>
                  <a:pt x="3458" y="1470"/>
                  <a:pt x="3458" y="1397"/>
                </a:cubicBezTo>
                <a:close/>
                <a:moveTo>
                  <a:pt x="3207" y="1444"/>
                </a:moveTo>
                <a:cubicBezTo>
                  <a:pt x="3208" y="1446"/>
                  <a:pt x="3208" y="1447"/>
                  <a:pt x="3209" y="1448"/>
                </a:cubicBezTo>
                <a:cubicBezTo>
                  <a:pt x="3209" y="1450"/>
                  <a:pt x="3210" y="1452"/>
                  <a:pt x="3210" y="1453"/>
                </a:cubicBezTo>
                <a:cubicBezTo>
                  <a:pt x="3210" y="1455"/>
                  <a:pt x="3210" y="1457"/>
                  <a:pt x="3210" y="1458"/>
                </a:cubicBezTo>
                <a:cubicBezTo>
                  <a:pt x="3211" y="1461"/>
                  <a:pt x="3210" y="1463"/>
                  <a:pt x="3207" y="1463"/>
                </a:cubicBezTo>
                <a:cubicBezTo>
                  <a:pt x="3204" y="1463"/>
                  <a:pt x="3201" y="1463"/>
                  <a:pt x="3199" y="1463"/>
                </a:cubicBezTo>
                <a:cubicBezTo>
                  <a:pt x="3198" y="1463"/>
                  <a:pt x="3197" y="1463"/>
                  <a:pt x="3197" y="1463"/>
                </a:cubicBezTo>
                <a:cubicBezTo>
                  <a:pt x="3195" y="1465"/>
                  <a:pt x="3194" y="1466"/>
                  <a:pt x="3193" y="1467"/>
                </a:cubicBezTo>
                <a:cubicBezTo>
                  <a:pt x="3191" y="1470"/>
                  <a:pt x="3188" y="1470"/>
                  <a:pt x="3185" y="1468"/>
                </a:cubicBezTo>
                <a:cubicBezTo>
                  <a:pt x="3183" y="1466"/>
                  <a:pt x="3182" y="1463"/>
                  <a:pt x="3181" y="1461"/>
                </a:cubicBezTo>
                <a:cubicBezTo>
                  <a:pt x="3180" y="1459"/>
                  <a:pt x="3180" y="1457"/>
                  <a:pt x="3183" y="1456"/>
                </a:cubicBezTo>
                <a:cubicBezTo>
                  <a:pt x="3180" y="1456"/>
                  <a:pt x="3178" y="1456"/>
                  <a:pt x="3177" y="1456"/>
                </a:cubicBezTo>
                <a:cubicBezTo>
                  <a:pt x="3176" y="1458"/>
                  <a:pt x="3175" y="1460"/>
                  <a:pt x="3174" y="1462"/>
                </a:cubicBezTo>
                <a:cubicBezTo>
                  <a:pt x="3174" y="1463"/>
                  <a:pt x="3173" y="1463"/>
                  <a:pt x="3173" y="1464"/>
                </a:cubicBezTo>
                <a:cubicBezTo>
                  <a:pt x="3173" y="1467"/>
                  <a:pt x="3172" y="1469"/>
                  <a:pt x="3169" y="1468"/>
                </a:cubicBezTo>
                <a:cubicBezTo>
                  <a:pt x="3166" y="1468"/>
                  <a:pt x="3163" y="1467"/>
                  <a:pt x="3160" y="1466"/>
                </a:cubicBezTo>
                <a:cubicBezTo>
                  <a:pt x="3158" y="1465"/>
                  <a:pt x="3158" y="1464"/>
                  <a:pt x="3158" y="1462"/>
                </a:cubicBezTo>
                <a:cubicBezTo>
                  <a:pt x="3159" y="1461"/>
                  <a:pt x="3159" y="1460"/>
                  <a:pt x="3159" y="1460"/>
                </a:cubicBezTo>
                <a:cubicBezTo>
                  <a:pt x="3157" y="1459"/>
                  <a:pt x="3154" y="1458"/>
                  <a:pt x="3152" y="1457"/>
                </a:cubicBezTo>
                <a:cubicBezTo>
                  <a:pt x="3151" y="1456"/>
                  <a:pt x="3150" y="1454"/>
                  <a:pt x="3149" y="1452"/>
                </a:cubicBezTo>
                <a:cubicBezTo>
                  <a:pt x="3148" y="1450"/>
                  <a:pt x="3148" y="1449"/>
                  <a:pt x="3150" y="1447"/>
                </a:cubicBezTo>
                <a:cubicBezTo>
                  <a:pt x="3153" y="1445"/>
                  <a:pt x="3154" y="1442"/>
                  <a:pt x="3153" y="1438"/>
                </a:cubicBezTo>
                <a:cubicBezTo>
                  <a:pt x="3153" y="1436"/>
                  <a:pt x="3153" y="1434"/>
                  <a:pt x="3153" y="1432"/>
                </a:cubicBezTo>
                <a:cubicBezTo>
                  <a:pt x="3152" y="1431"/>
                  <a:pt x="3150" y="1431"/>
                  <a:pt x="3150" y="1430"/>
                </a:cubicBezTo>
                <a:cubicBezTo>
                  <a:pt x="3148" y="1428"/>
                  <a:pt x="3148" y="1426"/>
                  <a:pt x="3148" y="1424"/>
                </a:cubicBezTo>
                <a:cubicBezTo>
                  <a:pt x="3147" y="1421"/>
                  <a:pt x="3151" y="1419"/>
                  <a:pt x="3153" y="1418"/>
                </a:cubicBezTo>
                <a:cubicBezTo>
                  <a:pt x="3154" y="1419"/>
                  <a:pt x="3154" y="1419"/>
                  <a:pt x="3154" y="1420"/>
                </a:cubicBezTo>
                <a:cubicBezTo>
                  <a:pt x="3154" y="1421"/>
                  <a:pt x="3154" y="1422"/>
                  <a:pt x="3155" y="1423"/>
                </a:cubicBezTo>
                <a:cubicBezTo>
                  <a:pt x="3154" y="1423"/>
                  <a:pt x="3153" y="1423"/>
                  <a:pt x="3153" y="1423"/>
                </a:cubicBezTo>
                <a:cubicBezTo>
                  <a:pt x="3153" y="1424"/>
                  <a:pt x="3152" y="1425"/>
                  <a:pt x="3152" y="1427"/>
                </a:cubicBezTo>
                <a:cubicBezTo>
                  <a:pt x="3153" y="1427"/>
                  <a:pt x="3153" y="1427"/>
                  <a:pt x="3154" y="1427"/>
                </a:cubicBezTo>
                <a:cubicBezTo>
                  <a:pt x="3155" y="1425"/>
                  <a:pt x="3156" y="1425"/>
                  <a:pt x="3157" y="1423"/>
                </a:cubicBezTo>
                <a:cubicBezTo>
                  <a:pt x="3161" y="1417"/>
                  <a:pt x="3167" y="1413"/>
                  <a:pt x="3175" y="1411"/>
                </a:cubicBezTo>
                <a:cubicBezTo>
                  <a:pt x="3178" y="1411"/>
                  <a:pt x="3181" y="1410"/>
                  <a:pt x="3183" y="1407"/>
                </a:cubicBezTo>
                <a:cubicBezTo>
                  <a:pt x="3183" y="1406"/>
                  <a:pt x="3184" y="1406"/>
                  <a:pt x="3184" y="1406"/>
                </a:cubicBezTo>
                <a:cubicBezTo>
                  <a:pt x="3187" y="1406"/>
                  <a:pt x="3189" y="1403"/>
                  <a:pt x="3191" y="1401"/>
                </a:cubicBezTo>
                <a:cubicBezTo>
                  <a:pt x="3198" y="1394"/>
                  <a:pt x="3210" y="1393"/>
                  <a:pt x="3218" y="1400"/>
                </a:cubicBezTo>
                <a:cubicBezTo>
                  <a:pt x="3220" y="1402"/>
                  <a:pt x="3223" y="1404"/>
                  <a:pt x="3225" y="1406"/>
                </a:cubicBezTo>
                <a:cubicBezTo>
                  <a:pt x="3227" y="1407"/>
                  <a:pt x="3228" y="1409"/>
                  <a:pt x="3229" y="1411"/>
                </a:cubicBezTo>
                <a:cubicBezTo>
                  <a:pt x="3230" y="1412"/>
                  <a:pt x="3231" y="1412"/>
                  <a:pt x="3232" y="1411"/>
                </a:cubicBezTo>
                <a:cubicBezTo>
                  <a:pt x="3233" y="1411"/>
                  <a:pt x="3233" y="1410"/>
                  <a:pt x="3234" y="1409"/>
                </a:cubicBezTo>
                <a:cubicBezTo>
                  <a:pt x="3236" y="1406"/>
                  <a:pt x="3239" y="1406"/>
                  <a:pt x="3241" y="1410"/>
                </a:cubicBezTo>
                <a:cubicBezTo>
                  <a:pt x="3242" y="1413"/>
                  <a:pt x="3243" y="1415"/>
                  <a:pt x="3243" y="1419"/>
                </a:cubicBezTo>
                <a:cubicBezTo>
                  <a:pt x="3244" y="1423"/>
                  <a:pt x="3243" y="1427"/>
                  <a:pt x="3242" y="1432"/>
                </a:cubicBezTo>
                <a:cubicBezTo>
                  <a:pt x="3239" y="1438"/>
                  <a:pt x="3235" y="1442"/>
                  <a:pt x="3228" y="1442"/>
                </a:cubicBezTo>
                <a:cubicBezTo>
                  <a:pt x="3227" y="1442"/>
                  <a:pt x="3227" y="1442"/>
                  <a:pt x="3226" y="1442"/>
                </a:cubicBezTo>
                <a:cubicBezTo>
                  <a:pt x="3224" y="1441"/>
                  <a:pt x="3223" y="1442"/>
                  <a:pt x="3222" y="1444"/>
                </a:cubicBezTo>
                <a:cubicBezTo>
                  <a:pt x="3220" y="1448"/>
                  <a:pt x="3215" y="1450"/>
                  <a:pt x="3211" y="1447"/>
                </a:cubicBezTo>
                <a:cubicBezTo>
                  <a:pt x="3210" y="1446"/>
                  <a:pt x="3209" y="1445"/>
                  <a:pt x="3208" y="1444"/>
                </a:cubicBezTo>
                <a:cubicBezTo>
                  <a:pt x="3208" y="1444"/>
                  <a:pt x="3208" y="1444"/>
                  <a:pt x="3207" y="1444"/>
                </a:cubicBezTo>
                <a:close/>
                <a:moveTo>
                  <a:pt x="3202" y="1440"/>
                </a:moveTo>
                <a:cubicBezTo>
                  <a:pt x="3205" y="1441"/>
                  <a:pt x="3209" y="1442"/>
                  <a:pt x="3212" y="1445"/>
                </a:cubicBezTo>
                <a:cubicBezTo>
                  <a:pt x="3213" y="1447"/>
                  <a:pt x="3215" y="1448"/>
                  <a:pt x="3217" y="1447"/>
                </a:cubicBezTo>
                <a:cubicBezTo>
                  <a:pt x="3220" y="1446"/>
                  <a:pt x="3221" y="1444"/>
                  <a:pt x="3221" y="1441"/>
                </a:cubicBezTo>
                <a:cubicBezTo>
                  <a:pt x="3221" y="1441"/>
                  <a:pt x="3220" y="1441"/>
                  <a:pt x="3220" y="1442"/>
                </a:cubicBezTo>
                <a:cubicBezTo>
                  <a:pt x="3220" y="1443"/>
                  <a:pt x="3219" y="1444"/>
                  <a:pt x="3218" y="1445"/>
                </a:cubicBezTo>
                <a:cubicBezTo>
                  <a:pt x="3217" y="1446"/>
                  <a:pt x="3215" y="1446"/>
                  <a:pt x="3215" y="1446"/>
                </a:cubicBezTo>
                <a:cubicBezTo>
                  <a:pt x="3214" y="1446"/>
                  <a:pt x="3213" y="1444"/>
                  <a:pt x="3213" y="1444"/>
                </a:cubicBezTo>
                <a:cubicBezTo>
                  <a:pt x="3213" y="1441"/>
                  <a:pt x="3214" y="1439"/>
                  <a:pt x="3214" y="1437"/>
                </a:cubicBezTo>
                <a:cubicBezTo>
                  <a:pt x="3217" y="1438"/>
                  <a:pt x="3221" y="1439"/>
                  <a:pt x="3224" y="1440"/>
                </a:cubicBezTo>
                <a:cubicBezTo>
                  <a:pt x="3232" y="1441"/>
                  <a:pt x="3237" y="1439"/>
                  <a:pt x="3241" y="1431"/>
                </a:cubicBezTo>
                <a:cubicBezTo>
                  <a:pt x="3242" y="1426"/>
                  <a:pt x="3242" y="1421"/>
                  <a:pt x="3241" y="1416"/>
                </a:cubicBezTo>
                <a:cubicBezTo>
                  <a:pt x="3241" y="1414"/>
                  <a:pt x="3240" y="1412"/>
                  <a:pt x="3239" y="1410"/>
                </a:cubicBezTo>
                <a:cubicBezTo>
                  <a:pt x="3238" y="1409"/>
                  <a:pt x="3237" y="1408"/>
                  <a:pt x="3236" y="1410"/>
                </a:cubicBezTo>
                <a:cubicBezTo>
                  <a:pt x="3234" y="1412"/>
                  <a:pt x="3233" y="1413"/>
                  <a:pt x="3231" y="1414"/>
                </a:cubicBezTo>
                <a:cubicBezTo>
                  <a:pt x="3230" y="1414"/>
                  <a:pt x="3229" y="1415"/>
                  <a:pt x="3230" y="1416"/>
                </a:cubicBezTo>
                <a:cubicBezTo>
                  <a:pt x="3230" y="1419"/>
                  <a:pt x="3230" y="1423"/>
                  <a:pt x="3228" y="1426"/>
                </a:cubicBezTo>
                <a:cubicBezTo>
                  <a:pt x="3228" y="1424"/>
                  <a:pt x="3229" y="1422"/>
                  <a:pt x="3229" y="1420"/>
                </a:cubicBezTo>
                <a:cubicBezTo>
                  <a:pt x="3229" y="1419"/>
                  <a:pt x="3228" y="1419"/>
                  <a:pt x="3228" y="1419"/>
                </a:cubicBezTo>
                <a:cubicBezTo>
                  <a:pt x="3228" y="1419"/>
                  <a:pt x="3227" y="1419"/>
                  <a:pt x="3227" y="1419"/>
                </a:cubicBezTo>
                <a:cubicBezTo>
                  <a:pt x="3226" y="1421"/>
                  <a:pt x="3225" y="1422"/>
                  <a:pt x="3224" y="1423"/>
                </a:cubicBezTo>
                <a:cubicBezTo>
                  <a:pt x="3224" y="1423"/>
                  <a:pt x="3224" y="1423"/>
                  <a:pt x="3224" y="1423"/>
                </a:cubicBezTo>
                <a:cubicBezTo>
                  <a:pt x="3224" y="1422"/>
                  <a:pt x="3225" y="1420"/>
                  <a:pt x="3225" y="1418"/>
                </a:cubicBezTo>
                <a:cubicBezTo>
                  <a:pt x="3224" y="1419"/>
                  <a:pt x="3224" y="1419"/>
                  <a:pt x="3223" y="1420"/>
                </a:cubicBezTo>
                <a:cubicBezTo>
                  <a:pt x="3223" y="1420"/>
                  <a:pt x="3222" y="1421"/>
                  <a:pt x="3222" y="1422"/>
                </a:cubicBezTo>
                <a:cubicBezTo>
                  <a:pt x="3222" y="1418"/>
                  <a:pt x="3223" y="1418"/>
                  <a:pt x="3228" y="1417"/>
                </a:cubicBezTo>
                <a:cubicBezTo>
                  <a:pt x="3228" y="1417"/>
                  <a:pt x="3227" y="1416"/>
                  <a:pt x="3227" y="1416"/>
                </a:cubicBezTo>
                <a:cubicBezTo>
                  <a:pt x="3224" y="1417"/>
                  <a:pt x="3224" y="1415"/>
                  <a:pt x="3223" y="1413"/>
                </a:cubicBezTo>
                <a:cubicBezTo>
                  <a:pt x="3225" y="1412"/>
                  <a:pt x="3226" y="1412"/>
                  <a:pt x="3228" y="1412"/>
                </a:cubicBezTo>
                <a:cubicBezTo>
                  <a:pt x="3226" y="1409"/>
                  <a:pt x="3225" y="1406"/>
                  <a:pt x="3222" y="1406"/>
                </a:cubicBezTo>
                <a:cubicBezTo>
                  <a:pt x="3221" y="1406"/>
                  <a:pt x="3221" y="1406"/>
                  <a:pt x="3221" y="1405"/>
                </a:cubicBezTo>
                <a:cubicBezTo>
                  <a:pt x="3219" y="1403"/>
                  <a:pt x="3216" y="1401"/>
                  <a:pt x="3213" y="1399"/>
                </a:cubicBezTo>
                <a:cubicBezTo>
                  <a:pt x="3211" y="1398"/>
                  <a:pt x="3208" y="1397"/>
                  <a:pt x="3206" y="1397"/>
                </a:cubicBezTo>
                <a:cubicBezTo>
                  <a:pt x="3203" y="1397"/>
                  <a:pt x="3200" y="1398"/>
                  <a:pt x="3197" y="1399"/>
                </a:cubicBezTo>
                <a:cubicBezTo>
                  <a:pt x="3194" y="1400"/>
                  <a:pt x="3191" y="1402"/>
                  <a:pt x="3190" y="1405"/>
                </a:cubicBezTo>
                <a:cubicBezTo>
                  <a:pt x="3191" y="1405"/>
                  <a:pt x="3192" y="1405"/>
                  <a:pt x="3193" y="1405"/>
                </a:cubicBezTo>
                <a:cubicBezTo>
                  <a:pt x="3193" y="1406"/>
                  <a:pt x="3192" y="1406"/>
                  <a:pt x="3192" y="1406"/>
                </a:cubicBezTo>
                <a:cubicBezTo>
                  <a:pt x="3189" y="1407"/>
                  <a:pt x="3186" y="1406"/>
                  <a:pt x="3184" y="1408"/>
                </a:cubicBezTo>
                <a:cubicBezTo>
                  <a:pt x="3181" y="1412"/>
                  <a:pt x="3177" y="1416"/>
                  <a:pt x="3173" y="1420"/>
                </a:cubicBezTo>
                <a:cubicBezTo>
                  <a:pt x="3172" y="1422"/>
                  <a:pt x="3171" y="1425"/>
                  <a:pt x="3170" y="1427"/>
                </a:cubicBezTo>
                <a:cubicBezTo>
                  <a:pt x="3170" y="1427"/>
                  <a:pt x="3170" y="1428"/>
                  <a:pt x="3170" y="1429"/>
                </a:cubicBezTo>
                <a:cubicBezTo>
                  <a:pt x="3172" y="1431"/>
                  <a:pt x="3173" y="1433"/>
                  <a:pt x="3174" y="1434"/>
                </a:cubicBezTo>
                <a:cubicBezTo>
                  <a:pt x="3175" y="1433"/>
                  <a:pt x="3177" y="1431"/>
                  <a:pt x="3178" y="1430"/>
                </a:cubicBezTo>
                <a:cubicBezTo>
                  <a:pt x="3177" y="1431"/>
                  <a:pt x="3177" y="1433"/>
                  <a:pt x="3176" y="1434"/>
                </a:cubicBezTo>
                <a:cubicBezTo>
                  <a:pt x="3175" y="1435"/>
                  <a:pt x="3175" y="1436"/>
                  <a:pt x="3174" y="1438"/>
                </a:cubicBezTo>
                <a:cubicBezTo>
                  <a:pt x="3174" y="1439"/>
                  <a:pt x="3174" y="1440"/>
                  <a:pt x="3175" y="1441"/>
                </a:cubicBezTo>
                <a:cubicBezTo>
                  <a:pt x="3177" y="1444"/>
                  <a:pt x="3180" y="1444"/>
                  <a:pt x="3184" y="1442"/>
                </a:cubicBezTo>
                <a:cubicBezTo>
                  <a:pt x="3186" y="1441"/>
                  <a:pt x="3189" y="1440"/>
                  <a:pt x="3192" y="1439"/>
                </a:cubicBezTo>
                <a:cubicBezTo>
                  <a:pt x="3193" y="1438"/>
                  <a:pt x="3195" y="1438"/>
                  <a:pt x="3195" y="1436"/>
                </a:cubicBezTo>
                <a:cubicBezTo>
                  <a:pt x="3195" y="1433"/>
                  <a:pt x="3195" y="1429"/>
                  <a:pt x="3195" y="1426"/>
                </a:cubicBezTo>
                <a:cubicBezTo>
                  <a:pt x="3195" y="1423"/>
                  <a:pt x="3195" y="1420"/>
                  <a:pt x="3195" y="1417"/>
                </a:cubicBezTo>
                <a:cubicBezTo>
                  <a:pt x="3195" y="1420"/>
                  <a:pt x="3196" y="1423"/>
                  <a:pt x="3196" y="1425"/>
                </a:cubicBezTo>
                <a:cubicBezTo>
                  <a:pt x="3197" y="1430"/>
                  <a:pt x="3197" y="1434"/>
                  <a:pt x="3196" y="1438"/>
                </a:cubicBezTo>
                <a:cubicBezTo>
                  <a:pt x="3195" y="1439"/>
                  <a:pt x="3195" y="1440"/>
                  <a:pt x="3194" y="1440"/>
                </a:cubicBezTo>
                <a:cubicBezTo>
                  <a:pt x="3191" y="1440"/>
                  <a:pt x="3188" y="1442"/>
                  <a:pt x="3184" y="1444"/>
                </a:cubicBezTo>
                <a:cubicBezTo>
                  <a:pt x="3179" y="1447"/>
                  <a:pt x="3176" y="1445"/>
                  <a:pt x="3172" y="1441"/>
                </a:cubicBezTo>
                <a:cubicBezTo>
                  <a:pt x="3172" y="1441"/>
                  <a:pt x="3172" y="1440"/>
                  <a:pt x="3172" y="1439"/>
                </a:cubicBezTo>
                <a:cubicBezTo>
                  <a:pt x="3173" y="1437"/>
                  <a:pt x="3172" y="1435"/>
                  <a:pt x="3171" y="1433"/>
                </a:cubicBezTo>
                <a:cubicBezTo>
                  <a:pt x="3169" y="1431"/>
                  <a:pt x="3168" y="1429"/>
                  <a:pt x="3169" y="1426"/>
                </a:cubicBezTo>
                <a:cubicBezTo>
                  <a:pt x="3169" y="1424"/>
                  <a:pt x="3170" y="1422"/>
                  <a:pt x="3172" y="1421"/>
                </a:cubicBezTo>
                <a:cubicBezTo>
                  <a:pt x="3173" y="1418"/>
                  <a:pt x="3175" y="1415"/>
                  <a:pt x="3177" y="1413"/>
                </a:cubicBezTo>
                <a:cubicBezTo>
                  <a:pt x="3177" y="1413"/>
                  <a:pt x="3176" y="1413"/>
                  <a:pt x="3176" y="1413"/>
                </a:cubicBezTo>
                <a:cubicBezTo>
                  <a:pt x="3171" y="1414"/>
                  <a:pt x="3167" y="1415"/>
                  <a:pt x="3163" y="1419"/>
                </a:cubicBezTo>
                <a:cubicBezTo>
                  <a:pt x="3158" y="1423"/>
                  <a:pt x="3155" y="1428"/>
                  <a:pt x="3155" y="1435"/>
                </a:cubicBezTo>
                <a:cubicBezTo>
                  <a:pt x="3155" y="1442"/>
                  <a:pt x="3157" y="1448"/>
                  <a:pt x="3161" y="1453"/>
                </a:cubicBezTo>
                <a:cubicBezTo>
                  <a:pt x="3161" y="1454"/>
                  <a:pt x="3162" y="1456"/>
                  <a:pt x="3161" y="1457"/>
                </a:cubicBezTo>
                <a:cubicBezTo>
                  <a:pt x="3161" y="1459"/>
                  <a:pt x="3161" y="1460"/>
                  <a:pt x="3160" y="1461"/>
                </a:cubicBezTo>
                <a:cubicBezTo>
                  <a:pt x="3160" y="1463"/>
                  <a:pt x="3160" y="1464"/>
                  <a:pt x="3161" y="1465"/>
                </a:cubicBezTo>
                <a:cubicBezTo>
                  <a:pt x="3164" y="1465"/>
                  <a:pt x="3167" y="1466"/>
                  <a:pt x="3170" y="1466"/>
                </a:cubicBezTo>
                <a:cubicBezTo>
                  <a:pt x="3171" y="1466"/>
                  <a:pt x="3172" y="1465"/>
                  <a:pt x="3172" y="1465"/>
                </a:cubicBezTo>
                <a:cubicBezTo>
                  <a:pt x="3172" y="1464"/>
                  <a:pt x="3172" y="1462"/>
                  <a:pt x="3173" y="1461"/>
                </a:cubicBezTo>
                <a:cubicBezTo>
                  <a:pt x="3175" y="1459"/>
                  <a:pt x="3175" y="1456"/>
                  <a:pt x="3175" y="1453"/>
                </a:cubicBezTo>
                <a:cubicBezTo>
                  <a:pt x="3175" y="1453"/>
                  <a:pt x="3175" y="1453"/>
                  <a:pt x="3175" y="1452"/>
                </a:cubicBezTo>
                <a:cubicBezTo>
                  <a:pt x="3175" y="1452"/>
                  <a:pt x="3175" y="1452"/>
                  <a:pt x="3175" y="1452"/>
                </a:cubicBezTo>
                <a:cubicBezTo>
                  <a:pt x="3175" y="1454"/>
                  <a:pt x="3177" y="1454"/>
                  <a:pt x="3179" y="1454"/>
                </a:cubicBezTo>
                <a:cubicBezTo>
                  <a:pt x="3179" y="1454"/>
                  <a:pt x="3181" y="1454"/>
                  <a:pt x="3181" y="1454"/>
                </a:cubicBezTo>
                <a:cubicBezTo>
                  <a:pt x="3184" y="1454"/>
                  <a:pt x="3187" y="1455"/>
                  <a:pt x="3188" y="1451"/>
                </a:cubicBezTo>
                <a:cubicBezTo>
                  <a:pt x="3188" y="1453"/>
                  <a:pt x="3188" y="1455"/>
                  <a:pt x="3188" y="1455"/>
                </a:cubicBezTo>
                <a:cubicBezTo>
                  <a:pt x="3186" y="1456"/>
                  <a:pt x="3185" y="1457"/>
                  <a:pt x="3184" y="1457"/>
                </a:cubicBezTo>
                <a:cubicBezTo>
                  <a:pt x="3182" y="1458"/>
                  <a:pt x="3182" y="1460"/>
                  <a:pt x="3183" y="1461"/>
                </a:cubicBezTo>
                <a:cubicBezTo>
                  <a:pt x="3184" y="1463"/>
                  <a:pt x="3185" y="1465"/>
                  <a:pt x="3186" y="1467"/>
                </a:cubicBezTo>
                <a:cubicBezTo>
                  <a:pt x="3188" y="1468"/>
                  <a:pt x="3190" y="1468"/>
                  <a:pt x="3192" y="1466"/>
                </a:cubicBezTo>
                <a:cubicBezTo>
                  <a:pt x="3192" y="1465"/>
                  <a:pt x="3193" y="1465"/>
                  <a:pt x="3193" y="1464"/>
                </a:cubicBezTo>
                <a:cubicBezTo>
                  <a:pt x="3195" y="1463"/>
                  <a:pt x="3197" y="1461"/>
                  <a:pt x="3198" y="1460"/>
                </a:cubicBezTo>
                <a:cubicBezTo>
                  <a:pt x="3203" y="1456"/>
                  <a:pt x="3204" y="1450"/>
                  <a:pt x="3206" y="1444"/>
                </a:cubicBezTo>
                <a:cubicBezTo>
                  <a:pt x="3206" y="1444"/>
                  <a:pt x="3205" y="1443"/>
                  <a:pt x="3205" y="1442"/>
                </a:cubicBezTo>
                <a:cubicBezTo>
                  <a:pt x="3204" y="1441"/>
                  <a:pt x="3203" y="1440"/>
                  <a:pt x="3202" y="1440"/>
                </a:cubicBezTo>
                <a:close/>
                <a:moveTo>
                  <a:pt x="3155" y="1446"/>
                </a:moveTo>
                <a:cubicBezTo>
                  <a:pt x="3154" y="1447"/>
                  <a:pt x="3152" y="1448"/>
                  <a:pt x="3151" y="1449"/>
                </a:cubicBezTo>
                <a:cubicBezTo>
                  <a:pt x="3151" y="1449"/>
                  <a:pt x="3150" y="1450"/>
                  <a:pt x="3150" y="1451"/>
                </a:cubicBezTo>
                <a:cubicBezTo>
                  <a:pt x="3150" y="1453"/>
                  <a:pt x="3155" y="1458"/>
                  <a:pt x="3158" y="1457"/>
                </a:cubicBezTo>
                <a:cubicBezTo>
                  <a:pt x="3159" y="1457"/>
                  <a:pt x="3160" y="1456"/>
                  <a:pt x="3159" y="1455"/>
                </a:cubicBezTo>
                <a:cubicBezTo>
                  <a:pt x="3158" y="1452"/>
                  <a:pt x="3156" y="1449"/>
                  <a:pt x="3155" y="1446"/>
                </a:cubicBezTo>
                <a:close/>
                <a:moveTo>
                  <a:pt x="3207" y="1448"/>
                </a:moveTo>
                <a:cubicBezTo>
                  <a:pt x="3205" y="1453"/>
                  <a:pt x="3203" y="1457"/>
                  <a:pt x="3200" y="1461"/>
                </a:cubicBezTo>
                <a:cubicBezTo>
                  <a:pt x="3203" y="1461"/>
                  <a:pt x="3205" y="1462"/>
                  <a:pt x="3208" y="1461"/>
                </a:cubicBezTo>
                <a:cubicBezTo>
                  <a:pt x="3208" y="1461"/>
                  <a:pt x="3209" y="1460"/>
                  <a:pt x="3209" y="1460"/>
                </a:cubicBezTo>
                <a:cubicBezTo>
                  <a:pt x="3209" y="1457"/>
                  <a:pt x="3209" y="1455"/>
                  <a:pt x="3208" y="1452"/>
                </a:cubicBezTo>
                <a:cubicBezTo>
                  <a:pt x="3208" y="1451"/>
                  <a:pt x="3208" y="1450"/>
                  <a:pt x="3207" y="1448"/>
                </a:cubicBezTo>
                <a:close/>
                <a:moveTo>
                  <a:pt x="3155" y="1428"/>
                </a:moveTo>
                <a:cubicBezTo>
                  <a:pt x="3154" y="1428"/>
                  <a:pt x="3153" y="1429"/>
                  <a:pt x="3153" y="1429"/>
                </a:cubicBezTo>
                <a:cubicBezTo>
                  <a:pt x="3152" y="1429"/>
                  <a:pt x="3151" y="1429"/>
                  <a:pt x="3151" y="1428"/>
                </a:cubicBezTo>
                <a:cubicBezTo>
                  <a:pt x="3151" y="1428"/>
                  <a:pt x="3150" y="1427"/>
                  <a:pt x="3150" y="1426"/>
                </a:cubicBezTo>
                <a:cubicBezTo>
                  <a:pt x="3151" y="1424"/>
                  <a:pt x="3152" y="1422"/>
                  <a:pt x="3152" y="1420"/>
                </a:cubicBezTo>
                <a:cubicBezTo>
                  <a:pt x="3152" y="1420"/>
                  <a:pt x="3152" y="1420"/>
                  <a:pt x="3152" y="1420"/>
                </a:cubicBezTo>
                <a:cubicBezTo>
                  <a:pt x="3151" y="1421"/>
                  <a:pt x="3150" y="1422"/>
                  <a:pt x="3149" y="1423"/>
                </a:cubicBezTo>
                <a:cubicBezTo>
                  <a:pt x="3148" y="1424"/>
                  <a:pt x="3150" y="1429"/>
                  <a:pt x="3151" y="1430"/>
                </a:cubicBezTo>
                <a:cubicBezTo>
                  <a:pt x="3153" y="1431"/>
                  <a:pt x="3155" y="1430"/>
                  <a:pt x="3155" y="1428"/>
                </a:cubicBezTo>
                <a:close/>
                <a:moveTo>
                  <a:pt x="3155" y="1446"/>
                </a:moveTo>
                <a:cubicBezTo>
                  <a:pt x="3154" y="1447"/>
                  <a:pt x="3152" y="1448"/>
                  <a:pt x="3151" y="1449"/>
                </a:cubicBezTo>
                <a:cubicBezTo>
                  <a:pt x="3150" y="1449"/>
                  <a:pt x="3150" y="1450"/>
                  <a:pt x="3150" y="1451"/>
                </a:cubicBezTo>
                <a:cubicBezTo>
                  <a:pt x="3150" y="1454"/>
                  <a:pt x="3155" y="1458"/>
                  <a:pt x="3158" y="1458"/>
                </a:cubicBezTo>
                <a:cubicBezTo>
                  <a:pt x="3159" y="1458"/>
                  <a:pt x="3160" y="1457"/>
                  <a:pt x="3159" y="1455"/>
                </a:cubicBezTo>
                <a:cubicBezTo>
                  <a:pt x="3158" y="1452"/>
                  <a:pt x="3156" y="1449"/>
                  <a:pt x="3155" y="1446"/>
                </a:cubicBezTo>
                <a:close/>
                <a:moveTo>
                  <a:pt x="3207" y="1448"/>
                </a:moveTo>
                <a:cubicBezTo>
                  <a:pt x="3205" y="1453"/>
                  <a:pt x="3202" y="1457"/>
                  <a:pt x="3200" y="1462"/>
                </a:cubicBezTo>
                <a:cubicBezTo>
                  <a:pt x="3203" y="1462"/>
                  <a:pt x="3205" y="1462"/>
                  <a:pt x="3208" y="1462"/>
                </a:cubicBezTo>
                <a:cubicBezTo>
                  <a:pt x="3208" y="1462"/>
                  <a:pt x="3209" y="1460"/>
                  <a:pt x="3209" y="1460"/>
                </a:cubicBezTo>
                <a:cubicBezTo>
                  <a:pt x="3209" y="1457"/>
                  <a:pt x="3209" y="1455"/>
                  <a:pt x="3208" y="1452"/>
                </a:cubicBezTo>
                <a:cubicBezTo>
                  <a:pt x="3208" y="1451"/>
                  <a:pt x="3207" y="1450"/>
                  <a:pt x="3207" y="1448"/>
                </a:cubicBezTo>
                <a:close/>
                <a:moveTo>
                  <a:pt x="3154" y="1428"/>
                </a:moveTo>
                <a:cubicBezTo>
                  <a:pt x="3154" y="1428"/>
                  <a:pt x="3153" y="1429"/>
                  <a:pt x="3152" y="1429"/>
                </a:cubicBezTo>
                <a:cubicBezTo>
                  <a:pt x="3152" y="1429"/>
                  <a:pt x="3151" y="1429"/>
                  <a:pt x="3151" y="1428"/>
                </a:cubicBezTo>
                <a:cubicBezTo>
                  <a:pt x="3150" y="1428"/>
                  <a:pt x="3150" y="1427"/>
                  <a:pt x="3150" y="1426"/>
                </a:cubicBezTo>
                <a:cubicBezTo>
                  <a:pt x="3151" y="1424"/>
                  <a:pt x="3151" y="1422"/>
                  <a:pt x="3152" y="1420"/>
                </a:cubicBezTo>
                <a:cubicBezTo>
                  <a:pt x="3152" y="1420"/>
                  <a:pt x="3152" y="1420"/>
                  <a:pt x="3151" y="1420"/>
                </a:cubicBezTo>
                <a:cubicBezTo>
                  <a:pt x="3150" y="1421"/>
                  <a:pt x="3149" y="1422"/>
                  <a:pt x="3148" y="1423"/>
                </a:cubicBezTo>
                <a:cubicBezTo>
                  <a:pt x="3148" y="1424"/>
                  <a:pt x="3149" y="1430"/>
                  <a:pt x="3151" y="1430"/>
                </a:cubicBezTo>
                <a:cubicBezTo>
                  <a:pt x="3152" y="1431"/>
                  <a:pt x="3154" y="1430"/>
                  <a:pt x="3154" y="1428"/>
                </a:cubicBezTo>
                <a:close/>
                <a:moveTo>
                  <a:pt x="3207" y="1420"/>
                </a:moveTo>
                <a:cubicBezTo>
                  <a:pt x="3210" y="1416"/>
                  <a:pt x="3210" y="1416"/>
                  <a:pt x="3214" y="1415"/>
                </a:cubicBezTo>
                <a:cubicBezTo>
                  <a:pt x="3214" y="1417"/>
                  <a:pt x="3215" y="1418"/>
                  <a:pt x="3216" y="1418"/>
                </a:cubicBezTo>
                <a:cubicBezTo>
                  <a:pt x="3214" y="1419"/>
                  <a:pt x="3212" y="1421"/>
                  <a:pt x="3210" y="1422"/>
                </a:cubicBezTo>
                <a:cubicBezTo>
                  <a:pt x="3209" y="1421"/>
                  <a:pt x="3209" y="1421"/>
                  <a:pt x="3208" y="1419"/>
                </a:cubicBezTo>
                <a:cubicBezTo>
                  <a:pt x="3208" y="1419"/>
                  <a:pt x="3208" y="1419"/>
                  <a:pt x="3207" y="1420"/>
                </a:cubicBezTo>
                <a:close/>
                <a:moveTo>
                  <a:pt x="3212" y="1419"/>
                </a:moveTo>
                <a:cubicBezTo>
                  <a:pt x="3212" y="1419"/>
                  <a:pt x="3211" y="1419"/>
                  <a:pt x="3211" y="1419"/>
                </a:cubicBezTo>
                <a:cubicBezTo>
                  <a:pt x="3210" y="1419"/>
                  <a:pt x="3209" y="1419"/>
                  <a:pt x="3209" y="1420"/>
                </a:cubicBezTo>
                <a:cubicBezTo>
                  <a:pt x="3209" y="1420"/>
                  <a:pt x="3210" y="1421"/>
                  <a:pt x="3210" y="1421"/>
                </a:cubicBezTo>
                <a:cubicBezTo>
                  <a:pt x="3211" y="1421"/>
                  <a:pt x="3211" y="1420"/>
                  <a:pt x="3212" y="1419"/>
                </a:cubicBezTo>
                <a:close/>
                <a:moveTo>
                  <a:pt x="3194" y="1409"/>
                </a:moveTo>
                <a:cubicBezTo>
                  <a:pt x="3187" y="1409"/>
                  <a:pt x="3184" y="1411"/>
                  <a:pt x="3183" y="1419"/>
                </a:cubicBezTo>
                <a:cubicBezTo>
                  <a:pt x="3184" y="1417"/>
                  <a:pt x="3186" y="1415"/>
                  <a:pt x="3187" y="1412"/>
                </a:cubicBezTo>
                <a:cubicBezTo>
                  <a:pt x="3187" y="1412"/>
                  <a:pt x="3187" y="1412"/>
                  <a:pt x="3187" y="1412"/>
                </a:cubicBezTo>
                <a:cubicBezTo>
                  <a:pt x="3187" y="1414"/>
                  <a:pt x="3188" y="1414"/>
                  <a:pt x="3188" y="1415"/>
                </a:cubicBezTo>
                <a:cubicBezTo>
                  <a:pt x="3189" y="1412"/>
                  <a:pt x="3190" y="1410"/>
                  <a:pt x="3194" y="1409"/>
                </a:cubicBezTo>
                <a:close/>
                <a:moveTo>
                  <a:pt x="3237" y="1411"/>
                </a:moveTo>
                <a:cubicBezTo>
                  <a:pt x="3236" y="1412"/>
                  <a:pt x="3234" y="1414"/>
                  <a:pt x="3232" y="1415"/>
                </a:cubicBezTo>
                <a:cubicBezTo>
                  <a:pt x="3234" y="1416"/>
                  <a:pt x="3236" y="1414"/>
                  <a:pt x="3237" y="1411"/>
                </a:cubicBezTo>
                <a:close/>
                <a:moveTo>
                  <a:pt x="3204" y="1413"/>
                </a:moveTo>
                <a:cubicBezTo>
                  <a:pt x="3205" y="1412"/>
                  <a:pt x="3206" y="1410"/>
                  <a:pt x="3208" y="1409"/>
                </a:cubicBezTo>
                <a:cubicBezTo>
                  <a:pt x="3204" y="1410"/>
                  <a:pt x="3203" y="1411"/>
                  <a:pt x="3204" y="1413"/>
                </a:cubicBezTo>
                <a:close/>
                <a:moveTo>
                  <a:pt x="3214" y="1435"/>
                </a:moveTo>
                <a:cubicBezTo>
                  <a:pt x="3212" y="1435"/>
                  <a:pt x="3212" y="1436"/>
                  <a:pt x="3212" y="1437"/>
                </a:cubicBezTo>
                <a:cubicBezTo>
                  <a:pt x="3212" y="1436"/>
                  <a:pt x="3213" y="1435"/>
                  <a:pt x="3214" y="1435"/>
                </a:cubicBezTo>
                <a:close/>
                <a:moveTo>
                  <a:pt x="3212" y="1419"/>
                </a:moveTo>
                <a:cubicBezTo>
                  <a:pt x="3212" y="1419"/>
                  <a:pt x="3211" y="1418"/>
                  <a:pt x="3211" y="1418"/>
                </a:cubicBezTo>
                <a:cubicBezTo>
                  <a:pt x="3210" y="1418"/>
                  <a:pt x="3210" y="1419"/>
                  <a:pt x="3210" y="1419"/>
                </a:cubicBezTo>
                <a:cubicBezTo>
                  <a:pt x="3210" y="1420"/>
                  <a:pt x="3210" y="1420"/>
                  <a:pt x="3210" y="1421"/>
                </a:cubicBezTo>
                <a:cubicBezTo>
                  <a:pt x="3211" y="1420"/>
                  <a:pt x="3211" y="1420"/>
                  <a:pt x="3212" y="1419"/>
                </a:cubicBezTo>
                <a:close/>
                <a:moveTo>
                  <a:pt x="3504" y="1397"/>
                </a:moveTo>
                <a:cubicBezTo>
                  <a:pt x="3504" y="1397"/>
                  <a:pt x="3504" y="1397"/>
                  <a:pt x="3504" y="1397"/>
                </a:cubicBezTo>
                <a:cubicBezTo>
                  <a:pt x="3499" y="1397"/>
                  <a:pt x="3499" y="1397"/>
                  <a:pt x="3499" y="1397"/>
                </a:cubicBezTo>
                <a:cubicBezTo>
                  <a:pt x="3497" y="1398"/>
                  <a:pt x="3496" y="1400"/>
                  <a:pt x="3494" y="1400"/>
                </a:cubicBezTo>
                <a:cubicBezTo>
                  <a:pt x="3492" y="1402"/>
                  <a:pt x="3490" y="1402"/>
                  <a:pt x="3488" y="1403"/>
                </a:cubicBezTo>
                <a:cubicBezTo>
                  <a:pt x="3486" y="1405"/>
                  <a:pt x="3485" y="1405"/>
                  <a:pt x="3483" y="1406"/>
                </a:cubicBezTo>
                <a:cubicBezTo>
                  <a:pt x="3481" y="1407"/>
                  <a:pt x="3479" y="1408"/>
                  <a:pt x="3477" y="1408"/>
                </a:cubicBezTo>
                <a:cubicBezTo>
                  <a:pt x="3477" y="1408"/>
                  <a:pt x="3477" y="1408"/>
                  <a:pt x="3477" y="1418"/>
                </a:cubicBezTo>
                <a:cubicBezTo>
                  <a:pt x="3480" y="1417"/>
                  <a:pt x="3483" y="1416"/>
                  <a:pt x="3486" y="1415"/>
                </a:cubicBezTo>
                <a:cubicBezTo>
                  <a:pt x="3488" y="1414"/>
                  <a:pt x="3491" y="1413"/>
                  <a:pt x="3492" y="1411"/>
                </a:cubicBezTo>
                <a:cubicBezTo>
                  <a:pt x="3492" y="1411"/>
                  <a:pt x="3492" y="1411"/>
                  <a:pt x="3492" y="1470"/>
                </a:cubicBezTo>
                <a:cubicBezTo>
                  <a:pt x="3492" y="1470"/>
                  <a:pt x="3492" y="1470"/>
                  <a:pt x="3504" y="1470"/>
                </a:cubicBezTo>
                <a:cubicBezTo>
                  <a:pt x="3504" y="1470"/>
                  <a:pt x="3504" y="1470"/>
                  <a:pt x="3504" y="1397"/>
                </a:cubicBezTo>
                <a:close/>
                <a:moveTo>
                  <a:pt x="3625" y="1397"/>
                </a:moveTo>
                <a:cubicBezTo>
                  <a:pt x="3625" y="1397"/>
                  <a:pt x="3625" y="1397"/>
                  <a:pt x="3625" y="1397"/>
                </a:cubicBezTo>
                <a:cubicBezTo>
                  <a:pt x="3620" y="1397"/>
                  <a:pt x="3620" y="1397"/>
                  <a:pt x="3620" y="1397"/>
                </a:cubicBezTo>
                <a:cubicBezTo>
                  <a:pt x="3618" y="1398"/>
                  <a:pt x="3617" y="1400"/>
                  <a:pt x="3614" y="1400"/>
                </a:cubicBezTo>
                <a:cubicBezTo>
                  <a:pt x="3613" y="1402"/>
                  <a:pt x="3611" y="1402"/>
                  <a:pt x="3609" y="1403"/>
                </a:cubicBezTo>
                <a:cubicBezTo>
                  <a:pt x="3608" y="1405"/>
                  <a:pt x="3606" y="1405"/>
                  <a:pt x="3604" y="1406"/>
                </a:cubicBezTo>
                <a:cubicBezTo>
                  <a:pt x="3602" y="1407"/>
                  <a:pt x="3601" y="1408"/>
                  <a:pt x="3598" y="1408"/>
                </a:cubicBezTo>
                <a:cubicBezTo>
                  <a:pt x="3598" y="1408"/>
                  <a:pt x="3598" y="1408"/>
                  <a:pt x="3598" y="1418"/>
                </a:cubicBezTo>
                <a:cubicBezTo>
                  <a:pt x="3601" y="1417"/>
                  <a:pt x="3604" y="1416"/>
                  <a:pt x="3607" y="1415"/>
                </a:cubicBezTo>
                <a:cubicBezTo>
                  <a:pt x="3609" y="1414"/>
                  <a:pt x="3611" y="1413"/>
                  <a:pt x="3614" y="1411"/>
                </a:cubicBezTo>
                <a:cubicBezTo>
                  <a:pt x="3614" y="1411"/>
                  <a:pt x="3614" y="1411"/>
                  <a:pt x="3614" y="1470"/>
                </a:cubicBezTo>
                <a:cubicBezTo>
                  <a:pt x="3614" y="1470"/>
                  <a:pt x="3614" y="1470"/>
                  <a:pt x="3625" y="1470"/>
                </a:cubicBezTo>
                <a:cubicBezTo>
                  <a:pt x="3625" y="1470"/>
                  <a:pt x="3625" y="1470"/>
                  <a:pt x="3625" y="1397"/>
                </a:cubicBezTo>
                <a:close/>
                <a:moveTo>
                  <a:pt x="3672" y="1397"/>
                </a:moveTo>
                <a:cubicBezTo>
                  <a:pt x="3672" y="1397"/>
                  <a:pt x="3672" y="1397"/>
                  <a:pt x="3672" y="1397"/>
                </a:cubicBezTo>
                <a:cubicBezTo>
                  <a:pt x="3667" y="1397"/>
                  <a:pt x="3667" y="1397"/>
                  <a:pt x="3667" y="1397"/>
                </a:cubicBezTo>
                <a:cubicBezTo>
                  <a:pt x="3665" y="1398"/>
                  <a:pt x="3664" y="1400"/>
                  <a:pt x="3661" y="1400"/>
                </a:cubicBezTo>
                <a:cubicBezTo>
                  <a:pt x="3660" y="1402"/>
                  <a:pt x="3658" y="1402"/>
                  <a:pt x="3656" y="1403"/>
                </a:cubicBezTo>
                <a:cubicBezTo>
                  <a:pt x="3655" y="1405"/>
                  <a:pt x="3653" y="1405"/>
                  <a:pt x="3651" y="1406"/>
                </a:cubicBezTo>
                <a:cubicBezTo>
                  <a:pt x="3649" y="1407"/>
                  <a:pt x="3648" y="1408"/>
                  <a:pt x="3645" y="1408"/>
                </a:cubicBezTo>
                <a:cubicBezTo>
                  <a:pt x="3645" y="1408"/>
                  <a:pt x="3645" y="1408"/>
                  <a:pt x="3645" y="1418"/>
                </a:cubicBezTo>
                <a:cubicBezTo>
                  <a:pt x="3648" y="1417"/>
                  <a:pt x="3651" y="1416"/>
                  <a:pt x="3653" y="1415"/>
                </a:cubicBezTo>
                <a:cubicBezTo>
                  <a:pt x="3656" y="1414"/>
                  <a:pt x="3659" y="1413"/>
                  <a:pt x="3661" y="1411"/>
                </a:cubicBezTo>
                <a:cubicBezTo>
                  <a:pt x="3661" y="1411"/>
                  <a:pt x="3661" y="1411"/>
                  <a:pt x="3661" y="1470"/>
                </a:cubicBezTo>
                <a:cubicBezTo>
                  <a:pt x="3661" y="1470"/>
                  <a:pt x="3661" y="1470"/>
                  <a:pt x="3672" y="1470"/>
                </a:cubicBezTo>
                <a:cubicBezTo>
                  <a:pt x="3672" y="1470"/>
                  <a:pt x="3672" y="1470"/>
                  <a:pt x="3672" y="1397"/>
                </a:cubicBezTo>
                <a:close/>
                <a:moveTo>
                  <a:pt x="3718" y="1397"/>
                </a:moveTo>
                <a:cubicBezTo>
                  <a:pt x="3718" y="1397"/>
                  <a:pt x="3718" y="1397"/>
                  <a:pt x="3718" y="1397"/>
                </a:cubicBezTo>
                <a:cubicBezTo>
                  <a:pt x="3714" y="1397"/>
                  <a:pt x="3714" y="1397"/>
                  <a:pt x="3714" y="1397"/>
                </a:cubicBezTo>
                <a:cubicBezTo>
                  <a:pt x="3712" y="1398"/>
                  <a:pt x="3710" y="1400"/>
                  <a:pt x="3708" y="1400"/>
                </a:cubicBezTo>
                <a:cubicBezTo>
                  <a:pt x="3707" y="1402"/>
                  <a:pt x="3704" y="1402"/>
                  <a:pt x="3703" y="1403"/>
                </a:cubicBezTo>
                <a:cubicBezTo>
                  <a:pt x="3701" y="1404"/>
                  <a:pt x="3699" y="1405"/>
                  <a:pt x="3697" y="1405"/>
                </a:cubicBezTo>
                <a:cubicBezTo>
                  <a:pt x="3696" y="1406"/>
                  <a:pt x="3693" y="1407"/>
                  <a:pt x="3692" y="1408"/>
                </a:cubicBezTo>
                <a:cubicBezTo>
                  <a:pt x="3692" y="1408"/>
                  <a:pt x="3692" y="1408"/>
                  <a:pt x="3692" y="1418"/>
                </a:cubicBezTo>
                <a:cubicBezTo>
                  <a:pt x="3695" y="1417"/>
                  <a:pt x="3698" y="1416"/>
                  <a:pt x="3700" y="1415"/>
                </a:cubicBezTo>
                <a:cubicBezTo>
                  <a:pt x="3702" y="1414"/>
                  <a:pt x="3705" y="1413"/>
                  <a:pt x="3707" y="1411"/>
                </a:cubicBezTo>
                <a:cubicBezTo>
                  <a:pt x="3707" y="1411"/>
                  <a:pt x="3707" y="1411"/>
                  <a:pt x="3707" y="1470"/>
                </a:cubicBezTo>
                <a:cubicBezTo>
                  <a:pt x="3707" y="1470"/>
                  <a:pt x="3707" y="1470"/>
                  <a:pt x="3718" y="1470"/>
                </a:cubicBezTo>
                <a:cubicBezTo>
                  <a:pt x="3718" y="1470"/>
                  <a:pt x="3718" y="1470"/>
                  <a:pt x="3718" y="1397"/>
                </a:cubicBezTo>
                <a:close/>
                <a:moveTo>
                  <a:pt x="3524" y="1429"/>
                </a:moveTo>
                <a:cubicBezTo>
                  <a:pt x="3524" y="1429"/>
                  <a:pt x="3524" y="1429"/>
                  <a:pt x="3524" y="1429"/>
                </a:cubicBezTo>
                <a:cubicBezTo>
                  <a:pt x="3524" y="1437"/>
                  <a:pt x="3524" y="1437"/>
                  <a:pt x="3524" y="1437"/>
                </a:cubicBezTo>
                <a:cubicBezTo>
                  <a:pt x="3530" y="1438"/>
                  <a:pt x="3531" y="1441"/>
                  <a:pt x="3531" y="1443"/>
                </a:cubicBezTo>
                <a:cubicBezTo>
                  <a:pt x="3531" y="1445"/>
                  <a:pt x="3530" y="1448"/>
                  <a:pt x="3530" y="1450"/>
                </a:cubicBezTo>
                <a:cubicBezTo>
                  <a:pt x="3530" y="1453"/>
                  <a:pt x="3529" y="1455"/>
                  <a:pt x="3529" y="1457"/>
                </a:cubicBezTo>
                <a:cubicBezTo>
                  <a:pt x="3529" y="1467"/>
                  <a:pt x="3535" y="1470"/>
                  <a:pt x="3544" y="1470"/>
                </a:cubicBezTo>
                <a:cubicBezTo>
                  <a:pt x="3544" y="1470"/>
                  <a:pt x="3544" y="1470"/>
                  <a:pt x="3548" y="1470"/>
                </a:cubicBezTo>
                <a:cubicBezTo>
                  <a:pt x="3548" y="1470"/>
                  <a:pt x="3548" y="1470"/>
                  <a:pt x="3548" y="1461"/>
                </a:cubicBezTo>
                <a:cubicBezTo>
                  <a:pt x="3548" y="1461"/>
                  <a:pt x="3548" y="1461"/>
                  <a:pt x="3546" y="1461"/>
                </a:cubicBezTo>
                <a:cubicBezTo>
                  <a:pt x="3542" y="1461"/>
                  <a:pt x="3541" y="1459"/>
                  <a:pt x="3541" y="1455"/>
                </a:cubicBezTo>
                <a:cubicBezTo>
                  <a:pt x="3541" y="1454"/>
                  <a:pt x="3541" y="1452"/>
                  <a:pt x="3542" y="1450"/>
                </a:cubicBezTo>
                <a:cubicBezTo>
                  <a:pt x="3542" y="1449"/>
                  <a:pt x="3542" y="1447"/>
                  <a:pt x="3542" y="1444"/>
                </a:cubicBezTo>
                <a:cubicBezTo>
                  <a:pt x="3542" y="1437"/>
                  <a:pt x="3539" y="1434"/>
                  <a:pt x="3534" y="1433"/>
                </a:cubicBezTo>
                <a:cubicBezTo>
                  <a:pt x="3534" y="1433"/>
                  <a:pt x="3534" y="1433"/>
                  <a:pt x="3534" y="1433"/>
                </a:cubicBezTo>
                <a:cubicBezTo>
                  <a:pt x="3539" y="1432"/>
                  <a:pt x="3542" y="1429"/>
                  <a:pt x="3542" y="1422"/>
                </a:cubicBezTo>
                <a:cubicBezTo>
                  <a:pt x="3542" y="1419"/>
                  <a:pt x="3542" y="1417"/>
                  <a:pt x="3542" y="1416"/>
                </a:cubicBezTo>
                <a:cubicBezTo>
                  <a:pt x="3541" y="1414"/>
                  <a:pt x="3541" y="1412"/>
                  <a:pt x="3541" y="1411"/>
                </a:cubicBezTo>
                <a:cubicBezTo>
                  <a:pt x="3541" y="1407"/>
                  <a:pt x="3542" y="1405"/>
                  <a:pt x="3546" y="1405"/>
                </a:cubicBezTo>
                <a:cubicBezTo>
                  <a:pt x="3546" y="1405"/>
                  <a:pt x="3546" y="1405"/>
                  <a:pt x="3548" y="1405"/>
                </a:cubicBezTo>
                <a:cubicBezTo>
                  <a:pt x="3548" y="1405"/>
                  <a:pt x="3548" y="1405"/>
                  <a:pt x="3548" y="1396"/>
                </a:cubicBezTo>
                <a:cubicBezTo>
                  <a:pt x="3548" y="1396"/>
                  <a:pt x="3548" y="1396"/>
                  <a:pt x="3544" y="1396"/>
                </a:cubicBezTo>
                <a:cubicBezTo>
                  <a:pt x="3535" y="1396"/>
                  <a:pt x="3529" y="1400"/>
                  <a:pt x="3529" y="1408"/>
                </a:cubicBezTo>
                <a:cubicBezTo>
                  <a:pt x="3529" y="1411"/>
                  <a:pt x="3530" y="1413"/>
                  <a:pt x="3530" y="1416"/>
                </a:cubicBezTo>
                <a:cubicBezTo>
                  <a:pt x="3530" y="1418"/>
                  <a:pt x="3531" y="1421"/>
                  <a:pt x="3531" y="1423"/>
                </a:cubicBezTo>
                <a:cubicBezTo>
                  <a:pt x="3531" y="1425"/>
                  <a:pt x="3530" y="1429"/>
                  <a:pt x="3524" y="1429"/>
                </a:cubicBezTo>
                <a:close/>
                <a:moveTo>
                  <a:pt x="3579" y="1437"/>
                </a:moveTo>
                <a:cubicBezTo>
                  <a:pt x="3579" y="1437"/>
                  <a:pt x="3579" y="1437"/>
                  <a:pt x="3579" y="1437"/>
                </a:cubicBezTo>
                <a:cubicBezTo>
                  <a:pt x="3579" y="1429"/>
                  <a:pt x="3579" y="1429"/>
                  <a:pt x="3579" y="1429"/>
                </a:cubicBezTo>
                <a:cubicBezTo>
                  <a:pt x="3572" y="1429"/>
                  <a:pt x="3572" y="1425"/>
                  <a:pt x="3572" y="1423"/>
                </a:cubicBezTo>
                <a:cubicBezTo>
                  <a:pt x="3572" y="1421"/>
                  <a:pt x="3572" y="1418"/>
                  <a:pt x="3572" y="1416"/>
                </a:cubicBezTo>
                <a:cubicBezTo>
                  <a:pt x="3573" y="1413"/>
                  <a:pt x="3573" y="1411"/>
                  <a:pt x="3573" y="1408"/>
                </a:cubicBezTo>
                <a:cubicBezTo>
                  <a:pt x="3573" y="1400"/>
                  <a:pt x="3567" y="1396"/>
                  <a:pt x="3558" y="1396"/>
                </a:cubicBezTo>
                <a:cubicBezTo>
                  <a:pt x="3558" y="1396"/>
                  <a:pt x="3558" y="1396"/>
                  <a:pt x="3554" y="1396"/>
                </a:cubicBezTo>
                <a:cubicBezTo>
                  <a:pt x="3554" y="1396"/>
                  <a:pt x="3554" y="1396"/>
                  <a:pt x="3554" y="1405"/>
                </a:cubicBezTo>
                <a:cubicBezTo>
                  <a:pt x="3554" y="1405"/>
                  <a:pt x="3554" y="1405"/>
                  <a:pt x="3556" y="1405"/>
                </a:cubicBezTo>
                <a:cubicBezTo>
                  <a:pt x="3560" y="1405"/>
                  <a:pt x="3561" y="1407"/>
                  <a:pt x="3561" y="1411"/>
                </a:cubicBezTo>
                <a:cubicBezTo>
                  <a:pt x="3561" y="1412"/>
                  <a:pt x="3561" y="1414"/>
                  <a:pt x="3561" y="1416"/>
                </a:cubicBezTo>
                <a:cubicBezTo>
                  <a:pt x="3560" y="1417"/>
                  <a:pt x="3560" y="1419"/>
                  <a:pt x="3560" y="1422"/>
                </a:cubicBezTo>
                <a:cubicBezTo>
                  <a:pt x="3560" y="1429"/>
                  <a:pt x="3563" y="1432"/>
                  <a:pt x="3569" y="1433"/>
                </a:cubicBezTo>
                <a:cubicBezTo>
                  <a:pt x="3569" y="1433"/>
                  <a:pt x="3569" y="1433"/>
                  <a:pt x="3569" y="1433"/>
                </a:cubicBezTo>
                <a:cubicBezTo>
                  <a:pt x="3563" y="1434"/>
                  <a:pt x="3560" y="1437"/>
                  <a:pt x="3560" y="1444"/>
                </a:cubicBezTo>
                <a:cubicBezTo>
                  <a:pt x="3560" y="1447"/>
                  <a:pt x="3560" y="1449"/>
                  <a:pt x="3561" y="1450"/>
                </a:cubicBezTo>
                <a:cubicBezTo>
                  <a:pt x="3561" y="1452"/>
                  <a:pt x="3561" y="1454"/>
                  <a:pt x="3561" y="1455"/>
                </a:cubicBezTo>
                <a:cubicBezTo>
                  <a:pt x="3561" y="1459"/>
                  <a:pt x="3560" y="1461"/>
                  <a:pt x="3556" y="1461"/>
                </a:cubicBezTo>
                <a:cubicBezTo>
                  <a:pt x="3556" y="1461"/>
                  <a:pt x="3556" y="1461"/>
                  <a:pt x="3554" y="1461"/>
                </a:cubicBezTo>
                <a:cubicBezTo>
                  <a:pt x="3554" y="1461"/>
                  <a:pt x="3554" y="1461"/>
                  <a:pt x="3554" y="1470"/>
                </a:cubicBezTo>
                <a:cubicBezTo>
                  <a:pt x="3554" y="1470"/>
                  <a:pt x="3554" y="1470"/>
                  <a:pt x="3558" y="1470"/>
                </a:cubicBezTo>
                <a:cubicBezTo>
                  <a:pt x="3567" y="1470"/>
                  <a:pt x="3573" y="1467"/>
                  <a:pt x="3573" y="1457"/>
                </a:cubicBezTo>
                <a:cubicBezTo>
                  <a:pt x="3573" y="1455"/>
                  <a:pt x="3573" y="1453"/>
                  <a:pt x="3572" y="1450"/>
                </a:cubicBezTo>
                <a:cubicBezTo>
                  <a:pt x="3572" y="1448"/>
                  <a:pt x="3572" y="1445"/>
                  <a:pt x="3572" y="1443"/>
                </a:cubicBezTo>
                <a:cubicBezTo>
                  <a:pt x="3572" y="1441"/>
                  <a:pt x="3572" y="1438"/>
                  <a:pt x="3579" y="1437"/>
                </a:cubicBezTo>
                <a:close/>
                <a:moveTo>
                  <a:pt x="3762" y="1470"/>
                </a:moveTo>
                <a:cubicBezTo>
                  <a:pt x="3755" y="1470"/>
                  <a:pt x="3748" y="1467"/>
                  <a:pt x="3744" y="1461"/>
                </a:cubicBezTo>
                <a:cubicBezTo>
                  <a:pt x="3740" y="1455"/>
                  <a:pt x="3738" y="1446"/>
                  <a:pt x="3738" y="1434"/>
                </a:cubicBezTo>
                <a:cubicBezTo>
                  <a:pt x="3738" y="1421"/>
                  <a:pt x="3740" y="1411"/>
                  <a:pt x="3745" y="1404"/>
                </a:cubicBezTo>
                <a:cubicBezTo>
                  <a:pt x="3749" y="1398"/>
                  <a:pt x="3756" y="1394"/>
                  <a:pt x="3764" y="1394"/>
                </a:cubicBezTo>
                <a:cubicBezTo>
                  <a:pt x="3780" y="1394"/>
                  <a:pt x="3788" y="1407"/>
                  <a:pt x="3788" y="1432"/>
                </a:cubicBezTo>
                <a:cubicBezTo>
                  <a:pt x="3788" y="1445"/>
                  <a:pt x="3786" y="1454"/>
                  <a:pt x="3781" y="1461"/>
                </a:cubicBezTo>
                <a:cubicBezTo>
                  <a:pt x="3777" y="1467"/>
                  <a:pt x="3770" y="1470"/>
                  <a:pt x="3762" y="1470"/>
                </a:cubicBezTo>
                <a:close/>
                <a:moveTo>
                  <a:pt x="3764" y="1404"/>
                </a:moveTo>
                <a:cubicBezTo>
                  <a:pt x="3754" y="1404"/>
                  <a:pt x="3750" y="1414"/>
                  <a:pt x="3750" y="1434"/>
                </a:cubicBezTo>
                <a:cubicBezTo>
                  <a:pt x="3750" y="1452"/>
                  <a:pt x="3754" y="1461"/>
                  <a:pt x="3763" y="1461"/>
                </a:cubicBezTo>
                <a:cubicBezTo>
                  <a:pt x="3772" y="1461"/>
                  <a:pt x="3776" y="1452"/>
                  <a:pt x="3776" y="1433"/>
                </a:cubicBezTo>
                <a:cubicBezTo>
                  <a:pt x="3776" y="1413"/>
                  <a:pt x="3772" y="1404"/>
                  <a:pt x="3764" y="1404"/>
                </a:cubicBezTo>
                <a:close/>
                <a:moveTo>
                  <a:pt x="3833" y="1470"/>
                </a:moveTo>
                <a:cubicBezTo>
                  <a:pt x="3825" y="1470"/>
                  <a:pt x="3818" y="1467"/>
                  <a:pt x="3815" y="1461"/>
                </a:cubicBezTo>
                <a:cubicBezTo>
                  <a:pt x="3810" y="1455"/>
                  <a:pt x="3808" y="1446"/>
                  <a:pt x="3808" y="1434"/>
                </a:cubicBezTo>
                <a:cubicBezTo>
                  <a:pt x="3808" y="1421"/>
                  <a:pt x="3810" y="1411"/>
                  <a:pt x="3815" y="1404"/>
                </a:cubicBezTo>
                <a:cubicBezTo>
                  <a:pt x="3819" y="1398"/>
                  <a:pt x="3826" y="1394"/>
                  <a:pt x="3835" y="1394"/>
                </a:cubicBezTo>
                <a:cubicBezTo>
                  <a:pt x="3851" y="1394"/>
                  <a:pt x="3859" y="1407"/>
                  <a:pt x="3859" y="1432"/>
                </a:cubicBezTo>
                <a:cubicBezTo>
                  <a:pt x="3859" y="1445"/>
                  <a:pt x="3857" y="1454"/>
                  <a:pt x="3852" y="1461"/>
                </a:cubicBezTo>
                <a:cubicBezTo>
                  <a:pt x="3847" y="1467"/>
                  <a:pt x="3841" y="1470"/>
                  <a:pt x="3833" y="1470"/>
                </a:cubicBezTo>
                <a:close/>
                <a:moveTo>
                  <a:pt x="3834" y="1404"/>
                </a:moveTo>
                <a:cubicBezTo>
                  <a:pt x="3825" y="1404"/>
                  <a:pt x="3820" y="1414"/>
                  <a:pt x="3820" y="1434"/>
                </a:cubicBezTo>
                <a:cubicBezTo>
                  <a:pt x="3820" y="1452"/>
                  <a:pt x="3824" y="1461"/>
                  <a:pt x="3833" y="1461"/>
                </a:cubicBezTo>
                <a:cubicBezTo>
                  <a:pt x="3842" y="1461"/>
                  <a:pt x="3847" y="1452"/>
                  <a:pt x="3847" y="1433"/>
                </a:cubicBezTo>
                <a:cubicBezTo>
                  <a:pt x="3847" y="1413"/>
                  <a:pt x="3842" y="1404"/>
                  <a:pt x="3834" y="1404"/>
                </a:cubicBezTo>
                <a:close/>
                <a:moveTo>
                  <a:pt x="1978" y="1493"/>
                </a:moveTo>
                <a:cubicBezTo>
                  <a:pt x="1978" y="1493"/>
                  <a:pt x="1978" y="1493"/>
                  <a:pt x="1978" y="1493"/>
                </a:cubicBezTo>
                <a:cubicBezTo>
                  <a:pt x="1973" y="1493"/>
                  <a:pt x="1973" y="1493"/>
                  <a:pt x="1973" y="1493"/>
                </a:cubicBezTo>
                <a:cubicBezTo>
                  <a:pt x="1971" y="1494"/>
                  <a:pt x="1969" y="1496"/>
                  <a:pt x="1967" y="1496"/>
                </a:cubicBezTo>
                <a:cubicBezTo>
                  <a:pt x="1966" y="1498"/>
                  <a:pt x="1964" y="1498"/>
                  <a:pt x="1962" y="1499"/>
                </a:cubicBezTo>
                <a:cubicBezTo>
                  <a:pt x="1960" y="1501"/>
                  <a:pt x="1958" y="1501"/>
                  <a:pt x="1957" y="1502"/>
                </a:cubicBezTo>
                <a:cubicBezTo>
                  <a:pt x="1955" y="1503"/>
                  <a:pt x="1953" y="1504"/>
                  <a:pt x="1951" y="1504"/>
                </a:cubicBezTo>
                <a:cubicBezTo>
                  <a:pt x="1951" y="1504"/>
                  <a:pt x="1951" y="1504"/>
                  <a:pt x="1951" y="1514"/>
                </a:cubicBezTo>
                <a:cubicBezTo>
                  <a:pt x="1954" y="1513"/>
                  <a:pt x="1957" y="1512"/>
                  <a:pt x="1960" y="1511"/>
                </a:cubicBezTo>
                <a:cubicBezTo>
                  <a:pt x="1962" y="1510"/>
                  <a:pt x="1964" y="1509"/>
                  <a:pt x="1966" y="1507"/>
                </a:cubicBezTo>
                <a:cubicBezTo>
                  <a:pt x="1966" y="1507"/>
                  <a:pt x="1966" y="1507"/>
                  <a:pt x="1966" y="1566"/>
                </a:cubicBezTo>
                <a:cubicBezTo>
                  <a:pt x="1966" y="1566"/>
                  <a:pt x="1966" y="1566"/>
                  <a:pt x="1978" y="1566"/>
                </a:cubicBezTo>
                <a:cubicBezTo>
                  <a:pt x="1978" y="1566"/>
                  <a:pt x="1978" y="1566"/>
                  <a:pt x="1978" y="1493"/>
                </a:cubicBezTo>
                <a:close/>
                <a:moveTo>
                  <a:pt x="2025" y="1493"/>
                </a:moveTo>
                <a:cubicBezTo>
                  <a:pt x="2025" y="1493"/>
                  <a:pt x="2025" y="1493"/>
                  <a:pt x="2025" y="1493"/>
                </a:cubicBezTo>
                <a:cubicBezTo>
                  <a:pt x="2020" y="1493"/>
                  <a:pt x="2020" y="1493"/>
                  <a:pt x="2020" y="1493"/>
                </a:cubicBezTo>
                <a:cubicBezTo>
                  <a:pt x="2018" y="1494"/>
                  <a:pt x="2017" y="1496"/>
                  <a:pt x="2015" y="1496"/>
                </a:cubicBezTo>
                <a:cubicBezTo>
                  <a:pt x="2013" y="1498"/>
                  <a:pt x="2011" y="1498"/>
                  <a:pt x="2009" y="1499"/>
                </a:cubicBezTo>
                <a:cubicBezTo>
                  <a:pt x="2008" y="1501"/>
                  <a:pt x="2006" y="1501"/>
                  <a:pt x="2004" y="1502"/>
                </a:cubicBezTo>
                <a:cubicBezTo>
                  <a:pt x="2002" y="1503"/>
                  <a:pt x="2001" y="1504"/>
                  <a:pt x="1999" y="1504"/>
                </a:cubicBezTo>
                <a:cubicBezTo>
                  <a:pt x="1999" y="1504"/>
                  <a:pt x="1999" y="1504"/>
                  <a:pt x="1999" y="1514"/>
                </a:cubicBezTo>
                <a:cubicBezTo>
                  <a:pt x="2001" y="1513"/>
                  <a:pt x="2004" y="1512"/>
                  <a:pt x="2007" y="1511"/>
                </a:cubicBezTo>
                <a:cubicBezTo>
                  <a:pt x="2009" y="1510"/>
                  <a:pt x="2012" y="1509"/>
                  <a:pt x="2014" y="1507"/>
                </a:cubicBezTo>
                <a:cubicBezTo>
                  <a:pt x="2014" y="1507"/>
                  <a:pt x="2014" y="1507"/>
                  <a:pt x="2014" y="1566"/>
                </a:cubicBezTo>
                <a:cubicBezTo>
                  <a:pt x="2014" y="1566"/>
                  <a:pt x="2014" y="1566"/>
                  <a:pt x="2025" y="1566"/>
                </a:cubicBezTo>
                <a:cubicBezTo>
                  <a:pt x="2025" y="1566"/>
                  <a:pt x="2025" y="1566"/>
                  <a:pt x="2025" y="1493"/>
                </a:cubicBezTo>
                <a:close/>
                <a:moveTo>
                  <a:pt x="2072" y="1493"/>
                </a:moveTo>
                <a:cubicBezTo>
                  <a:pt x="2072" y="1493"/>
                  <a:pt x="2072" y="1493"/>
                  <a:pt x="2072" y="1493"/>
                </a:cubicBezTo>
                <a:cubicBezTo>
                  <a:pt x="2068" y="1493"/>
                  <a:pt x="2068" y="1493"/>
                  <a:pt x="2068" y="1493"/>
                </a:cubicBezTo>
                <a:cubicBezTo>
                  <a:pt x="2066" y="1494"/>
                  <a:pt x="2064" y="1496"/>
                  <a:pt x="2062" y="1496"/>
                </a:cubicBezTo>
                <a:cubicBezTo>
                  <a:pt x="2060" y="1498"/>
                  <a:pt x="2058" y="1498"/>
                  <a:pt x="2057" y="1499"/>
                </a:cubicBezTo>
                <a:cubicBezTo>
                  <a:pt x="2055" y="1500"/>
                  <a:pt x="2053" y="1501"/>
                  <a:pt x="2051" y="1501"/>
                </a:cubicBezTo>
                <a:cubicBezTo>
                  <a:pt x="2050" y="1502"/>
                  <a:pt x="2048" y="1503"/>
                  <a:pt x="2046" y="1504"/>
                </a:cubicBezTo>
                <a:cubicBezTo>
                  <a:pt x="2046" y="1504"/>
                  <a:pt x="2046" y="1504"/>
                  <a:pt x="2046" y="1514"/>
                </a:cubicBezTo>
                <a:cubicBezTo>
                  <a:pt x="2049" y="1513"/>
                  <a:pt x="2052" y="1512"/>
                  <a:pt x="2054" y="1511"/>
                </a:cubicBezTo>
                <a:cubicBezTo>
                  <a:pt x="2056" y="1510"/>
                  <a:pt x="2059" y="1509"/>
                  <a:pt x="2060" y="1507"/>
                </a:cubicBezTo>
                <a:cubicBezTo>
                  <a:pt x="2060" y="1507"/>
                  <a:pt x="2060" y="1507"/>
                  <a:pt x="2060" y="1566"/>
                </a:cubicBezTo>
                <a:cubicBezTo>
                  <a:pt x="2060" y="1566"/>
                  <a:pt x="2060" y="1566"/>
                  <a:pt x="2072" y="1566"/>
                </a:cubicBezTo>
                <a:cubicBezTo>
                  <a:pt x="2072" y="1566"/>
                  <a:pt x="2072" y="1566"/>
                  <a:pt x="2072" y="1493"/>
                </a:cubicBezTo>
                <a:close/>
                <a:moveTo>
                  <a:pt x="2117" y="1566"/>
                </a:moveTo>
                <a:cubicBezTo>
                  <a:pt x="2109" y="1566"/>
                  <a:pt x="2103" y="1563"/>
                  <a:pt x="2098" y="1557"/>
                </a:cubicBezTo>
                <a:cubicBezTo>
                  <a:pt x="2095" y="1551"/>
                  <a:pt x="2093" y="1542"/>
                  <a:pt x="2093" y="1530"/>
                </a:cubicBezTo>
                <a:cubicBezTo>
                  <a:pt x="2093" y="1517"/>
                  <a:pt x="2095" y="1507"/>
                  <a:pt x="2099" y="1500"/>
                </a:cubicBezTo>
                <a:cubicBezTo>
                  <a:pt x="2104" y="1494"/>
                  <a:pt x="2110" y="1490"/>
                  <a:pt x="2119" y="1490"/>
                </a:cubicBezTo>
                <a:cubicBezTo>
                  <a:pt x="2135" y="1490"/>
                  <a:pt x="2143" y="1503"/>
                  <a:pt x="2143" y="1528"/>
                </a:cubicBezTo>
                <a:cubicBezTo>
                  <a:pt x="2143" y="1541"/>
                  <a:pt x="2141" y="1550"/>
                  <a:pt x="2136" y="1557"/>
                </a:cubicBezTo>
                <a:cubicBezTo>
                  <a:pt x="2131" y="1563"/>
                  <a:pt x="2125" y="1566"/>
                  <a:pt x="2117" y="1566"/>
                </a:cubicBezTo>
                <a:close/>
                <a:moveTo>
                  <a:pt x="2118" y="1500"/>
                </a:moveTo>
                <a:cubicBezTo>
                  <a:pt x="2109" y="1500"/>
                  <a:pt x="2104" y="1510"/>
                  <a:pt x="2104" y="1530"/>
                </a:cubicBezTo>
                <a:cubicBezTo>
                  <a:pt x="2104" y="1548"/>
                  <a:pt x="2109" y="1557"/>
                  <a:pt x="2117" y="1557"/>
                </a:cubicBezTo>
                <a:cubicBezTo>
                  <a:pt x="2126" y="1557"/>
                  <a:pt x="2131" y="1548"/>
                  <a:pt x="2131" y="1529"/>
                </a:cubicBezTo>
                <a:cubicBezTo>
                  <a:pt x="2131" y="1509"/>
                  <a:pt x="2126" y="1500"/>
                  <a:pt x="2118" y="1500"/>
                </a:cubicBezTo>
                <a:close/>
                <a:moveTo>
                  <a:pt x="2188" y="1566"/>
                </a:moveTo>
                <a:cubicBezTo>
                  <a:pt x="2180" y="1566"/>
                  <a:pt x="2174" y="1563"/>
                  <a:pt x="2170" y="1557"/>
                </a:cubicBezTo>
                <a:cubicBezTo>
                  <a:pt x="2166" y="1551"/>
                  <a:pt x="2164" y="1542"/>
                  <a:pt x="2164" y="1530"/>
                </a:cubicBezTo>
                <a:cubicBezTo>
                  <a:pt x="2164" y="1517"/>
                  <a:pt x="2166" y="1507"/>
                  <a:pt x="2170" y="1500"/>
                </a:cubicBezTo>
                <a:cubicBezTo>
                  <a:pt x="2175" y="1494"/>
                  <a:pt x="2181" y="1490"/>
                  <a:pt x="2190" y="1490"/>
                </a:cubicBezTo>
                <a:cubicBezTo>
                  <a:pt x="2206" y="1490"/>
                  <a:pt x="2214" y="1503"/>
                  <a:pt x="2214" y="1528"/>
                </a:cubicBezTo>
                <a:cubicBezTo>
                  <a:pt x="2214" y="1541"/>
                  <a:pt x="2212" y="1550"/>
                  <a:pt x="2208" y="1557"/>
                </a:cubicBezTo>
                <a:cubicBezTo>
                  <a:pt x="2202" y="1563"/>
                  <a:pt x="2197" y="1566"/>
                  <a:pt x="2188" y="1566"/>
                </a:cubicBezTo>
                <a:close/>
                <a:moveTo>
                  <a:pt x="2189" y="1500"/>
                </a:moveTo>
                <a:cubicBezTo>
                  <a:pt x="2180" y="1500"/>
                  <a:pt x="2175" y="1510"/>
                  <a:pt x="2175" y="1530"/>
                </a:cubicBezTo>
                <a:cubicBezTo>
                  <a:pt x="2175" y="1548"/>
                  <a:pt x="2180" y="1557"/>
                  <a:pt x="2189" y="1557"/>
                </a:cubicBezTo>
                <a:cubicBezTo>
                  <a:pt x="2197" y="1557"/>
                  <a:pt x="2202" y="1548"/>
                  <a:pt x="2202" y="1529"/>
                </a:cubicBezTo>
                <a:cubicBezTo>
                  <a:pt x="2202" y="1509"/>
                  <a:pt x="2197" y="1500"/>
                  <a:pt x="2189" y="1500"/>
                </a:cubicBezTo>
                <a:close/>
                <a:moveTo>
                  <a:pt x="2400" y="1566"/>
                </a:moveTo>
                <a:cubicBezTo>
                  <a:pt x="2393" y="1566"/>
                  <a:pt x="2387" y="1563"/>
                  <a:pt x="2383" y="1557"/>
                </a:cubicBezTo>
                <a:cubicBezTo>
                  <a:pt x="2379" y="1551"/>
                  <a:pt x="2376" y="1541"/>
                  <a:pt x="2376" y="1530"/>
                </a:cubicBezTo>
                <a:cubicBezTo>
                  <a:pt x="2376" y="1517"/>
                  <a:pt x="2379" y="1507"/>
                  <a:pt x="2383" y="1500"/>
                </a:cubicBezTo>
                <a:cubicBezTo>
                  <a:pt x="2387" y="1493"/>
                  <a:pt x="2394" y="1490"/>
                  <a:pt x="2403" y="1490"/>
                </a:cubicBezTo>
                <a:cubicBezTo>
                  <a:pt x="2419" y="1490"/>
                  <a:pt x="2427" y="1503"/>
                  <a:pt x="2427" y="1527"/>
                </a:cubicBezTo>
                <a:cubicBezTo>
                  <a:pt x="2427" y="1541"/>
                  <a:pt x="2425" y="1550"/>
                  <a:pt x="2420" y="1557"/>
                </a:cubicBezTo>
                <a:cubicBezTo>
                  <a:pt x="2415" y="1563"/>
                  <a:pt x="2409" y="1566"/>
                  <a:pt x="2400" y="1566"/>
                </a:cubicBezTo>
                <a:close/>
                <a:moveTo>
                  <a:pt x="2402" y="1500"/>
                </a:moveTo>
                <a:cubicBezTo>
                  <a:pt x="2393" y="1500"/>
                  <a:pt x="2389" y="1509"/>
                  <a:pt x="2389" y="1529"/>
                </a:cubicBezTo>
                <a:cubicBezTo>
                  <a:pt x="2389" y="1547"/>
                  <a:pt x="2393" y="1557"/>
                  <a:pt x="2402" y="1557"/>
                </a:cubicBezTo>
                <a:cubicBezTo>
                  <a:pt x="2410" y="1557"/>
                  <a:pt x="2414" y="1547"/>
                  <a:pt x="2414" y="1529"/>
                </a:cubicBezTo>
                <a:cubicBezTo>
                  <a:pt x="2414" y="1509"/>
                  <a:pt x="2411" y="1500"/>
                  <a:pt x="2402" y="1500"/>
                </a:cubicBezTo>
                <a:close/>
                <a:moveTo>
                  <a:pt x="2519" y="1566"/>
                </a:moveTo>
                <a:cubicBezTo>
                  <a:pt x="2511" y="1566"/>
                  <a:pt x="2505" y="1563"/>
                  <a:pt x="2501" y="1557"/>
                </a:cubicBezTo>
                <a:cubicBezTo>
                  <a:pt x="2497" y="1551"/>
                  <a:pt x="2494" y="1541"/>
                  <a:pt x="2494" y="1530"/>
                </a:cubicBezTo>
                <a:cubicBezTo>
                  <a:pt x="2494" y="1517"/>
                  <a:pt x="2497" y="1507"/>
                  <a:pt x="2501" y="1500"/>
                </a:cubicBezTo>
                <a:cubicBezTo>
                  <a:pt x="2505" y="1493"/>
                  <a:pt x="2512" y="1490"/>
                  <a:pt x="2521" y="1490"/>
                </a:cubicBezTo>
                <a:cubicBezTo>
                  <a:pt x="2537" y="1490"/>
                  <a:pt x="2545" y="1503"/>
                  <a:pt x="2545" y="1527"/>
                </a:cubicBezTo>
                <a:cubicBezTo>
                  <a:pt x="2545" y="1541"/>
                  <a:pt x="2543" y="1550"/>
                  <a:pt x="2538" y="1557"/>
                </a:cubicBezTo>
                <a:cubicBezTo>
                  <a:pt x="2533" y="1563"/>
                  <a:pt x="2527" y="1566"/>
                  <a:pt x="2519" y="1566"/>
                </a:cubicBezTo>
                <a:close/>
                <a:moveTo>
                  <a:pt x="2520" y="1500"/>
                </a:moveTo>
                <a:cubicBezTo>
                  <a:pt x="2511" y="1500"/>
                  <a:pt x="2507" y="1509"/>
                  <a:pt x="2507" y="1529"/>
                </a:cubicBezTo>
                <a:cubicBezTo>
                  <a:pt x="2507" y="1547"/>
                  <a:pt x="2511" y="1557"/>
                  <a:pt x="2520" y="1557"/>
                </a:cubicBezTo>
                <a:cubicBezTo>
                  <a:pt x="2528" y="1557"/>
                  <a:pt x="2532" y="1547"/>
                  <a:pt x="2532" y="1529"/>
                </a:cubicBezTo>
                <a:cubicBezTo>
                  <a:pt x="2532" y="1509"/>
                  <a:pt x="2529" y="1500"/>
                  <a:pt x="2520" y="1500"/>
                </a:cubicBezTo>
                <a:close/>
                <a:moveTo>
                  <a:pt x="2474" y="1493"/>
                </a:moveTo>
                <a:cubicBezTo>
                  <a:pt x="2474" y="1493"/>
                  <a:pt x="2474" y="1493"/>
                  <a:pt x="2474" y="1493"/>
                </a:cubicBezTo>
                <a:cubicBezTo>
                  <a:pt x="2469" y="1493"/>
                  <a:pt x="2469" y="1493"/>
                  <a:pt x="2469" y="1493"/>
                </a:cubicBezTo>
                <a:cubicBezTo>
                  <a:pt x="2467" y="1494"/>
                  <a:pt x="2465" y="1496"/>
                  <a:pt x="2463" y="1496"/>
                </a:cubicBezTo>
                <a:cubicBezTo>
                  <a:pt x="2462" y="1498"/>
                  <a:pt x="2460" y="1498"/>
                  <a:pt x="2458" y="1499"/>
                </a:cubicBezTo>
                <a:cubicBezTo>
                  <a:pt x="2457" y="1500"/>
                  <a:pt x="2455" y="1501"/>
                  <a:pt x="2453" y="1501"/>
                </a:cubicBezTo>
                <a:cubicBezTo>
                  <a:pt x="2451" y="1502"/>
                  <a:pt x="2450" y="1503"/>
                  <a:pt x="2447" y="1504"/>
                </a:cubicBezTo>
                <a:cubicBezTo>
                  <a:pt x="2447" y="1504"/>
                  <a:pt x="2447" y="1504"/>
                  <a:pt x="2447" y="1514"/>
                </a:cubicBezTo>
                <a:cubicBezTo>
                  <a:pt x="2450" y="1513"/>
                  <a:pt x="2453" y="1512"/>
                  <a:pt x="2455" y="1511"/>
                </a:cubicBezTo>
                <a:cubicBezTo>
                  <a:pt x="2458" y="1510"/>
                  <a:pt x="2460" y="1509"/>
                  <a:pt x="2462" y="1507"/>
                </a:cubicBezTo>
                <a:cubicBezTo>
                  <a:pt x="2462" y="1507"/>
                  <a:pt x="2462" y="1507"/>
                  <a:pt x="2462" y="1566"/>
                </a:cubicBezTo>
                <a:cubicBezTo>
                  <a:pt x="2462" y="1566"/>
                  <a:pt x="2462" y="1566"/>
                  <a:pt x="2474" y="1566"/>
                </a:cubicBezTo>
                <a:cubicBezTo>
                  <a:pt x="2474" y="1566"/>
                  <a:pt x="2474" y="1566"/>
                  <a:pt x="2474" y="1493"/>
                </a:cubicBezTo>
                <a:close/>
                <a:moveTo>
                  <a:pt x="2590" y="1566"/>
                </a:moveTo>
                <a:cubicBezTo>
                  <a:pt x="2582" y="1566"/>
                  <a:pt x="2576" y="1563"/>
                  <a:pt x="2572" y="1557"/>
                </a:cubicBezTo>
                <a:cubicBezTo>
                  <a:pt x="2568" y="1551"/>
                  <a:pt x="2565" y="1542"/>
                  <a:pt x="2565" y="1530"/>
                </a:cubicBezTo>
                <a:cubicBezTo>
                  <a:pt x="2565" y="1517"/>
                  <a:pt x="2568" y="1507"/>
                  <a:pt x="2572" y="1500"/>
                </a:cubicBezTo>
                <a:cubicBezTo>
                  <a:pt x="2576" y="1494"/>
                  <a:pt x="2583" y="1490"/>
                  <a:pt x="2592" y="1490"/>
                </a:cubicBezTo>
                <a:cubicBezTo>
                  <a:pt x="2608" y="1490"/>
                  <a:pt x="2616" y="1503"/>
                  <a:pt x="2616" y="1528"/>
                </a:cubicBezTo>
                <a:cubicBezTo>
                  <a:pt x="2616" y="1541"/>
                  <a:pt x="2614" y="1550"/>
                  <a:pt x="2609" y="1557"/>
                </a:cubicBezTo>
                <a:cubicBezTo>
                  <a:pt x="2604" y="1563"/>
                  <a:pt x="2598" y="1566"/>
                  <a:pt x="2590" y="1566"/>
                </a:cubicBezTo>
                <a:close/>
                <a:moveTo>
                  <a:pt x="2591" y="1500"/>
                </a:moveTo>
                <a:cubicBezTo>
                  <a:pt x="2582" y="1500"/>
                  <a:pt x="2577" y="1510"/>
                  <a:pt x="2577" y="1530"/>
                </a:cubicBezTo>
                <a:cubicBezTo>
                  <a:pt x="2577" y="1548"/>
                  <a:pt x="2582" y="1557"/>
                  <a:pt x="2590" y="1557"/>
                </a:cubicBezTo>
                <a:cubicBezTo>
                  <a:pt x="2599" y="1557"/>
                  <a:pt x="2603" y="1548"/>
                  <a:pt x="2603" y="1529"/>
                </a:cubicBezTo>
                <a:cubicBezTo>
                  <a:pt x="2603" y="1509"/>
                  <a:pt x="2599" y="1500"/>
                  <a:pt x="2591" y="1500"/>
                </a:cubicBezTo>
                <a:close/>
                <a:moveTo>
                  <a:pt x="2637" y="1525"/>
                </a:moveTo>
                <a:cubicBezTo>
                  <a:pt x="2637" y="1525"/>
                  <a:pt x="2637" y="1525"/>
                  <a:pt x="2637" y="1525"/>
                </a:cubicBezTo>
                <a:cubicBezTo>
                  <a:pt x="2636" y="1533"/>
                  <a:pt x="2636" y="1533"/>
                  <a:pt x="2636" y="1533"/>
                </a:cubicBezTo>
                <a:cubicBezTo>
                  <a:pt x="2643" y="1534"/>
                  <a:pt x="2644" y="1537"/>
                  <a:pt x="2644" y="1539"/>
                </a:cubicBezTo>
                <a:cubicBezTo>
                  <a:pt x="2644" y="1541"/>
                  <a:pt x="2643" y="1544"/>
                  <a:pt x="2643" y="1546"/>
                </a:cubicBezTo>
                <a:cubicBezTo>
                  <a:pt x="2643" y="1549"/>
                  <a:pt x="2642" y="1551"/>
                  <a:pt x="2642" y="1553"/>
                </a:cubicBezTo>
                <a:cubicBezTo>
                  <a:pt x="2642" y="1563"/>
                  <a:pt x="2648" y="1566"/>
                  <a:pt x="2657" y="1566"/>
                </a:cubicBezTo>
                <a:cubicBezTo>
                  <a:pt x="2657" y="1566"/>
                  <a:pt x="2657" y="1566"/>
                  <a:pt x="2660" y="1566"/>
                </a:cubicBezTo>
                <a:cubicBezTo>
                  <a:pt x="2660" y="1566"/>
                  <a:pt x="2660" y="1566"/>
                  <a:pt x="2660" y="1557"/>
                </a:cubicBezTo>
                <a:cubicBezTo>
                  <a:pt x="2660" y="1557"/>
                  <a:pt x="2660" y="1557"/>
                  <a:pt x="2659" y="1557"/>
                </a:cubicBezTo>
                <a:cubicBezTo>
                  <a:pt x="2655" y="1557"/>
                  <a:pt x="2654" y="1555"/>
                  <a:pt x="2654" y="1551"/>
                </a:cubicBezTo>
                <a:cubicBezTo>
                  <a:pt x="2654" y="1550"/>
                  <a:pt x="2654" y="1548"/>
                  <a:pt x="2655" y="1546"/>
                </a:cubicBezTo>
                <a:cubicBezTo>
                  <a:pt x="2655" y="1545"/>
                  <a:pt x="2655" y="1543"/>
                  <a:pt x="2655" y="1540"/>
                </a:cubicBezTo>
                <a:cubicBezTo>
                  <a:pt x="2655" y="1533"/>
                  <a:pt x="2652" y="1530"/>
                  <a:pt x="2646" y="1529"/>
                </a:cubicBezTo>
                <a:cubicBezTo>
                  <a:pt x="2646" y="1529"/>
                  <a:pt x="2646" y="1529"/>
                  <a:pt x="2646" y="1529"/>
                </a:cubicBezTo>
                <a:cubicBezTo>
                  <a:pt x="2652" y="1528"/>
                  <a:pt x="2655" y="1525"/>
                  <a:pt x="2655" y="1518"/>
                </a:cubicBezTo>
                <a:cubicBezTo>
                  <a:pt x="2655" y="1515"/>
                  <a:pt x="2655" y="1513"/>
                  <a:pt x="2655" y="1512"/>
                </a:cubicBezTo>
                <a:cubicBezTo>
                  <a:pt x="2654" y="1510"/>
                  <a:pt x="2654" y="1508"/>
                  <a:pt x="2654" y="1507"/>
                </a:cubicBezTo>
                <a:cubicBezTo>
                  <a:pt x="2654" y="1503"/>
                  <a:pt x="2655" y="1501"/>
                  <a:pt x="2659" y="1501"/>
                </a:cubicBezTo>
                <a:cubicBezTo>
                  <a:pt x="2659" y="1501"/>
                  <a:pt x="2659" y="1501"/>
                  <a:pt x="2660" y="1501"/>
                </a:cubicBezTo>
                <a:cubicBezTo>
                  <a:pt x="2660" y="1501"/>
                  <a:pt x="2660" y="1501"/>
                  <a:pt x="2660" y="1492"/>
                </a:cubicBezTo>
                <a:cubicBezTo>
                  <a:pt x="2660" y="1492"/>
                  <a:pt x="2660" y="1492"/>
                  <a:pt x="2657" y="1492"/>
                </a:cubicBezTo>
                <a:cubicBezTo>
                  <a:pt x="2648" y="1492"/>
                  <a:pt x="2642" y="1496"/>
                  <a:pt x="2642" y="1504"/>
                </a:cubicBezTo>
                <a:cubicBezTo>
                  <a:pt x="2642" y="1507"/>
                  <a:pt x="2643" y="1509"/>
                  <a:pt x="2643" y="1512"/>
                </a:cubicBezTo>
                <a:cubicBezTo>
                  <a:pt x="2643" y="1514"/>
                  <a:pt x="2644" y="1517"/>
                  <a:pt x="2644" y="1519"/>
                </a:cubicBezTo>
                <a:cubicBezTo>
                  <a:pt x="2644" y="1521"/>
                  <a:pt x="2643" y="1525"/>
                  <a:pt x="2637" y="1525"/>
                </a:cubicBezTo>
                <a:close/>
                <a:moveTo>
                  <a:pt x="2692" y="1533"/>
                </a:moveTo>
                <a:cubicBezTo>
                  <a:pt x="2692" y="1533"/>
                  <a:pt x="2692" y="1533"/>
                  <a:pt x="2692" y="1533"/>
                </a:cubicBezTo>
                <a:cubicBezTo>
                  <a:pt x="2692" y="1525"/>
                  <a:pt x="2692" y="1525"/>
                  <a:pt x="2692" y="1525"/>
                </a:cubicBezTo>
                <a:cubicBezTo>
                  <a:pt x="2685" y="1525"/>
                  <a:pt x="2685" y="1521"/>
                  <a:pt x="2685" y="1519"/>
                </a:cubicBezTo>
                <a:cubicBezTo>
                  <a:pt x="2685" y="1517"/>
                  <a:pt x="2685" y="1514"/>
                  <a:pt x="2685" y="1512"/>
                </a:cubicBezTo>
                <a:cubicBezTo>
                  <a:pt x="2686" y="1509"/>
                  <a:pt x="2686" y="1507"/>
                  <a:pt x="2686" y="1504"/>
                </a:cubicBezTo>
                <a:cubicBezTo>
                  <a:pt x="2686" y="1496"/>
                  <a:pt x="2681" y="1492"/>
                  <a:pt x="2671" y="1492"/>
                </a:cubicBezTo>
                <a:cubicBezTo>
                  <a:pt x="2671" y="1492"/>
                  <a:pt x="2671" y="1492"/>
                  <a:pt x="2668" y="1492"/>
                </a:cubicBezTo>
                <a:cubicBezTo>
                  <a:pt x="2668" y="1492"/>
                  <a:pt x="2668" y="1492"/>
                  <a:pt x="2668" y="1501"/>
                </a:cubicBezTo>
                <a:cubicBezTo>
                  <a:pt x="2668" y="1501"/>
                  <a:pt x="2668" y="1501"/>
                  <a:pt x="2669" y="1501"/>
                </a:cubicBezTo>
                <a:cubicBezTo>
                  <a:pt x="2673" y="1501"/>
                  <a:pt x="2674" y="1503"/>
                  <a:pt x="2674" y="1507"/>
                </a:cubicBezTo>
                <a:cubicBezTo>
                  <a:pt x="2674" y="1508"/>
                  <a:pt x="2674" y="1510"/>
                  <a:pt x="2674" y="1512"/>
                </a:cubicBezTo>
                <a:cubicBezTo>
                  <a:pt x="2674" y="1513"/>
                  <a:pt x="2674" y="1515"/>
                  <a:pt x="2674" y="1518"/>
                </a:cubicBezTo>
                <a:cubicBezTo>
                  <a:pt x="2674" y="1525"/>
                  <a:pt x="2676" y="1528"/>
                  <a:pt x="2682" y="1529"/>
                </a:cubicBezTo>
                <a:cubicBezTo>
                  <a:pt x="2682" y="1529"/>
                  <a:pt x="2682" y="1529"/>
                  <a:pt x="2682" y="1529"/>
                </a:cubicBezTo>
                <a:cubicBezTo>
                  <a:pt x="2676" y="1530"/>
                  <a:pt x="2674" y="1533"/>
                  <a:pt x="2674" y="1540"/>
                </a:cubicBezTo>
                <a:cubicBezTo>
                  <a:pt x="2674" y="1543"/>
                  <a:pt x="2674" y="1545"/>
                  <a:pt x="2674" y="1546"/>
                </a:cubicBezTo>
                <a:cubicBezTo>
                  <a:pt x="2674" y="1548"/>
                  <a:pt x="2674" y="1550"/>
                  <a:pt x="2674" y="1551"/>
                </a:cubicBezTo>
                <a:cubicBezTo>
                  <a:pt x="2674" y="1555"/>
                  <a:pt x="2673" y="1557"/>
                  <a:pt x="2669" y="1557"/>
                </a:cubicBezTo>
                <a:cubicBezTo>
                  <a:pt x="2669" y="1557"/>
                  <a:pt x="2669" y="1557"/>
                  <a:pt x="2668" y="1557"/>
                </a:cubicBezTo>
                <a:cubicBezTo>
                  <a:pt x="2668" y="1557"/>
                  <a:pt x="2668" y="1557"/>
                  <a:pt x="2668" y="1566"/>
                </a:cubicBezTo>
                <a:cubicBezTo>
                  <a:pt x="2668" y="1566"/>
                  <a:pt x="2668" y="1566"/>
                  <a:pt x="2671" y="1566"/>
                </a:cubicBezTo>
                <a:cubicBezTo>
                  <a:pt x="2680" y="1566"/>
                  <a:pt x="2686" y="1563"/>
                  <a:pt x="2686" y="1553"/>
                </a:cubicBezTo>
                <a:cubicBezTo>
                  <a:pt x="2686" y="1551"/>
                  <a:pt x="2686" y="1549"/>
                  <a:pt x="2685" y="1546"/>
                </a:cubicBezTo>
                <a:cubicBezTo>
                  <a:pt x="2685" y="1544"/>
                  <a:pt x="2685" y="1541"/>
                  <a:pt x="2685" y="1539"/>
                </a:cubicBezTo>
                <a:cubicBezTo>
                  <a:pt x="2685" y="1537"/>
                  <a:pt x="2685" y="1534"/>
                  <a:pt x="2692" y="1533"/>
                </a:cubicBezTo>
                <a:close/>
                <a:moveTo>
                  <a:pt x="2812" y="1566"/>
                </a:moveTo>
                <a:cubicBezTo>
                  <a:pt x="2804" y="1566"/>
                  <a:pt x="2798" y="1563"/>
                  <a:pt x="2794" y="1557"/>
                </a:cubicBezTo>
                <a:cubicBezTo>
                  <a:pt x="2790" y="1551"/>
                  <a:pt x="2788" y="1542"/>
                  <a:pt x="2788" y="1530"/>
                </a:cubicBezTo>
                <a:cubicBezTo>
                  <a:pt x="2788" y="1517"/>
                  <a:pt x="2790" y="1507"/>
                  <a:pt x="2794" y="1500"/>
                </a:cubicBezTo>
                <a:cubicBezTo>
                  <a:pt x="2799" y="1494"/>
                  <a:pt x="2805" y="1490"/>
                  <a:pt x="2814" y="1490"/>
                </a:cubicBezTo>
                <a:cubicBezTo>
                  <a:pt x="2830" y="1490"/>
                  <a:pt x="2838" y="1503"/>
                  <a:pt x="2838" y="1528"/>
                </a:cubicBezTo>
                <a:cubicBezTo>
                  <a:pt x="2838" y="1541"/>
                  <a:pt x="2836" y="1550"/>
                  <a:pt x="2831" y="1557"/>
                </a:cubicBezTo>
                <a:cubicBezTo>
                  <a:pt x="2826" y="1563"/>
                  <a:pt x="2820" y="1566"/>
                  <a:pt x="2812" y="1566"/>
                </a:cubicBezTo>
                <a:close/>
                <a:moveTo>
                  <a:pt x="2813" y="1500"/>
                </a:moveTo>
                <a:cubicBezTo>
                  <a:pt x="2804" y="1500"/>
                  <a:pt x="2799" y="1510"/>
                  <a:pt x="2799" y="1530"/>
                </a:cubicBezTo>
                <a:cubicBezTo>
                  <a:pt x="2799" y="1548"/>
                  <a:pt x="2804" y="1557"/>
                  <a:pt x="2813" y="1557"/>
                </a:cubicBezTo>
                <a:cubicBezTo>
                  <a:pt x="2821" y="1557"/>
                  <a:pt x="2826" y="1548"/>
                  <a:pt x="2826" y="1529"/>
                </a:cubicBezTo>
                <a:cubicBezTo>
                  <a:pt x="2826" y="1509"/>
                  <a:pt x="2821" y="1500"/>
                  <a:pt x="2813" y="1500"/>
                </a:cubicBezTo>
                <a:close/>
                <a:moveTo>
                  <a:pt x="2886" y="1493"/>
                </a:moveTo>
                <a:cubicBezTo>
                  <a:pt x="2886" y="1493"/>
                  <a:pt x="2886" y="1493"/>
                  <a:pt x="2886" y="1493"/>
                </a:cubicBezTo>
                <a:cubicBezTo>
                  <a:pt x="2881" y="1493"/>
                  <a:pt x="2881" y="1493"/>
                  <a:pt x="2881" y="1493"/>
                </a:cubicBezTo>
                <a:cubicBezTo>
                  <a:pt x="2879" y="1494"/>
                  <a:pt x="2877" y="1496"/>
                  <a:pt x="2875" y="1496"/>
                </a:cubicBezTo>
                <a:cubicBezTo>
                  <a:pt x="2874" y="1498"/>
                  <a:pt x="2871" y="1498"/>
                  <a:pt x="2870" y="1499"/>
                </a:cubicBezTo>
                <a:cubicBezTo>
                  <a:pt x="2868" y="1500"/>
                  <a:pt x="2866" y="1501"/>
                  <a:pt x="2865" y="1501"/>
                </a:cubicBezTo>
                <a:cubicBezTo>
                  <a:pt x="2862" y="1502"/>
                  <a:pt x="2861" y="1503"/>
                  <a:pt x="2859" y="1504"/>
                </a:cubicBezTo>
                <a:cubicBezTo>
                  <a:pt x="2859" y="1504"/>
                  <a:pt x="2859" y="1504"/>
                  <a:pt x="2859" y="1514"/>
                </a:cubicBezTo>
                <a:cubicBezTo>
                  <a:pt x="2862" y="1513"/>
                  <a:pt x="2865" y="1512"/>
                  <a:pt x="2867" y="1511"/>
                </a:cubicBezTo>
                <a:cubicBezTo>
                  <a:pt x="2870" y="1510"/>
                  <a:pt x="2872" y="1509"/>
                  <a:pt x="2874" y="1507"/>
                </a:cubicBezTo>
                <a:cubicBezTo>
                  <a:pt x="2874" y="1507"/>
                  <a:pt x="2874" y="1507"/>
                  <a:pt x="2874" y="1566"/>
                </a:cubicBezTo>
                <a:cubicBezTo>
                  <a:pt x="2874" y="1566"/>
                  <a:pt x="2874" y="1566"/>
                  <a:pt x="2886" y="1566"/>
                </a:cubicBezTo>
                <a:cubicBezTo>
                  <a:pt x="2886" y="1566"/>
                  <a:pt x="2886" y="1566"/>
                  <a:pt x="2886" y="1493"/>
                </a:cubicBezTo>
                <a:close/>
                <a:moveTo>
                  <a:pt x="2718" y="1566"/>
                </a:moveTo>
                <a:cubicBezTo>
                  <a:pt x="2721" y="1547"/>
                  <a:pt x="2721" y="1547"/>
                  <a:pt x="2721" y="1547"/>
                </a:cubicBezTo>
                <a:cubicBezTo>
                  <a:pt x="2712" y="1547"/>
                  <a:pt x="2712" y="1547"/>
                  <a:pt x="2712" y="1547"/>
                </a:cubicBezTo>
                <a:cubicBezTo>
                  <a:pt x="2712" y="1535"/>
                  <a:pt x="2712" y="1535"/>
                  <a:pt x="2712" y="1535"/>
                </a:cubicBezTo>
                <a:cubicBezTo>
                  <a:pt x="2723" y="1535"/>
                  <a:pt x="2723" y="1535"/>
                  <a:pt x="2723" y="1535"/>
                </a:cubicBezTo>
                <a:cubicBezTo>
                  <a:pt x="2725" y="1524"/>
                  <a:pt x="2725" y="1524"/>
                  <a:pt x="2725" y="1524"/>
                </a:cubicBezTo>
                <a:cubicBezTo>
                  <a:pt x="2715" y="1524"/>
                  <a:pt x="2715" y="1524"/>
                  <a:pt x="2715" y="1524"/>
                </a:cubicBezTo>
                <a:cubicBezTo>
                  <a:pt x="2715" y="1512"/>
                  <a:pt x="2715" y="1512"/>
                  <a:pt x="2715" y="1512"/>
                </a:cubicBezTo>
                <a:cubicBezTo>
                  <a:pt x="2726" y="1512"/>
                  <a:pt x="2726" y="1512"/>
                  <a:pt x="2726" y="1512"/>
                </a:cubicBezTo>
                <a:cubicBezTo>
                  <a:pt x="2729" y="1494"/>
                  <a:pt x="2729" y="1494"/>
                  <a:pt x="2729" y="1494"/>
                </a:cubicBezTo>
                <a:cubicBezTo>
                  <a:pt x="2740" y="1494"/>
                  <a:pt x="2740" y="1494"/>
                  <a:pt x="2740" y="1494"/>
                </a:cubicBezTo>
                <a:cubicBezTo>
                  <a:pt x="2737" y="1512"/>
                  <a:pt x="2737" y="1512"/>
                  <a:pt x="2737" y="1512"/>
                </a:cubicBezTo>
                <a:cubicBezTo>
                  <a:pt x="2747" y="1512"/>
                  <a:pt x="2747" y="1512"/>
                  <a:pt x="2747" y="1512"/>
                </a:cubicBezTo>
                <a:cubicBezTo>
                  <a:pt x="2750" y="1494"/>
                  <a:pt x="2750" y="1494"/>
                  <a:pt x="2750" y="1494"/>
                </a:cubicBezTo>
                <a:cubicBezTo>
                  <a:pt x="2761" y="1494"/>
                  <a:pt x="2761" y="1494"/>
                  <a:pt x="2761" y="1494"/>
                </a:cubicBezTo>
                <a:cubicBezTo>
                  <a:pt x="2758" y="1512"/>
                  <a:pt x="2758" y="1512"/>
                  <a:pt x="2758" y="1512"/>
                </a:cubicBezTo>
                <a:cubicBezTo>
                  <a:pt x="2767" y="1512"/>
                  <a:pt x="2767" y="1512"/>
                  <a:pt x="2767" y="1512"/>
                </a:cubicBezTo>
                <a:cubicBezTo>
                  <a:pt x="2767" y="1524"/>
                  <a:pt x="2767" y="1524"/>
                  <a:pt x="2767" y="1524"/>
                </a:cubicBezTo>
                <a:cubicBezTo>
                  <a:pt x="2756" y="1524"/>
                  <a:pt x="2756" y="1524"/>
                  <a:pt x="2756" y="1524"/>
                </a:cubicBezTo>
                <a:cubicBezTo>
                  <a:pt x="2755" y="1535"/>
                  <a:pt x="2755" y="1535"/>
                  <a:pt x="2755" y="1535"/>
                </a:cubicBezTo>
                <a:cubicBezTo>
                  <a:pt x="2764" y="1535"/>
                  <a:pt x="2764" y="1535"/>
                  <a:pt x="2764" y="1535"/>
                </a:cubicBezTo>
                <a:cubicBezTo>
                  <a:pt x="2764" y="1547"/>
                  <a:pt x="2764" y="1547"/>
                  <a:pt x="2764" y="1547"/>
                </a:cubicBezTo>
                <a:cubicBezTo>
                  <a:pt x="2753" y="1547"/>
                  <a:pt x="2753" y="1547"/>
                  <a:pt x="2753" y="1547"/>
                </a:cubicBezTo>
                <a:cubicBezTo>
                  <a:pt x="2750" y="1566"/>
                  <a:pt x="2750" y="1566"/>
                  <a:pt x="2750" y="1566"/>
                </a:cubicBezTo>
                <a:cubicBezTo>
                  <a:pt x="2739" y="1566"/>
                  <a:pt x="2739" y="1566"/>
                  <a:pt x="2739" y="1566"/>
                </a:cubicBezTo>
                <a:cubicBezTo>
                  <a:pt x="2742" y="1547"/>
                  <a:pt x="2742" y="1547"/>
                  <a:pt x="2742" y="1547"/>
                </a:cubicBezTo>
                <a:cubicBezTo>
                  <a:pt x="2732" y="1547"/>
                  <a:pt x="2732" y="1547"/>
                  <a:pt x="2732" y="1547"/>
                </a:cubicBezTo>
                <a:cubicBezTo>
                  <a:pt x="2729" y="1566"/>
                  <a:pt x="2729" y="1566"/>
                  <a:pt x="2729" y="1566"/>
                </a:cubicBezTo>
                <a:cubicBezTo>
                  <a:pt x="2718" y="1566"/>
                  <a:pt x="2718" y="1566"/>
                  <a:pt x="2718" y="1566"/>
                </a:cubicBezTo>
                <a:cubicBezTo>
                  <a:pt x="2718" y="1566"/>
                  <a:pt x="2718" y="1566"/>
                  <a:pt x="2718" y="1566"/>
                </a:cubicBezTo>
                <a:close/>
                <a:moveTo>
                  <a:pt x="2744" y="1535"/>
                </a:moveTo>
                <a:cubicBezTo>
                  <a:pt x="2745" y="1524"/>
                  <a:pt x="2745" y="1524"/>
                  <a:pt x="2745" y="1524"/>
                </a:cubicBezTo>
                <a:cubicBezTo>
                  <a:pt x="2736" y="1524"/>
                  <a:pt x="2736" y="1524"/>
                  <a:pt x="2736" y="1524"/>
                </a:cubicBezTo>
                <a:cubicBezTo>
                  <a:pt x="2734" y="1535"/>
                  <a:pt x="2734" y="1535"/>
                  <a:pt x="2734" y="1535"/>
                </a:cubicBezTo>
                <a:cubicBezTo>
                  <a:pt x="2744" y="1535"/>
                  <a:pt x="2744" y="1535"/>
                  <a:pt x="2744" y="1535"/>
                </a:cubicBezTo>
                <a:cubicBezTo>
                  <a:pt x="2744" y="1535"/>
                  <a:pt x="2744" y="1535"/>
                  <a:pt x="2744" y="1535"/>
                </a:cubicBezTo>
                <a:close/>
                <a:moveTo>
                  <a:pt x="2262" y="1493"/>
                </a:moveTo>
                <a:cubicBezTo>
                  <a:pt x="2262" y="1493"/>
                  <a:pt x="2262" y="1493"/>
                  <a:pt x="2262" y="1493"/>
                </a:cubicBezTo>
                <a:cubicBezTo>
                  <a:pt x="2257" y="1493"/>
                  <a:pt x="2257" y="1493"/>
                  <a:pt x="2257" y="1493"/>
                </a:cubicBezTo>
                <a:cubicBezTo>
                  <a:pt x="2254" y="1494"/>
                  <a:pt x="2253" y="1496"/>
                  <a:pt x="2251" y="1496"/>
                </a:cubicBezTo>
                <a:cubicBezTo>
                  <a:pt x="2249" y="1498"/>
                  <a:pt x="2248" y="1498"/>
                  <a:pt x="2246" y="1499"/>
                </a:cubicBezTo>
                <a:cubicBezTo>
                  <a:pt x="2244" y="1501"/>
                  <a:pt x="2242" y="1501"/>
                  <a:pt x="2241" y="1502"/>
                </a:cubicBezTo>
                <a:cubicBezTo>
                  <a:pt x="2238" y="1503"/>
                  <a:pt x="2237" y="1504"/>
                  <a:pt x="2235" y="1504"/>
                </a:cubicBezTo>
                <a:cubicBezTo>
                  <a:pt x="2235" y="1504"/>
                  <a:pt x="2235" y="1504"/>
                  <a:pt x="2235" y="1514"/>
                </a:cubicBezTo>
                <a:cubicBezTo>
                  <a:pt x="2238" y="1513"/>
                  <a:pt x="2241" y="1512"/>
                  <a:pt x="2243" y="1511"/>
                </a:cubicBezTo>
                <a:cubicBezTo>
                  <a:pt x="2246" y="1510"/>
                  <a:pt x="2248" y="1509"/>
                  <a:pt x="2250" y="1507"/>
                </a:cubicBezTo>
                <a:cubicBezTo>
                  <a:pt x="2250" y="1507"/>
                  <a:pt x="2250" y="1507"/>
                  <a:pt x="2250" y="1566"/>
                </a:cubicBezTo>
                <a:cubicBezTo>
                  <a:pt x="2250" y="1566"/>
                  <a:pt x="2250" y="1566"/>
                  <a:pt x="2262" y="1566"/>
                </a:cubicBezTo>
                <a:cubicBezTo>
                  <a:pt x="2262" y="1566"/>
                  <a:pt x="2262" y="1566"/>
                  <a:pt x="2262" y="1493"/>
                </a:cubicBezTo>
                <a:close/>
                <a:moveTo>
                  <a:pt x="2309" y="1493"/>
                </a:moveTo>
                <a:cubicBezTo>
                  <a:pt x="2309" y="1493"/>
                  <a:pt x="2309" y="1493"/>
                  <a:pt x="2309" y="1493"/>
                </a:cubicBezTo>
                <a:cubicBezTo>
                  <a:pt x="2304" y="1493"/>
                  <a:pt x="2304" y="1493"/>
                  <a:pt x="2304" y="1493"/>
                </a:cubicBezTo>
                <a:cubicBezTo>
                  <a:pt x="2302" y="1494"/>
                  <a:pt x="2300" y="1496"/>
                  <a:pt x="2298" y="1496"/>
                </a:cubicBezTo>
                <a:cubicBezTo>
                  <a:pt x="2297" y="1498"/>
                  <a:pt x="2295" y="1498"/>
                  <a:pt x="2293" y="1499"/>
                </a:cubicBezTo>
                <a:cubicBezTo>
                  <a:pt x="2292" y="1501"/>
                  <a:pt x="2290" y="1501"/>
                  <a:pt x="2288" y="1502"/>
                </a:cubicBezTo>
                <a:cubicBezTo>
                  <a:pt x="2286" y="1503"/>
                  <a:pt x="2284" y="1504"/>
                  <a:pt x="2282" y="1504"/>
                </a:cubicBezTo>
                <a:cubicBezTo>
                  <a:pt x="2282" y="1504"/>
                  <a:pt x="2282" y="1504"/>
                  <a:pt x="2282" y="1514"/>
                </a:cubicBezTo>
                <a:cubicBezTo>
                  <a:pt x="2285" y="1513"/>
                  <a:pt x="2288" y="1512"/>
                  <a:pt x="2290" y="1511"/>
                </a:cubicBezTo>
                <a:cubicBezTo>
                  <a:pt x="2293" y="1510"/>
                  <a:pt x="2295" y="1509"/>
                  <a:pt x="2298" y="1507"/>
                </a:cubicBezTo>
                <a:cubicBezTo>
                  <a:pt x="2298" y="1507"/>
                  <a:pt x="2298" y="1507"/>
                  <a:pt x="2298" y="1566"/>
                </a:cubicBezTo>
                <a:cubicBezTo>
                  <a:pt x="2298" y="1566"/>
                  <a:pt x="2298" y="1566"/>
                  <a:pt x="2309" y="1566"/>
                </a:cubicBezTo>
                <a:cubicBezTo>
                  <a:pt x="2309" y="1566"/>
                  <a:pt x="2309" y="1566"/>
                  <a:pt x="2309" y="1493"/>
                </a:cubicBezTo>
                <a:close/>
                <a:moveTo>
                  <a:pt x="2356" y="1493"/>
                </a:moveTo>
                <a:cubicBezTo>
                  <a:pt x="2356" y="1493"/>
                  <a:pt x="2356" y="1493"/>
                  <a:pt x="2356" y="1493"/>
                </a:cubicBezTo>
                <a:cubicBezTo>
                  <a:pt x="2351" y="1493"/>
                  <a:pt x="2351" y="1493"/>
                  <a:pt x="2351" y="1493"/>
                </a:cubicBezTo>
                <a:cubicBezTo>
                  <a:pt x="2349" y="1494"/>
                  <a:pt x="2348" y="1496"/>
                  <a:pt x="2346" y="1496"/>
                </a:cubicBezTo>
                <a:cubicBezTo>
                  <a:pt x="2344" y="1498"/>
                  <a:pt x="2342" y="1498"/>
                  <a:pt x="2341" y="1499"/>
                </a:cubicBezTo>
                <a:cubicBezTo>
                  <a:pt x="2338" y="1500"/>
                  <a:pt x="2337" y="1501"/>
                  <a:pt x="2335" y="1501"/>
                </a:cubicBezTo>
                <a:cubicBezTo>
                  <a:pt x="2333" y="1502"/>
                  <a:pt x="2331" y="1503"/>
                  <a:pt x="2330" y="1504"/>
                </a:cubicBezTo>
                <a:cubicBezTo>
                  <a:pt x="2330" y="1504"/>
                  <a:pt x="2330" y="1504"/>
                  <a:pt x="2330" y="1514"/>
                </a:cubicBezTo>
                <a:cubicBezTo>
                  <a:pt x="2333" y="1513"/>
                  <a:pt x="2336" y="1512"/>
                  <a:pt x="2338" y="1511"/>
                </a:cubicBezTo>
                <a:cubicBezTo>
                  <a:pt x="2340" y="1510"/>
                  <a:pt x="2343" y="1509"/>
                  <a:pt x="2344" y="1507"/>
                </a:cubicBezTo>
                <a:cubicBezTo>
                  <a:pt x="2344" y="1507"/>
                  <a:pt x="2344" y="1507"/>
                  <a:pt x="2344" y="1566"/>
                </a:cubicBezTo>
                <a:cubicBezTo>
                  <a:pt x="2344" y="1566"/>
                  <a:pt x="2344" y="1566"/>
                  <a:pt x="2356" y="1566"/>
                </a:cubicBezTo>
                <a:cubicBezTo>
                  <a:pt x="2356" y="1566"/>
                  <a:pt x="2356" y="1566"/>
                  <a:pt x="2356" y="1493"/>
                </a:cubicBezTo>
                <a:close/>
                <a:moveTo>
                  <a:pt x="2563" y="1397"/>
                </a:moveTo>
                <a:cubicBezTo>
                  <a:pt x="2563" y="1397"/>
                  <a:pt x="2563" y="1397"/>
                  <a:pt x="2563" y="1397"/>
                </a:cubicBezTo>
                <a:cubicBezTo>
                  <a:pt x="2558" y="1397"/>
                  <a:pt x="2558" y="1397"/>
                  <a:pt x="2558" y="1397"/>
                </a:cubicBezTo>
                <a:cubicBezTo>
                  <a:pt x="2556" y="1398"/>
                  <a:pt x="2554" y="1400"/>
                  <a:pt x="2552" y="1400"/>
                </a:cubicBezTo>
                <a:cubicBezTo>
                  <a:pt x="2551" y="1402"/>
                  <a:pt x="2549" y="1402"/>
                  <a:pt x="2547" y="1403"/>
                </a:cubicBezTo>
                <a:cubicBezTo>
                  <a:pt x="2545" y="1404"/>
                  <a:pt x="2543" y="1405"/>
                  <a:pt x="2542" y="1405"/>
                </a:cubicBezTo>
                <a:cubicBezTo>
                  <a:pt x="2540" y="1406"/>
                  <a:pt x="2538" y="1407"/>
                  <a:pt x="2536" y="1408"/>
                </a:cubicBezTo>
                <a:cubicBezTo>
                  <a:pt x="2536" y="1408"/>
                  <a:pt x="2536" y="1408"/>
                  <a:pt x="2536" y="1418"/>
                </a:cubicBezTo>
                <a:cubicBezTo>
                  <a:pt x="2539" y="1417"/>
                  <a:pt x="2542" y="1416"/>
                  <a:pt x="2544" y="1415"/>
                </a:cubicBezTo>
                <a:cubicBezTo>
                  <a:pt x="2547" y="1414"/>
                  <a:pt x="2549" y="1413"/>
                  <a:pt x="2551" y="1411"/>
                </a:cubicBezTo>
                <a:cubicBezTo>
                  <a:pt x="2551" y="1411"/>
                  <a:pt x="2551" y="1411"/>
                  <a:pt x="2551" y="1470"/>
                </a:cubicBezTo>
                <a:cubicBezTo>
                  <a:pt x="2551" y="1470"/>
                  <a:pt x="2551" y="1470"/>
                  <a:pt x="2563" y="1470"/>
                </a:cubicBezTo>
                <a:cubicBezTo>
                  <a:pt x="2563" y="1470"/>
                  <a:pt x="2563" y="1470"/>
                  <a:pt x="2563" y="1397"/>
                </a:cubicBezTo>
                <a:close/>
                <a:moveTo>
                  <a:pt x="2610" y="1397"/>
                </a:moveTo>
                <a:cubicBezTo>
                  <a:pt x="2610" y="1397"/>
                  <a:pt x="2610" y="1397"/>
                  <a:pt x="2610" y="1397"/>
                </a:cubicBezTo>
                <a:cubicBezTo>
                  <a:pt x="2605" y="1397"/>
                  <a:pt x="2605" y="1397"/>
                  <a:pt x="2605" y="1397"/>
                </a:cubicBezTo>
                <a:cubicBezTo>
                  <a:pt x="2602" y="1398"/>
                  <a:pt x="2601" y="1400"/>
                  <a:pt x="2599" y="1400"/>
                </a:cubicBezTo>
                <a:cubicBezTo>
                  <a:pt x="2597" y="1402"/>
                  <a:pt x="2595" y="1402"/>
                  <a:pt x="2594" y="1403"/>
                </a:cubicBezTo>
                <a:cubicBezTo>
                  <a:pt x="2592" y="1405"/>
                  <a:pt x="2590" y="1405"/>
                  <a:pt x="2589" y="1406"/>
                </a:cubicBezTo>
                <a:cubicBezTo>
                  <a:pt x="2586" y="1407"/>
                  <a:pt x="2585" y="1408"/>
                  <a:pt x="2583" y="1408"/>
                </a:cubicBezTo>
                <a:cubicBezTo>
                  <a:pt x="2583" y="1408"/>
                  <a:pt x="2583" y="1408"/>
                  <a:pt x="2583" y="1418"/>
                </a:cubicBezTo>
                <a:cubicBezTo>
                  <a:pt x="2586" y="1417"/>
                  <a:pt x="2589" y="1416"/>
                  <a:pt x="2591" y="1415"/>
                </a:cubicBezTo>
                <a:cubicBezTo>
                  <a:pt x="2594" y="1414"/>
                  <a:pt x="2596" y="1413"/>
                  <a:pt x="2598" y="1411"/>
                </a:cubicBezTo>
                <a:cubicBezTo>
                  <a:pt x="2598" y="1411"/>
                  <a:pt x="2598" y="1411"/>
                  <a:pt x="2598" y="1470"/>
                </a:cubicBezTo>
                <a:cubicBezTo>
                  <a:pt x="2598" y="1470"/>
                  <a:pt x="2598" y="1470"/>
                  <a:pt x="2610" y="1470"/>
                </a:cubicBezTo>
                <a:cubicBezTo>
                  <a:pt x="2610" y="1470"/>
                  <a:pt x="2610" y="1470"/>
                  <a:pt x="2610" y="1397"/>
                </a:cubicBezTo>
                <a:close/>
                <a:moveTo>
                  <a:pt x="2655" y="1397"/>
                </a:moveTo>
                <a:cubicBezTo>
                  <a:pt x="2655" y="1397"/>
                  <a:pt x="2655" y="1397"/>
                  <a:pt x="2655" y="1397"/>
                </a:cubicBezTo>
                <a:cubicBezTo>
                  <a:pt x="2651" y="1397"/>
                  <a:pt x="2651" y="1397"/>
                  <a:pt x="2651" y="1397"/>
                </a:cubicBezTo>
                <a:cubicBezTo>
                  <a:pt x="2649" y="1398"/>
                  <a:pt x="2647" y="1400"/>
                  <a:pt x="2645" y="1400"/>
                </a:cubicBezTo>
                <a:cubicBezTo>
                  <a:pt x="2644" y="1402"/>
                  <a:pt x="2642" y="1402"/>
                  <a:pt x="2640" y="1403"/>
                </a:cubicBezTo>
                <a:cubicBezTo>
                  <a:pt x="2638" y="1405"/>
                  <a:pt x="2636" y="1405"/>
                  <a:pt x="2634" y="1406"/>
                </a:cubicBezTo>
                <a:cubicBezTo>
                  <a:pt x="2633" y="1407"/>
                  <a:pt x="2631" y="1408"/>
                  <a:pt x="2629" y="1408"/>
                </a:cubicBezTo>
                <a:cubicBezTo>
                  <a:pt x="2629" y="1408"/>
                  <a:pt x="2629" y="1408"/>
                  <a:pt x="2629" y="1418"/>
                </a:cubicBezTo>
                <a:cubicBezTo>
                  <a:pt x="2632" y="1417"/>
                  <a:pt x="2635" y="1416"/>
                  <a:pt x="2637" y="1415"/>
                </a:cubicBezTo>
                <a:cubicBezTo>
                  <a:pt x="2639" y="1414"/>
                  <a:pt x="2642" y="1413"/>
                  <a:pt x="2644" y="1411"/>
                </a:cubicBezTo>
                <a:cubicBezTo>
                  <a:pt x="2644" y="1411"/>
                  <a:pt x="2644" y="1411"/>
                  <a:pt x="2644" y="1470"/>
                </a:cubicBezTo>
                <a:cubicBezTo>
                  <a:pt x="2644" y="1470"/>
                  <a:pt x="2644" y="1470"/>
                  <a:pt x="2655" y="1470"/>
                </a:cubicBezTo>
                <a:cubicBezTo>
                  <a:pt x="2655" y="1470"/>
                  <a:pt x="2655" y="1470"/>
                  <a:pt x="2655" y="1397"/>
                </a:cubicBezTo>
                <a:close/>
                <a:moveTo>
                  <a:pt x="2702" y="1397"/>
                </a:moveTo>
                <a:cubicBezTo>
                  <a:pt x="2702" y="1397"/>
                  <a:pt x="2702" y="1397"/>
                  <a:pt x="2702" y="1397"/>
                </a:cubicBezTo>
                <a:cubicBezTo>
                  <a:pt x="2697" y="1397"/>
                  <a:pt x="2697" y="1397"/>
                  <a:pt x="2697" y="1397"/>
                </a:cubicBezTo>
                <a:cubicBezTo>
                  <a:pt x="2695" y="1398"/>
                  <a:pt x="2694" y="1400"/>
                  <a:pt x="2691" y="1400"/>
                </a:cubicBezTo>
                <a:cubicBezTo>
                  <a:pt x="2690" y="1402"/>
                  <a:pt x="2688" y="1402"/>
                  <a:pt x="2686" y="1403"/>
                </a:cubicBezTo>
                <a:cubicBezTo>
                  <a:pt x="2685" y="1405"/>
                  <a:pt x="2683" y="1405"/>
                  <a:pt x="2681" y="1406"/>
                </a:cubicBezTo>
                <a:cubicBezTo>
                  <a:pt x="2679" y="1407"/>
                  <a:pt x="2678" y="1408"/>
                  <a:pt x="2675" y="1408"/>
                </a:cubicBezTo>
                <a:cubicBezTo>
                  <a:pt x="2675" y="1408"/>
                  <a:pt x="2675" y="1408"/>
                  <a:pt x="2675" y="1418"/>
                </a:cubicBezTo>
                <a:cubicBezTo>
                  <a:pt x="2678" y="1417"/>
                  <a:pt x="2681" y="1416"/>
                  <a:pt x="2683" y="1415"/>
                </a:cubicBezTo>
                <a:cubicBezTo>
                  <a:pt x="2686" y="1414"/>
                  <a:pt x="2688" y="1413"/>
                  <a:pt x="2691" y="1411"/>
                </a:cubicBezTo>
                <a:cubicBezTo>
                  <a:pt x="2691" y="1411"/>
                  <a:pt x="2691" y="1411"/>
                  <a:pt x="2691" y="1470"/>
                </a:cubicBezTo>
                <a:cubicBezTo>
                  <a:pt x="2691" y="1470"/>
                  <a:pt x="2691" y="1470"/>
                  <a:pt x="2702" y="1470"/>
                </a:cubicBezTo>
                <a:cubicBezTo>
                  <a:pt x="2702" y="1470"/>
                  <a:pt x="2702" y="1470"/>
                  <a:pt x="2702" y="1397"/>
                </a:cubicBezTo>
                <a:close/>
                <a:moveTo>
                  <a:pt x="2824" y="1397"/>
                </a:moveTo>
                <a:cubicBezTo>
                  <a:pt x="2824" y="1397"/>
                  <a:pt x="2824" y="1397"/>
                  <a:pt x="2824" y="1397"/>
                </a:cubicBezTo>
                <a:cubicBezTo>
                  <a:pt x="2819" y="1397"/>
                  <a:pt x="2819" y="1397"/>
                  <a:pt x="2819" y="1397"/>
                </a:cubicBezTo>
                <a:cubicBezTo>
                  <a:pt x="2817" y="1398"/>
                  <a:pt x="2815" y="1400"/>
                  <a:pt x="2813" y="1400"/>
                </a:cubicBezTo>
                <a:cubicBezTo>
                  <a:pt x="2812" y="1402"/>
                  <a:pt x="2810" y="1402"/>
                  <a:pt x="2808" y="1403"/>
                </a:cubicBezTo>
                <a:cubicBezTo>
                  <a:pt x="2806" y="1405"/>
                  <a:pt x="2804" y="1405"/>
                  <a:pt x="2803" y="1406"/>
                </a:cubicBezTo>
                <a:cubicBezTo>
                  <a:pt x="2801" y="1407"/>
                  <a:pt x="2799" y="1408"/>
                  <a:pt x="2797" y="1408"/>
                </a:cubicBezTo>
                <a:cubicBezTo>
                  <a:pt x="2797" y="1408"/>
                  <a:pt x="2797" y="1408"/>
                  <a:pt x="2797" y="1418"/>
                </a:cubicBezTo>
                <a:cubicBezTo>
                  <a:pt x="2800" y="1417"/>
                  <a:pt x="2803" y="1416"/>
                  <a:pt x="2806" y="1415"/>
                </a:cubicBezTo>
                <a:cubicBezTo>
                  <a:pt x="2808" y="1414"/>
                  <a:pt x="2810" y="1413"/>
                  <a:pt x="2812" y="1411"/>
                </a:cubicBezTo>
                <a:cubicBezTo>
                  <a:pt x="2812" y="1411"/>
                  <a:pt x="2812" y="1411"/>
                  <a:pt x="2812" y="1470"/>
                </a:cubicBezTo>
                <a:cubicBezTo>
                  <a:pt x="2812" y="1470"/>
                  <a:pt x="2812" y="1470"/>
                  <a:pt x="2824" y="1470"/>
                </a:cubicBezTo>
                <a:cubicBezTo>
                  <a:pt x="2824" y="1470"/>
                  <a:pt x="2824" y="1470"/>
                  <a:pt x="2824" y="1397"/>
                </a:cubicBezTo>
                <a:close/>
                <a:moveTo>
                  <a:pt x="2871" y="1397"/>
                </a:moveTo>
                <a:cubicBezTo>
                  <a:pt x="2871" y="1397"/>
                  <a:pt x="2871" y="1397"/>
                  <a:pt x="2871" y="1397"/>
                </a:cubicBezTo>
                <a:cubicBezTo>
                  <a:pt x="2866" y="1397"/>
                  <a:pt x="2866" y="1397"/>
                  <a:pt x="2866" y="1397"/>
                </a:cubicBezTo>
                <a:cubicBezTo>
                  <a:pt x="2864" y="1398"/>
                  <a:pt x="2862" y="1400"/>
                  <a:pt x="2860" y="1400"/>
                </a:cubicBezTo>
                <a:cubicBezTo>
                  <a:pt x="2859" y="1402"/>
                  <a:pt x="2856" y="1402"/>
                  <a:pt x="2855" y="1403"/>
                </a:cubicBezTo>
                <a:cubicBezTo>
                  <a:pt x="2853" y="1405"/>
                  <a:pt x="2851" y="1405"/>
                  <a:pt x="2850" y="1406"/>
                </a:cubicBezTo>
                <a:cubicBezTo>
                  <a:pt x="2848" y="1407"/>
                  <a:pt x="2846" y="1408"/>
                  <a:pt x="2844" y="1408"/>
                </a:cubicBezTo>
                <a:cubicBezTo>
                  <a:pt x="2844" y="1408"/>
                  <a:pt x="2844" y="1408"/>
                  <a:pt x="2844" y="1418"/>
                </a:cubicBezTo>
                <a:cubicBezTo>
                  <a:pt x="2847" y="1417"/>
                  <a:pt x="2850" y="1416"/>
                  <a:pt x="2852" y="1415"/>
                </a:cubicBezTo>
                <a:cubicBezTo>
                  <a:pt x="2855" y="1414"/>
                  <a:pt x="2857" y="1413"/>
                  <a:pt x="2859" y="1411"/>
                </a:cubicBezTo>
                <a:cubicBezTo>
                  <a:pt x="2859" y="1411"/>
                  <a:pt x="2859" y="1411"/>
                  <a:pt x="2859" y="1470"/>
                </a:cubicBezTo>
                <a:cubicBezTo>
                  <a:pt x="2859" y="1470"/>
                  <a:pt x="2859" y="1470"/>
                  <a:pt x="2871" y="1470"/>
                </a:cubicBezTo>
                <a:cubicBezTo>
                  <a:pt x="2871" y="1470"/>
                  <a:pt x="2871" y="1470"/>
                  <a:pt x="2871" y="1397"/>
                </a:cubicBezTo>
                <a:close/>
                <a:moveTo>
                  <a:pt x="2722" y="1429"/>
                </a:moveTo>
                <a:cubicBezTo>
                  <a:pt x="2722" y="1429"/>
                  <a:pt x="2722" y="1429"/>
                  <a:pt x="2722" y="1429"/>
                </a:cubicBezTo>
                <a:cubicBezTo>
                  <a:pt x="2722" y="1437"/>
                  <a:pt x="2722" y="1437"/>
                  <a:pt x="2722" y="1437"/>
                </a:cubicBezTo>
                <a:cubicBezTo>
                  <a:pt x="2728" y="1438"/>
                  <a:pt x="2729" y="1441"/>
                  <a:pt x="2729" y="1443"/>
                </a:cubicBezTo>
                <a:cubicBezTo>
                  <a:pt x="2729" y="1445"/>
                  <a:pt x="2729" y="1448"/>
                  <a:pt x="2729" y="1450"/>
                </a:cubicBezTo>
                <a:cubicBezTo>
                  <a:pt x="2728" y="1453"/>
                  <a:pt x="2728" y="1455"/>
                  <a:pt x="2728" y="1457"/>
                </a:cubicBezTo>
                <a:cubicBezTo>
                  <a:pt x="2728" y="1467"/>
                  <a:pt x="2734" y="1470"/>
                  <a:pt x="2743" y="1470"/>
                </a:cubicBezTo>
                <a:cubicBezTo>
                  <a:pt x="2743" y="1470"/>
                  <a:pt x="2743" y="1470"/>
                  <a:pt x="2746" y="1470"/>
                </a:cubicBezTo>
                <a:cubicBezTo>
                  <a:pt x="2746" y="1470"/>
                  <a:pt x="2746" y="1470"/>
                  <a:pt x="2746" y="1461"/>
                </a:cubicBezTo>
                <a:cubicBezTo>
                  <a:pt x="2746" y="1461"/>
                  <a:pt x="2746" y="1461"/>
                  <a:pt x="2745" y="1461"/>
                </a:cubicBezTo>
                <a:cubicBezTo>
                  <a:pt x="2741" y="1461"/>
                  <a:pt x="2740" y="1459"/>
                  <a:pt x="2740" y="1455"/>
                </a:cubicBezTo>
                <a:cubicBezTo>
                  <a:pt x="2740" y="1454"/>
                  <a:pt x="2740" y="1452"/>
                  <a:pt x="2740" y="1450"/>
                </a:cubicBezTo>
                <a:cubicBezTo>
                  <a:pt x="2740" y="1449"/>
                  <a:pt x="2741" y="1447"/>
                  <a:pt x="2741" y="1444"/>
                </a:cubicBezTo>
                <a:cubicBezTo>
                  <a:pt x="2741" y="1437"/>
                  <a:pt x="2738" y="1434"/>
                  <a:pt x="2732" y="1433"/>
                </a:cubicBezTo>
                <a:cubicBezTo>
                  <a:pt x="2732" y="1433"/>
                  <a:pt x="2732" y="1433"/>
                  <a:pt x="2732" y="1433"/>
                </a:cubicBezTo>
                <a:cubicBezTo>
                  <a:pt x="2738" y="1432"/>
                  <a:pt x="2741" y="1429"/>
                  <a:pt x="2741" y="1422"/>
                </a:cubicBezTo>
                <a:cubicBezTo>
                  <a:pt x="2741" y="1419"/>
                  <a:pt x="2740" y="1417"/>
                  <a:pt x="2740" y="1416"/>
                </a:cubicBezTo>
                <a:cubicBezTo>
                  <a:pt x="2740" y="1414"/>
                  <a:pt x="2740" y="1412"/>
                  <a:pt x="2740" y="1411"/>
                </a:cubicBezTo>
                <a:cubicBezTo>
                  <a:pt x="2740" y="1407"/>
                  <a:pt x="2741" y="1405"/>
                  <a:pt x="2745" y="1405"/>
                </a:cubicBezTo>
                <a:cubicBezTo>
                  <a:pt x="2745" y="1405"/>
                  <a:pt x="2745" y="1405"/>
                  <a:pt x="2746" y="1405"/>
                </a:cubicBezTo>
                <a:cubicBezTo>
                  <a:pt x="2746" y="1405"/>
                  <a:pt x="2746" y="1405"/>
                  <a:pt x="2746" y="1396"/>
                </a:cubicBezTo>
                <a:cubicBezTo>
                  <a:pt x="2746" y="1396"/>
                  <a:pt x="2746" y="1396"/>
                  <a:pt x="2743" y="1396"/>
                </a:cubicBezTo>
                <a:cubicBezTo>
                  <a:pt x="2734" y="1396"/>
                  <a:pt x="2728" y="1400"/>
                  <a:pt x="2728" y="1408"/>
                </a:cubicBezTo>
                <a:cubicBezTo>
                  <a:pt x="2728" y="1411"/>
                  <a:pt x="2728" y="1413"/>
                  <a:pt x="2728" y="1416"/>
                </a:cubicBezTo>
                <a:cubicBezTo>
                  <a:pt x="2729" y="1418"/>
                  <a:pt x="2729" y="1421"/>
                  <a:pt x="2729" y="1423"/>
                </a:cubicBezTo>
                <a:cubicBezTo>
                  <a:pt x="2729" y="1425"/>
                  <a:pt x="2728" y="1429"/>
                  <a:pt x="2722" y="1429"/>
                </a:cubicBezTo>
                <a:close/>
                <a:moveTo>
                  <a:pt x="2777" y="1437"/>
                </a:moveTo>
                <a:cubicBezTo>
                  <a:pt x="2777" y="1437"/>
                  <a:pt x="2777" y="1437"/>
                  <a:pt x="2777" y="1437"/>
                </a:cubicBezTo>
                <a:cubicBezTo>
                  <a:pt x="2777" y="1429"/>
                  <a:pt x="2777" y="1429"/>
                  <a:pt x="2777" y="1429"/>
                </a:cubicBezTo>
                <a:cubicBezTo>
                  <a:pt x="2771" y="1429"/>
                  <a:pt x="2770" y="1425"/>
                  <a:pt x="2770" y="1423"/>
                </a:cubicBezTo>
                <a:cubicBezTo>
                  <a:pt x="2770" y="1421"/>
                  <a:pt x="2770" y="1418"/>
                  <a:pt x="2771" y="1416"/>
                </a:cubicBezTo>
                <a:cubicBezTo>
                  <a:pt x="2771" y="1413"/>
                  <a:pt x="2771" y="1411"/>
                  <a:pt x="2771" y="1408"/>
                </a:cubicBezTo>
                <a:cubicBezTo>
                  <a:pt x="2771" y="1400"/>
                  <a:pt x="2766" y="1396"/>
                  <a:pt x="2757" y="1396"/>
                </a:cubicBezTo>
                <a:cubicBezTo>
                  <a:pt x="2757" y="1396"/>
                  <a:pt x="2757" y="1396"/>
                  <a:pt x="2753" y="1396"/>
                </a:cubicBezTo>
                <a:cubicBezTo>
                  <a:pt x="2753" y="1396"/>
                  <a:pt x="2753" y="1396"/>
                  <a:pt x="2753" y="1405"/>
                </a:cubicBezTo>
                <a:cubicBezTo>
                  <a:pt x="2753" y="1405"/>
                  <a:pt x="2753" y="1405"/>
                  <a:pt x="2755" y="1405"/>
                </a:cubicBezTo>
                <a:cubicBezTo>
                  <a:pt x="2758" y="1405"/>
                  <a:pt x="2760" y="1407"/>
                  <a:pt x="2760" y="1411"/>
                </a:cubicBezTo>
                <a:cubicBezTo>
                  <a:pt x="2760" y="1412"/>
                  <a:pt x="2759" y="1414"/>
                  <a:pt x="2759" y="1416"/>
                </a:cubicBezTo>
                <a:cubicBezTo>
                  <a:pt x="2759" y="1417"/>
                  <a:pt x="2759" y="1419"/>
                  <a:pt x="2759" y="1422"/>
                </a:cubicBezTo>
                <a:cubicBezTo>
                  <a:pt x="2759" y="1429"/>
                  <a:pt x="2762" y="1432"/>
                  <a:pt x="2768" y="1433"/>
                </a:cubicBezTo>
                <a:cubicBezTo>
                  <a:pt x="2768" y="1433"/>
                  <a:pt x="2768" y="1433"/>
                  <a:pt x="2768" y="1433"/>
                </a:cubicBezTo>
                <a:cubicBezTo>
                  <a:pt x="2762" y="1434"/>
                  <a:pt x="2759" y="1437"/>
                  <a:pt x="2759" y="1444"/>
                </a:cubicBezTo>
                <a:cubicBezTo>
                  <a:pt x="2759" y="1447"/>
                  <a:pt x="2759" y="1449"/>
                  <a:pt x="2759" y="1450"/>
                </a:cubicBezTo>
                <a:cubicBezTo>
                  <a:pt x="2759" y="1452"/>
                  <a:pt x="2760" y="1454"/>
                  <a:pt x="2760" y="1455"/>
                </a:cubicBezTo>
                <a:cubicBezTo>
                  <a:pt x="2760" y="1459"/>
                  <a:pt x="2759" y="1461"/>
                  <a:pt x="2755" y="1461"/>
                </a:cubicBezTo>
                <a:cubicBezTo>
                  <a:pt x="2755" y="1461"/>
                  <a:pt x="2755" y="1461"/>
                  <a:pt x="2753" y="1461"/>
                </a:cubicBezTo>
                <a:cubicBezTo>
                  <a:pt x="2753" y="1461"/>
                  <a:pt x="2753" y="1461"/>
                  <a:pt x="2753" y="1470"/>
                </a:cubicBezTo>
                <a:cubicBezTo>
                  <a:pt x="2753" y="1470"/>
                  <a:pt x="2753" y="1470"/>
                  <a:pt x="2757" y="1470"/>
                </a:cubicBezTo>
                <a:cubicBezTo>
                  <a:pt x="2766" y="1470"/>
                  <a:pt x="2771" y="1467"/>
                  <a:pt x="2771" y="1457"/>
                </a:cubicBezTo>
                <a:cubicBezTo>
                  <a:pt x="2771" y="1455"/>
                  <a:pt x="2771" y="1453"/>
                  <a:pt x="2771" y="1450"/>
                </a:cubicBezTo>
                <a:cubicBezTo>
                  <a:pt x="2770" y="1448"/>
                  <a:pt x="2770" y="1445"/>
                  <a:pt x="2770" y="1443"/>
                </a:cubicBezTo>
                <a:cubicBezTo>
                  <a:pt x="2770" y="1441"/>
                  <a:pt x="2771" y="1438"/>
                  <a:pt x="2777" y="1437"/>
                </a:cubicBezTo>
                <a:close/>
                <a:moveTo>
                  <a:pt x="2163" y="1470"/>
                </a:moveTo>
                <a:cubicBezTo>
                  <a:pt x="2156" y="1470"/>
                  <a:pt x="2149" y="1467"/>
                  <a:pt x="2145" y="1461"/>
                </a:cubicBezTo>
                <a:cubicBezTo>
                  <a:pt x="2141" y="1455"/>
                  <a:pt x="2139" y="1446"/>
                  <a:pt x="2139" y="1434"/>
                </a:cubicBezTo>
                <a:cubicBezTo>
                  <a:pt x="2139" y="1421"/>
                  <a:pt x="2141" y="1411"/>
                  <a:pt x="2145" y="1404"/>
                </a:cubicBezTo>
                <a:cubicBezTo>
                  <a:pt x="2150" y="1398"/>
                  <a:pt x="2156" y="1394"/>
                  <a:pt x="2165" y="1394"/>
                </a:cubicBezTo>
                <a:cubicBezTo>
                  <a:pt x="2182" y="1394"/>
                  <a:pt x="2190" y="1407"/>
                  <a:pt x="2190" y="1432"/>
                </a:cubicBezTo>
                <a:cubicBezTo>
                  <a:pt x="2190" y="1445"/>
                  <a:pt x="2187" y="1454"/>
                  <a:pt x="2182" y="1461"/>
                </a:cubicBezTo>
                <a:cubicBezTo>
                  <a:pt x="2178" y="1467"/>
                  <a:pt x="2171" y="1470"/>
                  <a:pt x="2163" y="1470"/>
                </a:cubicBezTo>
                <a:close/>
                <a:moveTo>
                  <a:pt x="2165" y="1404"/>
                </a:moveTo>
                <a:cubicBezTo>
                  <a:pt x="2155" y="1404"/>
                  <a:pt x="2151" y="1414"/>
                  <a:pt x="2151" y="1434"/>
                </a:cubicBezTo>
                <a:cubicBezTo>
                  <a:pt x="2151" y="1452"/>
                  <a:pt x="2155" y="1461"/>
                  <a:pt x="2164" y="1461"/>
                </a:cubicBezTo>
                <a:cubicBezTo>
                  <a:pt x="2173" y="1461"/>
                  <a:pt x="2177" y="1452"/>
                  <a:pt x="2177" y="1433"/>
                </a:cubicBezTo>
                <a:cubicBezTo>
                  <a:pt x="2177" y="1413"/>
                  <a:pt x="2173" y="1404"/>
                  <a:pt x="2165" y="1404"/>
                </a:cubicBezTo>
                <a:close/>
                <a:moveTo>
                  <a:pt x="2233" y="1470"/>
                </a:moveTo>
                <a:cubicBezTo>
                  <a:pt x="2226" y="1470"/>
                  <a:pt x="2220" y="1467"/>
                  <a:pt x="2216" y="1461"/>
                </a:cubicBezTo>
                <a:cubicBezTo>
                  <a:pt x="2211" y="1455"/>
                  <a:pt x="2209" y="1446"/>
                  <a:pt x="2209" y="1434"/>
                </a:cubicBezTo>
                <a:cubicBezTo>
                  <a:pt x="2209" y="1421"/>
                  <a:pt x="2211" y="1411"/>
                  <a:pt x="2216" y="1404"/>
                </a:cubicBezTo>
                <a:cubicBezTo>
                  <a:pt x="2220" y="1398"/>
                  <a:pt x="2227" y="1394"/>
                  <a:pt x="2236" y="1394"/>
                </a:cubicBezTo>
                <a:cubicBezTo>
                  <a:pt x="2252" y="1394"/>
                  <a:pt x="2260" y="1407"/>
                  <a:pt x="2260" y="1432"/>
                </a:cubicBezTo>
                <a:cubicBezTo>
                  <a:pt x="2260" y="1445"/>
                  <a:pt x="2258" y="1454"/>
                  <a:pt x="2253" y="1461"/>
                </a:cubicBezTo>
                <a:cubicBezTo>
                  <a:pt x="2248" y="1467"/>
                  <a:pt x="2242" y="1470"/>
                  <a:pt x="2233" y="1470"/>
                </a:cubicBezTo>
                <a:close/>
                <a:moveTo>
                  <a:pt x="2235" y="1404"/>
                </a:moveTo>
                <a:cubicBezTo>
                  <a:pt x="2226" y="1404"/>
                  <a:pt x="2221" y="1414"/>
                  <a:pt x="2221" y="1434"/>
                </a:cubicBezTo>
                <a:cubicBezTo>
                  <a:pt x="2221" y="1452"/>
                  <a:pt x="2225" y="1461"/>
                  <a:pt x="2234" y="1461"/>
                </a:cubicBezTo>
                <a:cubicBezTo>
                  <a:pt x="2243" y="1461"/>
                  <a:pt x="2247" y="1452"/>
                  <a:pt x="2247" y="1433"/>
                </a:cubicBezTo>
                <a:cubicBezTo>
                  <a:pt x="2247" y="1413"/>
                  <a:pt x="2243" y="1404"/>
                  <a:pt x="2235" y="1404"/>
                </a:cubicBezTo>
                <a:close/>
                <a:moveTo>
                  <a:pt x="2444" y="1470"/>
                </a:moveTo>
                <a:cubicBezTo>
                  <a:pt x="2436" y="1470"/>
                  <a:pt x="2430" y="1467"/>
                  <a:pt x="2426" y="1461"/>
                </a:cubicBezTo>
                <a:cubicBezTo>
                  <a:pt x="2422" y="1455"/>
                  <a:pt x="2420" y="1445"/>
                  <a:pt x="2420" y="1434"/>
                </a:cubicBezTo>
                <a:cubicBezTo>
                  <a:pt x="2420" y="1421"/>
                  <a:pt x="2422" y="1411"/>
                  <a:pt x="2426" y="1404"/>
                </a:cubicBezTo>
                <a:cubicBezTo>
                  <a:pt x="2430" y="1397"/>
                  <a:pt x="2437" y="1394"/>
                  <a:pt x="2446" y="1394"/>
                </a:cubicBezTo>
                <a:cubicBezTo>
                  <a:pt x="2462" y="1394"/>
                  <a:pt x="2470" y="1407"/>
                  <a:pt x="2470" y="1431"/>
                </a:cubicBezTo>
                <a:cubicBezTo>
                  <a:pt x="2470" y="1445"/>
                  <a:pt x="2468" y="1454"/>
                  <a:pt x="2463" y="1461"/>
                </a:cubicBezTo>
                <a:cubicBezTo>
                  <a:pt x="2458" y="1467"/>
                  <a:pt x="2452" y="1470"/>
                  <a:pt x="2444" y="1470"/>
                </a:cubicBezTo>
                <a:close/>
                <a:moveTo>
                  <a:pt x="2445" y="1404"/>
                </a:moveTo>
                <a:cubicBezTo>
                  <a:pt x="2436" y="1404"/>
                  <a:pt x="2432" y="1413"/>
                  <a:pt x="2432" y="1433"/>
                </a:cubicBezTo>
                <a:cubicBezTo>
                  <a:pt x="2432" y="1451"/>
                  <a:pt x="2436" y="1461"/>
                  <a:pt x="2445" y="1461"/>
                </a:cubicBezTo>
                <a:cubicBezTo>
                  <a:pt x="2453" y="1461"/>
                  <a:pt x="2458" y="1451"/>
                  <a:pt x="2458" y="1433"/>
                </a:cubicBezTo>
                <a:cubicBezTo>
                  <a:pt x="2458" y="1413"/>
                  <a:pt x="2454" y="1404"/>
                  <a:pt x="2445" y="1404"/>
                </a:cubicBezTo>
                <a:close/>
                <a:moveTo>
                  <a:pt x="2516" y="1397"/>
                </a:moveTo>
                <a:cubicBezTo>
                  <a:pt x="2516" y="1397"/>
                  <a:pt x="2516" y="1397"/>
                  <a:pt x="2516" y="1397"/>
                </a:cubicBezTo>
                <a:cubicBezTo>
                  <a:pt x="2511" y="1397"/>
                  <a:pt x="2511" y="1397"/>
                  <a:pt x="2511" y="1397"/>
                </a:cubicBezTo>
                <a:cubicBezTo>
                  <a:pt x="2509" y="1398"/>
                  <a:pt x="2507" y="1400"/>
                  <a:pt x="2505" y="1400"/>
                </a:cubicBezTo>
                <a:cubicBezTo>
                  <a:pt x="2504" y="1402"/>
                  <a:pt x="2502" y="1402"/>
                  <a:pt x="2500" y="1403"/>
                </a:cubicBezTo>
                <a:cubicBezTo>
                  <a:pt x="2499" y="1404"/>
                  <a:pt x="2497" y="1405"/>
                  <a:pt x="2495" y="1405"/>
                </a:cubicBezTo>
                <a:cubicBezTo>
                  <a:pt x="2493" y="1406"/>
                  <a:pt x="2492" y="1407"/>
                  <a:pt x="2490" y="1408"/>
                </a:cubicBezTo>
                <a:cubicBezTo>
                  <a:pt x="2490" y="1408"/>
                  <a:pt x="2490" y="1408"/>
                  <a:pt x="2490" y="1418"/>
                </a:cubicBezTo>
                <a:cubicBezTo>
                  <a:pt x="2492" y="1417"/>
                  <a:pt x="2495" y="1416"/>
                  <a:pt x="2497" y="1415"/>
                </a:cubicBezTo>
                <a:cubicBezTo>
                  <a:pt x="2500" y="1414"/>
                  <a:pt x="2502" y="1413"/>
                  <a:pt x="2505" y="1411"/>
                </a:cubicBezTo>
                <a:cubicBezTo>
                  <a:pt x="2505" y="1411"/>
                  <a:pt x="2505" y="1411"/>
                  <a:pt x="2505" y="1470"/>
                </a:cubicBezTo>
                <a:cubicBezTo>
                  <a:pt x="2505" y="1470"/>
                  <a:pt x="2505" y="1470"/>
                  <a:pt x="2516" y="1470"/>
                </a:cubicBezTo>
                <a:cubicBezTo>
                  <a:pt x="2516" y="1470"/>
                  <a:pt x="2516" y="1470"/>
                  <a:pt x="2516" y="1397"/>
                </a:cubicBezTo>
                <a:close/>
                <a:moveTo>
                  <a:pt x="2307" y="1397"/>
                </a:moveTo>
                <a:cubicBezTo>
                  <a:pt x="2307" y="1397"/>
                  <a:pt x="2307" y="1397"/>
                  <a:pt x="2307" y="1397"/>
                </a:cubicBezTo>
                <a:cubicBezTo>
                  <a:pt x="2302" y="1397"/>
                  <a:pt x="2302" y="1397"/>
                  <a:pt x="2302" y="1397"/>
                </a:cubicBezTo>
                <a:cubicBezTo>
                  <a:pt x="2299" y="1398"/>
                  <a:pt x="2298" y="1400"/>
                  <a:pt x="2296" y="1400"/>
                </a:cubicBezTo>
                <a:cubicBezTo>
                  <a:pt x="2294" y="1402"/>
                  <a:pt x="2293" y="1402"/>
                  <a:pt x="2290" y="1403"/>
                </a:cubicBezTo>
                <a:cubicBezTo>
                  <a:pt x="2289" y="1405"/>
                  <a:pt x="2287" y="1405"/>
                  <a:pt x="2285" y="1406"/>
                </a:cubicBezTo>
                <a:cubicBezTo>
                  <a:pt x="2283" y="1407"/>
                  <a:pt x="2282" y="1408"/>
                  <a:pt x="2279" y="1408"/>
                </a:cubicBezTo>
                <a:cubicBezTo>
                  <a:pt x="2279" y="1408"/>
                  <a:pt x="2279" y="1408"/>
                  <a:pt x="2279" y="1418"/>
                </a:cubicBezTo>
                <a:cubicBezTo>
                  <a:pt x="2282" y="1417"/>
                  <a:pt x="2285" y="1416"/>
                  <a:pt x="2288" y="1415"/>
                </a:cubicBezTo>
                <a:cubicBezTo>
                  <a:pt x="2290" y="1414"/>
                  <a:pt x="2293" y="1413"/>
                  <a:pt x="2295" y="1411"/>
                </a:cubicBezTo>
                <a:cubicBezTo>
                  <a:pt x="2295" y="1411"/>
                  <a:pt x="2295" y="1411"/>
                  <a:pt x="2295" y="1470"/>
                </a:cubicBezTo>
                <a:cubicBezTo>
                  <a:pt x="2295" y="1470"/>
                  <a:pt x="2295" y="1470"/>
                  <a:pt x="2307" y="1470"/>
                </a:cubicBezTo>
                <a:cubicBezTo>
                  <a:pt x="2307" y="1470"/>
                  <a:pt x="2307" y="1470"/>
                  <a:pt x="2307" y="1397"/>
                </a:cubicBezTo>
                <a:close/>
                <a:moveTo>
                  <a:pt x="2354" y="1397"/>
                </a:moveTo>
                <a:cubicBezTo>
                  <a:pt x="2354" y="1397"/>
                  <a:pt x="2354" y="1397"/>
                  <a:pt x="2354" y="1397"/>
                </a:cubicBezTo>
                <a:cubicBezTo>
                  <a:pt x="2349" y="1397"/>
                  <a:pt x="2349" y="1397"/>
                  <a:pt x="2349" y="1397"/>
                </a:cubicBezTo>
                <a:cubicBezTo>
                  <a:pt x="2346" y="1398"/>
                  <a:pt x="2345" y="1400"/>
                  <a:pt x="2343" y="1400"/>
                </a:cubicBezTo>
                <a:cubicBezTo>
                  <a:pt x="2341" y="1402"/>
                  <a:pt x="2339" y="1402"/>
                  <a:pt x="2338" y="1403"/>
                </a:cubicBezTo>
                <a:cubicBezTo>
                  <a:pt x="2336" y="1405"/>
                  <a:pt x="2334" y="1405"/>
                  <a:pt x="2332" y="1406"/>
                </a:cubicBezTo>
                <a:cubicBezTo>
                  <a:pt x="2330" y="1407"/>
                  <a:pt x="2329" y="1408"/>
                  <a:pt x="2326" y="1408"/>
                </a:cubicBezTo>
                <a:cubicBezTo>
                  <a:pt x="2326" y="1408"/>
                  <a:pt x="2326" y="1408"/>
                  <a:pt x="2326" y="1418"/>
                </a:cubicBezTo>
                <a:cubicBezTo>
                  <a:pt x="2329" y="1417"/>
                  <a:pt x="2332" y="1416"/>
                  <a:pt x="2335" y="1415"/>
                </a:cubicBezTo>
                <a:cubicBezTo>
                  <a:pt x="2338" y="1414"/>
                  <a:pt x="2340" y="1413"/>
                  <a:pt x="2342" y="1411"/>
                </a:cubicBezTo>
                <a:cubicBezTo>
                  <a:pt x="2342" y="1411"/>
                  <a:pt x="2342" y="1411"/>
                  <a:pt x="2342" y="1470"/>
                </a:cubicBezTo>
                <a:cubicBezTo>
                  <a:pt x="2342" y="1470"/>
                  <a:pt x="2342" y="1470"/>
                  <a:pt x="2354" y="1470"/>
                </a:cubicBezTo>
                <a:cubicBezTo>
                  <a:pt x="2354" y="1470"/>
                  <a:pt x="2354" y="1470"/>
                  <a:pt x="2354" y="1397"/>
                </a:cubicBezTo>
                <a:close/>
                <a:moveTo>
                  <a:pt x="2399" y="1397"/>
                </a:moveTo>
                <a:cubicBezTo>
                  <a:pt x="2399" y="1397"/>
                  <a:pt x="2399" y="1397"/>
                  <a:pt x="2399" y="1397"/>
                </a:cubicBezTo>
                <a:cubicBezTo>
                  <a:pt x="2395" y="1397"/>
                  <a:pt x="2395" y="1397"/>
                  <a:pt x="2395" y="1397"/>
                </a:cubicBezTo>
                <a:cubicBezTo>
                  <a:pt x="2393" y="1398"/>
                  <a:pt x="2391" y="1400"/>
                  <a:pt x="2389" y="1400"/>
                </a:cubicBezTo>
                <a:cubicBezTo>
                  <a:pt x="2388" y="1402"/>
                  <a:pt x="2386" y="1402"/>
                  <a:pt x="2384" y="1403"/>
                </a:cubicBezTo>
                <a:cubicBezTo>
                  <a:pt x="2382" y="1404"/>
                  <a:pt x="2381" y="1405"/>
                  <a:pt x="2378" y="1405"/>
                </a:cubicBezTo>
                <a:cubicBezTo>
                  <a:pt x="2377" y="1406"/>
                  <a:pt x="2375" y="1407"/>
                  <a:pt x="2373" y="1408"/>
                </a:cubicBezTo>
                <a:cubicBezTo>
                  <a:pt x="2373" y="1408"/>
                  <a:pt x="2373" y="1408"/>
                  <a:pt x="2373" y="1418"/>
                </a:cubicBezTo>
                <a:cubicBezTo>
                  <a:pt x="2376" y="1417"/>
                  <a:pt x="2379" y="1416"/>
                  <a:pt x="2381" y="1415"/>
                </a:cubicBezTo>
                <a:cubicBezTo>
                  <a:pt x="2384" y="1414"/>
                  <a:pt x="2386" y="1413"/>
                  <a:pt x="2388" y="1411"/>
                </a:cubicBezTo>
                <a:cubicBezTo>
                  <a:pt x="2388" y="1411"/>
                  <a:pt x="2388" y="1411"/>
                  <a:pt x="2388" y="1470"/>
                </a:cubicBezTo>
                <a:cubicBezTo>
                  <a:pt x="2388" y="1470"/>
                  <a:pt x="2388" y="1470"/>
                  <a:pt x="2399" y="1470"/>
                </a:cubicBezTo>
                <a:cubicBezTo>
                  <a:pt x="2399" y="1470"/>
                  <a:pt x="2399" y="1470"/>
                  <a:pt x="2399" y="1397"/>
                </a:cubicBezTo>
                <a:close/>
                <a:moveTo>
                  <a:pt x="1965" y="1470"/>
                </a:moveTo>
                <a:cubicBezTo>
                  <a:pt x="1958" y="1470"/>
                  <a:pt x="1951" y="1467"/>
                  <a:pt x="1948" y="1461"/>
                </a:cubicBezTo>
                <a:cubicBezTo>
                  <a:pt x="1943" y="1455"/>
                  <a:pt x="1941" y="1446"/>
                  <a:pt x="1941" y="1434"/>
                </a:cubicBezTo>
                <a:cubicBezTo>
                  <a:pt x="1941" y="1421"/>
                  <a:pt x="1943" y="1411"/>
                  <a:pt x="1948" y="1404"/>
                </a:cubicBezTo>
                <a:cubicBezTo>
                  <a:pt x="1952" y="1398"/>
                  <a:pt x="1959" y="1394"/>
                  <a:pt x="1967" y="1394"/>
                </a:cubicBezTo>
                <a:cubicBezTo>
                  <a:pt x="1983" y="1394"/>
                  <a:pt x="1991" y="1407"/>
                  <a:pt x="1991" y="1432"/>
                </a:cubicBezTo>
                <a:cubicBezTo>
                  <a:pt x="1991" y="1445"/>
                  <a:pt x="1989" y="1454"/>
                  <a:pt x="1985" y="1461"/>
                </a:cubicBezTo>
                <a:cubicBezTo>
                  <a:pt x="1980" y="1467"/>
                  <a:pt x="1974" y="1470"/>
                  <a:pt x="1965" y="1470"/>
                </a:cubicBezTo>
                <a:close/>
                <a:moveTo>
                  <a:pt x="1967" y="1404"/>
                </a:moveTo>
                <a:cubicBezTo>
                  <a:pt x="1958" y="1404"/>
                  <a:pt x="1953" y="1414"/>
                  <a:pt x="1953" y="1434"/>
                </a:cubicBezTo>
                <a:cubicBezTo>
                  <a:pt x="1953" y="1452"/>
                  <a:pt x="1957" y="1461"/>
                  <a:pt x="1966" y="1461"/>
                </a:cubicBezTo>
                <a:cubicBezTo>
                  <a:pt x="1975" y="1461"/>
                  <a:pt x="1979" y="1452"/>
                  <a:pt x="1979" y="1433"/>
                </a:cubicBezTo>
                <a:cubicBezTo>
                  <a:pt x="1979" y="1413"/>
                  <a:pt x="1975" y="1404"/>
                  <a:pt x="1967" y="1404"/>
                </a:cubicBezTo>
                <a:close/>
                <a:moveTo>
                  <a:pt x="2026" y="1397"/>
                </a:moveTo>
                <a:cubicBezTo>
                  <a:pt x="2026" y="1397"/>
                  <a:pt x="2026" y="1397"/>
                  <a:pt x="2026" y="1397"/>
                </a:cubicBezTo>
                <a:cubicBezTo>
                  <a:pt x="2021" y="1397"/>
                  <a:pt x="2021" y="1397"/>
                  <a:pt x="2021" y="1397"/>
                </a:cubicBezTo>
                <a:cubicBezTo>
                  <a:pt x="2019" y="1398"/>
                  <a:pt x="2018" y="1400"/>
                  <a:pt x="2015" y="1400"/>
                </a:cubicBezTo>
                <a:cubicBezTo>
                  <a:pt x="2014" y="1402"/>
                  <a:pt x="2012" y="1402"/>
                  <a:pt x="2010" y="1403"/>
                </a:cubicBezTo>
                <a:cubicBezTo>
                  <a:pt x="2009" y="1405"/>
                  <a:pt x="2006" y="1405"/>
                  <a:pt x="2005" y="1406"/>
                </a:cubicBezTo>
                <a:cubicBezTo>
                  <a:pt x="2003" y="1407"/>
                  <a:pt x="2001" y="1408"/>
                  <a:pt x="1999" y="1408"/>
                </a:cubicBezTo>
                <a:cubicBezTo>
                  <a:pt x="1999" y="1408"/>
                  <a:pt x="1999" y="1408"/>
                  <a:pt x="1999" y="1418"/>
                </a:cubicBezTo>
                <a:cubicBezTo>
                  <a:pt x="2002" y="1417"/>
                  <a:pt x="2005" y="1416"/>
                  <a:pt x="2008" y="1415"/>
                </a:cubicBezTo>
                <a:cubicBezTo>
                  <a:pt x="2010" y="1414"/>
                  <a:pt x="2012" y="1413"/>
                  <a:pt x="2015" y="1411"/>
                </a:cubicBezTo>
                <a:cubicBezTo>
                  <a:pt x="2015" y="1411"/>
                  <a:pt x="2015" y="1411"/>
                  <a:pt x="2015" y="1470"/>
                </a:cubicBezTo>
                <a:cubicBezTo>
                  <a:pt x="2015" y="1470"/>
                  <a:pt x="2015" y="1470"/>
                  <a:pt x="2026" y="1470"/>
                </a:cubicBezTo>
                <a:cubicBezTo>
                  <a:pt x="2026" y="1470"/>
                  <a:pt x="2026" y="1470"/>
                  <a:pt x="2026" y="1397"/>
                </a:cubicBezTo>
                <a:close/>
                <a:moveTo>
                  <a:pt x="2073" y="1397"/>
                </a:moveTo>
                <a:cubicBezTo>
                  <a:pt x="2073" y="1397"/>
                  <a:pt x="2073" y="1397"/>
                  <a:pt x="2073" y="1397"/>
                </a:cubicBezTo>
                <a:cubicBezTo>
                  <a:pt x="2068" y="1397"/>
                  <a:pt x="2068" y="1397"/>
                  <a:pt x="2068" y="1397"/>
                </a:cubicBezTo>
                <a:cubicBezTo>
                  <a:pt x="2066" y="1398"/>
                  <a:pt x="2065" y="1400"/>
                  <a:pt x="2062" y="1400"/>
                </a:cubicBezTo>
                <a:cubicBezTo>
                  <a:pt x="2061" y="1402"/>
                  <a:pt x="2059" y="1402"/>
                  <a:pt x="2057" y="1403"/>
                </a:cubicBezTo>
                <a:cubicBezTo>
                  <a:pt x="2056" y="1405"/>
                  <a:pt x="2053" y="1405"/>
                  <a:pt x="2052" y="1406"/>
                </a:cubicBezTo>
                <a:cubicBezTo>
                  <a:pt x="2050" y="1407"/>
                  <a:pt x="2048" y="1408"/>
                  <a:pt x="2046" y="1408"/>
                </a:cubicBezTo>
                <a:cubicBezTo>
                  <a:pt x="2046" y="1408"/>
                  <a:pt x="2046" y="1408"/>
                  <a:pt x="2046" y="1418"/>
                </a:cubicBezTo>
                <a:cubicBezTo>
                  <a:pt x="2049" y="1417"/>
                  <a:pt x="2052" y="1416"/>
                  <a:pt x="2054" y="1415"/>
                </a:cubicBezTo>
                <a:cubicBezTo>
                  <a:pt x="2057" y="1414"/>
                  <a:pt x="2059" y="1413"/>
                  <a:pt x="2062" y="1411"/>
                </a:cubicBezTo>
                <a:cubicBezTo>
                  <a:pt x="2062" y="1411"/>
                  <a:pt x="2062" y="1411"/>
                  <a:pt x="2062" y="1470"/>
                </a:cubicBezTo>
                <a:cubicBezTo>
                  <a:pt x="2062" y="1470"/>
                  <a:pt x="2062" y="1470"/>
                  <a:pt x="2073" y="1470"/>
                </a:cubicBezTo>
                <a:cubicBezTo>
                  <a:pt x="2073" y="1470"/>
                  <a:pt x="2073" y="1470"/>
                  <a:pt x="2073" y="1397"/>
                </a:cubicBezTo>
                <a:close/>
                <a:moveTo>
                  <a:pt x="2119" y="1397"/>
                </a:moveTo>
                <a:cubicBezTo>
                  <a:pt x="2119" y="1397"/>
                  <a:pt x="2119" y="1397"/>
                  <a:pt x="2119" y="1397"/>
                </a:cubicBezTo>
                <a:cubicBezTo>
                  <a:pt x="2115" y="1397"/>
                  <a:pt x="2115" y="1397"/>
                  <a:pt x="2115" y="1397"/>
                </a:cubicBezTo>
                <a:cubicBezTo>
                  <a:pt x="2113" y="1398"/>
                  <a:pt x="2111" y="1400"/>
                  <a:pt x="2109" y="1400"/>
                </a:cubicBezTo>
                <a:cubicBezTo>
                  <a:pt x="2108" y="1402"/>
                  <a:pt x="2105" y="1402"/>
                  <a:pt x="2104" y="1403"/>
                </a:cubicBezTo>
                <a:cubicBezTo>
                  <a:pt x="2102" y="1404"/>
                  <a:pt x="2100" y="1405"/>
                  <a:pt x="2098" y="1405"/>
                </a:cubicBezTo>
                <a:cubicBezTo>
                  <a:pt x="2097" y="1406"/>
                  <a:pt x="2095" y="1407"/>
                  <a:pt x="2093" y="1408"/>
                </a:cubicBezTo>
                <a:cubicBezTo>
                  <a:pt x="2093" y="1408"/>
                  <a:pt x="2093" y="1408"/>
                  <a:pt x="2093" y="1418"/>
                </a:cubicBezTo>
                <a:cubicBezTo>
                  <a:pt x="2096" y="1417"/>
                  <a:pt x="2099" y="1416"/>
                  <a:pt x="2101" y="1415"/>
                </a:cubicBezTo>
                <a:cubicBezTo>
                  <a:pt x="2103" y="1414"/>
                  <a:pt x="2106" y="1413"/>
                  <a:pt x="2108" y="1411"/>
                </a:cubicBezTo>
                <a:cubicBezTo>
                  <a:pt x="2108" y="1411"/>
                  <a:pt x="2108" y="1411"/>
                  <a:pt x="2108" y="1470"/>
                </a:cubicBezTo>
                <a:cubicBezTo>
                  <a:pt x="2108" y="1470"/>
                  <a:pt x="2108" y="1470"/>
                  <a:pt x="2119" y="1470"/>
                </a:cubicBezTo>
                <a:cubicBezTo>
                  <a:pt x="2119" y="1470"/>
                  <a:pt x="2119" y="1470"/>
                  <a:pt x="2119" y="1397"/>
                </a:cubicBezTo>
                <a:close/>
                <a:moveTo>
                  <a:pt x="1978" y="1696"/>
                </a:moveTo>
                <a:cubicBezTo>
                  <a:pt x="1978" y="1696"/>
                  <a:pt x="1978" y="1696"/>
                  <a:pt x="1978" y="1696"/>
                </a:cubicBezTo>
                <a:cubicBezTo>
                  <a:pt x="1973" y="1696"/>
                  <a:pt x="1973" y="1696"/>
                  <a:pt x="1973" y="1696"/>
                </a:cubicBezTo>
                <a:cubicBezTo>
                  <a:pt x="1971" y="1697"/>
                  <a:pt x="1969" y="1699"/>
                  <a:pt x="1967" y="1699"/>
                </a:cubicBezTo>
                <a:cubicBezTo>
                  <a:pt x="1966" y="1701"/>
                  <a:pt x="1963" y="1702"/>
                  <a:pt x="1962" y="1702"/>
                </a:cubicBezTo>
                <a:cubicBezTo>
                  <a:pt x="1960" y="1704"/>
                  <a:pt x="1958" y="1704"/>
                  <a:pt x="1957" y="1705"/>
                </a:cubicBezTo>
                <a:cubicBezTo>
                  <a:pt x="1955" y="1706"/>
                  <a:pt x="1953" y="1707"/>
                  <a:pt x="1951" y="1707"/>
                </a:cubicBezTo>
                <a:cubicBezTo>
                  <a:pt x="1951" y="1707"/>
                  <a:pt x="1951" y="1707"/>
                  <a:pt x="1951" y="1717"/>
                </a:cubicBezTo>
                <a:cubicBezTo>
                  <a:pt x="1954" y="1716"/>
                  <a:pt x="1957" y="1715"/>
                  <a:pt x="1959" y="1714"/>
                </a:cubicBezTo>
                <a:cubicBezTo>
                  <a:pt x="1962" y="1713"/>
                  <a:pt x="1964" y="1712"/>
                  <a:pt x="1966" y="1710"/>
                </a:cubicBezTo>
                <a:cubicBezTo>
                  <a:pt x="1966" y="1710"/>
                  <a:pt x="1966" y="1710"/>
                  <a:pt x="1966" y="1769"/>
                </a:cubicBezTo>
                <a:cubicBezTo>
                  <a:pt x="1966" y="1769"/>
                  <a:pt x="1966" y="1769"/>
                  <a:pt x="1978" y="1769"/>
                </a:cubicBezTo>
                <a:cubicBezTo>
                  <a:pt x="1978" y="1769"/>
                  <a:pt x="1978" y="1769"/>
                  <a:pt x="1978" y="1696"/>
                </a:cubicBezTo>
                <a:close/>
                <a:moveTo>
                  <a:pt x="1978" y="1592"/>
                </a:moveTo>
                <a:cubicBezTo>
                  <a:pt x="1978" y="1592"/>
                  <a:pt x="1978" y="1592"/>
                  <a:pt x="1978" y="1592"/>
                </a:cubicBezTo>
                <a:cubicBezTo>
                  <a:pt x="1974" y="1592"/>
                  <a:pt x="1974" y="1592"/>
                  <a:pt x="1974" y="1592"/>
                </a:cubicBezTo>
                <a:cubicBezTo>
                  <a:pt x="1972" y="1593"/>
                  <a:pt x="1970" y="1594"/>
                  <a:pt x="1968" y="1595"/>
                </a:cubicBezTo>
                <a:cubicBezTo>
                  <a:pt x="1967" y="1597"/>
                  <a:pt x="1965" y="1597"/>
                  <a:pt x="1963" y="1598"/>
                </a:cubicBezTo>
                <a:cubicBezTo>
                  <a:pt x="1961" y="1599"/>
                  <a:pt x="1960" y="1600"/>
                  <a:pt x="1958" y="1600"/>
                </a:cubicBezTo>
                <a:cubicBezTo>
                  <a:pt x="1956" y="1601"/>
                  <a:pt x="1954" y="1602"/>
                  <a:pt x="1952" y="1602"/>
                </a:cubicBezTo>
                <a:cubicBezTo>
                  <a:pt x="1952" y="1602"/>
                  <a:pt x="1952" y="1602"/>
                  <a:pt x="1952" y="1613"/>
                </a:cubicBezTo>
                <a:cubicBezTo>
                  <a:pt x="1955" y="1612"/>
                  <a:pt x="1958" y="1610"/>
                  <a:pt x="1960" y="1610"/>
                </a:cubicBezTo>
                <a:cubicBezTo>
                  <a:pt x="1963" y="1609"/>
                  <a:pt x="1965" y="1608"/>
                  <a:pt x="1967" y="1606"/>
                </a:cubicBezTo>
                <a:cubicBezTo>
                  <a:pt x="1967" y="1606"/>
                  <a:pt x="1967" y="1606"/>
                  <a:pt x="1967" y="1665"/>
                </a:cubicBezTo>
                <a:cubicBezTo>
                  <a:pt x="1967" y="1665"/>
                  <a:pt x="1967" y="1665"/>
                  <a:pt x="1978" y="1665"/>
                </a:cubicBezTo>
                <a:cubicBezTo>
                  <a:pt x="1978" y="1665"/>
                  <a:pt x="1978" y="1665"/>
                  <a:pt x="1978" y="1592"/>
                </a:cubicBezTo>
                <a:close/>
                <a:moveTo>
                  <a:pt x="2922" y="1380"/>
                </a:moveTo>
                <a:cubicBezTo>
                  <a:pt x="2915" y="1380"/>
                  <a:pt x="2908" y="1377"/>
                  <a:pt x="2904" y="1371"/>
                </a:cubicBezTo>
                <a:cubicBezTo>
                  <a:pt x="2900" y="1364"/>
                  <a:pt x="2898" y="1356"/>
                  <a:pt x="2898" y="1343"/>
                </a:cubicBezTo>
                <a:cubicBezTo>
                  <a:pt x="2898" y="1330"/>
                  <a:pt x="2900" y="1320"/>
                  <a:pt x="2905" y="1314"/>
                </a:cubicBezTo>
                <a:cubicBezTo>
                  <a:pt x="2909" y="1307"/>
                  <a:pt x="2916" y="1304"/>
                  <a:pt x="2924" y="1304"/>
                </a:cubicBezTo>
                <a:cubicBezTo>
                  <a:pt x="2940" y="1304"/>
                  <a:pt x="2948" y="1316"/>
                  <a:pt x="2948" y="1342"/>
                </a:cubicBezTo>
                <a:cubicBezTo>
                  <a:pt x="2948" y="1354"/>
                  <a:pt x="2946" y="1364"/>
                  <a:pt x="2941" y="1370"/>
                </a:cubicBezTo>
                <a:cubicBezTo>
                  <a:pt x="2937" y="1377"/>
                  <a:pt x="2930" y="1380"/>
                  <a:pt x="2922" y="1380"/>
                </a:cubicBezTo>
                <a:close/>
                <a:moveTo>
                  <a:pt x="2924" y="1313"/>
                </a:moveTo>
                <a:cubicBezTo>
                  <a:pt x="2914" y="1313"/>
                  <a:pt x="2910" y="1323"/>
                  <a:pt x="2910" y="1343"/>
                </a:cubicBezTo>
                <a:cubicBezTo>
                  <a:pt x="2910" y="1362"/>
                  <a:pt x="2914" y="1370"/>
                  <a:pt x="2923" y="1370"/>
                </a:cubicBezTo>
                <a:cubicBezTo>
                  <a:pt x="2932" y="1370"/>
                  <a:pt x="2936" y="1362"/>
                  <a:pt x="2936" y="1342"/>
                </a:cubicBezTo>
                <a:cubicBezTo>
                  <a:pt x="2936" y="1323"/>
                  <a:pt x="2932" y="1313"/>
                  <a:pt x="2924" y="1313"/>
                </a:cubicBezTo>
                <a:close/>
                <a:moveTo>
                  <a:pt x="2996" y="1306"/>
                </a:moveTo>
                <a:cubicBezTo>
                  <a:pt x="2996" y="1306"/>
                  <a:pt x="2996" y="1306"/>
                  <a:pt x="2996" y="1306"/>
                </a:cubicBezTo>
                <a:cubicBezTo>
                  <a:pt x="2991" y="1306"/>
                  <a:pt x="2991" y="1306"/>
                  <a:pt x="2991" y="1306"/>
                </a:cubicBezTo>
                <a:cubicBezTo>
                  <a:pt x="2989" y="1308"/>
                  <a:pt x="2987" y="1309"/>
                  <a:pt x="2985" y="1310"/>
                </a:cubicBezTo>
                <a:cubicBezTo>
                  <a:pt x="2984" y="1312"/>
                  <a:pt x="2981" y="1312"/>
                  <a:pt x="2980" y="1313"/>
                </a:cubicBezTo>
                <a:cubicBezTo>
                  <a:pt x="2978" y="1314"/>
                  <a:pt x="2976" y="1314"/>
                  <a:pt x="2975" y="1315"/>
                </a:cubicBezTo>
                <a:cubicBezTo>
                  <a:pt x="2973" y="1316"/>
                  <a:pt x="2971" y="1317"/>
                  <a:pt x="2969" y="1317"/>
                </a:cubicBezTo>
                <a:cubicBezTo>
                  <a:pt x="2969" y="1317"/>
                  <a:pt x="2969" y="1317"/>
                  <a:pt x="2969" y="1328"/>
                </a:cubicBezTo>
                <a:cubicBezTo>
                  <a:pt x="2972" y="1327"/>
                  <a:pt x="2975" y="1325"/>
                  <a:pt x="2977" y="1325"/>
                </a:cubicBezTo>
                <a:cubicBezTo>
                  <a:pt x="2980" y="1324"/>
                  <a:pt x="2982" y="1322"/>
                  <a:pt x="2984" y="1321"/>
                </a:cubicBezTo>
                <a:cubicBezTo>
                  <a:pt x="2984" y="1321"/>
                  <a:pt x="2984" y="1321"/>
                  <a:pt x="2984" y="1380"/>
                </a:cubicBezTo>
                <a:cubicBezTo>
                  <a:pt x="2984" y="1380"/>
                  <a:pt x="2984" y="1380"/>
                  <a:pt x="2996" y="1380"/>
                </a:cubicBezTo>
                <a:cubicBezTo>
                  <a:pt x="2996" y="1380"/>
                  <a:pt x="2996" y="1380"/>
                  <a:pt x="2996" y="1306"/>
                </a:cubicBezTo>
                <a:close/>
                <a:moveTo>
                  <a:pt x="3043" y="1306"/>
                </a:moveTo>
                <a:cubicBezTo>
                  <a:pt x="3043" y="1306"/>
                  <a:pt x="3043" y="1306"/>
                  <a:pt x="3043" y="1306"/>
                </a:cubicBezTo>
                <a:cubicBezTo>
                  <a:pt x="3038" y="1306"/>
                  <a:pt x="3038" y="1306"/>
                  <a:pt x="3038" y="1306"/>
                </a:cubicBezTo>
                <a:cubicBezTo>
                  <a:pt x="3036" y="1308"/>
                  <a:pt x="3034" y="1309"/>
                  <a:pt x="3032" y="1310"/>
                </a:cubicBezTo>
                <a:cubicBezTo>
                  <a:pt x="3031" y="1312"/>
                  <a:pt x="3029" y="1312"/>
                  <a:pt x="3027" y="1313"/>
                </a:cubicBezTo>
                <a:cubicBezTo>
                  <a:pt x="3026" y="1314"/>
                  <a:pt x="3024" y="1315"/>
                  <a:pt x="3022" y="1316"/>
                </a:cubicBezTo>
                <a:cubicBezTo>
                  <a:pt x="3020" y="1317"/>
                  <a:pt x="3019" y="1317"/>
                  <a:pt x="3017" y="1317"/>
                </a:cubicBezTo>
                <a:cubicBezTo>
                  <a:pt x="3017" y="1317"/>
                  <a:pt x="3017" y="1317"/>
                  <a:pt x="3017" y="1328"/>
                </a:cubicBezTo>
                <a:cubicBezTo>
                  <a:pt x="3020" y="1327"/>
                  <a:pt x="3022" y="1326"/>
                  <a:pt x="3025" y="1325"/>
                </a:cubicBezTo>
                <a:cubicBezTo>
                  <a:pt x="3027" y="1324"/>
                  <a:pt x="3029" y="1322"/>
                  <a:pt x="3032" y="1321"/>
                </a:cubicBezTo>
                <a:cubicBezTo>
                  <a:pt x="3032" y="1321"/>
                  <a:pt x="3032" y="1321"/>
                  <a:pt x="3032" y="1380"/>
                </a:cubicBezTo>
                <a:cubicBezTo>
                  <a:pt x="3032" y="1380"/>
                  <a:pt x="3032" y="1380"/>
                  <a:pt x="3043" y="1380"/>
                </a:cubicBezTo>
                <a:cubicBezTo>
                  <a:pt x="3043" y="1380"/>
                  <a:pt x="3043" y="1380"/>
                  <a:pt x="3043" y="1306"/>
                </a:cubicBezTo>
                <a:close/>
                <a:moveTo>
                  <a:pt x="3090" y="1306"/>
                </a:moveTo>
                <a:cubicBezTo>
                  <a:pt x="3090" y="1306"/>
                  <a:pt x="3090" y="1306"/>
                  <a:pt x="3090" y="1306"/>
                </a:cubicBezTo>
                <a:cubicBezTo>
                  <a:pt x="3085" y="1306"/>
                  <a:pt x="3085" y="1306"/>
                  <a:pt x="3085" y="1306"/>
                </a:cubicBezTo>
                <a:cubicBezTo>
                  <a:pt x="3083" y="1308"/>
                  <a:pt x="3082" y="1309"/>
                  <a:pt x="3080" y="1310"/>
                </a:cubicBezTo>
                <a:cubicBezTo>
                  <a:pt x="3078" y="1312"/>
                  <a:pt x="3076" y="1312"/>
                  <a:pt x="3074" y="1313"/>
                </a:cubicBezTo>
                <a:cubicBezTo>
                  <a:pt x="3072" y="1314"/>
                  <a:pt x="3071" y="1315"/>
                  <a:pt x="3069" y="1316"/>
                </a:cubicBezTo>
                <a:cubicBezTo>
                  <a:pt x="3067" y="1317"/>
                  <a:pt x="3065" y="1317"/>
                  <a:pt x="3064" y="1317"/>
                </a:cubicBezTo>
                <a:cubicBezTo>
                  <a:pt x="3064" y="1317"/>
                  <a:pt x="3064" y="1317"/>
                  <a:pt x="3064" y="1328"/>
                </a:cubicBezTo>
                <a:cubicBezTo>
                  <a:pt x="3067" y="1327"/>
                  <a:pt x="3069" y="1326"/>
                  <a:pt x="3072" y="1325"/>
                </a:cubicBezTo>
                <a:cubicBezTo>
                  <a:pt x="3074" y="1324"/>
                  <a:pt x="3077" y="1322"/>
                  <a:pt x="3078" y="1321"/>
                </a:cubicBezTo>
                <a:cubicBezTo>
                  <a:pt x="3078" y="1321"/>
                  <a:pt x="3078" y="1321"/>
                  <a:pt x="3078" y="1380"/>
                </a:cubicBezTo>
                <a:cubicBezTo>
                  <a:pt x="3078" y="1380"/>
                  <a:pt x="3078" y="1380"/>
                  <a:pt x="3090" y="1380"/>
                </a:cubicBezTo>
                <a:cubicBezTo>
                  <a:pt x="3090" y="1380"/>
                  <a:pt x="3090" y="1380"/>
                  <a:pt x="3090" y="1306"/>
                </a:cubicBezTo>
                <a:close/>
                <a:moveTo>
                  <a:pt x="3137" y="1306"/>
                </a:moveTo>
                <a:cubicBezTo>
                  <a:pt x="3137" y="1306"/>
                  <a:pt x="3137" y="1306"/>
                  <a:pt x="3137" y="1306"/>
                </a:cubicBezTo>
                <a:cubicBezTo>
                  <a:pt x="3132" y="1306"/>
                  <a:pt x="3132" y="1306"/>
                  <a:pt x="3132" y="1306"/>
                </a:cubicBezTo>
                <a:cubicBezTo>
                  <a:pt x="3130" y="1308"/>
                  <a:pt x="3128" y="1309"/>
                  <a:pt x="3126" y="1310"/>
                </a:cubicBezTo>
                <a:cubicBezTo>
                  <a:pt x="3125" y="1312"/>
                  <a:pt x="3123" y="1312"/>
                  <a:pt x="3121" y="1313"/>
                </a:cubicBezTo>
                <a:cubicBezTo>
                  <a:pt x="3120" y="1314"/>
                  <a:pt x="3118" y="1315"/>
                  <a:pt x="3116" y="1316"/>
                </a:cubicBezTo>
                <a:cubicBezTo>
                  <a:pt x="3114" y="1317"/>
                  <a:pt x="3112" y="1317"/>
                  <a:pt x="3110" y="1317"/>
                </a:cubicBezTo>
                <a:cubicBezTo>
                  <a:pt x="3110" y="1317"/>
                  <a:pt x="3110" y="1317"/>
                  <a:pt x="3110" y="1328"/>
                </a:cubicBezTo>
                <a:cubicBezTo>
                  <a:pt x="3113" y="1327"/>
                  <a:pt x="3116" y="1326"/>
                  <a:pt x="3118" y="1325"/>
                </a:cubicBezTo>
                <a:cubicBezTo>
                  <a:pt x="3121" y="1324"/>
                  <a:pt x="3123" y="1322"/>
                  <a:pt x="3126" y="1321"/>
                </a:cubicBezTo>
                <a:cubicBezTo>
                  <a:pt x="3126" y="1321"/>
                  <a:pt x="3126" y="1321"/>
                  <a:pt x="3126" y="1380"/>
                </a:cubicBezTo>
                <a:cubicBezTo>
                  <a:pt x="3126" y="1380"/>
                  <a:pt x="3126" y="1380"/>
                  <a:pt x="3137" y="1380"/>
                </a:cubicBezTo>
                <a:cubicBezTo>
                  <a:pt x="3137" y="1380"/>
                  <a:pt x="3137" y="1380"/>
                  <a:pt x="3137" y="1306"/>
                </a:cubicBezTo>
                <a:close/>
                <a:moveTo>
                  <a:pt x="3260" y="1306"/>
                </a:moveTo>
                <a:cubicBezTo>
                  <a:pt x="3260" y="1306"/>
                  <a:pt x="3260" y="1306"/>
                  <a:pt x="3260" y="1306"/>
                </a:cubicBezTo>
                <a:cubicBezTo>
                  <a:pt x="3255" y="1306"/>
                  <a:pt x="3255" y="1306"/>
                  <a:pt x="3255" y="1306"/>
                </a:cubicBezTo>
                <a:cubicBezTo>
                  <a:pt x="3253" y="1308"/>
                  <a:pt x="3252" y="1309"/>
                  <a:pt x="3250" y="1310"/>
                </a:cubicBezTo>
                <a:cubicBezTo>
                  <a:pt x="3248" y="1312"/>
                  <a:pt x="3247" y="1312"/>
                  <a:pt x="3245" y="1313"/>
                </a:cubicBezTo>
                <a:cubicBezTo>
                  <a:pt x="3243" y="1314"/>
                  <a:pt x="3241" y="1315"/>
                  <a:pt x="3239" y="1316"/>
                </a:cubicBezTo>
                <a:cubicBezTo>
                  <a:pt x="3237" y="1317"/>
                  <a:pt x="3236" y="1317"/>
                  <a:pt x="3234" y="1317"/>
                </a:cubicBezTo>
                <a:cubicBezTo>
                  <a:pt x="3234" y="1317"/>
                  <a:pt x="3234" y="1317"/>
                  <a:pt x="3234" y="1328"/>
                </a:cubicBezTo>
                <a:cubicBezTo>
                  <a:pt x="3237" y="1327"/>
                  <a:pt x="3239" y="1326"/>
                  <a:pt x="3242" y="1325"/>
                </a:cubicBezTo>
                <a:cubicBezTo>
                  <a:pt x="3245" y="1324"/>
                  <a:pt x="3247" y="1322"/>
                  <a:pt x="3249" y="1321"/>
                </a:cubicBezTo>
                <a:cubicBezTo>
                  <a:pt x="3249" y="1321"/>
                  <a:pt x="3249" y="1321"/>
                  <a:pt x="3249" y="1380"/>
                </a:cubicBezTo>
                <a:cubicBezTo>
                  <a:pt x="3249" y="1380"/>
                  <a:pt x="3249" y="1380"/>
                  <a:pt x="3260" y="1380"/>
                </a:cubicBezTo>
                <a:cubicBezTo>
                  <a:pt x="3260" y="1380"/>
                  <a:pt x="3260" y="1380"/>
                  <a:pt x="3260" y="1306"/>
                </a:cubicBezTo>
                <a:close/>
                <a:moveTo>
                  <a:pt x="3308" y="1306"/>
                </a:moveTo>
                <a:cubicBezTo>
                  <a:pt x="3308" y="1306"/>
                  <a:pt x="3308" y="1306"/>
                  <a:pt x="3308" y="1306"/>
                </a:cubicBezTo>
                <a:cubicBezTo>
                  <a:pt x="3303" y="1306"/>
                  <a:pt x="3303" y="1306"/>
                  <a:pt x="3303" y="1306"/>
                </a:cubicBezTo>
                <a:cubicBezTo>
                  <a:pt x="3301" y="1308"/>
                  <a:pt x="3299" y="1309"/>
                  <a:pt x="3297" y="1310"/>
                </a:cubicBezTo>
                <a:cubicBezTo>
                  <a:pt x="3296" y="1312"/>
                  <a:pt x="3293" y="1312"/>
                  <a:pt x="3292" y="1313"/>
                </a:cubicBezTo>
                <a:cubicBezTo>
                  <a:pt x="3291" y="1314"/>
                  <a:pt x="3288" y="1315"/>
                  <a:pt x="3287" y="1316"/>
                </a:cubicBezTo>
                <a:cubicBezTo>
                  <a:pt x="3285" y="1317"/>
                  <a:pt x="3283" y="1317"/>
                  <a:pt x="3281" y="1317"/>
                </a:cubicBezTo>
                <a:cubicBezTo>
                  <a:pt x="3281" y="1317"/>
                  <a:pt x="3281" y="1317"/>
                  <a:pt x="3281" y="1328"/>
                </a:cubicBezTo>
                <a:cubicBezTo>
                  <a:pt x="3284" y="1327"/>
                  <a:pt x="3287" y="1326"/>
                  <a:pt x="3289" y="1325"/>
                </a:cubicBezTo>
                <a:cubicBezTo>
                  <a:pt x="3292" y="1324"/>
                  <a:pt x="3294" y="1322"/>
                  <a:pt x="3296" y="1321"/>
                </a:cubicBezTo>
                <a:cubicBezTo>
                  <a:pt x="3296" y="1321"/>
                  <a:pt x="3296" y="1321"/>
                  <a:pt x="3296" y="1380"/>
                </a:cubicBezTo>
                <a:cubicBezTo>
                  <a:pt x="3296" y="1380"/>
                  <a:pt x="3296" y="1380"/>
                  <a:pt x="3308" y="1380"/>
                </a:cubicBezTo>
                <a:cubicBezTo>
                  <a:pt x="3308" y="1380"/>
                  <a:pt x="3308" y="1380"/>
                  <a:pt x="3308" y="1306"/>
                </a:cubicBezTo>
                <a:close/>
                <a:moveTo>
                  <a:pt x="3356" y="1306"/>
                </a:moveTo>
                <a:cubicBezTo>
                  <a:pt x="3356" y="1306"/>
                  <a:pt x="3356" y="1306"/>
                  <a:pt x="3356" y="1306"/>
                </a:cubicBezTo>
                <a:cubicBezTo>
                  <a:pt x="3350" y="1306"/>
                  <a:pt x="3350" y="1306"/>
                  <a:pt x="3350" y="1306"/>
                </a:cubicBezTo>
                <a:cubicBezTo>
                  <a:pt x="3349" y="1308"/>
                  <a:pt x="3347" y="1309"/>
                  <a:pt x="3345" y="1310"/>
                </a:cubicBezTo>
                <a:cubicBezTo>
                  <a:pt x="3343" y="1312"/>
                  <a:pt x="3342" y="1312"/>
                  <a:pt x="3340" y="1313"/>
                </a:cubicBezTo>
                <a:cubicBezTo>
                  <a:pt x="3338" y="1314"/>
                  <a:pt x="3336" y="1315"/>
                  <a:pt x="3334" y="1316"/>
                </a:cubicBezTo>
                <a:cubicBezTo>
                  <a:pt x="3332" y="1317"/>
                  <a:pt x="3331" y="1317"/>
                  <a:pt x="3329" y="1317"/>
                </a:cubicBezTo>
                <a:cubicBezTo>
                  <a:pt x="3329" y="1317"/>
                  <a:pt x="3329" y="1317"/>
                  <a:pt x="3329" y="1328"/>
                </a:cubicBezTo>
                <a:cubicBezTo>
                  <a:pt x="3332" y="1327"/>
                  <a:pt x="3334" y="1326"/>
                  <a:pt x="3337" y="1325"/>
                </a:cubicBezTo>
                <a:cubicBezTo>
                  <a:pt x="3340" y="1324"/>
                  <a:pt x="3342" y="1322"/>
                  <a:pt x="3344" y="1321"/>
                </a:cubicBezTo>
                <a:cubicBezTo>
                  <a:pt x="3344" y="1321"/>
                  <a:pt x="3344" y="1321"/>
                  <a:pt x="3344" y="1380"/>
                </a:cubicBezTo>
                <a:cubicBezTo>
                  <a:pt x="3344" y="1380"/>
                  <a:pt x="3344" y="1380"/>
                  <a:pt x="3356" y="1380"/>
                </a:cubicBezTo>
                <a:cubicBezTo>
                  <a:pt x="3356" y="1380"/>
                  <a:pt x="3356" y="1380"/>
                  <a:pt x="3356" y="1306"/>
                </a:cubicBezTo>
                <a:close/>
                <a:moveTo>
                  <a:pt x="3402" y="1306"/>
                </a:moveTo>
                <a:cubicBezTo>
                  <a:pt x="3402" y="1306"/>
                  <a:pt x="3402" y="1306"/>
                  <a:pt x="3402" y="1306"/>
                </a:cubicBezTo>
                <a:cubicBezTo>
                  <a:pt x="3398" y="1306"/>
                  <a:pt x="3398" y="1306"/>
                  <a:pt x="3398" y="1306"/>
                </a:cubicBezTo>
                <a:cubicBezTo>
                  <a:pt x="3396" y="1308"/>
                  <a:pt x="3394" y="1309"/>
                  <a:pt x="3392" y="1310"/>
                </a:cubicBezTo>
                <a:cubicBezTo>
                  <a:pt x="3391" y="1312"/>
                  <a:pt x="3388" y="1312"/>
                  <a:pt x="3387" y="1313"/>
                </a:cubicBezTo>
                <a:cubicBezTo>
                  <a:pt x="3385" y="1314"/>
                  <a:pt x="3383" y="1314"/>
                  <a:pt x="3381" y="1315"/>
                </a:cubicBezTo>
                <a:cubicBezTo>
                  <a:pt x="3380" y="1316"/>
                  <a:pt x="3378" y="1317"/>
                  <a:pt x="3376" y="1317"/>
                </a:cubicBezTo>
                <a:cubicBezTo>
                  <a:pt x="3376" y="1317"/>
                  <a:pt x="3376" y="1317"/>
                  <a:pt x="3376" y="1328"/>
                </a:cubicBezTo>
                <a:cubicBezTo>
                  <a:pt x="3379" y="1327"/>
                  <a:pt x="3382" y="1325"/>
                  <a:pt x="3384" y="1325"/>
                </a:cubicBezTo>
                <a:cubicBezTo>
                  <a:pt x="3386" y="1324"/>
                  <a:pt x="3389" y="1322"/>
                  <a:pt x="3391" y="1321"/>
                </a:cubicBezTo>
                <a:cubicBezTo>
                  <a:pt x="3391" y="1321"/>
                  <a:pt x="3391" y="1321"/>
                  <a:pt x="3391" y="1380"/>
                </a:cubicBezTo>
                <a:cubicBezTo>
                  <a:pt x="3391" y="1380"/>
                  <a:pt x="3391" y="1380"/>
                  <a:pt x="3402" y="1380"/>
                </a:cubicBezTo>
                <a:cubicBezTo>
                  <a:pt x="3402" y="1380"/>
                  <a:pt x="3402" y="1380"/>
                  <a:pt x="3402" y="1306"/>
                </a:cubicBezTo>
                <a:close/>
                <a:moveTo>
                  <a:pt x="3158" y="1339"/>
                </a:moveTo>
                <a:cubicBezTo>
                  <a:pt x="3158" y="1339"/>
                  <a:pt x="3158" y="1339"/>
                  <a:pt x="3158" y="1339"/>
                </a:cubicBezTo>
                <a:cubicBezTo>
                  <a:pt x="3158" y="1347"/>
                  <a:pt x="3158" y="1347"/>
                  <a:pt x="3158" y="1347"/>
                </a:cubicBezTo>
                <a:cubicBezTo>
                  <a:pt x="3164" y="1347"/>
                  <a:pt x="3165" y="1350"/>
                  <a:pt x="3165" y="1353"/>
                </a:cubicBezTo>
                <a:cubicBezTo>
                  <a:pt x="3165" y="1355"/>
                  <a:pt x="3164" y="1357"/>
                  <a:pt x="3164" y="1360"/>
                </a:cubicBezTo>
                <a:cubicBezTo>
                  <a:pt x="3164" y="1363"/>
                  <a:pt x="3164" y="1365"/>
                  <a:pt x="3164" y="1367"/>
                </a:cubicBezTo>
                <a:cubicBezTo>
                  <a:pt x="3164" y="1377"/>
                  <a:pt x="3170" y="1380"/>
                  <a:pt x="3178" y="1380"/>
                </a:cubicBezTo>
                <a:cubicBezTo>
                  <a:pt x="3178" y="1380"/>
                  <a:pt x="3178" y="1380"/>
                  <a:pt x="3182" y="1380"/>
                </a:cubicBezTo>
                <a:cubicBezTo>
                  <a:pt x="3182" y="1380"/>
                  <a:pt x="3182" y="1380"/>
                  <a:pt x="3182" y="1371"/>
                </a:cubicBezTo>
                <a:cubicBezTo>
                  <a:pt x="3182" y="1371"/>
                  <a:pt x="3182" y="1371"/>
                  <a:pt x="3180" y="1371"/>
                </a:cubicBezTo>
                <a:cubicBezTo>
                  <a:pt x="3177" y="1371"/>
                  <a:pt x="3175" y="1368"/>
                  <a:pt x="3175" y="1365"/>
                </a:cubicBezTo>
                <a:cubicBezTo>
                  <a:pt x="3175" y="1363"/>
                  <a:pt x="3175" y="1362"/>
                  <a:pt x="3176" y="1360"/>
                </a:cubicBezTo>
                <a:cubicBezTo>
                  <a:pt x="3176" y="1359"/>
                  <a:pt x="3176" y="1356"/>
                  <a:pt x="3176" y="1354"/>
                </a:cubicBezTo>
                <a:cubicBezTo>
                  <a:pt x="3176" y="1347"/>
                  <a:pt x="3173" y="1344"/>
                  <a:pt x="3168" y="1343"/>
                </a:cubicBezTo>
                <a:cubicBezTo>
                  <a:pt x="3168" y="1343"/>
                  <a:pt x="3168" y="1343"/>
                  <a:pt x="3168" y="1342"/>
                </a:cubicBezTo>
                <a:cubicBezTo>
                  <a:pt x="3173" y="1341"/>
                  <a:pt x="3176" y="1339"/>
                  <a:pt x="3176" y="1332"/>
                </a:cubicBezTo>
                <a:cubicBezTo>
                  <a:pt x="3176" y="1329"/>
                  <a:pt x="3176" y="1327"/>
                  <a:pt x="3176" y="1325"/>
                </a:cubicBezTo>
                <a:cubicBezTo>
                  <a:pt x="3175" y="1324"/>
                  <a:pt x="3175" y="1322"/>
                  <a:pt x="3175" y="1321"/>
                </a:cubicBezTo>
                <a:cubicBezTo>
                  <a:pt x="3175" y="1317"/>
                  <a:pt x="3177" y="1315"/>
                  <a:pt x="3180" y="1315"/>
                </a:cubicBezTo>
                <a:cubicBezTo>
                  <a:pt x="3180" y="1315"/>
                  <a:pt x="3180" y="1315"/>
                  <a:pt x="3182" y="1315"/>
                </a:cubicBezTo>
                <a:cubicBezTo>
                  <a:pt x="3182" y="1315"/>
                  <a:pt x="3182" y="1315"/>
                  <a:pt x="3182" y="1305"/>
                </a:cubicBezTo>
                <a:cubicBezTo>
                  <a:pt x="3182" y="1305"/>
                  <a:pt x="3182" y="1305"/>
                  <a:pt x="3178" y="1305"/>
                </a:cubicBezTo>
                <a:cubicBezTo>
                  <a:pt x="3169" y="1305"/>
                  <a:pt x="3164" y="1310"/>
                  <a:pt x="3164" y="1318"/>
                </a:cubicBezTo>
                <a:cubicBezTo>
                  <a:pt x="3164" y="1320"/>
                  <a:pt x="3164" y="1323"/>
                  <a:pt x="3164" y="1326"/>
                </a:cubicBezTo>
                <a:cubicBezTo>
                  <a:pt x="3164" y="1328"/>
                  <a:pt x="3165" y="1331"/>
                  <a:pt x="3165" y="1332"/>
                </a:cubicBezTo>
                <a:cubicBezTo>
                  <a:pt x="3165" y="1335"/>
                  <a:pt x="3164" y="1338"/>
                  <a:pt x="3158" y="1339"/>
                </a:cubicBezTo>
                <a:close/>
                <a:moveTo>
                  <a:pt x="3213" y="1347"/>
                </a:moveTo>
                <a:cubicBezTo>
                  <a:pt x="3213" y="1347"/>
                  <a:pt x="3213" y="1347"/>
                  <a:pt x="3213" y="1347"/>
                </a:cubicBezTo>
                <a:cubicBezTo>
                  <a:pt x="3213" y="1339"/>
                  <a:pt x="3213" y="1339"/>
                  <a:pt x="3213" y="1339"/>
                </a:cubicBezTo>
                <a:cubicBezTo>
                  <a:pt x="3207" y="1338"/>
                  <a:pt x="3206" y="1335"/>
                  <a:pt x="3206" y="1332"/>
                </a:cubicBezTo>
                <a:cubicBezTo>
                  <a:pt x="3206" y="1331"/>
                  <a:pt x="3206" y="1328"/>
                  <a:pt x="3207" y="1326"/>
                </a:cubicBezTo>
                <a:cubicBezTo>
                  <a:pt x="3207" y="1323"/>
                  <a:pt x="3207" y="1320"/>
                  <a:pt x="3207" y="1318"/>
                </a:cubicBezTo>
                <a:cubicBezTo>
                  <a:pt x="3207" y="1310"/>
                  <a:pt x="3202" y="1305"/>
                  <a:pt x="3193" y="1305"/>
                </a:cubicBezTo>
                <a:cubicBezTo>
                  <a:pt x="3193" y="1305"/>
                  <a:pt x="3193" y="1305"/>
                  <a:pt x="3189" y="1305"/>
                </a:cubicBezTo>
                <a:cubicBezTo>
                  <a:pt x="3189" y="1305"/>
                  <a:pt x="3189" y="1305"/>
                  <a:pt x="3189" y="1315"/>
                </a:cubicBezTo>
                <a:cubicBezTo>
                  <a:pt x="3189" y="1315"/>
                  <a:pt x="3189" y="1315"/>
                  <a:pt x="3190" y="1315"/>
                </a:cubicBezTo>
                <a:cubicBezTo>
                  <a:pt x="3194" y="1315"/>
                  <a:pt x="3196" y="1317"/>
                  <a:pt x="3196" y="1321"/>
                </a:cubicBezTo>
                <a:cubicBezTo>
                  <a:pt x="3196" y="1322"/>
                  <a:pt x="3195" y="1324"/>
                  <a:pt x="3195" y="1325"/>
                </a:cubicBezTo>
                <a:cubicBezTo>
                  <a:pt x="3195" y="1327"/>
                  <a:pt x="3195" y="1329"/>
                  <a:pt x="3195" y="1332"/>
                </a:cubicBezTo>
                <a:cubicBezTo>
                  <a:pt x="3195" y="1339"/>
                  <a:pt x="3197" y="1341"/>
                  <a:pt x="3203" y="1342"/>
                </a:cubicBezTo>
                <a:cubicBezTo>
                  <a:pt x="3203" y="1342"/>
                  <a:pt x="3203" y="1342"/>
                  <a:pt x="3203" y="1343"/>
                </a:cubicBezTo>
                <a:cubicBezTo>
                  <a:pt x="3197" y="1344"/>
                  <a:pt x="3195" y="1347"/>
                  <a:pt x="3195" y="1354"/>
                </a:cubicBezTo>
                <a:cubicBezTo>
                  <a:pt x="3195" y="1356"/>
                  <a:pt x="3195" y="1359"/>
                  <a:pt x="3195" y="1360"/>
                </a:cubicBezTo>
                <a:cubicBezTo>
                  <a:pt x="3195" y="1362"/>
                  <a:pt x="3196" y="1363"/>
                  <a:pt x="3196" y="1365"/>
                </a:cubicBezTo>
                <a:cubicBezTo>
                  <a:pt x="3196" y="1368"/>
                  <a:pt x="3195" y="1371"/>
                  <a:pt x="3190" y="1371"/>
                </a:cubicBezTo>
                <a:cubicBezTo>
                  <a:pt x="3190" y="1371"/>
                  <a:pt x="3190" y="1371"/>
                  <a:pt x="3189" y="1371"/>
                </a:cubicBezTo>
                <a:cubicBezTo>
                  <a:pt x="3189" y="1371"/>
                  <a:pt x="3189" y="1371"/>
                  <a:pt x="3189" y="1380"/>
                </a:cubicBezTo>
                <a:cubicBezTo>
                  <a:pt x="3189" y="1380"/>
                  <a:pt x="3189" y="1380"/>
                  <a:pt x="3193" y="1380"/>
                </a:cubicBezTo>
                <a:cubicBezTo>
                  <a:pt x="3202" y="1380"/>
                  <a:pt x="3207" y="1377"/>
                  <a:pt x="3207" y="1367"/>
                </a:cubicBezTo>
                <a:cubicBezTo>
                  <a:pt x="3207" y="1365"/>
                  <a:pt x="3207" y="1363"/>
                  <a:pt x="3207" y="1360"/>
                </a:cubicBezTo>
                <a:cubicBezTo>
                  <a:pt x="3206" y="1357"/>
                  <a:pt x="3206" y="1355"/>
                  <a:pt x="3206" y="1353"/>
                </a:cubicBezTo>
                <a:cubicBezTo>
                  <a:pt x="3206" y="1350"/>
                  <a:pt x="3207" y="1347"/>
                  <a:pt x="3213" y="1347"/>
                </a:cubicBezTo>
                <a:close/>
                <a:moveTo>
                  <a:pt x="3540" y="1339"/>
                </a:moveTo>
                <a:cubicBezTo>
                  <a:pt x="3540" y="1339"/>
                  <a:pt x="3540" y="1339"/>
                  <a:pt x="3540" y="1339"/>
                </a:cubicBezTo>
                <a:cubicBezTo>
                  <a:pt x="3540" y="1347"/>
                  <a:pt x="3540" y="1347"/>
                  <a:pt x="3540" y="1347"/>
                </a:cubicBezTo>
                <a:cubicBezTo>
                  <a:pt x="3546" y="1347"/>
                  <a:pt x="3547" y="1350"/>
                  <a:pt x="3547" y="1353"/>
                </a:cubicBezTo>
                <a:cubicBezTo>
                  <a:pt x="3547" y="1355"/>
                  <a:pt x="3547" y="1357"/>
                  <a:pt x="3547" y="1360"/>
                </a:cubicBezTo>
                <a:cubicBezTo>
                  <a:pt x="3546" y="1363"/>
                  <a:pt x="3546" y="1365"/>
                  <a:pt x="3546" y="1367"/>
                </a:cubicBezTo>
                <a:cubicBezTo>
                  <a:pt x="3546" y="1377"/>
                  <a:pt x="3552" y="1380"/>
                  <a:pt x="3561" y="1380"/>
                </a:cubicBezTo>
                <a:cubicBezTo>
                  <a:pt x="3561" y="1380"/>
                  <a:pt x="3561" y="1380"/>
                  <a:pt x="3564" y="1380"/>
                </a:cubicBezTo>
                <a:cubicBezTo>
                  <a:pt x="3564" y="1380"/>
                  <a:pt x="3564" y="1380"/>
                  <a:pt x="3564" y="1371"/>
                </a:cubicBezTo>
                <a:cubicBezTo>
                  <a:pt x="3564" y="1371"/>
                  <a:pt x="3564" y="1371"/>
                  <a:pt x="3563" y="1371"/>
                </a:cubicBezTo>
                <a:cubicBezTo>
                  <a:pt x="3559" y="1371"/>
                  <a:pt x="3558" y="1368"/>
                  <a:pt x="3558" y="1365"/>
                </a:cubicBezTo>
                <a:cubicBezTo>
                  <a:pt x="3558" y="1363"/>
                  <a:pt x="3558" y="1362"/>
                  <a:pt x="3558" y="1360"/>
                </a:cubicBezTo>
                <a:cubicBezTo>
                  <a:pt x="3558" y="1359"/>
                  <a:pt x="3559" y="1356"/>
                  <a:pt x="3559" y="1354"/>
                </a:cubicBezTo>
                <a:cubicBezTo>
                  <a:pt x="3559" y="1347"/>
                  <a:pt x="3556" y="1344"/>
                  <a:pt x="3550" y="1343"/>
                </a:cubicBezTo>
                <a:cubicBezTo>
                  <a:pt x="3550" y="1343"/>
                  <a:pt x="3550" y="1343"/>
                  <a:pt x="3550" y="1342"/>
                </a:cubicBezTo>
                <a:cubicBezTo>
                  <a:pt x="3556" y="1341"/>
                  <a:pt x="3559" y="1339"/>
                  <a:pt x="3559" y="1332"/>
                </a:cubicBezTo>
                <a:cubicBezTo>
                  <a:pt x="3559" y="1329"/>
                  <a:pt x="3558" y="1327"/>
                  <a:pt x="3558" y="1325"/>
                </a:cubicBezTo>
                <a:cubicBezTo>
                  <a:pt x="3558" y="1324"/>
                  <a:pt x="3558" y="1322"/>
                  <a:pt x="3558" y="1321"/>
                </a:cubicBezTo>
                <a:cubicBezTo>
                  <a:pt x="3558" y="1317"/>
                  <a:pt x="3559" y="1315"/>
                  <a:pt x="3563" y="1315"/>
                </a:cubicBezTo>
                <a:cubicBezTo>
                  <a:pt x="3563" y="1315"/>
                  <a:pt x="3563" y="1315"/>
                  <a:pt x="3564" y="1315"/>
                </a:cubicBezTo>
                <a:cubicBezTo>
                  <a:pt x="3564" y="1315"/>
                  <a:pt x="3564" y="1315"/>
                  <a:pt x="3564" y="1305"/>
                </a:cubicBezTo>
                <a:cubicBezTo>
                  <a:pt x="3564" y="1305"/>
                  <a:pt x="3564" y="1305"/>
                  <a:pt x="3561" y="1305"/>
                </a:cubicBezTo>
                <a:cubicBezTo>
                  <a:pt x="3552" y="1305"/>
                  <a:pt x="3546" y="1310"/>
                  <a:pt x="3546" y="1318"/>
                </a:cubicBezTo>
                <a:cubicBezTo>
                  <a:pt x="3546" y="1320"/>
                  <a:pt x="3546" y="1323"/>
                  <a:pt x="3546" y="1326"/>
                </a:cubicBezTo>
                <a:cubicBezTo>
                  <a:pt x="3547" y="1328"/>
                  <a:pt x="3547" y="1331"/>
                  <a:pt x="3547" y="1332"/>
                </a:cubicBezTo>
                <a:cubicBezTo>
                  <a:pt x="3547" y="1335"/>
                  <a:pt x="3546" y="1338"/>
                  <a:pt x="3540" y="1339"/>
                </a:cubicBezTo>
                <a:close/>
                <a:moveTo>
                  <a:pt x="3595" y="1347"/>
                </a:moveTo>
                <a:cubicBezTo>
                  <a:pt x="3595" y="1347"/>
                  <a:pt x="3595" y="1347"/>
                  <a:pt x="3595" y="1347"/>
                </a:cubicBezTo>
                <a:cubicBezTo>
                  <a:pt x="3595" y="1339"/>
                  <a:pt x="3595" y="1339"/>
                  <a:pt x="3595" y="1339"/>
                </a:cubicBezTo>
                <a:cubicBezTo>
                  <a:pt x="3589" y="1338"/>
                  <a:pt x="3588" y="1335"/>
                  <a:pt x="3588" y="1332"/>
                </a:cubicBezTo>
                <a:cubicBezTo>
                  <a:pt x="3588" y="1331"/>
                  <a:pt x="3588" y="1328"/>
                  <a:pt x="3589" y="1326"/>
                </a:cubicBezTo>
                <a:cubicBezTo>
                  <a:pt x="3589" y="1323"/>
                  <a:pt x="3589" y="1320"/>
                  <a:pt x="3589" y="1318"/>
                </a:cubicBezTo>
                <a:cubicBezTo>
                  <a:pt x="3589" y="1310"/>
                  <a:pt x="3584" y="1305"/>
                  <a:pt x="3575" y="1305"/>
                </a:cubicBezTo>
                <a:cubicBezTo>
                  <a:pt x="3575" y="1305"/>
                  <a:pt x="3575" y="1305"/>
                  <a:pt x="3571" y="1305"/>
                </a:cubicBezTo>
                <a:cubicBezTo>
                  <a:pt x="3571" y="1305"/>
                  <a:pt x="3571" y="1305"/>
                  <a:pt x="3571" y="1315"/>
                </a:cubicBezTo>
                <a:cubicBezTo>
                  <a:pt x="3571" y="1315"/>
                  <a:pt x="3571" y="1315"/>
                  <a:pt x="3573" y="1315"/>
                </a:cubicBezTo>
                <a:cubicBezTo>
                  <a:pt x="3576" y="1315"/>
                  <a:pt x="3578" y="1317"/>
                  <a:pt x="3578" y="1321"/>
                </a:cubicBezTo>
                <a:cubicBezTo>
                  <a:pt x="3578" y="1322"/>
                  <a:pt x="3577" y="1324"/>
                  <a:pt x="3577" y="1325"/>
                </a:cubicBezTo>
                <a:cubicBezTo>
                  <a:pt x="3577" y="1327"/>
                  <a:pt x="3577" y="1329"/>
                  <a:pt x="3577" y="1332"/>
                </a:cubicBezTo>
                <a:cubicBezTo>
                  <a:pt x="3577" y="1339"/>
                  <a:pt x="3580" y="1341"/>
                  <a:pt x="3585" y="1342"/>
                </a:cubicBezTo>
                <a:cubicBezTo>
                  <a:pt x="3585" y="1342"/>
                  <a:pt x="3585" y="1342"/>
                  <a:pt x="3585" y="1343"/>
                </a:cubicBezTo>
                <a:cubicBezTo>
                  <a:pt x="3580" y="1344"/>
                  <a:pt x="3577" y="1347"/>
                  <a:pt x="3577" y="1354"/>
                </a:cubicBezTo>
                <a:cubicBezTo>
                  <a:pt x="3577" y="1356"/>
                  <a:pt x="3577" y="1359"/>
                  <a:pt x="3577" y="1360"/>
                </a:cubicBezTo>
                <a:cubicBezTo>
                  <a:pt x="3577" y="1362"/>
                  <a:pt x="3578" y="1363"/>
                  <a:pt x="3578" y="1365"/>
                </a:cubicBezTo>
                <a:cubicBezTo>
                  <a:pt x="3578" y="1368"/>
                  <a:pt x="3577" y="1371"/>
                  <a:pt x="3573" y="1371"/>
                </a:cubicBezTo>
                <a:cubicBezTo>
                  <a:pt x="3573" y="1371"/>
                  <a:pt x="3573" y="1371"/>
                  <a:pt x="3571" y="1371"/>
                </a:cubicBezTo>
                <a:cubicBezTo>
                  <a:pt x="3571" y="1371"/>
                  <a:pt x="3571" y="1371"/>
                  <a:pt x="3571" y="1380"/>
                </a:cubicBezTo>
                <a:cubicBezTo>
                  <a:pt x="3571" y="1380"/>
                  <a:pt x="3571" y="1380"/>
                  <a:pt x="3575" y="1380"/>
                </a:cubicBezTo>
                <a:cubicBezTo>
                  <a:pt x="3584" y="1380"/>
                  <a:pt x="3589" y="1377"/>
                  <a:pt x="3589" y="1367"/>
                </a:cubicBezTo>
                <a:cubicBezTo>
                  <a:pt x="3589" y="1365"/>
                  <a:pt x="3589" y="1363"/>
                  <a:pt x="3589" y="1360"/>
                </a:cubicBezTo>
                <a:cubicBezTo>
                  <a:pt x="3588" y="1357"/>
                  <a:pt x="3588" y="1355"/>
                  <a:pt x="3588" y="1353"/>
                </a:cubicBezTo>
                <a:cubicBezTo>
                  <a:pt x="3588" y="1350"/>
                  <a:pt x="3589" y="1347"/>
                  <a:pt x="3595" y="1347"/>
                </a:cubicBezTo>
                <a:close/>
                <a:moveTo>
                  <a:pt x="3643" y="1306"/>
                </a:moveTo>
                <a:cubicBezTo>
                  <a:pt x="3643" y="1306"/>
                  <a:pt x="3643" y="1306"/>
                  <a:pt x="3643" y="1306"/>
                </a:cubicBezTo>
                <a:cubicBezTo>
                  <a:pt x="3637" y="1306"/>
                  <a:pt x="3637" y="1306"/>
                  <a:pt x="3637" y="1306"/>
                </a:cubicBezTo>
                <a:cubicBezTo>
                  <a:pt x="3635" y="1308"/>
                  <a:pt x="3634" y="1309"/>
                  <a:pt x="3632" y="1310"/>
                </a:cubicBezTo>
                <a:cubicBezTo>
                  <a:pt x="3630" y="1312"/>
                  <a:pt x="3628" y="1312"/>
                  <a:pt x="3627" y="1313"/>
                </a:cubicBezTo>
                <a:cubicBezTo>
                  <a:pt x="3624" y="1314"/>
                  <a:pt x="3623" y="1314"/>
                  <a:pt x="3622" y="1315"/>
                </a:cubicBezTo>
                <a:cubicBezTo>
                  <a:pt x="3619" y="1316"/>
                  <a:pt x="3618" y="1317"/>
                  <a:pt x="3616" y="1317"/>
                </a:cubicBezTo>
                <a:cubicBezTo>
                  <a:pt x="3616" y="1317"/>
                  <a:pt x="3616" y="1317"/>
                  <a:pt x="3616" y="1328"/>
                </a:cubicBezTo>
                <a:cubicBezTo>
                  <a:pt x="3619" y="1327"/>
                  <a:pt x="3622" y="1325"/>
                  <a:pt x="3624" y="1325"/>
                </a:cubicBezTo>
                <a:cubicBezTo>
                  <a:pt x="3627" y="1324"/>
                  <a:pt x="3629" y="1322"/>
                  <a:pt x="3631" y="1321"/>
                </a:cubicBezTo>
                <a:cubicBezTo>
                  <a:pt x="3631" y="1321"/>
                  <a:pt x="3631" y="1321"/>
                  <a:pt x="3631" y="1380"/>
                </a:cubicBezTo>
                <a:cubicBezTo>
                  <a:pt x="3631" y="1380"/>
                  <a:pt x="3631" y="1380"/>
                  <a:pt x="3643" y="1380"/>
                </a:cubicBezTo>
                <a:cubicBezTo>
                  <a:pt x="3643" y="1380"/>
                  <a:pt x="3643" y="1380"/>
                  <a:pt x="3643" y="1306"/>
                </a:cubicBezTo>
                <a:close/>
                <a:moveTo>
                  <a:pt x="3690" y="1306"/>
                </a:moveTo>
                <a:cubicBezTo>
                  <a:pt x="3690" y="1306"/>
                  <a:pt x="3690" y="1306"/>
                  <a:pt x="3690" y="1306"/>
                </a:cubicBezTo>
                <a:cubicBezTo>
                  <a:pt x="3685" y="1306"/>
                  <a:pt x="3685" y="1306"/>
                  <a:pt x="3685" y="1306"/>
                </a:cubicBezTo>
                <a:cubicBezTo>
                  <a:pt x="3682" y="1308"/>
                  <a:pt x="3681" y="1309"/>
                  <a:pt x="3679" y="1310"/>
                </a:cubicBezTo>
                <a:cubicBezTo>
                  <a:pt x="3677" y="1312"/>
                  <a:pt x="3675" y="1312"/>
                  <a:pt x="3674" y="1313"/>
                </a:cubicBezTo>
                <a:cubicBezTo>
                  <a:pt x="3672" y="1314"/>
                  <a:pt x="3670" y="1315"/>
                  <a:pt x="3669" y="1316"/>
                </a:cubicBezTo>
                <a:cubicBezTo>
                  <a:pt x="3667" y="1317"/>
                  <a:pt x="3665" y="1317"/>
                  <a:pt x="3663" y="1317"/>
                </a:cubicBezTo>
                <a:cubicBezTo>
                  <a:pt x="3663" y="1317"/>
                  <a:pt x="3663" y="1317"/>
                  <a:pt x="3663" y="1328"/>
                </a:cubicBezTo>
                <a:cubicBezTo>
                  <a:pt x="3666" y="1327"/>
                  <a:pt x="3669" y="1326"/>
                  <a:pt x="3671" y="1325"/>
                </a:cubicBezTo>
                <a:cubicBezTo>
                  <a:pt x="3674" y="1324"/>
                  <a:pt x="3676" y="1322"/>
                  <a:pt x="3678" y="1321"/>
                </a:cubicBezTo>
                <a:cubicBezTo>
                  <a:pt x="3678" y="1321"/>
                  <a:pt x="3678" y="1321"/>
                  <a:pt x="3678" y="1380"/>
                </a:cubicBezTo>
                <a:cubicBezTo>
                  <a:pt x="3678" y="1380"/>
                  <a:pt x="3678" y="1380"/>
                  <a:pt x="3690" y="1380"/>
                </a:cubicBezTo>
                <a:cubicBezTo>
                  <a:pt x="3690" y="1380"/>
                  <a:pt x="3690" y="1380"/>
                  <a:pt x="3690" y="1306"/>
                </a:cubicBezTo>
                <a:close/>
                <a:moveTo>
                  <a:pt x="3736" y="1306"/>
                </a:moveTo>
                <a:cubicBezTo>
                  <a:pt x="3736" y="1306"/>
                  <a:pt x="3736" y="1306"/>
                  <a:pt x="3736" y="1306"/>
                </a:cubicBezTo>
                <a:cubicBezTo>
                  <a:pt x="3732" y="1306"/>
                  <a:pt x="3732" y="1306"/>
                  <a:pt x="3732" y="1306"/>
                </a:cubicBezTo>
                <a:cubicBezTo>
                  <a:pt x="3730" y="1308"/>
                  <a:pt x="3728" y="1309"/>
                  <a:pt x="3726" y="1310"/>
                </a:cubicBezTo>
                <a:cubicBezTo>
                  <a:pt x="3725" y="1312"/>
                  <a:pt x="3722" y="1312"/>
                  <a:pt x="3721" y="1313"/>
                </a:cubicBezTo>
                <a:cubicBezTo>
                  <a:pt x="3719" y="1314"/>
                  <a:pt x="3717" y="1315"/>
                  <a:pt x="3715" y="1316"/>
                </a:cubicBezTo>
                <a:cubicBezTo>
                  <a:pt x="3714" y="1317"/>
                  <a:pt x="3712" y="1317"/>
                  <a:pt x="3710" y="1317"/>
                </a:cubicBezTo>
                <a:cubicBezTo>
                  <a:pt x="3710" y="1317"/>
                  <a:pt x="3710" y="1317"/>
                  <a:pt x="3710" y="1328"/>
                </a:cubicBezTo>
                <a:cubicBezTo>
                  <a:pt x="3713" y="1327"/>
                  <a:pt x="3716" y="1326"/>
                  <a:pt x="3718" y="1325"/>
                </a:cubicBezTo>
                <a:cubicBezTo>
                  <a:pt x="3720" y="1324"/>
                  <a:pt x="3723" y="1322"/>
                  <a:pt x="3725" y="1321"/>
                </a:cubicBezTo>
                <a:cubicBezTo>
                  <a:pt x="3725" y="1321"/>
                  <a:pt x="3725" y="1321"/>
                  <a:pt x="3725" y="1380"/>
                </a:cubicBezTo>
                <a:cubicBezTo>
                  <a:pt x="3725" y="1380"/>
                  <a:pt x="3725" y="1380"/>
                  <a:pt x="3736" y="1380"/>
                </a:cubicBezTo>
                <a:cubicBezTo>
                  <a:pt x="3736" y="1380"/>
                  <a:pt x="3736" y="1380"/>
                  <a:pt x="3736" y="1306"/>
                </a:cubicBezTo>
                <a:close/>
                <a:moveTo>
                  <a:pt x="3860" y="1306"/>
                </a:moveTo>
                <a:cubicBezTo>
                  <a:pt x="3860" y="1306"/>
                  <a:pt x="3860" y="1306"/>
                  <a:pt x="3860" y="1306"/>
                </a:cubicBezTo>
                <a:cubicBezTo>
                  <a:pt x="3854" y="1306"/>
                  <a:pt x="3854" y="1306"/>
                  <a:pt x="3854" y="1306"/>
                </a:cubicBezTo>
                <a:cubicBezTo>
                  <a:pt x="3852" y="1308"/>
                  <a:pt x="3851" y="1309"/>
                  <a:pt x="3848" y="1310"/>
                </a:cubicBezTo>
                <a:cubicBezTo>
                  <a:pt x="3847" y="1312"/>
                  <a:pt x="3845" y="1312"/>
                  <a:pt x="3843" y="1313"/>
                </a:cubicBezTo>
                <a:cubicBezTo>
                  <a:pt x="3842" y="1314"/>
                  <a:pt x="3840" y="1315"/>
                  <a:pt x="3838" y="1316"/>
                </a:cubicBezTo>
                <a:cubicBezTo>
                  <a:pt x="3836" y="1317"/>
                  <a:pt x="3834" y="1317"/>
                  <a:pt x="3832" y="1317"/>
                </a:cubicBezTo>
                <a:cubicBezTo>
                  <a:pt x="3832" y="1317"/>
                  <a:pt x="3832" y="1317"/>
                  <a:pt x="3832" y="1328"/>
                </a:cubicBezTo>
                <a:cubicBezTo>
                  <a:pt x="3835" y="1327"/>
                  <a:pt x="3838" y="1326"/>
                  <a:pt x="3841" y="1325"/>
                </a:cubicBezTo>
                <a:cubicBezTo>
                  <a:pt x="3843" y="1324"/>
                  <a:pt x="3845" y="1322"/>
                  <a:pt x="3848" y="1321"/>
                </a:cubicBezTo>
                <a:cubicBezTo>
                  <a:pt x="3848" y="1321"/>
                  <a:pt x="3848" y="1321"/>
                  <a:pt x="3848" y="1380"/>
                </a:cubicBezTo>
                <a:cubicBezTo>
                  <a:pt x="3848" y="1380"/>
                  <a:pt x="3848" y="1380"/>
                  <a:pt x="3860" y="1380"/>
                </a:cubicBezTo>
                <a:cubicBezTo>
                  <a:pt x="3860" y="1380"/>
                  <a:pt x="3860" y="1380"/>
                  <a:pt x="3860" y="1306"/>
                </a:cubicBezTo>
                <a:close/>
                <a:moveTo>
                  <a:pt x="3757" y="1339"/>
                </a:moveTo>
                <a:cubicBezTo>
                  <a:pt x="3757" y="1339"/>
                  <a:pt x="3757" y="1339"/>
                  <a:pt x="3757" y="1339"/>
                </a:cubicBezTo>
                <a:cubicBezTo>
                  <a:pt x="3757" y="1347"/>
                  <a:pt x="3757" y="1347"/>
                  <a:pt x="3757" y="1347"/>
                </a:cubicBezTo>
                <a:cubicBezTo>
                  <a:pt x="3763" y="1347"/>
                  <a:pt x="3764" y="1350"/>
                  <a:pt x="3764" y="1353"/>
                </a:cubicBezTo>
                <a:cubicBezTo>
                  <a:pt x="3764" y="1355"/>
                  <a:pt x="3763" y="1357"/>
                  <a:pt x="3763" y="1360"/>
                </a:cubicBezTo>
                <a:cubicBezTo>
                  <a:pt x="3763" y="1363"/>
                  <a:pt x="3763" y="1365"/>
                  <a:pt x="3763" y="1367"/>
                </a:cubicBezTo>
                <a:cubicBezTo>
                  <a:pt x="3763" y="1377"/>
                  <a:pt x="3769" y="1380"/>
                  <a:pt x="3777" y="1380"/>
                </a:cubicBezTo>
                <a:cubicBezTo>
                  <a:pt x="3777" y="1380"/>
                  <a:pt x="3777" y="1380"/>
                  <a:pt x="3781" y="1380"/>
                </a:cubicBezTo>
                <a:cubicBezTo>
                  <a:pt x="3781" y="1380"/>
                  <a:pt x="3781" y="1380"/>
                  <a:pt x="3781" y="1371"/>
                </a:cubicBezTo>
                <a:cubicBezTo>
                  <a:pt x="3781" y="1371"/>
                  <a:pt x="3781" y="1371"/>
                  <a:pt x="3779" y="1371"/>
                </a:cubicBezTo>
                <a:cubicBezTo>
                  <a:pt x="3776" y="1371"/>
                  <a:pt x="3775" y="1368"/>
                  <a:pt x="3775" y="1365"/>
                </a:cubicBezTo>
                <a:cubicBezTo>
                  <a:pt x="3775" y="1363"/>
                  <a:pt x="3775" y="1362"/>
                  <a:pt x="3775" y="1360"/>
                </a:cubicBezTo>
                <a:cubicBezTo>
                  <a:pt x="3775" y="1359"/>
                  <a:pt x="3775" y="1356"/>
                  <a:pt x="3775" y="1354"/>
                </a:cubicBezTo>
                <a:cubicBezTo>
                  <a:pt x="3775" y="1347"/>
                  <a:pt x="3772" y="1344"/>
                  <a:pt x="3767" y="1343"/>
                </a:cubicBezTo>
                <a:cubicBezTo>
                  <a:pt x="3767" y="1343"/>
                  <a:pt x="3767" y="1343"/>
                  <a:pt x="3767" y="1342"/>
                </a:cubicBezTo>
                <a:cubicBezTo>
                  <a:pt x="3772" y="1341"/>
                  <a:pt x="3775" y="1339"/>
                  <a:pt x="3775" y="1332"/>
                </a:cubicBezTo>
                <a:cubicBezTo>
                  <a:pt x="3775" y="1329"/>
                  <a:pt x="3775" y="1327"/>
                  <a:pt x="3775" y="1325"/>
                </a:cubicBezTo>
                <a:cubicBezTo>
                  <a:pt x="3775" y="1324"/>
                  <a:pt x="3775" y="1322"/>
                  <a:pt x="3775" y="1321"/>
                </a:cubicBezTo>
                <a:cubicBezTo>
                  <a:pt x="3775" y="1317"/>
                  <a:pt x="3776" y="1315"/>
                  <a:pt x="3779" y="1315"/>
                </a:cubicBezTo>
                <a:cubicBezTo>
                  <a:pt x="3779" y="1315"/>
                  <a:pt x="3779" y="1315"/>
                  <a:pt x="3781" y="1315"/>
                </a:cubicBezTo>
                <a:cubicBezTo>
                  <a:pt x="3781" y="1315"/>
                  <a:pt x="3781" y="1315"/>
                  <a:pt x="3781" y="1305"/>
                </a:cubicBezTo>
                <a:cubicBezTo>
                  <a:pt x="3781" y="1305"/>
                  <a:pt x="3781" y="1305"/>
                  <a:pt x="3777" y="1305"/>
                </a:cubicBezTo>
                <a:cubicBezTo>
                  <a:pt x="3768" y="1305"/>
                  <a:pt x="3763" y="1310"/>
                  <a:pt x="3763" y="1318"/>
                </a:cubicBezTo>
                <a:cubicBezTo>
                  <a:pt x="3763" y="1320"/>
                  <a:pt x="3763" y="1323"/>
                  <a:pt x="3763" y="1326"/>
                </a:cubicBezTo>
                <a:cubicBezTo>
                  <a:pt x="3763" y="1328"/>
                  <a:pt x="3764" y="1331"/>
                  <a:pt x="3764" y="1332"/>
                </a:cubicBezTo>
                <a:cubicBezTo>
                  <a:pt x="3764" y="1335"/>
                  <a:pt x="3763" y="1338"/>
                  <a:pt x="3757" y="1339"/>
                </a:cubicBezTo>
                <a:close/>
                <a:moveTo>
                  <a:pt x="3812" y="1347"/>
                </a:moveTo>
                <a:cubicBezTo>
                  <a:pt x="3812" y="1347"/>
                  <a:pt x="3812" y="1347"/>
                  <a:pt x="3812" y="1347"/>
                </a:cubicBezTo>
                <a:cubicBezTo>
                  <a:pt x="3812" y="1339"/>
                  <a:pt x="3812" y="1339"/>
                  <a:pt x="3812" y="1339"/>
                </a:cubicBezTo>
                <a:cubicBezTo>
                  <a:pt x="3806" y="1338"/>
                  <a:pt x="3805" y="1335"/>
                  <a:pt x="3805" y="1332"/>
                </a:cubicBezTo>
                <a:cubicBezTo>
                  <a:pt x="3805" y="1331"/>
                  <a:pt x="3805" y="1328"/>
                  <a:pt x="3806" y="1326"/>
                </a:cubicBezTo>
                <a:cubicBezTo>
                  <a:pt x="3806" y="1323"/>
                  <a:pt x="3806" y="1320"/>
                  <a:pt x="3806" y="1318"/>
                </a:cubicBezTo>
                <a:cubicBezTo>
                  <a:pt x="3806" y="1310"/>
                  <a:pt x="3801" y="1305"/>
                  <a:pt x="3791" y="1305"/>
                </a:cubicBezTo>
                <a:cubicBezTo>
                  <a:pt x="3791" y="1305"/>
                  <a:pt x="3791" y="1305"/>
                  <a:pt x="3788" y="1305"/>
                </a:cubicBezTo>
                <a:cubicBezTo>
                  <a:pt x="3788" y="1305"/>
                  <a:pt x="3788" y="1305"/>
                  <a:pt x="3788" y="1315"/>
                </a:cubicBezTo>
                <a:cubicBezTo>
                  <a:pt x="3788" y="1315"/>
                  <a:pt x="3788" y="1315"/>
                  <a:pt x="3789" y="1315"/>
                </a:cubicBezTo>
                <a:cubicBezTo>
                  <a:pt x="3793" y="1315"/>
                  <a:pt x="3794" y="1317"/>
                  <a:pt x="3794" y="1321"/>
                </a:cubicBezTo>
                <a:cubicBezTo>
                  <a:pt x="3794" y="1322"/>
                  <a:pt x="3794" y="1324"/>
                  <a:pt x="3794" y="1325"/>
                </a:cubicBezTo>
                <a:cubicBezTo>
                  <a:pt x="3794" y="1327"/>
                  <a:pt x="3794" y="1329"/>
                  <a:pt x="3794" y="1332"/>
                </a:cubicBezTo>
                <a:cubicBezTo>
                  <a:pt x="3794" y="1339"/>
                  <a:pt x="3796" y="1341"/>
                  <a:pt x="3802" y="1342"/>
                </a:cubicBezTo>
                <a:cubicBezTo>
                  <a:pt x="3802" y="1342"/>
                  <a:pt x="3802" y="1342"/>
                  <a:pt x="3802" y="1343"/>
                </a:cubicBezTo>
                <a:cubicBezTo>
                  <a:pt x="3796" y="1344"/>
                  <a:pt x="3794" y="1347"/>
                  <a:pt x="3794" y="1354"/>
                </a:cubicBezTo>
                <a:cubicBezTo>
                  <a:pt x="3794" y="1356"/>
                  <a:pt x="3794" y="1359"/>
                  <a:pt x="3794" y="1360"/>
                </a:cubicBezTo>
                <a:cubicBezTo>
                  <a:pt x="3794" y="1362"/>
                  <a:pt x="3794" y="1363"/>
                  <a:pt x="3794" y="1365"/>
                </a:cubicBezTo>
                <a:cubicBezTo>
                  <a:pt x="3794" y="1368"/>
                  <a:pt x="3793" y="1371"/>
                  <a:pt x="3789" y="1371"/>
                </a:cubicBezTo>
                <a:cubicBezTo>
                  <a:pt x="3789" y="1371"/>
                  <a:pt x="3789" y="1371"/>
                  <a:pt x="3788" y="1371"/>
                </a:cubicBezTo>
                <a:cubicBezTo>
                  <a:pt x="3788" y="1371"/>
                  <a:pt x="3788" y="1371"/>
                  <a:pt x="3788" y="1380"/>
                </a:cubicBezTo>
                <a:cubicBezTo>
                  <a:pt x="3788" y="1380"/>
                  <a:pt x="3788" y="1380"/>
                  <a:pt x="3791" y="1380"/>
                </a:cubicBezTo>
                <a:cubicBezTo>
                  <a:pt x="3800" y="1380"/>
                  <a:pt x="3806" y="1377"/>
                  <a:pt x="3806" y="1367"/>
                </a:cubicBezTo>
                <a:cubicBezTo>
                  <a:pt x="3806" y="1365"/>
                  <a:pt x="3806" y="1363"/>
                  <a:pt x="3806" y="1360"/>
                </a:cubicBezTo>
                <a:cubicBezTo>
                  <a:pt x="3805" y="1357"/>
                  <a:pt x="3805" y="1355"/>
                  <a:pt x="3805" y="1353"/>
                </a:cubicBezTo>
                <a:cubicBezTo>
                  <a:pt x="3805" y="1350"/>
                  <a:pt x="3806" y="1347"/>
                  <a:pt x="3812" y="1347"/>
                </a:cubicBezTo>
                <a:close/>
                <a:moveTo>
                  <a:pt x="2953" y="1258"/>
                </a:moveTo>
                <a:cubicBezTo>
                  <a:pt x="2953" y="1259"/>
                  <a:pt x="2954" y="1261"/>
                  <a:pt x="2954" y="1262"/>
                </a:cubicBezTo>
                <a:cubicBezTo>
                  <a:pt x="2955" y="1264"/>
                  <a:pt x="2955" y="1266"/>
                  <a:pt x="2956" y="1267"/>
                </a:cubicBezTo>
                <a:cubicBezTo>
                  <a:pt x="2956" y="1269"/>
                  <a:pt x="2956" y="1270"/>
                  <a:pt x="2956" y="1272"/>
                </a:cubicBezTo>
                <a:cubicBezTo>
                  <a:pt x="2957" y="1275"/>
                  <a:pt x="2956" y="1277"/>
                  <a:pt x="2952" y="1277"/>
                </a:cubicBezTo>
                <a:cubicBezTo>
                  <a:pt x="2950" y="1277"/>
                  <a:pt x="2947" y="1276"/>
                  <a:pt x="2944" y="1276"/>
                </a:cubicBezTo>
                <a:cubicBezTo>
                  <a:pt x="2944" y="1276"/>
                  <a:pt x="2943" y="1276"/>
                  <a:pt x="2943" y="1277"/>
                </a:cubicBezTo>
                <a:cubicBezTo>
                  <a:pt x="2941" y="1278"/>
                  <a:pt x="2939" y="1280"/>
                  <a:pt x="2938" y="1281"/>
                </a:cubicBezTo>
                <a:cubicBezTo>
                  <a:pt x="2936" y="1283"/>
                  <a:pt x="2933" y="1284"/>
                  <a:pt x="2931" y="1282"/>
                </a:cubicBezTo>
                <a:cubicBezTo>
                  <a:pt x="2929" y="1280"/>
                  <a:pt x="2928" y="1277"/>
                  <a:pt x="2926" y="1274"/>
                </a:cubicBezTo>
                <a:cubicBezTo>
                  <a:pt x="2925" y="1273"/>
                  <a:pt x="2926" y="1271"/>
                  <a:pt x="2928" y="1270"/>
                </a:cubicBezTo>
                <a:cubicBezTo>
                  <a:pt x="2925" y="1270"/>
                  <a:pt x="2924" y="1270"/>
                  <a:pt x="2922" y="1270"/>
                </a:cubicBezTo>
                <a:cubicBezTo>
                  <a:pt x="2921" y="1272"/>
                  <a:pt x="2920" y="1274"/>
                  <a:pt x="2919" y="1276"/>
                </a:cubicBezTo>
                <a:cubicBezTo>
                  <a:pt x="2919" y="1276"/>
                  <a:pt x="2919" y="1277"/>
                  <a:pt x="2919" y="1278"/>
                </a:cubicBezTo>
                <a:cubicBezTo>
                  <a:pt x="2919" y="1281"/>
                  <a:pt x="2918" y="1282"/>
                  <a:pt x="2915" y="1282"/>
                </a:cubicBezTo>
                <a:cubicBezTo>
                  <a:pt x="2912" y="1282"/>
                  <a:pt x="2909" y="1281"/>
                  <a:pt x="2906" y="1280"/>
                </a:cubicBezTo>
                <a:cubicBezTo>
                  <a:pt x="2904" y="1279"/>
                  <a:pt x="2903" y="1278"/>
                  <a:pt x="2904" y="1276"/>
                </a:cubicBezTo>
                <a:cubicBezTo>
                  <a:pt x="2904" y="1275"/>
                  <a:pt x="2904" y="1274"/>
                  <a:pt x="2905" y="1274"/>
                </a:cubicBezTo>
                <a:cubicBezTo>
                  <a:pt x="2902" y="1273"/>
                  <a:pt x="2900" y="1272"/>
                  <a:pt x="2898" y="1270"/>
                </a:cubicBezTo>
                <a:cubicBezTo>
                  <a:pt x="2897" y="1270"/>
                  <a:pt x="2896" y="1268"/>
                  <a:pt x="2895" y="1266"/>
                </a:cubicBezTo>
                <a:cubicBezTo>
                  <a:pt x="2894" y="1264"/>
                  <a:pt x="2894" y="1263"/>
                  <a:pt x="2896" y="1261"/>
                </a:cubicBezTo>
                <a:cubicBezTo>
                  <a:pt x="2899" y="1259"/>
                  <a:pt x="2900" y="1256"/>
                  <a:pt x="2899" y="1252"/>
                </a:cubicBezTo>
                <a:cubicBezTo>
                  <a:pt x="2899" y="1250"/>
                  <a:pt x="2899" y="1247"/>
                  <a:pt x="2899" y="1246"/>
                </a:cubicBezTo>
                <a:cubicBezTo>
                  <a:pt x="2898" y="1245"/>
                  <a:pt x="2896" y="1245"/>
                  <a:pt x="2895" y="1244"/>
                </a:cubicBezTo>
                <a:cubicBezTo>
                  <a:pt x="2894" y="1242"/>
                  <a:pt x="2893" y="1240"/>
                  <a:pt x="2893" y="1238"/>
                </a:cubicBezTo>
                <a:cubicBezTo>
                  <a:pt x="2893" y="1235"/>
                  <a:pt x="2896" y="1232"/>
                  <a:pt x="2899" y="1232"/>
                </a:cubicBezTo>
                <a:cubicBezTo>
                  <a:pt x="2899" y="1232"/>
                  <a:pt x="2899" y="1233"/>
                  <a:pt x="2900" y="1234"/>
                </a:cubicBezTo>
                <a:cubicBezTo>
                  <a:pt x="2900" y="1235"/>
                  <a:pt x="2900" y="1236"/>
                  <a:pt x="2900" y="1237"/>
                </a:cubicBezTo>
                <a:cubicBezTo>
                  <a:pt x="2899" y="1237"/>
                  <a:pt x="2899" y="1237"/>
                  <a:pt x="2899" y="1237"/>
                </a:cubicBezTo>
                <a:cubicBezTo>
                  <a:pt x="2898" y="1238"/>
                  <a:pt x="2898" y="1239"/>
                  <a:pt x="2897" y="1241"/>
                </a:cubicBezTo>
                <a:cubicBezTo>
                  <a:pt x="2898" y="1241"/>
                  <a:pt x="2899" y="1241"/>
                  <a:pt x="2899" y="1240"/>
                </a:cubicBezTo>
                <a:cubicBezTo>
                  <a:pt x="2901" y="1239"/>
                  <a:pt x="2901" y="1238"/>
                  <a:pt x="2902" y="1237"/>
                </a:cubicBezTo>
                <a:cubicBezTo>
                  <a:pt x="2907" y="1230"/>
                  <a:pt x="2912" y="1226"/>
                  <a:pt x="2920" y="1225"/>
                </a:cubicBezTo>
                <a:cubicBezTo>
                  <a:pt x="2923" y="1224"/>
                  <a:pt x="2927" y="1223"/>
                  <a:pt x="2929" y="1221"/>
                </a:cubicBezTo>
                <a:cubicBezTo>
                  <a:pt x="2929" y="1220"/>
                  <a:pt x="2930" y="1220"/>
                  <a:pt x="2930" y="1220"/>
                </a:cubicBezTo>
                <a:cubicBezTo>
                  <a:pt x="2933" y="1219"/>
                  <a:pt x="2934" y="1217"/>
                  <a:pt x="2936" y="1215"/>
                </a:cubicBezTo>
                <a:cubicBezTo>
                  <a:pt x="2944" y="1207"/>
                  <a:pt x="2956" y="1207"/>
                  <a:pt x="2963" y="1214"/>
                </a:cubicBezTo>
                <a:cubicBezTo>
                  <a:pt x="2966" y="1216"/>
                  <a:pt x="2969" y="1218"/>
                  <a:pt x="2971" y="1220"/>
                </a:cubicBezTo>
                <a:cubicBezTo>
                  <a:pt x="2972" y="1221"/>
                  <a:pt x="2974" y="1223"/>
                  <a:pt x="2975" y="1224"/>
                </a:cubicBezTo>
                <a:cubicBezTo>
                  <a:pt x="2976" y="1226"/>
                  <a:pt x="2976" y="1226"/>
                  <a:pt x="2978" y="1225"/>
                </a:cubicBezTo>
                <a:cubicBezTo>
                  <a:pt x="2978" y="1224"/>
                  <a:pt x="2979" y="1224"/>
                  <a:pt x="2980" y="1223"/>
                </a:cubicBezTo>
                <a:cubicBezTo>
                  <a:pt x="2982" y="1220"/>
                  <a:pt x="2985" y="1220"/>
                  <a:pt x="2986" y="1223"/>
                </a:cubicBezTo>
                <a:cubicBezTo>
                  <a:pt x="2987" y="1226"/>
                  <a:pt x="2988" y="1229"/>
                  <a:pt x="2989" y="1232"/>
                </a:cubicBezTo>
                <a:cubicBezTo>
                  <a:pt x="2989" y="1237"/>
                  <a:pt x="2989" y="1241"/>
                  <a:pt x="2987" y="1245"/>
                </a:cubicBezTo>
                <a:cubicBezTo>
                  <a:pt x="2985" y="1252"/>
                  <a:pt x="2980" y="1255"/>
                  <a:pt x="2974" y="1255"/>
                </a:cubicBezTo>
                <a:cubicBezTo>
                  <a:pt x="2973" y="1255"/>
                  <a:pt x="2972" y="1255"/>
                  <a:pt x="2972" y="1255"/>
                </a:cubicBezTo>
                <a:cubicBezTo>
                  <a:pt x="2969" y="1255"/>
                  <a:pt x="2968" y="1255"/>
                  <a:pt x="2967" y="1258"/>
                </a:cubicBezTo>
                <a:cubicBezTo>
                  <a:pt x="2966" y="1262"/>
                  <a:pt x="2960" y="1264"/>
                  <a:pt x="2957" y="1261"/>
                </a:cubicBezTo>
                <a:cubicBezTo>
                  <a:pt x="2956" y="1259"/>
                  <a:pt x="2955" y="1259"/>
                  <a:pt x="2954" y="1257"/>
                </a:cubicBezTo>
                <a:cubicBezTo>
                  <a:pt x="2953" y="1258"/>
                  <a:pt x="2953" y="1258"/>
                  <a:pt x="2953" y="1258"/>
                </a:cubicBezTo>
                <a:close/>
                <a:moveTo>
                  <a:pt x="2947" y="1253"/>
                </a:moveTo>
                <a:cubicBezTo>
                  <a:pt x="2951" y="1255"/>
                  <a:pt x="2954" y="1256"/>
                  <a:pt x="2957" y="1259"/>
                </a:cubicBezTo>
                <a:cubicBezTo>
                  <a:pt x="2959" y="1261"/>
                  <a:pt x="2961" y="1261"/>
                  <a:pt x="2963" y="1261"/>
                </a:cubicBezTo>
                <a:cubicBezTo>
                  <a:pt x="2965" y="1260"/>
                  <a:pt x="2967" y="1258"/>
                  <a:pt x="2967" y="1255"/>
                </a:cubicBezTo>
                <a:cubicBezTo>
                  <a:pt x="2967" y="1255"/>
                  <a:pt x="2966" y="1255"/>
                  <a:pt x="2966" y="1255"/>
                </a:cubicBezTo>
                <a:cubicBezTo>
                  <a:pt x="2965" y="1257"/>
                  <a:pt x="2964" y="1258"/>
                  <a:pt x="2963" y="1259"/>
                </a:cubicBezTo>
                <a:cubicBezTo>
                  <a:pt x="2962" y="1260"/>
                  <a:pt x="2961" y="1260"/>
                  <a:pt x="2960" y="1259"/>
                </a:cubicBezTo>
                <a:cubicBezTo>
                  <a:pt x="2959" y="1259"/>
                  <a:pt x="2959" y="1258"/>
                  <a:pt x="2959" y="1257"/>
                </a:cubicBezTo>
                <a:cubicBezTo>
                  <a:pt x="2959" y="1255"/>
                  <a:pt x="2959" y="1253"/>
                  <a:pt x="2960" y="1251"/>
                </a:cubicBezTo>
                <a:cubicBezTo>
                  <a:pt x="2963" y="1252"/>
                  <a:pt x="2966" y="1253"/>
                  <a:pt x="2970" y="1253"/>
                </a:cubicBezTo>
                <a:cubicBezTo>
                  <a:pt x="2977" y="1255"/>
                  <a:pt x="2983" y="1253"/>
                  <a:pt x="2986" y="1244"/>
                </a:cubicBezTo>
                <a:cubicBezTo>
                  <a:pt x="2988" y="1240"/>
                  <a:pt x="2987" y="1235"/>
                  <a:pt x="2987" y="1230"/>
                </a:cubicBezTo>
                <a:cubicBezTo>
                  <a:pt x="2986" y="1228"/>
                  <a:pt x="2985" y="1226"/>
                  <a:pt x="2985" y="1224"/>
                </a:cubicBezTo>
                <a:cubicBezTo>
                  <a:pt x="2984" y="1223"/>
                  <a:pt x="2983" y="1222"/>
                  <a:pt x="2981" y="1224"/>
                </a:cubicBezTo>
                <a:cubicBezTo>
                  <a:pt x="2980" y="1225"/>
                  <a:pt x="2978" y="1227"/>
                  <a:pt x="2976" y="1228"/>
                </a:cubicBezTo>
                <a:cubicBezTo>
                  <a:pt x="2976" y="1228"/>
                  <a:pt x="2975" y="1229"/>
                  <a:pt x="2975" y="1230"/>
                </a:cubicBezTo>
                <a:cubicBezTo>
                  <a:pt x="2976" y="1233"/>
                  <a:pt x="2975" y="1236"/>
                  <a:pt x="2974" y="1240"/>
                </a:cubicBezTo>
                <a:cubicBezTo>
                  <a:pt x="2974" y="1238"/>
                  <a:pt x="2974" y="1236"/>
                  <a:pt x="2974" y="1234"/>
                </a:cubicBezTo>
                <a:cubicBezTo>
                  <a:pt x="2974" y="1233"/>
                  <a:pt x="2974" y="1233"/>
                  <a:pt x="2974" y="1232"/>
                </a:cubicBezTo>
                <a:cubicBezTo>
                  <a:pt x="2973" y="1233"/>
                  <a:pt x="2972" y="1233"/>
                  <a:pt x="2972" y="1233"/>
                </a:cubicBezTo>
                <a:cubicBezTo>
                  <a:pt x="2972" y="1234"/>
                  <a:pt x="2971" y="1236"/>
                  <a:pt x="2970" y="1237"/>
                </a:cubicBezTo>
                <a:cubicBezTo>
                  <a:pt x="2970" y="1237"/>
                  <a:pt x="2970" y="1237"/>
                  <a:pt x="2970" y="1237"/>
                </a:cubicBezTo>
                <a:cubicBezTo>
                  <a:pt x="2970" y="1236"/>
                  <a:pt x="2970" y="1234"/>
                  <a:pt x="2971" y="1232"/>
                </a:cubicBezTo>
                <a:cubicBezTo>
                  <a:pt x="2970" y="1232"/>
                  <a:pt x="2969" y="1233"/>
                  <a:pt x="2969" y="1234"/>
                </a:cubicBezTo>
                <a:cubicBezTo>
                  <a:pt x="2968" y="1234"/>
                  <a:pt x="2968" y="1235"/>
                  <a:pt x="2967" y="1236"/>
                </a:cubicBezTo>
                <a:cubicBezTo>
                  <a:pt x="2968" y="1232"/>
                  <a:pt x="2968" y="1232"/>
                  <a:pt x="2974" y="1231"/>
                </a:cubicBezTo>
                <a:cubicBezTo>
                  <a:pt x="2974" y="1230"/>
                  <a:pt x="2973" y="1230"/>
                  <a:pt x="2973" y="1230"/>
                </a:cubicBezTo>
                <a:cubicBezTo>
                  <a:pt x="2970" y="1230"/>
                  <a:pt x="2969" y="1229"/>
                  <a:pt x="2969" y="1226"/>
                </a:cubicBezTo>
                <a:cubicBezTo>
                  <a:pt x="2970" y="1226"/>
                  <a:pt x="2972" y="1226"/>
                  <a:pt x="2974" y="1225"/>
                </a:cubicBezTo>
                <a:cubicBezTo>
                  <a:pt x="2972" y="1223"/>
                  <a:pt x="2970" y="1220"/>
                  <a:pt x="2967" y="1220"/>
                </a:cubicBezTo>
                <a:cubicBezTo>
                  <a:pt x="2967" y="1220"/>
                  <a:pt x="2967" y="1219"/>
                  <a:pt x="2967" y="1219"/>
                </a:cubicBezTo>
                <a:cubicBezTo>
                  <a:pt x="2964" y="1217"/>
                  <a:pt x="2962" y="1215"/>
                  <a:pt x="2959" y="1213"/>
                </a:cubicBezTo>
                <a:cubicBezTo>
                  <a:pt x="2957" y="1211"/>
                  <a:pt x="2954" y="1211"/>
                  <a:pt x="2952" y="1211"/>
                </a:cubicBezTo>
                <a:cubicBezTo>
                  <a:pt x="2949" y="1211"/>
                  <a:pt x="2945" y="1212"/>
                  <a:pt x="2942" y="1213"/>
                </a:cubicBezTo>
                <a:cubicBezTo>
                  <a:pt x="2939" y="1214"/>
                  <a:pt x="2937" y="1216"/>
                  <a:pt x="2935" y="1219"/>
                </a:cubicBezTo>
                <a:cubicBezTo>
                  <a:pt x="2937" y="1219"/>
                  <a:pt x="2938" y="1219"/>
                  <a:pt x="2939" y="1219"/>
                </a:cubicBezTo>
                <a:cubicBezTo>
                  <a:pt x="2939" y="1219"/>
                  <a:pt x="2938" y="1220"/>
                  <a:pt x="2937" y="1220"/>
                </a:cubicBezTo>
                <a:cubicBezTo>
                  <a:pt x="2935" y="1221"/>
                  <a:pt x="2932" y="1220"/>
                  <a:pt x="2930" y="1222"/>
                </a:cubicBezTo>
                <a:cubicBezTo>
                  <a:pt x="2927" y="1226"/>
                  <a:pt x="2923" y="1230"/>
                  <a:pt x="2919" y="1234"/>
                </a:cubicBezTo>
                <a:cubicBezTo>
                  <a:pt x="2918" y="1236"/>
                  <a:pt x="2917" y="1238"/>
                  <a:pt x="2916" y="1241"/>
                </a:cubicBezTo>
                <a:cubicBezTo>
                  <a:pt x="2916" y="1241"/>
                  <a:pt x="2916" y="1242"/>
                  <a:pt x="2916" y="1242"/>
                </a:cubicBezTo>
                <a:cubicBezTo>
                  <a:pt x="2917" y="1244"/>
                  <a:pt x="2918" y="1246"/>
                  <a:pt x="2920" y="1248"/>
                </a:cubicBezTo>
                <a:cubicBezTo>
                  <a:pt x="2921" y="1247"/>
                  <a:pt x="2922" y="1245"/>
                  <a:pt x="2923" y="1244"/>
                </a:cubicBezTo>
                <a:cubicBezTo>
                  <a:pt x="2923" y="1245"/>
                  <a:pt x="2923" y="1246"/>
                  <a:pt x="2922" y="1248"/>
                </a:cubicBezTo>
                <a:cubicBezTo>
                  <a:pt x="2921" y="1249"/>
                  <a:pt x="2920" y="1250"/>
                  <a:pt x="2920" y="1252"/>
                </a:cubicBezTo>
                <a:cubicBezTo>
                  <a:pt x="2919" y="1253"/>
                  <a:pt x="2920" y="1254"/>
                  <a:pt x="2920" y="1255"/>
                </a:cubicBezTo>
                <a:cubicBezTo>
                  <a:pt x="2923" y="1258"/>
                  <a:pt x="2926" y="1258"/>
                  <a:pt x="2930" y="1256"/>
                </a:cubicBezTo>
                <a:cubicBezTo>
                  <a:pt x="2932" y="1255"/>
                  <a:pt x="2935" y="1253"/>
                  <a:pt x="2938" y="1253"/>
                </a:cubicBezTo>
                <a:cubicBezTo>
                  <a:pt x="2939" y="1252"/>
                  <a:pt x="2940" y="1251"/>
                  <a:pt x="2940" y="1250"/>
                </a:cubicBezTo>
                <a:cubicBezTo>
                  <a:pt x="2940" y="1247"/>
                  <a:pt x="2940" y="1243"/>
                  <a:pt x="2940" y="1240"/>
                </a:cubicBezTo>
                <a:cubicBezTo>
                  <a:pt x="2940" y="1237"/>
                  <a:pt x="2940" y="1234"/>
                  <a:pt x="2940" y="1231"/>
                </a:cubicBezTo>
                <a:cubicBezTo>
                  <a:pt x="2941" y="1234"/>
                  <a:pt x="2941" y="1236"/>
                  <a:pt x="2942" y="1239"/>
                </a:cubicBezTo>
                <a:cubicBezTo>
                  <a:pt x="2943" y="1244"/>
                  <a:pt x="2943" y="1248"/>
                  <a:pt x="2941" y="1252"/>
                </a:cubicBezTo>
                <a:cubicBezTo>
                  <a:pt x="2941" y="1253"/>
                  <a:pt x="2940" y="1254"/>
                  <a:pt x="2940" y="1254"/>
                </a:cubicBezTo>
                <a:cubicBezTo>
                  <a:pt x="2936" y="1254"/>
                  <a:pt x="2933" y="1256"/>
                  <a:pt x="2930" y="1258"/>
                </a:cubicBezTo>
                <a:cubicBezTo>
                  <a:pt x="2925" y="1261"/>
                  <a:pt x="2921" y="1259"/>
                  <a:pt x="2918" y="1255"/>
                </a:cubicBezTo>
                <a:cubicBezTo>
                  <a:pt x="2918" y="1255"/>
                  <a:pt x="2918" y="1253"/>
                  <a:pt x="2918" y="1253"/>
                </a:cubicBezTo>
                <a:cubicBezTo>
                  <a:pt x="2919" y="1251"/>
                  <a:pt x="2918" y="1249"/>
                  <a:pt x="2916" y="1247"/>
                </a:cubicBezTo>
                <a:cubicBezTo>
                  <a:pt x="2915" y="1245"/>
                  <a:pt x="2913" y="1242"/>
                  <a:pt x="2914" y="1240"/>
                </a:cubicBezTo>
                <a:cubicBezTo>
                  <a:pt x="2915" y="1238"/>
                  <a:pt x="2916" y="1236"/>
                  <a:pt x="2917" y="1234"/>
                </a:cubicBezTo>
                <a:cubicBezTo>
                  <a:pt x="2919" y="1232"/>
                  <a:pt x="2921" y="1229"/>
                  <a:pt x="2923" y="1226"/>
                </a:cubicBezTo>
                <a:cubicBezTo>
                  <a:pt x="2923" y="1226"/>
                  <a:pt x="2922" y="1226"/>
                  <a:pt x="2922" y="1226"/>
                </a:cubicBezTo>
                <a:cubicBezTo>
                  <a:pt x="2917" y="1228"/>
                  <a:pt x="2912" y="1229"/>
                  <a:pt x="2909" y="1232"/>
                </a:cubicBezTo>
                <a:cubicBezTo>
                  <a:pt x="2904" y="1237"/>
                  <a:pt x="2901" y="1242"/>
                  <a:pt x="2901" y="1249"/>
                </a:cubicBezTo>
                <a:cubicBezTo>
                  <a:pt x="2900" y="1255"/>
                  <a:pt x="2903" y="1261"/>
                  <a:pt x="2906" y="1267"/>
                </a:cubicBezTo>
                <a:cubicBezTo>
                  <a:pt x="2907" y="1268"/>
                  <a:pt x="2907" y="1270"/>
                  <a:pt x="2907" y="1271"/>
                </a:cubicBezTo>
                <a:cubicBezTo>
                  <a:pt x="2907" y="1272"/>
                  <a:pt x="2907" y="1274"/>
                  <a:pt x="2906" y="1275"/>
                </a:cubicBezTo>
                <a:cubicBezTo>
                  <a:pt x="2905" y="1277"/>
                  <a:pt x="2906" y="1278"/>
                  <a:pt x="2907" y="1278"/>
                </a:cubicBezTo>
                <a:cubicBezTo>
                  <a:pt x="2910" y="1279"/>
                  <a:pt x="2913" y="1280"/>
                  <a:pt x="2916" y="1280"/>
                </a:cubicBezTo>
                <a:cubicBezTo>
                  <a:pt x="2916" y="1280"/>
                  <a:pt x="2917" y="1279"/>
                  <a:pt x="2917" y="1279"/>
                </a:cubicBezTo>
                <a:cubicBezTo>
                  <a:pt x="2918" y="1278"/>
                  <a:pt x="2918" y="1276"/>
                  <a:pt x="2918" y="1275"/>
                </a:cubicBezTo>
                <a:cubicBezTo>
                  <a:pt x="2920" y="1273"/>
                  <a:pt x="2920" y="1270"/>
                  <a:pt x="2920" y="1267"/>
                </a:cubicBezTo>
                <a:cubicBezTo>
                  <a:pt x="2920" y="1267"/>
                  <a:pt x="2920" y="1266"/>
                  <a:pt x="2920" y="1266"/>
                </a:cubicBezTo>
                <a:cubicBezTo>
                  <a:pt x="2920" y="1266"/>
                  <a:pt x="2920" y="1266"/>
                  <a:pt x="2920" y="1265"/>
                </a:cubicBezTo>
                <a:cubicBezTo>
                  <a:pt x="2921" y="1268"/>
                  <a:pt x="2922" y="1268"/>
                  <a:pt x="2924" y="1268"/>
                </a:cubicBezTo>
                <a:cubicBezTo>
                  <a:pt x="2925" y="1268"/>
                  <a:pt x="2926" y="1268"/>
                  <a:pt x="2927" y="1268"/>
                </a:cubicBezTo>
                <a:cubicBezTo>
                  <a:pt x="2929" y="1268"/>
                  <a:pt x="2932" y="1269"/>
                  <a:pt x="2933" y="1264"/>
                </a:cubicBezTo>
                <a:cubicBezTo>
                  <a:pt x="2933" y="1267"/>
                  <a:pt x="2933" y="1268"/>
                  <a:pt x="2933" y="1269"/>
                </a:cubicBezTo>
                <a:cubicBezTo>
                  <a:pt x="2932" y="1270"/>
                  <a:pt x="2930" y="1271"/>
                  <a:pt x="2929" y="1271"/>
                </a:cubicBezTo>
                <a:cubicBezTo>
                  <a:pt x="2928" y="1272"/>
                  <a:pt x="2927" y="1274"/>
                  <a:pt x="2928" y="1274"/>
                </a:cubicBezTo>
                <a:cubicBezTo>
                  <a:pt x="2929" y="1277"/>
                  <a:pt x="2930" y="1279"/>
                  <a:pt x="2932" y="1281"/>
                </a:cubicBezTo>
                <a:cubicBezTo>
                  <a:pt x="2934" y="1282"/>
                  <a:pt x="2936" y="1282"/>
                  <a:pt x="2937" y="1280"/>
                </a:cubicBezTo>
                <a:cubicBezTo>
                  <a:pt x="2938" y="1279"/>
                  <a:pt x="2938" y="1278"/>
                  <a:pt x="2939" y="1278"/>
                </a:cubicBezTo>
                <a:cubicBezTo>
                  <a:pt x="2941" y="1276"/>
                  <a:pt x="2942" y="1275"/>
                  <a:pt x="2944" y="1274"/>
                </a:cubicBezTo>
                <a:cubicBezTo>
                  <a:pt x="2948" y="1270"/>
                  <a:pt x="2950" y="1264"/>
                  <a:pt x="2952" y="1258"/>
                </a:cubicBezTo>
                <a:cubicBezTo>
                  <a:pt x="2952" y="1257"/>
                  <a:pt x="2951" y="1257"/>
                  <a:pt x="2950" y="1256"/>
                </a:cubicBezTo>
                <a:cubicBezTo>
                  <a:pt x="2950" y="1255"/>
                  <a:pt x="2949" y="1254"/>
                  <a:pt x="2947" y="1253"/>
                </a:cubicBezTo>
                <a:close/>
                <a:moveTo>
                  <a:pt x="2900" y="1260"/>
                </a:moveTo>
                <a:cubicBezTo>
                  <a:pt x="2899" y="1261"/>
                  <a:pt x="2898" y="1261"/>
                  <a:pt x="2897" y="1263"/>
                </a:cubicBezTo>
                <a:cubicBezTo>
                  <a:pt x="2896" y="1263"/>
                  <a:pt x="2896" y="1264"/>
                  <a:pt x="2896" y="1264"/>
                </a:cubicBezTo>
                <a:cubicBezTo>
                  <a:pt x="2896" y="1267"/>
                  <a:pt x="2900" y="1272"/>
                  <a:pt x="2903" y="1271"/>
                </a:cubicBezTo>
                <a:cubicBezTo>
                  <a:pt x="2905" y="1271"/>
                  <a:pt x="2906" y="1270"/>
                  <a:pt x="2905" y="1268"/>
                </a:cubicBezTo>
                <a:cubicBezTo>
                  <a:pt x="2903" y="1265"/>
                  <a:pt x="2902" y="1263"/>
                  <a:pt x="2900" y="1260"/>
                </a:cubicBezTo>
                <a:close/>
                <a:moveTo>
                  <a:pt x="2953" y="1262"/>
                </a:moveTo>
                <a:cubicBezTo>
                  <a:pt x="2950" y="1266"/>
                  <a:pt x="2948" y="1271"/>
                  <a:pt x="2946" y="1275"/>
                </a:cubicBezTo>
                <a:cubicBezTo>
                  <a:pt x="2949" y="1275"/>
                  <a:pt x="2951" y="1276"/>
                  <a:pt x="2954" y="1275"/>
                </a:cubicBezTo>
                <a:cubicBezTo>
                  <a:pt x="2954" y="1275"/>
                  <a:pt x="2954" y="1274"/>
                  <a:pt x="2954" y="1274"/>
                </a:cubicBezTo>
                <a:cubicBezTo>
                  <a:pt x="2954" y="1271"/>
                  <a:pt x="2954" y="1268"/>
                  <a:pt x="2954" y="1266"/>
                </a:cubicBezTo>
                <a:cubicBezTo>
                  <a:pt x="2954" y="1264"/>
                  <a:pt x="2953" y="1263"/>
                  <a:pt x="2953" y="1262"/>
                </a:cubicBezTo>
                <a:close/>
                <a:moveTo>
                  <a:pt x="2900" y="1242"/>
                </a:moveTo>
                <a:cubicBezTo>
                  <a:pt x="2899" y="1242"/>
                  <a:pt x="2899" y="1242"/>
                  <a:pt x="2898" y="1242"/>
                </a:cubicBezTo>
                <a:cubicBezTo>
                  <a:pt x="2898" y="1242"/>
                  <a:pt x="2897" y="1242"/>
                  <a:pt x="2897" y="1242"/>
                </a:cubicBezTo>
                <a:cubicBezTo>
                  <a:pt x="2896" y="1242"/>
                  <a:pt x="2896" y="1241"/>
                  <a:pt x="2896" y="1240"/>
                </a:cubicBezTo>
                <a:cubicBezTo>
                  <a:pt x="2897" y="1238"/>
                  <a:pt x="2897" y="1236"/>
                  <a:pt x="2898" y="1234"/>
                </a:cubicBezTo>
                <a:cubicBezTo>
                  <a:pt x="2898" y="1234"/>
                  <a:pt x="2898" y="1234"/>
                  <a:pt x="2897" y="1234"/>
                </a:cubicBezTo>
                <a:cubicBezTo>
                  <a:pt x="2896" y="1235"/>
                  <a:pt x="2895" y="1236"/>
                  <a:pt x="2894" y="1237"/>
                </a:cubicBezTo>
                <a:cubicBezTo>
                  <a:pt x="2894" y="1238"/>
                  <a:pt x="2895" y="1243"/>
                  <a:pt x="2897" y="1244"/>
                </a:cubicBezTo>
                <a:cubicBezTo>
                  <a:pt x="2898" y="1245"/>
                  <a:pt x="2900" y="1244"/>
                  <a:pt x="2900" y="1242"/>
                </a:cubicBezTo>
                <a:close/>
                <a:moveTo>
                  <a:pt x="2900" y="1259"/>
                </a:moveTo>
                <a:cubicBezTo>
                  <a:pt x="2900" y="1260"/>
                  <a:pt x="2898" y="1261"/>
                  <a:pt x="2897" y="1262"/>
                </a:cubicBezTo>
                <a:cubicBezTo>
                  <a:pt x="2897" y="1263"/>
                  <a:pt x="2896" y="1263"/>
                  <a:pt x="2896" y="1264"/>
                </a:cubicBezTo>
                <a:cubicBezTo>
                  <a:pt x="2896" y="1267"/>
                  <a:pt x="2900" y="1271"/>
                  <a:pt x="2903" y="1271"/>
                </a:cubicBezTo>
                <a:cubicBezTo>
                  <a:pt x="2905" y="1271"/>
                  <a:pt x="2906" y="1270"/>
                  <a:pt x="2905" y="1268"/>
                </a:cubicBezTo>
                <a:cubicBezTo>
                  <a:pt x="2903" y="1265"/>
                  <a:pt x="2902" y="1262"/>
                  <a:pt x="2900" y="1259"/>
                </a:cubicBezTo>
                <a:close/>
                <a:moveTo>
                  <a:pt x="2953" y="1261"/>
                </a:moveTo>
                <a:cubicBezTo>
                  <a:pt x="2951" y="1266"/>
                  <a:pt x="2948" y="1270"/>
                  <a:pt x="2946" y="1275"/>
                </a:cubicBezTo>
                <a:cubicBezTo>
                  <a:pt x="2949" y="1275"/>
                  <a:pt x="2951" y="1275"/>
                  <a:pt x="2954" y="1275"/>
                </a:cubicBezTo>
                <a:cubicBezTo>
                  <a:pt x="2954" y="1275"/>
                  <a:pt x="2955" y="1274"/>
                  <a:pt x="2955" y="1273"/>
                </a:cubicBezTo>
                <a:cubicBezTo>
                  <a:pt x="2955" y="1270"/>
                  <a:pt x="2955" y="1268"/>
                  <a:pt x="2954" y="1266"/>
                </a:cubicBezTo>
                <a:cubicBezTo>
                  <a:pt x="2954" y="1264"/>
                  <a:pt x="2954" y="1263"/>
                  <a:pt x="2953" y="1261"/>
                </a:cubicBezTo>
                <a:close/>
                <a:moveTo>
                  <a:pt x="2900" y="1241"/>
                </a:moveTo>
                <a:cubicBezTo>
                  <a:pt x="2900" y="1242"/>
                  <a:pt x="2899" y="1242"/>
                  <a:pt x="2899" y="1242"/>
                </a:cubicBezTo>
                <a:cubicBezTo>
                  <a:pt x="2898" y="1242"/>
                  <a:pt x="2897" y="1242"/>
                  <a:pt x="2897" y="1242"/>
                </a:cubicBezTo>
                <a:cubicBezTo>
                  <a:pt x="2897" y="1241"/>
                  <a:pt x="2896" y="1241"/>
                  <a:pt x="2896" y="1240"/>
                </a:cubicBezTo>
                <a:cubicBezTo>
                  <a:pt x="2897" y="1238"/>
                  <a:pt x="2897" y="1236"/>
                  <a:pt x="2898" y="1234"/>
                </a:cubicBezTo>
                <a:cubicBezTo>
                  <a:pt x="2898" y="1234"/>
                  <a:pt x="2898" y="1234"/>
                  <a:pt x="2897" y="1234"/>
                </a:cubicBezTo>
                <a:cubicBezTo>
                  <a:pt x="2897" y="1235"/>
                  <a:pt x="2895" y="1236"/>
                  <a:pt x="2895" y="1237"/>
                </a:cubicBezTo>
                <a:cubicBezTo>
                  <a:pt x="2894" y="1238"/>
                  <a:pt x="2895" y="1243"/>
                  <a:pt x="2897" y="1244"/>
                </a:cubicBezTo>
                <a:cubicBezTo>
                  <a:pt x="2899" y="1245"/>
                  <a:pt x="2900" y="1243"/>
                  <a:pt x="2900" y="1241"/>
                </a:cubicBezTo>
                <a:close/>
                <a:moveTo>
                  <a:pt x="2952" y="1233"/>
                </a:moveTo>
                <a:cubicBezTo>
                  <a:pt x="2956" y="1229"/>
                  <a:pt x="2956" y="1229"/>
                  <a:pt x="2960" y="1228"/>
                </a:cubicBezTo>
                <a:cubicBezTo>
                  <a:pt x="2960" y="1230"/>
                  <a:pt x="2961" y="1231"/>
                  <a:pt x="2962" y="1231"/>
                </a:cubicBezTo>
                <a:cubicBezTo>
                  <a:pt x="2960" y="1233"/>
                  <a:pt x="2958" y="1234"/>
                  <a:pt x="2956" y="1235"/>
                </a:cubicBezTo>
                <a:cubicBezTo>
                  <a:pt x="2955" y="1235"/>
                  <a:pt x="2955" y="1234"/>
                  <a:pt x="2954" y="1233"/>
                </a:cubicBezTo>
                <a:cubicBezTo>
                  <a:pt x="2954" y="1233"/>
                  <a:pt x="2953" y="1233"/>
                  <a:pt x="2952" y="1233"/>
                </a:cubicBezTo>
                <a:close/>
                <a:moveTo>
                  <a:pt x="2958" y="1233"/>
                </a:moveTo>
                <a:cubicBezTo>
                  <a:pt x="2958" y="1232"/>
                  <a:pt x="2957" y="1232"/>
                  <a:pt x="2956" y="1232"/>
                </a:cubicBezTo>
                <a:cubicBezTo>
                  <a:pt x="2956" y="1232"/>
                  <a:pt x="2955" y="1233"/>
                  <a:pt x="2955" y="1233"/>
                </a:cubicBezTo>
                <a:cubicBezTo>
                  <a:pt x="2955" y="1233"/>
                  <a:pt x="2956" y="1234"/>
                  <a:pt x="2956" y="1234"/>
                </a:cubicBezTo>
                <a:cubicBezTo>
                  <a:pt x="2957" y="1234"/>
                  <a:pt x="2957" y="1233"/>
                  <a:pt x="2958" y="1233"/>
                </a:cubicBezTo>
                <a:close/>
                <a:moveTo>
                  <a:pt x="2939" y="1223"/>
                </a:moveTo>
                <a:cubicBezTo>
                  <a:pt x="2933" y="1222"/>
                  <a:pt x="2930" y="1225"/>
                  <a:pt x="2929" y="1233"/>
                </a:cubicBezTo>
                <a:cubicBezTo>
                  <a:pt x="2930" y="1231"/>
                  <a:pt x="2931" y="1228"/>
                  <a:pt x="2932" y="1226"/>
                </a:cubicBezTo>
                <a:cubicBezTo>
                  <a:pt x="2933" y="1226"/>
                  <a:pt x="2933" y="1226"/>
                  <a:pt x="2933" y="1226"/>
                </a:cubicBezTo>
                <a:cubicBezTo>
                  <a:pt x="2933" y="1227"/>
                  <a:pt x="2933" y="1228"/>
                  <a:pt x="2933" y="1229"/>
                </a:cubicBezTo>
                <a:cubicBezTo>
                  <a:pt x="2934" y="1226"/>
                  <a:pt x="2936" y="1224"/>
                  <a:pt x="2939" y="1223"/>
                </a:cubicBezTo>
                <a:close/>
                <a:moveTo>
                  <a:pt x="2983" y="1225"/>
                </a:moveTo>
                <a:cubicBezTo>
                  <a:pt x="2981" y="1226"/>
                  <a:pt x="2979" y="1228"/>
                  <a:pt x="2978" y="1229"/>
                </a:cubicBezTo>
                <a:cubicBezTo>
                  <a:pt x="2980" y="1229"/>
                  <a:pt x="2982" y="1228"/>
                  <a:pt x="2983" y="1225"/>
                </a:cubicBezTo>
                <a:close/>
                <a:moveTo>
                  <a:pt x="2950" y="1227"/>
                </a:moveTo>
                <a:cubicBezTo>
                  <a:pt x="2951" y="1226"/>
                  <a:pt x="2952" y="1224"/>
                  <a:pt x="2953" y="1223"/>
                </a:cubicBezTo>
                <a:cubicBezTo>
                  <a:pt x="2950" y="1224"/>
                  <a:pt x="2949" y="1225"/>
                  <a:pt x="2950" y="1227"/>
                </a:cubicBezTo>
                <a:close/>
                <a:moveTo>
                  <a:pt x="2960" y="1248"/>
                </a:moveTo>
                <a:cubicBezTo>
                  <a:pt x="2958" y="1248"/>
                  <a:pt x="2957" y="1249"/>
                  <a:pt x="2957" y="1250"/>
                </a:cubicBezTo>
                <a:cubicBezTo>
                  <a:pt x="2958" y="1249"/>
                  <a:pt x="2959" y="1249"/>
                  <a:pt x="2960" y="1248"/>
                </a:cubicBezTo>
                <a:close/>
                <a:moveTo>
                  <a:pt x="2959" y="1233"/>
                </a:moveTo>
                <a:cubicBezTo>
                  <a:pt x="2958" y="1232"/>
                  <a:pt x="2957" y="1232"/>
                  <a:pt x="2956" y="1232"/>
                </a:cubicBezTo>
                <a:cubicBezTo>
                  <a:pt x="2956" y="1232"/>
                  <a:pt x="2955" y="1233"/>
                  <a:pt x="2955" y="1233"/>
                </a:cubicBezTo>
                <a:cubicBezTo>
                  <a:pt x="2955" y="1234"/>
                  <a:pt x="2956" y="1234"/>
                  <a:pt x="2956" y="1234"/>
                </a:cubicBezTo>
                <a:cubicBezTo>
                  <a:pt x="2957" y="1234"/>
                  <a:pt x="2957" y="1234"/>
                  <a:pt x="2959" y="1233"/>
                </a:cubicBezTo>
                <a:close/>
                <a:moveTo>
                  <a:pt x="3483" y="1354"/>
                </a:moveTo>
                <a:cubicBezTo>
                  <a:pt x="3483" y="1355"/>
                  <a:pt x="3484" y="1357"/>
                  <a:pt x="3484" y="1358"/>
                </a:cubicBezTo>
                <a:cubicBezTo>
                  <a:pt x="3485" y="1360"/>
                  <a:pt x="3485" y="1362"/>
                  <a:pt x="3485" y="1363"/>
                </a:cubicBezTo>
                <a:cubicBezTo>
                  <a:pt x="3485" y="1365"/>
                  <a:pt x="3486" y="1366"/>
                  <a:pt x="3486" y="1368"/>
                </a:cubicBezTo>
                <a:cubicBezTo>
                  <a:pt x="3487" y="1371"/>
                  <a:pt x="3485" y="1373"/>
                  <a:pt x="3482" y="1373"/>
                </a:cubicBezTo>
                <a:cubicBezTo>
                  <a:pt x="3480" y="1373"/>
                  <a:pt x="3477" y="1372"/>
                  <a:pt x="3474" y="1372"/>
                </a:cubicBezTo>
                <a:cubicBezTo>
                  <a:pt x="3474" y="1372"/>
                  <a:pt x="3473" y="1372"/>
                  <a:pt x="3473" y="1373"/>
                </a:cubicBezTo>
                <a:cubicBezTo>
                  <a:pt x="3471" y="1374"/>
                  <a:pt x="3469" y="1376"/>
                  <a:pt x="3468" y="1377"/>
                </a:cubicBezTo>
                <a:cubicBezTo>
                  <a:pt x="3466" y="1379"/>
                  <a:pt x="3463" y="1380"/>
                  <a:pt x="3461" y="1378"/>
                </a:cubicBezTo>
                <a:cubicBezTo>
                  <a:pt x="3459" y="1376"/>
                  <a:pt x="3458" y="1373"/>
                  <a:pt x="3456" y="1370"/>
                </a:cubicBezTo>
                <a:cubicBezTo>
                  <a:pt x="3455" y="1369"/>
                  <a:pt x="3456" y="1367"/>
                  <a:pt x="3458" y="1366"/>
                </a:cubicBezTo>
                <a:cubicBezTo>
                  <a:pt x="3455" y="1366"/>
                  <a:pt x="3454" y="1366"/>
                  <a:pt x="3452" y="1366"/>
                </a:cubicBezTo>
                <a:cubicBezTo>
                  <a:pt x="3451" y="1368"/>
                  <a:pt x="3450" y="1370"/>
                  <a:pt x="3449" y="1372"/>
                </a:cubicBezTo>
                <a:cubicBezTo>
                  <a:pt x="3449" y="1372"/>
                  <a:pt x="3449" y="1373"/>
                  <a:pt x="3449" y="1374"/>
                </a:cubicBezTo>
                <a:cubicBezTo>
                  <a:pt x="3449" y="1377"/>
                  <a:pt x="3448" y="1378"/>
                  <a:pt x="3445" y="1378"/>
                </a:cubicBezTo>
                <a:cubicBezTo>
                  <a:pt x="3442" y="1378"/>
                  <a:pt x="3439" y="1377"/>
                  <a:pt x="3436" y="1376"/>
                </a:cubicBezTo>
                <a:cubicBezTo>
                  <a:pt x="3434" y="1375"/>
                  <a:pt x="3433" y="1374"/>
                  <a:pt x="3434" y="1372"/>
                </a:cubicBezTo>
                <a:cubicBezTo>
                  <a:pt x="3434" y="1371"/>
                  <a:pt x="3434" y="1370"/>
                  <a:pt x="3434" y="1370"/>
                </a:cubicBezTo>
                <a:cubicBezTo>
                  <a:pt x="3432" y="1369"/>
                  <a:pt x="3430" y="1368"/>
                  <a:pt x="3428" y="1366"/>
                </a:cubicBezTo>
                <a:cubicBezTo>
                  <a:pt x="3427" y="1366"/>
                  <a:pt x="3425" y="1364"/>
                  <a:pt x="3425" y="1362"/>
                </a:cubicBezTo>
                <a:cubicBezTo>
                  <a:pt x="3424" y="1360"/>
                  <a:pt x="3424" y="1359"/>
                  <a:pt x="3426" y="1357"/>
                </a:cubicBezTo>
                <a:cubicBezTo>
                  <a:pt x="3429" y="1355"/>
                  <a:pt x="3430" y="1352"/>
                  <a:pt x="3429" y="1348"/>
                </a:cubicBezTo>
                <a:cubicBezTo>
                  <a:pt x="3429" y="1346"/>
                  <a:pt x="3429" y="1343"/>
                  <a:pt x="3429" y="1342"/>
                </a:cubicBezTo>
                <a:cubicBezTo>
                  <a:pt x="3428" y="1341"/>
                  <a:pt x="3426" y="1341"/>
                  <a:pt x="3425" y="1340"/>
                </a:cubicBezTo>
                <a:cubicBezTo>
                  <a:pt x="3424" y="1338"/>
                  <a:pt x="3423" y="1336"/>
                  <a:pt x="3423" y="1334"/>
                </a:cubicBezTo>
                <a:cubicBezTo>
                  <a:pt x="3423" y="1331"/>
                  <a:pt x="3426" y="1328"/>
                  <a:pt x="3429" y="1328"/>
                </a:cubicBezTo>
                <a:cubicBezTo>
                  <a:pt x="3429" y="1328"/>
                  <a:pt x="3429" y="1329"/>
                  <a:pt x="3430" y="1330"/>
                </a:cubicBezTo>
                <a:cubicBezTo>
                  <a:pt x="3430" y="1331"/>
                  <a:pt x="3430" y="1332"/>
                  <a:pt x="3430" y="1333"/>
                </a:cubicBezTo>
                <a:cubicBezTo>
                  <a:pt x="3429" y="1333"/>
                  <a:pt x="3429" y="1333"/>
                  <a:pt x="3429" y="1333"/>
                </a:cubicBezTo>
                <a:cubicBezTo>
                  <a:pt x="3428" y="1334"/>
                  <a:pt x="3428" y="1335"/>
                  <a:pt x="3427" y="1337"/>
                </a:cubicBezTo>
                <a:cubicBezTo>
                  <a:pt x="3428" y="1337"/>
                  <a:pt x="3429" y="1337"/>
                  <a:pt x="3429" y="1336"/>
                </a:cubicBezTo>
                <a:cubicBezTo>
                  <a:pt x="3431" y="1335"/>
                  <a:pt x="3431" y="1334"/>
                  <a:pt x="3432" y="1333"/>
                </a:cubicBezTo>
                <a:cubicBezTo>
                  <a:pt x="3436" y="1326"/>
                  <a:pt x="3442" y="1322"/>
                  <a:pt x="3450" y="1321"/>
                </a:cubicBezTo>
                <a:cubicBezTo>
                  <a:pt x="3453" y="1320"/>
                  <a:pt x="3456" y="1319"/>
                  <a:pt x="3459" y="1317"/>
                </a:cubicBezTo>
                <a:cubicBezTo>
                  <a:pt x="3459" y="1316"/>
                  <a:pt x="3460" y="1316"/>
                  <a:pt x="3460" y="1316"/>
                </a:cubicBezTo>
                <a:cubicBezTo>
                  <a:pt x="3463" y="1315"/>
                  <a:pt x="3464" y="1313"/>
                  <a:pt x="3466" y="1311"/>
                </a:cubicBezTo>
                <a:cubicBezTo>
                  <a:pt x="3474" y="1303"/>
                  <a:pt x="3485" y="1303"/>
                  <a:pt x="3493" y="1310"/>
                </a:cubicBezTo>
                <a:cubicBezTo>
                  <a:pt x="3496" y="1312"/>
                  <a:pt x="3498" y="1314"/>
                  <a:pt x="3501" y="1316"/>
                </a:cubicBezTo>
                <a:cubicBezTo>
                  <a:pt x="3502" y="1317"/>
                  <a:pt x="3504" y="1319"/>
                  <a:pt x="3505" y="1320"/>
                </a:cubicBezTo>
                <a:cubicBezTo>
                  <a:pt x="3505" y="1322"/>
                  <a:pt x="3506" y="1322"/>
                  <a:pt x="3507" y="1321"/>
                </a:cubicBezTo>
                <a:cubicBezTo>
                  <a:pt x="3508" y="1320"/>
                  <a:pt x="3509" y="1320"/>
                  <a:pt x="3510" y="1319"/>
                </a:cubicBezTo>
                <a:cubicBezTo>
                  <a:pt x="3512" y="1316"/>
                  <a:pt x="3515" y="1316"/>
                  <a:pt x="3516" y="1319"/>
                </a:cubicBezTo>
                <a:cubicBezTo>
                  <a:pt x="3517" y="1322"/>
                  <a:pt x="3518" y="1325"/>
                  <a:pt x="3518" y="1328"/>
                </a:cubicBezTo>
                <a:cubicBezTo>
                  <a:pt x="3519" y="1333"/>
                  <a:pt x="3519" y="1337"/>
                  <a:pt x="3517" y="1341"/>
                </a:cubicBezTo>
                <a:cubicBezTo>
                  <a:pt x="3515" y="1348"/>
                  <a:pt x="3510" y="1351"/>
                  <a:pt x="3504" y="1351"/>
                </a:cubicBezTo>
                <a:cubicBezTo>
                  <a:pt x="3503" y="1351"/>
                  <a:pt x="3502" y="1351"/>
                  <a:pt x="3502" y="1351"/>
                </a:cubicBezTo>
                <a:cubicBezTo>
                  <a:pt x="3499" y="1351"/>
                  <a:pt x="3498" y="1351"/>
                  <a:pt x="3497" y="1354"/>
                </a:cubicBezTo>
                <a:cubicBezTo>
                  <a:pt x="3496" y="1358"/>
                  <a:pt x="3490" y="1360"/>
                  <a:pt x="3487" y="1357"/>
                </a:cubicBezTo>
                <a:cubicBezTo>
                  <a:pt x="3485" y="1355"/>
                  <a:pt x="3485" y="1355"/>
                  <a:pt x="3484" y="1353"/>
                </a:cubicBezTo>
                <a:cubicBezTo>
                  <a:pt x="3483" y="1354"/>
                  <a:pt x="3483" y="1354"/>
                  <a:pt x="3483" y="1354"/>
                </a:cubicBezTo>
                <a:close/>
                <a:moveTo>
                  <a:pt x="3477" y="1349"/>
                </a:moveTo>
                <a:cubicBezTo>
                  <a:pt x="3481" y="1351"/>
                  <a:pt x="3484" y="1352"/>
                  <a:pt x="3487" y="1355"/>
                </a:cubicBezTo>
                <a:cubicBezTo>
                  <a:pt x="3489" y="1357"/>
                  <a:pt x="3491" y="1357"/>
                  <a:pt x="3493" y="1357"/>
                </a:cubicBezTo>
                <a:cubicBezTo>
                  <a:pt x="3495" y="1356"/>
                  <a:pt x="3497" y="1354"/>
                  <a:pt x="3497" y="1351"/>
                </a:cubicBezTo>
                <a:cubicBezTo>
                  <a:pt x="3496" y="1351"/>
                  <a:pt x="3496" y="1351"/>
                  <a:pt x="3496" y="1351"/>
                </a:cubicBezTo>
                <a:cubicBezTo>
                  <a:pt x="3495" y="1353"/>
                  <a:pt x="3494" y="1354"/>
                  <a:pt x="3493" y="1355"/>
                </a:cubicBezTo>
                <a:cubicBezTo>
                  <a:pt x="3492" y="1356"/>
                  <a:pt x="3491" y="1356"/>
                  <a:pt x="3490" y="1355"/>
                </a:cubicBezTo>
                <a:cubicBezTo>
                  <a:pt x="3489" y="1355"/>
                  <a:pt x="3489" y="1354"/>
                  <a:pt x="3489" y="1353"/>
                </a:cubicBezTo>
                <a:cubicBezTo>
                  <a:pt x="3489" y="1351"/>
                  <a:pt x="3489" y="1349"/>
                  <a:pt x="3490" y="1347"/>
                </a:cubicBezTo>
                <a:cubicBezTo>
                  <a:pt x="3493" y="1348"/>
                  <a:pt x="3496" y="1349"/>
                  <a:pt x="3500" y="1349"/>
                </a:cubicBezTo>
                <a:cubicBezTo>
                  <a:pt x="3507" y="1351"/>
                  <a:pt x="3513" y="1349"/>
                  <a:pt x="3516" y="1340"/>
                </a:cubicBezTo>
                <a:cubicBezTo>
                  <a:pt x="3518" y="1336"/>
                  <a:pt x="3517" y="1331"/>
                  <a:pt x="3516" y="1326"/>
                </a:cubicBezTo>
                <a:cubicBezTo>
                  <a:pt x="3516" y="1324"/>
                  <a:pt x="3515" y="1322"/>
                  <a:pt x="3515" y="1320"/>
                </a:cubicBezTo>
                <a:cubicBezTo>
                  <a:pt x="3514" y="1319"/>
                  <a:pt x="3513" y="1318"/>
                  <a:pt x="3511" y="1320"/>
                </a:cubicBezTo>
                <a:cubicBezTo>
                  <a:pt x="3510" y="1321"/>
                  <a:pt x="3508" y="1323"/>
                  <a:pt x="3506" y="1324"/>
                </a:cubicBezTo>
                <a:cubicBezTo>
                  <a:pt x="3505" y="1324"/>
                  <a:pt x="3505" y="1325"/>
                  <a:pt x="3505" y="1326"/>
                </a:cubicBezTo>
                <a:cubicBezTo>
                  <a:pt x="3506" y="1329"/>
                  <a:pt x="3505" y="1332"/>
                  <a:pt x="3504" y="1336"/>
                </a:cubicBezTo>
                <a:cubicBezTo>
                  <a:pt x="3504" y="1334"/>
                  <a:pt x="3504" y="1332"/>
                  <a:pt x="3504" y="1330"/>
                </a:cubicBezTo>
                <a:cubicBezTo>
                  <a:pt x="3504" y="1329"/>
                  <a:pt x="3504" y="1329"/>
                  <a:pt x="3504" y="1328"/>
                </a:cubicBezTo>
                <a:cubicBezTo>
                  <a:pt x="3503" y="1329"/>
                  <a:pt x="3502" y="1329"/>
                  <a:pt x="3502" y="1329"/>
                </a:cubicBezTo>
                <a:cubicBezTo>
                  <a:pt x="3502" y="1330"/>
                  <a:pt x="3501" y="1332"/>
                  <a:pt x="3500" y="1333"/>
                </a:cubicBezTo>
                <a:cubicBezTo>
                  <a:pt x="3500" y="1333"/>
                  <a:pt x="3500" y="1333"/>
                  <a:pt x="3500" y="1333"/>
                </a:cubicBezTo>
                <a:cubicBezTo>
                  <a:pt x="3500" y="1332"/>
                  <a:pt x="3500" y="1330"/>
                  <a:pt x="3501" y="1328"/>
                </a:cubicBezTo>
                <a:cubicBezTo>
                  <a:pt x="3500" y="1328"/>
                  <a:pt x="3499" y="1329"/>
                  <a:pt x="3498" y="1330"/>
                </a:cubicBezTo>
                <a:cubicBezTo>
                  <a:pt x="3498" y="1330"/>
                  <a:pt x="3498" y="1331"/>
                  <a:pt x="3497" y="1332"/>
                </a:cubicBezTo>
                <a:cubicBezTo>
                  <a:pt x="3498" y="1328"/>
                  <a:pt x="3498" y="1328"/>
                  <a:pt x="3504" y="1327"/>
                </a:cubicBezTo>
                <a:cubicBezTo>
                  <a:pt x="3504" y="1326"/>
                  <a:pt x="3503" y="1326"/>
                  <a:pt x="3503" y="1326"/>
                </a:cubicBezTo>
                <a:cubicBezTo>
                  <a:pt x="3500" y="1326"/>
                  <a:pt x="3499" y="1325"/>
                  <a:pt x="3499" y="1322"/>
                </a:cubicBezTo>
                <a:cubicBezTo>
                  <a:pt x="3500" y="1322"/>
                  <a:pt x="3502" y="1322"/>
                  <a:pt x="3504" y="1321"/>
                </a:cubicBezTo>
                <a:cubicBezTo>
                  <a:pt x="3502" y="1319"/>
                  <a:pt x="3500" y="1316"/>
                  <a:pt x="3497" y="1316"/>
                </a:cubicBezTo>
                <a:cubicBezTo>
                  <a:pt x="3497" y="1316"/>
                  <a:pt x="3496" y="1315"/>
                  <a:pt x="3496" y="1315"/>
                </a:cubicBezTo>
                <a:cubicBezTo>
                  <a:pt x="3494" y="1313"/>
                  <a:pt x="3492" y="1311"/>
                  <a:pt x="3489" y="1309"/>
                </a:cubicBezTo>
                <a:cubicBezTo>
                  <a:pt x="3487" y="1307"/>
                  <a:pt x="3484" y="1307"/>
                  <a:pt x="3482" y="1307"/>
                </a:cubicBezTo>
                <a:cubicBezTo>
                  <a:pt x="3478" y="1307"/>
                  <a:pt x="3475" y="1308"/>
                  <a:pt x="3472" y="1309"/>
                </a:cubicBezTo>
                <a:cubicBezTo>
                  <a:pt x="3469" y="1310"/>
                  <a:pt x="3467" y="1312"/>
                  <a:pt x="3465" y="1315"/>
                </a:cubicBezTo>
                <a:cubicBezTo>
                  <a:pt x="3467" y="1315"/>
                  <a:pt x="3468" y="1315"/>
                  <a:pt x="3469" y="1315"/>
                </a:cubicBezTo>
                <a:cubicBezTo>
                  <a:pt x="3469" y="1315"/>
                  <a:pt x="3468" y="1316"/>
                  <a:pt x="3467" y="1316"/>
                </a:cubicBezTo>
                <a:cubicBezTo>
                  <a:pt x="3465" y="1317"/>
                  <a:pt x="3462" y="1316"/>
                  <a:pt x="3460" y="1318"/>
                </a:cubicBezTo>
                <a:cubicBezTo>
                  <a:pt x="3456" y="1322"/>
                  <a:pt x="3453" y="1326"/>
                  <a:pt x="3449" y="1330"/>
                </a:cubicBezTo>
                <a:cubicBezTo>
                  <a:pt x="3447" y="1332"/>
                  <a:pt x="3447" y="1334"/>
                  <a:pt x="3445" y="1337"/>
                </a:cubicBezTo>
                <a:cubicBezTo>
                  <a:pt x="3445" y="1337"/>
                  <a:pt x="3445" y="1338"/>
                  <a:pt x="3446" y="1338"/>
                </a:cubicBezTo>
                <a:cubicBezTo>
                  <a:pt x="3447" y="1340"/>
                  <a:pt x="3448" y="1342"/>
                  <a:pt x="3450" y="1344"/>
                </a:cubicBezTo>
                <a:cubicBezTo>
                  <a:pt x="3451" y="1343"/>
                  <a:pt x="3452" y="1341"/>
                  <a:pt x="3453" y="1340"/>
                </a:cubicBezTo>
                <a:cubicBezTo>
                  <a:pt x="3453" y="1341"/>
                  <a:pt x="3453" y="1342"/>
                  <a:pt x="3452" y="1344"/>
                </a:cubicBezTo>
                <a:cubicBezTo>
                  <a:pt x="3451" y="1345"/>
                  <a:pt x="3450" y="1346"/>
                  <a:pt x="3450" y="1348"/>
                </a:cubicBezTo>
                <a:cubicBezTo>
                  <a:pt x="3449" y="1349"/>
                  <a:pt x="3450" y="1350"/>
                  <a:pt x="3450" y="1351"/>
                </a:cubicBezTo>
                <a:cubicBezTo>
                  <a:pt x="3453" y="1354"/>
                  <a:pt x="3456" y="1354"/>
                  <a:pt x="3460" y="1352"/>
                </a:cubicBezTo>
                <a:cubicBezTo>
                  <a:pt x="3462" y="1351"/>
                  <a:pt x="3465" y="1349"/>
                  <a:pt x="3467" y="1349"/>
                </a:cubicBezTo>
                <a:cubicBezTo>
                  <a:pt x="3469" y="1348"/>
                  <a:pt x="3470" y="1347"/>
                  <a:pt x="3470" y="1346"/>
                </a:cubicBezTo>
                <a:cubicBezTo>
                  <a:pt x="3470" y="1343"/>
                  <a:pt x="3470" y="1339"/>
                  <a:pt x="3470" y="1336"/>
                </a:cubicBezTo>
                <a:cubicBezTo>
                  <a:pt x="3470" y="1333"/>
                  <a:pt x="3470" y="1330"/>
                  <a:pt x="3470" y="1327"/>
                </a:cubicBezTo>
                <a:cubicBezTo>
                  <a:pt x="3471" y="1330"/>
                  <a:pt x="3471" y="1332"/>
                  <a:pt x="3472" y="1335"/>
                </a:cubicBezTo>
                <a:cubicBezTo>
                  <a:pt x="3473" y="1340"/>
                  <a:pt x="3473" y="1344"/>
                  <a:pt x="3471" y="1348"/>
                </a:cubicBezTo>
                <a:cubicBezTo>
                  <a:pt x="3471" y="1349"/>
                  <a:pt x="3470" y="1350"/>
                  <a:pt x="3470" y="1350"/>
                </a:cubicBezTo>
                <a:cubicBezTo>
                  <a:pt x="3466" y="1350"/>
                  <a:pt x="3463" y="1352"/>
                  <a:pt x="3460" y="1354"/>
                </a:cubicBezTo>
                <a:cubicBezTo>
                  <a:pt x="3455" y="1357"/>
                  <a:pt x="3451" y="1355"/>
                  <a:pt x="3448" y="1351"/>
                </a:cubicBezTo>
                <a:cubicBezTo>
                  <a:pt x="3447" y="1351"/>
                  <a:pt x="3447" y="1349"/>
                  <a:pt x="3448" y="1349"/>
                </a:cubicBezTo>
                <a:cubicBezTo>
                  <a:pt x="3449" y="1347"/>
                  <a:pt x="3448" y="1345"/>
                  <a:pt x="3446" y="1343"/>
                </a:cubicBezTo>
                <a:cubicBezTo>
                  <a:pt x="3445" y="1341"/>
                  <a:pt x="3443" y="1338"/>
                  <a:pt x="3444" y="1336"/>
                </a:cubicBezTo>
                <a:cubicBezTo>
                  <a:pt x="3445" y="1334"/>
                  <a:pt x="3446" y="1332"/>
                  <a:pt x="3447" y="1330"/>
                </a:cubicBezTo>
                <a:cubicBezTo>
                  <a:pt x="3449" y="1328"/>
                  <a:pt x="3451" y="1325"/>
                  <a:pt x="3453" y="1322"/>
                </a:cubicBezTo>
                <a:cubicBezTo>
                  <a:pt x="3453" y="1322"/>
                  <a:pt x="3452" y="1322"/>
                  <a:pt x="3452" y="1322"/>
                </a:cubicBezTo>
                <a:cubicBezTo>
                  <a:pt x="3447" y="1324"/>
                  <a:pt x="3442" y="1325"/>
                  <a:pt x="3438" y="1328"/>
                </a:cubicBezTo>
                <a:cubicBezTo>
                  <a:pt x="3434" y="1333"/>
                  <a:pt x="3431" y="1338"/>
                  <a:pt x="3431" y="1345"/>
                </a:cubicBezTo>
                <a:cubicBezTo>
                  <a:pt x="3430" y="1351"/>
                  <a:pt x="3433" y="1357"/>
                  <a:pt x="3436" y="1363"/>
                </a:cubicBezTo>
                <a:cubicBezTo>
                  <a:pt x="3436" y="1364"/>
                  <a:pt x="3437" y="1366"/>
                  <a:pt x="3437" y="1367"/>
                </a:cubicBezTo>
                <a:cubicBezTo>
                  <a:pt x="3437" y="1368"/>
                  <a:pt x="3436" y="1370"/>
                  <a:pt x="3436" y="1371"/>
                </a:cubicBezTo>
                <a:cubicBezTo>
                  <a:pt x="3435" y="1373"/>
                  <a:pt x="3436" y="1374"/>
                  <a:pt x="3437" y="1374"/>
                </a:cubicBezTo>
                <a:cubicBezTo>
                  <a:pt x="3440" y="1375"/>
                  <a:pt x="3443" y="1376"/>
                  <a:pt x="3445" y="1376"/>
                </a:cubicBezTo>
                <a:cubicBezTo>
                  <a:pt x="3446" y="1376"/>
                  <a:pt x="3447" y="1375"/>
                  <a:pt x="3447" y="1375"/>
                </a:cubicBezTo>
                <a:cubicBezTo>
                  <a:pt x="3447" y="1374"/>
                  <a:pt x="3447" y="1372"/>
                  <a:pt x="3448" y="1371"/>
                </a:cubicBezTo>
                <a:cubicBezTo>
                  <a:pt x="3450" y="1369"/>
                  <a:pt x="3450" y="1366"/>
                  <a:pt x="3450" y="1363"/>
                </a:cubicBezTo>
                <a:cubicBezTo>
                  <a:pt x="3450" y="1363"/>
                  <a:pt x="3450" y="1362"/>
                  <a:pt x="3450" y="1362"/>
                </a:cubicBezTo>
                <a:cubicBezTo>
                  <a:pt x="3450" y="1362"/>
                  <a:pt x="3450" y="1362"/>
                  <a:pt x="3450" y="1361"/>
                </a:cubicBezTo>
                <a:cubicBezTo>
                  <a:pt x="3451" y="1364"/>
                  <a:pt x="3452" y="1364"/>
                  <a:pt x="3454" y="1364"/>
                </a:cubicBezTo>
                <a:cubicBezTo>
                  <a:pt x="3455" y="1364"/>
                  <a:pt x="3456" y="1364"/>
                  <a:pt x="3457" y="1364"/>
                </a:cubicBezTo>
                <a:cubicBezTo>
                  <a:pt x="3459" y="1364"/>
                  <a:pt x="3462" y="1365"/>
                  <a:pt x="3463" y="1360"/>
                </a:cubicBezTo>
                <a:cubicBezTo>
                  <a:pt x="3463" y="1363"/>
                  <a:pt x="3463" y="1364"/>
                  <a:pt x="3463" y="1365"/>
                </a:cubicBezTo>
                <a:cubicBezTo>
                  <a:pt x="3462" y="1366"/>
                  <a:pt x="3460" y="1367"/>
                  <a:pt x="3459" y="1367"/>
                </a:cubicBezTo>
                <a:cubicBezTo>
                  <a:pt x="3458" y="1368"/>
                  <a:pt x="3457" y="1370"/>
                  <a:pt x="3458" y="1370"/>
                </a:cubicBezTo>
                <a:cubicBezTo>
                  <a:pt x="3459" y="1373"/>
                  <a:pt x="3460" y="1375"/>
                  <a:pt x="3462" y="1377"/>
                </a:cubicBezTo>
                <a:cubicBezTo>
                  <a:pt x="3464" y="1378"/>
                  <a:pt x="3465" y="1378"/>
                  <a:pt x="3467" y="1376"/>
                </a:cubicBezTo>
                <a:cubicBezTo>
                  <a:pt x="3467" y="1375"/>
                  <a:pt x="3468" y="1374"/>
                  <a:pt x="3469" y="1374"/>
                </a:cubicBezTo>
                <a:cubicBezTo>
                  <a:pt x="3471" y="1372"/>
                  <a:pt x="3472" y="1371"/>
                  <a:pt x="3474" y="1370"/>
                </a:cubicBezTo>
                <a:cubicBezTo>
                  <a:pt x="3478" y="1366"/>
                  <a:pt x="3480" y="1360"/>
                  <a:pt x="3482" y="1354"/>
                </a:cubicBezTo>
                <a:cubicBezTo>
                  <a:pt x="3482" y="1353"/>
                  <a:pt x="3481" y="1353"/>
                  <a:pt x="3480" y="1352"/>
                </a:cubicBezTo>
                <a:cubicBezTo>
                  <a:pt x="3480" y="1351"/>
                  <a:pt x="3478" y="1350"/>
                  <a:pt x="3477" y="1349"/>
                </a:cubicBezTo>
                <a:close/>
                <a:moveTo>
                  <a:pt x="3430" y="1356"/>
                </a:moveTo>
                <a:cubicBezTo>
                  <a:pt x="3429" y="1357"/>
                  <a:pt x="3428" y="1357"/>
                  <a:pt x="3427" y="1359"/>
                </a:cubicBezTo>
                <a:cubicBezTo>
                  <a:pt x="3426" y="1359"/>
                  <a:pt x="3426" y="1360"/>
                  <a:pt x="3426" y="1360"/>
                </a:cubicBezTo>
                <a:cubicBezTo>
                  <a:pt x="3426" y="1363"/>
                  <a:pt x="3430" y="1368"/>
                  <a:pt x="3433" y="1367"/>
                </a:cubicBezTo>
                <a:cubicBezTo>
                  <a:pt x="3435" y="1367"/>
                  <a:pt x="3436" y="1366"/>
                  <a:pt x="3435" y="1364"/>
                </a:cubicBezTo>
                <a:cubicBezTo>
                  <a:pt x="3433" y="1361"/>
                  <a:pt x="3432" y="1359"/>
                  <a:pt x="3430" y="1356"/>
                </a:cubicBezTo>
                <a:close/>
                <a:moveTo>
                  <a:pt x="3483" y="1358"/>
                </a:moveTo>
                <a:cubicBezTo>
                  <a:pt x="3480" y="1362"/>
                  <a:pt x="3478" y="1367"/>
                  <a:pt x="3476" y="1371"/>
                </a:cubicBezTo>
                <a:cubicBezTo>
                  <a:pt x="3478" y="1371"/>
                  <a:pt x="3481" y="1372"/>
                  <a:pt x="3484" y="1371"/>
                </a:cubicBezTo>
                <a:cubicBezTo>
                  <a:pt x="3484" y="1371"/>
                  <a:pt x="3484" y="1370"/>
                  <a:pt x="3484" y="1370"/>
                </a:cubicBezTo>
                <a:cubicBezTo>
                  <a:pt x="3484" y="1367"/>
                  <a:pt x="3484" y="1364"/>
                  <a:pt x="3484" y="1362"/>
                </a:cubicBezTo>
                <a:cubicBezTo>
                  <a:pt x="3484" y="1360"/>
                  <a:pt x="3483" y="1359"/>
                  <a:pt x="3483" y="1358"/>
                </a:cubicBezTo>
                <a:close/>
                <a:moveTo>
                  <a:pt x="3430" y="1338"/>
                </a:moveTo>
                <a:cubicBezTo>
                  <a:pt x="3429" y="1338"/>
                  <a:pt x="3429" y="1338"/>
                  <a:pt x="3428" y="1338"/>
                </a:cubicBezTo>
                <a:cubicBezTo>
                  <a:pt x="3427" y="1338"/>
                  <a:pt x="3427" y="1338"/>
                  <a:pt x="3427" y="1338"/>
                </a:cubicBezTo>
                <a:cubicBezTo>
                  <a:pt x="3426" y="1338"/>
                  <a:pt x="3426" y="1337"/>
                  <a:pt x="3426" y="1336"/>
                </a:cubicBezTo>
                <a:cubicBezTo>
                  <a:pt x="3427" y="1334"/>
                  <a:pt x="3427" y="1332"/>
                  <a:pt x="3428" y="1330"/>
                </a:cubicBezTo>
                <a:cubicBezTo>
                  <a:pt x="3427" y="1330"/>
                  <a:pt x="3427" y="1330"/>
                  <a:pt x="3427" y="1330"/>
                </a:cubicBezTo>
                <a:cubicBezTo>
                  <a:pt x="3426" y="1331"/>
                  <a:pt x="3425" y="1332"/>
                  <a:pt x="3424" y="1333"/>
                </a:cubicBezTo>
                <a:cubicBezTo>
                  <a:pt x="3424" y="1334"/>
                  <a:pt x="3425" y="1339"/>
                  <a:pt x="3427" y="1340"/>
                </a:cubicBezTo>
                <a:cubicBezTo>
                  <a:pt x="3428" y="1341"/>
                  <a:pt x="3430" y="1340"/>
                  <a:pt x="3430" y="1338"/>
                </a:cubicBezTo>
                <a:close/>
                <a:moveTo>
                  <a:pt x="3430" y="1355"/>
                </a:moveTo>
                <a:cubicBezTo>
                  <a:pt x="3430" y="1356"/>
                  <a:pt x="3428" y="1357"/>
                  <a:pt x="3427" y="1358"/>
                </a:cubicBezTo>
                <a:cubicBezTo>
                  <a:pt x="3426" y="1359"/>
                  <a:pt x="3426" y="1359"/>
                  <a:pt x="3426" y="1360"/>
                </a:cubicBezTo>
                <a:cubicBezTo>
                  <a:pt x="3426" y="1363"/>
                  <a:pt x="3430" y="1367"/>
                  <a:pt x="3433" y="1367"/>
                </a:cubicBezTo>
                <a:cubicBezTo>
                  <a:pt x="3435" y="1367"/>
                  <a:pt x="3436" y="1366"/>
                  <a:pt x="3435" y="1364"/>
                </a:cubicBezTo>
                <a:cubicBezTo>
                  <a:pt x="3433" y="1361"/>
                  <a:pt x="3432" y="1358"/>
                  <a:pt x="3430" y="1355"/>
                </a:cubicBezTo>
                <a:close/>
                <a:moveTo>
                  <a:pt x="3483" y="1357"/>
                </a:moveTo>
                <a:cubicBezTo>
                  <a:pt x="3481" y="1362"/>
                  <a:pt x="3478" y="1366"/>
                  <a:pt x="3476" y="1371"/>
                </a:cubicBezTo>
                <a:cubicBezTo>
                  <a:pt x="3479" y="1371"/>
                  <a:pt x="3481" y="1371"/>
                  <a:pt x="3484" y="1371"/>
                </a:cubicBezTo>
                <a:cubicBezTo>
                  <a:pt x="3484" y="1371"/>
                  <a:pt x="3485" y="1370"/>
                  <a:pt x="3485" y="1369"/>
                </a:cubicBezTo>
                <a:cubicBezTo>
                  <a:pt x="3485" y="1366"/>
                  <a:pt x="3485" y="1364"/>
                  <a:pt x="3484" y="1362"/>
                </a:cubicBezTo>
                <a:cubicBezTo>
                  <a:pt x="3484" y="1360"/>
                  <a:pt x="3483" y="1359"/>
                  <a:pt x="3483" y="1357"/>
                </a:cubicBezTo>
                <a:close/>
                <a:moveTo>
                  <a:pt x="3430" y="1337"/>
                </a:moveTo>
                <a:cubicBezTo>
                  <a:pt x="3430" y="1338"/>
                  <a:pt x="3429" y="1338"/>
                  <a:pt x="3428" y="1338"/>
                </a:cubicBezTo>
                <a:cubicBezTo>
                  <a:pt x="3428" y="1338"/>
                  <a:pt x="3427" y="1338"/>
                  <a:pt x="3427" y="1338"/>
                </a:cubicBezTo>
                <a:cubicBezTo>
                  <a:pt x="3426" y="1337"/>
                  <a:pt x="3426" y="1337"/>
                  <a:pt x="3426" y="1336"/>
                </a:cubicBezTo>
                <a:cubicBezTo>
                  <a:pt x="3427" y="1334"/>
                  <a:pt x="3427" y="1332"/>
                  <a:pt x="3428" y="1330"/>
                </a:cubicBezTo>
                <a:cubicBezTo>
                  <a:pt x="3428" y="1330"/>
                  <a:pt x="3428" y="1330"/>
                  <a:pt x="3427" y="1330"/>
                </a:cubicBezTo>
                <a:cubicBezTo>
                  <a:pt x="3426" y="1331"/>
                  <a:pt x="3425" y="1332"/>
                  <a:pt x="3424" y="1333"/>
                </a:cubicBezTo>
                <a:cubicBezTo>
                  <a:pt x="3424" y="1334"/>
                  <a:pt x="3425" y="1339"/>
                  <a:pt x="3427" y="1340"/>
                </a:cubicBezTo>
                <a:cubicBezTo>
                  <a:pt x="3428" y="1341"/>
                  <a:pt x="3430" y="1339"/>
                  <a:pt x="3430" y="1337"/>
                </a:cubicBezTo>
                <a:close/>
                <a:moveTo>
                  <a:pt x="3482" y="1329"/>
                </a:moveTo>
                <a:cubicBezTo>
                  <a:pt x="3485" y="1325"/>
                  <a:pt x="3485" y="1325"/>
                  <a:pt x="3490" y="1324"/>
                </a:cubicBezTo>
                <a:cubicBezTo>
                  <a:pt x="3490" y="1326"/>
                  <a:pt x="3491" y="1327"/>
                  <a:pt x="3492" y="1327"/>
                </a:cubicBezTo>
                <a:cubicBezTo>
                  <a:pt x="3490" y="1329"/>
                  <a:pt x="3488" y="1330"/>
                  <a:pt x="3486" y="1331"/>
                </a:cubicBezTo>
                <a:cubicBezTo>
                  <a:pt x="3485" y="1331"/>
                  <a:pt x="3485" y="1330"/>
                  <a:pt x="3484" y="1329"/>
                </a:cubicBezTo>
                <a:cubicBezTo>
                  <a:pt x="3483" y="1329"/>
                  <a:pt x="3483" y="1329"/>
                  <a:pt x="3482" y="1329"/>
                </a:cubicBezTo>
                <a:close/>
                <a:moveTo>
                  <a:pt x="3488" y="1329"/>
                </a:moveTo>
                <a:cubicBezTo>
                  <a:pt x="3487" y="1328"/>
                  <a:pt x="3487" y="1328"/>
                  <a:pt x="3486" y="1328"/>
                </a:cubicBezTo>
                <a:cubicBezTo>
                  <a:pt x="3486" y="1328"/>
                  <a:pt x="3485" y="1329"/>
                  <a:pt x="3485" y="1329"/>
                </a:cubicBezTo>
                <a:cubicBezTo>
                  <a:pt x="3485" y="1329"/>
                  <a:pt x="3485" y="1330"/>
                  <a:pt x="3486" y="1330"/>
                </a:cubicBezTo>
                <a:cubicBezTo>
                  <a:pt x="3487" y="1330"/>
                  <a:pt x="3487" y="1329"/>
                  <a:pt x="3488" y="1329"/>
                </a:cubicBezTo>
                <a:close/>
                <a:moveTo>
                  <a:pt x="3470" y="1319"/>
                </a:moveTo>
                <a:cubicBezTo>
                  <a:pt x="3463" y="1318"/>
                  <a:pt x="3460" y="1321"/>
                  <a:pt x="3459" y="1329"/>
                </a:cubicBezTo>
                <a:cubicBezTo>
                  <a:pt x="3460" y="1327"/>
                  <a:pt x="3461" y="1324"/>
                  <a:pt x="3462" y="1322"/>
                </a:cubicBezTo>
                <a:cubicBezTo>
                  <a:pt x="3463" y="1322"/>
                  <a:pt x="3463" y="1322"/>
                  <a:pt x="3463" y="1322"/>
                </a:cubicBezTo>
                <a:cubicBezTo>
                  <a:pt x="3463" y="1323"/>
                  <a:pt x="3463" y="1324"/>
                  <a:pt x="3463" y="1325"/>
                </a:cubicBezTo>
                <a:cubicBezTo>
                  <a:pt x="3464" y="1322"/>
                  <a:pt x="3466" y="1320"/>
                  <a:pt x="3470" y="1319"/>
                </a:cubicBezTo>
                <a:close/>
                <a:moveTo>
                  <a:pt x="3513" y="1321"/>
                </a:moveTo>
                <a:cubicBezTo>
                  <a:pt x="3511" y="1322"/>
                  <a:pt x="3509" y="1324"/>
                  <a:pt x="3508" y="1325"/>
                </a:cubicBezTo>
                <a:cubicBezTo>
                  <a:pt x="3510" y="1325"/>
                  <a:pt x="3512" y="1324"/>
                  <a:pt x="3513" y="1321"/>
                </a:cubicBezTo>
                <a:close/>
                <a:moveTo>
                  <a:pt x="3480" y="1323"/>
                </a:moveTo>
                <a:cubicBezTo>
                  <a:pt x="3481" y="1322"/>
                  <a:pt x="3482" y="1320"/>
                  <a:pt x="3483" y="1319"/>
                </a:cubicBezTo>
                <a:cubicBezTo>
                  <a:pt x="3480" y="1320"/>
                  <a:pt x="3479" y="1321"/>
                  <a:pt x="3480" y="1323"/>
                </a:cubicBezTo>
                <a:close/>
                <a:moveTo>
                  <a:pt x="3489" y="1344"/>
                </a:moveTo>
                <a:cubicBezTo>
                  <a:pt x="3488" y="1344"/>
                  <a:pt x="3487" y="1345"/>
                  <a:pt x="3487" y="1346"/>
                </a:cubicBezTo>
                <a:cubicBezTo>
                  <a:pt x="3487" y="1345"/>
                  <a:pt x="3489" y="1345"/>
                  <a:pt x="3489" y="1344"/>
                </a:cubicBezTo>
                <a:close/>
                <a:moveTo>
                  <a:pt x="3488" y="1329"/>
                </a:moveTo>
                <a:cubicBezTo>
                  <a:pt x="3488" y="1328"/>
                  <a:pt x="3487" y="1328"/>
                  <a:pt x="3486" y="1328"/>
                </a:cubicBezTo>
                <a:cubicBezTo>
                  <a:pt x="3486" y="1328"/>
                  <a:pt x="3485" y="1329"/>
                  <a:pt x="3485" y="1329"/>
                </a:cubicBezTo>
                <a:cubicBezTo>
                  <a:pt x="3485" y="1329"/>
                  <a:pt x="3486" y="1330"/>
                  <a:pt x="3486" y="1330"/>
                </a:cubicBezTo>
                <a:cubicBezTo>
                  <a:pt x="3487" y="1330"/>
                  <a:pt x="3487" y="1329"/>
                  <a:pt x="3488" y="1329"/>
                </a:cubicBezTo>
                <a:close/>
                <a:moveTo>
                  <a:pt x="3036" y="1210"/>
                </a:moveTo>
                <a:cubicBezTo>
                  <a:pt x="3036" y="1210"/>
                  <a:pt x="3036" y="1210"/>
                  <a:pt x="3036" y="1210"/>
                </a:cubicBezTo>
                <a:cubicBezTo>
                  <a:pt x="3031" y="1210"/>
                  <a:pt x="3031" y="1210"/>
                  <a:pt x="3031" y="1210"/>
                </a:cubicBezTo>
                <a:cubicBezTo>
                  <a:pt x="3029" y="1212"/>
                  <a:pt x="3028" y="1213"/>
                  <a:pt x="3025" y="1214"/>
                </a:cubicBezTo>
                <a:cubicBezTo>
                  <a:pt x="3024" y="1216"/>
                  <a:pt x="3022" y="1216"/>
                  <a:pt x="3020" y="1217"/>
                </a:cubicBezTo>
                <a:cubicBezTo>
                  <a:pt x="3019" y="1218"/>
                  <a:pt x="3017" y="1219"/>
                  <a:pt x="3015" y="1220"/>
                </a:cubicBezTo>
                <a:cubicBezTo>
                  <a:pt x="3013" y="1221"/>
                  <a:pt x="3012" y="1221"/>
                  <a:pt x="3009" y="1221"/>
                </a:cubicBezTo>
                <a:cubicBezTo>
                  <a:pt x="3009" y="1221"/>
                  <a:pt x="3009" y="1221"/>
                  <a:pt x="3009" y="1232"/>
                </a:cubicBezTo>
                <a:cubicBezTo>
                  <a:pt x="3012" y="1231"/>
                  <a:pt x="3015" y="1230"/>
                  <a:pt x="3017" y="1229"/>
                </a:cubicBezTo>
                <a:cubicBezTo>
                  <a:pt x="3020" y="1228"/>
                  <a:pt x="3023" y="1226"/>
                  <a:pt x="3025" y="1225"/>
                </a:cubicBezTo>
                <a:cubicBezTo>
                  <a:pt x="3025" y="1225"/>
                  <a:pt x="3025" y="1225"/>
                  <a:pt x="3025" y="1284"/>
                </a:cubicBezTo>
                <a:cubicBezTo>
                  <a:pt x="3025" y="1284"/>
                  <a:pt x="3025" y="1284"/>
                  <a:pt x="3036" y="1284"/>
                </a:cubicBezTo>
                <a:cubicBezTo>
                  <a:pt x="3036" y="1284"/>
                  <a:pt x="3036" y="1284"/>
                  <a:pt x="3036" y="1210"/>
                </a:cubicBezTo>
                <a:close/>
                <a:moveTo>
                  <a:pt x="3083" y="1210"/>
                </a:moveTo>
                <a:cubicBezTo>
                  <a:pt x="3083" y="1210"/>
                  <a:pt x="3083" y="1210"/>
                  <a:pt x="3083" y="1210"/>
                </a:cubicBezTo>
                <a:cubicBezTo>
                  <a:pt x="3078" y="1210"/>
                  <a:pt x="3078" y="1210"/>
                  <a:pt x="3078" y="1210"/>
                </a:cubicBezTo>
                <a:cubicBezTo>
                  <a:pt x="3077" y="1212"/>
                  <a:pt x="3075" y="1213"/>
                  <a:pt x="3073" y="1214"/>
                </a:cubicBezTo>
                <a:cubicBezTo>
                  <a:pt x="3071" y="1216"/>
                  <a:pt x="3070" y="1216"/>
                  <a:pt x="3067" y="1217"/>
                </a:cubicBezTo>
                <a:cubicBezTo>
                  <a:pt x="3066" y="1218"/>
                  <a:pt x="3064" y="1219"/>
                  <a:pt x="3062" y="1220"/>
                </a:cubicBezTo>
                <a:cubicBezTo>
                  <a:pt x="3060" y="1221"/>
                  <a:pt x="3059" y="1221"/>
                  <a:pt x="3056" y="1221"/>
                </a:cubicBezTo>
                <a:cubicBezTo>
                  <a:pt x="3056" y="1221"/>
                  <a:pt x="3056" y="1221"/>
                  <a:pt x="3056" y="1232"/>
                </a:cubicBezTo>
                <a:cubicBezTo>
                  <a:pt x="3059" y="1231"/>
                  <a:pt x="3062" y="1230"/>
                  <a:pt x="3065" y="1229"/>
                </a:cubicBezTo>
                <a:cubicBezTo>
                  <a:pt x="3067" y="1228"/>
                  <a:pt x="3070" y="1226"/>
                  <a:pt x="3072" y="1225"/>
                </a:cubicBezTo>
                <a:cubicBezTo>
                  <a:pt x="3072" y="1225"/>
                  <a:pt x="3072" y="1225"/>
                  <a:pt x="3072" y="1284"/>
                </a:cubicBezTo>
                <a:cubicBezTo>
                  <a:pt x="3072" y="1284"/>
                  <a:pt x="3072" y="1284"/>
                  <a:pt x="3083" y="1284"/>
                </a:cubicBezTo>
                <a:cubicBezTo>
                  <a:pt x="3083" y="1284"/>
                  <a:pt x="3083" y="1284"/>
                  <a:pt x="3083" y="1210"/>
                </a:cubicBezTo>
                <a:close/>
                <a:moveTo>
                  <a:pt x="3129" y="1210"/>
                </a:moveTo>
                <a:cubicBezTo>
                  <a:pt x="3129" y="1210"/>
                  <a:pt x="3129" y="1210"/>
                  <a:pt x="3129" y="1210"/>
                </a:cubicBezTo>
                <a:cubicBezTo>
                  <a:pt x="3125" y="1210"/>
                  <a:pt x="3125" y="1210"/>
                  <a:pt x="3125" y="1210"/>
                </a:cubicBezTo>
                <a:cubicBezTo>
                  <a:pt x="3122" y="1212"/>
                  <a:pt x="3121" y="1213"/>
                  <a:pt x="3119" y="1214"/>
                </a:cubicBezTo>
                <a:cubicBezTo>
                  <a:pt x="3117" y="1216"/>
                  <a:pt x="3115" y="1216"/>
                  <a:pt x="3114" y="1217"/>
                </a:cubicBezTo>
                <a:cubicBezTo>
                  <a:pt x="3112" y="1218"/>
                  <a:pt x="3110" y="1218"/>
                  <a:pt x="3108" y="1219"/>
                </a:cubicBezTo>
                <a:cubicBezTo>
                  <a:pt x="3107" y="1220"/>
                  <a:pt x="3104" y="1221"/>
                  <a:pt x="3103" y="1221"/>
                </a:cubicBezTo>
                <a:cubicBezTo>
                  <a:pt x="3103" y="1221"/>
                  <a:pt x="3103" y="1221"/>
                  <a:pt x="3103" y="1232"/>
                </a:cubicBezTo>
                <a:cubicBezTo>
                  <a:pt x="3106" y="1231"/>
                  <a:pt x="3109" y="1229"/>
                  <a:pt x="3111" y="1229"/>
                </a:cubicBezTo>
                <a:cubicBezTo>
                  <a:pt x="3113" y="1228"/>
                  <a:pt x="3116" y="1226"/>
                  <a:pt x="3117" y="1225"/>
                </a:cubicBezTo>
                <a:cubicBezTo>
                  <a:pt x="3117" y="1225"/>
                  <a:pt x="3117" y="1225"/>
                  <a:pt x="3117" y="1284"/>
                </a:cubicBezTo>
                <a:cubicBezTo>
                  <a:pt x="3117" y="1284"/>
                  <a:pt x="3117" y="1284"/>
                  <a:pt x="3129" y="1284"/>
                </a:cubicBezTo>
                <a:cubicBezTo>
                  <a:pt x="3129" y="1284"/>
                  <a:pt x="3129" y="1284"/>
                  <a:pt x="3129" y="1210"/>
                </a:cubicBezTo>
                <a:close/>
                <a:moveTo>
                  <a:pt x="3266" y="1243"/>
                </a:moveTo>
                <a:cubicBezTo>
                  <a:pt x="3266" y="1243"/>
                  <a:pt x="3266" y="1243"/>
                  <a:pt x="3266" y="1243"/>
                </a:cubicBezTo>
                <a:cubicBezTo>
                  <a:pt x="3266" y="1251"/>
                  <a:pt x="3266" y="1251"/>
                  <a:pt x="3266" y="1251"/>
                </a:cubicBezTo>
                <a:cubicBezTo>
                  <a:pt x="3272" y="1251"/>
                  <a:pt x="3273" y="1254"/>
                  <a:pt x="3273" y="1257"/>
                </a:cubicBezTo>
                <a:cubicBezTo>
                  <a:pt x="3273" y="1259"/>
                  <a:pt x="3272" y="1261"/>
                  <a:pt x="3272" y="1264"/>
                </a:cubicBezTo>
                <a:cubicBezTo>
                  <a:pt x="3272" y="1267"/>
                  <a:pt x="3272" y="1269"/>
                  <a:pt x="3272" y="1271"/>
                </a:cubicBezTo>
                <a:cubicBezTo>
                  <a:pt x="3272" y="1281"/>
                  <a:pt x="3278" y="1284"/>
                  <a:pt x="3286" y="1284"/>
                </a:cubicBezTo>
                <a:cubicBezTo>
                  <a:pt x="3286" y="1284"/>
                  <a:pt x="3286" y="1284"/>
                  <a:pt x="3290" y="1284"/>
                </a:cubicBezTo>
                <a:cubicBezTo>
                  <a:pt x="3290" y="1284"/>
                  <a:pt x="3290" y="1284"/>
                  <a:pt x="3290" y="1275"/>
                </a:cubicBezTo>
                <a:cubicBezTo>
                  <a:pt x="3290" y="1275"/>
                  <a:pt x="3290" y="1275"/>
                  <a:pt x="3288" y="1275"/>
                </a:cubicBezTo>
                <a:cubicBezTo>
                  <a:pt x="3285" y="1275"/>
                  <a:pt x="3283" y="1272"/>
                  <a:pt x="3283" y="1269"/>
                </a:cubicBezTo>
                <a:cubicBezTo>
                  <a:pt x="3283" y="1267"/>
                  <a:pt x="3283" y="1266"/>
                  <a:pt x="3284" y="1264"/>
                </a:cubicBezTo>
                <a:cubicBezTo>
                  <a:pt x="3284" y="1263"/>
                  <a:pt x="3284" y="1260"/>
                  <a:pt x="3284" y="1258"/>
                </a:cubicBezTo>
                <a:cubicBezTo>
                  <a:pt x="3284" y="1251"/>
                  <a:pt x="3281" y="1248"/>
                  <a:pt x="3276" y="1247"/>
                </a:cubicBezTo>
                <a:cubicBezTo>
                  <a:pt x="3276" y="1247"/>
                  <a:pt x="3276" y="1247"/>
                  <a:pt x="3276" y="1246"/>
                </a:cubicBezTo>
                <a:cubicBezTo>
                  <a:pt x="3281" y="1245"/>
                  <a:pt x="3284" y="1243"/>
                  <a:pt x="3284" y="1236"/>
                </a:cubicBezTo>
                <a:cubicBezTo>
                  <a:pt x="3284" y="1233"/>
                  <a:pt x="3284" y="1231"/>
                  <a:pt x="3284" y="1229"/>
                </a:cubicBezTo>
                <a:cubicBezTo>
                  <a:pt x="3283" y="1228"/>
                  <a:pt x="3283" y="1226"/>
                  <a:pt x="3283" y="1225"/>
                </a:cubicBezTo>
                <a:cubicBezTo>
                  <a:pt x="3283" y="1221"/>
                  <a:pt x="3285" y="1219"/>
                  <a:pt x="3288" y="1219"/>
                </a:cubicBezTo>
                <a:cubicBezTo>
                  <a:pt x="3288" y="1219"/>
                  <a:pt x="3288" y="1219"/>
                  <a:pt x="3290" y="1219"/>
                </a:cubicBezTo>
                <a:cubicBezTo>
                  <a:pt x="3290" y="1219"/>
                  <a:pt x="3290" y="1219"/>
                  <a:pt x="3290" y="1209"/>
                </a:cubicBezTo>
                <a:cubicBezTo>
                  <a:pt x="3290" y="1209"/>
                  <a:pt x="3290" y="1209"/>
                  <a:pt x="3286" y="1209"/>
                </a:cubicBezTo>
                <a:cubicBezTo>
                  <a:pt x="3277" y="1209"/>
                  <a:pt x="3272" y="1214"/>
                  <a:pt x="3272" y="1222"/>
                </a:cubicBezTo>
                <a:cubicBezTo>
                  <a:pt x="3272" y="1224"/>
                  <a:pt x="3272" y="1227"/>
                  <a:pt x="3272" y="1230"/>
                </a:cubicBezTo>
                <a:cubicBezTo>
                  <a:pt x="3272" y="1232"/>
                  <a:pt x="3273" y="1235"/>
                  <a:pt x="3273" y="1236"/>
                </a:cubicBezTo>
                <a:cubicBezTo>
                  <a:pt x="3273" y="1239"/>
                  <a:pt x="3272" y="1242"/>
                  <a:pt x="3266" y="1243"/>
                </a:cubicBezTo>
                <a:close/>
                <a:moveTo>
                  <a:pt x="3320" y="1251"/>
                </a:moveTo>
                <a:cubicBezTo>
                  <a:pt x="3320" y="1251"/>
                  <a:pt x="3320" y="1251"/>
                  <a:pt x="3320" y="1251"/>
                </a:cubicBezTo>
                <a:cubicBezTo>
                  <a:pt x="3320" y="1243"/>
                  <a:pt x="3320" y="1243"/>
                  <a:pt x="3320" y="1243"/>
                </a:cubicBezTo>
                <a:cubicBezTo>
                  <a:pt x="3314" y="1242"/>
                  <a:pt x="3314" y="1239"/>
                  <a:pt x="3314" y="1236"/>
                </a:cubicBezTo>
                <a:cubicBezTo>
                  <a:pt x="3314" y="1235"/>
                  <a:pt x="3314" y="1232"/>
                  <a:pt x="3314" y="1230"/>
                </a:cubicBezTo>
                <a:cubicBezTo>
                  <a:pt x="3315" y="1227"/>
                  <a:pt x="3315" y="1224"/>
                  <a:pt x="3315" y="1222"/>
                </a:cubicBezTo>
                <a:cubicBezTo>
                  <a:pt x="3315" y="1214"/>
                  <a:pt x="3309" y="1209"/>
                  <a:pt x="3300" y="1209"/>
                </a:cubicBezTo>
                <a:cubicBezTo>
                  <a:pt x="3300" y="1209"/>
                  <a:pt x="3300" y="1209"/>
                  <a:pt x="3296" y="1209"/>
                </a:cubicBezTo>
                <a:cubicBezTo>
                  <a:pt x="3296" y="1209"/>
                  <a:pt x="3296" y="1209"/>
                  <a:pt x="3296" y="1219"/>
                </a:cubicBezTo>
                <a:cubicBezTo>
                  <a:pt x="3296" y="1219"/>
                  <a:pt x="3296" y="1219"/>
                  <a:pt x="3298" y="1219"/>
                </a:cubicBezTo>
                <a:cubicBezTo>
                  <a:pt x="3302" y="1219"/>
                  <a:pt x="3303" y="1221"/>
                  <a:pt x="3303" y="1225"/>
                </a:cubicBezTo>
                <a:cubicBezTo>
                  <a:pt x="3303" y="1226"/>
                  <a:pt x="3303" y="1228"/>
                  <a:pt x="3303" y="1229"/>
                </a:cubicBezTo>
                <a:cubicBezTo>
                  <a:pt x="3302" y="1231"/>
                  <a:pt x="3302" y="1233"/>
                  <a:pt x="3302" y="1236"/>
                </a:cubicBezTo>
                <a:cubicBezTo>
                  <a:pt x="3302" y="1243"/>
                  <a:pt x="3305" y="1245"/>
                  <a:pt x="3311" y="1246"/>
                </a:cubicBezTo>
                <a:cubicBezTo>
                  <a:pt x="3311" y="1246"/>
                  <a:pt x="3311" y="1246"/>
                  <a:pt x="3311" y="1247"/>
                </a:cubicBezTo>
                <a:cubicBezTo>
                  <a:pt x="3305" y="1248"/>
                  <a:pt x="3302" y="1251"/>
                  <a:pt x="3302" y="1258"/>
                </a:cubicBezTo>
                <a:cubicBezTo>
                  <a:pt x="3302" y="1260"/>
                  <a:pt x="3302" y="1263"/>
                  <a:pt x="3303" y="1264"/>
                </a:cubicBezTo>
                <a:cubicBezTo>
                  <a:pt x="3303" y="1266"/>
                  <a:pt x="3303" y="1267"/>
                  <a:pt x="3303" y="1269"/>
                </a:cubicBezTo>
                <a:cubicBezTo>
                  <a:pt x="3303" y="1272"/>
                  <a:pt x="3302" y="1275"/>
                  <a:pt x="3298" y="1275"/>
                </a:cubicBezTo>
                <a:cubicBezTo>
                  <a:pt x="3298" y="1275"/>
                  <a:pt x="3298" y="1275"/>
                  <a:pt x="3296" y="1275"/>
                </a:cubicBezTo>
                <a:cubicBezTo>
                  <a:pt x="3296" y="1275"/>
                  <a:pt x="3296" y="1275"/>
                  <a:pt x="3296" y="1284"/>
                </a:cubicBezTo>
                <a:cubicBezTo>
                  <a:pt x="3296" y="1284"/>
                  <a:pt x="3296" y="1284"/>
                  <a:pt x="3300" y="1284"/>
                </a:cubicBezTo>
                <a:cubicBezTo>
                  <a:pt x="3309" y="1284"/>
                  <a:pt x="3315" y="1281"/>
                  <a:pt x="3315" y="1271"/>
                </a:cubicBezTo>
                <a:cubicBezTo>
                  <a:pt x="3315" y="1269"/>
                  <a:pt x="3315" y="1267"/>
                  <a:pt x="3314" y="1264"/>
                </a:cubicBezTo>
                <a:cubicBezTo>
                  <a:pt x="3314" y="1261"/>
                  <a:pt x="3314" y="1259"/>
                  <a:pt x="3314" y="1257"/>
                </a:cubicBezTo>
                <a:cubicBezTo>
                  <a:pt x="3314" y="1254"/>
                  <a:pt x="3314" y="1251"/>
                  <a:pt x="3320" y="1251"/>
                </a:cubicBezTo>
                <a:close/>
                <a:moveTo>
                  <a:pt x="3368" y="1210"/>
                </a:moveTo>
                <a:cubicBezTo>
                  <a:pt x="3368" y="1210"/>
                  <a:pt x="3368" y="1210"/>
                  <a:pt x="3368" y="1210"/>
                </a:cubicBezTo>
                <a:cubicBezTo>
                  <a:pt x="3362" y="1210"/>
                  <a:pt x="3362" y="1210"/>
                  <a:pt x="3362" y="1210"/>
                </a:cubicBezTo>
                <a:cubicBezTo>
                  <a:pt x="3360" y="1212"/>
                  <a:pt x="3359" y="1213"/>
                  <a:pt x="3357" y="1214"/>
                </a:cubicBezTo>
                <a:cubicBezTo>
                  <a:pt x="3355" y="1216"/>
                  <a:pt x="3353" y="1216"/>
                  <a:pt x="3352" y="1217"/>
                </a:cubicBezTo>
                <a:cubicBezTo>
                  <a:pt x="3349" y="1218"/>
                  <a:pt x="3348" y="1218"/>
                  <a:pt x="3346" y="1219"/>
                </a:cubicBezTo>
                <a:cubicBezTo>
                  <a:pt x="3344" y="1220"/>
                  <a:pt x="3343" y="1221"/>
                  <a:pt x="3341" y="1221"/>
                </a:cubicBezTo>
                <a:cubicBezTo>
                  <a:pt x="3341" y="1221"/>
                  <a:pt x="3341" y="1221"/>
                  <a:pt x="3341" y="1232"/>
                </a:cubicBezTo>
                <a:cubicBezTo>
                  <a:pt x="3344" y="1231"/>
                  <a:pt x="3346" y="1229"/>
                  <a:pt x="3349" y="1229"/>
                </a:cubicBezTo>
                <a:cubicBezTo>
                  <a:pt x="3352" y="1228"/>
                  <a:pt x="3354" y="1226"/>
                  <a:pt x="3356" y="1225"/>
                </a:cubicBezTo>
                <a:cubicBezTo>
                  <a:pt x="3356" y="1225"/>
                  <a:pt x="3356" y="1225"/>
                  <a:pt x="3356" y="1284"/>
                </a:cubicBezTo>
                <a:cubicBezTo>
                  <a:pt x="3356" y="1284"/>
                  <a:pt x="3356" y="1284"/>
                  <a:pt x="3368" y="1284"/>
                </a:cubicBezTo>
                <a:cubicBezTo>
                  <a:pt x="3368" y="1284"/>
                  <a:pt x="3368" y="1284"/>
                  <a:pt x="3368" y="1210"/>
                </a:cubicBezTo>
                <a:close/>
                <a:moveTo>
                  <a:pt x="3414" y="1210"/>
                </a:moveTo>
                <a:cubicBezTo>
                  <a:pt x="3414" y="1210"/>
                  <a:pt x="3414" y="1210"/>
                  <a:pt x="3414" y="1210"/>
                </a:cubicBezTo>
                <a:cubicBezTo>
                  <a:pt x="3409" y="1210"/>
                  <a:pt x="3409" y="1210"/>
                  <a:pt x="3409" y="1210"/>
                </a:cubicBezTo>
                <a:cubicBezTo>
                  <a:pt x="3407" y="1212"/>
                  <a:pt x="3405" y="1213"/>
                  <a:pt x="3403" y="1214"/>
                </a:cubicBezTo>
                <a:cubicBezTo>
                  <a:pt x="3402" y="1216"/>
                  <a:pt x="3400" y="1216"/>
                  <a:pt x="3398" y="1217"/>
                </a:cubicBezTo>
                <a:cubicBezTo>
                  <a:pt x="3397" y="1218"/>
                  <a:pt x="3394" y="1219"/>
                  <a:pt x="3393" y="1220"/>
                </a:cubicBezTo>
                <a:cubicBezTo>
                  <a:pt x="3391" y="1221"/>
                  <a:pt x="3389" y="1221"/>
                  <a:pt x="3387" y="1221"/>
                </a:cubicBezTo>
                <a:cubicBezTo>
                  <a:pt x="3387" y="1221"/>
                  <a:pt x="3387" y="1221"/>
                  <a:pt x="3387" y="1232"/>
                </a:cubicBezTo>
                <a:cubicBezTo>
                  <a:pt x="3390" y="1231"/>
                  <a:pt x="3393" y="1230"/>
                  <a:pt x="3395" y="1229"/>
                </a:cubicBezTo>
                <a:cubicBezTo>
                  <a:pt x="3398" y="1228"/>
                  <a:pt x="3400" y="1226"/>
                  <a:pt x="3402" y="1225"/>
                </a:cubicBezTo>
                <a:cubicBezTo>
                  <a:pt x="3402" y="1225"/>
                  <a:pt x="3402" y="1225"/>
                  <a:pt x="3402" y="1284"/>
                </a:cubicBezTo>
                <a:cubicBezTo>
                  <a:pt x="3402" y="1284"/>
                  <a:pt x="3402" y="1284"/>
                  <a:pt x="3414" y="1284"/>
                </a:cubicBezTo>
                <a:cubicBezTo>
                  <a:pt x="3414" y="1284"/>
                  <a:pt x="3414" y="1284"/>
                  <a:pt x="3414" y="1210"/>
                </a:cubicBezTo>
                <a:close/>
                <a:moveTo>
                  <a:pt x="3460" y="1210"/>
                </a:moveTo>
                <a:cubicBezTo>
                  <a:pt x="3460" y="1210"/>
                  <a:pt x="3460" y="1210"/>
                  <a:pt x="3460" y="1210"/>
                </a:cubicBezTo>
                <a:cubicBezTo>
                  <a:pt x="3455" y="1210"/>
                  <a:pt x="3455" y="1210"/>
                  <a:pt x="3455" y="1210"/>
                </a:cubicBezTo>
                <a:cubicBezTo>
                  <a:pt x="3453" y="1212"/>
                  <a:pt x="3452" y="1213"/>
                  <a:pt x="3450" y="1214"/>
                </a:cubicBezTo>
                <a:cubicBezTo>
                  <a:pt x="3448" y="1216"/>
                  <a:pt x="3446" y="1216"/>
                  <a:pt x="3445" y="1217"/>
                </a:cubicBezTo>
                <a:cubicBezTo>
                  <a:pt x="3442" y="1218"/>
                  <a:pt x="3441" y="1219"/>
                  <a:pt x="3439" y="1220"/>
                </a:cubicBezTo>
                <a:cubicBezTo>
                  <a:pt x="3437" y="1221"/>
                  <a:pt x="3435" y="1221"/>
                  <a:pt x="3434" y="1221"/>
                </a:cubicBezTo>
                <a:cubicBezTo>
                  <a:pt x="3434" y="1221"/>
                  <a:pt x="3434" y="1221"/>
                  <a:pt x="3434" y="1232"/>
                </a:cubicBezTo>
                <a:cubicBezTo>
                  <a:pt x="3437" y="1231"/>
                  <a:pt x="3440" y="1230"/>
                  <a:pt x="3442" y="1229"/>
                </a:cubicBezTo>
                <a:cubicBezTo>
                  <a:pt x="3444" y="1228"/>
                  <a:pt x="3447" y="1226"/>
                  <a:pt x="3448" y="1225"/>
                </a:cubicBezTo>
                <a:cubicBezTo>
                  <a:pt x="3448" y="1225"/>
                  <a:pt x="3448" y="1225"/>
                  <a:pt x="3448" y="1284"/>
                </a:cubicBezTo>
                <a:cubicBezTo>
                  <a:pt x="3448" y="1284"/>
                  <a:pt x="3448" y="1284"/>
                  <a:pt x="3460" y="1284"/>
                </a:cubicBezTo>
                <a:cubicBezTo>
                  <a:pt x="3460" y="1284"/>
                  <a:pt x="3460" y="1284"/>
                  <a:pt x="3460" y="1210"/>
                </a:cubicBezTo>
                <a:close/>
                <a:moveTo>
                  <a:pt x="3209" y="1258"/>
                </a:moveTo>
                <a:cubicBezTo>
                  <a:pt x="3210" y="1259"/>
                  <a:pt x="3210" y="1261"/>
                  <a:pt x="3211" y="1262"/>
                </a:cubicBezTo>
                <a:cubicBezTo>
                  <a:pt x="3211" y="1264"/>
                  <a:pt x="3211" y="1266"/>
                  <a:pt x="3212" y="1267"/>
                </a:cubicBezTo>
                <a:cubicBezTo>
                  <a:pt x="3212" y="1269"/>
                  <a:pt x="3212" y="1270"/>
                  <a:pt x="3212" y="1272"/>
                </a:cubicBezTo>
                <a:cubicBezTo>
                  <a:pt x="3213" y="1275"/>
                  <a:pt x="3212" y="1277"/>
                  <a:pt x="3209" y="1277"/>
                </a:cubicBezTo>
                <a:cubicBezTo>
                  <a:pt x="3206" y="1277"/>
                  <a:pt x="3203" y="1276"/>
                  <a:pt x="3201" y="1276"/>
                </a:cubicBezTo>
                <a:cubicBezTo>
                  <a:pt x="3200" y="1276"/>
                  <a:pt x="3199" y="1276"/>
                  <a:pt x="3199" y="1277"/>
                </a:cubicBezTo>
                <a:cubicBezTo>
                  <a:pt x="3197" y="1278"/>
                  <a:pt x="3196" y="1280"/>
                  <a:pt x="3195" y="1281"/>
                </a:cubicBezTo>
                <a:cubicBezTo>
                  <a:pt x="3193" y="1283"/>
                  <a:pt x="3190" y="1284"/>
                  <a:pt x="3187" y="1282"/>
                </a:cubicBezTo>
                <a:cubicBezTo>
                  <a:pt x="3185" y="1280"/>
                  <a:pt x="3184" y="1277"/>
                  <a:pt x="3182" y="1274"/>
                </a:cubicBezTo>
                <a:cubicBezTo>
                  <a:pt x="3182" y="1273"/>
                  <a:pt x="3182" y="1271"/>
                  <a:pt x="3184" y="1270"/>
                </a:cubicBezTo>
                <a:cubicBezTo>
                  <a:pt x="3182" y="1270"/>
                  <a:pt x="3180" y="1270"/>
                  <a:pt x="3179" y="1270"/>
                </a:cubicBezTo>
                <a:cubicBezTo>
                  <a:pt x="3178" y="1272"/>
                  <a:pt x="3177" y="1274"/>
                  <a:pt x="3176" y="1276"/>
                </a:cubicBezTo>
                <a:cubicBezTo>
                  <a:pt x="3176" y="1276"/>
                  <a:pt x="3175" y="1277"/>
                  <a:pt x="3175" y="1278"/>
                </a:cubicBezTo>
                <a:cubicBezTo>
                  <a:pt x="3175" y="1281"/>
                  <a:pt x="3174" y="1282"/>
                  <a:pt x="3171" y="1282"/>
                </a:cubicBezTo>
                <a:cubicBezTo>
                  <a:pt x="3168" y="1282"/>
                  <a:pt x="3165" y="1281"/>
                  <a:pt x="3162" y="1280"/>
                </a:cubicBezTo>
                <a:cubicBezTo>
                  <a:pt x="3160" y="1279"/>
                  <a:pt x="3160" y="1278"/>
                  <a:pt x="3160" y="1276"/>
                </a:cubicBezTo>
                <a:cubicBezTo>
                  <a:pt x="3161" y="1275"/>
                  <a:pt x="3161" y="1274"/>
                  <a:pt x="3161" y="1274"/>
                </a:cubicBezTo>
                <a:cubicBezTo>
                  <a:pt x="3159" y="1273"/>
                  <a:pt x="3156" y="1272"/>
                  <a:pt x="3154" y="1270"/>
                </a:cubicBezTo>
                <a:cubicBezTo>
                  <a:pt x="3153" y="1270"/>
                  <a:pt x="3152" y="1268"/>
                  <a:pt x="3151" y="1266"/>
                </a:cubicBezTo>
                <a:cubicBezTo>
                  <a:pt x="3150" y="1264"/>
                  <a:pt x="3150" y="1263"/>
                  <a:pt x="3152" y="1261"/>
                </a:cubicBezTo>
                <a:cubicBezTo>
                  <a:pt x="3155" y="1259"/>
                  <a:pt x="3156" y="1256"/>
                  <a:pt x="3155" y="1252"/>
                </a:cubicBezTo>
                <a:cubicBezTo>
                  <a:pt x="3155" y="1250"/>
                  <a:pt x="3155" y="1247"/>
                  <a:pt x="3155" y="1246"/>
                </a:cubicBezTo>
                <a:cubicBezTo>
                  <a:pt x="3154" y="1245"/>
                  <a:pt x="3152" y="1245"/>
                  <a:pt x="3151" y="1244"/>
                </a:cubicBezTo>
                <a:cubicBezTo>
                  <a:pt x="3150" y="1242"/>
                  <a:pt x="3150" y="1240"/>
                  <a:pt x="3150" y="1238"/>
                </a:cubicBezTo>
                <a:cubicBezTo>
                  <a:pt x="3149" y="1235"/>
                  <a:pt x="3153" y="1232"/>
                  <a:pt x="3155" y="1232"/>
                </a:cubicBezTo>
                <a:cubicBezTo>
                  <a:pt x="3156" y="1232"/>
                  <a:pt x="3156" y="1233"/>
                  <a:pt x="3156" y="1234"/>
                </a:cubicBezTo>
                <a:cubicBezTo>
                  <a:pt x="3156" y="1235"/>
                  <a:pt x="3156" y="1236"/>
                  <a:pt x="3157" y="1237"/>
                </a:cubicBezTo>
                <a:cubicBezTo>
                  <a:pt x="3156" y="1237"/>
                  <a:pt x="3155" y="1237"/>
                  <a:pt x="3155" y="1237"/>
                </a:cubicBezTo>
                <a:cubicBezTo>
                  <a:pt x="3155" y="1238"/>
                  <a:pt x="3154" y="1239"/>
                  <a:pt x="3153" y="1241"/>
                </a:cubicBezTo>
                <a:cubicBezTo>
                  <a:pt x="3155" y="1241"/>
                  <a:pt x="3155" y="1241"/>
                  <a:pt x="3156" y="1240"/>
                </a:cubicBezTo>
                <a:cubicBezTo>
                  <a:pt x="3157" y="1239"/>
                  <a:pt x="3158" y="1238"/>
                  <a:pt x="3159" y="1237"/>
                </a:cubicBezTo>
                <a:cubicBezTo>
                  <a:pt x="3163" y="1230"/>
                  <a:pt x="3169" y="1226"/>
                  <a:pt x="3177" y="1225"/>
                </a:cubicBezTo>
                <a:cubicBezTo>
                  <a:pt x="3180" y="1224"/>
                  <a:pt x="3183" y="1223"/>
                  <a:pt x="3185" y="1221"/>
                </a:cubicBezTo>
                <a:cubicBezTo>
                  <a:pt x="3185" y="1220"/>
                  <a:pt x="3186" y="1220"/>
                  <a:pt x="3186" y="1220"/>
                </a:cubicBezTo>
                <a:cubicBezTo>
                  <a:pt x="3189" y="1219"/>
                  <a:pt x="3191" y="1217"/>
                  <a:pt x="3193" y="1215"/>
                </a:cubicBezTo>
                <a:cubicBezTo>
                  <a:pt x="3200" y="1207"/>
                  <a:pt x="3212" y="1207"/>
                  <a:pt x="3220" y="1214"/>
                </a:cubicBezTo>
                <a:cubicBezTo>
                  <a:pt x="3222" y="1216"/>
                  <a:pt x="3225" y="1218"/>
                  <a:pt x="3227" y="1220"/>
                </a:cubicBezTo>
                <a:cubicBezTo>
                  <a:pt x="3229" y="1221"/>
                  <a:pt x="3230" y="1223"/>
                  <a:pt x="3231" y="1224"/>
                </a:cubicBezTo>
                <a:cubicBezTo>
                  <a:pt x="3232" y="1226"/>
                  <a:pt x="3233" y="1226"/>
                  <a:pt x="3234" y="1225"/>
                </a:cubicBezTo>
                <a:cubicBezTo>
                  <a:pt x="3235" y="1224"/>
                  <a:pt x="3235" y="1224"/>
                  <a:pt x="3236" y="1223"/>
                </a:cubicBezTo>
                <a:cubicBezTo>
                  <a:pt x="3238" y="1220"/>
                  <a:pt x="3241" y="1220"/>
                  <a:pt x="3242" y="1223"/>
                </a:cubicBezTo>
                <a:cubicBezTo>
                  <a:pt x="3244" y="1226"/>
                  <a:pt x="3244" y="1229"/>
                  <a:pt x="3245" y="1232"/>
                </a:cubicBezTo>
                <a:cubicBezTo>
                  <a:pt x="3246" y="1237"/>
                  <a:pt x="3245" y="1241"/>
                  <a:pt x="3244" y="1245"/>
                </a:cubicBezTo>
                <a:cubicBezTo>
                  <a:pt x="3241" y="1252"/>
                  <a:pt x="3237" y="1255"/>
                  <a:pt x="3230" y="1255"/>
                </a:cubicBezTo>
                <a:cubicBezTo>
                  <a:pt x="3229" y="1255"/>
                  <a:pt x="3229" y="1255"/>
                  <a:pt x="3228" y="1255"/>
                </a:cubicBezTo>
                <a:cubicBezTo>
                  <a:pt x="3226" y="1255"/>
                  <a:pt x="3224" y="1255"/>
                  <a:pt x="3224" y="1258"/>
                </a:cubicBezTo>
                <a:cubicBezTo>
                  <a:pt x="3222" y="1262"/>
                  <a:pt x="3217" y="1264"/>
                  <a:pt x="3213" y="1261"/>
                </a:cubicBezTo>
                <a:cubicBezTo>
                  <a:pt x="3212" y="1259"/>
                  <a:pt x="3211" y="1259"/>
                  <a:pt x="3210" y="1257"/>
                </a:cubicBezTo>
                <a:cubicBezTo>
                  <a:pt x="3210" y="1258"/>
                  <a:pt x="3210" y="1258"/>
                  <a:pt x="3209" y="1258"/>
                </a:cubicBezTo>
                <a:close/>
                <a:moveTo>
                  <a:pt x="3204" y="1253"/>
                </a:moveTo>
                <a:cubicBezTo>
                  <a:pt x="3207" y="1255"/>
                  <a:pt x="3211" y="1256"/>
                  <a:pt x="3213" y="1259"/>
                </a:cubicBezTo>
                <a:cubicBezTo>
                  <a:pt x="3215" y="1261"/>
                  <a:pt x="3217" y="1261"/>
                  <a:pt x="3219" y="1261"/>
                </a:cubicBezTo>
                <a:cubicBezTo>
                  <a:pt x="3222" y="1260"/>
                  <a:pt x="3223" y="1258"/>
                  <a:pt x="3223" y="1255"/>
                </a:cubicBezTo>
                <a:cubicBezTo>
                  <a:pt x="3223" y="1255"/>
                  <a:pt x="3222" y="1255"/>
                  <a:pt x="3222" y="1255"/>
                </a:cubicBezTo>
                <a:cubicBezTo>
                  <a:pt x="3222" y="1257"/>
                  <a:pt x="3221" y="1258"/>
                  <a:pt x="3220" y="1259"/>
                </a:cubicBezTo>
                <a:cubicBezTo>
                  <a:pt x="3219" y="1260"/>
                  <a:pt x="3217" y="1260"/>
                  <a:pt x="3217" y="1259"/>
                </a:cubicBezTo>
                <a:cubicBezTo>
                  <a:pt x="3216" y="1259"/>
                  <a:pt x="3215" y="1258"/>
                  <a:pt x="3215" y="1257"/>
                </a:cubicBezTo>
                <a:cubicBezTo>
                  <a:pt x="3215" y="1255"/>
                  <a:pt x="3216" y="1253"/>
                  <a:pt x="3216" y="1251"/>
                </a:cubicBezTo>
                <a:cubicBezTo>
                  <a:pt x="3219" y="1252"/>
                  <a:pt x="3222" y="1253"/>
                  <a:pt x="3226" y="1253"/>
                </a:cubicBezTo>
                <a:cubicBezTo>
                  <a:pt x="3233" y="1255"/>
                  <a:pt x="3239" y="1253"/>
                  <a:pt x="3242" y="1244"/>
                </a:cubicBezTo>
                <a:cubicBezTo>
                  <a:pt x="3244" y="1240"/>
                  <a:pt x="3244" y="1235"/>
                  <a:pt x="3243" y="1230"/>
                </a:cubicBezTo>
                <a:cubicBezTo>
                  <a:pt x="3242" y="1228"/>
                  <a:pt x="3242" y="1226"/>
                  <a:pt x="3241" y="1224"/>
                </a:cubicBezTo>
                <a:cubicBezTo>
                  <a:pt x="3240" y="1223"/>
                  <a:pt x="3239" y="1222"/>
                  <a:pt x="3238" y="1224"/>
                </a:cubicBezTo>
                <a:cubicBezTo>
                  <a:pt x="3236" y="1225"/>
                  <a:pt x="3235" y="1227"/>
                  <a:pt x="3233" y="1228"/>
                </a:cubicBezTo>
                <a:cubicBezTo>
                  <a:pt x="3232" y="1228"/>
                  <a:pt x="3231" y="1229"/>
                  <a:pt x="3231" y="1230"/>
                </a:cubicBezTo>
                <a:cubicBezTo>
                  <a:pt x="3232" y="1233"/>
                  <a:pt x="3231" y="1236"/>
                  <a:pt x="3230" y="1240"/>
                </a:cubicBezTo>
                <a:cubicBezTo>
                  <a:pt x="3230" y="1238"/>
                  <a:pt x="3231" y="1236"/>
                  <a:pt x="3231" y="1234"/>
                </a:cubicBezTo>
                <a:cubicBezTo>
                  <a:pt x="3231" y="1233"/>
                  <a:pt x="3230" y="1233"/>
                  <a:pt x="3230" y="1232"/>
                </a:cubicBezTo>
                <a:cubicBezTo>
                  <a:pt x="3230" y="1233"/>
                  <a:pt x="3229" y="1233"/>
                  <a:pt x="3229" y="1233"/>
                </a:cubicBezTo>
                <a:cubicBezTo>
                  <a:pt x="3228" y="1234"/>
                  <a:pt x="3227" y="1236"/>
                  <a:pt x="3226" y="1237"/>
                </a:cubicBezTo>
                <a:cubicBezTo>
                  <a:pt x="3226" y="1237"/>
                  <a:pt x="3226" y="1237"/>
                  <a:pt x="3226" y="1237"/>
                </a:cubicBezTo>
                <a:cubicBezTo>
                  <a:pt x="3226" y="1236"/>
                  <a:pt x="3227" y="1234"/>
                  <a:pt x="3227" y="1232"/>
                </a:cubicBezTo>
                <a:cubicBezTo>
                  <a:pt x="3226" y="1232"/>
                  <a:pt x="3226" y="1233"/>
                  <a:pt x="3225" y="1234"/>
                </a:cubicBezTo>
                <a:cubicBezTo>
                  <a:pt x="3224" y="1234"/>
                  <a:pt x="3224" y="1235"/>
                  <a:pt x="3224" y="1236"/>
                </a:cubicBezTo>
                <a:cubicBezTo>
                  <a:pt x="3224" y="1232"/>
                  <a:pt x="3224" y="1232"/>
                  <a:pt x="3230" y="1231"/>
                </a:cubicBezTo>
                <a:cubicBezTo>
                  <a:pt x="3230" y="1230"/>
                  <a:pt x="3229" y="1230"/>
                  <a:pt x="3229" y="1230"/>
                </a:cubicBezTo>
                <a:cubicBezTo>
                  <a:pt x="3226" y="1230"/>
                  <a:pt x="3226" y="1229"/>
                  <a:pt x="3225" y="1226"/>
                </a:cubicBezTo>
                <a:cubicBezTo>
                  <a:pt x="3227" y="1226"/>
                  <a:pt x="3228" y="1226"/>
                  <a:pt x="3230" y="1225"/>
                </a:cubicBezTo>
                <a:cubicBezTo>
                  <a:pt x="3228" y="1223"/>
                  <a:pt x="3227" y="1220"/>
                  <a:pt x="3224" y="1220"/>
                </a:cubicBezTo>
                <a:cubicBezTo>
                  <a:pt x="3223" y="1220"/>
                  <a:pt x="3223" y="1219"/>
                  <a:pt x="3223" y="1219"/>
                </a:cubicBezTo>
                <a:cubicBezTo>
                  <a:pt x="3221" y="1217"/>
                  <a:pt x="3218" y="1215"/>
                  <a:pt x="3215" y="1213"/>
                </a:cubicBezTo>
                <a:cubicBezTo>
                  <a:pt x="3213" y="1211"/>
                  <a:pt x="3210" y="1211"/>
                  <a:pt x="3208" y="1211"/>
                </a:cubicBezTo>
                <a:cubicBezTo>
                  <a:pt x="3205" y="1211"/>
                  <a:pt x="3202" y="1212"/>
                  <a:pt x="3199" y="1213"/>
                </a:cubicBezTo>
                <a:cubicBezTo>
                  <a:pt x="3196" y="1214"/>
                  <a:pt x="3193" y="1216"/>
                  <a:pt x="3191" y="1219"/>
                </a:cubicBezTo>
                <a:cubicBezTo>
                  <a:pt x="3193" y="1219"/>
                  <a:pt x="3194" y="1219"/>
                  <a:pt x="3195" y="1219"/>
                </a:cubicBezTo>
                <a:cubicBezTo>
                  <a:pt x="3195" y="1219"/>
                  <a:pt x="3194" y="1220"/>
                  <a:pt x="3193" y="1220"/>
                </a:cubicBezTo>
                <a:cubicBezTo>
                  <a:pt x="3191" y="1221"/>
                  <a:pt x="3188" y="1220"/>
                  <a:pt x="3186" y="1222"/>
                </a:cubicBezTo>
                <a:cubicBezTo>
                  <a:pt x="3183" y="1226"/>
                  <a:pt x="3179" y="1230"/>
                  <a:pt x="3175" y="1234"/>
                </a:cubicBezTo>
                <a:cubicBezTo>
                  <a:pt x="3174" y="1236"/>
                  <a:pt x="3173" y="1238"/>
                  <a:pt x="3172" y="1241"/>
                </a:cubicBezTo>
                <a:cubicBezTo>
                  <a:pt x="3172" y="1241"/>
                  <a:pt x="3172" y="1242"/>
                  <a:pt x="3172" y="1242"/>
                </a:cubicBezTo>
                <a:cubicBezTo>
                  <a:pt x="3173" y="1244"/>
                  <a:pt x="3175" y="1246"/>
                  <a:pt x="3176" y="1248"/>
                </a:cubicBezTo>
                <a:cubicBezTo>
                  <a:pt x="3177" y="1247"/>
                  <a:pt x="3179" y="1245"/>
                  <a:pt x="3180" y="1244"/>
                </a:cubicBezTo>
                <a:cubicBezTo>
                  <a:pt x="3179" y="1245"/>
                  <a:pt x="3179" y="1246"/>
                  <a:pt x="3178" y="1248"/>
                </a:cubicBezTo>
                <a:cubicBezTo>
                  <a:pt x="3177" y="1249"/>
                  <a:pt x="3177" y="1250"/>
                  <a:pt x="3176" y="1252"/>
                </a:cubicBezTo>
                <a:cubicBezTo>
                  <a:pt x="3176" y="1253"/>
                  <a:pt x="3176" y="1254"/>
                  <a:pt x="3177" y="1255"/>
                </a:cubicBezTo>
                <a:cubicBezTo>
                  <a:pt x="3179" y="1258"/>
                  <a:pt x="3182" y="1258"/>
                  <a:pt x="3186" y="1256"/>
                </a:cubicBezTo>
                <a:cubicBezTo>
                  <a:pt x="3188" y="1255"/>
                  <a:pt x="3191" y="1253"/>
                  <a:pt x="3194" y="1253"/>
                </a:cubicBezTo>
                <a:cubicBezTo>
                  <a:pt x="3195" y="1252"/>
                  <a:pt x="3197" y="1251"/>
                  <a:pt x="3197" y="1250"/>
                </a:cubicBezTo>
                <a:cubicBezTo>
                  <a:pt x="3197" y="1247"/>
                  <a:pt x="3197" y="1243"/>
                  <a:pt x="3197" y="1240"/>
                </a:cubicBezTo>
                <a:cubicBezTo>
                  <a:pt x="3197" y="1237"/>
                  <a:pt x="3197" y="1234"/>
                  <a:pt x="3197" y="1231"/>
                </a:cubicBezTo>
                <a:cubicBezTo>
                  <a:pt x="3197" y="1234"/>
                  <a:pt x="3198" y="1236"/>
                  <a:pt x="3198" y="1239"/>
                </a:cubicBezTo>
                <a:cubicBezTo>
                  <a:pt x="3199" y="1244"/>
                  <a:pt x="3199" y="1248"/>
                  <a:pt x="3198" y="1252"/>
                </a:cubicBezTo>
                <a:cubicBezTo>
                  <a:pt x="3197" y="1253"/>
                  <a:pt x="3197" y="1254"/>
                  <a:pt x="3196" y="1254"/>
                </a:cubicBezTo>
                <a:cubicBezTo>
                  <a:pt x="3193" y="1254"/>
                  <a:pt x="3190" y="1256"/>
                  <a:pt x="3186" y="1258"/>
                </a:cubicBezTo>
                <a:cubicBezTo>
                  <a:pt x="3181" y="1261"/>
                  <a:pt x="3178" y="1259"/>
                  <a:pt x="3174" y="1255"/>
                </a:cubicBezTo>
                <a:cubicBezTo>
                  <a:pt x="3174" y="1255"/>
                  <a:pt x="3174" y="1253"/>
                  <a:pt x="3174" y="1253"/>
                </a:cubicBezTo>
                <a:cubicBezTo>
                  <a:pt x="3175" y="1251"/>
                  <a:pt x="3174" y="1249"/>
                  <a:pt x="3173" y="1247"/>
                </a:cubicBezTo>
                <a:cubicBezTo>
                  <a:pt x="3171" y="1245"/>
                  <a:pt x="3170" y="1242"/>
                  <a:pt x="3171" y="1240"/>
                </a:cubicBezTo>
                <a:cubicBezTo>
                  <a:pt x="3171" y="1238"/>
                  <a:pt x="3172" y="1236"/>
                  <a:pt x="3173" y="1234"/>
                </a:cubicBezTo>
                <a:cubicBezTo>
                  <a:pt x="3175" y="1232"/>
                  <a:pt x="3177" y="1229"/>
                  <a:pt x="3179" y="1226"/>
                </a:cubicBezTo>
                <a:cubicBezTo>
                  <a:pt x="3179" y="1226"/>
                  <a:pt x="3178" y="1226"/>
                  <a:pt x="3178" y="1226"/>
                </a:cubicBezTo>
                <a:cubicBezTo>
                  <a:pt x="3173" y="1228"/>
                  <a:pt x="3169" y="1229"/>
                  <a:pt x="3165" y="1232"/>
                </a:cubicBezTo>
                <a:cubicBezTo>
                  <a:pt x="3160" y="1237"/>
                  <a:pt x="3157" y="1242"/>
                  <a:pt x="3157" y="1249"/>
                </a:cubicBezTo>
                <a:cubicBezTo>
                  <a:pt x="3157" y="1255"/>
                  <a:pt x="3159" y="1261"/>
                  <a:pt x="3162" y="1267"/>
                </a:cubicBezTo>
                <a:cubicBezTo>
                  <a:pt x="3163" y="1268"/>
                  <a:pt x="3164" y="1270"/>
                  <a:pt x="3163" y="1271"/>
                </a:cubicBezTo>
                <a:cubicBezTo>
                  <a:pt x="3163" y="1272"/>
                  <a:pt x="3163" y="1274"/>
                  <a:pt x="3162" y="1275"/>
                </a:cubicBezTo>
                <a:cubicBezTo>
                  <a:pt x="3162" y="1277"/>
                  <a:pt x="3162" y="1278"/>
                  <a:pt x="3163" y="1278"/>
                </a:cubicBezTo>
                <a:cubicBezTo>
                  <a:pt x="3166" y="1279"/>
                  <a:pt x="3169" y="1280"/>
                  <a:pt x="3172" y="1280"/>
                </a:cubicBezTo>
                <a:cubicBezTo>
                  <a:pt x="3173" y="1280"/>
                  <a:pt x="3173" y="1279"/>
                  <a:pt x="3173" y="1279"/>
                </a:cubicBezTo>
                <a:cubicBezTo>
                  <a:pt x="3174" y="1278"/>
                  <a:pt x="3174" y="1276"/>
                  <a:pt x="3175" y="1275"/>
                </a:cubicBezTo>
                <a:cubicBezTo>
                  <a:pt x="3177" y="1273"/>
                  <a:pt x="3177" y="1270"/>
                  <a:pt x="3177" y="1267"/>
                </a:cubicBezTo>
                <a:cubicBezTo>
                  <a:pt x="3177" y="1267"/>
                  <a:pt x="3177" y="1266"/>
                  <a:pt x="3177" y="1266"/>
                </a:cubicBezTo>
                <a:cubicBezTo>
                  <a:pt x="3177" y="1266"/>
                  <a:pt x="3177" y="1266"/>
                  <a:pt x="3177" y="1265"/>
                </a:cubicBezTo>
                <a:cubicBezTo>
                  <a:pt x="3177" y="1268"/>
                  <a:pt x="3179" y="1268"/>
                  <a:pt x="3181" y="1268"/>
                </a:cubicBezTo>
                <a:cubicBezTo>
                  <a:pt x="3181" y="1268"/>
                  <a:pt x="3182" y="1268"/>
                  <a:pt x="3183" y="1268"/>
                </a:cubicBezTo>
                <a:cubicBezTo>
                  <a:pt x="3186" y="1268"/>
                  <a:pt x="3189" y="1269"/>
                  <a:pt x="3190" y="1264"/>
                </a:cubicBezTo>
                <a:cubicBezTo>
                  <a:pt x="3190" y="1267"/>
                  <a:pt x="3190" y="1268"/>
                  <a:pt x="3190" y="1269"/>
                </a:cubicBezTo>
                <a:cubicBezTo>
                  <a:pt x="3188" y="1270"/>
                  <a:pt x="3187" y="1271"/>
                  <a:pt x="3186" y="1271"/>
                </a:cubicBezTo>
                <a:cubicBezTo>
                  <a:pt x="3184" y="1272"/>
                  <a:pt x="3184" y="1274"/>
                  <a:pt x="3184" y="1274"/>
                </a:cubicBezTo>
                <a:cubicBezTo>
                  <a:pt x="3186" y="1277"/>
                  <a:pt x="3187" y="1279"/>
                  <a:pt x="3188" y="1281"/>
                </a:cubicBezTo>
                <a:cubicBezTo>
                  <a:pt x="3190" y="1282"/>
                  <a:pt x="3192" y="1282"/>
                  <a:pt x="3193" y="1280"/>
                </a:cubicBezTo>
                <a:cubicBezTo>
                  <a:pt x="3194" y="1279"/>
                  <a:pt x="3195" y="1278"/>
                  <a:pt x="3195" y="1278"/>
                </a:cubicBezTo>
                <a:cubicBezTo>
                  <a:pt x="3197" y="1276"/>
                  <a:pt x="3199" y="1275"/>
                  <a:pt x="3200" y="1274"/>
                </a:cubicBezTo>
                <a:cubicBezTo>
                  <a:pt x="3204" y="1270"/>
                  <a:pt x="3206" y="1264"/>
                  <a:pt x="3208" y="1258"/>
                </a:cubicBezTo>
                <a:cubicBezTo>
                  <a:pt x="3208" y="1257"/>
                  <a:pt x="3207" y="1257"/>
                  <a:pt x="3207" y="1256"/>
                </a:cubicBezTo>
                <a:cubicBezTo>
                  <a:pt x="3206" y="1255"/>
                  <a:pt x="3205" y="1254"/>
                  <a:pt x="3204" y="1253"/>
                </a:cubicBezTo>
                <a:close/>
                <a:moveTo>
                  <a:pt x="3157" y="1260"/>
                </a:moveTo>
                <a:cubicBezTo>
                  <a:pt x="3156" y="1261"/>
                  <a:pt x="3154" y="1261"/>
                  <a:pt x="3153" y="1263"/>
                </a:cubicBezTo>
                <a:cubicBezTo>
                  <a:pt x="3153" y="1263"/>
                  <a:pt x="3152" y="1264"/>
                  <a:pt x="3152" y="1264"/>
                </a:cubicBezTo>
                <a:cubicBezTo>
                  <a:pt x="3152" y="1267"/>
                  <a:pt x="3157" y="1272"/>
                  <a:pt x="3160" y="1271"/>
                </a:cubicBezTo>
                <a:cubicBezTo>
                  <a:pt x="3161" y="1271"/>
                  <a:pt x="3162" y="1270"/>
                  <a:pt x="3161" y="1268"/>
                </a:cubicBezTo>
                <a:cubicBezTo>
                  <a:pt x="3160" y="1265"/>
                  <a:pt x="3158" y="1263"/>
                  <a:pt x="3157" y="1260"/>
                </a:cubicBezTo>
                <a:close/>
                <a:moveTo>
                  <a:pt x="3209" y="1262"/>
                </a:moveTo>
                <a:cubicBezTo>
                  <a:pt x="3207" y="1266"/>
                  <a:pt x="3204" y="1271"/>
                  <a:pt x="3202" y="1275"/>
                </a:cubicBezTo>
                <a:cubicBezTo>
                  <a:pt x="3205" y="1275"/>
                  <a:pt x="3207" y="1276"/>
                  <a:pt x="3210" y="1275"/>
                </a:cubicBezTo>
                <a:cubicBezTo>
                  <a:pt x="3210" y="1275"/>
                  <a:pt x="3211" y="1274"/>
                  <a:pt x="3211" y="1274"/>
                </a:cubicBezTo>
                <a:cubicBezTo>
                  <a:pt x="3211" y="1271"/>
                  <a:pt x="3211" y="1268"/>
                  <a:pt x="3210" y="1266"/>
                </a:cubicBezTo>
                <a:cubicBezTo>
                  <a:pt x="3210" y="1264"/>
                  <a:pt x="3210" y="1263"/>
                  <a:pt x="3209" y="1262"/>
                </a:cubicBezTo>
                <a:close/>
                <a:moveTo>
                  <a:pt x="3157" y="1242"/>
                </a:moveTo>
                <a:cubicBezTo>
                  <a:pt x="3156" y="1242"/>
                  <a:pt x="3155" y="1242"/>
                  <a:pt x="3155" y="1242"/>
                </a:cubicBezTo>
                <a:cubicBezTo>
                  <a:pt x="3154" y="1242"/>
                  <a:pt x="3153" y="1242"/>
                  <a:pt x="3153" y="1242"/>
                </a:cubicBezTo>
                <a:cubicBezTo>
                  <a:pt x="3153" y="1242"/>
                  <a:pt x="3152" y="1241"/>
                  <a:pt x="3152" y="1240"/>
                </a:cubicBezTo>
                <a:cubicBezTo>
                  <a:pt x="3153" y="1238"/>
                  <a:pt x="3153" y="1236"/>
                  <a:pt x="3154" y="1234"/>
                </a:cubicBezTo>
                <a:cubicBezTo>
                  <a:pt x="3154" y="1234"/>
                  <a:pt x="3154" y="1234"/>
                  <a:pt x="3153" y="1234"/>
                </a:cubicBezTo>
                <a:cubicBezTo>
                  <a:pt x="3153" y="1235"/>
                  <a:pt x="3151" y="1236"/>
                  <a:pt x="3151" y="1237"/>
                </a:cubicBezTo>
                <a:cubicBezTo>
                  <a:pt x="3150" y="1238"/>
                  <a:pt x="3151" y="1243"/>
                  <a:pt x="3153" y="1244"/>
                </a:cubicBezTo>
                <a:cubicBezTo>
                  <a:pt x="3155" y="1245"/>
                  <a:pt x="3157" y="1244"/>
                  <a:pt x="3157" y="1242"/>
                </a:cubicBezTo>
                <a:close/>
                <a:moveTo>
                  <a:pt x="3156" y="1259"/>
                </a:moveTo>
                <a:cubicBezTo>
                  <a:pt x="3156" y="1260"/>
                  <a:pt x="3154" y="1261"/>
                  <a:pt x="3153" y="1262"/>
                </a:cubicBezTo>
                <a:cubicBezTo>
                  <a:pt x="3152" y="1263"/>
                  <a:pt x="3152" y="1263"/>
                  <a:pt x="3152" y="1264"/>
                </a:cubicBezTo>
                <a:cubicBezTo>
                  <a:pt x="3152" y="1267"/>
                  <a:pt x="3156" y="1271"/>
                  <a:pt x="3160" y="1271"/>
                </a:cubicBezTo>
                <a:cubicBezTo>
                  <a:pt x="3161" y="1271"/>
                  <a:pt x="3162" y="1270"/>
                  <a:pt x="3161" y="1268"/>
                </a:cubicBezTo>
                <a:cubicBezTo>
                  <a:pt x="3160" y="1265"/>
                  <a:pt x="3158" y="1262"/>
                  <a:pt x="3156" y="1259"/>
                </a:cubicBezTo>
                <a:close/>
                <a:moveTo>
                  <a:pt x="3209" y="1261"/>
                </a:moveTo>
                <a:cubicBezTo>
                  <a:pt x="3207" y="1266"/>
                  <a:pt x="3204" y="1270"/>
                  <a:pt x="3202" y="1275"/>
                </a:cubicBezTo>
                <a:cubicBezTo>
                  <a:pt x="3205" y="1275"/>
                  <a:pt x="3207" y="1275"/>
                  <a:pt x="3210" y="1275"/>
                </a:cubicBezTo>
                <a:cubicBezTo>
                  <a:pt x="3210" y="1275"/>
                  <a:pt x="3211" y="1274"/>
                  <a:pt x="3211" y="1273"/>
                </a:cubicBezTo>
                <a:cubicBezTo>
                  <a:pt x="3211" y="1270"/>
                  <a:pt x="3211" y="1268"/>
                  <a:pt x="3210" y="1266"/>
                </a:cubicBezTo>
                <a:cubicBezTo>
                  <a:pt x="3210" y="1264"/>
                  <a:pt x="3209" y="1263"/>
                  <a:pt x="3209" y="1261"/>
                </a:cubicBezTo>
                <a:close/>
                <a:moveTo>
                  <a:pt x="3156" y="1241"/>
                </a:moveTo>
                <a:cubicBezTo>
                  <a:pt x="3156" y="1242"/>
                  <a:pt x="3155" y="1242"/>
                  <a:pt x="3154" y="1242"/>
                </a:cubicBezTo>
                <a:cubicBezTo>
                  <a:pt x="3154" y="1242"/>
                  <a:pt x="3153" y="1242"/>
                  <a:pt x="3153" y="1242"/>
                </a:cubicBezTo>
                <a:cubicBezTo>
                  <a:pt x="3153" y="1241"/>
                  <a:pt x="3152" y="1241"/>
                  <a:pt x="3152" y="1240"/>
                </a:cubicBezTo>
                <a:cubicBezTo>
                  <a:pt x="3153" y="1238"/>
                  <a:pt x="3153" y="1236"/>
                  <a:pt x="3154" y="1234"/>
                </a:cubicBezTo>
                <a:cubicBezTo>
                  <a:pt x="3154" y="1234"/>
                  <a:pt x="3154" y="1234"/>
                  <a:pt x="3153" y="1234"/>
                </a:cubicBezTo>
                <a:cubicBezTo>
                  <a:pt x="3153" y="1235"/>
                  <a:pt x="3152" y="1236"/>
                  <a:pt x="3151" y="1237"/>
                </a:cubicBezTo>
                <a:cubicBezTo>
                  <a:pt x="3150" y="1238"/>
                  <a:pt x="3152" y="1243"/>
                  <a:pt x="3153" y="1244"/>
                </a:cubicBezTo>
                <a:cubicBezTo>
                  <a:pt x="3154" y="1245"/>
                  <a:pt x="3156" y="1243"/>
                  <a:pt x="3156" y="1241"/>
                </a:cubicBezTo>
                <a:close/>
                <a:moveTo>
                  <a:pt x="3209" y="1233"/>
                </a:moveTo>
                <a:cubicBezTo>
                  <a:pt x="3212" y="1229"/>
                  <a:pt x="3212" y="1229"/>
                  <a:pt x="3216" y="1228"/>
                </a:cubicBezTo>
                <a:cubicBezTo>
                  <a:pt x="3216" y="1230"/>
                  <a:pt x="3217" y="1231"/>
                  <a:pt x="3219" y="1231"/>
                </a:cubicBezTo>
                <a:cubicBezTo>
                  <a:pt x="3216" y="1233"/>
                  <a:pt x="3214" y="1234"/>
                  <a:pt x="3212" y="1235"/>
                </a:cubicBezTo>
                <a:cubicBezTo>
                  <a:pt x="3211" y="1235"/>
                  <a:pt x="3211" y="1234"/>
                  <a:pt x="3210" y="1233"/>
                </a:cubicBezTo>
                <a:cubicBezTo>
                  <a:pt x="3210" y="1233"/>
                  <a:pt x="3209" y="1233"/>
                  <a:pt x="3209" y="1233"/>
                </a:cubicBezTo>
                <a:close/>
                <a:moveTo>
                  <a:pt x="3215" y="1233"/>
                </a:moveTo>
                <a:cubicBezTo>
                  <a:pt x="3214" y="1232"/>
                  <a:pt x="3213" y="1232"/>
                  <a:pt x="3213" y="1232"/>
                </a:cubicBezTo>
                <a:cubicBezTo>
                  <a:pt x="3212" y="1232"/>
                  <a:pt x="3211" y="1233"/>
                  <a:pt x="3211" y="1233"/>
                </a:cubicBezTo>
                <a:cubicBezTo>
                  <a:pt x="3211" y="1233"/>
                  <a:pt x="3212" y="1234"/>
                  <a:pt x="3212" y="1234"/>
                </a:cubicBezTo>
                <a:cubicBezTo>
                  <a:pt x="3213" y="1234"/>
                  <a:pt x="3213" y="1233"/>
                  <a:pt x="3215" y="1233"/>
                </a:cubicBezTo>
                <a:close/>
                <a:moveTo>
                  <a:pt x="3196" y="1223"/>
                </a:moveTo>
                <a:cubicBezTo>
                  <a:pt x="3189" y="1222"/>
                  <a:pt x="3186" y="1225"/>
                  <a:pt x="3185" y="1233"/>
                </a:cubicBezTo>
                <a:cubicBezTo>
                  <a:pt x="3186" y="1231"/>
                  <a:pt x="3187" y="1228"/>
                  <a:pt x="3189" y="1226"/>
                </a:cubicBezTo>
                <a:cubicBezTo>
                  <a:pt x="3189" y="1226"/>
                  <a:pt x="3189" y="1226"/>
                  <a:pt x="3189" y="1226"/>
                </a:cubicBezTo>
                <a:cubicBezTo>
                  <a:pt x="3189" y="1227"/>
                  <a:pt x="3189" y="1228"/>
                  <a:pt x="3189" y="1229"/>
                </a:cubicBezTo>
                <a:cubicBezTo>
                  <a:pt x="3191" y="1226"/>
                  <a:pt x="3192" y="1224"/>
                  <a:pt x="3196" y="1223"/>
                </a:cubicBezTo>
                <a:close/>
                <a:moveTo>
                  <a:pt x="3239" y="1225"/>
                </a:moveTo>
                <a:cubicBezTo>
                  <a:pt x="3237" y="1226"/>
                  <a:pt x="3236" y="1228"/>
                  <a:pt x="3234" y="1229"/>
                </a:cubicBezTo>
                <a:cubicBezTo>
                  <a:pt x="3236" y="1229"/>
                  <a:pt x="3238" y="1228"/>
                  <a:pt x="3239" y="1225"/>
                </a:cubicBezTo>
                <a:close/>
                <a:moveTo>
                  <a:pt x="3206" y="1227"/>
                </a:moveTo>
                <a:cubicBezTo>
                  <a:pt x="3207" y="1226"/>
                  <a:pt x="3208" y="1224"/>
                  <a:pt x="3210" y="1223"/>
                </a:cubicBezTo>
                <a:cubicBezTo>
                  <a:pt x="3207" y="1224"/>
                  <a:pt x="3206" y="1225"/>
                  <a:pt x="3206" y="1227"/>
                </a:cubicBezTo>
                <a:close/>
                <a:moveTo>
                  <a:pt x="3216" y="1248"/>
                </a:moveTo>
                <a:cubicBezTo>
                  <a:pt x="3214" y="1248"/>
                  <a:pt x="3213" y="1249"/>
                  <a:pt x="3213" y="1250"/>
                </a:cubicBezTo>
                <a:cubicBezTo>
                  <a:pt x="3214" y="1249"/>
                  <a:pt x="3215" y="1249"/>
                  <a:pt x="3216" y="1248"/>
                </a:cubicBezTo>
                <a:close/>
                <a:moveTo>
                  <a:pt x="3215" y="1233"/>
                </a:moveTo>
                <a:cubicBezTo>
                  <a:pt x="3214" y="1232"/>
                  <a:pt x="3213" y="1232"/>
                  <a:pt x="3213" y="1232"/>
                </a:cubicBezTo>
                <a:cubicBezTo>
                  <a:pt x="3212" y="1232"/>
                  <a:pt x="3212" y="1233"/>
                  <a:pt x="3212" y="1233"/>
                </a:cubicBezTo>
                <a:cubicBezTo>
                  <a:pt x="3212" y="1234"/>
                  <a:pt x="3212" y="1234"/>
                  <a:pt x="3212" y="1234"/>
                </a:cubicBezTo>
                <a:cubicBezTo>
                  <a:pt x="3213" y="1234"/>
                  <a:pt x="3214" y="1234"/>
                  <a:pt x="3215" y="1233"/>
                </a:cubicBezTo>
                <a:close/>
                <a:moveTo>
                  <a:pt x="3506" y="1210"/>
                </a:moveTo>
                <a:cubicBezTo>
                  <a:pt x="3506" y="1210"/>
                  <a:pt x="3506" y="1210"/>
                  <a:pt x="3506" y="1210"/>
                </a:cubicBezTo>
                <a:cubicBezTo>
                  <a:pt x="3501" y="1210"/>
                  <a:pt x="3501" y="1210"/>
                  <a:pt x="3501" y="1210"/>
                </a:cubicBezTo>
                <a:cubicBezTo>
                  <a:pt x="3499" y="1212"/>
                  <a:pt x="3498" y="1213"/>
                  <a:pt x="3496" y="1214"/>
                </a:cubicBezTo>
                <a:cubicBezTo>
                  <a:pt x="3494" y="1216"/>
                  <a:pt x="3492" y="1216"/>
                  <a:pt x="3490" y="1217"/>
                </a:cubicBezTo>
                <a:cubicBezTo>
                  <a:pt x="3488" y="1218"/>
                  <a:pt x="3487" y="1219"/>
                  <a:pt x="3485" y="1220"/>
                </a:cubicBezTo>
                <a:cubicBezTo>
                  <a:pt x="3483" y="1221"/>
                  <a:pt x="3481" y="1221"/>
                  <a:pt x="3479" y="1221"/>
                </a:cubicBezTo>
                <a:cubicBezTo>
                  <a:pt x="3479" y="1221"/>
                  <a:pt x="3479" y="1221"/>
                  <a:pt x="3479" y="1232"/>
                </a:cubicBezTo>
                <a:cubicBezTo>
                  <a:pt x="3482" y="1231"/>
                  <a:pt x="3485" y="1230"/>
                  <a:pt x="3487" y="1229"/>
                </a:cubicBezTo>
                <a:cubicBezTo>
                  <a:pt x="3490" y="1228"/>
                  <a:pt x="3493" y="1226"/>
                  <a:pt x="3494" y="1225"/>
                </a:cubicBezTo>
                <a:cubicBezTo>
                  <a:pt x="3494" y="1225"/>
                  <a:pt x="3494" y="1225"/>
                  <a:pt x="3494" y="1284"/>
                </a:cubicBezTo>
                <a:cubicBezTo>
                  <a:pt x="3494" y="1284"/>
                  <a:pt x="3494" y="1284"/>
                  <a:pt x="3506" y="1284"/>
                </a:cubicBezTo>
                <a:cubicBezTo>
                  <a:pt x="3506" y="1284"/>
                  <a:pt x="3506" y="1284"/>
                  <a:pt x="3506" y="1210"/>
                </a:cubicBezTo>
                <a:close/>
                <a:moveTo>
                  <a:pt x="3627" y="1210"/>
                </a:moveTo>
                <a:cubicBezTo>
                  <a:pt x="3627" y="1210"/>
                  <a:pt x="3627" y="1210"/>
                  <a:pt x="3627" y="1210"/>
                </a:cubicBezTo>
                <a:cubicBezTo>
                  <a:pt x="3622" y="1210"/>
                  <a:pt x="3622" y="1210"/>
                  <a:pt x="3622" y="1210"/>
                </a:cubicBezTo>
                <a:cubicBezTo>
                  <a:pt x="3620" y="1212"/>
                  <a:pt x="3618" y="1213"/>
                  <a:pt x="3616" y="1214"/>
                </a:cubicBezTo>
                <a:cubicBezTo>
                  <a:pt x="3615" y="1216"/>
                  <a:pt x="3613" y="1216"/>
                  <a:pt x="3611" y="1217"/>
                </a:cubicBezTo>
                <a:cubicBezTo>
                  <a:pt x="3610" y="1218"/>
                  <a:pt x="3608" y="1219"/>
                  <a:pt x="3606" y="1220"/>
                </a:cubicBezTo>
                <a:cubicBezTo>
                  <a:pt x="3604" y="1221"/>
                  <a:pt x="3603" y="1221"/>
                  <a:pt x="3600" y="1221"/>
                </a:cubicBezTo>
                <a:cubicBezTo>
                  <a:pt x="3600" y="1221"/>
                  <a:pt x="3600" y="1221"/>
                  <a:pt x="3600" y="1232"/>
                </a:cubicBezTo>
                <a:cubicBezTo>
                  <a:pt x="3603" y="1231"/>
                  <a:pt x="3606" y="1230"/>
                  <a:pt x="3609" y="1229"/>
                </a:cubicBezTo>
                <a:cubicBezTo>
                  <a:pt x="3611" y="1228"/>
                  <a:pt x="3613" y="1226"/>
                  <a:pt x="3616" y="1225"/>
                </a:cubicBezTo>
                <a:cubicBezTo>
                  <a:pt x="3616" y="1225"/>
                  <a:pt x="3616" y="1225"/>
                  <a:pt x="3616" y="1284"/>
                </a:cubicBezTo>
                <a:cubicBezTo>
                  <a:pt x="3616" y="1284"/>
                  <a:pt x="3616" y="1284"/>
                  <a:pt x="3627" y="1284"/>
                </a:cubicBezTo>
                <a:cubicBezTo>
                  <a:pt x="3627" y="1284"/>
                  <a:pt x="3627" y="1284"/>
                  <a:pt x="3627" y="1210"/>
                </a:cubicBezTo>
                <a:close/>
                <a:moveTo>
                  <a:pt x="3674" y="1210"/>
                </a:moveTo>
                <a:cubicBezTo>
                  <a:pt x="3674" y="1210"/>
                  <a:pt x="3674" y="1210"/>
                  <a:pt x="3674" y="1210"/>
                </a:cubicBezTo>
                <a:cubicBezTo>
                  <a:pt x="3669" y="1210"/>
                  <a:pt x="3669" y="1210"/>
                  <a:pt x="3669" y="1210"/>
                </a:cubicBezTo>
                <a:cubicBezTo>
                  <a:pt x="3667" y="1212"/>
                  <a:pt x="3666" y="1213"/>
                  <a:pt x="3663" y="1214"/>
                </a:cubicBezTo>
                <a:cubicBezTo>
                  <a:pt x="3662" y="1216"/>
                  <a:pt x="3660" y="1216"/>
                  <a:pt x="3658" y="1217"/>
                </a:cubicBezTo>
                <a:cubicBezTo>
                  <a:pt x="3657" y="1218"/>
                  <a:pt x="3655" y="1219"/>
                  <a:pt x="3653" y="1220"/>
                </a:cubicBezTo>
                <a:cubicBezTo>
                  <a:pt x="3651" y="1221"/>
                  <a:pt x="3650" y="1221"/>
                  <a:pt x="3647" y="1221"/>
                </a:cubicBezTo>
                <a:cubicBezTo>
                  <a:pt x="3647" y="1221"/>
                  <a:pt x="3647" y="1221"/>
                  <a:pt x="3647" y="1232"/>
                </a:cubicBezTo>
                <a:cubicBezTo>
                  <a:pt x="3650" y="1231"/>
                  <a:pt x="3653" y="1230"/>
                  <a:pt x="3655" y="1229"/>
                </a:cubicBezTo>
                <a:cubicBezTo>
                  <a:pt x="3658" y="1228"/>
                  <a:pt x="3660" y="1226"/>
                  <a:pt x="3663" y="1225"/>
                </a:cubicBezTo>
                <a:cubicBezTo>
                  <a:pt x="3663" y="1225"/>
                  <a:pt x="3663" y="1225"/>
                  <a:pt x="3663" y="1284"/>
                </a:cubicBezTo>
                <a:cubicBezTo>
                  <a:pt x="3663" y="1284"/>
                  <a:pt x="3663" y="1284"/>
                  <a:pt x="3674" y="1284"/>
                </a:cubicBezTo>
                <a:cubicBezTo>
                  <a:pt x="3674" y="1284"/>
                  <a:pt x="3674" y="1284"/>
                  <a:pt x="3674" y="1210"/>
                </a:cubicBezTo>
                <a:close/>
                <a:moveTo>
                  <a:pt x="3720" y="1210"/>
                </a:moveTo>
                <a:cubicBezTo>
                  <a:pt x="3720" y="1210"/>
                  <a:pt x="3720" y="1210"/>
                  <a:pt x="3720" y="1210"/>
                </a:cubicBezTo>
                <a:cubicBezTo>
                  <a:pt x="3716" y="1210"/>
                  <a:pt x="3716" y="1210"/>
                  <a:pt x="3716" y="1210"/>
                </a:cubicBezTo>
                <a:cubicBezTo>
                  <a:pt x="3714" y="1212"/>
                  <a:pt x="3712" y="1213"/>
                  <a:pt x="3710" y="1214"/>
                </a:cubicBezTo>
                <a:cubicBezTo>
                  <a:pt x="3709" y="1216"/>
                  <a:pt x="3707" y="1216"/>
                  <a:pt x="3705" y="1217"/>
                </a:cubicBezTo>
                <a:cubicBezTo>
                  <a:pt x="3703" y="1218"/>
                  <a:pt x="3702" y="1218"/>
                  <a:pt x="3699" y="1219"/>
                </a:cubicBezTo>
                <a:cubicBezTo>
                  <a:pt x="3698" y="1220"/>
                  <a:pt x="3696" y="1221"/>
                  <a:pt x="3694" y="1221"/>
                </a:cubicBezTo>
                <a:cubicBezTo>
                  <a:pt x="3694" y="1221"/>
                  <a:pt x="3694" y="1221"/>
                  <a:pt x="3694" y="1232"/>
                </a:cubicBezTo>
                <a:cubicBezTo>
                  <a:pt x="3697" y="1231"/>
                  <a:pt x="3700" y="1229"/>
                  <a:pt x="3702" y="1229"/>
                </a:cubicBezTo>
                <a:cubicBezTo>
                  <a:pt x="3704" y="1228"/>
                  <a:pt x="3707" y="1226"/>
                  <a:pt x="3709" y="1225"/>
                </a:cubicBezTo>
                <a:cubicBezTo>
                  <a:pt x="3709" y="1225"/>
                  <a:pt x="3709" y="1225"/>
                  <a:pt x="3709" y="1284"/>
                </a:cubicBezTo>
                <a:cubicBezTo>
                  <a:pt x="3709" y="1284"/>
                  <a:pt x="3709" y="1284"/>
                  <a:pt x="3720" y="1284"/>
                </a:cubicBezTo>
                <a:cubicBezTo>
                  <a:pt x="3720" y="1284"/>
                  <a:pt x="3720" y="1284"/>
                  <a:pt x="3720" y="1210"/>
                </a:cubicBezTo>
                <a:close/>
                <a:moveTo>
                  <a:pt x="3526" y="1243"/>
                </a:moveTo>
                <a:cubicBezTo>
                  <a:pt x="3526" y="1243"/>
                  <a:pt x="3526" y="1243"/>
                  <a:pt x="3526" y="1243"/>
                </a:cubicBezTo>
                <a:cubicBezTo>
                  <a:pt x="3525" y="1251"/>
                  <a:pt x="3525" y="1251"/>
                  <a:pt x="3525" y="1251"/>
                </a:cubicBezTo>
                <a:cubicBezTo>
                  <a:pt x="3532" y="1251"/>
                  <a:pt x="3532" y="1254"/>
                  <a:pt x="3532" y="1257"/>
                </a:cubicBezTo>
                <a:cubicBezTo>
                  <a:pt x="3532" y="1259"/>
                  <a:pt x="3532" y="1261"/>
                  <a:pt x="3532" y="1264"/>
                </a:cubicBezTo>
                <a:cubicBezTo>
                  <a:pt x="3532" y="1267"/>
                  <a:pt x="3531" y="1269"/>
                  <a:pt x="3531" y="1271"/>
                </a:cubicBezTo>
                <a:cubicBezTo>
                  <a:pt x="3531" y="1281"/>
                  <a:pt x="3537" y="1284"/>
                  <a:pt x="3546" y="1284"/>
                </a:cubicBezTo>
                <a:cubicBezTo>
                  <a:pt x="3546" y="1284"/>
                  <a:pt x="3546" y="1284"/>
                  <a:pt x="3549" y="1284"/>
                </a:cubicBezTo>
                <a:cubicBezTo>
                  <a:pt x="3549" y="1284"/>
                  <a:pt x="3549" y="1284"/>
                  <a:pt x="3549" y="1275"/>
                </a:cubicBezTo>
                <a:cubicBezTo>
                  <a:pt x="3549" y="1275"/>
                  <a:pt x="3549" y="1275"/>
                  <a:pt x="3548" y="1275"/>
                </a:cubicBezTo>
                <a:cubicBezTo>
                  <a:pt x="3544" y="1275"/>
                  <a:pt x="3543" y="1272"/>
                  <a:pt x="3543" y="1269"/>
                </a:cubicBezTo>
                <a:cubicBezTo>
                  <a:pt x="3543" y="1267"/>
                  <a:pt x="3543" y="1266"/>
                  <a:pt x="3544" y="1264"/>
                </a:cubicBezTo>
                <a:cubicBezTo>
                  <a:pt x="3544" y="1263"/>
                  <a:pt x="3544" y="1260"/>
                  <a:pt x="3544" y="1258"/>
                </a:cubicBezTo>
                <a:cubicBezTo>
                  <a:pt x="3544" y="1251"/>
                  <a:pt x="3541" y="1248"/>
                  <a:pt x="3535" y="1247"/>
                </a:cubicBezTo>
                <a:cubicBezTo>
                  <a:pt x="3535" y="1247"/>
                  <a:pt x="3535" y="1247"/>
                  <a:pt x="3535" y="1246"/>
                </a:cubicBezTo>
                <a:cubicBezTo>
                  <a:pt x="3541" y="1245"/>
                  <a:pt x="3544" y="1243"/>
                  <a:pt x="3544" y="1236"/>
                </a:cubicBezTo>
                <a:cubicBezTo>
                  <a:pt x="3544" y="1233"/>
                  <a:pt x="3544" y="1231"/>
                  <a:pt x="3544" y="1229"/>
                </a:cubicBezTo>
                <a:cubicBezTo>
                  <a:pt x="3543" y="1228"/>
                  <a:pt x="3543" y="1226"/>
                  <a:pt x="3543" y="1225"/>
                </a:cubicBezTo>
                <a:cubicBezTo>
                  <a:pt x="3543" y="1221"/>
                  <a:pt x="3544" y="1219"/>
                  <a:pt x="3548" y="1219"/>
                </a:cubicBezTo>
                <a:cubicBezTo>
                  <a:pt x="3548" y="1219"/>
                  <a:pt x="3548" y="1219"/>
                  <a:pt x="3549" y="1219"/>
                </a:cubicBezTo>
                <a:cubicBezTo>
                  <a:pt x="3549" y="1219"/>
                  <a:pt x="3549" y="1219"/>
                  <a:pt x="3549" y="1209"/>
                </a:cubicBezTo>
                <a:cubicBezTo>
                  <a:pt x="3549" y="1209"/>
                  <a:pt x="3549" y="1209"/>
                  <a:pt x="3546" y="1209"/>
                </a:cubicBezTo>
                <a:cubicBezTo>
                  <a:pt x="3537" y="1209"/>
                  <a:pt x="3531" y="1214"/>
                  <a:pt x="3531" y="1222"/>
                </a:cubicBezTo>
                <a:cubicBezTo>
                  <a:pt x="3531" y="1224"/>
                  <a:pt x="3532" y="1227"/>
                  <a:pt x="3532" y="1230"/>
                </a:cubicBezTo>
                <a:cubicBezTo>
                  <a:pt x="3532" y="1232"/>
                  <a:pt x="3532" y="1235"/>
                  <a:pt x="3532" y="1236"/>
                </a:cubicBezTo>
                <a:cubicBezTo>
                  <a:pt x="3532" y="1239"/>
                  <a:pt x="3532" y="1242"/>
                  <a:pt x="3526" y="1243"/>
                </a:cubicBezTo>
                <a:close/>
                <a:moveTo>
                  <a:pt x="3581" y="1251"/>
                </a:moveTo>
                <a:cubicBezTo>
                  <a:pt x="3581" y="1251"/>
                  <a:pt x="3581" y="1251"/>
                  <a:pt x="3581" y="1251"/>
                </a:cubicBezTo>
                <a:cubicBezTo>
                  <a:pt x="3581" y="1243"/>
                  <a:pt x="3581" y="1243"/>
                  <a:pt x="3581" y="1243"/>
                </a:cubicBezTo>
                <a:cubicBezTo>
                  <a:pt x="3574" y="1242"/>
                  <a:pt x="3574" y="1239"/>
                  <a:pt x="3574" y="1236"/>
                </a:cubicBezTo>
                <a:cubicBezTo>
                  <a:pt x="3574" y="1235"/>
                  <a:pt x="3574" y="1232"/>
                  <a:pt x="3574" y="1230"/>
                </a:cubicBezTo>
                <a:cubicBezTo>
                  <a:pt x="3575" y="1227"/>
                  <a:pt x="3575" y="1224"/>
                  <a:pt x="3575" y="1222"/>
                </a:cubicBezTo>
                <a:cubicBezTo>
                  <a:pt x="3575" y="1214"/>
                  <a:pt x="3569" y="1209"/>
                  <a:pt x="3560" y="1209"/>
                </a:cubicBezTo>
                <a:cubicBezTo>
                  <a:pt x="3560" y="1209"/>
                  <a:pt x="3560" y="1209"/>
                  <a:pt x="3556" y="1209"/>
                </a:cubicBezTo>
                <a:cubicBezTo>
                  <a:pt x="3556" y="1209"/>
                  <a:pt x="3556" y="1209"/>
                  <a:pt x="3556" y="1219"/>
                </a:cubicBezTo>
                <a:cubicBezTo>
                  <a:pt x="3556" y="1219"/>
                  <a:pt x="3556" y="1219"/>
                  <a:pt x="3558" y="1219"/>
                </a:cubicBezTo>
                <a:cubicBezTo>
                  <a:pt x="3561" y="1219"/>
                  <a:pt x="3563" y="1221"/>
                  <a:pt x="3563" y="1225"/>
                </a:cubicBezTo>
                <a:cubicBezTo>
                  <a:pt x="3563" y="1226"/>
                  <a:pt x="3563" y="1228"/>
                  <a:pt x="3563" y="1229"/>
                </a:cubicBezTo>
                <a:cubicBezTo>
                  <a:pt x="3562" y="1231"/>
                  <a:pt x="3562" y="1233"/>
                  <a:pt x="3562" y="1236"/>
                </a:cubicBezTo>
                <a:cubicBezTo>
                  <a:pt x="3562" y="1243"/>
                  <a:pt x="3565" y="1245"/>
                  <a:pt x="3571" y="1246"/>
                </a:cubicBezTo>
                <a:cubicBezTo>
                  <a:pt x="3571" y="1246"/>
                  <a:pt x="3571" y="1246"/>
                  <a:pt x="3571" y="1247"/>
                </a:cubicBezTo>
                <a:cubicBezTo>
                  <a:pt x="3565" y="1248"/>
                  <a:pt x="3562" y="1251"/>
                  <a:pt x="3562" y="1258"/>
                </a:cubicBezTo>
                <a:cubicBezTo>
                  <a:pt x="3562" y="1260"/>
                  <a:pt x="3562" y="1263"/>
                  <a:pt x="3563" y="1264"/>
                </a:cubicBezTo>
                <a:cubicBezTo>
                  <a:pt x="3563" y="1266"/>
                  <a:pt x="3563" y="1267"/>
                  <a:pt x="3563" y="1269"/>
                </a:cubicBezTo>
                <a:cubicBezTo>
                  <a:pt x="3563" y="1272"/>
                  <a:pt x="3562" y="1275"/>
                  <a:pt x="3558" y="1275"/>
                </a:cubicBezTo>
                <a:cubicBezTo>
                  <a:pt x="3558" y="1275"/>
                  <a:pt x="3558" y="1275"/>
                  <a:pt x="3556" y="1275"/>
                </a:cubicBezTo>
                <a:cubicBezTo>
                  <a:pt x="3556" y="1275"/>
                  <a:pt x="3556" y="1275"/>
                  <a:pt x="3556" y="1284"/>
                </a:cubicBezTo>
                <a:cubicBezTo>
                  <a:pt x="3556" y="1284"/>
                  <a:pt x="3556" y="1284"/>
                  <a:pt x="3560" y="1284"/>
                </a:cubicBezTo>
                <a:cubicBezTo>
                  <a:pt x="3569" y="1284"/>
                  <a:pt x="3575" y="1281"/>
                  <a:pt x="3575" y="1271"/>
                </a:cubicBezTo>
                <a:cubicBezTo>
                  <a:pt x="3575" y="1269"/>
                  <a:pt x="3575" y="1267"/>
                  <a:pt x="3574" y="1264"/>
                </a:cubicBezTo>
                <a:cubicBezTo>
                  <a:pt x="3574" y="1261"/>
                  <a:pt x="3574" y="1259"/>
                  <a:pt x="3574" y="1257"/>
                </a:cubicBezTo>
                <a:cubicBezTo>
                  <a:pt x="3574" y="1254"/>
                  <a:pt x="3574" y="1251"/>
                  <a:pt x="3581" y="1251"/>
                </a:cubicBezTo>
                <a:close/>
                <a:moveTo>
                  <a:pt x="3764" y="1284"/>
                </a:moveTo>
                <a:cubicBezTo>
                  <a:pt x="3757" y="1284"/>
                  <a:pt x="3750" y="1281"/>
                  <a:pt x="3746" y="1275"/>
                </a:cubicBezTo>
                <a:cubicBezTo>
                  <a:pt x="3742" y="1268"/>
                  <a:pt x="3740" y="1260"/>
                  <a:pt x="3740" y="1247"/>
                </a:cubicBezTo>
                <a:cubicBezTo>
                  <a:pt x="3740" y="1234"/>
                  <a:pt x="3742" y="1224"/>
                  <a:pt x="3747" y="1218"/>
                </a:cubicBezTo>
                <a:cubicBezTo>
                  <a:pt x="3751" y="1211"/>
                  <a:pt x="3758" y="1208"/>
                  <a:pt x="3766" y="1208"/>
                </a:cubicBezTo>
                <a:cubicBezTo>
                  <a:pt x="3782" y="1208"/>
                  <a:pt x="3790" y="1220"/>
                  <a:pt x="3790" y="1246"/>
                </a:cubicBezTo>
                <a:cubicBezTo>
                  <a:pt x="3790" y="1258"/>
                  <a:pt x="3788" y="1268"/>
                  <a:pt x="3783" y="1274"/>
                </a:cubicBezTo>
                <a:cubicBezTo>
                  <a:pt x="3779" y="1281"/>
                  <a:pt x="3772" y="1284"/>
                  <a:pt x="3764" y="1284"/>
                </a:cubicBezTo>
                <a:close/>
                <a:moveTo>
                  <a:pt x="3766" y="1217"/>
                </a:moveTo>
                <a:cubicBezTo>
                  <a:pt x="3756" y="1217"/>
                  <a:pt x="3752" y="1227"/>
                  <a:pt x="3752" y="1247"/>
                </a:cubicBezTo>
                <a:cubicBezTo>
                  <a:pt x="3752" y="1266"/>
                  <a:pt x="3756" y="1274"/>
                  <a:pt x="3765" y="1274"/>
                </a:cubicBezTo>
                <a:cubicBezTo>
                  <a:pt x="3774" y="1274"/>
                  <a:pt x="3778" y="1266"/>
                  <a:pt x="3778" y="1246"/>
                </a:cubicBezTo>
                <a:cubicBezTo>
                  <a:pt x="3778" y="1227"/>
                  <a:pt x="3774" y="1217"/>
                  <a:pt x="3766" y="1217"/>
                </a:cubicBezTo>
                <a:close/>
                <a:moveTo>
                  <a:pt x="3835" y="1284"/>
                </a:moveTo>
                <a:cubicBezTo>
                  <a:pt x="3827" y="1284"/>
                  <a:pt x="3821" y="1281"/>
                  <a:pt x="3817" y="1275"/>
                </a:cubicBezTo>
                <a:cubicBezTo>
                  <a:pt x="3813" y="1268"/>
                  <a:pt x="3811" y="1260"/>
                  <a:pt x="3811" y="1247"/>
                </a:cubicBezTo>
                <a:cubicBezTo>
                  <a:pt x="3811" y="1234"/>
                  <a:pt x="3813" y="1224"/>
                  <a:pt x="3817" y="1218"/>
                </a:cubicBezTo>
                <a:cubicBezTo>
                  <a:pt x="3822" y="1211"/>
                  <a:pt x="3828" y="1208"/>
                  <a:pt x="3837" y="1208"/>
                </a:cubicBezTo>
                <a:cubicBezTo>
                  <a:pt x="3853" y="1208"/>
                  <a:pt x="3861" y="1220"/>
                  <a:pt x="3861" y="1246"/>
                </a:cubicBezTo>
                <a:cubicBezTo>
                  <a:pt x="3861" y="1258"/>
                  <a:pt x="3859" y="1268"/>
                  <a:pt x="3854" y="1274"/>
                </a:cubicBezTo>
                <a:cubicBezTo>
                  <a:pt x="3849" y="1281"/>
                  <a:pt x="3843" y="1284"/>
                  <a:pt x="3835" y="1284"/>
                </a:cubicBezTo>
                <a:close/>
                <a:moveTo>
                  <a:pt x="3836" y="1217"/>
                </a:moveTo>
                <a:cubicBezTo>
                  <a:pt x="3827" y="1217"/>
                  <a:pt x="3822" y="1227"/>
                  <a:pt x="3822" y="1247"/>
                </a:cubicBezTo>
                <a:cubicBezTo>
                  <a:pt x="3822" y="1266"/>
                  <a:pt x="3827" y="1274"/>
                  <a:pt x="3835" y="1274"/>
                </a:cubicBezTo>
                <a:cubicBezTo>
                  <a:pt x="3844" y="1274"/>
                  <a:pt x="3849" y="1266"/>
                  <a:pt x="3849" y="1246"/>
                </a:cubicBezTo>
                <a:cubicBezTo>
                  <a:pt x="3849" y="1227"/>
                  <a:pt x="3844" y="1217"/>
                  <a:pt x="3836" y="1217"/>
                </a:cubicBezTo>
                <a:close/>
                <a:moveTo>
                  <a:pt x="1980" y="1306"/>
                </a:moveTo>
                <a:cubicBezTo>
                  <a:pt x="1980" y="1306"/>
                  <a:pt x="1980" y="1306"/>
                  <a:pt x="1980" y="1306"/>
                </a:cubicBezTo>
                <a:cubicBezTo>
                  <a:pt x="1975" y="1306"/>
                  <a:pt x="1975" y="1306"/>
                  <a:pt x="1975" y="1306"/>
                </a:cubicBezTo>
                <a:cubicBezTo>
                  <a:pt x="1973" y="1308"/>
                  <a:pt x="1971" y="1309"/>
                  <a:pt x="1969" y="1310"/>
                </a:cubicBezTo>
                <a:cubicBezTo>
                  <a:pt x="1968" y="1312"/>
                  <a:pt x="1966" y="1312"/>
                  <a:pt x="1964" y="1313"/>
                </a:cubicBezTo>
                <a:cubicBezTo>
                  <a:pt x="1962" y="1314"/>
                  <a:pt x="1960" y="1315"/>
                  <a:pt x="1959" y="1316"/>
                </a:cubicBezTo>
                <a:cubicBezTo>
                  <a:pt x="1957" y="1317"/>
                  <a:pt x="1955" y="1317"/>
                  <a:pt x="1953" y="1317"/>
                </a:cubicBezTo>
                <a:cubicBezTo>
                  <a:pt x="1953" y="1317"/>
                  <a:pt x="1953" y="1317"/>
                  <a:pt x="1953" y="1328"/>
                </a:cubicBezTo>
                <a:cubicBezTo>
                  <a:pt x="1956" y="1327"/>
                  <a:pt x="1959" y="1326"/>
                  <a:pt x="1962" y="1325"/>
                </a:cubicBezTo>
                <a:cubicBezTo>
                  <a:pt x="1964" y="1324"/>
                  <a:pt x="1966" y="1322"/>
                  <a:pt x="1968" y="1321"/>
                </a:cubicBezTo>
                <a:cubicBezTo>
                  <a:pt x="1968" y="1321"/>
                  <a:pt x="1968" y="1321"/>
                  <a:pt x="1968" y="1380"/>
                </a:cubicBezTo>
                <a:cubicBezTo>
                  <a:pt x="1968" y="1380"/>
                  <a:pt x="1968" y="1380"/>
                  <a:pt x="1980" y="1380"/>
                </a:cubicBezTo>
                <a:cubicBezTo>
                  <a:pt x="1980" y="1380"/>
                  <a:pt x="1980" y="1380"/>
                  <a:pt x="1980" y="1306"/>
                </a:cubicBezTo>
                <a:close/>
                <a:moveTo>
                  <a:pt x="2027" y="1306"/>
                </a:moveTo>
                <a:cubicBezTo>
                  <a:pt x="2027" y="1306"/>
                  <a:pt x="2027" y="1306"/>
                  <a:pt x="2027" y="1306"/>
                </a:cubicBezTo>
                <a:cubicBezTo>
                  <a:pt x="2022" y="1306"/>
                  <a:pt x="2022" y="1306"/>
                  <a:pt x="2022" y="1306"/>
                </a:cubicBezTo>
                <a:cubicBezTo>
                  <a:pt x="2020" y="1308"/>
                  <a:pt x="2019" y="1309"/>
                  <a:pt x="2016" y="1310"/>
                </a:cubicBezTo>
                <a:cubicBezTo>
                  <a:pt x="2015" y="1312"/>
                  <a:pt x="2013" y="1312"/>
                  <a:pt x="2011" y="1313"/>
                </a:cubicBezTo>
                <a:cubicBezTo>
                  <a:pt x="2010" y="1314"/>
                  <a:pt x="2008" y="1315"/>
                  <a:pt x="2006" y="1316"/>
                </a:cubicBezTo>
                <a:cubicBezTo>
                  <a:pt x="2004" y="1317"/>
                  <a:pt x="2003" y="1317"/>
                  <a:pt x="2000" y="1317"/>
                </a:cubicBezTo>
                <a:cubicBezTo>
                  <a:pt x="2000" y="1317"/>
                  <a:pt x="2000" y="1317"/>
                  <a:pt x="2000" y="1328"/>
                </a:cubicBezTo>
                <a:cubicBezTo>
                  <a:pt x="2003" y="1327"/>
                  <a:pt x="2006" y="1326"/>
                  <a:pt x="2008" y="1325"/>
                </a:cubicBezTo>
                <a:cubicBezTo>
                  <a:pt x="2011" y="1324"/>
                  <a:pt x="2014" y="1322"/>
                  <a:pt x="2016" y="1321"/>
                </a:cubicBezTo>
                <a:cubicBezTo>
                  <a:pt x="2016" y="1321"/>
                  <a:pt x="2016" y="1321"/>
                  <a:pt x="2016" y="1380"/>
                </a:cubicBezTo>
                <a:cubicBezTo>
                  <a:pt x="2016" y="1380"/>
                  <a:pt x="2016" y="1380"/>
                  <a:pt x="2027" y="1380"/>
                </a:cubicBezTo>
                <a:cubicBezTo>
                  <a:pt x="2027" y="1380"/>
                  <a:pt x="2027" y="1380"/>
                  <a:pt x="2027" y="1306"/>
                </a:cubicBezTo>
                <a:close/>
                <a:moveTo>
                  <a:pt x="2074" y="1306"/>
                </a:moveTo>
                <a:cubicBezTo>
                  <a:pt x="2074" y="1306"/>
                  <a:pt x="2074" y="1306"/>
                  <a:pt x="2074" y="1306"/>
                </a:cubicBezTo>
                <a:cubicBezTo>
                  <a:pt x="2070" y="1306"/>
                  <a:pt x="2070" y="1306"/>
                  <a:pt x="2070" y="1306"/>
                </a:cubicBezTo>
                <a:cubicBezTo>
                  <a:pt x="2067" y="1308"/>
                  <a:pt x="2066" y="1309"/>
                  <a:pt x="2064" y="1310"/>
                </a:cubicBezTo>
                <a:cubicBezTo>
                  <a:pt x="2062" y="1312"/>
                  <a:pt x="2060" y="1312"/>
                  <a:pt x="2059" y="1313"/>
                </a:cubicBezTo>
                <a:cubicBezTo>
                  <a:pt x="2057" y="1314"/>
                  <a:pt x="2055" y="1314"/>
                  <a:pt x="2053" y="1315"/>
                </a:cubicBezTo>
                <a:cubicBezTo>
                  <a:pt x="2052" y="1316"/>
                  <a:pt x="2049" y="1317"/>
                  <a:pt x="2048" y="1317"/>
                </a:cubicBezTo>
                <a:cubicBezTo>
                  <a:pt x="2048" y="1317"/>
                  <a:pt x="2048" y="1317"/>
                  <a:pt x="2048" y="1328"/>
                </a:cubicBezTo>
                <a:cubicBezTo>
                  <a:pt x="2051" y="1327"/>
                  <a:pt x="2054" y="1325"/>
                  <a:pt x="2056" y="1325"/>
                </a:cubicBezTo>
                <a:cubicBezTo>
                  <a:pt x="2058" y="1324"/>
                  <a:pt x="2061" y="1322"/>
                  <a:pt x="2062" y="1321"/>
                </a:cubicBezTo>
                <a:cubicBezTo>
                  <a:pt x="2062" y="1321"/>
                  <a:pt x="2062" y="1321"/>
                  <a:pt x="2062" y="1380"/>
                </a:cubicBezTo>
                <a:cubicBezTo>
                  <a:pt x="2062" y="1380"/>
                  <a:pt x="2062" y="1380"/>
                  <a:pt x="2074" y="1380"/>
                </a:cubicBezTo>
                <a:cubicBezTo>
                  <a:pt x="2074" y="1380"/>
                  <a:pt x="2074" y="1380"/>
                  <a:pt x="2074" y="1306"/>
                </a:cubicBezTo>
                <a:close/>
                <a:moveTo>
                  <a:pt x="2119" y="1380"/>
                </a:moveTo>
                <a:cubicBezTo>
                  <a:pt x="2111" y="1380"/>
                  <a:pt x="2105" y="1377"/>
                  <a:pt x="2100" y="1371"/>
                </a:cubicBezTo>
                <a:cubicBezTo>
                  <a:pt x="2097" y="1364"/>
                  <a:pt x="2095" y="1356"/>
                  <a:pt x="2095" y="1343"/>
                </a:cubicBezTo>
                <a:cubicBezTo>
                  <a:pt x="2095" y="1330"/>
                  <a:pt x="2097" y="1320"/>
                  <a:pt x="2101" y="1314"/>
                </a:cubicBezTo>
                <a:cubicBezTo>
                  <a:pt x="2106" y="1307"/>
                  <a:pt x="2112" y="1304"/>
                  <a:pt x="2121" y="1304"/>
                </a:cubicBezTo>
                <a:cubicBezTo>
                  <a:pt x="2137" y="1304"/>
                  <a:pt x="2145" y="1316"/>
                  <a:pt x="2145" y="1342"/>
                </a:cubicBezTo>
                <a:cubicBezTo>
                  <a:pt x="2145" y="1354"/>
                  <a:pt x="2143" y="1364"/>
                  <a:pt x="2138" y="1370"/>
                </a:cubicBezTo>
                <a:cubicBezTo>
                  <a:pt x="2133" y="1377"/>
                  <a:pt x="2127" y="1380"/>
                  <a:pt x="2119" y="1380"/>
                </a:cubicBezTo>
                <a:close/>
                <a:moveTo>
                  <a:pt x="2120" y="1313"/>
                </a:moveTo>
                <a:cubicBezTo>
                  <a:pt x="2111" y="1313"/>
                  <a:pt x="2106" y="1323"/>
                  <a:pt x="2106" y="1343"/>
                </a:cubicBezTo>
                <a:cubicBezTo>
                  <a:pt x="2106" y="1362"/>
                  <a:pt x="2111" y="1370"/>
                  <a:pt x="2119" y="1370"/>
                </a:cubicBezTo>
                <a:cubicBezTo>
                  <a:pt x="2128" y="1370"/>
                  <a:pt x="2133" y="1362"/>
                  <a:pt x="2133" y="1342"/>
                </a:cubicBezTo>
                <a:cubicBezTo>
                  <a:pt x="2133" y="1323"/>
                  <a:pt x="2128" y="1313"/>
                  <a:pt x="2120" y="1313"/>
                </a:cubicBezTo>
                <a:close/>
                <a:moveTo>
                  <a:pt x="2190" y="1380"/>
                </a:moveTo>
                <a:cubicBezTo>
                  <a:pt x="2182" y="1380"/>
                  <a:pt x="2176" y="1377"/>
                  <a:pt x="2172" y="1371"/>
                </a:cubicBezTo>
                <a:cubicBezTo>
                  <a:pt x="2168" y="1364"/>
                  <a:pt x="2166" y="1356"/>
                  <a:pt x="2166" y="1343"/>
                </a:cubicBezTo>
                <a:cubicBezTo>
                  <a:pt x="2166" y="1330"/>
                  <a:pt x="2168" y="1320"/>
                  <a:pt x="2172" y="1314"/>
                </a:cubicBezTo>
                <a:cubicBezTo>
                  <a:pt x="2177" y="1307"/>
                  <a:pt x="2183" y="1304"/>
                  <a:pt x="2192" y="1304"/>
                </a:cubicBezTo>
                <a:cubicBezTo>
                  <a:pt x="2208" y="1304"/>
                  <a:pt x="2216" y="1316"/>
                  <a:pt x="2216" y="1342"/>
                </a:cubicBezTo>
                <a:cubicBezTo>
                  <a:pt x="2216" y="1354"/>
                  <a:pt x="2214" y="1364"/>
                  <a:pt x="2209" y="1370"/>
                </a:cubicBezTo>
                <a:cubicBezTo>
                  <a:pt x="2204" y="1377"/>
                  <a:pt x="2198" y="1380"/>
                  <a:pt x="2190" y="1380"/>
                </a:cubicBezTo>
                <a:close/>
                <a:moveTo>
                  <a:pt x="2191" y="1313"/>
                </a:moveTo>
                <a:cubicBezTo>
                  <a:pt x="2182" y="1313"/>
                  <a:pt x="2177" y="1323"/>
                  <a:pt x="2177" y="1343"/>
                </a:cubicBezTo>
                <a:cubicBezTo>
                  <a:pt x="2177" y="1362"/>
                  <a:pt x="2182" y="1370"/>
                  <a:pt x="2190" y="1370"/>
                </a:cubicBezTo>
                <a:cubicBezTo>
                  <a:pt x="2199" y="1370"/>
                  <a:pt x="2204" y="1362"/>
                  <a:pt x="2204" y="1342"/>
                </a:cubicBezTo>
                <a:cubicBezTo>
                  <a:pt x="2204" y="1323"/>
                  <a:pt x="2199" y="1313"/>
                  <a:pt x="2191" y="1313"/>
                </a:cubicBezTo>
                <a:close/>
                <a:moveTo>
                  <a:pt x="2403" y="1380"/>
                </a:moveTo>
                <a:cubicBezTo>
                  <a:pt x="2395" y="1380"/>
                  <a:pt x="2389" y="1377"/>
                  <a:pt x="2385" y="1370"/>
                </a:cubicBezTo>
                <a:cubicBezTo>
                  <a:pt x="2380" y="1364"/>
                  <a:pt x="2378" y="1355"/>
                  <a:pt x="2378" y="1343"/>
                </a:cubicBezTo>
                <a:cubicBezTo>
                  <a:pt x="2378" y="1330"/>
                  <a:pt x="2380" y="1320"/>
                  <a:pt x="2385" y="1313"/>
                </a:cubicBezTo>
                <a:cubicBezTo>
                  <a:pt x="2389" y="1306"/>
                  <a:pt x="2396" y="1304"/>
                  <a:pt x="2405" y="1304"/>
                </a:cubicBezTo>
                <a:cubicBezTo>
                  <a:pt x="2421" y="1304"/>
                  <a:pt x="2429" y="1316"/>
                  <a:pt x="2429" y="1341"/>
                </a:cubicBezTo>
                <a:cubicBezTo>
                  <a:pt x="2429" y="1354"/>
                  <a:pt x="2427" y="1364"/>
                  <a:pt x="2422" y="1370"/>
                </a:cubicBezTo>
                <a:cubicBezTo>
                  <a:pt x="2417" y="1377"/>
                  <a:pt x="2411" y="1380"/>
                  <a:pt x="2403" y="1380"/>
                </a:cubicBezTo>
                <a:close/>
                <a:moveTo>
                  <a:pt x="2404" y="1313"/>
                </a:moveTo>
                <a:cubicBezTo>
                  <a:pt x="2395" y="1313"/>
                  <a:pt x="2391" y="1323"/>
                  <a:pt x="2391" y="1342"/>
                </a:cubicBezTo>
                <a:cubicBezTo>
                  <a:pt x="2391" y="1361"/>
                  <a:pt x="2395" y="1370"/>
                  <a:pt x="2404" y="1370"/>
                </a:cubicBezTo>
                <a:cubicBezTo>
                  <a:pt x="2412" y="1370"/>
                  <a:pt x="2417" y="1361"/>
                  <a:pt x="2417" y="1342"/>
                </a:cubicBezTo>
                <a:cubicBezTo>
                  <a:pt x="2417" y="1323"/>
                  <a:pt x="2413" y="1313"/>
                  <a:pt x="2404" y="1313"/>
                </a:cubicBezTo>
                <a:close/>
                <a:moveTo>
                  <a:pt x="2521" y="1380"/>
                </a:moveTo>
                <a:cubicBezTo>
                  <a:pt x="2513" y="1380"/>
                  <a:pt x="2507" y="1377"/>
                  <a:pt x="2503" y="1370"/>
                </a:cubicBezTo>
                <a:cubicBezTo>
                  <a:pt x="2499" y="1364"/>
                  <a:pt x="2496" y="1355"/>
                  <a:pt x="2496" y="1343"/>
                </a:cubicBezTo>
                <a:cubicBezTo>
                  <a:pt x="2496" y="1330"/>
                  <a:pt x="2499" y="1320"/>
                  <a:pt x="2503" y="1313"/>
                </a:cubicBezTo>
                <a:cubicBezTo>
                  <a:pt x="2507" y="1306"/>
                  <a:pt x="2514" y="1304"/>
                  <a:pt x="2523" y="1304"/>
                </a:cubicBezTo>
                <a:cubicBezTo>
                  <a:pt x="2539" y="1304"/>
                  <a:pt x="2547" y="1316"/>
                  <a:pt x="2547" y="1341"/>
                </a:cubicBezTo>
                <a:cubicBezTo>
                  <a:pt x="2547" y="1354"/>
                  <a:pt x="2545" y="1364"/>
                  <a:pt x="2541" y="1370"/>
                </a:cubicBezTo>
                <a:cubicBezTo>
                  <a:pt x="2535" y="1377"/>
                  <a:pt x="2530" y="1380"/>
                  <a:pt x="2521" y="1380"/>
                </a:cubicBezTo>
                <a:close/>
                <a:moveTo>
                  <a:pt x="2522" y="1313"/>
                </a:moveTo>
                <a:cubicBezTo>
                  <a:pt x="2513" y="1313"/>
                  <a:pt x="2509" y="1323"/>
                  <a:pt x="2509" y="1342"/>
                </a:cubicBezTo>
                <a:cubicBezTo>
                  <a:pt x="2509" y="1361"/>
                  <a:pt x="2513" y="1370"/>
                  <a:pt x="2522" y="1370"/>
                </a:cubicBezTo>
                <a:cubicBezTo>
                  <a:pt x="2530" y="1370"/>
                  <a:pt x="2535" y="1361"/>
                  <a:pt x="2535" y="1342"/>
                </a:cubicBezTo>
                <a:cubicBezTo>
                  <a:pt x="2535" y="1323"/>
                  <a:pt x="2531" y="1313"/>
                  <a:pt x="2522" y="1313"/>
                </a:cubicBezTo>
                <a:close/>
                <a:moveTo>
                  <a:pt x="2476" y="1306"/>
                </a:moveTo>
                <a:cubicBezTo>
                  <a:pt x="2476" y="1306"/>
                  <a:pt x="2476" y="1306"/>
                  <a:pt x="2476" y="1306"/>
                </a:cubicBezTo>
                <a:cubicBezTo>
                  <a:pt x="2471" y="1306"/>
                  <a:pt x="2471" y="1306"/>
                  <a:pt x="2471" y="1306"/>
                </a:cubicBezTo>
                <a:cubicBezTo>
                  <a:pt x="2469" y="1308"/>
                  <a:pt x="2467" y="1309"/>
                  <a:pt x="2465" y="1310"/>
                </a:cubicBezTo>
                <a:cubicBezTo>
                  <a:pt x="2464" y="1312"/>
                  <a:pt x="2462" y="1312"/>
                  <a:pt x="2460" y="1313"/>
                </a:cubicBezTo>
                <a:cubicBezTo>
                  <a:pt x="2459" y="1314"/>
                  <a:pt x="2457" y="1314"/>
                  <a:pt x="2455" y="1315"/>
                </a:cubicBezTo>
                <a:cubicBezTo>
                  <a:pt x="2453" y="1316"/>
                  <a:pt x="2451" y="1317"/>
                  <a:pt x="2449" y="1317"/>
                </a:cubicBezTo>
                <a:cubicBezTo>
                  <a:pt x="2449" y="1317"/>
                  <a:pt x="2449" y="1317"/>
                  <a:pt x="2449" y="1328"/>
                </a:cubicBezTo>
                <a:cubicBezTo>
                  <a:pt x="2452" y="1327"/>
                  <a:pt x="2455" y="1325"/>
                  <a:pt x="2457" y="1325"/>
                </a:cubicBezTo>
                <a:cubicBezTo>
                  <a:pt x="2460" y="1324"/>
                  <a:pt x="2462" y="1322"/>
                  <a:pt x="2465" y="1321"/>
                </a:cubicBezTo>
                <a:cubicBezTo>
                  <a:pt x="2465" y="1321"/>
                  <a:pt x="2465" y="1321"/>
                  <a:pt x="2465" y="1380"/>
                </a:cubicBezTo>
                <a:cubicBezTo>
                  <a:pt x="2465" y="1380"/>
                  <a:pt x="2465" y="1380"/>
                  <a:pt x="2476" y="1380"/>
                </a:cubicBezTo>
                <a:cubicBezTo>
                  <a:pt x="2476" y="1380"/>
                  <a:pt x="2476" y="1380"/>
                  <a:pt x="2476" y="1306"/>
                </a:cubicBezTo>
                <a:close/>
                <a:moveTo>
                  <a:pt x="2592" y="1380"/>
                </a:moveTo>
                <a:cubicBezTo>
                  <a:pt x="2584" y="1380"/>
                  <a:pt x="2578" y="1377"/>
                  <a:pt x="2574" y="1371"/>
                </a:cubicBezTo>
                <a:cubicBezTo>
                  <a:pt x="2570" y="1364"/>
                  <a:pt x="2567" y="1356"/>
                  <a:pt x="2567" y="1343"/>
                </a:cubicBezTo>
                <a:cubicBezTo>
                  <a:pt x="2567" y="1330"/>
                  <a:pt x="2570" y="1320"/>
                  <a:pt x="2574" y="1314"/>
                </a:cubicBezTo>
                <a:cubicBezTo>
                  <a:pt x="2578" y="1307"/>
                  <a:pt x="2585" y="1304"/>
                  <a:pt x="2594" y="1304"/>
                </a:cubicBezTo>
                <a:cubicBezTo>
                  <a:pt x="2610" y="1304"/>
                  <a:pt x="2618" y="1316"/>
                  <a:pt x="2618" y="1342"/>
                </a:cubicBezTo>
                <a:cubicBezTo>
                  <a:pt x="2618" y="1354"/>
                  <a:pt x="2616" y="1364"/>
                  <a:pt x="2612" y="1370"/>
                </a:cubicBezTo>
                <a:cubicBezTo>
                  <a:pt x="2606" y="1377"/>
                  <a:pt x="2601" y="1380"/>
                  <a:pt x="2592" y="1380"/>
                </a:cubicBezTo>
                <a:close/>
                <a:moveTo>
                  <a:pt x="2593" y="1313"/>
                </a:moveTo>
                <a:cubicBezTo>
                  <a:pt x="2584" y="1313"/>
                  <a:pt x="2579" y="1323"/>
                  <a:pt x="2579" y="1343"/>
                </a:cubicBezTo>
                <a:cubicBezTo>
                  <a:pt x="2579" y="1362"/>
                  <a:pt x="2584" y="1370"/>
                  <a:pt x="2592" y="1370"/>
                </a:cubicBezTo>
                <a:cubicBezTo>
                  <a:pt x="2601" y="1370"/>
                  <a:pt x="2606" y="1362"/>
                  <a:pt x="2606" y="1342"/>
                </a:cubicBezTo>
                <a:cubicBezTo>
                  <a:pt x="2606" y="1323"/>
                  <a:pt x="2601" y="1313"/>
                  <a:pt x="2593" y="1313"/>
                </a:cubicBezTo>
                <a:close/>
                <a:moveTo>
                  <a:pt x="2639" y="1339"/>
                </a:moveTo>
                <a:cubicBezTo>
                  <a:pt x="2639" y="1339"/>
                  <a:pt x="2639" y="1339"/>
                  <a:pt x="2639" y="1339"/>
                </a:cubicBezTo>
                <a:cubicBezTo>
                  <a:pt x="2638" y="1347"/>
                  <a:pt x="2638" y="1347"/>
                  <a:pt x="2638" y="1347"/>
                </a:cubicBezTo>
                <a:cubicBezTo>
                  <a:pt x="2645" y="1347"/>
                  <a:pt x="2646" y="1350"/>
                  <a:pt x="2646" y="1353"/>
                </a:cubicBezTo>
                <a:cubicBezTo>
                  <a:pt x="2646" y="1355"/>
                  <a:pt x="2645" y="1357"/>
                  <a:pt x="2645" y="1360"/>
                </a:cubicBezTo>
                <a:cubicBezTo>
                  <a:pt x="2645" y="1363"/>
                  <a:pt x="2644" y="1365"/>
                  <a:pt x="2644" y="1367"/>
                </a:cubicBezTo>
                <a:cubicBezTo>
                  <a:pt x="2644" y="1377"/>
                  <a:pt x="2650" y="1380"/>
                  <a:pt x="2659" y="1380"/>
                </a:cubicBezTo>
                <a:cubicBezTo>
                  <a:pt x="2659" y="1380"/>
                  <a:pt x="2659" y="1380"/>
                  <a:pt x="2663" y="1380"/>
                </a:cubicBezTo>
                <a:cubicBezTo>
                  <a:pt x="2663" y="1380"/>
                  <a:pt x="2663" y="1380"/>
                  <a:pt x="2663" y="1371"/>
                </a:cubicBezTo>
                <a:cubicBezTo>
                  <a:pt x="2663" y="1371"/>
                  <a:pt x="2663" y="1371"/>
                  <a:pt x="2661" y="1371"/>
                </a:cubicBezTo>
                <a:cubicBezTo>
                  <a:pt x="2658" y="1371"/>
                  <a:pt x="2656" y="1368"/>
                  <a:pt x="2656" y="1365"/>
                </a:cubicBezTo>
                <a:cubicBezTo>
                  <a:pt x="2656" y="1363"/>
                  <a:pt x="2656" y="1362"/>
                  <a:pt x="2657" y="1360"/>
                </a:cubicBezTo>
                <a:cubicBezTo>
                  <a:pt x="2657" y="1359"/>
                  <a:pt x="2657" y="1356"/>
                  <a:pt x="2657" y="1354"/>
                </a:cubicBezTo>
                <a:cubicBezTo>
                  <a:pt x="2657" y="1347"/>
                  <a:pt x="2654" y="1344"/>
                  <a:pt x="2649" y="1343"/>
                </a:cubicBezTo>
                <a:cubicBezTo>
                  <a:pt x="2649" y="1343"/>
                  <a:pt x="2649" y="1343"/>
                  <a:pt x="2649" y="1342"/>
                </a:cubicBezTo>
                <a:cubicBezTo>
                  <a:pt x="2654" y="1341"/>
                  <a:pt x="2657" y="1339"/>
                  <a:pt x="2657" y="1332"/>
                </a:cubicBezTo>
                <a:cubicBezTo>
                  <a:pt x="2657" y="1329"/>
                  <a:pt x="2657" y="1327"/>
                  <a:pt x="2657" y="1325"/>
                </a:cubicBezTo>
                <a:cubicBezTo>
                  <a:pt x="2656" y="1324"/>
                  <a:pt x="2656" y="1322"/>
                  <a:pt x="2656" y="1321"/>
                </a:cubicBezTo>
                <a:cubicBezTo>
                  <a:pt x="2656" y="1317"/>
                  <a:pt x="2658" y="1315"/>
                  <a:pt x="2661" y="1315"/>
                </a:cubicBezTo>
                <a:cubicBezTo>
                  <a:pt x="2661" y="1315"/>
                  <a:pt x="2661" y="1315"/>
                  <a:pt x="2663" y="1315"/>
                </a:cubicBezTo>
                <a:cubicBezTo>
                  <a:pt x="2663" y="1315"/>
                  <a:pt x="2663" y="1315"/>
                  <a:pt x="2663" y="1305"/>
                </a:cubicBezTo>
                <a:cubicBezTo>
                  <a:pt x="2663" y="1305"/>
                  <a:pt x="2663" y="1305"/>
                  <a:pt x="2659" y="1305"/>
                </a:cubicBezTo>
                <a:cubicBezTo>
                  <a:pt x="2650" y="1305"/>
                  <a:pt x="2644" y="1310"/>
                  <a:pt x="2644" y="1318"/>
                </a:cubicBezTo>
                <a:cubicBezTo>
                  <a:pt x="2644" y="1320"/>
                  <a:pt x="2645" y="1323"/>
                  <a:pt x="2645" y="1326"/>
                </a:cubicBezTo>
                <a:cubicBezTo>
                  <a:pt x="2645" y="1328"/>
                  <a:pt x="2646" y="1331"/>
                  <a:pt x="2646" y="1332"/>
                </a:cubicBezTo>
                <a:cubicBezTo>
                  <a:pt x="2646" y="1335"/>
                  <a:pt x="2645" y="1338"/>
                  <a:pt x="2639" y="1339"/>
                </a:cubicBezTo>
                <a:close/>
                <a:moveTo>
                  <a:pt x="2694" y="1347"/>
                </a:moveTo>
                <a:cubicBezTo>
                  <a:pt x="2694" y="1347"/>
                  <a:pt x="2694" y="1347"/>
                  <a:pt x="2694" y="1347"/>
                </a:cubicBezTo>
                <a:cubicBezTo>
                  <a:pt x="2694" y="1339"/>
                  <a:pt x="2694" y="1339"/>
                  <a:pt x="2694" y="1339"/>
                </a:cubicBezTo>
                <a:cubicBezTo>
                  <a:pt x="2687" y="1338"/>
                  <a:pt x="2687" y="1335"/>
                  <a:pt x="2687" y="1332"/>
                </a:cubicBezTo>
                <a:cubicBezTo>
                  <a:pt x="2687" y="1331"/>
                  <a:pt x="2687" y="1328"/>
                  <a:pt x="2687" y="1326"/>
                </a:cubicBezTo>
                <a:cubicBezTo>
                  <a:pt x="2688" y="1323"/>
                  <a:pt x="2688" y="1320"/>
                  <a:pt x="2688" y="1318"/>
                </a:cubicBezTo>
                <a:cubicBezTo>
                  <a:pt x="2688" y="1310"/>
                  <a:pt x="2683" y="1305"/>
                  <a:pt x="2673" y="1305"/>
                </a:cubicBezTo>
                <a:cubicBezTo>
                  <a:pt x="2673" y="1305"/>
                  <a:pt x="2673" y="1305"/>
                  <a:pt x="2670" y="1305"/>
                </a:cubicBezTo>
                <a:cubicBezTo>
                  <a:pt x="2670" y="1305"/>
                  <a:pt x="2670" y="1305"/>
                  <a:pt x="2670" y="1315"/>
                </a:cubicBezTo>
                <a:cubicBezTo>
                  <a:pt x="2670" y="1315"/>
                  <a:pt x="2670" y="1315"/>
                  <a:pt x="2671" y="1315"/>
                </a:cubicBezTo>
                <a:cubicBezTo>
                  <a:pt x="2675" y="1315"/>
                  <a:pt x="2676" y="1317"/>
                  <a:pt x="2676" y="1321"/>
                </a:cubicBezTo>
                <a:cubicBezTo>
                  <a:pt x="2676" y="1322"/>
                  <a:pt x="2676" y="1324"/>
                  <a:pt x="2676" y="1325"/>
                </a:cubicBezTo>
                <a:cubicBezTo>
                  <a:pt x="2676" y="1327"/>
                  <a:pt x="2676" y="1329"/>
                  <a:pt x="2676" y="1332"/>
                </a:cubicBezTo>
                <a:cubicBezTo>
                  <a:pt x="2676" y="1339"/>
                  <a:pt x="2678" y="1341"/>
                  <a:pt x="2684" y="1342"/>
                </a:cubicBezTo>
                <a:cubicBezTo>
                  <a:pt x="2684" y="1342"/>
                  <a:pt x="2684" y="1342"/>
                  <a:pt x="2684" y="1343"/>
                </a:cubicBezTo>
                <a:cubicBezTo>
                  <a:pt x="2678" y="1344"/>
                  <a:pt x="2676" y="1347"/>
                  <a:pt x="2676" y="1354"/>
                </a:cubicBezTo>
                <a:cubicBezTo>
                  <a:pt x="2676" y="1356"/>
                  <a:pt x="2676" y="1359"/>
                  <a:pt x="2676" y="1360"/>
                </a:cubicBezTo>
                <a:cubicBezTo>
                  <a:pt x="2676" y="1362"/>
                  <a:pt x="2676" y="1363"/>
                  <a:pt x="2676" y="1365"/>
                </a:cubicBezTo>
                <a:cubicBezTo>
                  <a:pt x="2676" y="1368"/>
                  <a:pt x="2675" y="1371"/>
                  <a:pt x="2671" y="1371"/>
                </a:cubicBezTo>
                <a:cubicBezTo>
                  <a:pt x="2671" y="1371"/>
                  <a:pt x="2671" y="1371"/>
                  <a:pt x="2670" y="1371"/>
                </a:cubicBezTo>
                <a:cubicBezTo>
                  <a:pt x="2670" y="1371"/>
                  <a:pt x="2670" y="1371"/>
                  <a:pt x="2670" y="1380"/>
                </a:cubicBezTo>
                <a:cubicBezTo>
                  <a:pt x="2670" y="1380"/>
                  <a:pt x="2670" y="1380"/>
                  <a:pt x="2673" y="1380"/>
                </a:cubicBezTo>
                <a:cubicBezTo>
                  <a:pt x="2682" y="1380"/>
                  <a:pt x="2688" y="1377"/>
                  <a:pt x="2688" y="1367"/>
                </a:cubicBezTo>
                <a:cubicBezTo>
                  <a:pt x="2688" y="1365"/>
                  <a:pt x="2688" y="1363"/>
                  <a:pt x="2687" y="1360"/>
                </a:cubicBezTo>
                <a:cubicBezTo>
                  <a:pt x="2687" y="1357"/>
                  <a:pt x="2687" y="1355"/>
                  <a:pt x="2687" y="1353"/>
                </a:cubicBezTo>
                <a:cubicBezTo>
                  <a:pt x="2687" y="1350"/>
                  <a:pt x="2687" y="1347"/>
                  <a:pt x="2694" y="1347"/>
                </a:cubicBezTo>
                <a:close/>
                <a:moveTo>
                  <a:pt x="2814" y="1380"/>
                </a:moveTo>
                <a:cubicBezTo>
                  <a:pt x="2807" y="1380"/>
                  <a:pt x="2800" y="1377"/>
                  <a:pt x="2796" y="1371"/>
                </a:cubicBezTo>
                <a:cubicBezTo>
                  <a:pt x="2792" y="1364"/>
                  <a:pt x="2790" y="1356"/>
                  <a:pt x="2790" y="1343"/>
                </a:cubicBezTo>
                <a:cubicBezTo>
                  <a:pt x="2790" y="1330"/>
                  <a:pt x="2792" y="1320"/>
                  <a:pt x="2796" y="1314"/>
                </a:cubicBezTo>
                <a:cubicBezTo>
                  <a:pt x="2801" y="1307"/>
                  <a:pt x="2807" y="1304"/>
                  <a:pt x="2816" y="1304"/>
                </a:cubicBezTo>
                <a:cubicBezTo>
                  <a:pt x="2832" y="1304"/>
                  <a:pt x="2840" y="1316"/>
                  <a:pt x="2840" y="1342"/>
                </a:cubicBezTo>
                <a:cubicBezTo>
                  <a:pt x="2840" y="1354"/>
                  <a:pt x="2838" y="1364"/>
                  <a:pt x="2833" y="1370"/>
                </a:cubicBezTo>
                <a:cubicBezTo>
                  <a:pt x="2829" y="1377"/>
                  <a:pt x="2822" y="1380"/>
                  <a:pt x="2814" y="1380"/>
                </a:cubicBezTo>
                <a:close/>
                <a:moveTo>
                  <a:pt x="2815" y="1313"/>
                </a:moveTo>
                <a:cubicBezTo>
                  <a:pt x="2806" y="1313"/>
                  <a:pt x="2801" y="1323"/>
                  <a:pt x="2801" y="1343"/>
                </a:cubicBezTo>
                <a:cubicBezTo>
                  <a:pt x="2801" y="1362"/>
                  <a:pt x="2806" y="1370"/>
                  <a:pt x="2815" y="1370"/>
                </a:cubicBezTo>
                <a:cubicBezTo>
                  <a:pt x="2824" y="1370"/>
                  <a:pt x="2828" y="1362"/>
                  <a:pt x="2828" y="1342"/>
                </a:cubicBezTo>
                <a:cubicBezTo>
                  <a:pt x="2828" y="1323"/>
                  <a:pt x="2824" y="1313"/>
                  <a:pt x="2815" y="1313"/>
                </a:cubicBezTo>
                <a:close/>
                <a:moveTo>
                  <a:pt x="2888" y="1306"/>
                </a:moveTo>
                <a:cubicBezTo>
                  <a:pt x="2888" y="1306"/>
                  <a:pt x="2888" y="1306"/>
                  <a:pt x="2888" y="1306"/>
                </a:cubicBezTo>
                <a:cubicBezTo>
                  <a:pt x="2883" y="1306"/>
                  <a:pt x="2883" y="1306"/>
                  <a:pt x="2883" y="1306"/>
                </a:cubicBezTo>
                <a:cubicBezTo>
                  <a:pt x="2881" y="1308"/>
                  <a:pt x="2879" y="1309"/>
                  <a:pt x="2877" y="1310"/>
                </a:cubicBezTo>
                <a:cubicBezTo>
                  <a:pt x="2875" y="1312"/>
                  <a:pt x="2873" y="1312"/>
                  <a:pt x="2872" y="1313"/>
                </a:cubicBezTo>
                <a:cubicBezTo>
                  <a:pt x="2870" y="1314"/>
                  <a:pt x="2868" y="1314"/>
                  <a:pt x="2867" y="1315"/>
                </a:cubicBezTo>
                <a:cubicBezTo>
                  <a:pt x="2864" y="1316"/>
                  <a:pt x="2863" y="1317"/>
                  <a:pt x="2861" y="1317"/>
                </a:cubicBezTo>
                <a:cubicBezTo>
                  <a:pt x="2861" y="1317"/>
                  <a:pt x="2861" y="1317"/>
                  <a:pt x="2861" y="1328"/>
                </a:cubicBezTo>
                <a:cubicBezTo>
                  <a:pt x="2864" y="1327"/>
                  <a:pt x="2867" y="1325"/>
                  <a:pt x="2869" y="1325"/>
                </a:cubicBezTo>
                <a:cubicBezTo>
                  <a:pt x="2872" y="1324"/>
                  <a:pt x="2874" y="1322"/>
                  <a:pt x="2876" y="1321"/>
                </a:cubicBezTo>
                <a:cubicBezTo>
                  <a:pt x="2876" y="1321"/>
                  <a:pt x="2876" y="1321"/>
                  <a:pt x="2876" y="1380"/>
                </a:cubicBezTo>
                <a:cubicBezTo>
                  <a:pt x="2876" y="1380"/>
                  <a:pt x="2876" y="1380"/>
                  <a:pt x="2888" y="1380"/>
                </a:cubicBezTo>
                <a:cubicBezTo>
                  <a:pt x="2888" y="1380"/>
                  <a:pt x="2888" y="1380"/>
                  <a:pt x="2888" y="1306"/>
                </a:cubicBezTo>
                <a:close/>
                <a:moveTo>
                  <a:pt x="2720" y="1380"/>
                </a:moveTo>
                <a:cubicBezTo>
                  <a:pt x="2723" y="1361"/>
                  <a:pt x="2723" y="1361"/>
                  <a:pt x="2723" y="1361"/>
                </a:cubicBezTo>
                <a:cubicBezTo>
                  <a:pt x="2714" y="1361"/>
                  <a:pt x="2714" y="1361"/>
                  <a:pt x="2714" y="1361"/>
                </a:cubicBezTo>
                <a:cubicBezTo>
                  <a:pt x="2714" y="1349"/>
                  <a:pt x="2714" y="1349"/>
                  <a:pt x="2714" y="1349"/>
                </a:cubicBezTo>
                <a:cubicBezTo>
                  <a:pt x="2725" y="1349"/>
                  <a:pt x="2725" y="1349"/>
                  <a:pt x="2725" y="1349"/>
                </a:cubicBezTo>
                <a:cubicBezTo>
                  <a:pt x="2727" y="1338"/>
                  <a:pt x="2727" y="1338"/>
                  <a:pt x="2727" y="1338"/>
                </a:cubicBezTo>
                <a:cubicBezTo>
                  <a:pt x="2717" y="1338"/>
                  <a:pt x="2717" y="1338"/>
                  <a:pt x="2717" y="1338"/>
                </a:cubicBezTo>
                <a:cubicBezTo>
                  <a:pt x="2717" y="1326"/>
                  <a:pt x="2717" y="1326"/>
                  <a:pt x="2717" y="1326"/>
                </a:cubicBezTo>
                <a:cubicBezTo>
                  <a:pt x="2729" y="1326"/>
                  <a:pt x="2729" y="1326"/>
                  <a:pt x="2729" y="1326"/>
                </a:cubicBezTo>
                <a:cubicBezTo>
                  <a:pt x="2731" y="1307"/>
                  <a:pt x="2731" y="1307"/>
                  <a:pt x="2731" y="1307"/>
                </a:cubicBezTo>
                <a:cubicBezTo>
                  <a:pt x="2743" y="1307"/>
                  <a:pt x="2743" y="1307"/>
                  <a:pt x="2743" y="1307"/>
                </a:cubicBezTo>
                <a:cubicBezTo>
                  <a:pt x="2740" y="1326"/>
                  <a:pt x="2740" y="1326"/>
                  <a:pt x="2740" y="1326"/>
                </a:cubicBezTo>
                <a:cubicBezTo>
                  <a:pt x="2749" y="1326"/>
                  <a:pt x="2749" y="1326"/>
                  <a:pt x="2749" y="1326"/>
                </a:cubicBezTo>
                <a:cubicBezTo>
                  <a:pt x="2752" y="1307"/>
                  <a:pt x="2752" y="1307"/>
                  <a:pt x="2752" y="1307"/>
                </a:cubicBezTo>
                <a:cubicBezTo>
                  <a:pt x="2764" y="1307"/>
                  <a:pt x="2764" y="1307"/>
                  <a:pt x="2764" y="1307"/>
                </a:cubicBezTo>
                <a:cubicBezTo>
                  <a:pt x="2760" y="1326"/>
                  <a:pt x="2760" y="1326"/>
                  <a:pt x="2760" y="1326"/>
                </a:cubicBezTo>
                <a:cubicBezTo>
                  <a:pt x="2769" y="1326"/>
                  <a:pt x="2769" y="1326"/>
                  <a:pt x="2769" y="1326"/>
                </a:cubicBezTo>
                <a:cubicBezTo>
                  <a:pt x="2769" y="1338"/>
                  <a:pt x="2769" y="1338"/>
                  <a:pt x="2769" y="1338"/>
                </a:cubicBezTo>
                <a:cubicBezTo>
                  <a:pt x="2759" y="1338"/>
                  <a:pt x="2759" y="1338"/>
                  <a:pt x="2759" y="1338"/>
                </a:cubicBezTo>
                <a:cubicBezTo>
                  <a:pt x="2757" y="1349"/>
                  <a:pt x="2757" y="1349"/>
                  <a:pt x="2757" y="1349"/>
                </a:cubicBezTo>
                <a:cubicBezTo>
                  <a:pt x="2766" y="1349"/>
                  <a:pt x="2766" y="1349"/>
                  <a:pt x="2766" y="1349"/>
                </a:cubicBezTo>
                <a:cubicBezTo>
                  <a:pt x="2766" y="1361"/>
                  <a:pt x="2766" y="1361"/>
                  <a:pt x="2766" y="1361"/>
                </a:cubicBezTo>
                <a:cubicBezTo>
                  <a:pt x="2755" y="1361"/>
                  <a:pt x="2755" y="1361"/>
                  <a:pt x="2755" y="1361"/>
                </a:cubicBezTo>
                <a:cubicBezTo>
                  <a:pt x="2753" y="1380"/>
                  <a:pt x="2753" y="1380"/>
                  <a:pt x="2753" y="1380"/>
                </a:cubicBezTo>
                <a:cubicBezTo>
                  <a:pt x="2741" y="1380"/>
                  <a:pt x="2741" y="1380"/>
                  <a:pt x="2741" y="1380"/>
                </a:cubicBezTo>
                <a:cubicBezTo>
                  <a:pt x="2744" y="1361"/>
                  <a:pt x="2744" y="1361"/>
                  <a:pt x="2744" y="1361"/>
                </a:cubicBezTo>
                <a:cubicBezTo>
                  <a:pt x="2734" y="1361"/>
                  <a:pt x="2734" y="1361"/>
                  <a:pt x="2734" y="1361"/>
                </a:cubicBezTo>
                <a:cubicBezTo>
                  <a:pt x="2732" y="1380"/>
                  <a:pt x="2732" y="1380"/>
                  <a:pt x="2732" y="1380"/>
                </a:cubicBezTo>
                <a:cubicBezTo>
                  <a:pt x="2720" y="1380"/>
                  <a:pt x="2720" y="1380"/>
                  <a:pt x="2720" y="1380"/>
                </a:cubicBezTo>
                <a:cubicBezTo>
                  <a:pt x="2720" y="1380"/>
                  <a:pt x="2720" y="1380"/>
                  <a:pt x="2720" y="1380"/>
                </a:cubicBezTo>
                <a:close/>
                <a:moveTo>
                  <a:pt x="2746" y="1349"/>
                </a:moveTo>
                <a:cubicBezTo>
                  <a:pt x="2747" y="1338"/>
                  <a:pt x="2747" y="1338"/>
                  <a:pt x="2747" y="1338"/>
                </a:cubicBezTo>
                <a:cubicBezTo>
                  <a:pt x="2738" y="1338"/>
                  <a:pt x="2738" y="1338"/>
                  <a:pt x="2738" y="1338"/>
                </a:cubicBezTo>
                <a:cubicBezTo>
                  <a:pt x="2736" y="1349"/>
                  <a:pt x="2736" y="1349"/>
                  <a:pt x="2736" y="1349"/>
                </a:cubicBezTo>
                <a:cubicBezTo>
                  <a:pt x="2746" y="1349"/>
                  <a:pt x="2746" y="1349"/>
                  <a:pt x="2746" y="1349"/>
                </a:cubicBezTo>
                <a:cubicBezTo>
                  <a:pt x="2746" y="1349"/>
                  <a:pt x="2746" y="1349"/>
                  <a:pt x="2746" y="1349"/>
                </a:cubicBezTo>
                <a:close/>
                <a:moveTo>
                  <a:pt x="2264" y="1306"/>
                </a:moveTo>
                <a:cubicBezTo>
                  <a:pt x="2264" y="1306"/>
                  <a:pt x="2264" y="1306"/>
                  <a:pt x="2264" y="1306"/>
                </a:cubicBezTo>
                <a:cubicBezTo>
                  <a:pt x="2258" y="1306"/>
                  <a:pt x="2258" y="1306"/>
                  <a:pt x="2258" y="1306"/>
                </a:cubicBezTo>
                <a:cubicBezTo>
                  <a:pt x="2256" y="1308"/>
                  <a:pt x="2255" y="1309"/>
                  <a:pt x="2253" y="1310"/>
                </a:cubicBezTo>
                <a:cubicBezTo>
                  <a:pt x="2251" y="1312"/>
                  <a:pt x="2250" y="1312"/>
                  <a:pt x="2248" y="1313"/>
                </a:cubicBezTo>
                <a:cubicBezTo>
                  <a:pt x="2246" y="1314"/>
                  <a:pt x="2244" y="1315"/>
                  <a:pt x="2242" y="1316"/>
                </a:cubicBezTo>
                <a:cubicBezTo>
                  <a:pt x="2240" y="1317"/>
                  <a:pt x="2239" y="1317"/>
                  <a:pt x="2237" y="1317"/>
                </a:cubicBezTo>
                <a:cubicBezTo>
                  <a:pt x="2237" y="1317"/>
                  <a:pt x="2237" y="1317"/>
                  <a:pt x="2237" y="1328"/>
                </a:cubicBezTo>
                <a:cubicBezTo>
                  <a:pt x="2240" y="1327"/>
                  <a:pt x="2242" y="1326"/>
                  <a:pt x="2245" y="1325"/>
                </a:cubicBezTo>
                <a:cubicBezTo>
                  <a:pt x="2248" y="1324"/>
                  <a:pt x="2250" y="1322"/>
                  <a:pt x="2252" y="1321"/>
                </a:cubicBezTo>
                <a:cubicBezTo>
                  <a:pt x="2252" y="1321"/>
                  <a:pt x="2252" y="1321"/>
                  <a:pt x="2252" y="1380"/>
                </a:cubicBezTo>
                <a:cubicBezTo>
                  <a:pt x="2252" y="1380"/>
                  <a:pt x="2252" y="1380"/>
                  <a:pt x="2264" y="1380"/>
                </a:cubicBezTo>
                <a:cubicBezTo>
                  <a:pt x="2264" y="1380"/>
                  <a:pt x="2264" y="1380"/>
                  <a:pt x="2264" y="1306"/>
                </a:cubicBezTo>
                <a:close/>
                <a:moveTo>
                  <a:pt x="2312" y="1306"/>
                </a:moveTo>
                <a:cubicBezTo>
                  <a:pt x="2312" y="1306"/>
                  <a:pt x="2312" y="1306"/>
                  <a:pt x="2312" y="1306"/>
                </a:cubicBezTo>
                <a:cubicBezTo>
                  <a:pt x="2306" y="1306"/>
                  <a:pt x="2306" y="1306"/>
                  <a:pt x="2306" y="1306"/>
                </a:cubicBezTo>
                <a:cubicBezTo>
                  <a:pt x="2304" y="1308"/>
                  <a:pt x="2303" y="1309"/>
                  <a:pt x="2300" y="1310"/>
                </a:cubicBezTo>
                <a:cubicBezTo>
                  <a:pt x="2299" y="1312"/>
                  <a:pt x="2297" y="1312"/>
                  <a:pt x="2295" y="1313"/>
                </a:cubicBezTo>
                <a:cubicBezTo>
                  <a:pt x="2294" y="1314"/>
                  <a:pt x="2292" y="1315"/>
                  <a:pt x="2290" y="1316"/>
                </a:cubicBezTo>
                <a:cubicBezTo>
                  <a:pt x="2288" y="1317"/>
                  <a:pt x="2286" y="1317"/>
                  <a:pt x="2284" y="1317"/>
                </a:cubicBezTo>
                <a:cubicBezTo>
                  <a:pt x="2284" y="1317"/>
                  <a:pt x="2284" y="1317"/>
                  <a:pt x="2284" y="1328"/>
                </a:cubicBezTo>
                <a:cubicBezTo>
                  <a:pt x="2287" y="1327"/>
                  <a:pt x="2290" y="1326"/>
                  <a:pt x="2292" y="1325"/>
                </a:cubicBezTo>
                <a:cubicBezTo>
                  <a:pt x="2295" y="1324"/>
                  <a:pt x="2297" y="1322"/>
                  <a:pt x="2300" y="1321"/>
                </a:cubicBezTo>
                <a:cubicBezTo>
                  <a:pt x="2300" y="1321"/>
                  <a:pt x="2300" y="1321"/>
                  <a:pt x="2300" y="1380"/>
                </a:cubicBezTo>
                <a:cubicBezTo>
                  <a:pt x="2300" y="1380"/>
                  <a:pt x="2300" y="1380"/>
                  <a:pt x="2312" y="1380"/>
                </a:cubicBezTo>
                <a:cubicBezTo>
                  <a:pt x="2312" y="1380"/>
                  <a:pt x="2312" y="1380"/>
                  <a:pt x="2312" y="1306"/>
                </a:cubicBezTo>
                <a:close/>
                <a:moveTo>
                  <a:pt x="2358" y="1306"/>
                </a:moveTo>
                <a:cubicBezTo>
                  <a:pt x="2358" y="1306"/>
                  <a:pt x="2358" y="1306"/>
                  <a:pt x="2358" y="1306"/>
                </a:cubicBezTo>
                <a:cubicBezTo>
                  <a:pt x="2354" y="1306"/>
                  <a:pt x="2354" y="1306"/>
                  <a:pt x="2354" y="1306"/>
                </a:cubicBezTo>
                <a:cubicBezTo>
                  <a:pt x="2351" y="1308"/>
                  <a:pt x="2350" y="1309"/>
                  <a:pt x="2348" y="1310"/>
                </a:cubicBezTo>
                <a:cubicBezTo>
                  <a:pt x="2346" y="1312"/>
                  <a:pt x="2344" y="1312"/>
                  <a:pt x="2343" y="1313"/>
                </a:cubicBezTo>
                <a:cubicBezTo>
                  <a:pt x="2340" y="1314"/>
                  <a:pt x="2339" y="1314"/>
                  <a:pt x="2337" y="1315"/>
                </a:cubicBezTo>
                <a:cubicBezTo>
                  <a:pt x="2335" y="1316"/>
                  <a:pt x="2333" y="1317"/>
                  <a:pt x="2332" y="1317"/>
                </a:cubicBezTo>
                <a:cubicBezTo>
                  <a:pt x="2332" y="1317"/>
                  <a:pt x="2332" y="1317"/>
                  <a:pt x="2332" y="1328"/>
                </a:cubicBezTo>
                <a:cubicBezTo>
                  <a:pt x="2335" y="1327"/>
                  <a:pt x="2338" y="1325"/>
                  <a:pt x="2340" y="1325"/>
                </a:cubicBezTo>
                <a:cubicBezTo>
                  <a:pt x="2342" y="1324"/>
                  <a:pt x="2345" y="1322"/>
                  <a:pt x="2346" y="1321"/>
                </a:cubicBezTo>
                <a:cubicBezTo>
                  <a:pt x="2346" y="1321"/>
                  <a:pt x="2346" y="1321"/>
                  <a:pt x="2346" y="1380"/>
                </a:cubicBezTo>
                <a:cubicBezTo>
                  <a:pt x="2346" y="1380"/>
                  <a:pt x="2346" y="1380"/>
                  <a:pt x="2358" y="1380"/>
                </a:cubicBezTo>
                <a:cubicBezTo>
                  <a:pt x="2358" y="1380"/>
                  <a:pt x="2358" y="1380"/>
                  <a:pt x="2358" y="1306"/>
                </a:cubicBezTo>
                <a:close/>
                <a:moveTo>
                  <a:pt x="2565" y="1210"/>
                </a:moveTo>
                <a:cubicBezTo>
                  <a:pt x="2565" y="1210"/>
                  <a:pt x="2565" y="1210"/>
                  <a:pt x="2565" y="1210"/>
                </a:cubicBezTo>
                <a:cubicBezTo>
                  <a:pt x="2560" y="1210"/>
                  <a:pt x="2560" y="1210"/>
                  <a:pt x="2560" y="1210"/>
                </a:cubicBezTo>
                <a:cubicBezTo>
                  <a:pt x="2558" y="1212"/>
                  <a:pt x="2556" y="1213"/>
                  <a:pt x="2554" y="1214"/>
                </a:cubicBezTo>
                <a:cubicBezTo>
                  <a:pt x="2553" y="1216"/>
                  <a:pt x="2550" y="1216"/>
                  <a:pt x="2549" y="1217"/>
                </a:cubicBezTo>
                <a:cubicBezTo>
                  <a:pt x="2547" y="1218"/>
                  <a:pt x="2545" y="1218"/>
                  <a:pt x="2544" y="1219"/>
                </a:cubicBezTo>
                <a:cubicBezTo>
                  <a:pt x="2542" y="1220"/>
                  <a:pt x="2540" y="1221"/>
                  <a:pt x="2538" y="1221"/>
                </a:cubicBezTo>
                <a:cubicBezTo>
                  <a:pt x="2538" y="1221"/>
                  <a:pt x="2538" y="1221"/>
                  <a:pt x="2538" y="1232"/>
                </a:cubicBezTo>
                <a:cubicBezTo>
                  <a:pt x="2541" y="1231"/>
                  <a:pt x="2544" y="1229"/>
                  <a:pt x="2546" y="1229"/>
                </a:cubicBezTo>
                <a:cubicBezTo>
                  <a:pt x="2549" y="1228"/>
                  <a:pt x="2551" y="1226"/>
                  <a:pt x="2553" y="1225"/>
                </a:cubicBezTo>
                <a:cubicBezTo>
                  <a:pt x="2553" y="1225"/>
                  <a:pt x="2553" y="1225"/>
                  <a:pt x="2553" y="1284"/>
                </a:cubicBezTo>
                <a:cubicBezTo>
                  <a:pt x="2553" y="1284"/>
                  <a:pt x="2553" y="1284"/>
                  <a:pt x="2565" y="1284"/>
                </a:cubicBezTo>
                <a:cubicBezTo>
                  <a:pt x="2565" y="1284"/>
                  <a:pt x="2565" y="1284"/>
                  <a:pt x="2565" y="1210"/>
                </a:cubicBezTo>
                <a:close/>
                <a:moveTo>
                  <a:pt x="2612" y="1210"/>
                </a:moveTo>
                <a:cubicBezTo>
                  <a:pt x="2612" y="1210"/>
                  <a:pt x="2612" y="1210"/>
                  <a:pt x="2612" y="1210"/>
                </a:cubicBezTo>
                <a:cubicBezTo>
                  <a:pt x="2607" y="1210"/>
                  <a:pt x="2607" y="1210"/>
                  <a:pt x="2607" y="1210"/>
                </a:cubicBezTo>
                <a:cubicBezTo>
                  <a:pt x="2604" y="1212"/>
                  <a:pt x="2603" y="1213"/>
                  <a:pt x="2601" y="1214"/>
                </a:cubicBezTo>
                <a:cubicBezTo>
                  <a:pt x="2599" y="1216"/>
                  <a:pt x="2597" y="1216"/>
                  <a:pt x="2596" y="1217"/>
                </a:cubicBezTo>
                <a:cubicBezTo>
                  <a:pt x="2594" y="1218"/>
                  <a:pt x="2592" y="1219"/>
                  <a:pt x="2591" y="1220"/>
                </a:cubicBezTo>
                <a:cubicBezTo>
                  <a:pt x="2589" y="1221"/>
                  <a:pt x="2587" y="1221"/>
                  <a:pt x="2585" y="1221"/>
                </a:cubicBezTo>
                <a:cubicBezTo>
                  <a:pt x="2585" y="1221"/>
                  <a:pt x="2585" y="1221"/>
                  <a:pt x="2585" y="1232"/>
                </a:cubicBezTo>
                <a:cubicBezTo>
                  <a:pt x="2588" y="1231"/>
                  <a:pt x="2591" y="1230"/>
                  <a:pt x="2593" y="1229"/>
                </a:cubicBezTo>
                <a:cubicBezTo>
                  <a:pt x="2596" y="1228"/>
                  <a:pt x="2598" y="1226"/>
                  <a:pt x="2600" y="1225"/>
                </a:cubicBezTo>
                <a:cubicBezTo>
                  <a:pt x="2600" y="1225"/>
                  <a:pt x="2600" y="1225"/>
                  <a:pt x="2600" y="1284"/>
                </a:cubicBezTo>
                <a:cubicBezTo>
                  <a:pt x="2600" y="1284"/>
                  <a:pt x="2600" y="1284"/>
                  <a:pt x="2612" y="1284"/>
                </a:cubicBezTo>
                <a:cubicBezTo>
                  <a:pt x="2612" y="1284"/>
                  <a:pt x="2612" y="1284"/>
                  <a:pt x="2612" y="1210"/>
                </a:cubicBezTo>
                <a:close/>
                <a:moveTo>
                  <a:pt x="2658" y="1210"/>
                </a:moveTo>
                <a:cubicBezTo>
                  <a:pt x="2658" y="1210"/>
                  <a:pt x="2658" y="1210"/>
                  <a:pt x="2658" y="1210"/>
                </a:cubicBezTo>
                <a:cubicBezTo>
                  <a:pt x="2653" y="1210"/>
                  <a:pt x="2653" y="1210"/>
                  <a:pt x="2653" y="1210"/>
                </a:cubicBezTo>
                <a:cubicBezTo>
                  <a:pt x="2651" y="1212"/>
                  <a:pt x="2650" y="1213"/>
                  <a:pt x="2647" y="1214"/>
                </a:cubicBezTo>
                <a:cubicBezTo>
                  <a:pt x="2646" y="1216"/>
                  <a:pt x="2644" y="1216"/>
                  <a:pt x="2642" y="1217"/>
                </a:cubicBezTo>
                <a:cubicBezTo>
                  <a:pt x="2640" y="1218"/>
                  <a:pt x="2639" y="1219"/>
                  <a:pt x="2636" y="1220"/>
                </a:cubicBezTo>
                <a:cubicBezTo>
                  <a:pt x="2635" y="1221"/>
                  <a:pt x="2633" y="1221"/>
                  <a:pt x="2631" y="1221"/>
                </a:cubicBezTo>
                <a:cubicBezTo>
                  <a:pt x="2631" y="1221"/>
                  <a:pt x="2631" y="1221"/>
                  <a:pt x="2631" y="1232"/>
                </a:cubicBezTo>
                <a:cubicBezTo>
                  <a:pt x="2634" y="1231"/>
                  <a:pt x="2637" y="1230"/>
                  <a:pt x="2639" y="1229"/>
                </a:cubicBezTo>
                <a:cubicBezTo>
                  <a:pt x="2641" y="1228"/>
                  <a:pt x="2644" y="1226"/>
                  <a:pt x="2646" y="1225"/>
                </a:cubicBezTo>
                <a:cubicBezTo>
                  <a:pt x="2646" y="1225"/>
                  <a:pt x="2646" y="1225"/>
                  <a:pt x="2646" y="1284"/>
                </a:cubicBezTo>
                <a:cubicBezTo>
                  <a:pt x="2646" y="1284"/>
                  <a:pt x="2646" y="1284"/>
                  <a:pt x="2658" y="1284"/>
                </a:cubicBezTo>
                <a:cubicBezTo>
                  <a:pt x="2658" y="1284"/>
                  <a:pt x="2658" y="1284"/>
                  <a:pt x="2658" y="1210"/>
                </a:cubicBezTo>
                <a:close/>
                <a:moveTo>
                  <a:pt x="2704" y="1210"/>
                </a:moveTo>
                <a:cubicBezTo>
                  <a:pt x="2704" y="1210"/>
                  <a:pt x="2704" y="1210"/>
                  <a:pt x="2704" y="1210"/>
                </a:cubicBezTo>
                <a:cubicBezTo>
                  <a:pt x="2699" y="1210"/>
                  <a:pt x="2699" y="1210"/>
                  <a:pt x="2699" y="1210"/>
                </a:cubicBezTo>
                <a:cubicBezTo>
                  <a:pt x="2697" y="1212"/>
                  <a:pt x="2695" y="1213"/>
                  <a:pt x="2693" y="1214"/>
                </a:cubicBezTo>
                <a:cubicBezTo>
                  <a:pt x="2692" y="1216"/>
                  <a:pt x="2690" y="1216"/>
                  <a:pt x="2688" y="1217"/>
                </a:cubicBezTo>
                <a:cubicBezTo>
                  <a:pt x="2687" y="1218"/>
                  <a:pt x="2685" y="1219"/>
                  <a:pt x="2683" y="1220"/>
                </a:cubicBezTo>
                <a:cubicBezTo>
                  <a:pt x="2681" y="1221"/>
                  <a:pt x="2679" y="1221"/>
                  <a:pt x="2677" y="1221"/>
                </a:cubicBezTo>
                <a:cubicBezTo>
                  <a:pt x="2677" y="1221"/>
                  <a:pt x="2677" y="1221"/>
                  <a:pt x="2677" y="1232"/>
                </a:cubicBezTo>
                <a:cubicBezTo>
                  <a:pt x="2680" y="1231"/>
                  <a:pt x="2683" y="1230"/>
                  <a:pt x="2685" y="1229"/>
                </a:cubicBezTo>
                <a:cubicBezTo>
                  <a:pt x="2688" y="1228"/>
                  <a:pt x="2690" y="1226"/>
                  <a:pt x="2693" y="1225"/>
                </a:cubicBezTo>
                <a:cubicBezTo>
                  <a:pt x="2693" y="1225"/>
                  <a:pt x="2693" y="1225"/>
                  <a:pt x="2693" y="1284"/>
                </a:cubicBezTo>
                <a:cubicBezTo>
                  <a:pt x="2693" y="1284"/>
                  <a:pt x="2693" y="1284"/>
                  <a:pt x="2704" y="1284"/>
                </a:cubicBezTo>
                <a:cubicBezTo>
                  <a:pt x="2704" y="1284"/>
                  <a:pt x="2704" y="1284"/>
                  <a:pt x="2704" y="1210"/>
                </a:cubicBezTo>
                <a:close/>
                <a:moveTo>
                  <a:pt x="2826" y="1210"/>
                </a:moveTo>
                <a:cubicBezTo>
                  <a:pt x="2826" y="1210"/>
                  <a:pt x="2826" y="1210"/>
                  <a:pt x="2826" y="1210"/>
                </a:cubicBezTo>
                <a:cubicBezTo>
                  <a:pt x="2821" y="1210"/>
                  <a:pt x="2821" y="1210"/>
                  <a:pt x="2821" y="1210"/>
                </a:cubicBezTo>
                <a:cubicBezTo>
                  <a:pt x="2819" y="1212"/>
                  <a:pt x="2817" y="1213"/>
                  <a:pt x="2815" y="1214"/>
                </a:cubicBezTo>
                <a:cubicBezTo>
                  <a:pt x="2814" y="1216"/>
                  <a:pt x="2812" y="1216"/>
                  <a:pt x="2810" y="1217"/>
                </a:cubicBezTo>
                <a:cubicBezTo>
                  <a:pt x="2809" y="1218"/>
                  <a:pt x="2806" y="1219"/>
                  <a:pt x="2805" y="1220"/>
                </a:cubicBezTo>
                <a:cubicBezTo>
                  <a:pt x="2803" y="1221"/>
                  <a:pt x="2801" y="1221"/>
                  <a:pt x="2799" y="1221"/>
                </a:cubicBezTo>
                <a:cubicBezTo>
                  <a:pt x="2799" y="1221"/>
                  <a:pt x="2799" y="1221"/>
                  <a:pt x="2799" y="1232"/>
                </a:cubicBezTo>
                <a:cubicBezTo>
                  <a:pt x="2802" y="1231"/>
                  <a:pt x="2805" y="1230"/>
                  <a:pt x="2808" y="1229"/>
                </a:cubicBezTo>
                <a:cubicBezTo>
                  <a:pt x="2810" y="1228"/>
                  <a:pt x="2812" y="1226"/>
                  <a:pt x="2814" y="1225"/>
                </a:cubicBezTo>
                <a:cubicBezTo>
                  <a:pt x="2814" y="1225"/>
                  <a:pt x="2814" y="1225"/>
                  <a:pt x="2814" y="1284"/>
                </a:cubicBezTo>
                <a:cubicBezTo>
                  <a:pt x="2814" y="1284"/>
                  <a:pt x="2814" y="1284"/>
                  <a:pt x="2826" y="1284"/>
                </a:cubicBezTo>
                <a:cubicBezTo>
                  <a:pt x="2826" y="1284"/>
                  <a:pt x="2826" y="1284"/>
                  <a:pt x="2826" y="1210"/>
                </a:cubicBezTo>
                <a:close/>
                <a:moveTo>
                  <a:pt x="2873" y="1210"/>
                </a:moveTo>
                <a:cubicBezTo>
                  <a:pt x="2873" y="1210"/>
                  <a:pt x="2873" y="1210"/>
                  <a:pt x="2873" y="1210"/>
                </a:cubicBezTo>
                <a:cubicBezTo>
                  <a:pt x="2868" y="1210"/>
                  <a:pt x="2868" y="1210"/>
                  <a:pt x="2868" y="1210"/>
                </a:cubicBezTo>
                <a:cubicBezTo>
                  <a:pt x="2866" y="1212"/>
                  <a:pt x="2864" y="1213"/>
                  <a:pt x="2862" y="1214"/>
                </a:cubicBezTo>
                <a:cubicBezTo>
                  <a:pt x="2861" y="1216"/>
                  <a:pt x="2858" y="1216"/>
                  <a:pt x="2857" y="1217"/>
                </a:cubicBezTo>
                <a:cubicBezTo>
                  <a:pt x="2855" y="1218"/>
                  <a:pt x="2853" y="1219"/>
                  <a:pt x="2852" y="1220"/>
                </a:cubicBezTo>
                <a:cubicBezTo>
                  <a:pt x="2849" y="1221"/>
                  <a:pt x="2848" y="1221"/>
                  <a:pt x="2846" y="1221"/>
                </a:cubicBezTo>
                <a:cubicBezTo>
                  <a:pt x="2846" y="1221"/>
                  <a:pt x="2846" y="1221"/>
                  <a:pt x="2846" y="1232"/>
                </a:cubicBezTo>
                <a:cubicBezTo>
                  <a:pt x="2849" y="1231"/>
                  <a:pt x="2852" y="1230"/>
                  <a:pt x="2854" y="1229"/>
                </a:cubicBezTo>
                <a:cubicBezTo>
                  <a:pt x="2857" y="1228"/>
                  <a:pt x="2859" y="1226"/>
                  <a:pt x="2861" y="1225"/>
                </a:cubicBezTo>
                <a:cubicBezTo>
                  <a:pt x="2861" y="1225"/>
                  <a:pt x="2861" y="1225"/>
                  <a:pt x="2861" y="1284"/>
                </a:cubicBezTo>
                <a:cubicBezTo>
                  <a:pt x="2861" y="1284"/>
                  <a:pt x="2861" y="1284"/>
                  <a:pt x="2873" y="1284"/>
                </a:cubicBezTo>
                <a:cubicBezTo>
                  <a:pt x="2873" y="1284"/>
                  <a:pt x="2873" y="1284"/>
                  <a:pt x="2873" y="1210"/>
                </a:cubicBezTo>
                <a:close/>
                <a:moveTo>
                  <a:pt x="2725" y="1243"/>
                </a:moveTo>
                <a:cubicBezTo>
                  <a:pt x="2725" y="1243"/>
                  <a:pt x="2725" y="1243"/>
                  <a:pt x="2725" y="1243"/>
                </a:cubicBezTo>
                <a:cubicBezTo>
                  <a:pt x="2724" y="1251"/>
                  <a:pt x="2724" y="1251"/>
                  <a:pt x="2724" y="1251"/>
                </a:cubicBezTo>
                <a:cubicBezTo>
                  <a:pt x="2731" y="1251"/>
                  <a:pt x="2731" y="1254"/>
                  <a:pt x="2731" y="1257"/>
                </a:cubicBezTo>
                <a:cubicBezTo>
                  <a:pt x="2731" y="1259"/>
                  <a:pt x="2731" y="1261"/>
                  <a:pt x="2731" y="1264"/>
                </a:cubicBezTo>
                <a:cubicBezTo>
                  <a:pt x="2731" y="1267"/>
                  <a:pt x="2730" y="1269"/>
                  <a:pt x="2730" y="1271"/>
                </a:cubicBezTo>
                <a:cubicBezTo>
                  <a:pt x="2730" y="1281"/>
                  <a:pt x="2736" y="1284"/>
                  <a:pt x="2745" y="1284"/>
                </a:cubicBezTo>
                <a:cubicBezTo>
                  <a:pt x="2745" y="1284"/>
                  <a:pt x="2745" y="1284"/>
                  <a:pt x="2748" y="1284"/>
                </a:cubicBezTo>
                <a:cubicBezTo>
                  <a:pt x="2748" y="1284"/>
                  <a:pt x="2748" y="1284"/>
                  <a:pt x="2748" y="1275"/>
                </a:cubicBezTo>
                <a:cubicBezTo>
                  <a:pt x="2748" y="1275"/>
                  <a:pt x="2748" y="1275"/>
                  <a:pt x="2747" y="1275"/>
                </a:cubicBezTo>
                <a:cubicBezTo>
                  <a:pt x="2743" y="1275"/>
                  <a:pt x="2742" y="1272"/>
                  <a:pt x="2742" y="1269"/>
                </a:cubicBezTo>
                <a:cubicBezTo>
                  <a:pt x="2742" y="1267"/>
                  <a:pt x="2742" y="1266"/>
                  <a:pt x="2742" y="1264"/>
                </a:cubicBezTo>
                <a:cubicBezTo>
                  <a:pt x="2742" y="1263"/>
                  <a:pt x="2743" y="1260"/>
                  <a:pt x="2743" y="1258"/>
                </a:cubicBezTo>
                <a:cubicBezTo>
                  <a:pt x="2743" y="1251"/>
                  <a:pt x="2740" y="1248"/>
                  <a:pt x="2734" y="1247"/>
                </a:cubicBezTo>
                <a:cubicBezTo>
                  <a:pt x="2734" y="1247"/>
                  <a:pt x="2734" y="1247"/>
                  <a:pt x="2734" y="1246"/>
                </a:cubicBezTo>
                <a:cubicBezTo>
                  <a:pt x="2740" y="1245"/>
                  <a:pt x="2743" y="1243"/>
                  <a:pt x="2743" y="1236"/>
                </a:cubicBezTo>
                <a:cubicBezTo>
                  <a:pt x="2743" y="1233"/>
                  <a:pt x="2742" y="1231"/>
                  <a:pt x="2742" y="1229"/>
                </a:cubicBezTo>
                <a:cubicBezTo>
                  <a:pt x="2742" y="1228"/>
                  <a:pt x="2742" y="1226"/>
                  <a:pt x="2742" y="1225"/>
                </a:cubicBezTo>
                <a:cubicBezTo>
                  <a:pt x="2742" y="1221"/>
                  <a:pt x="2743" y="1219"/>
                  <a:pt x="2747" y="1219"/>
                </a:cubicBezTo>
                <a:cubicBezTo>
                  <a:pt x="2747" y="1219"/>
                  <a:pt x="2747" y="1219"/>
                  <a:pt x="2748" y="1219"/>
                </a:cubicBezTo>
                <a:cubicBezTo>
                  <a:pt x="2748" y="1219"/>
                  <a:pt x="2748" y="1219"/>
                  <a:pt x="2748" y="1209"/>
                </a:cubicBezTo>
                <a:cubicBezTo>
                  <a:pt x="2748" y="1209"/>
                  <a:pt x="2748" y="1209"/>
                  <a:pt x="2745" y="1209"/>
                </a:cubicBezTo>
                <a:cubicBezTo>
                  <a:pt x="2736" y="1209"/>
                  <a:pt x="2730" y="1214"/>
                  <a:pt x="2730" y="1222"/>
                </a:cubicBezTo>
                <a:cubicBezTo>
                  <a:pt x="2730" y="1224"/>
                  <a:pt x="2731" y="1227"/>
                  <a:pt x="2731" y="1230"/>
                </a:cubicBezTo>
                <a:cubicBezTo>
                  <a:pt x="2731" y="1232"/>
                  <a:pt x="2731" y="1235"/>
                  <a:pt x="2731" y="1236"/>
                </a:cubicBezTo>
                <a:cubicBezTo>
                  <a:pt x="2731" y="1239"/>
                  <a:pt x="2731" y="1242"/>
                  <a:pt x="2725" y="1243"/>
                </a:cubicBezTo>
                <a:close/>
                <a:moveTo>
                  <a:pt x="2779" y="1251"/>
                </a:moveTo>
                <a:cubicBezTo>
                  <a:pt x="2779" y="1251"/>
                  <a:pt x="2779" y="1251"/>
                  <a:pt x="2779" y="1251"/>
                </a:cubicBezTo>
                <a:cubicBezTo>
                  <a:pt x="2779" y="1243"/>
                  <a:pt x="2779" y="1243"/>
                  <a:pt x="2779" y="1243"/>
                </a:cubicBezTo>
                <a:cubicBezTo>
                  <a:pt x="2773" y="1242"/>
                  <a:pt x="2772" y="1239"/>
                  <a:pt x="2772" y="1236"/>
                </a:cubicBezTo>
                <a:cubicBezTo>
                  <a:pt x="2772" y="1235"/>
                  <a:pt x="2772" y="1232"/>
                  <a:pt x="2773" y="1230"/>
                </a:cubicBezTo>
                <a:cubicBezTo>
                  <a:pt x="2773" y="1227"/>
                  <a:pt x="2773" y="1224"/>
                  <a:pt x="2773" y="1222"/>
                </a:cubicBezTo>
                <a:cubicBezTo>
                  <a:pt x="2773" y="1214"/>
                  <a:pt x="2768" y="1209"/>
                  <a:pt x="2759" y="1209"/>
                </a:cubicBezTo>
                <a:cubicBezTo>
                  <a:pt x="2759" y="1209"/>
                  <a:pt x="2759" y="1209"/>
                  <a:pt x="2755" y="1209"/>
                </a:cubicBezTo>
                <a:cubicBezTo>
                  <a:pt x="2755" y="1209"/>
                  <a:pt x="2755" y="1209"/>
                  <a:pt x="2755" y="1219"/>
                </a:cubicBezTo>
                <a:cubicBezTo>
                  <a:pt x="2755" y="1219"/>
                  <a:pt x="2755" y="1219"/>
                  <a:pt x="2757" y="1219"/>
                </a:cubicBezTo>
                <a:cubicBezTo>
                  <a:pt x="2760" y="1219"/>
                  <a:pt x="2762" y="1221"/>
                  <a:pt x="2762" y="1225"/>
                </a:cubicBezTo>
                <a:cubicBezTo>
                  <a:pt x="2762" y="1226"/>
                  <a:pt x="2761" y="1228"/>
                  <a:pt x="2761" y="1229"/>
                </a:cubicBezTo>
                <a:cubicBezTo>
                  <a:pt x="2761" y="1231"/>
                  <a:pt x="2761" y="1233"/>
                  <a:pt x="2761" y="1236"/>
                </a:cubicBezTo>
                <a:cubicBezTo>
                  <a:pt x="2761" y="1243"/>
                  <a:pt x="2764" y="1245"/>
                  <a:pt x="2769" y="1246"/>
                </a:cubicBezTo>
                <a:cubicBezTo>
                  <a:pt x="2769" y="1246"/>
                  <a:pt x="2769" y="1246"/>
                  <a:pt x="2769" y="1247"/>
                </a:cubicBezTo>
                <a:cubicBezTo>
                  <a:pt x="2764" y="1248"/>
                  <a:pt x="2761" y="1251"/>
                  <a:pt x="2761" y="1258"/>
                </a:cubicBezTo>
                <a:cubicBezTo>
                  <a:pt x="2761" y="1260"/>
                  <a:pt x="2761" y="1263"/>
                  <a:pt x="2761" y="1264"/>
                </a:cubicBezTo>
                <a:cubicBezTo>
                  <a:pt x="2761" y="1266"/>
                  <a:pt x="2762" y="1267"/>
                  <a:pt x="2762" y="1269"/>
                </a:cubicBezTo>
                <a:cubicBezTo>
                  <a:pt x="2762" y="1272"/>
                  <a:pt x="2761" y="1275"/>
                  <a:pt x="2757" y="1275"/>
                </a:cubicBezTo>
                <a:cubicBezTo>
                  <a:pt x="2757" y="1275"/>
                  <a:pt x="2757" y="1275"/>
                  <a:pt x="2755" y="1275"/>
                </a:cubicBezTo>
                <a:cubicBezTo>
                  <a:pt x="2755" y="1275"/>
                  <a:pt x="2755" y="1275"/>
                  <a:pt x="2755" y="1284"/>
                </a:cubicBezTo>
                <a:cubicBezTo>
                  <a:pt x="2755" y="1284"/>
                  <a:pt x="2755" y="1284"/>
                  <a:pt x="2759" y="1284"/>
                </a:cubicBezTo>
                <a:cubicBezTo>
                  <a:pt x="2768" y="1284"/>
                  <a:pt x="2773" y="1281"/>
                  <a:pt x="2773" y="1271"/>
                </a:cubicBezTo>
                <a:cubicBezTo>
                  <a:pt x="2773" y="1269"/>
                  <a:pt x="2773" y="1267"/>
                  <a:pt x="2773" y="1264"/>
                </a:cubicBezTo>
                <a:cubicBezTo>
                  <a:pt x="2772" y="1261"/>
                  <a:pt x="2772" y="1259"/>
                  <a:pt x="2772" y="1257"/>
                </a:cubicBezTo>
                <a:cubicBezTo>
                  <a:pt x="2772" y="1254"/>
                  <a:pt x="2773" y="1251"/>
                  <a:pt x="2779" y="1251"/>
                </a:cubicBezTo>
                <a:close/>
                <a:moveTo>
                  <a:pt x="2165" y="1284"/>
                </a:moveTo>
                <a:cubicBezTo>
                  <a:pt x="2158" y="1284"/>
                  <a:pt x="2151" y="1281"/>
                  <a:pt x="2147" y="1275"/>
                </a:cubicBezTo>
                <a:cubicBezTo>
                  <a:pt x="2143" y="1268"/>
                  <a:pt x="2141" y="1260"/>
                  <a:pt x="2141" y="1247"/>
                </a:cubicBezTo>
                <a:cubicBezTo>
                  <a:pt x="2141" y="1234"/>
                  <a:pt x="2143" y="1224"/>
                  <a:pt x="2148" y="1218"/>
                </a:cubicBezTo>
                <a:cubicBezTo>
                  <a:pt x="2152" y="1211"/>
                  <a:pt x="2159" y="1208"/>
                  <a:pt x="2167" y="1208"/>
                </a:cubicBezTo>
                <a:cubicBezTo>
                  <a:pt x="2183" y="1208"/>
                  <a:pt x="2192" y="1220"/>
                  <a:pt x="2192" y="1246"/>
                </a:cubicBezTo>
                <a:cubicBezTo>
                  <a:pt x="2192" y="1258"/>
                  <a:pt x="2189" y="1268"/>
                  <a:pt x="2184" y="1274"/>
                </a:cubicBezTo>
                <a:cubicBezTo>
                  <a:pt x="2180" y="1281"/>
                  <a:pt x="2173" y="1284"/>
                  <a:pt x="2165" y="1284"/>
                </a:cubicBezTo>
                <a:close/>
                <a:moveTo>
                  <a:pt x="2167" y="1217"/>
                </a:moveTo>
                <a:cubicBezTo>
                  <a:pt x="2157" y="1217"/>
                  <a:pt x="2153" y="1227"/>
                  <a:pt x="2153" y="1247"/>
                </a:cubicBezTo>
                <a:cubicBezTo>
                  <a:pt x="2153" y="1266"/>
                  <a:pt x="2157" y="1274"/>
                  <a:pt x="2166" y="1274"/>
                </a:cubicBezTo>
                <a:cubicBezTo>
                  <a:pt x="2175" y="1274"/>
                  <a:pt x="2179" y="1266"/>
                  <a:pt x="2179" y="1246"/>
                </a:cubicBezTo>
                <a:cubicBezTo>
                  <a:pt x="2179" y="1227"/>
                  <a:pt x="2175" y="1217"/>
                  <a:pt x="2167" y="1217"/>
                </a:cubicBezTo>
                <a:close/>
                <a:moveTo>
                  <a:pt x="2235" y="1284"/>
                </a:moveTo>
                <a:cubicBezTo>
                  <a:pt x="2228" y="1284"/>
                  <a:pt x="2221" y="1281"/>
                  <a:pt x="2218" y="1275"/>
                </a:cubicBezTo>
                <a:cubicBezTo>
                  <a:pt x="2213" y="1268"/>
                  <a:pt x="2211" y="1260"/>
                  <a:pt x="2211" y="1247"/>
                </a:cubicBezTo>
                <a:cubicBezTo>
                  <a:pt x="2211" y="1234"/>
                  <a:pt x="2213" y="1224"/>
                  <a:pt x="2218" y="1218"/>
                </a:cubicBezTo>
                <a:cubicBezTo>
                  <a:pt x="2222" y="1211"/>
                  <a:pt x="2229" y="1208"/>
                  <a:pt x="2238" y="1208"/>
                </a:cubicBezTo>
                <a:cubicBezTo>
                  <a:pt x="2254" y="1208"/>
                  <a:pt x="2262" y="1220"/>
                  <a:pt x="2262" y="1246"/>
                </a:cubicBezTo>
                <a:cubicBezTo>
                  <a:pt x="2262" y="1258"/>
                  <a:pt x="2259" y="1268"/>
                  <a:pt x="2255" y="1274"/>
                </a:cubicBezTo>
                <a:cubicBezTo>
                  <a:pt x="2250" y="1281"/>
                  <a:pt x="2244" y="1284"/>
                  <a:pt x="2235" y="1284"/>
                </a:cubicBezTo>
                <a:close/>
                <a:moveTo>
                  <a:pt x="2237" y="1217"/>
                </a:moveTo>
                <a:cubicBezTo>
                  <a:pt x="2228" y="1217"/>
                  <a:pt x="2223" y="1227"/>
                  <a:pt x="2223" y="1247"/>
                </a:cubicBezTo>
                <a:cubicBezTo>
                  <a:pt x="2223" y="1266"/>
                  <a:pt x="2227" y="1274"/>
                  <a:pt x="2236" y="1274"/>
                </a:cubicBezTo>
                <a:cubicBezTo>
                  <a:pt x="2245" y="1274"/>
                  <a:pt x="2249" y="1266"/>
                  <a:pt x="2249" y="1246"/>
                </a:cubicBezTo>
                <a:cubicBezTo>
                  <a:pt x="2249" y="1227"/>
                  <a:pt x="2245" y="1217"/>
                  <a:pt x="2237" y="1217"/>
                </a:cubicBezTo>
                <a:close/>
                <a:moveTo>
                  <a:pt x="2446" y="1284"/>
                </a:moveTo>
                <a:cubicBezTo>
                  <a:pt x="2438" y="1284"/>
                  <a:pt x="2432" y="1281"/>
                  <a:pt x="2428" y="1274"/>
                </a:cubicBezTo>
                <a:cubicBezTo>
                  <a:pt x="2424" y="1268"/>
                  <a:pt x="2421" y="1259"/>
                  <a:pt x="2421" y="1247"/>
                </a:cubicBezTo>
                <a:cubicBezTo>
                  <a:pt x="2421" y="1234"/>
                  <a:pt x="2424" y="1224"/>
                  <a:pt x="2428" y="1217"/>
                </a:cubicBezTo>
                <a:cubicBezTo>
                  <a:pt x="2432" y="1210"/>
                  <a:pt x="2439" y="1208"/>
                  <a:pt x="2448" y="1208"/>
                </a:cubicBezTo>
                <a:cubicBezTo>
                  <a:pt x="2464" y="1208"/>
                  <a:pt x="2472" y="1220"/>
                  <a:pt x="2472" y="1245"/>
                </a:cubicBezTo>
                <a:cubicBezTo>
                  <a:pt x="2472" y="1258"/>
                  <a:pt x="2470" y="1268"/>
                  <a:pt x="2465" y="1274"/>
                </a:cubicBezTo>
                <a:cubicBezTo>
                  <a:pt x="2460" y="1281"/>
                  <a:pt x="2454" y="1284"/>
                  <a:pt x="2446" y="1284"/>
                </a:cubicBezTo>
                <a:close/>
                <a:moveTo>
                  <a:pt x="2447" y="1217"/>
                </a:moveTo>
                <a:cubicBezTo>
                  <a:pt x="2438" y="1217"/>
                  <a:pt x="2434" y="1227"/>
                  <a:pt x="2434" y="1246"/>
                </a:cubicBezTo>
                <a:cubicBezTo>
                  <a:pt x="2434" y="1265"/>
                  <a:pt x="2438" y="1274"/>
                  <a:pt x="2447" y="1274"/>
                </a:cubicBezTo>
                <a:cubicBezTo>
                  <a:pt x="2455" y="1274"/>
                  <a:pt x="2459" y="1265"/>
                  <a:pt x="2459" y="1246"/>
                </a:cubicBezTo>
                <a:cubicBezTo>
                  <a:pt x="2459" y="1227"/>
                  <a:pt x="2456" y="1217"/>
                  <a:pt x="2447" y="1217"/>
                </a:cubicBezTo>
                <a:close/>
                <a:moveTo>
                  <a:pt x="2518" y="1210"/>
                </a:moveTo>
                <a:cubicBezTo>
                  <a:pt x="2518" y="1210"/>
                  <a:pt x="2518" y="1210"/>
                  <a:pt x="2518" y="1210"/>
                </a:cubicBezTo>
                <a:cubicBezTo>
                  <a:pt x="2513" y="1210"/>
                  <a:pt x="2513" y="1210"/>
                  <a:pt x="2513" y="1210"/>
                </a:cubicBezTo>
                <a:cubicBezTo>
                  <a:pt x="2511" y="1212"/>
                  <a:pt x="2510" y="1213"/>
                  <a:pt x="2508" y="1214"/>
                </a:cubicBezTo>
                <a:cubicBezTo>
                  <a:pt x="2506" y="1216"/>
                  <a:pt x="2504" y="1216"/>
                  <a:pt x="2502" y="1217"/>
                </a:cubicBezTo>
                <a:cubicBezTo>
                  <a:pt x="2501" y="1218"/>
                  <a:pt x="2499" y="1218"/>
                  <a:pt x="2497" y="1219"/>
                </a:cubicBezTo>
                <a:cubicBezTo>
                  <a:pt x="2495" y="1220"/>
                  <a:pt x="2494" y="1221"/>
                  <a:pt x="2492" y="1221"/>
                </a:cubicBezTo>
                <a:cubicBezTo>
                  <a:pt x="2492" y="1221"/>
                  <a:pt x="2492" y="1221"/>
                  <a:pt x="2492" y="1232"/>
                </a:cubicBezTo>
                <a:cubicBezTo>
                  <a:pt x="2494" y="1231"/>
                  <a:pt x="2497" y="1229"/>
                  <a:pt x="2500" y="1229"/>
                </a:cubicBezTo>
                <a:cubicBezTo>
                  <a:pt x="2502" y="1228"/>
                  <a:pt x="2505" y="1226"/>
                  <a:pt x="2507" y="1225"/>
                </a:cubicBezTo>
                <a:cubicBezTo>
                  <a:pt x="2507" y="1225"/>
                  <a:pt x="2507" y="1225"/>
                  <a:pt x="2507" y="1284"/>
                </a:cubicBezTo>
                <a:cubicBezTo>
                  <a:pt x="2507" y="1284"/>
                  <a:pt x="2507" y="1284"/>
                  <a:pt x="2518" y="1284"/>
                </a:cubicBezTo>
                <a:cubicBezTo>
                  <a:pt x="2518" y="1284"/>
                  <a:pt x="2518" y="1284"/>
                  <a:pt x="2518" y="1210"/>
                </a:cubicBezTo>
                <a:close/>
                <a:moveTo>
                  <a:pt x="2309" y="1210"/>
                </a:moveTo>
                <a:cubicBezTo>
                  <a:pt x="2309" y="1210"/>
                  <a:pt x="2309" y="1210"/>
                  <a:pt x="2309" y="1210"/>
                </a:cubicBezTo>
                <a:cubicBezTo>
                  <a:pt x="2304" y="1210"/>
                  <a:pt x="2304" y="1210"/>
                  <a:pt x="2304" y="1210"/>
                </a:cubicBezTo>
                <a:cubicBezTo>
                  <a:pt x="2301" y="1212"/>
                  <a:pt x="2300" y="1213"/>
                  <a:pt x="2298" y="1214"/>
                </a:cubicBezTo>
                <a:cubicBezTo>
                  <a:pt x="2296" y="1216"/>
                  <a:pt x="2295" y="1216"/>
                  <a:pt x="2293" y="1217"/>
                </a:cubicBezTo>
                <a:cubicBezTo>
                  <a:pt x="2291" y="1218"/>
                  <a:pt x="2289" y="1219"/>
                  <a:pt x="2288" y="1220"/>
                </a:cubicBezTo>
                <a:cubicBezTo>
                  <a:pt x="2285" y="1221"/>
                  <a:pt x="2284" y="1221"/>
                  <a:pt x="2282" y="1221"/>
                </a:cubicBezTo>
                <a:cubicBezTo>
                  <a:pt x="2282" y="1221"/>
                  <a:pt x="2282" y="1221"/>
                  <a:pt x="2282" y="1232"/>
                </a:cubicBezTo>
                <a:cubicBezTo>
                  <a:pt x="2285" y="1231"/>
                  <a:pt x="2288" y="1230"/>
                  <a:pt x="2290" y="1229"/>
                </a:cubicBezTo>
                <a:cubicBezTo>
                  <a:pt x="2293" y="1228"/>
                  <a:pt x="2295" y="1226"/>
                  <a:pt x="2297" y="1225"/>
                </a:cubicBezTo>
                <a:cubicBezTo>
                  <a:pt x="2297" y="1225"/>
                  <a:pt x="2297" y="1225"/>
                  <a:pt x="2297" y="1284"/>
                </a:cubicBezTo>
                <a:cubicBezTo>
                  <a:pt x="2297" y="1284"/>
                  <a:pt x="2297" y="1284"/>
                  <a:pt x="2309" y="1284"/>
                </a:cubicBezTo>
                <a:cubicBezTo>
                  <a:pt x="2309" y="1284"/>
                  <a:pt x="2309" y="1284"/>
                  <a:pt x="2309" y="1210"/>
                </a:cubicBezTo>
                <a:close/>
                <a:moveTo>
                  <a:pt x="2356" y="1210"/>
                </a:moveTo>
                <a:cubicBezTo>
                  <a:pt x="2356" y="1210"/>
                  <a:pt x="2356" y="1210"/>
                  <a:pt x="2356" y="1210"/>
                </a:cubicBezTo>
                <a:cubicBezTo>
                  <a:pt x="2351" y="1210"/>
                  <a:pt x="2351" y="1210"/>
                  <a:pt x="2351" y="1210"/>
                </a:cubicBezTo>
                <a:cubicBezTo>
                  <a:pt x="2348" y="1212"/>
                  <a:pt x="2347" y="1213"/>
                  <a:pt x="2345" y="1214"/>
                </a:cubicBezTo>
                <a:cubicBezTo>
                  <a:pt x="2343" y="1216"/>
                  <a:pt x="2341" y="1216"/>
                  <a:pt x="2339" y="1217"/>
                </a:cubicBezTo>
                <a:cubicBezTo>
                  <a:pt x="2338" y="1218"/>
                  <a:pt x="2336" y="1219"/>
                  <a:pt x="2334" y="1220"/>
                </a:cubicBezTo>
                <a:cubicBezTo>
                  <a:pt x="2332" y="1221"/>
                  <a:pt x="2331" y="1221"/>
                  <a:pt x="2328" y="1221"/>
                </a:cubicBezTo>
                <a:cubicBezTo>
                  <a:pt x="2328" y="1221"/>
                  <a:pt x="2328" y="1221"/>
                  <a:pt x="2328" y="1232"/>
                </a:cubicBezTo>
                <a:cubicBezTo>
                  <a:pt x="2331" y="1231"/>
                  <a:pt x="2334" y="1230"/>
                  <a:pt x="2336" y="1229"/>
                </a:cubicBezTo>
                <a:cubicBezTo>
                  <a:pt x="2339" y="1228"/>
                  <a:pt x="2342" y="1226"/>
                  <a:pt x="2344" y="1225"/>
                </a:cubicBezTo>
                <a:cubicBezTo>
                  <a:pt x="2344" y="1225"/>
                  <a:pt x="2344" y="1225"/>
                  <a:pt x="2344" y="1284"/>
                </a:cubicBezTo>
                <a:cubicBezTo>
                  <a:pt x="2344" y="1284"/>
                  <a:pt x="2344" y="1284"/>
                  <a:pt x="2356" y="1284"/>
                </a:cubicBezTo>
                <a:cubicBezTo>
                  <a:pt x="2356" y="1284"/>
                  <a:pt x="2356" y="1284"/>
                  <a:pt x="2356" y="1210"/>
                </a:cubicBezTo>
                <a:close/>
                <a:moveTo>
                  <a:pt x="2401" y="1210"/>
                </a:moveTo>
                <a:cubicBezTo>
                  <a:pt x="2401" y="1210"/>
                  <a:pt x="2401" y="1210"/>
                  <a:pt x="2401" y="1210"/>
                </a:cubicBezTo>
                <a:cubicBezTo>
                  <a:pt x="2397" y="1210"/>
                  <a:pt x="2397" y="1210"/>
                  <a:pt x="2397" y="1210"/>
                </a:cubicBezTo>
                <a:cubicBezTo>
                  <a:pt x="2395" y="1212"/>
                  <a:pt x="2393" y="1213"/>
                  <a:pt x="2391" y="1214"/>
                </a:cubicBezTo>
                <a:cubicBezTo>
                  <a:pt x="2390" y="1216"/>
                  <a:pt x="2388" y="1216"/>
                  <a:pt x="2386" y="1217"/>
                </a:cubicBezTo>
                <a:cubicBezTo>
                  <a:pt x="2384" y="1218"/>
                  <a:pt x="2383" y="1218"/>
                  <a:pt x="2380" y="1219"/>
                </a:cubicBezTo>
                <a:cubicBezTo>
                  <a:pt x="2379" y="1220"/>
                  <a:pt x="2377" y="1221"/>
                  <a:pt x="2375" y="1221"/>
                </a:cubicBezTo>
                <a:cubicBezTo>
                  <a:pt x="2375" y="1221"/>
                  <a:pt x="2375" y="1221"/>
                  <a:pt x="2375" y="1232"/>
                </a:cubicBezTo>
                <a:cubicBezTo>
                  <a:pt x="2378" y="1231"/>
                  <a:pt x="2381" y="1229"/>
                  <a:pt x="2383" y="1229"/>
                </a:cubicBezTo>
                <a:cubicBezTo>
                  <a:pt x="2385" y="1228"/>
                  <a:pt x="2388" y="1226"/>
                  <a:pt x="2390" y="1225"/>
                </a:cubicBezTo>
                <a:cubicBezTo>
                  <a:pt x="2390" y="1225"/>
                  <a:pt x="2390" y="1225"/>
                  <a:pt x="2390" y="1284"/>
                </a:cubicBezTo>
                <a:cubicBezTo>
                  <a:pt x="2390" y="1284"/>
                  <a:pt x="2390" y="1284"/>
                  <a:pt x="2401" y="1284"/>
                </a:cubicBezTo>
                <a:cubicBezTo>
                  <a:pt x="2401" y="1284"/>
                  <a:pt x="2401" y="1284"/>
                  <a:pt x="2401" y="1210"/>
                </a:cubicBezTo>
                <a:close/>
                <a:moveTo>
                  <a:pt x="1967" y="1284"/>
                </a:moveTo>
                <a:cubicBezTo>
                  <a:pt x="1960" y="1284"/>
                  <a:pt x="1953" y="1281"/>
                  <a:pt x="1949" y="1275"/>
                </a:cubicBezTo>
                <a:cubicBezTo>
                  <a:pt x="1945" y="1268"/>
                  <a:pt x="1943" y="1260"/>
                  <a:pt x="1943" y="1247"/>
                </a:cubicBezTo>
                <a:cubicBezTo>
                  <a:pt x="1943" y="1234"/>
                  <a:pt x="1945" y="1224"/>
                  <a:pt x="1949" y="1218"/>
                </a:cubicBezTo>
                <a:cubicBezTo>
                  <a:pt x="1954" y="1211"/>
                  <a:pt x="1960" y="1208"/>
                  <a:pt x="1969" y="1208"/>
                </a:cubicBezTo>
                <a:cubicBezTo>
                  <a:pt x="1985" y="1208"/>
                  <a:pt x="1993" y="1220"/>
                  <a:pt x="1993" y="1246"/>
                </a:cubicBezTo>
                <a:cubicBezTo>
                  <a:pt x="1993" y="1258"/>
                  <a:pt x="1991" y="1268"/>
                  <a:pt x="1987" y="1274"/>
                </a:cubicBezTo>
                <a:cubicBezTo>
                  <a:pt x="1982" y="1281"/>
                  <a:pt x="1976" y="1284"/>
                  <a:pt x="1967" y="1284"/>
                </a:cubicBezTo>
                <a:close/>
                <a:moveTo>
                  <a:pt x="1968" y="1217"/>
                </a:moveTo>
                <a:cubicBezTo>
                  <a:pt x="1960" y="1217"/>
                  <a:pt x="1955" y="1227"/>
                  <a:pt x="1955" y="1247"/>
                </a:cubicBezTo>
                <a:cubicBezTo>
                  <a:pt x="1955" y="1266"/>
                  <a:pt x="1959" y="1274"/>
                  <a:pt x="1968" y="1274"/>
                </a:cubicBezTo>
                <a:cubicBezTo>
                  <a:pt x="1976" y="1274"/>
                  <a:pt x="1981" y="1266"/>
                  <a:pt x="1981" y="1246"/>
                </a:cubicBezTo>
                <a:cubicBezTo>
                  <a:pt x="1981" y="1227"/>
                  <a:pt x="1976" y="1217"/>
                  <a:pt x="1968" y="1217"/>
                </a:cubicBezTo>
                <a:close/>
                <a:moveTo>
                  <a:pt x="2028" y="1210"/>
                </a:moveTo>
                <a:cubicBezTo>
                  <a:pt x="2028" y="1210"/>
                  <a:pt x="2028" y="1210"/>
                  <a:pt x="2028" y="1210"/>
                </a:cubicBezTo>
                <a:cubicBezTo>
                  <a:pt x="2023" y="1210"/>
                  <a:pt x="2023" y="1210"/>
                  <a:pt x="2023" y="1210"/>
                </a:cubicBezTo>
                <a:cubicBezTo>
                  <a:pt x="2021" y="1212"/>
                  <a:pt x="2020" y="1213"/>
                  <a:pt x="2017" y="1214"/>
                </a:cubicBezTo>
                <a:cubicBezTo>
                  <a:pt x="2016" y="1216"/>
                  <a:pt x="2015" y="1216"/>
                  <a:pt x="2012" y="1217"/>
                </a:cubicBezTo>
                <a:cubicBezTo>
                  <a:pt x="2011" y="1218"/>
                  <a:pt x="2009" y="1219"/>
                  <a:pt x="2007" y="1220"/>
                </a:cubicBezTo>
                <a:cubicBezTo>
                  <a:pt x="2005" y="1221"/>
                  <a:pt x="2004" y="1221"/>
                  <a:pt x="2001" y="1221"/>
                </a:cubicBezTo>
                <a:cubicBezTo>
                  <a:pt x="2001" y="1221"/>
                  <a:pt x="2001" y="1221"/>
                  <a:pt x="2001" y="1232"/>
                </a:cubicBezTo>
                <a:cubicBezTo>
                  <a:pt x="2004" y="1231"/>
                  <a:pt x="2007" y="1230"/>
                  <a:pt x="2010" y="1229"/>
                </a:cubicBezTo>
                <a:cubicBezTo>
                  <a:pt x="2012" y="1228"/>
                  <a:pt x="2015" y="1226"/>
                  <a:pt x="2017" y="1225"/>
                </a:cubicBezTo>
                <a:cubicBezTo>
                  <a:pt x="2017" y="1225"/>
                  <a:pt x="2017" y="1225"/>
                  <a:pt x="2017" y="1284"/>
                </a:cubicBezTo>
                <a:cubicBezTo>
                  <a:pt x="2017" y="1284"/>
                  <a:pt x="2017" y="1284"/>
                  <a:pt x="2028" y="1284"/>
                </a:cubicBezTo>
                <a:cubicBezTo>
                  <a:pt x="2028" y="1284"/>
                  <a:pt x="2028" y="1284"/>
                  <a:pt x="2028" y="1210"/>
                </a:cubicBezTo>
                <a:close/>
                <a:moveTo>
                  <a:pt x="2075" y="1210"/>
                </a:moveTo>
                <a:cubicBezTo>
                  <a:pt x="2075" y="1210"/>
                  <a:pt x="2075" y="1210"/>
                  <a:pt x="2075" y="1210"/>
                </a:cubicBezTo>
                <a:cubicBezTo>
                  <a:pt x="2070" y="1210"/>
                  <a:pt x="2070" y="1210"/>
                  <a:pt x="2070" y="1210"/>
                </a:cubicBezTo>
                <a:cubicBezTo>
                  <a:pt x="2068" y="1212"/>
                  <a:pt x="2066" y="1213"/>
                  <a:pt x="2064" y="1214"/>
                </a:cubicBezTo>
                <a:cubicBezTo>
                  <a:pt x="2063" y="1216"/>
                  <a:pt x="2061" y="1216"/>
                  <a:pt x="2059" y="1217"/>
                </a:cubicBezTo>
                <a:cubicBezTo>
                  <a:pt x="2058" y="1218"/>
                  <a:pt x="2055" y="1219"/>
                  <a:pt x="2054" y="1220"/>
                </a:cubicBezTo>
                <a:cubicBezTo>
                  <a:pt x="2052" y="1221"/>
                  <a:pt x="2050" y="1221"/>
                  <a:pt x="2048" y="1221"/>
                </a:cubicBezTo>
                <a:cubicBezTo>
                  <a:pt x="2048" y="1221"/>
                  <a:pt x="2048" y="1221"/>
                  <a:pt x="2048" y="1232"/>
                </a:cubicBezTo>
                <a:cubicBezTo>
                  <a:pt x="2051" y="1231"/>
                  <a:pt x="2054" y="1230"/>
                  <a:pt x="2056" y="1229"/>
                </a:cubicBezTo>
                <a:cubicBezTo>
                  <a:pt x="2059" y="1228"/>
                  <a:pt x="2061" y="1226"/>
                  <a:pt x="2064" y="1225"/>
                </a:cubicBezTo>
                <a:cubicBezTo>
                  <a:pt x="2064" y="1225"/>
                  <a:pt x="2064" y="1225"/>
                  <a:pt x="2064" y="1284"/>
                </a:cubicBezTo>
                <a:cubicBezTo>
                  <a:pt x="2064" y="1284"/>
                  <a:pt x="2064" y="1284"/>
                  <a:pt x="2075" y="1284"/>
                </a:cubicBezTo>
                <a:cubicBezTo>
                  <a:pt x="2075" y="1284"/>
                  <a:pt x="2075" y="1284"/>
                  <a:pt x="2075" y="1210"/>
                </a:cubicBezTo>
                <a:close/>
                <a:moveTo>
                  <a:pt x="2121" y="1210"/>
                </a:moveTo>
                <a:cubicBezTo>
                  <a:pt x="2121" y="1210"/>
                  <a:pt x="2121" y="1210"/>
                  <a:pt x="2121" y="1210"/>
                </a:cubicBezTo>
                <a:cubicBezTo>
                  <a:pt x="2117" y="1210"/>
                  <a:pt x="2117" y="1210"/>
                  <a:pt x="2117" y="1210"/>
                </a:cubicBezTo>
                <a:cubicBezTo>
                  <a:pt x="2114" y="1212"/>
                  <a:pt x="2113" y="1213"/>
                  <a:pt x="2111" y="1214"/>
                </a:cubicBezTo>
                <a:cubicBezTo>
                  <a:pt x="2109" y="1216"/>
                  <a:pt x="2107" y="1216"/>
                  <a:pt x="2106" y="1217"/>
                </a:cubicBezTo>
                <a:cubicBezTo>
                  <a:pt x="2104" y="1218"/>
                  <a:pt x="2102" y="1218"/>
                  <a:pt x="2100" y="1219"/>
                </a:cubicBezTo>
                <a:cubicBezTo>
                  <a:pt x="2099" y="1220"/>
                  <a:pt x="2096" y="1221"/>
                  <a:pt x="2095" y="1221"/>
                </a:cubicBezTo>
                <a:cubicBezTo>
                  <a:pt x="2095" y="1221"/>
                  <a:pt x="2095" y="1221"/>
                  <a:pt x="2095" y="1232"/>
                </a:cubicBezTo>
                <a:cubicBezTo>
                  <a:pt x="2098" y="1231"/>
                  <a:pt x="2101" y="1229"/>
                  <a:pt x="2103" y="1229"/>
                </a:cubicBezTo>
                <a:cubicBezTo>
                  <a:pt x="2105" y="1228"/>
                  <a:pt x="2108" y="1226"/>
                  <a:pt x="2109" y="1225"/>
                </a:cubicBezTo>
                <a:cubicBezTo>
                  <a:pt x="2109" y="1225"/>
                  <a:pt x="2109" y="1225"/>
                  <a:pt x="2109" y="1284"/>
                </a:cubicBezTo>
                <a:cubicBezTo>
                  <a:pt x="2109" y="1284"/>
                  <a:pt x="2109" y="1284"/>
                  <a:pt x="2121" y="1284"/>
                </a:cubicBezTo>
                <a:cubicBezTo>
                  <a:pt x="2121" y="1284"/>
                  <a:pt x="2121" y="1284"/>
                  <a:pt x="2121" y="1210"/>
                </a:cubicBezTo>
                <a:close/>
                <a:moveTo>
                  <a:pt x="2036" y="1176"/>
                </a:moveTo>
                <a:cubicBezTo>
                  <a:pt x="2029" y="1176"/>
                  <a:pt x="2022" y="1173"/>
                  <a:pt x="2018" y="1168"/>
                </a:cubicBezTo>
                <a:cubicBezTo>
                  <a:pt x="2014" y="1161"/>
                  <a:pt x="2012" y="1152"/>
                  <a:pt x="2012" y="1140"/>
                </a:cubicBezTo>
                <a:cubicBezTo>
                  <a:pt x="2012" y="1127"/>
                  <a:pt x="2014" y="1117"/>
                  <a:pt x="2019" y="1111"/>
                </a:cubicBezTo>
                <a:cubicBezTo>
                  <a:pt x="2023" y="1104"/>
                  <a:pt x="2030" y="1101"/>
                  <a:pt x="2038" y="1101"/>
                </a:cubicBezTo>
                <a:cubicBezTo>
                  <a:pt x="2054" y="1101"/>
                  <a:pt x="2062" y="1113"/>
                  <a:pt x="2062" y="1138"/>
                </a:cubicBezTo>
                <a:cubicBezTo>
                  <a:pt x="2062" y="1151"/>
                  <a:pt x="2060" y="1160"/>
                  <a:pt x="2055" y="1167"/>
                </a:cubicBezTo>
                <a:cubicBezTo>
                  <a:pt x="2051" y="1173"/>
                  <a:pt x="2044" y="1176"/>
                  <a:pt x="2036" y="1176"/>
                </a:cubicBezTo>
                <a:close/>
                <a:moveTo>
                  <a:pt x="2038" y="1110"/>
                </a:moveTo>
                <a:cubicBezTo>
                  <a:pt x="2028" y="1110"/>
                  <a:pt x="2024" y="1120"/>
                  <a:pt x="2024" y="1140"/>
                </a:cubicBezTo>
                <a:cubicBezTo>
                  <a:pt x="2024" y="1158"/>
                  <a:pt x="2028" y="1167"/>
                  <a:pt x="2037" y="1167"/>
                </a:cubicBezTo>
                <a:cubicBezTo>
                  <a:pt x="2046" y="1167"/>
                  <a:pt x="2050" y="1158"/>
                  <a:pt x="2050" y="1139"/>
                </a:cubicBezTo>
                <a:cubicBezTo>
                  <a:pt x="2050" y="1119"/>
                  <a:pt x="2046" y="1110"/>
                  <a:pt x="2038" y="1110"/>
                </a:cubicBezTo>
                <a:close/>
                <a:moveTo>
                  <a:pt x="2110" y="1103"/>
                </a:moveTo>
                <a:cubicBezTo>
                  <a:pt x="2110" y="1103"/>
                  <a:pt x="2110" y="1103"/>
                  <a:pt x="2110" y="1103"/>
                </a:cubicBezTo>
                <a:cubicBezTo>
                  <a:pt x="2105" y="1103"/>
                  <a:pt x="2105" y="1103"/>
                  <a:pt x="2105" y="1103"/>
                </a:cubicBezTo>
                <a:cubicBezTo>
                  <a:pt x="2103" y="1104"/>
                  <a:pt x="2101" y="1106"/>
                  <a:pt x="2099" y="1107"/>
                </a:cubicBezTo>
                <a:cubicBezTo>
                  <a:pt x="2098" y="1108"/>
                  <a:pt x="2095" y="1109"/>
                  <a:pt x="2094" y="1109"/>
                </a:cubicBezTo>
                <a:cubicBezTo>
                  <a:pt x="2092" y="1110"/>
                  <a:pt x="2090" y="1111"/>
                  <a:pt x="2089" y="1112"/>
                </a:cubicBezTo>
                <a:cubicBezTo>
                  <a:pt x="2087" y="1112"/>
                  <a:pt x="2085" y="1113"/>
                  <a:pt x="2083" y="1114"/>
                </a:cubicBezTo>
                <a:cubicBezTo>
                  <a:pt x="2083" y="1114"/>
                  <a:pt x="2083" y="1114"/>
                  <a:pt x="2083" y="1124"/>
                </a:cubicBezTo>
                <a:cubicBezTo>
                  <a:pt x="2086" y="1123"/>
                  <a:pt x="2089" y="1122"/>
                  <a:pt x="2091" y="1121"/>
                </a:cubicBezTo>
                <a:cubicBezTo>
                  <a:pt x="2094" y="1120"/>
                  <a:pt x="2096" y="1119"/>
                  <a:pt x="2098" y="1117"/>
                </a:cubicBezTo>
                <a:cubicBezTo>
                  <a:pt x="2098" y="1117"/>
                  <a:pt x="2098" y="1117"/>
                  <a:pt x="2098" y="1176"/>
                </a:cubicBezTo>
                <a:cubicBezTo>
                  <a:pt x="2098" y="1176"/>
                  <a:pt x="2098" y="1176"/>
                  <a:pt x="2110" y="1176"/>
                </a:cubicBezTo>
                <a:cubicBezTo>
                  <a:pt x="2110" y="1176"/>
                  <a:pt x="2110" y="1176"/>
                  <a:pt x="2110" y="1103"/>
                </a:cubicBezTo>
                <a:close/>
                <a:moveTo>
                  <a:pt x="2157" y="1103"/>
                </a:moveTo>
                <a:cubicBezTo>
                  <a:pt x="2157" y="1103"/>
                  <a:pt x="2157" y="1103"/>
                  <a:pt x="2157" y="1103"/>
                </a:cubicBezTo>
                <a:cubicBezTo>
                  <a:pt x="2152" y="1103"/>
                  <a:pt x="2152" y="1103"/>
                  <a:pt x="2152" y="1103"/>
                </a:cubicBezTo>
                <a:cubicBezTo>
                  <a:pt x="2150" y="1104"/>
                  <a:pt x="2148" y="1106"/>
                  <a:pt x="2146" y="1107"/>
                </a:cubicBezTo>
                <a:cubicBezTo>
                  <a:pt x="2145" y="1108"/>
                  <a:pt x="2143" y="1109"/>
                  <a:pt x="2141" y="1109"/>
                </a:cubicBezTo>
                <a:cubicBezTo>
                  <a:pt x="2140" y="1111"/>
                  <a:pt x="2138" y="1112"/>
                  <a:pt x="2136" y="1112"/>
                </a:cubicBezTo>
                <a:cubicBezTo>
                  <a:pt x="2134" y="1113"/>
                  <a:pt x="2133" y="1114"/>
                  <a:pt x="2131" y="1114"/>
                </a:cubicBezTo>
                <a:cubicBezTo>
                  <a:pt x="2131" y="1114"/>
                  <a:pt x="2131" y="1114"/>
                  <a:pt x="2131" y="1124"/>
                </a:cubicBezTo>
                <a:cubicBezTo>
                  <a:pt x="2133" y="1123"/>
                  <a:pt x="2136" y="1123"/>
                  <a:pt x="2138" y="1121"/>
                </a:cubicBezTo>
                <a:cubicBezTo>
                  <a:pt x="2141" y="1120"/>
                  <a:pt x="2143" y="1119"/>
                  <a:pt x="2146" y="1117"/>
                </a:cubicBezTo>
                <a:cubicBezTo>
                  <a:pt x="2146" y="1117"/>
                  <a:pt x="2146" y="1117"/>
                  <a:pt x="2146" y="1176"/>
                </a:cubicBezTo>
                <a:cubicBezTo>
                  <a:pt x="2146" y="1176"/>
                  <a:pt x="2146" y="1176"/>
                  <a:pt x="2157" y="1176"/>
                </a:cubicBezTo>
                <a:cubicBezTo>
                  <a:pt x="2157" y="1176"/>
                  <a:pt x="2157" y="1176"/>
                  <a:pt x="2157" y="1103"/>
                </a:cubicBezTo>
                <a:close/>
                <a:moveTo>
                  <a:pt x="2204" y="1103"/>
                </a:moveTo>
                <a:cubicBezTo>
                  <a:pt x="2204" y="1103"/>
                  <a:pt x="2204" y="1103"/>
                  <a:pt x="2204" y="1103"/>
                </a:cubicBezTo>
                <a:cubicBezTo>
                  <a:pt x="2199" y="1103"/>
                  <a:pt x="2199" y="1103"/>
                  <a:pt x="2199" y="1103"/>
                </a:cubicBezTo>
                <a:cubicBezTo>
                  <a:pt x="2197" y="1104"/>
                  <a:pt x="2195" y="1106"/>
                  <a:pt x="2193" y="1107"/>
                </a:cubicBezTo>
                <a:cubicBezTo>
                  <a:pt x="2192" y="1108"/>
                  <a:pt x="2190" y="1109"/>
                  <a:pt x="2188" y="1109"/>
                </a:cubicBezTo>
                <a:cubicBezTo>
                  <a:pt x="2186" y="1111"/>
                  <a:pt x="2184" y="1112"/>
                  <a:pt x="2182" y="1112"/>
                </a:cubicBezTo>
                <a:cubicBezTo>
                  <a:pt x="2181" y="1113"/>
                  <a:pt x="2179" y="1114"/>
                  <a:pt x="2177" y="1114"/>
                </a:cubicBezTo>
                <a:cubicBezTo>
                  <a:pt x="2177" y="1114"/>
                  <a:pt x="2177" y="1114"/>
                  <a:pt x="2177" y="1124"/>
                </a:cubicBezTo>
                <a:cubicBezTo>
                  <a:pt x="2180" y="1123"/>
                  <a:pt x="2183" y="1123"/>
                  <a:pt x="2185" y="1121"/>
                </a:cubicBezTo>
                <a:cubicBezTo>
                  <a:pt x="2187" y="1120"/>
                  <a:pt x="2190" y="1119"/>
                  <a:pt x="2192" y="1117"/>
                </a:cubicBezTo>
                <a:cubicBezTo>
                  <a:pt x="2192" y="1117"/>
                  <a:pt x="2192" y="1117"/>
                  <a:pt x="2192" y="1176"/>
                </a:cubicBezTo>
                <a:cubicBezTo>
                  <a:pt x="2192" y="1176"/>
                  <a:pt x="2192" y="1176"/>
                  <a:pt x="2204" y="1176"/>
                </a:cubicBezTo>
                <a:cubicBezTo>
                  <a:pt x="2204" y="1176"/>
                  <a:pt x="2204" y="1176"/>
                  <a:pt x="2204" y="1103"/>
                </a:cubicBezTo>
                <a:close/>
                <a:moveTo>
                  <a:pt x="2251" y="1103"/>
                </a:moveTo>
                <a:cubicBezTo>
                  <a:pt x="2251" y="1103"/>
                  <a:pt x="2251" y="1103"/>
                  <a:pt x="2251" y="1103"/>
                </a:cubicBezTo>
                <a:cubicBezTo>
                  <a:pt x="2246" y="1103"/>
                  <a:pt x="2246" y="1103"/>
                  <a:pt x="2246" y="1103"/>
                </a:cubicBezTo>
                <a:cubicBezTo>
                  <a:pt x="2244" y="1104"/>
                  <a:pt x="2242" y="1106"/>
                  <a:pt x="2240" y="1107"/>
                </a:cubicBezTo>
                <a:cubicBezTo>
                  <a:pt x="2238" y="1108"/>
                  <a:pt x="2237" y="1109"/>
                  <a:pt x="2235" y="1109"/>
                </a:cubicBezTo>
                <a:cubicBezTo>
                  <a:pt x="2233" y="1111"/>
                  <a:pt x="2231" y="1112"/>
                  <a:pt x="2230" y="1112"/>
                </a:cubicBezTo>
                <a:cubicBezTo>
                  <a:pt x="2227" y="1113"/>
                  <a:pt x="2226" y="1114"/>
                  <a:pt x="2224" y="1114"/>
                </a:cubicBezTo>
                <a:cubicBezTo>
                  <a:pt x="2224" y="1114"/>
                  <a:pt x="2224" y="1114"/>
                  <a:pt x="2224" y="1124"/>
                </a:cubicBezTo>
                <a:cubicBezTo>
                  <a:pt x="2227" y="1123"/>
                  <a:pt x="2230" y="1123"/>
                  <a:pt x="2232" y="1121"/>
                </a:cubicBezTo>
                <a:cubicBezTo>
                  <a:pt x="2235" y="1120"/>
                  <a:pt x="2237" y="1119"/>
                  <a:pt x="2239" y="1117"/>
                </a:cubicBezTo>
                <a:cubicBezTo>
                  <a:pt x="2239" y="1117"/>
                  <a:pt x="2239" y="1117"/>
                  <a:pt x="2239" y="1176"/>
                </a:cubicBezTo>
                <a:cubicBezTo>
                  <a:pt x="2239" y="1176"/>
                  <a:pt x="2239" y="1176"/>
                  <a:pt x="2251" y="1176"/>
                </a:cubicBezTo>
                <a:cubicBezTo>
                  <a:pt x="2251" y="1176"/>
                  <a:pt x="2251" y="1176"/>
                  <a:pt x="2251" y="1103"/>
                </a:cubicBezTo>
                <a:close/>
                <a:moveTo>
                  <a:pt x="2374" y="1103"/>
                </a:moveTo>
                <a:cubicBezTo>
                  <a:pt x="2374" y="1103"/>
                  <a:pt x="2374" y="1103"/>
                  <a:pt x="2374" y="1103"/>
                </a:cubicBezTo>
                <a:cubicBezTo>
                  <a:pt x="2369" y="1103"/>
                  <a:pt x="2369" y="1103"/>
                  <a:pt x="2369" y="1103"/>
                </a:cubicBezTo>
                <a:cubicBezTo>
                  <a:pt x="2367" y="1104"/>
                  <a:pt x="2365" y="1106"/>
                  <a:pt x="2363" y="1107"/>
                </a:cubicBezTo>
                <a:cubicBezTo>
                  <a:pt x="2362" y="1108"/>
                  <a:pt x="2360" y="1109"/>
                  <a:pt x="2358" y="1109"/>
                </a:cubicBezTo>
                <a:cubicBezTo>
                  <a:pt x="2356" y="1111"/>
                  <a:pt x="2354" y="1112"/>
                  <a:pt x="2353" y="1112"/>
                </a:cubicBezTo>
                <a:cubicBezTo>
                  <a:pt x="2351" y="1113"/>
                  <a:pt x="2349" y="1114"/>
                  <a:pt x="2347" y="1114"/>
                </a:cubicBezTo>
                <a:cubicBezTo>
                  <a:pt x="2347" y="1114"/>
                  <a:pt x="2347" y="1114"/>
                  <a:pt x="2347" y="1124"/>
                </a:cubicBezTo>
                <a:cubicBezTo>
                  <a:pt x="2350" y="1123"/>
                  <a:pt x="2353" y="1123"/>
                  <a:pt x="2356" y="1121"/>
                </a:cubicBezTo>
                <a:cubicBezTo>
                  <a:pt x="2358" y="1120"/>
                  <a:pt x="2360" y="1119"/>
                  <a:pt x="2362" y="1117"/>
                </a:cubicBezTo>
                <a:cubicBezTo>
                  <a:pt x="2362" y="1117"/>
                  <a:pt x="2362" y="1117"/>
                  <a:pt x="2362" y="1176"/>
                </a:cubicBezTo>
                <a:cubicBezTo>
                  <a:pt x="2362" y="1176"/>
                  <a:pt x="2362" y="1176"/>
                  <a:pt x="2374" y="1176"/>
                </a:cubicBezTo>
                <a:cubicBezTo>
                  <a:pt x="2374" y="1176"/>
                  <a:pt x="2374" y="1176"/>
                  <a:pt x="2374" y="1103"/>
                </a:cubicBezTo>
                <a:close/>
                <a:moveTo>
                  <a:pt x="2421" y="1103"/>
                </a:moveTo>
                <a:cubicBezTo>
                  <a:pt x="2421" y="1103"/>
                  <a:pt x="2421" y="1103"/>
                  <a:pt x="2421" y="1103"/>
                </a:cubicBezTo>
                <a:cubicBezTo>
                  <a:pt x="2416" y="1103"/>
                  <a:pt x="2416" y="1103"/>
                  <a:pt x="2416" y="1103"/>
                </a:cubicBezTo>
                <a:cubicBezTo>
                  <a:pt x="2414" y="1104"/>
                  <a:pt x="2413" y="1106"/>
                  <a:pt x="2411" y="1107"/>
                </a:cubicBezTo>
                <a:cubicBezTo>
                  <a:pt x="2409" y="1108"/>
                  <a:pt x="2407" y="1109"/>
                  <a:pt x="2405" y="1109"/>
                </a:cubicBezTo>
                <a:cubicBezTo>
                  <a:pt x="2404" y="1111"/>
                  <a:pt x="2402" y="1112"/>
                  <a:pt x="2400" y="1112"/>
                </a:cubicBezTo>
                <a:cubicBezTo>
                  <a:pt x="2398" y="1113"/>
                  <a:pt x="2397" y="1114"/>
                  <a:pt x="2395" y="1114"/>
                </a:cubicBezTo>
                <a:cubicBezTo>
                  <a:pt x="2395" y="1114"/>
                  <a:pt x="2395" y="1114"/>
                  <a:pt x="2395" y="1124"/>
                </a:cubicBezTo>
                <a:cubicBezTo>
                  <a:pt x="2397" y="1123"/>
                  <a:pt x="2400" y="1123"/>
                  <a:pt x="2403" y="1121"/>
                </a:cubicBezTo>
                <a:cubicBezTo>
                  <a:pt x="2405" y="1120"/>
                  <a:pt x="2408" y="1119"/>
                  <a:pt x="2410" y="1117"/>
                </a:cubicBezTo>
                <a:cubicBezTo>
                  <a:pt x="2410" y="1117"/>
                  <a:pt x="2410" y="1117"/>
                  <a:pt x="2410" y="1176"/>
                </a:cubicBezTo>
                <a:cubicBezTo>
                  <a:pt x="2410" y="1176"/>
                  <a:pt x="2410" y="1176"/>
                  <a:pt x="2421" y="1176"/>
                </a:cubicBezTo>
                <a:cubicBezTo>
                  <a:pt x="2421" y="1176"/>
                  <a:pt x="2421" y="1176"/>
                  <a:pt x="2421" y="1103"/>
                </a:cubicBezTo>
                <a:close/>
                <a:moveTo>
                  <a:pt x="2469" y="1103"/>
                </a:moveTo>
                <a:cubicBezTo>
                  <a:pt x="2469" y="1103"/>
                  <a:pt x="2469" y="1103"/>
                  <a:pt x="2469" y="1103"/>
                </a:cubicBezTo>
                <a:cubicBezTo>
                  <a:pt x="2464" y="1103"/>
                  <a:pt x="2464" y="1103"/>
                  <a:pt x="2464" y="1103"/>
                </a:cubicBezTo>
                <a:cubicBezTo>
                  <a:pt x="2462" y="1104"/>
                  <a:pt x="2460" y="1106"/>
                  <a:pt x="2459" y="1107"/>
                </a:cubicBezTo>
                <a:cubicBezTo>
                  <a:pt x="2457" y="1108"/>
                  <a:pt x="2455" y="1109"/>
                  <a:pt x="2453" y="1109"/>
                </a:cubicBezTo>
                <a:cubicBezTo>
                  <a:pt x="2452" y="1111"/>
                  <a:pt x="2449" y="1112"/>
                  <a:pt x="2448" y="1112"/>
                </a:cubicBezTo>
                <a:cubicBezTo>
                  <a:pt x="2446" y="1113"/>
                  <a:pt x="2444" y="1114"/>
                  <a:pt x="2442" y="1114"/>
                </a:cubicBezTo>
                <a:cubicBezTo>
                  <a:pt x="2442" y="1114"/>
                  <a:pt x="2442" y="1114"/>
                  <a:pt x="2442" y="1124"/>
                </a:cubicBezTo>
                <a:cubicBezTo>
                  <a:pt x="2445" y="1123"/>
                  <a:pt x="2448" y="1123"/>
                  <a:pt x="2451" y="1121"/>
                </a:cubicBezTo>
                <a:cubicBezTo>
                  <a:pt x="2453" y="1120"/>
                  <a:pt x="2455" y="1119"/>
                  <a:pt x="2457" y="1117"/>
                </a:cubicBezTo>
                <a:cubicBezTo>
                  <a:pt x="2457" y="1117"/>
                  <a:pt x="2457" y="1117"/>
                  <a:pt x="2457" y="1176"/>
                </a:cubicBezTo>
                <a:cubicBezTo>
                  <a:pt x="2457" y="1176"/>
                  <a:pt x="2457" y="1176"/>
                  <a:pt x="2469" y="1176"/>
                </a:cubicBezTo>
                <a:cubicBezTo>
                  <a:pt x="2469" y="1176"/>
                  <a:pt x="2469" y="1176"/>
                  <a:pt x="2469" y="1103"/>
                </a:cubicBezTo>
                <a:close/>
                <a:moveTo>
                  <a:pt x="2516" y="1103"/>
                </a:moveTo>
                <a:cubicBezTo>
                  <a:pt x="2516" y="1103"/>
                  <a:pt x="2516" y="1103"/>
                  <a:pt x="2516" y="1103"/>
                </a:cubicBezTo>
                <a:cubicBezTo>
                  <a:pt x="2511" y="1103"/>
                  <a:pt x="2511" y="1103"/>
                  <a:pt x="2511" y="1103"/>
                </a:cubicBezTo>
                <a:cubicBezTo>
                  <a:pt x="2509" y="1104"/>
                  <a:pt x="2508" y="1106"/>
                  <a:pt x="2505" y="1107"/>
                </a:cubicBezTo>
                <a:cubicBezTo>
                  <a:pt x="2504" y="1108"/>
                  <a:pt x="2502" y="1109"/>
                  <a:pt x="2500" y="1109"/>
                </a:cubicBezTo>
                <a:cubicBezTo>
                  <a:pt x="2498" y="1110"/>
                  <a:pt x="2497" y="1111"/>
                  <a:pt x="2495" y="1112"/>
                </a:cubicBezTo>
                <a:cubicBezTo>
                  <a:pt x="2493" y="1112"/>
                  <a:pt x="2491" y="1113"/>
                  <a:pt x="2490" y="1114"/>
                </a:cubicBezTo>
                <a:cubicBezTo>
                  <a:pt x="2490" y="1114"/>
                  <a:pt x="2490" y="1114"/>
                  <a:pt x="2490" y="1124"/>
                </a:cubicBezTo>
                <a:cubicBezTo>
                  <a:pt x="2492" y="1123"/>
                  <a:pt x="2495" y="1122"/>
                  <a:pt x="2498" y="1121"/>
                </a:cubicBezTo>
                <a:cubicBezTo>
                  <a:pt x="2500" y="1120"/>
                  <a:pt x="2503" y="1119"/>
                  <a:pt x="2504" y="1117"/>
                </a:cubicBezTo>
                <a:cubicBezTo>
                  <a:pt x="2504" y="1117"/>
                  <a:pt x="2504" y="1117"/>
                  <a:pt x="2504" y="1176"/>
                </a:cubicBezTo>
                <a:cubicBezTo>
                  <a:pt x="2504" y="1176"/>
                  <a:pt x="2504" y="1176"/>
                  <a:pt x="2516" y="1176"/>
                </a:cubicBezTo>
                <a:cubicBezTo>
                  <a:pt x="2516" y="1176"/>
                  <a:pt x="2516" y="1176"/>
                  <a:pt x="2516" y="1103"/>
                </a:cubicBezTo>
                <a:close/>
                <a:moveTo>
                  <a:pt x="2272" y="1135"/>
                </a:moveTo>
                <a:cubicBezTo>
                  <a:pt x="2272" y="1135"/>
                  <a:pt x="2272" y="1135"/>
                  <a:pt x="2272" y="1135"/>
                </a:cubicBezTo>
                <a:cubicBezTo>
                  <a:pt x="2271" y="1143"/>
                  <a:pt x="2271" y="1143"/>
                  <a:pt x="2271" y="1143"/>
                </a:cubicBezTo>
                <a:cubicBezTo>
                  <a:pt x="2278" y="1144"/>
                  <a:pt x="2278" y="1147"/>
                  <a:pt x="2278" y="1149"/>
                </a:cubicBezTo>
                <a:cubicBezTo>
                  <a:pt x="2278" y="1152"/>
                  <a:pt x="2278" y="1154"/>
                  <a:pt x="2278" y="1157"/>
                </a:cubicBezTo>
                <a:cubicBezTo>
                  <a:pt x="2278" y="1159"/>
                  <a:pt x="2277" y="1161"/>
                  <a:pt x="2277" y="1164"/>
                </a:cubicBezTo>
                <a:cubicBezTo>
                  <a:pt x="2277" y="1173"/>
                  <a:pt x="2283" y="1176"/>
                  <a:pt x="2292" y="1176"/>
                </a:cubicBezTo>
                <a:cubicBezTo>
                  <a:pt x="2292" y="1176"/>
                  <a:pt x="2292" y="1176"/>
                  <a:pt x="2296" y="1176"/>
                </a:cubicBezTo>
                <a:cubicBezTo>
                  <a:pt x="2296" y="1176"/>
                  <a:pt x="2296" y="1176"/>
                  <a:pt x="2296" y="1167"/>
                </a:cubicBezTo>
                <a:cubicBezTo>
                  <a:pt x="2296" y="1167"/>
                  <a:pt x="2296" y="1167"/>
                  <a:pt x="2294" y="1167"/>
                </a:cubicBezTo>
                <a:cubicBezTo>
                  <a:pt x="2290" y="1167"/>
                  <a:pt x="2289" y="1165"/>
                  <a:pt x="2289" y="1161"/>
                </a:cubicBezTo>
                <a:cubicBezTo>
                  <a:pt x="2289" y="1160"/>
                  <a:pt x="2289" y="1158"/>
                  <a:pt x="2290" y="1157"/>
                </a:cubicBezTo>
                <a:cubicBezTo>
                  <a:pt x="2290" y="1155"/>
                  <a:pt x="2290" y="1153"/>
                  <a:pt x="2290" y="1151"/>
                </a:cubicBezTo>
                <a:cubicBezTo>
                  <a:pt x="2290" y="1143"/>
                  <a:pt x="2287" y="1140"/>
                  <a:pt x="2281" y="1139"/>
                </a:cubicBezTo>
                <a:cubicBezTo>
                  <a:pt x="2281" y="1139"/>
                  <a:pt x="2281" y="1139"/>
                  <a:pt x="2281" y="1139"/>
                </a:cubicBezTo>
                <a:cubicBezTo>
                  <a:pt x="2287" y="1138"/>
                  <a:pt x="2290" y="1136"/>
                  <a:pt x="2290" y="1128"/>
                </a:cubicBezTo>
                <a:cubicBezTo>
                  <a:pt x="2290" y="1126"/>
                  <a:pt x="2290" y="1124"/>
                  <a:pt x="2290" y="1122"/>
                </a:cubicBezTo>
                <a:cubicBezTo>
                  <a:pt x="2289" y="1120"/>
                  <a:pt x="2289" y="1118"/>
                  <a:pt x="2289" y="1117"/>
                </a:cubicBezTo>
                <a:cubicBezTo>
                  <a:pt x="2289" y="1114"/>
                  <a:pt x="2290" y="1111"/>
                  <a:pt x="2294" y="1111"/>
                </a:cubicBezTo>
                <a:cubicBezTo>
                  <a:pt x="2294" y="1111"/>
                  <a:pt x="2294" y="1111"/>
                  <a:pt x="2296" y="1111"/>
                </a:cubicBezTo>
                <a:cubicBezTo>
                  <a:pt x="2296" y="1111"/>
                  <a:pt x="2296" y="1111"/>
                  <a:pt x="2296" y="1102"/>
                </a:cubicBezTo>
                <a:cubicBezTo>
                  <a:pt x="2296" y="1102"/>
                  <a:pt x="2296" y="1102"/>
                  <a:pt x="2292" y="1102"/>
                </a:cubicBezTo>
                <a:cubicBezTo>
                  <a:pt x="2283" y="1102"/>
                  <a:pt x="2277" y="1106"/>
                  <a:pt x="2277" y="1115"/>
                </a:cubicBezTo>
                <a:cubicBezTo>
                  <a:pt x="2277" y="1117"/>
                  <a:pt x="2278" y="1120"/>
                  <a:pt x="2278" y="1122"/>
                </a:cubicBezTo>
                <a:cubicBezTo>
                  <a:pt x="2278" y="1124"/>
                  <a:pt x="2278" y="1127"/>
                  <a:pt x="2278" y="1129"/>
                </a:cubicBezTo>
                <a:cubicBezTo>
                  <a:pt x="2278" y="1131"/>
                  <a:pt x="2278" y="1135"/>
                  <a:pt x="2272" y="1135"/>
                </a:cubicBezTo>
                <a:close/>
                <a:moveTo>
                  <a:pt x="2326" y="1143"/>
                </a:moveTo>
                <a:cubicBezTo>
                  <a:pt x="2326" y="1143"/>
                  <a:pt x="2326" y="1143"/>
                  <a:pt x="2326" y="1143"/>
                </a:cubicBezTo>
                <a:cubicBezTo>
                  <a:pt x="2326" y="1135"/>
                  <a:pt x="2326" y="1135"/>
                  <a:pt x="2326" y="1135"/>
                </a:cubicBezTo>
                <a:cubicBezTo>
                  <a:pt x="2320" y="1135"/>
                  <a:pt x="2320" y="1131"/>
                  <a:pt x="2320" y="1129"/>
                </a:cubicBezTo>
                <a:cubicBezTo>
                  <a:pt x="2320" y="1127"/>
                  <a:pt x="2320" y="1124"/>
                  <a:pt x="2320" y="1122"/>
                </a:cubicBezTo>
                <a:cubicBezTo>
                  <a:pt x="2321" y="1120"/>
                  <a:pt x="2321" y="1117"/>
                  <a:pt x="2321" y="1115"/>
                </a:cubicBezTo>
                <a:cubicBezTo>
                  <a:pt x="2321" y="1106"/>
                  <a:pt x="2315" y="1102"/>
                  <a:pt x="2306" y="1102"/>
                </a:cubicBezTo>
                <a:cubicBezTo>
                  <a:pt x="2306" y="1102"/>
                  <a:pt x="2306" y="1102"/>
                  <a:pt x="2302" y="1102"/>
                </a:cubicBezTo>
                <a:cubicBezTo>
                  <a:pt x="2302" y="1102"/>
                  <a:pt x="2302" y="1102"/>
                  <a:pt x="2302" y="1111"/>
                </a:cubicBezTo>
                <a:cubicBezTo>
                  <a:pt x="2302" y="1111"/>
                  <a:pt x="2302" y="1111"/>
                  <a:pt x="2304" y="1111"/>
                </a:cubicBezTo>
                <a:cubicBezTo>
                  <a:pt x="2308" y="1111"/>
                  <a:pt x="2309" y="1114"/>
                  <a:pt x="2309" y="1117"/>
                </a:cubicBezTo>
                <a:cubicBezTo>
                  <a:pt x="2309" y="1118"/>
                  <a:pt x="2309" y="1120"/>
                  <a:pt x="2309" y="1122"/>
                </a:cubicBezTo>
                <a:cubicBezTo>
                  <a:pt x="2308" y="1124"/>
                  <a:pt x="2308" y="1126"/>
                  <a:pt x="2308" y="1128"/>
                </a:cubicBezTo>
                <a:cubicBezTo>
                  <a:pt x="2308" y="1136"/>
                  <a:pt x="2311" y="1138"/>
                  <a:pt x="2317" y="1139"/>
                </a:cubicBezTo>
                <a:cubicBezTo>
                  <a:pt x="2317" y="1139"/>
                  <a:pt x="2317" y="1139"/>
                  <a:pt x="2317" y="1139"/>
                </a:cubicBezTo>
                <a:cubicBezTo>
                  <a:pt x="2311" y="1140"/>
                  <a:pt x="2308" y="1143"/>
                  <a:pt x="2308" y="1151"/>
                </a:cubicBezTo>
                <a:cubicBezTo>
                  <a:pt x="2308" y="1153"/>
                  <a:pt x="2308" y="1155"/>
                  <a:pt x="2309" y="1157"/>
                </a:cubicBezTo>
                <a:cubicBezTo>
                  <a:pt x="2309" y="1158"/>
                  <a:pt x="2309" y="1160"/>
                  <a:pt x="2309" y="1161"/>
                </a:cubicBezTo>
                <a:cubicBezTo>
                  <a:pt x="2309" y="1165"/>
                  <a:pt x="2308" y="1167"/>
                  <a:pt x="2304" y="1167"/>
                </a:cubicBezTo>
                <a:cubicBezTo>
                  <a:pt x="2304" y="1167"/>
                  <a:pt x="2304" y="1167"/>
                  <a:pt x="2302" y="1167"/>
                </a:cubicBezTo>
                <a:cubicBezTo>
                  <a:pt x="2302" y="1167"/>
                  <a:pt x="2302" y="1167"/>
                  <a:pt x="2302" y="1176"/>
                </a:cubicBezTo>
                <a:cubicBezTo>
                  <a:pt x="2302" y="1176"/>
                  <a:pt x="2302" y="1176"/>
                  <a:pt x="2306" y="1176"/>
                </a:cubicBezTo>
                <a:cubicBezTo>
                  <a:pt x="2315" y="1176"/>
                  <a:pt x="2321" y="1173"/>
                  <a:pt x="2321" y="1164"/>
                </a:cubicBezTo>
                <a:cubicBezTo>
                  <a:pt x="2321" y="1161"/>
                  <a:pt x="2321" y="1159"/>
                  <a:pt x="2320" y="1157"/>
                </a:cubicBezTo>
                <a:cubicBezTo>
                  <a:pt x="2320" y="1154"/>
                  <a:pt x="2320" y="1152"/>
                  <a:pt x="2320" y="1149"/>
                </a:cubicBezTo>
                <a:cubicBezTo>
                  <a:pt x="2320" y="1147"/>
                  <a:pt x="2320" y="1144"/>
                  <a:pt x="2326" y="1143"/>
                </a:cubicBezTo>
                <a:close/>
                <a:moveTo>
                  <a:pt x="2653" y="1135"/>
                </a:moveTo>
                <a:cubicBezTo>
                  <a:pt x="2653" y="1135"/>
                  <a:pt x="2653" y="1135"/>
                  <a:pt x="2653" y="1135"/>
                </a:cubicBezTo>
                <a:cubicBezTo>
                  <a:pt x="2653" y="1143"/>
                  <a:pt x="2653" y="1143"/>
                  <a:pt x="2653" y="1143"/>
                </a:cubicBezTo>
                <a:cubicBezTo>
                  <a:pt x="2659" y="1144"/>
                  <a:pt x="2660" y="1147"/>
                  <a:pt x="2660" y="1149"/>
                </a:cubicBezTo>
                <a:cubicBezTo>
                  <a:pt x="2660" y="1152"/>
                  <a:pt x="2660" y="1154"/>
                  <a:pt x="2660" y="1157"/>
                </a:cubicBezTo>
                <a:cubicBezTo>
                  <a:pt x="2659" y="1159"/>
                  <a:pt x="2659" y="1161"/>
                  <a:pt x="2659" y="1164"/>
                </a:cubicBezTo>
                <a:cubicBezTo>
                  <a:pt x="2659" y="1173"/>
                  <a:pt x="2665" y="1176"/>
                  <a:pt x="2674" y="1176"/>
                </a:cubicBezTo>
                <a:cubicBezTo>
                  <a:pt x="2674" y="1176"/>
                  <a:pt x="2674" y="1176"/>
                  <a:pt x="2677" y="1176"/>
                </a:cubicBezTo>
                <a:cubicBezTo>
                  <a:pt x="2677" y="1176"/>
                  <a:pt x="2677" y="1176"/>
                  <a:pt x="2677" y="1167"/>
                </a:cubicBezTo>
                <a:cubicBezTo>
                  <a:pt x="2677" y="1167"/>
                  <a:pt x="2677" y="1167"/>
                  <a:pt x="2676" y="1167"/>
                </a:cubicBezTo>
                <a:cubicBezTo>
                  <a:pt x="2672" y="1167"/>
                  <a:pt x="2671" y="1165"/>
                  <a:pt x="2671" y="1161"/>
                </a:cubicBezTo>
                <a:cubicBezTo>
                  <a:pt x="2671" y="1160"/>
                  <a:pt x="2671" y="1158"/>
                  <a:pt x="2671" y="1157"/>
                </a:cubicBezTo>
                <a:cubicBezTo>
                  <a:pt x="2671" y="1155"/>
                  <a:pt x="2672" y="1153"/>
                  <a:pt x="2672" y="1151"/>
                </a:cubicBezTo>
                <a:cubicBezTo>
                  <a:pt x="2672" y="1143"/>
                  <a:pt x="2669" y="1140"/>
                  <a:pt x="2663" y="1139"/>
                </a:cubicBezTo>
                <a:cubicBezTo>
                  <a:pt x="2663" y="1139"/>
                  <a:pt x="2663" y="1139"/>
                  <a:pt x="2663" y="1139"/>
                </a:cubicBezTo>
                <a:cubicBezTo>
                  <a:pt x="2669" y="1138"/>
                  <a:pt x="2672" y="1136"/>
                  <a:pt x="2672" y="1128"/>
                </a:cubicBezTo>
                <a:cubicBezTo>
                  <a:pt x="2672" y="1126"/>
                  <a:pt x="2671" y="1124"/>
                  <a:pt x="2671" y="1122"/>
                </a:cubicBezTo>
                <a:cubicBezTo>
                  <a:pt x="2671" y="1120"/>
                  <a:pt x="2671" y="1118"/>
                  <a:pt x="2671" y="1117"/>
                </a:cubicBezTo>
                <a:cubicBezTo>
                  <a:pt x="2671" y="1114"/>
                  <a:pt x="2672" y="1111"/>
                  <a:pt x="2676" y="1111"/>
                </a:cubicBezTo>
                <a:cubicBezTo>
                  <a:pt x="2676" y="1111"/>
                  <a:pt x="2676" y="1111"/>
                  <a:pt x="2677" y="1111"/>
                </a:cubicBezTo>
                <a:cubicBezTo>
                  <a:pt x="2677" y="1111"/>
                  <a:pt x="2677" y="1111"/>
                  <a:pt x="2677" y="1102"/>
                </a:cubicBezTo>
                <a:cubicBezTo>
                  <a:pt x="2677" y="1102"/>
                  <a:pt x="2677" y="1102"/>
                  <a:pt x="2674" y="1102"/>
                </a:cubicBezTo>
                <a:cubicBezTo>
                  <a:pt x="2664" y="1102"/>
                  <a:pt x="2659" y="1106"/>
                  <a:pt x="2659" y="1115"/>
                </a:cubicBezTo>
                <a:cubicBezTo>
                  <a:pt x="2659" y="1117"/>
                  <a:pt x="2659" y="1120"/>
                  <a:pt x="2659" y="1122"/>
                </a:cubicBezTo>
                <a:cubicBezTo>
                  <a:pt x="2660" y="1124"/>
                  <a:pt x="2660" y="1127"/>
                  <a:pt x="2660" y="1129"/>
                </a:cubicBezTo>
                <a:cubicBezTo>
                  <a:pt x="2660" y="1131"/>
                  <a:pt x="2659" y="1135"/>
                  <a:pt x="2653" y="1135"/>
                </a:cubicBezTo>
                <a:close/>
                <a:moveTo>
                  <a:pt x="2708" y="1143"/>
                </a:moveTo>
                <a:cubicBezTo>
                  <a:pt x="2708" y="1143"/>
                  <a:pt x="2708" y="1143"/>
                  <a:pt x="2708" y="1143"/>
                </a:cubicBezTo>
                <a:cubicBezTo>
                  <a:pt x="2708" y="1135"/>
                  <a:pt x="2708" y="1135"/>
                  <a:pt x="2708" y="1135"/>
                </a:cubicBezTo>
                <a:cubicBezTo>
                  <a:pt x="2702" y="1135"/>
                  <a:pt x="2701" y="1131"/>
                  <a:pt x="2701" y="1129"/>
                </a:cubicBezTo>
                <a:cubicBezTo>
                  <a:pt x="2701" y="1127"/>
                  <a:pt x="2701" y="1124"/>
                  <a:pt x="2702" y="1122"/>
                </a:cubicBezTo>
                <a:cubicBezTo>
                  <a:pt x="2702" y="1120"/>
                  <a:pt x="2702" y="1117"/>
                  <a:pt x="2702" y="1115"/>
                </a:cubicBezTo>
                <a:cubicBezTo>
                  <a:pt x="2702" y="1106"/>
                  <a:pt x="2697" y="1102"/>
                  <a:pt x="2688" y="1102"/>
                </a:cubicBezTo>
                <a:cubicBezTo>
                  <a:pt x="2688" y="1102"/>
                  <a:pt x="2688" y="1102"/>
                  <a:pt x="2684" y="1102"/>
                </a:cubicBezTo>
                <a:cubicBezTo>
                  <a:pt x="2684" y="1102"/>
                  <a:pt x="2684" y="1102"/>
                  <a:pt x="2684" y="1111"/>
                </a:cubicBezTo>
                <a:cubicBezTo>
                  <a:pt x="2684" y="1111"/>
                  <a:pt x="2684" y="1111"/>
                  <a:pt x="2685" y="1111"/>
                </a:cubicBezTo>
                <a:cubicBezTo>
                  <a:pt x="2689" y="1111"/>
                  <a:pt x="2691" y="1114"/>
                  <a:pt x="2691" y="1117"/>
                </a:cubicBezTo>
                <a:cubicBezTo>
                  <a:pt x="2691" y="1118"/>
                  <a:pt x="2690" y="1120"/>
                  <a:pt x="2690" y="1122"/>
                </a:cubicBezTo>
                <a:cubicBezTo>
                  <a:pt x="2690" y="1124"/>
                  <a:pt x="2690" y="1126"/>
                  <a:pt x="2690" y="1128"/>
                </a:cubicBezTo>
                <a:cubicBezTo>
                  <a:pt x="2690" y="1136"/>
                  <a:pt x="2693" y="1138"/>
                  <a:pt x="2698" y="1139"/>
                </a:cubicBezTo>
                <a:cubicBezTo>
                  <a:pt x="2698" y="1139"/>
                  <a:pt x="2698" y="1139"/>
                  <a:pt x="2698" y="1139"/>
                </a:cubicBezTo>
                <a:cubicBezTo>
                  <a:pt x="2693" y="1140"/>
                  <a:pt x="2690" y="1143"/>
                  <a:pt x="2690" y="1151"/>
                </a:cubicBezTo>
                <a:cubicBezTo>
                  <a:pt x="2690" y="1153"/>
                  <a:pt x="2690" y="1155"/>
                  <a:pt x="2690" y="1157"/>
                </a:cubicBezTo>
                <a:cubicBezTo>
                  <a:pt x="2690" y="1158"/>
                  <a:pt x="2691" y="1160"/>
                  <a:pt x="2691" y="1161"/>
                </a:cubicBezTo>
                <a:cubicBezTo>
                  <a:pt x="2691" y="1165"/>
                  <a:pt x="2690" y="1167"/>
                  <a:pt x="2685" y="1167"/>
                </a:cubicBezTo>
                <a:cubicBezTo>
                  <a:pt x="2685" y="1167"/>
                  <a:pt x="2685" y="1167"/>
                  <a:pt x="2684" y="1167"/>
                </a:cubicBezTo>
                <a:cubicBezTo>
                  <a:pt x="2684" y="1167"/>
                  <a:pt x="2684" y="1167"/>
                  <a:pt x="2684" y="1176"/>
                </a:cubicBezTo>
                <a:cubicBezTo>
                  <a:pt x="2684" y="1176"/>
                  <a:pt x="2684" y="1176"/>
                  <a:pt x="2688" y="1176"/>
                </a:cubicBezTo>
                <a:cubicBezTo>
                  <a:pt x="2697" y="1176"/>
                  <a:pt x="2702" y="1173"/>
                  <a:pt x="2702" y="1164"/>
                </a:cubicBezTo>
                <a:cubicBezTo>
                  <a:pt x="2702" y="1161"/>
                  <a:pt x="2702" y="1159"/>
                  <a:pt x="2702" y="1157"/>
                </a:cubicBezTo>
                <a:cubicBezTo>
                  <a:pt x="2701" y="1154"/>
                  <a:pt x="2701" y="1152"/>
                  <a:pt x="2701" y="1149"/>
                </a:cubicBezTo>
                <a:cubicBezTo>
                  <a:pt x="2701" y="1147"/>
                  <a:pt x="2702" y="1144"/>
                  <a:pt x="2708" y="1143"/>
                </a:cubicBezTo>
                <a:close/>
                <a:moveTo>
                  <a:pt x="2756" y="1103"/>
                </a:moveTo>
                <a:cubicBezTo>
                  <a:pt x="2756" y="1103"/>
                  <a:pt x="2756" y="1103"/>
                  <a:pt x="2756" y="1103"/>
                </a:cubicBezTo>
                <a:cubicBezTo>
                  <a:pt x="2750" y="1103"/>
                  <a:pt x="2750" y="1103"/>
                  <a:pt x="2750" y="1103"/>
                </a:cubicBezTo>
                <a:cubicBezTo>
                  <a:pt x="2748" y="1104"/>
                  <a:pt x="2747" y="1106"/>
                  <a:pt x="2745" y="1107"/>
                </a:cubicBezTo>
                <a:cubicBezTo>
                  <a:pt x="2743" y="1108"/>
                  <a:pt x="2741" y="1109"/>
                  <a:pt x="2740" y="1109"/>
                </a:cubicBezTo>
                <a:cubicBezTo>
                  <a:pt x="2737" y="1110"/>
                  <a:pt x="2736" y="1111"/>
                  <a:pt x="2734" y="1112"/>
                </a:cubicBezTo>
                <a:cubicBezTo>
                  <a:pt x="2732" y="1112"/>
                  <a:pt x="2731" y="1113"/>
                  <a:pt x="2729" y="1114"/>
                </a:cubicBezTo>
                <a:cubicBezTo>
                  <a:pt x="2729" y="1114"/>
                  <a:pt x="2729" y="1114"/>
                  <a:pt x="2729" y="1124"/>
                </a:cubicBezTo>
                <a:cubicBezTo>
                  <a:pt x="2732" y="1123"/>
                  <a:pt x="2734" y="1122"/>
                  <a:pt x="2737" y="1121"/>
                </a:cubicBezTo>
                <a:cubicBezTo>
                  <a:pt x="2740" y="1120"/>
                  <a:pt x="2742" y="1119"/>
                  <a:pt x="2744" y="1117"/>
                </a:cubicBezTo>
                <a:cubicBezTo>
                  <a:pt x="2744" y="1117"/>
                  <a:pt x="2744" y="1117"/>
                  <a:pt x="2744" y="1176"/>
                </a:cubicBezTo>
                <a:cubicBezTo>
                  <a:pt x="2744" y="1176"/>
                  <a:pt x="2744" y="1176"/>
                  <a:pt x="2756" y="1176"/>
                </a:cubicBezTo>
                <a:cubicBezTo>
                  <a:pt x="2756" y="1176"/>
                  <a:pt x="2756" y="1176"/>
                  <a:pt x="2756" y="1103"/>
                </a:cubicBezTo>
                <a:close/>
                <a:moveTo>
                  <a:pt x="2803" y="1103"/>
                </a:moveTo>
                <a:cubicBezTo>
                  <a:pt x="2803" y="1103"/>
                  <a:pt x="2803" y="1103"/>
                  <a:pt x="2803" y="1103"/>
                </a:cubicBezTo>
                <a:cubicBezTo>
                  <a:pt x="2798" y="1103"/>
                  <a:pt x="2798" y="1103"/>
                  <a:pt x="2798" y="1103"/>
                </a:cubicBezTo>
                <a:cubicBezTo>
                  <a:pt x="2795" y="1104"/>
                  <a:pt x="2794" y="1106"/>
                  <a:pt x="2792" y="1107"/>
                </a:cubicBezTo>
                <a:cubicBezTo>
                  <a:pt x="2790" y="1108"/>
                  <a:pt x="2788" y="1109"/>
                  <a:pt x="2787" y="1109"/>
                </a:cubicBezTo>
                <a:cubicBezTo>
                  <a:pt x="2785" y="1111"/>
                  <a:pt x="2783" y="1112"/>
                  <a:pt x="2782" y="1112"/>
                </a:cubicBezTo>
                <a:cubicBezTo>
                  <a:pt x="2780" y="1113"/>
                  <a:pt x="2778" y="1114"/>
                  <a:pt x="2776" y="1114"/>
                </a:cubicBezTo>
                <a:cubicBezTo>
                  <a:pt x="2776" y="1114"/>
                  <a:pt x="2776" y="1114"/>
                  <a:pt x="2776" y="1124"/>
                </a:cubicBezTo>
                <a:cubicBezTo>
                  <a:pt x="2779" y="1123"/>
                  <a:pt x="2782" y="1123"/>
                  <a:pt x="2784" y="1121"/>
                </a:cubicBezTo>
                <a:cubicBezTo>
                  <a:pt x="2787" y="1120"/>
                  <a:pt x="2789" y="1119"/>
                  <a:pt x="2791" y="1117"/>
                </a:cubicBezTo>
                <a:cubicBezTo>
                  <a:pt x="2791" y="1117"/>
                  <a:pt x="2791" y="1117"/>
                  <a:pt x="2791" y="1176"/>
                </a:cubicBezTo>
                <a:cubicBezTo>
                  <a:pt x="2791" y="1176"/>
                  <a:pt x="2791" y="1176"/>
                  <a:pt x="2803" y="1176"/>
                </a:cubicBezTo>
                <a:cubicBezTo>
                  <a:pt x="2803" y="1176"/>
                  <a:pt x="2803" y="1176"/>
                  <a:pt x="2803" y="1103"/>
                </a:cubicBezTo>
                <a:close/>
                <a:moveTo>
                  <a:pt x="2849" y="1103"/>
                </a:moveTo>
                <a:cubicBezTo>
                  <a:pt x="2849" y="1103"/>
                  <a:pt x="2849" y="1103"/>
                  <a:pt x="2849" y="1103"/>
                </a:cubicBezTo>
                <a:cubicBezTo>
                  <a:pt x="2845" y="1103"/>
                  <a:pt x="2845" y="1103"/>
                  <a:pt x="2845" y="1103"/>
                </a:cubicBezTo>
                <a:cubicBezTo>
                  <a:pt x="2843" y="1104"/>
                  <a:pt x="2841" y="1106"/>
                  <a:pt x="2839" y="1107"/>
                </a:cubicBezTo>
                <a:cubicBezTo>
                  <a:pt x="2838" y="1108"/>
                  <a:pt x="2835" y="1109"/>
                  <a:pt x="2834" y="1109"/>
                </a:cubicBezTo>
                <a:cubicBezTo>
                  <a:pt x="2832" y="1111"/>
                  <a:pt x="2830" y="1112"/>
                  <a:pt x="2828" y="1112"/>
                </a:cubicBezTo>
                <a:cubicBezTo>
                  <a:pt x="2827" y="1113"/>
                  <a:pt x="2825" y="1114"/>
                  <a:pt x="2823" y="1114"/>
                </a:cubicBezTo>
                <a:cubicBezTo>
                  <a:pt x="2823" y="1114"/>
                  <a:pt x="2823" y="1114"/>
                  <a:pt x="2823" y="1124"/>
                </a:cubicBezTo>
                <a:cubicBezTo>
                  <a:pt x="2826" y="1123"/>
                  <a:pt x="2829" y="1123"/>
                  <a:pt x="2831" y="1121"/>
                </a:cubicBezTo>
                <a:cubicBezTo>
                  <a:pt x="2833" y="1120"/>
                  <a:pt x="2836" y="1119"/>
                  <a:pt x="2838" y="1117"/>
                </a:cubicBezTo>
                <a:cubicBezTo>
                  <a:pt x="2838" y="1117"/>
                  <a:pt x="2838" y="1117"/>
                  <a:pt x="2838" y="1176"/>
                </a:cubicBezTo>
                <a:cubicBezTo>
                  <a:pt x="2838" y="1176"/>
                  <a:pt x="2838" y="1176"/>
                  <a:pt x="2849" y="1176"/>
                </a:cubicBezTo>
                <a:cubicBezTo>
                  <a:pt x="2849" y="1176"/>
                  <a:pt x="2849" y="1176"/>
                  <a:pt x="2849" y="1103"/>
                </a:cubicBezTo>
                <a:close/>
                <a:moveTo>
                  <a:pt x="2972" y="1103"/>
                </a:moveTo>
                <a:cubicBezTo>
                  <a:pt x="2972" y="1103"/>
                  <a:pt x="2972" y="1103"/>
                  <a:pt x="2972" y="1103"/>
                </a:cubicBezTo>
                <a:cubicBezTo>
                  <a:pt x="2967" y="1103"/>
                  <a:pt x="2967" y="1103"/>
                  <a:pt x="2967" y="1103"/>
                </a:cubicBezTo>
                <a:cubicBezTo>
                  <a:pt x="2965" y="1104"/>
                  <a:pt x="2963" y="1106"/>
                  <a:pt x="2961" y="1107"/>
                </a:cubicBezTo>
                <a:cubicBezTo>
                  <a:pt x="2960" y="1108"/>
                  <a:pt x="2958" y="1109"/>
                  <a:pt x="2956" y="1109"/>
                </a:cubicBezTo>
                <a:cubicBezTo>
                  <a:pt x="2955" y="1111"/>
                  <a:pt x="2952" y="1112"/>
                  <a:pt x="2951" y="1112"/>
                </a:cubicBezTo>
                <a:cubicBezTo>
                  <a:pt x="2949" y="1113"/>
                  <a:pt x="2947" y="1114"/>
                  <a:pt x="2945" y="1114"/>
                </a:cubicBezTo>
                <a:cubicBezTo>
                  <a:pt x="2945" y="1114"/>
                  <a:pt x="2945" y="1114"/>
                  <a:pt x="2945" y="1124"/>
                </a:cubicBezTo>
                <a:cubicBezTo>
                  <a:pt x="2948" y="1123"/>
                  <a:pt x="2951" y="1123"/>
                  <a:pt x="2954" y="1121"/>
                </a:cubicBezTo>
                <a:cubicBezTo>
                  <a:pt x="2956" y="1120"/>
                  <a:pt x="2958" y="1119"/>
                  <a:pt x="2960" y="1117"/>
                </a:cubicBezTo>
                <a:cubicBezTo>
                  <a:pt x="2960" y="1117"/>
                  <a:pt x="2960" y="1117"/>
                  <a:pt x="2960" y="1176"/>
                </a:cubicBezTo>
                <a:cubicBezTo>
                  <a:pt x="2960" y="1176"/>
                  <a:pt x="2960" y="1176"/>
                  <a:pt x="2972" y="1176"/>
                </a:cubicBezTo>
                <a:cubicBezTo>
                  <a:pt x="2972" y="1176"/>
                  <a:pt x="2972" y="1176"/>
                  <a:pt x="2972" y="1103"/>
                </a:cubicBezTo>
                <a:close/>
                <a:moveTo>
                  <a:pt x="3020" y="1103"/>
                </a:moveTo>
                <a:cubicBezTo>
                  <a:pt x="3020" y="1103"/>
                  <a:pt x="3020" y="1103"/>
                  <a:pt x="3020" y="1103"/>
                </a:cubicBezTo>
                <a:cubicBezTo>
                  <a:pt x="3014" y="1103"/>
                  <a:pt x="3014" y="1103"/>
                  <a:pt x="3014" y="1103"/>
                </a:cubicBezTo>
                <a:cubicBezTo>
                  <a:pt x="3012" y="1104"/>
                  <a:pt x="3011" y="1106"/>
                  <a:pt x="3009" y="1107"/>
                </a:cubicBezTo>
                <a:cubicBezTo>
                  <a:pt x="3007" y="1108"/>
                  <a:pt x="3005" y="1109"/>
                  <a:pt x="3004" y="1109"/>
                </a:cubicBezTo>
                <a:cubicBezTo>
                  <a:pt x="3002" y="1111"/>
                  <a:pt x="3000" y="1112"/>
                  <a:pt x="2998" y="1112"/>
                </a:cubicBezTo>
                <a:cubicBezTo>
                  <a:pt x="2996" y="1113"/>
                  <a:pt x="2995" y="1114"/>
                  <a:pt x="2993" y="1114"/>
                </a:cubicBezTo>
                <a:cubicBezTo>
                  <a:pt x="2993" y="1114"/>
                  <a:pt x="2993" y="1114"/>
                  <a:pt x="2993" y="1124"/>
                </a:cubicBezTo>
                <a:cubicBezTo>
                  <a:pt x="2996" y="1123"/>
                  <a:pt x="2998" y="1123"/>
                  <a:pt x="3001" y="1121"/>
                </a:cubicBezTo>
                <a:cubicBezTo>
                  <a:pt x="3004" y="1120"/>
                  <a:pt x="3006" y="1119"/>
                  <a:pt x="3008" y="1117"/>
                </a:cubicBezTo>
                <a:cubicBezTo>
                  <a:pt x="3008" y="1117"/>
                  <a:pt x="3008" y="1117"/>
                  <a:pt x="3008" y="1176"/>
                </a:cubicBezTo>
                <a:cubicBezTo>
                  <a:pt x="3008" y="1176"/>
                  <a:pt x="3008" y="1176"/>
                  <a:pt x="3020" y="1176"/>
                </a:cubicBezTo>
                <a:cubicBezTo>
                  <a:pt x="3020" y="1176"/>
                  <a:pt x="3020" y="1176"/>
                  <a:pt x="3020" y="1103"/>
                </a:cubicBezTo>
                <a:close/>
                <a:moveTo>
                  <a:pt x="3066" y="1103"/>
                </a:moveTo>
                <a:cubicBezTo>
                  <a:pt x="3066" y="1103"/>
                  <a:pt x="3066" y="1103"/>
                  <a:pt x="3066" y="1103"/>
                </a:cubicBezTo>
                <a:cubicBezTo>
                  <a:pt x="3062" y="1103"/>
                  <a:pt x="3062" y="1103"/>
                  <a:pt x="3062" y="1103"/>
                </a:cubicBezTo>
                <a:cubicBezTo>
                  <a:pt x="3060" y="1104"/>
                  <a:pt x="3058" y="1106"/>
                  <a:pt x="3056" y="1107"/>
                </a:cubicBezTo>
                <a:cubicBezTo>
                  <a:pt x="3055" y="1108"/>
                  <a:pt x="3052" y="1109"/>
                  <a:pt x="3051" y="1109"/>
                </a:cubicBezTo>
                <a:cubicBezTo>
                  <a:pt x="3049" y="1110"/>
                  <a:pt x="3047" y="1111"/>
                  <a:pt x="3045" y="1112"/>
                </a:cubicBezTo>
                <a:cubicBezTo>
                  <a:pt x="3044" y="1112"/>
                  <a:pt x="3042" y="1113"/>
                  <a:pt x="3040" y="1114"/>
                </a:cubicBezTo>
                <a:cubicBezTo>
                  <a:pt x="3040" y="1114"/>
                  <a:pt x="3040" y="1114"/>
                  <a:pt x="3040" y="1124"/>
                </a:cubicBezTo>
                <a:cubicBezTo>
                  <a:pt x="3043" y="1123"/>
                  <a:pt x="3046" y="1122"/>
                  <a:pt x="3048" y="1121"/>
                </a:cubicBezTo>
                <a:cubicBezTo>
                  <a:pt x="3050" y="1120"/>
                  <a:pt x="3053" y="1119"/>
                  <a:pt x="3055" y="1117"/>
                </a:cubicBezTo>
                <a:cubicBezTo>
                  <a:pt x="3055" y="1117"/>
                  <a:pt x="3055" y="1117"/>
                  <a:pt x="3055" y="1176"/>
                </a:cubicBezTo>
                <a:cubicBezTo>
                  <a:pt x="3055" y="1176"/>
                  <a:pt x="3055" y="1176"/>
                  <a:pt x="3066" y="1176"/>
                </a:cubicBezTo>
                <a:cubicBezTo>
                  <a:pt x="3066" y="1176"/>
                  <a:pt x="3066" y="1176"/>
                  <a:pt x="3066" y="1103"/>
                </a:cubicBezTo>
                <a:close/>
                <a:moveTo>
                  <a:pt x="3111" y="1176"/>
                </a:moveTo>
                <a:cubicBezTo>
                  <a:pt x="3104" y="1176"/>
                  <a:pt x="3097" y="1173"/>
                  <a:pt x="3093" y="1168"/>
                </a:cubicBezTo>
                <a:cubicBezTo>
                  <a:pt x="3089" y="1161"/>
                  <a:pt x="3087" y="1152"/>
                  <a:pt x="3087" y="1140"/>
                </a:cubicBezTo>
                <a:cubicBezTo>
                  <a:pt x="3087" y="1127"/>
                  <a:pt x="3089" y="1117"/>
                  <a:pt x="3093" y="1111"/>
                </a:cubicBezTo>
                <a:cubicBezTo>
                  <a:pt x="3098" y="1104"/>
                  <a:pt x="3104" y="1101"/>
                  <a:pt x="3113" y="1101"/>
                </a:cubicBezTo>
                <a:cubicBezTo>
                  <a:pt x="3129" y="1101"/>
                  <a:pt x="3137" y="1113"/>
                  <a:pt x="3137" y="1138"/>
                </a:cubicBezTo>
                <a:cubicBezTo>
                  <a:pt x="3137" y="1151"/>
                  <a:pt x="3135" y="1160"/>
                  <a:pt x="3130" y="1167"/>
                </a:cubicBezTo>
                <a:cubicBezTo>
                  <a:pt x="3125" y="1173"/>
                  <a:pt x="3119" y="1176"/>
                  <a:pt x="3111" y="1176"/>
                </a:cubicBezTo>
                <a:close/>
                <a:moveTo>
                  <a:pt x="3112" y="1110"/>
                </a:moveTo>
                <a:cubicBezTo>
                  <a:pt x="3103" y="1110"/>
                  <a:pt x="3098" y="1120"/>
                  <a:pt x="3098" y="1140"/>
                </a:cubicBezTo>
                <a:cubicBezTo>
                  <a:pt x="3098" y="1158"/>
                  <a:pt x="3103" y="1167"/>
                  <a:pt x="3112" y="1167"/>
                </a:cubicBezTo>
                <a:cubicBezTo>
                  <a:pt x="3120" y="1167"/>
                  <a:pt x="3125" y="1158"/>
                  <a:pt x="3125" y="1139"/>
                </a:cubicBezTo>
                <a:cubicBezTo>
                  <a:pt x="3125" y="1119"/>
                  <a:pt x="3120" y="1110"/>
                  <a:pt x="3112" y="1110"/>
                </a:cubicBezTo>
                <a:close/>
                <a:moveTo>
                  <a:pt x="3182" y="1176"/>
                </a:moveTo>
                <a:cubicBezTo>
                  <a:pt x="3174" y="1176"/>
                  <a:pt x="3168" y="1173"/>
                  <a:pt x="3164" y="1168"/>
                </a:cubicBezTo>
                <a:cubicBezTo>
                  <a:pt x="3160" y="1161"/>
                  <a:pt x="3157" y="1152"/>
                  <a:pt x="3157" y="1140"/>
                </a:cubicBezTo>
                <a:cubicBezTo>
                  <a:pt x="3157" y="1127"/>
                  <a:pt x="3160" y="1117"/>
                  <a:pt x="3164" y="1111"/>
                </a:cubicBezTo>
                <a:cubicBezTo>
                  <a:pt x="3168" y="1104"/>
                  <a:pt x="3175" y="1101"/>
                  <a:pt x="3184" y="1101"/>
                </a:cubicBezTo>
                <a:cubicBezTo>
                  <a:pt x="3200" y="1101"/>
                  <a:pt x="3208" y="1113"/>
                  <a:pt x="3208" y="1138"/>
                </a:cubicBezTo>
                <a:cubicBezTo>
                  <a:pt x="3208" y="1151"/>
                  <a:pt x="3206" y="1160"/>
                  <a:pt x="3202" y="1167"/>
                </a:cubicBezTo>
                <a:cubicBezTo>
                  <a:pt x="3196" y="1173"/>
                  <a:pt x="3190" y="1176"/>
                  <a:pt x="3182" y="1176"/>
                </a:cubicBezTo>
                <a:close/>
                <a:moveTo>
                  <a:pt x="3183" y="1110"/>
                </a:moveTo>
                <a:cubicBezTo>
                  <a:pt x="3174" y="1110"/>
                  <a:pt x="3169" y="1120"/>
                  <a:pt x="3169" y="1140"/>
                </a:cubicBezTo>
                <a:cubicBezTo>
                  <a:pt x="3169" y="1158"/>
                  <a:pt x="3174" y="1167"/>
                  <a:pt x="3182" y="1167"/>
                </a:cubicBezTo>
                <a:cubicBezTo>
                  <a:pt x="3191" y="1167"/>
                  <a:pt x="3196" y="1158"/>
                  <a:pt x="3196" y="1139"/>
                </a:cubicBezTo>
                <a:cubicBezTo>
                  <a:pt x="3196" y="1119"/>
                  <a:pt x="3191" y="1110"/>
                  <a:pt x="3183" y="1110"/>
                </a:cubicBezTo>
                <a:close/>
                <a:moveTo>
                  <a:pt x="2870" y="1135"/>
                </a:moveTo>
                <a:cubicBezTo>
                  <a:pt x="2870" y="1135"/>
                  <a:pt x="2870" y="1135"/>
                  <a:pt x="2870" y="1135"/>
                </a:cubicBezTo>
                <a:cubicBezTo>
                  <a:pt x="2869" y="1143"/>
                  <a:pt x="2869" y="1143"/>
                  <a:pt x="2869" y="1143"/>
                </a:cubicBezTo>
                <a:cubicBezTo>
                  <a:pt x="2876" y="1144"/>
                  <a:pt x="2876" y="1147"/>
                  <a:pt x="2876" y="1149"/>
                </a:cubicBezTo>
                <a:cubicBezTo>
                  <a:pt x="2876" y="1152"/>
                  <a:pt x="2876" y="1154"/>
                  <a:pt x="2876" y="1157"/>
                </a:cubicBezTo>
                <a:cubicBezTo>
                  <a:pt x="2876" y="1159"/>
                  <a:pt x="2875" y="1161"/>
                  <a:pt x="2875" y="1164"/>
                </a:cubicBezTo>
                <a:cubicBezTo>
                  <a:pt x="2875" y="1173"/>
                  <a:pt x="2881" y="1176"/>
                  <a:pt x="2890" y="1176"/>
                </a:cubicBezTo>
                <a:cubicBezTo>
                  <a:pt x="2890" y="1176"/>
                  <a:pt x="2890" y="1176"/>
                  <a:pt x="2894" y="1176"/>
                </a:cubicBezTo>
                <a:cubicBezTo>
                  <a:pt x="2894" y="1176"/>
                  <a:pt x="2894" y="1176"/>
                  <a:pt x="2894" y="1167"/>
                </a:cubicBezTo>
                <a:cubicBezTo>
                  <a:pt x="2894" y="1167"/>
                  <a:pt x="2894" y="1167"/>
                  <a:pt x="2892" y="1167"/>
                </a:cubicBezTo>
                <a:cubicBezTo>
                  <a:pt x="2889" y="1167"/>
                  <a:pt x="2887" y="1165"/>
                  <a:pt x="2887" y="1161"/>
                </a:cubicBezTo>
                <a:cubicBezTo>
                  <a:pt x="2887" y="1160"/>
                  <a:pt x="2887" y="1158"/>
                  <a:pt x="2888" y="1157"/>
                </a:cubicBezTo>
                <a:cubicBezTo>
                  <a:pt x="2888" y="1155"/>
                  <a:pt x="2888" y="1153"/>
                  <a:pt x="2888" y="1151"/>
                </a:cubicBezTo>
                <a:cubicBezTo>
                  <a:pt x="2888" y="1143"/>
                  <a:pt x="2885" y="1140"/>
                  <a:pt x="2879" y="1139"/>
                </a:cubicBezTo>
                <a:cubicBezTo>
                  <a:pt x="2879" y="1139"/>
                  <a:pt x="2879" y="1139"/>
                  <a:pt x="2879" y="1139"/>
                </a:cubicBezTo>
                <a:cubicBezTo>
                  <a:pt x="2885" y="1138"/>
                  <a:pt x="2888" y="1136"/>
                  <a:pt x="2888" y="1128"/>
                </a:cubicBezTo>
                <a:cubicBezTo>
                  <a:pt x="2888" y="1126"/>
                  <a:pt x="2888" y="1124"/>
                  <a:pt x="2888" y="1122"/>
                </a:cubicBezTo>
                <a:cubicBezTo>
                  <a:pt x="2887" y="1120"/>
                  <a:pt x="2887" y="1118"/>
                  <a:pt x="2887" y="1117"/>
                </a:cubicBezTo>
                <a:cubicBezTo>
                  <a:pt x="2887" y="1114"/>
                  <a:pt x="2889" y="1111"/>
                  <a:pt x="2892" y="1111"/>
                </a:cubicBezTo>
                <a:cubicBezTo>
                  <a:pt x="2892" y="1111"/>
                  <a:pt x="2892" y="1111"/>
                  <a:pt x="2894" y="1111"/>
                </a:cubicBezTo>
                <a:cubicBezTo>
                  <a:pt x="2894" y="1111"/>
                  <a:pt x="2894" y="1111"/>
                  <a:pt x="2894" y="1102"/>
                </a:cubicBezTo>
                <a:cubicBezTo>
                  <a:pt x="2894" y="1102"/>
                  <a:pt x="2894" y="1102"/>
                  <a:pt x="2890" y="1102"/>
                </a:cubicBezTo>
                <a:cubicBezTo>
                  <a:pt x="2881" y="1102"/>
                  <a:pt x="2875" y="1106"/>
                  <a:pt x="2875" y="1115"/>
                </a:cubicBezTo>
                <a:cubicBezTo>
                  <a:pt x="2875" y="1117"/>
                  <a:pt x="2876" y="1120"/>
                  <a:pt x="2876" y="1122"/>
                </a:cubicBezTo>
                <a:cubicBezTo>
                  <a:pt x="2876" y="1124"/>
                  <a:pt x="2876" y="1127"/>
                  <a:pt x="2876" y="1129"/>
                </a:cubicBezTo>
                <a:cubicBezTo>
                  <a:pt x="2876" y="1131"/>
                  <a:pt x="2876" y="1135"/>
                  <a:pt x="2870" y="1135"/>
                </a:cubicBezTo>
                <a:close/>
                <a:moveTo>
                  <a:pt x="2924" y="1143"/>
                </a:moveTo>
                <a:cubicBezTo>
                  <a:pt x="2924" y="1143"/>
                  <a:pt x="2924" y="1143"/>
                  <a:pt x="2924" y="1143"/>
                </a:cubicBezTo>
                <a:cubicBezTo>
                  <a:pt x="2924" y="1135"/>
                  <a:pt x="2924" y="1135"/>
                  <a:pt x="2924" y="1135"/>
                </a:cubicBezTo>
                <a:cubicBezTo>
                  <a:pt x="2918" y="1135"/>
                  <a:pt x="2918" y="1131"/>
                  <a:pt x="2918" y="1129"/>
                </a:cubicBezTo>
                <a:cubicBezTo>
                  <a:pt x="2918" y="1127"/>
                  <a:pt x="2918" y="1124"/>
                  <a:pt x="2918" y="1122"/>
                </a:cubicBezTo>
                <a:cubicBezTo>
                  <a:pt x="2919" y="1120"/>
                  <a:pt x="2919" y="1117"/>
                  <a:pt x="2919" y="1115"/>
                </a:cubicBezTo>
                <a:cubicBezTo>
                  <a:pt x="2919" y="1106"/>
                  <a:pt x="2913" y="1102"/>
                  <a:pt x="2904" y="1102"/>
                </a:cubicBezTo>
                <a:cubicBezTo>
                  <a:pt x="2904" y="1102"/>
                  <a:pt x="2904" y="1102"/>
                  <a:pt x="2900" y="1102"/>
                </a:cubicBezTo>
                <a:cubicBezTo>
                  <a:pt x="2900" y="1102"/>
                  <a:pt x="2900" y="1102"/>
                  <a:pt x="2900" y="1111"/>
                </a:cubicBezTo>
                <a:cubicBezTo>
                  <a:pt x="2900" y="1111"/>
                  <a:pt x="2900" y="1111"/>
                  <a:pt x="2902" y="1111"/>
                </a:cubicBezTo>
                <a:cubicBezTo>
                  <a:pt x="2906" y="1111"/>
                  <a:pt x="2907" y="1114"/>
                  <a:pt x="2907" y="1117"/>
                </a:cubicBezTo>
                <a:cubicBezTo>
                  <a:pt x="2907" y="1118"/>
                  <a:pt x="2907" y="1120"/>
                  <a:pt x="2907" y="1122"/>
                </a:cubicBezTo>
                <a:cubicBezTo>
                  <a:pt x="2906" y="1124"/>
                  <a:pt x="2906" y="1126"/>
                  <a:pt x="2906" y="1128"/>
                </a:cubicBezTo>
                <a:cubicBezTo>
                  <a:pt x="2906" y="1136"/>
                  <a:pt x="2909" y="1138"/>
                  <a:pt x="2915" y="1139"/>
                </a:cubicBezTo>
                <a:cubicBezTo>
                  <a:pt x="2915" y="1139"/>
                  <a:pt x="2915" y="1139"/>
                  <a:pt x="2915" y="1139"/>
                </a:cubicBezTo>
                <a:cubicBezTo>
                  <a:pt x="2909" y="1140"/>
                  <a:pt x="2906" y="1143"/>
                  <a:pt x="2906" y="1151"/>
                </a:cubicBezTo>
                <a:cubicBezTo>
                  <a:pt x="2906" y="1153"/>
                  <a:pt x="2906" y="1155"/>
                  <a:pt x="2907" y="1157"/>
                </a:cubicBezTo>
                <a:cubicBezTo>
                  <a:pt x="2907" y="1158"/>
                  <a:pt x="2907" y="1160"/>
                  <a:pt x="2907" y="1161"/>
                </a:cubicBezTo>
                <a:cubicBezTo>
                  <a:pt x="2907" y="1165"/>
                  <a:pt x="2906" y="1167"/>
                  <a:pt x="2902" y="1167"/>
                </a:cubicBezTo>
                <a:cubicBezTo>
                  <a:pt x="2902" y="1167"/>
                  <a:pt x="2902" y="1167"/>
                  <a:pt x="2900" y="1167"/>
                </a:cubicBezTo>
                <a:cubicBezTo>
                  <a:pt x="2900" y="1167"/>
                  <a:pt x="2900" y="1167"/>
                  <a:pt x="2900" y="1176"/>
                </a:cubicBezTo>
                <a:cubicBezTo>
                  <a:pt x="2900" y="1176"/>
                  <a:pt x="2900" y="1176"/>
                  <a:pt x="2904" y="1176"/>
                </a:cubicBezTo>
                <a:cubicBezTo>
                  <a:pt x="2913" y="1176"/>
                  <a:pt x="2919" y="1173"/>
                  <a:pt x="2919" y="1164"/>
                </a:cubicBezTo>
                <a:cubicBezTo>
                  <a:pt x="2919" y="1161"/>
                  <a:pt x="2919" y="1159"/>
                  <a:pt x="2918" y="1157"/>
                </a:cubicBezTo>
                <a:cubicBezTo>
                  <a:pt x="2918" y="1154"/>
                  <a:pt x="2918" y="1152"/>
                  <a:pt x="2918" y="1149"/>
                </a:cubicBezTo>
                <a:cubicBezTo>
                  <a:pt x="2918" y="1147"/>
                  <a:pt x="2918" y="1144"/>
                  <a:pt x="2924" y="1143"/>
                </a:cubicBezTo>
                <a:close/>
                <a:moveTo>
                  <a:pt x="3685" y="1143"/>
                </a:moveTo>
                <a:cubicBezTo>
                  <a:pt x="3685" y="1143"/>
                  <a:pt x="3685" y="1143"/>
                  <a:pt x="3685" y="1143"/>
                </a:cubicBezTo>
                <a:cubicBezTo>
                  <a:pt x="3685" y="1135"/>
                  <a:pt x="3685" y="1135"/>
                  <a:pt x="3685" y="1135"/>
                </a:cubicBezTo>
                <a:cubicBezTo>
                  <a:pt x="3679" y="1135"/>
                  <a:pt x="3678" y="1131"/>
                  <a:pt x="3678" y="1129"/>
                </a:cubicBezTo>
                <a:cubicBezTo>
                  <a:pt x="3678" y="1127"/>
                  <a:pt x="3678" y="1124"/>
                  <a:pt x="3679" y="1122"/>
                </a:cubicBezTo>
                <a:cubicBezTo>
                  <a:pt x="3679" y="1120"/>
                  <a:pt x="3679" y="1117"/>
                  <a:pt x="3679" y="1115"/>
                </a:cubicBezTo>
                <a:cubicBezTo>
                  <a:pt x="3679" y="1106"/>
                  <a:pt x="3674" y="1102"/>
                  <a:pt x="3665" y="1102"/>
                </a:cubicBezTo>
                <a:cubicBezTo>
                  <a:pt x="3665" y="1102"/>
                  <a:pt x="3665" y="1102"/>
                  <a:pt x="3661" y="1102"/>
                </a:cubicBezTo>
                <a:cubicBezTo>
                  <a:pt x="3661" y="1102"/>
                  <a:pt x="3661" y="1102"/>
                  <a:pt x="3661" y="1111"/>
                </a:cubicBezTo>
                <a:cubicBezTo>
                  <a:pt x="3661" y="1111"/>
                  <a:pt x="3661" y="1111"/>
                  <a:pt x="3662" y="1111"/>
                </a:cubicBezTo>
                <a:cubicBezTo>
                  <a:pt x="3666" y="1111"/>
                  <a:pt x="3667" y="1114"/>
                  <a:pt x="3667" y="1117"/>
                </a:cubicBezTo>
                <a:cubicBezTo>
                  <a:pt x="3667" y="1118"/>
                  <a:pt x="3667" y="1120"/>
                  <a:pt x="3667" y="1122"/>
                </a:cubicBezTo>
                <a:cubicBezTo>
                  <a:pt x="3667" y="1124"/>
                  <a:pt x="3667" y="1126"/>
                  <a:pt x="3667" y="1128"/>
                </a:cubicBezTo>
                <a:cubicBezTo>
                  <a:pt x="3667" y="1136"/>
                  <a:pt x="3669" y="1138"/>
                  <a:pt x="3675" y="1139"/>
                </a:cubicBezTo>
                <a:cubicBezTo>
                  <a:pt x="3675" y="1139"/>
                  <a:pt x="3675" y="1139"/>
                  <a:pt x="3675" y="1139"/>
                </a:cubicBezTo>
                <a:cubicBezTo>
                  <a:pt x="3669" y="1140"/>
                  <a:pt x="3667" y="1143"/>
                  <a:pt x="3667" y="1151"/>
                </a:cubicBezTo>
                <a:cubicBezTo>
                  <a:pt x="3667" y="1153"/>
                  <a:pt x="3667" y="1155"/>
                  <a:pt x="3667" y="1157"/>
                </a:cubicBezTo>
                <a:cubicBezTo>
                  <a:pt x="3667" y="1158"/>
                  <a:pt x="3667" y="1160"/>
                  <a:pt x="3667" y="1161"/>
                </a:cubicBezTo>
                <a:cubicBezTo>
                  <a:pt x="3667" y="1165"/>
                  <a:pt x="3666" y="1167"/>
                  <a:pt x="3662" y="1167"/>
                </a:cubicBezTo>
                <a:cubicBezTo>
                  <a:pt x="3662" y="1167"/>
                  <a:pt x="3662" y="1167"/>
                  <a:pt x="3661" y="1167"/>
                </a:cubicBezTo>
                <a:cubicBezTo>
                  <a:pt x="3661" y="1167"/>
                  <a:pt x="3661" y="1167"/>
                  <a:pt x="3661" y="1176"/>
                </a:cubicBezTo>
                <a:cubicBezTo>
                  <a:pt x="3661" y="1176"/>
                  <a:pt x="3661" y="1176"/>
                  <a:pt x="3665" y="1176"/>
                </a:cubicBezTo>
                <a:cubicBezTo>
                  <a:pt x="3673" y="1176"/>
                  <a:pt x="3679" y="1173"/>
                  <a:pt x="3679" y="1164"/>
                </a:cubicBezTo>
                <a:cubicBezTo>
                  <a:pt x="3679" y="1161"/>
                  <a:pt x="3679" y="1159"/>
                  <a:pt x="3679" y="1157"/>
                </a:cubicBezTo>
                <a:cubicBezTo>
                  <a:pt x="3678" y="1154"/>
                  <a:pt x="3678" y="1152"/>
                  <a:pt x="3678" y="1149"/>
                </a:cubicBezTo>
                <a:cubicBezTo>
                  <a:pt x="3678" y="1147"/>
                  <a:pt x="3679" y="1144"/>
                  <a:pt x="3685" y="1143"/>
                </a:cubicBezTo>
                <a:close/>
                <a:moveTo>
                  <a:pt x="3805" y="1176"/>
                </a:moveTo>
                <a:cubicBezTo>
                  <a:pt x="3798" y="1176"/>
                  <a:pt x="3791" y="1173"/>
                  <a:pt x="3787" y="1168"/>
                </a:cubicBezTo>
                <a:cubicBezTo>
                  <a:pt x="3783" y="1161"/>
                  <a:pt x="3781" y="1152"/>
                  <a:pt x="3781" y="1140"/>
                </a:cubicBezTo>
                <a:cubicBezTo>
                  <a:pt x="3781" y="1127"/>
                  <a:pt x="3783" y="1117"/>
                  <a:pt x="3787" y="1111"/>
                </a:cubicBezTo>
                <a:cubicBezTo>
                  <a:pt x="3792" y="1104"/>
                  <a:pt x="3798" y="1101"/>
                  <a:pt x="3807" y="1101"/>
                </a:cubicBezTo>
                <a:cubicBezTo>
                  <a:pt x="3823" y="1101"/>
                  <a:pt x="3831" y="1113"/>
                  <a:pt x="3831" y="1138"/>
                </a:cubicBezTo>
                <a:cubicBezTo>
                  <a:pt x="3831" y="1151"/>
                  <a:pt x="3829" y="1160"/>
                  <a:pt x="3824" y="1167"/>
                </a:cubicBezTo>
                <a:cubicBezTo>
                  <a:pt x="3820" y="1173"/>
                  <a:pt x="3813" y="1176"/>
                  <a:pt x="3805" y="1176"/>
                </a:cubicBezTo>
                <a:close/>
                <a:moveTo>
                  <a:pt x="3806" y="1110"/>
                </a:moveTo>
                <a:cubicBezTo>
                  <a:pt x="3797" y="1110"/>
                  <a:pt x="3793" y="1120"/>
                  <a:pt x="3793" y="1140"/>
                </a:cubicBezTo>
                <a:cubicBezTo>
                  <a:pt x="3793" y="1158"/>
                  <a:pt x="3797" y="1167"/>
                  <a:pt x="3806" y="1167"/>
                </a:cubicBezTo>
                <a:cubicBezTo>
                  <a:pt x="3814" y="1167"/>
                  <a:pt x="3819" y="1158"/>
                  <a:pt x="3819" y="1139"/>
                </a:cubicBezTo>
                <a:cubicBezTo>
                  <a:pt x="3819" y="1119"/>
                  <a:pt x="3814" y="1110"/>
                  <a:pt x="3806" y="1110"/>
                </a:cubicBezTo>
                <a:close/>
                <a:moveTo>
                  <a:pt x="3711" y="1176"/>
                </a:moveTo>
                <a:cubicBezTo>
                  <a:pt x="3714" y="1157"/>
                  <a:pt x="3714" y="1157"/>
                  <a:pt x="3714" y="1157"/>
                </a:cubicBezTo>
                <a:cubicBezTo>
                  <a:pt x="3705" y="1157"/>
                  <a:pt x="3705" y="1157"/>
                  <a:pt x="3705" y="1157"/>
                </a:cubicBezTo>
                <a:cubicBezTo>
                  <a:pt x="3705" y="1145"/>
                  <a:pt x="3705" y="1145"/>
                  <a:pt x="3705" y="1145"/>
                </a:cubicBezTo>
                <a:cubicBezTo>
                  <a:pt x="3716" y="1145"/>
                  <a:pt x="3716" y="1145"/>
                  <a:pt x="3716" y="1145"/>
                </a:cubicBezTo>
                <a:cubicBezTo>
                  <a:pt x="3718" y="1134"/>
                  <a:pt x="3718" y="1134"/>
                  <a:pt x="3718" y="1134"/>
                </a:cubicBezTo>
                <a:cubicBezTo>
                  <a:pt x="3708" y="1134"/>
                  <a:pt x="3708" y="1134"/>
                  <a:pt x="3708" y="1134"/>
                </a:cubicBezTo>
                <a:cubicBezTo>
                  <a:pt x="3708" y="1122"/>
                  <a:pt x="3708" y="1122"/>
                  <a:pt x="3708" y="1122"/>
                </a:cubicBezTo>
                <a:cubicBezTo>
                  <a:pt x="3720" y="1122"/>
                  <a:pt x="3720" y="1122"/>
                  <a:pt x="3720" y="1122"/>
                </a:cubicBezTo>
                <a:cubicBezTo>
                  <a:pt x="3722" y="1104"/>
                  <a:pt x="3722" y="1104"/>
                  <a:pt x="3722" y="1104"/>
                </a:cubicBezTo>
                <a:cubicBezTo>
                  <a:pt x="3734" y="1104"/>
                  <a:pt x="3734" y="1104"/>
                  <a:pt x="3734" y="1104"/>
                </a:cubicBezTo>
                <a:cubicBezTo>
                  <a:pt x="3731" y="1122"/>
                  <a:pt x="3731" y="1122"/>
                  <a:pt x="3731" y="1122"/>
                </a:cubicBezTo>
                <a:cubicBezTo>
                  <a:pt x="3740" y="1122"/>
                  <a:pt x="3740" y="1122"/>
                  <a:pt x="3740" y="1122"/>
                </a:cubicBezTo>
                <a:cubicBezTo>
                  <a:pt x="3743" y="1104"/>
                  <a:pt x="3743" y="1104"/>
                  <a:pt x="3743" y="1104"/>
                </a:cubicBezTo>
                <a:cubicBezTo>
                  <a:pt x="3754" y="1104"/>
                  <a:pt x="3754" y="1104"/>
                  <a:pt x="3754" y="1104"/>
                </a:cubicBezTo>
                <a:cubicBezTo>
                  <a:pt x="3751" y="1122"/>
                  <a:pt x="3751" y="1122"/>
                  <a:pt x="3751" y="1122"/>
                </a:cubicBezTo>
                <a:cubicBezTo>
                  <a:pt x="3760" y="1122"/>
                  <a:pt x="3760" y="1122"/>
                  <a:pt x="3760" y="1122"/>
                </a:cubicBezTo>
                <a:cubicBezTo>
                  <a:pt x="3760" y="1134"/>
                  <a:pt x="3760" y="1134"/>
                  <a:pt x="3760" y="1134"/>
                </a:cubicBezTo>
                <a:cubicBezTo>
                  <a:pt x="3750" y="1134"/>
                  <a:pt x="3750" y="1134"/>
                  <a:pt x="3750" y="1134"/>
                </a:cubicBezTo>
                <a:cubicBezTo>
                  <a:pt x="3748" y="1145"/>
                  <a:pt x="3748" y="1145"/>
                  <a:pt x="3748" y="1145"/>
                </a:cubicBezTo>
                <a:cubicBezTo>
                  <a:pt x="3757" y="1145"/>
                  <a:pt x="3757" y="1145"/>
                  <a:pt x="3757" y="1145"/>
                </a:cubicBezTo>
                <a:cubicBezTo>
                  <a:pt x="3757" y="1157"/>
                  <a:pt x="3757" y="1157"/>
                  <a:pt x="3757" y="1157"/>
                </a:cubicBezTo>
                <a:cubicBezTo>
                  <a:pt x="3746" y="1157"/>
                  <a:pt x="3746" y="1157"/>
                  <a:pt x="3746" y="1157"/>
                </a:cubicBezTo>
                <a:cubicBezTo>
                  <a:pt x="3743" y="1176"/>
                  <a:pt x="3743" y="1176"/>
                  <a:pt x="3743" y="1176"/>
                </a:cubicBezTo>
                <a:cubicBezTo>
                  <a:pt x="3732" y="1176"/>
                  <a:pt x="3732" y="1176"/>
                  <a:pt x="3732" y="1176"/>
                </a:cubicBezTo>
                <a:cubicBezTo>
                  <a:pt x="3735" y="1157"/>
                  <a:pt x="3735" y="1157"/>
                  <a:pt x="3735" y="1157"/>
                </a:cubicBezTo>
                <a:cubicBezTo>
                  <a:pt x="3725" y="1157"/>
                  <a:pt x="3725" y="1157"/>
                  <a:pt x="3725" y="1157"/>
                </a:cubicBezTo>
                <a:cubicBezTo>
                  <a:pt x="3723" y="1176"/>
                  <a:pt x="3723" y="1176"/>
                  <a:pt x="3723" y="1176"/>
                </a:cubicBezTo>
                <a:cubicBezTo>
                  <a:pt x="3711" y="1176"/>
                  <a:pt x="3711" y="1176"/>
                  <a:pt x="3711" y="1176"/>
                </a:cubicBezTo>
                <a:cubicBezTo>
                  <a:pt x="3711" y="1176"/>
                  <a:pt x="3711" y="1176"/>
                  <a:pt x="3711" y="1176"/>
                </a:cubicBezTo>
                <a:close/>
                <a:moveTo>
                  <a:pt x="3737" y="1145"/>
                </a:moveTo>
                <a:cubicBezTo>
                  <a:pt x="3738" y="1134"/>
                  <a:pt x="3738" y="1134"/>
                  <a:pt x="3738" y="1134"/>
                </a:cubicBezTo>
                <a:cubicBezTo>
                  <a:pt x="3729" y="1134"/>
                  <a:pt x="3729" y="1134"/>
                  <a:pt x="3729" y="1134"/>
                </a:cubicBezTo>
                <a:cubicBezTo>
                  <a:pt x="3727" y="1145"/>
                  <a:pt x="3727" y="1145"/>
                  <a:pt x="3727" y="1145"/>
                </a:cubicBezTo>
                <a:cubicBezTo>
                  <a:pt x="3737" y="1145"/>
                  <a:pt x="3737" y="1145"/>
                  <a:pt x="3737" y="1145"/>
                </a:cubicBezTo>
                <a:cubicBezTo>
                  <a:pt x="3737" y="1145"/>
                  <a:pt x="3737" y="1145"/>
                  <a:pt x="3737" y="1145"/>
                </a:cubicBezTo>
                <a:close/>
                <a:moveTo>
                  <a:pt x="2596" y="1150"/>
                </a:moveTo>
                <a:cubicBezTo>
                  <a:pt x="2596" y="1152"/>
                  <a:pt x="2597" y="1153"/>
                  <a:pt x="2598" y="1155"/>
                </a:cubicBezTo>
                <a:cubicBezTo>
                  <a:pt x="2598" y="1156"/>
                  <a:pt x="2598" y="1158"/>
                  <a:pt x="2599" y="1160"/>
                </a:cubicBezTo>
                <a:cubicBezTo>
                  <a:pt x="2599" y="1161"/>
                  <a:pt x="2599" y="1163"/>
                  <a:pt x="2599" y="1164"/>
                </a:cubicBezTo>
                <a:cubicBezTo>
                  <a:pt x="2600" y="1168"/>
                  <a:pt x="2599" y="1169"/>
                  <a:pt x="2596" y="1169"/>
                </a:cubicBezTo>
                <a:cubicBezTo>
                  <a:pt x="2593" y="1169"/>
                  <a:pt x="2590" y="1169"/>
                  <a:pt x="2587" y="1169"/>
                </a:cubicBezTo>
                <a:cubicBezTo>
                  <a:pt x="2587" y="1169"/>
                  <a:pt x="2586" y="1169"/>
                  <a:pt x="2586" y="1169"/>
                </a:cubicBezTo>
                <a:cubicBezTo>
                  <a:pt x="2584" y="1171"/>
                  <a:pt x="2583" y="1172"/>
                  <a:pt x="2581" y="1174"/>
                </a:cubicBezTo>
                <a:cubicBezTo>
                  <a:pt x="2579" y="1176"/>
                  <a:pt x="2576" y="1176"/>
                  <a:pt x="2574" y="1174"/>
                </a:cubicBezTo>
                <a:cubicBezTo>
                  <a:pt x="2572" y="1172"/>
                  <a:pt x="2571" y="1170"/>
                  <a:pt x="2569" y="1167"/>
                </a:cubicBezTo>
                <a:cubicBezTo>
                  <a:pt x="2568" y="1165"/>
                  <a:pt x="2569" y="1164"/>
                  <a:pt x="2571" y="1162"/>
                </a:cubicBezTo>
                <a:cubicBezTo>
                  <a:pt x="2568" y="1162"/>
                  <a:pt x="2567" y="1162"/>
                  <a:pt x="2565" y="1162"/>
                </a:cubicBezTo>
                <a:cubicBezTo>
                  <a:pt x="2564" y="1164"/>
                  <a:pt x="2563" y="1166"/>
                  <a:pt x="2562" y="1168"/>
                </a:cubicBezTo>
                <a:cubicBezTo>
                  <a:pt x="2562" y="1169"/>
                  <a:pt x="2562" y="1170"/>
                  <a:pt x="2562" y="1170"/>
                </a:cubicBezTo>
                <a:cubicBezTo>
                  <a:pt x="2562" y="1174"/>
                  <a:pt x="2561" y="1175"/>
                  <a:pt x="2558" y="1174"/>
                </a:cubicBezTo>
                <a:cubicBezTo>
                  <a:pt x="2555" y="1174"/>
                  <a:pt x="2552" y="1173"/>
                  <a:pt x="2549" y="1172"/>
                </a:cubicBezTo>
                <a:cubicBezTo>
                  <a:pt x="2547" y="1172"/>
                  <a:pt x="2546" y="1170"/>
                  <a:pt x="2547" y="1168"/>
                </a:cubicBezTo>
                <a:cubicBezTo>
                  <a:pt x="2547" y="1167"/>
                  <a:pt x="2547" y="1166"/>
                  <a:pt x="2548" y="1166"/>
                </a:cubicBezTo>
                <a:cubicBezTo>
                  <a:pt x="2545" y="1165"/>
                  <a:pt x="2543" y="1164"/>
                  <a:pt x="2541" y="1163"/>
                </a:cubicBezTo>
                <a:cubicBezTo>
                  <a:pt x="2540" y="1162"/>
                  <a:pt x="2538" y="1160"/>
                  <a:pt x="2538" y="1159"/>
                </a:cubicBezTo>
                <a:cubicBezTo>
                  <a:pt x="2537" y="1157"/>
                  <a:pt x="2537" y="1155"/>
                  <a:pt x="2539" y="1153"/>
                </a:cubicBezTo>
                <a:cubicBezTo>
                  <a:pt x="2542" y="1151"/>
                  <a:pt x="2543" y="1148"/>
                  <a:pt x="2542" y="1144"/>
                </a:cubicBezTo>
                <a:cubicBezTo>
                  <a:pt x="2542" y="1142"/>
                  <a:pt x="2542" y="1140"/>
                  <a:pt x="2542" y="1138"/>
                </a:cubicBezTo>
                <a:cubicBezTo>
                  <a:pt x="2541" y="1138"/>
                  <a:pt x="2539" y="1137"/>
                  <a:pt x="2538" y="1136"/>
                </a:cubicBezTo>
                <a:cubicBezTo>
                  <a:pt x="2537" y="1134"/>
                  <a:pt x="2536" y="1132"/>
                  <a:pt x="2536" y="1130"/>
                </a:cubicBezTo>
                <a:cubicBezTo>
                  <a:pt x="2536" y="1128"/>
                  <a:pt x="2539" y="1125"/>
                  <a:pt x="2542" y="1124"/>
                </a:cubicBezTo>
                <a:cubicBezTo>
                  <a:pt x="2542" y="1125"/>
                  <a:pt x="2542" y="1126"/>
                  <a:pt x="2543" y="1126"/>
                </a:cubicBezTo>
                <a:cubicBezTo>
                  <a:pt x="2543" y="1128"/>
                  <a:pt x="2543" y="1128"/>
                  <a:pt x="2543" y="1130"/>
                </a:cubicBezTo>
                <a:cubicBezTo>
                  <a:pt x="2542" y="1129"/>
                  <a:pt x="2542" y="1129"/>
                  <a:pt x="2542" y="1129"/>
                </a:cubicBezTo>
                <a:cubicBezTo>
                  <a:pt x="2541" y="1130"/>
                  <a:pt x="2541" y="1132"/>
                  <a:pt x="2540" y="1134"/>
                </a:cubicBezTo>
                <a:cubicBezTo>
                  <a:pt x="2541" y="1133"/>
                  <a:pt x="2542" y="1133"/>
                  <a:pt x="2542" y="1133"/>
                </a:cubicBezTo>
                <a:cubicBezTo>
                  <a:pt x="2544" y="1132"/>
                  <a:pt x="2544" y="1131"/>
                  <a:pt x="2545" y="1130"/>
                </a:cubicBezTo>
                <a:cubicBezTo>
                  <a:pt x="2549" y="1123"/>
                  <a:pt x="2555" y="1119"/>
                  <a:pt x="2563" y="1117"/>
                </a:cubicBezTo>
                <a:cubicBezTo>
                  <a:pt x="2566" y="1117"/>
                  <a:pt x="2570" y="1116"/>
                  <a:pt x="2572" y="1113"/>
                </a:cubicBezTo>
                <a:cubicBezTo>
                  <a:pt x="2572" y="1113"/>
                  <a:pt x="2573" y="1112"/>
                  <a:pt x="2573" y="1112"/>
                </a:cubicBezTo>
                <a:cubicBezTo>
                  <a:pt x="2576" y="1112"/>
                  <a:pt x="2577" y="1109"/>
                  <a:pt x="2579" y="1107"/>
                </a:cubicBezTo>
                <a:cubicBezTo>
                  <a:pt x="2587" y="1100"/>
                  <a:pt x="2599" y="1100"/>
                  <a:pt x="2607" y="1106"/>
                </a:cubicBezTo>
                <a:cubicBezTo>
                  <a:pt x="2609" y="1108"/>
                  <a:pt x="2612" y="1110"/>
                  <a:pt x="2614" y="1112"/>
                </a:cubicBezTo>
                <a:cubicBezTo>
                  <a:pt x="2616" y="1113"/>
                  <a:pt x="2617" y="1115"/>
                  <a:pt x="2618" y="1117"/>
                </a:cubicBezTo>
                <a:cubicBezTo>
                  <a:pt x="2619" y="1119"/>
                  <a:pt x="2620" y="1119"/>
                  <a:pt x="2621" y="1117"/>
                </a:cubicBezTo>
                <a:cubicBezTo>
                  <a:pt x="2622" y="1117"/>
                  <a:pt x="2622" y="1116"/>
                  <a:pt x="2623" y="1115"/>
                </a:cubicBezTo>
                <a:cubicBezTo>
                  <a:pt x="2625" y="1113"/>
                  <a:pt x="2628" y="1113"/>
                  <a:pt x="2630" y="1116"/>
                </a:cubicBezTo>
                <a:cubicBezTo>
                  <a:pt x="2631" y="1119"/>
                  <a:pt x="2631" y="1122"/>
                  <a:pt x="2632" y="1125"/>
                </a:cubicBezTo>
                <a:cubicBezTo>
                  <a:pt x="2633" y="1129"/>
                  <a:pt x="2632" y="1134"/>
                  <a:pt x="2631" y="1138"/>
                </a:cubicBezTo>
                <a:cubicBezTo>
                  <a:pt x="2628" y="1144"/>
                  <a:pt x="2624" y="1148"/>
                  <a:pt x="2617" y="1148"/>
                </a:cubicBezTo>
                <a:cubicBezTo>
                  <a:pt x="2616" y="1148"/>
                  <a:pt x="2616" y="1148"/>
                  <a:pt x="2615" y="1148"/>
                </a:cubicBezTo>
                <a:cubicBezTo>
                  <a:pt x="2613" y="1147"/>
                  <a:pt x="2611" y="1148"/>
                  <a:pt x="2611" y="1150"/>
                </a:cubicBezTo>
                <a:cubicBezTo>
                  <a:pt x="2609" y="1155"/>
                  <a:pt x="2603" y="1156"/>
                  <a:pt x="2600" y="1153"/>
                </a:cubicBezTo>
                <a:cubicBezTo>
                  <a:pt x="2599" y="1152"/>
                  <a:pt x="2598" y="1151"/>
                  <a:pt x="2597" y="1150"/>
                </a:cubicBezTo>
                <a:cubicBezTo>
                  <a:pt x="2596" y="1150"/>
                  <a:pt x="2596" y="1150"/>
                  <a:pt x="2596" y="1150"/>
                </a:cubicBezTo>
                <a:close/>
                <a:moveTo>
                  <a:pt x="2590" y="1146"/>
                </a:moveTo>
                <a:cubicBezTo>
                  <a:pt x="2594" y="1147"/>
                  <a:pt x="2598" y="1149"/>
                  <a:pt x="2600" y="1151"/>
                </a:cubicBezTo>
                <a:cubicBezTo>
                  <a:pt x="2602" y="1153"/>
                  <a:pt x="2604" y="1154"/>
                  <a:pt x="2606" y="1153"/>
                </a:cubicBezTo>
                <a:cubicBezTo>
                  <a:pt x="2609" y="1152"/>
                  <a:pt x="2610" y="1150"/>
                  <a:pt x="2610" y="1147"/>
                </a:cubicBezTo>
                <a:cubicBezTo>
                  <a:pt x="2610" y="1147"/>
                  <a:pt x="2609" y="1147"/>
                  <a:pt x="2609" y="1148"/>
                </a:cubicBezTo>
                <a:cubicBezTo>
                  <a:pt x="2609" y="1149"/>
                  <a:pt x="2607" y="1150"/>
                  <a:pt x="2607" y="1151"/>
                </a:cubicBezTo>
                <a:cubicBezTo>
                  <a:pt x="2605" y="1153"/>
                  <a:pt x="2604" y="1152"/>
                  <a:pt x="2603" y="1152"/>
                </a:cubicBezTo>
                <a:cubicBezTo>
                  <a:pt x="2603" y="1152"/>
                  <a:pt x="2602" y="1151"/>
                  <a:pt x="2602" y="1150"/>
                </a:cubicBezTo>
                <a:cubicBezTo>
                  <a:pt x="2602" y="1147"/>
                  <a:pt x="2603" y="1145"/>
                  <a:pt x="2603" y="1144"/>
                </a:cubicBezTo>
                <a:cubicBezTo>
                  <a:pt x="2606" y="1144"/>
                  <a:pt x="2609" y="1145"/>
                  <a:pt x="2613" y="1146"/>
                </a:cubicBezTo>
                <a:cubicBezTo>
                  <a:pt x="2620" y="1147"/>
                  <a:pt x="2626" y="1145"/>
                  <a:pt x="2630" y="1137"/>
                </a:cubicBezTo>
                <a:cubicBezTo>
                  <a:pt x="2631" y="1132"/>
                  <a:pt x="2631" y="1127"/>
                  <a:pt x="2630" y="1122"/>
                </a:cubicBezTo>
                <a:cubicBezTo>
                  <a:pt x="2630" y="1120"/>
                  <a:pt x="2629" y="1119"/>
                  <a:pt x="2628" y="1117"/>
                </a:cubicBezTo>
                <a:cubicBezTo>
                  <a:pt x="2627" y="1115"/>
                  <a:pt x="2626" y="1115"/>
                  <a:pt x="2625" y="1116"/>
                </a:cubicBezTo>
                <a:cubicBezTo>
                  <a:pt x="2623" y="1118"/>
                  <a:pt x="2622" y="1119"/>
                  <a:pt x="2620" y="1120"/>
                </a:cubicBezTo>
                <a:cubicBezTo>
                  <a:pt x="2619" y="1121"/>
                  <a:pt x="2618" y="1121"/>
                  <a:pt x="2618" y="1123"/>
                </a:cubicBezTo>
                <a:cubicBezTo>
                  <a:pt x="2619" y="1126"/>
                  <a:pt x="2618" y="1129"/>
                  <a:pt x="2617" y="1132"/>
                </a:cubicBezTo>
                <a:cubicBezTo>
                  <a:pt x="2617" y="1130"/>
                  <a:pt x="2618" y="1128"/>
                  <a:pt x="2618" y="1126"/>
                </a:cubicBezTo>
                <a:cubicBezTo>
                  <a:pt x="2618" y="1126"/>
                  <a:pt x="2617" y="1125"/>
                  <a:pt x="2617" y="1125"/>
                </a:cubicBezTo>
                <a:cubicBezTo>
                  <a:pt x="2616" y="1125"/>
                  <a:pt x="2616" y="1125"/>
                  <a:pt x="2616" y="1126"/>
                </a:cubicBezTo>
                <a:cubicBezTo>
                  <a:pt x="2615" y="1127"/>
                  <a:pt x="2614" y="1128"/>
                  <a:pt x="2613" y="1130"/>
                </a:cubicBezTo>
                <a:cubicBezTo>
                  <a:pt x="2613" y="1130"/>
                  <a:pt x="2613" y="1130"/>
                  <a:pt x="2613" y="1130"/>
                </a:cubicBezTo>
                <a:cubicBezTo>
                  <a:pt x="2613" y="1128"/>
                  <a:pt x="2614" y="1126"/>
                  <a:pt x="2614" y="1124"/>
                </a:cubicBezTo>
                <a:cubicBezTo>
                  <a:pt x="2613" y="1125"/>
                  <a:pt x="2613" y="1125"/>
                  <a:pt x="2612" y="1126"/>
                </a:cubicBezTo>
                <a:cubicBezTo>
                  <a:pt x="2611" y="1126"/>
                  <a:pt x="2611" y="1127"/>
                  <a:pt x="2611" y="1128"/>
                </a:cubicBezTo>
                <a:cubicBezTo>
                  <a:pt x="2611" y="1125"/>
                  <a:pt x="2611" y="1125"/>
                  <a:pt x="2617" y="1123"/>
                </a:cubicBezTo>
                <a:cubicBezTo>
                  <a:pt x="2617" y="1123"/>
                  <a:pt x="2616" y="1122"/>
                  <a:pt x="2616" y="1122"/>
                </a:cubicBezTo>
                <a:cubicBezTo>
                  <a:pt x="2613" y="1123"/>
                  <a:pt x="2613" y="1121"/>
                  <a:pt x="2612" y="1119"/>
                </a:cubicBezTo>
                <a:cubicBezTo>
                  <a:pt x="2614" y="1119"/>
                  <a:pt x="2615" y="1118"/>
                  <a:pt x="2617" y="1118"/>
                </a:cubicBezTo>
                <a:cubicBezTo>
                  <a:pt x="2615" y="1115"/>
                  <a:pt x="2614" y="1113"/>
                  <a:pt x="2611" y="1112"/>
                </a:cubicBezTo>
                <a:cubicBezTo>
                  <a:pt x="2610" y="1112"/>
                  <a:pt x="2610" y="1112"/>
                  <a:pt x="2610" y="1111"/>
                </a:cubicBezTo>
                <a:cubicBezTo>
                  <a:pt x="2607" y="1109"/>
                  <a:pt x="2605" y="1107"/>
                  <a:pt x="2602" y="1105"/>
                </a:cubicBezTo>
                <a:cubicBezTo>
                  <a:pt x="2600" y="1104"/>
                  <a:pt x="2597" y="1103"/>
                  <a:pt x="2595" y="1103"/>
                </a:cubicBezTo>
                <a:cubicBezTo>
                  <a:pt x="2592" y="1104"/>
                  <a:pt x="2589" y="1105"/>
                  <a:pt x="2585" y="1105"/>
                </a:cubicBezTo>
                <a:cubicBezTo>
                  <a:pt x="2583" y="1107"/>
                  <a:pt x="2580" y="1108"/>
                  <a:pt x="2578" y="1111"/>
                </a:cubicBezTo>
                <a:cubicBezTo>
                  <a:pt x="2580" y="1111"/>
                  <a:pt x="2581" y="1111"/>
                  <a:pt x="2582" y="1111"/>
                </a:cubicBezTo>
                <a:cubicBezTo>
                  <a:pt x="2582" y="1112"/>
                  <a:pt x="2581" y="1112"/>
                  <a:pt x="2580" y="1112"/>
                </a:cubicBezTo>
                <a:cubicBezTo>
                  <a:pt x="2578" y="1113"/>
                  <a:pt x="2575" y="1112"/>
                  <a:pt x="2573" y="1115"/>
                </a:cubicBezTo>
                <a:cubicBezTo>
                  <a:pt x="2570" y="1119"/>
                  <a:pt x="2566" y="1122"/>
                  <a:pt x="2562" y="1126"/>
                </a:cubicBezTo>
                <a:cubicBezTo>
                  <a:pt x="2561" y="1128"/>
                  <a:pt x="2560" y="1131"/>
                  <a:pt x="2559" y="1133"/>
                </a:cubicBezTo>
                <a:cubicBezTo>
                  <a:pt x="2559" y="1134"/>
                  <a:pt x="2559" y="1134"/>
                  <a:pt x="2559" y="1135"/>
                </a:cubicBezTo>
                <a:cubicBezTo>
                  <a:pt x="2560" y="1137"/>
                  <a:pt x="2561" y="1139"/>
                  <a:pt x="2563" y="1141"/>
                </a:cubicBezTo>
                <a:cubicBezTo>
                  <a:pt x="2564" y="1139"/>
                  <a:pt x="2565" y="1138"/>
                  <a:pt x="2566" y="1136"/>
                </a:cubicBezTo>
                <a:cubicBezTo>
                  <a:pt x="2566" y="1138"/>
                  <a:pt x="2566" y="1139"/>
                  <a:pt x="2565" y="1140"/>
                </a:cubicBezTo>
                <a:cubicBezTo>
                  <a:pt x="2564" y="1142"/>
                  <a:pt x="2563" y="1143"/>
                  <a:pt x="2563" y="1144"/>
                </a:cubicBezTo>
                <a:cubicBezTo>
                  <a:pt x="2562" y="1145"/>
                  <a:pt x="2563" y="1146"/>
                  <a:pt x="2563" y="1147"/>
                </a:cubicBezTo>
                <a:cubicBezTo>
                  <a:pt x="2566" y="1151"/>
                  <a:pt x="2569" y="1151"/>
                  <a:pt x="2573" y="1149"/>
                </a:cubicBezTo>
                <a:cubicBezTo>
                  <a:pt x="2575" y="1147"/>
                  <a:pt x="2578" y="1146"/>
                  <a:pt x="2581" y="1145"/>
                </a:cubicBezTo>
                <a:cubicBezTo>
                  <a:pt x="2582" y="1145"/>
                  <a:pt x="2583" y="1144"/>
                  <a:pt x="2583" y="1142"/>
                </a:cubicBezTo>
                <a:cubicBezTo>
                  <a:pt x="2583" y="1139"/>
                  <a:pt x="2583" y="1136"/>
                  <a:pt x="2583" y="1132"/>
                </a:cubicBezTo>
                <a:cubicBezTo>
                  <a:pt x="2583" y="1129"/>
                  <a:pt x="2583" y="1126"/>
                  <a:pt x="2583" y="1123"/>
                </a:cubicBezTo>
                <a:cubicBezTo>
                  <a:pt x="2584" y="1126"/>
                  <a:pt x="2585" y="1129"/>
                  <a:pt x="2585" y="1131"/>
                </a:cubicBezTo>
                <a:cubicBezTo>
                  <a:pt x="2586" y="1136"/>
                  <a:pt x="2586" y="1140"/>
                  <a:pt x="2585" y="1145"/>
                </a:cubicBezTo>
                <a:cubicBezTo>
                  <a:pt x="2584" y="1145"/>
                  <a:pt x="2583" y="1146"/>
                  <a:pt x="2583" y="1146"/>
                </a:cubicBezTo>
                <a:cubicBezTo>
                  <a:pt x="2579" y="1147"/>
                  <a:pt x="2576" y="1149"/>
                  <a:pt x="2573" y="1150"/>
                </a:cubicBezTo>
                <a:cubicBezTo>
                  <a:pt x="2568" y="1153"/>
                  <a:pt x="2564" y="1151"/>
                  <a:pt x="2561" y="1147"/>
                </a:cubicBezTo>
                <a:cubicBezTo>
                  <a:pt x="2561" y="1147"/>
                  <a:pt x="2561" y="1146"/>
                  <a:pt x="2561" y="1145"/>
                </a:cubicBezTo>
                <a:cubicBezTo>
                  <a:pt x="2562" y="1143"/>
                  <a:pt x="2561" y="1141"/>
                  <a:pt x="2559" y="1139"/>
                </a:cubicBezTo>
                <a:cubicBezTo>
                  <a:pt x="2558" y="1137"/>
                  <a:pt x="2556" y="1135"/>
                  <a:pt x="2557" y="1132"/>
                </a:cubicBezTo>
                <a:cubicBezTo>
                  <a:pt x="2558" y="1130"/>
                  <a:pt x="2559" y="1128"/>
                  <a:pt x="2560" y="1127"/>
                </a:cubicBezTo>
                <a:cubicBezTo>
                  <a:pt x="2562" y="1124"/>
                  <a:pt x="2564" y="1122"/>
                  <a:pt x="2566" y="1119"/>
                </a:cubicBezTo>
                <a:cubicBezTo>
                  <a:pt x="2566" y="1119"/>
                  <a:pt x="2565" y="1119"/>
                  <a:pt x="2565" y="1119"/>
                </a:cubicBezTo>
                <a:cubicBezTo>
                  <a:pt x="2560" y="1120"/>
                  <a:pt x="2555" y="1122"/>
                  <a:pt x="2551" y="1125"/>
                </a:cubicBezTo>
                <a:cubicBezTo>
                  <a:pt x="2547" y="1129"/>
                  <a:pt x="2544" y="1134"/>
                  <a:pt x="2544" y="1141"/>
                </a:cubicBezTo>
                <a:cubicBezTo>
                  <a:pt x="2543" y="1148"/>
                  <a:pt x="2546" y="1154"/>
                  <a:pt x="2549" y="1160"/>
                </a:cubicBezTo>
                <a:cubicBezTo>
                  <a:pt x="2549" y="1161"/>
                  <a:pt x="2550" y="1162"/>
                  <a:pt x="2550" y="1163"/>
                </a:cubicBezTo>
                <a:cubicBezTo>
                  <a:pt x="2550" y="1165"/>
                  <a:pt x="2549" y="1166"/>
                  <a:pt x="2549" y="1168"/>
                </a:cubicBezTo>
                <a:cubicBezTo>
                  <a:pt x="2548" y="1170"/>
                  <a:pt x="2549" y="1170"/>
                  <a:pt x="2550" y="1171"/>
                </a:cubicBezTo>
                <a:cubicBezTo>
                  <a:pt x="2553" y="1172"/>
                  <a:pt x="2556" y="1172"/>
                  <a:pt x="2559" y="1172"/>
                </a:cubicBezTo>
                <a:cubicBezTo>
                  <a:pt x="2559" y="1172"/>
                  <a:pt x="2560" y="1172"/>
                  <a:pt x="2560" y="1171"/>
                </a:cubicBezTo>
                <a:cubicBezTo>
                  <a:pt x="2561" y="1170"/>
                  <a:pt x="2561" y="1168"/>
                  <a:pt x="2561" y="1168"/>
                </a:cubicBezTo>
                <a:cubicBezTo>
                  <a:pt x="2563" y="1165"/>
                  <a:pt x="2563" y="1163"/>
                  <a:pt x="2563" y="1160"/>
                </a:cubicBezTo>
                <a:cubicBezTo>
                  <a:pt x="2563" y="1159"/>
                  <a:pt x="2563" y="1159"/>
                  <a:pt x="2563" y="1159"/>
                </a:cubicBezTo>
                <a:cubicBezTo>
                  <a:pt x="2563" y="1158"/>
                  <a:pt x="2563" y="1158"/>
                  <a:pt x="2563" y="1158"/>
                </a:cubicBezTo>
                <a:cubicBezTo>
                  <a:pt x="2564" y="1161"/>
                  <a:pt x="2565" y="1161"/>
                  <a:pt x="2567" y="1161"/>
                </a:cubicBezTo>
                <a:cubicBezTo>
                  <a:pt x="2568" y="1161"/>
                  <a:pt x="2569" y="1161"/>
                  <a:pt x="2570" y="1161"/>
                </a:cubicBezTo>
                <a:cubicBezTo>
                  <a:pt x="2572" y="1161"/>
                  <a:pt x="2576" y="1161"/>
                  <a:pt x="2576" y="1157"/>
                </a:cubicBezTo>
                <a:cubicBezTo>
                  <a:pt x="2576" y="1159"/>
                  <a:pt x="2576" y="1161"/>
                  <a:pt x="2576" y="1162"/>
                </a:cubicBezTo>
                <a:cubicBezTo>
                  <a:pt x="2575" y="1163"/>
                  <a:pt x="2574" y="1163"/>
                  <a:pt x="2572" y="1164"/>
                </a:cubicBezTo>
                <a:cubicBezTo>
                  <a:pt x="2571" y="1164"/>
                  <a:pt x="2570" y="1166"/>
                  <a:pt x="2571" y="1167"/>
                </a:cubicBezTo>
                <a:cubicBezTo>
                  <a:pt x="2572" y="1169"/>
                  <a:pt x="2574" y="1171"/>
                  <a:pt x="2575" y="1173"/>
                </a:cubicBezTo>
                <a:cubicBezTo>
                  <a:pt x="2577" y="1174"/>
                  <a:pt x="2579" y="1174"/>
                  <a:pt x="2580" y="1172"/>
                </a:cubicBezTo>
                <a:cubicBezTo>
                  <a:pt x="2581" y="1172"/>
                  <a:pt x="2581" y="1171"/>
                  <a:pt x="2582" y="1170"/>
                </a:cubicBezTo>
                <a:cubicBezTo>
                  <a:pt x="2584" y="1169"/>
                  <a:pt x="2585" y="1168"/>
                  <a:pt x="2587" y="1166"/>
                </a:cubicBezTo>
                <a:cubicBezTo>
                  <a:pt x="2591" y="1162"/>
                  <a:pt x="2593" y="1156"/>
                  <a:pt x="2595" y="1150"/>
                </a:cubicBezTo>
                <a:cubicBezTo>
                  <a:pt x="2595" y="1150"/>
                  <a:pt x="2594" y="1149"/>
                  <a:pt x="2594" y="1149"/>
                </a:cubicBezTo>
                <a:cubicBezTo>
                  <a:pt x="2593" y="1147"/>
                  <a:pt x="2592" y="1147"/>
                  <a:pt x="2590" y="1146"/>
                </a:cubicBezTo>
                <a:close/>
                <a:moveTo>
                  <a:pt x="2543" y="1152"/>
                </a:moveTo>
                <a:cubicBezTo>
                  <a:pt x="2542" y="1153"/>
                  <a:pt x="2541" y="1154"/>
                  <a:pt x="2540" y="1155"/>
                </a:cubicBezTo>
                <a:cubicBezTo>
                  <a:pt x="2539" y="1155"/>
                  <a:pt x="2539" y="1156"/>
                  <a:pt x="2539" y="1157"/>
                </a:cubicBezTo>
                <a:cubicBezTo>
                  <a:pt x="2539" y="1160"/>
                  <a:pt x="2543" y="1164"/>
                  <a:pt x="2546" y="1164"/>
                </a:cubicBezTo>
                <a:cubicBezTo>
                  <a:pt x="2548" y="1164"/>
                  <a:pt x="2549" y="1163"/>
                  <a:pt x="2548" y="1161"/>
                </a:cubicBezTo>
                <a:cubicBezTo>
                  <a:pt x="2546" y="1158"/>
                  <a:pt x="2545" y="1155"/>
                  <a:pt x="2543" y="1152"/>
                </a:cubicBezTo>
                <a:close/>
                <a:moveTo>
                  <a:pt x="2596" y="1154"/>
                </a:moveTo>
                <a:cubicBezTo>
                  <a:pt x="2594" y="1159"/>
                  <a:pt x="2591" y="1163"/>
                  <a:pt x="2589" y="1168"/>
                </a:cubicBezTo>
                <a:cubicBezTo>
                  <a:pt x="2592" y="1168"/>
                  <a:pt x="2594" y="1168"/>
                  <a:pt x="2597" y="1168"/>
                </a:cubicBezTo>
                <a:cubicBezTo>
                  <a:pt x="2597" y="1168"/>
                  <a:pt x="2598" y="1166"/>
                  <a:pt x="2598" y="1166"/>
                </a:cubicBezTo>
                <a:cubicBezTo>
                  <a:pt x="2598" y="1163"/>
                  <a:pt x="2598" y="1161"/>
                  <a:pt x="2597" y="1159"/>
                </a:cubicBezTo>
                <a:cubicBezTo>
                  <a:pt x="2597" y="1157"/>
                  <a:pt x="2596" y="1156"/>
                  <a:pt x="2596" y="1154"/>
                </a:cubicBezTo>
                <a:close/>
                <a:moveTo>
                  <a:pt x="2543" y="1134"/>
                </a:moveTo>
                <a:cubicBezTo>
                  <a:pt x="2542" y="1134"/>
                  <a:pt x="2542" y="1135"/>
                  <a:pt x="2541" y="1135"/>
                </a:cubicBezTo>
                <a:cubicBezTo>
                  <a:pt x="2540" y="1135"/>
                  <a:pt x="2540" y="1135"/>
                  <a:pt x="2540" y="1134"/>
                </a:cubicBezTo>
                <a:cubicBezTo>
                  <a:pt x="2539" y="1134"/>
                  <a:pt x="2539" y="1133"/>
                  <a:pt x="2539" y="1132"/>
                </a:cubicBezTo>
                <a:cubicBezTo>
                  <a:pt x="2540" y="1130"/>
                  <a:pt x="2540" y="1128"/>
                  <a:pt x="2541" y="1126"/>
                </a:cubicBezTo>
                <a:cubicBezTo>
                  <a:pt x="2540" y="1126"/>
                  <a:pt x="2540" y="1126"/>
                  <a:pt x="2540" y="1126"/>
                </a:cubicBezTo>
                <a:cubicBezTo>
                  <a:pt x="2539" y="1127"/>
                  <a:pt x="2538" y="1128"/>
                  <a:pt x="2537" y="1129"/>
                </a:cubicBezTo>
                <a:cubicBezTo>
                  <a:pt x="2536" y="1130"/>
                  <a:pt x="2538" y="1136"/>
                  <a:pt x="2540" y="1136"/>
                </a:cubicBezTo>
                <a:cubicBezTo>
                  <a:pt x="2541" y="1137"/>
                  <a:pt x="2543" y="1136"/>
                  <a:pt x="2543" y="1134"/>
                </a:cubicBezTo>
                <a:close/>
                <a:moveTo>
                  <a:pt x="2543" y="1152"/>
                </a:moveTo>
                <a:cubicBezTo>
                  <a:pt x="2543" y="1153"/>
                  <a:pt x="2541" y="1153"/>
                  <a:pt x="2540" y="1155"/>
                </a:cubicBezTo>
                <a:cubicBezTo>
                  <a:pt x="2539" y="1155"/>
                  <a:pt x="2539" y="1156"/>
                  <a:pt x="2539" y="1157"/>
                </a:cubicBezTo>
                <a:cubicBezTo>
                  <a:pt x="2539" y="1159"/>
                  <a:pt x="2543" y="1164"/>
                  <a:pt x="2546" y="1163"/>
                </a:cubicBezTo>
                <a:cubicBezTo>
                  <a:pt x="2548" y="1163"/>
                  <a:pt x="2549" y="1162"/>
                  <a:pt x="2548" y="1161"/>
                </a:cubicBezTo>
                <a:cubicBezTo>
                  <a:pt x="2546" y="1157"/>
                  <a:pt x="2545" y="1155"/>
                  <a:pt x="2543" y="1152"/>
                </a:cubicBezTo>
                <a:close/>
                <a:moveTo>
                  <a:pt x="2596" y="1154"/>
                </a:moveTo>
                <a:cubicBezTo>
                  <a:pt x="2594" y="1159"/>
                  <a:pt x="2591" y="1163"/>
                  <a:pt x="2589" y="1168"/>
                </a:cubicBezTo>
                <a:cubicBezTo>
                  <a:pt x="2592" y="1168"/>
                  <a:pt x="2594" y="1168"/>
                  <a:pt x="2597" y="1168"/>
                </a:cubicBezTo>
                <a:cubicBezTo>
                  <a:pt x="2597" y="1168"/>
                  <a:pt x="2598" y="1167"/>
                  <a:pt x="2598" y="1166"/>
                </a:cubicBezTo>
                <a:cubicBezTo>
                  <a:pt x="2598" y="1163"/>
                  <a:pt x="2598" y="1161"/>
                  <a:pt x="2597" y="1159"/>
                </a:cubicBezTo>
                <a:cubicBezTo>
                  <a:pt x="2597" y="1157"/>
                  <a:pt x="2596" y="1156"/>
                  <a:pt x="2596" y="1154"/>
                </a:cubicBezTo>
                <a:close/>
                <a:moveTo>
                  <a:pt x="2543" y="1134"/>
                </a:moveTo>
                <a:cubicBezTo>
                  <a:pt x="2543" y="1134"/>
                  <a:pt x="2542" y="1135"/>
                  <a:pt x="2541" y="1135"/>
                </a:cubicBezTo>
                <a:cubicBezTo>
                  <a:pt x="2541" y="1135"/>
                  <a:pt x="2540" y="1135"/>
                  <a:pt x="2540" y="1134"/>
                </a:cubicBezTo>
                <a:cubicBezTo>
                  <a:pt x="2539" y="1134"/>
                  <a:pt x="2539" y="1133"/>
                  <a:pt x="2539" y="1132"/>
                </a:cubicBezTo>
                <a:cubicBezTo>
                  <a:pt x="2540" y="1130"/>
                  <a:pt x="2540" y="1128"/>
                  <a:pt x="2541" y="1126"/>
                </a:cubicBezTo>
                <a:cubicBezTo>
                  <a:pt x="2541" y="1126"/>
                  <a:pt x="2541" y="1126"/>
                  <a:pt x="2540" y="1126"/>
                </a:cubicBezTo>
                <a:cubicBezTo>
                  <a:pt x="2539" y="1127"/>
                  <a:pt x="2538" y="1128"/>
                  <a:pt x="2537" y="1129"/>
                </a:cubicBezTo>
                <a:cubicBezTo>
                  <a:pt x="2537" y="1130"/>
                  <a:pt x="2538" y="1135"/>
                  <a:pt x="2540" y="1136"/>
                </a:cubicBezTo>
                <a:cubicBezTo>
                  <a:pt x="2541" y="1137"/>
                  <a:pt x="2543" y="1136"/>
                  <a:pt x="2543" y="1134"/>
                </a:cubicBezTo>
                <a:close/>
                <a:moveTo>
                  <a:pt x="2596" y="1126"/>
                </a:moveTo>
                <a:cubicBezTo>
                  <a:pt x="2599" y="1122"/>
                  <a:pt x="2599" y="1122"/>
                  <a:pt x="2603" y="1121"/>
                </a:cubicBezTo>
                <a:cubicBezTo>
                  <a:pt x="2603" y="1123"/>
                  <a:pt x="2604" y="1124"/>
                  <a:pt x="2605" y="1124"/>
                </a:cubicBezTo>
                <a:cubicBezTo>
                  <a:pt x="2603" y="1125"/>
                  <a:pt x="2601" y="1127"/>
                  <a:pt x="2599" y="1128"/>
                </a:cubicBezTo>
                <a:cubicBezTo>
                  <a:pt x="2598" y="1127"/>
                  <a:pt x="2598" y="1126"/>
                  <a:pt x="2597" y="1125"/>
                </a:cubicBezTo>
                <a:cubicBezTo>
                  <a:pt x="2597" y="1125"/>
                  <a:pt x="2596" y="1125"/>
                  <a:pt x="2596" y="1126"/>
                </a:cubicBezTo>
                <a:close/>
                <a:moveTo>
                  <a:pt x="2601" y="1125"/>
                </a:moveTo>
                <a:cubicBezTo>
                  <a:pt x="2601" y="1125"/>
                  <a:pt x="2600" y="1125"/>
                  <a:pt x="2600" y="1125"/>
                </a:cubicBezTo>
                <a:cubicBezTo>
                  <a:pt x="2599" y="1125"/>
                  <a:pt x="2598" y="1125"/>
                  <a:pt x="2598" y="1126"/>
                </a:cubicBezTo>
                <a:cubicBezTo>
                  <a:pt x="2598" y="1126"/>
                  <a:pt x="2599" y="1126"/>
                  <a:pt x="2599" y="1127"/>
                </a:cubicBezTo>
                <a:cubicBezTo>
                  <a:pt x="2600" y="1126"/>
                  <a:pt x="2600" y="1126"/>
                  <a:pt x="2601" y="1125"/>
                </a:cubicBezTo>
                <a:close/>
                <a:moveTo>
                  <a:pt x="2583" y="1116"/>
                </a:moveTo>
                <a:cubicBezTo>
                  <a:pt x="2576" y="1115"/>
                  <a:pt x="2573" y="1117"/>
                  <a:pt x="2572" y="1125"/>
                </a:cubicBezTo>
                <a:cubicBezTo>
                  <a:pt x="2573" y="1123"/>
                  <a:pt x="2575" y="1121"/>
                  <a:pt x="2576" y="1118"/>
                </a:cubicBezTo>
                <a:cubicBezTo>
                  <a:pt x="2576" y="1118"/>
                  <a:pt x="2576" y="1118"/>
                  <a:pt x="2576" y="1118"/>
                </a:cubicBezTo>
                <a:cubicBezTo>
                  <a:pt x="2576" y="1120"/>
                  <a:pt x="2576" y="1120"/>
                  <a:pt x="2576" y="1121"/>
                </a:cubicBezTo>
                <a:cubicBezTo>
                  <a:pt x="2578" y="1118"/>
                  <a:pt x="2579" y="1116"/>
                  <a:pt x="2583" y="1116"/>
                </a:cubicBezTo>
                <a:close/>
                <a:moveTo>
                  <a:pt x="2626" y="1117"/>
                </a:moveTo>
                <a:cubicBezTo>
                  <a:pt x="2624" y="1118"/>
                  <a:pt x="2622" y="1120"/>
                  <a:pt x="2621" y="1121"/>
                </a:cubicBezTo>
                <a:cubicBezTo>
                  <a:pt x="2623" y="1122"/>
                  <a:pt x="2625" y="1120"/>
                  <a:pt x="2626" y="1117"/>
                </a:cubicBezTo>
                <a:close/>
                <a:moveTo>
                  <a:pt x="2593" y="1119"/>
                </a:moveTo>
                <a:cubicBezTo>
                  <a:pt x="2594" y="1118"/>
                  <a:pt x="2595" y="1117"/>
                  <a:pt x="2596" y="1115"/>
                </a:cubicBezTo>
                <a:cubicBezTo>
                  <a:pt x="2593" y="1117"/>
                  <a:pt x="2592" y="1117"/>
                  <a:pt x="2593" y="1119"/>
                </a:cubicBezTo>
                <a:close/>
                <a:moveTo>
                  <a:pt x="2603" y="1141"/>
                </a:moveTo>
                <a:cubicBezTo>
                  <a:pt x="2601" y="1141"/>
                  <a:pt x="2600" y="1142"/>
                  <a:pt x="2600" y="1143"/>
                </a:cubicBezTo>
                <a:cubicBezTo>
                  <a:pt x="2600" y="1142"/>
                  <a:pt x="2602" y="1142"/>
                  <a:pt x="2603" y="1141"/>
                </a:cubicBezTo>
                <a:close/>
                <a:moveTo>
                  <a:pt x="2601" y="1125"/>
                </a:moveTo>
                <a:cubicBezTo>
                  <a:pt x="2601" y="1125"/>
                  <a:pt x="2600" y="1125"/>
                  <a:pt x="2600" y="1125"/>
                </a:cubicBezTo>
                <a:cubicBezTo>
                  <a:pt x="2599" y="1125"/>
                  <a:pt x="2599" y="1125"/>
                  <a:pt x="2599" y="1126"/>
                </a:cubicBezTo>
                <a:cubicBezTo>
                  <a:pt x="2599" y="1126"/>
                  <a:pt x="2599" y="1127"/>
                  <a:pt x="2599" y="1127"/>
                </a:cubicBezTo>
                <a:cubicBezTo>
                  <a:pt x="2600" y="1127"/>
                  <a:pt x="2600" y="1126"/>
                  <a:pt x="2601" y="1125"/>
                </a:cubicBezTo>
                <a:close/>
                <a:moveTo>
                  <a:pt x="3256" y="1103"/>
                </a:moveTo>
                <a:cubicBezTo>
                  <a:pt x="3256" y="1103"/>
                  <a:pt x="3256" y="1103"/>
                  <a:pt x="3256" y="1103"/>
                </a:cubicBezTo>
                <a:cubicBezTo>
                  <a:pt x="3251" y="1103"/>
                  <a:pt x="3251" y="1103"/>
                  <a:pt x="3251" y="1103"/>
                </a:cubicBezTo>
                <a:cubicBezTo>
                  <a:pt x="3248" y="1104"/>
                  <a:pt x="3247" y="1106"/>
                  <a:pt x="3245" y="1107"/>
                </a:cubicBezTo>
                <a:cubicBezTo>
                  <a:pt x="3243" y="1108"/>
                  <a:pt x="3242" y="1109"/>
                  <a:pt x="3239" y="1109"/>
                </a:cubicBezTo>
                <a:cubicBezTo>
                  <a:pt x="3238" y="1111"/>
                  <a:pt x="3236" y="1112"/>
                  <a:pt x="3234" y="1112"/>
                </a:cubicBezTo>
                <a:cubicBezTo>
                  <a:pt x="3232" y="1113"/>
                  <a:pt x="3231" y="1114"/>
                  <a:pt x="3228" y="1114"/>
                </a:cubicBezTo>
                <a:cubicBezTo>
                  <a:pt x="3228" y="1114"/>
                  <a:pt x="3228" y="1114"/>
                  <a:pt x="3228" y="1124"/>
                </a:cubicBezTo>
                <a:cubicBezTo>
                  <a:pt x="3231" y="1123"/>
                  <a:pt x="3234" y="1123"/>
                  <a:pt x="3237" y="1121"/>
                </a:cubicBezTo>
                <a:cubicBezTo>
                  <a:pt x="3239" y="1120"/>
                  <a:pt x="3242" y="1119"/>
                  <a:pt x="3244" y="1117"/>
                </a:cubicBezTo>
                <a:cubicBezTo>
                  <a:pt x="3244" y="1117"/>
                  <a:pt x="3244" y="1117"/>
                  <a:pt x="3244" y="1176"/>
                </a:cubicBezTo>
                <a:cubicBezTo>
                  <a:pt x="3244" y="1176"/>
                  <a:pt x="3244" y="1176"/>
                  <a:pt x="3256" y="1176"/>
                </a:cubicBezTo>
                <a:cubicBezTo>
                  <a:pt x="3256" y="1176"/>
                  <a:pt x="3256" y="1176"/>
                  <a:pt x="3256" y="1103"/>
                </a:cubicBezTo>
                <a:close/>
                <a:moveTo>
                  <a:pt x="3303" y="1103"/>
                </a:moveTo>
                <a:cubicBezTo>
                  <a:pt x="3303" y="1103"/>
                  <a:pt x="3303" y="1103"/>
                  <a:pt x="3303" y="1103"/>
                </a:cubicBezTo>
                <a:cubicBezTo>
                  <a:pt x="3298" y="1103"/>
                  <a:pt x="3298" y="1103"/>
                  <a:pt x="3298" y="1103"/>
                </a:cubicBezTo>
                <a:cubicBezTo>
                  <a:pt x="3296" y="1104"/>
                  <a:pt x="3294" y="1106"/>
                  <a:pt x="3292" y="1107"/>
                </a:cubicBezTo>
                <a:cubicBezTo>
                  <a:pt x="3291" y="1108"/>
                  <a:pt x="3288" y="1109"/>
                  <a:pt x="3287" y="1109"/>
                </a:cubicBezTo>
                <a:cubicBezTo>
                  <a:pt x="3285" y="1111"/>
                  <a:pt x="3283" y="1112"/>
                  <a:pt x="3282" y="1112"/>
                </a:cubicBezTo>
                <a:cubicBezTo>
                  <a:pt x="3280" y="1113"/>
                  <a:pt x="3278" y="1114"/>
                  <a:pt x="3276" y="1114"/>
                </a:cubicBezTo>
                <a:cubicBezTo>
                  <a:pt x="3276" y="1114"/>
                  <a:pt x="3276" y="1114"/>
                  <a:pt x="3276" y="1124"/>
                </a:cubicBezTo>
                <a:cubicBezTo>
                  <a:pt x="3279" y="1123"/>
                  <a:pt x="3282" y="1123"/>
                  <a:pt x="3284" y="1121"/>
                </a:cubicBezTo>
                <a:cubicBezTo>
                  <a:pt x="3287" y="1120"/>
                  <a:pt x="3289" y="1119"/>
                  <a:pt x="3291" y="1117"/>
                </a:cubicBezTo>
                <a:cubicBezTo>
                  <a:pt x="3291" y="1117"/>
                  <a:pt x="3291" y="1117"/>
                  <a:pt x="3291" y="1176"/>
                </a:cubicBezTo>
                <a:cubicBezTo>
                  <a:pt x="3291" y="1176"/>
                  <a:pt x="3291" y="1176"/>
                  <a:pt x="3303" y="1176"/>
                </a:cubicBezTo>
                <a:cubicBezTo>
                  <a:pt x="3303" y="1176"/>
                  <a:pt x="3303" y="1176"/>
                  <a:pt x="3303" y="1103"/>
                </a:cubicBezTo>
                <a:close/>
                <a:moveTo>
                  <a:pt x="3349" y="1103"/>
                </a:moveTo>
                <a:cubicBezTo>
                  <a:pt x="3349" y="1103"/>
                  <a:pt x="3349" y="1103"/>
                  <a:pt x="3349" y="1103"/>
                </a:cubicBezTo>
                <a:cubicBezTo>
                  <a:pt x="3345" y="1103"/>
                  <a:pt x="3345" y="1103"/>
                  <a:pt x="3345" y="1103"/>
                </a:cubicBezTo>
                <a:cubicBezTo>
                  <a:pt x="3343" y="1104"/>
                  <a:pt x="3341" y="1106"/>
                  <a:pt x="3339" y="1107"/>
                </a:cubicBezTo>
                <a:cubicBezTo>
                  <a:pt x="3338" y="1108"/>
                  <a:pt x="3336" y="1109"/>
                  <a:pt x="3334" y="1109"/>
                </a:cubicBezTo>
                <a:cubicBezTo>
                  <a:pt x="3332" y="1110"/>
                  <a:pt x="3331" y="1111"/>
                  <a:pt x="3328" y="1112"/>
                </a:cubicBezTo>
                <a:cubicBezTo>
                  <a:pt x="3327" y="1112"/>
                  <a:pt x="3325" y="1113"/>
                  <a:pt x="3323" y="1114"/>
                </a:cubicBezTo>
                <a:cubicBezTo>
                  <a:pt x="3323" y="1114"/>
                  <a:pt x="3323" y="1114"/>
                  <a:pt x="3323" y="1124"/>
                </a:cubicBezTo>
                <a:cubicBezTo>
                  <a:pt x="3326" y="1123"/>
                  <a:pt x="3329" y="1122"/>
                  <a:pt x="3331" y="1121"/>
                </a:cubicBezTo>
                <a:cubicBezTo>
                  <a:pt x="3333" y="1120"/>
                  <a:pt x="3336" y="1119"/>
                  <a:pt x="3338" y="1117"/>
                </a:cubicBezTo>
                <a:cubicBezTo>
                  <a:pt x="3338" y="1117"/>
                  <a:pt x="3338" y="1117"/>
                  <a:pt x="3338" y="1176"/>
                </a:cubicBezTo>
                <a:cubicBezTo>
                  <a:pt x="3338" y="1176"/>
                  <a:pt x="3338" y="1176"/>
                  <a:pt x="3349" y="1176"/>
                </a:cubicBezTo>
                <a:cubicBezTo>
                  <a:pt x="3349" y="1176"/>
                  <a:pt x="3349" y="1176"/>
                  <a:pt x="3349" y="1103"/>
                </a:cubicBezTo>
                <a:close/>
                <a:moveTo>
                  <a:pt x="1984" y="1102"/>
                </a:moveTo>
                <a:cubicBezTo>
                  <a:pt x="1984" y="1102"/>
                  <a:pt x="1984" y="1102"/>
                  <a:pt x="1984" y="1102"/>
                </a:cubicBezTo>
                <a:cubicBezTo>
                  <a:pt x="1979" y="1102"/>
                  <a:pt x="1979" y="1102"/>
                  <a:pt x="1979" y="1102"/>
                </a:cubicBezTo>
                <a:cubicBezTo>
                  <a:pt x="1977" y="1103"/>
                  <a:pt x="1975" y="1105"/>
                  <a:pt x="1973" y="1106"/>
                </a:cubicBezTo>
                <a:cubicBezTo>
                  <a:pt x="1972" y="1107"/>
                  <a:pt x="1970" y="1108"/>
                  <a:pt x="1968" y="1109"/>
                </a:cubicBezTo>
                <a:cubicBezTo>
                  <a:pt x="1967" y="1110"/>
                  <a:pt x="1965" y="1111"/>
                  <a:pt x="1963" y="1111"/>
                </a:cubicBezTo>
                <a:cubicBezTo>
                  <a:pt x="1961" y="1112"/>
                  <a:pt x="1959" y="1113"/>
                  <a:pt x="1957" y="1113"/>
                </a:cubicBezTo>
                <a:cubicBezTo>
                  <a:pt x="1957" y="1113"/>
                  <a:pt x="1957" y="1113"/>
                  <a:pt x="1957" y="1123"/>
                </a:cubicBezTo>
                <a:cubicBezTo>
                  <a:pt x="1960" y="1122"/>
                  <a:pt x="1963" y="1122"/>
                  <a:pt x="1965" y="1120"/>
                </a:cubicBezTo>
                <a:cubicBezTo>
                  <a:pt x="1968" y="1119"/>
                  <a:pt x="1970" y="1118"/>
                  <a:pt x="1973" y="1117"/>
                </a:cubicBezTo>
                <a:cubicBezTo>
                  <a:pt x="1973" y="1117"/>
                  <a:pt x="1973" y="1117"/>
                  <a:pt x="1973" y="1175"/>
                </a:cubicBezTo>
                <a:cubicBezTo>
                  <a:pt x="1973" y="1175"/>
                  <a:pt x="1973" y="1175"/>
                  <a:pt x="1984" y="1175"/>
                </a:cubicBezTo>
                <a:cubicBezTo>
                  <a:pt x="1984" y="1175"/>
                  <a:pt x="1984" y="1175"/>
                  <a:pt x="1984" y="1102"/>
                </a:cubicBezTo>
                <a:close/>
                <a:moveTo>
                  <a:pt x="1582" y="1104"/>
                </a:moveTo>
                <a:cubicBezTo>
                  <a:pt x="1582" y="1104"/>
                  <a:pt x="1582" y="1104"/>
                  <a:pt x="1582" y="1104"/>
                </a:cubicBezTo>
                <a:cubicBezTo>
                  <a:pt x="1577" y="1104"/>
                  <a:pt x="1577" y="1104"/>
                  <a:pt x="1577" y="1104"/>
                </a:cubicBezTo>
                <a:cubicBezTo>
                  <a:pt x="1575" y="1105"/>
                  <a:pt x="1574" y="1107"/>
                  <a:pt x="1571" y="1108"/>
                </a:cubicBezTo>
                <a:cubicBezTo>
                  <a:pt x="1570" y="1109"/>
                  <a:pt x="1568" y="1110"/>
                  <a:pt x="1566" y="1110"/>
                </a:cubicBezTo>
                <a:cubicBezTo>
                  <a:pt x="1564" y="1111"/>
                  <a:pt x="1562" y="1112"/>
                  <a:pt x="1561" y="1113"/>
                </a:cubicBezTo>
                <a:cubicBezTo>
                  <a:pt x="1559" y="1113"/>
                  <a:pt x="1557" y="1114"/>
                  <a:pt x="1555" y="1115"/>
                </a:cubicBezTo>
                <a:cubicBezTo>
                  <a:pt x="1555" y="1115"/>
                  <a:pt x="1555" y="1115"/>
                  <a:pt x="1555" y="1125"/>
                </a:cubicBezTo>
                <a:cubicBezTo>
                  <a:pt x="1558" y="1124"/>
                  <a:pt x="1561" y="1123"/>
                  <a:pt x="1563" y="1122"/>
                </a:cubicBezTo>
                <a:cubicBezTo>
                  <a:pt x="1566" y="1121"/>
                  <a:pt x="1568" y="1120"/>
                  <a:pt x="1571" y="1118"/>
                </a:cubicBezTo>
                <a:cubicBezTo>
                  <a:pt x="1571" y="1118"/>
                  <a:pt x="1571" y="1118"/>
                  <a:pt x="1571" y="1177"/>
                </a:cubicBezTo>
                <a:cubicBezTo>
                  <a:pt x="1571" y="1177"/>
                  <a:pt x="1571" y="1177"/>
                  <a:pt x="1582" y="1177"/>
                </a:cubicBezTo>
                <a:cubicBezTo>
                  <a:pt x="1582" y="1177"/>
                  <a:pt x="1582" y="1177"/>
                  <a:pt x="1582" y="1104"/>
                </a:cubicBezTo>
                <a:close/>
                <a:moveTo>
                  <a:pt x="1680" y="1177"/>
                </a:moveTo>
                <a:cubicBezTo>
                  <a:pt x="1673" y="1177"/>
                  <a:pt x="1667" y="1174"/>
                  <a:pt x="1662" y="1169"/>
                </a:cubicBezTo>
                <a:cubicBezTo>
                  <a:pt x="1659" y="1162"/>
                  <a:pt x="1656" y="1153"/>
                  <a:pt x="1656" y="1141"/>
                </a:cubicBezTo>
                <a:cubicBezTo>
                  <a:pt x="1656" y="1128"/>
                  <a:pt x="1659" y="1118"/>
                  <a:pt x="1663" y="1112"/>
                </a:cubicBezTo>
                <a:cubicBezTo>
                  <a:pt x="1667" y="1105"/>
                  <a:pt x="1674" y="1101"/>
                  <a:pt x="1683" y="1101"/>
                </a:cubicBezTo>
                <a:cubicBezTo>
                  <a:pt x="1699" y="1101"/>
                  <a:pt x="1707" y="1114"/>
                  <a:pt x="1707" y="1139"/>
                </a:cubicBezTo>
                <a:cubicBezTo>
                  <a:pt x="1707" y="1152"/>
                  <a:pt x="1705" y="1161"/>
                  <a:pt x="1699" y="1168"/>
                </a:cubicBezTo>
                <a:cubicBezTo>
                  <a:pt x="1695" y="1174"/>
                  <a:pt x="1688" y="1177"/>
                  <a:pt x="1680" y="1177"/>
                </a:cubicBezTo>
                <a:close/>
                <a:moveTo>
                  <a:pt x="1682" y="1111"/>
                </a:moveTo>
                <a:cubicBezTo>
                  <a:pt x="1672" y="1111"/>
                  <a:pt x="1668" y="1121"/>
                  <a:pt x="1668" y="1141"/>
                </a:cubicBezTo>
                <a:cubicBezTo>
                  <a:pt x="1668" y="1159"/>
                  <a:pt x="1672" y="1168"/>
                  <a:pt x="1681" y="1168"/>
                </a:cubicBezTo>
                <a:cubicBezTo>
                  <a:pt x="1690" y="1168"/>
                  <a:pt x="1694" y="1159"/>
                  <a:pt x="1694" y="1140"/>
                </a:cubicBezTo>
                <a:cubicBezTo>
                  <a:pt x="1694" y="1120"/>
                  <a:pt x="1690" y="1111"/>
                  <a:pt x="1682" y="1111"/>
                </a:cubicBezTo>
                <a:close/>
                <a:moveTo>
                  <a:pt x="1754" y="1104"/>
                </a:moveTo>
                <a:cubicBezTo>
                  <a:pt x="1754" y="1104"/>
                  <a:pt x="1754" y="1104"/>
                  <a:pt x="1754" y="1104"/>
                </a:cubicBezTo>
                <a:cubicBezTo>
                  <a:pt x="1749" y="1104"/>
                  <a:pt x="1749" y="1104"/>
                  <a:pt x="1749" y="1104"/>
                </a:cubicBezTo>
                <a:cubicBezTo>
                  <a:pt x="1747" y="1105"/>
                  <a:pt x="1746" y="1107"/>
                  <a:pt x="1743" y="1108"/>
                </a:cubicBezTo>
                <a:cubicBezTo>
                  <a:pt x="1742" y="1109"/>
                  <a:pt x="1740" y="1110"/>
                  <a:pt x="1738" y="1110"/>
                </a:cubicBezTo>
                <a:cubicBezTo>
                  <a:pt x="1736" y="1111"/>
                  <a:pt x="1735" y="1112"/>
                  <a:pt x="1733" y="1113"/>
                </a:cubicBezTo>
                <a:cubicBezTo>
                  <a:pt x="1731" y="1113"/>
                  <a:pt x="1730" y="1114"/>
                  <a:pt x="1727" y="1115"/>
                </a:cubicBezTo>
                <a:cubicBezTo>
                  <a:pt x="1727" y="1115"/>
                  <a:pt x="1727" y="1115"/>
                  <a:pt x="1727" y="1125"/>
                </a:cubicBezTo>
                <a:cubicBezTo>
                  <a:pt x="1730" y="1124"/>
                  <a:pt x="1733" y="1123"/>
                  <a:pt x="1735" y="1122"/>
                </a:cubicBezTo>
                <a:cubicBezTo>
                  <a:pt x="1738" y="1121"/>
                  <a:pt x="1740" y="1120"/>
                  <a:pt x="1743" y="1118"/>
                </a:cubicBezTo>
                <a:cubicBezTo>
                  <a:pt x="1743" y="1118"/>
                  <a:pt x="1743" y="1118"/>
                  <a:pt x="1743" y="1177"/>
                </a:cubicBezTo>
                <a:cubicBezTo>
                  <a:pt x="1743" y="1177"/>
                  <a:pt x="1743" y="1177"/>
                  <a:pt x="1754" y="1177"/>
                </a:cubicBezTo>
                <a:cubicBezTo>
                  <a:pt x="1754" y="1177"/>
                  <a:pt x="1754" y="1177"/>
                  <a:pt x="1754" y="1104"/>
                </a:cubicBezTo>
                <a:close/>
                <a:moveTo>
                  <a:pt x="1628" y="1103"/>
                </a:moveTo>
                <a:cubicBezTo>
                  <a:pt x="1628" y="1103"/>
                  <a:pt x="1628" y="1103"/>
                  <a:pt x="1628" y="1103"/>
                </a:cubicBezTo>
                <a:cubicBezTo>
                  <a:pt x="1623" y="1103"/>
                  <a:pt x="1623" y="1103"/>
                  <a:pt x="1623" y="1103"/>
                </a:cubicBezTo>
                <a:cubicBezTo>
                  <a:pt x="1621" y="1104"/>
                  <a:pt x="1620" y="1106"/>
                  <a:pt x="1618" y="1107"/>
                </a:cubicBezTo>
                <a:cubicBezTo>
                  <a:pt x="1616" y="1108"/>
                  <a:pt x="1614" y="1109"/>
                  <a:pt x="1613" y="1109"/>
                </a:cubicBezTo>
                <a:cubicBezTo>
                  <a:pt x="1611" y="1111"/>
                  <a:pt x="1609" y="1112"/>
                  <a:pt x="1607" y="1112"/>
                </a:cubicBezTo>
                <a:cubicBezTo>
                  <a:pt x="1605" y="1113"/>
                  <a:pt x="1604" y="1114"/>
                  <a:pt x="1602" y="1114"/>
                </a:cubicBezTo>
                <a:cubicBezTo>
                  <a:pt x="1602" y="1114"/>
                  <a:pt x="1602" y="1114"/>
                  <a:pt x="1602" y="1124"/>
                </a:cubicBezTo>
                <a:cubicBezTo>
                  <a:pt x="1605" y="1123"/>
                  <a:pt x="1607" y="1123"/>
                  <a:pt x="1610" y="1121"/>
                </a:cubicBezTo>
                <a:cubicBezTo>
                  <a:pt x="1613" y="1120"/>
                  <a:pt x="1615" y="1119"/>
                  <a:pt x="1617" y="1117"/>
                </a:cubicBezTo>
                <a:cubicBezTo>
                  <a:pt x="1617" y="1117"/>
                  <a:pt x="1617" y="1117"/>
                  <a:pt x="1617" y="1176"/>
                </a:cubicBezTo>
                <a:cubicBezTo>
                  <a:pt x="1617" y="1176"/>
                  <a:pt x="1617" y="1176"/>
                  <a:pt x="1628" y="1176"/>
                </a:cubicBezTo>
                <a:cubicBezTo>
                  <a:pt x="1628" y="1176"/>
                  <a:pt x="1628" y="1176"/>
                  <a:pt x="1628" y="1103"/>
                </a:cubicBezTo>
                <a:close/>
                <a:moveTo>
                  <a:pt x="3370" y="1137"/>
                </a:moveTo>
                <a:cubicBezTo>
                  <a:pt x="3370" y="1137"/>
                  <a:pt x="3370" y="1137"/>
                  <a:pt x="3370" y="1137"/>
                </a:cubicBezTo>
                <a:cubicBezTo>
                  <a:pt x="3369" y="1145"/>
                  <a:pt x="3369" y="1145"/>
                  <a:pt x="3369" y="1145"/>
                </a:cubicBezTo>
                <a:cubicBezTo>
                  <a:pt x="3376" y="1146"/>
                  <a:pt x="3377" y="1149"/>
                  <a:pt x="3377" y="1151"/>
                </a:cubicBezTo>
                <a:cubicBezTo>
                  <a:pt x="3377" y="1154"/>
                  <a:pt x="3376" y="1156"/>
                  <a:pt x="3376" y="1158"/>
                </a:cubicBezTo>
                <a:cubicBezTo>
                  <a:pt x="3376" y="1161"/>
                  <a:pt x="3375" y="1163"/>
                  <a:pt x="3375" y="1166"/>
                </a:cubicBezTo>
                <a:cubicBezTo>
                  <a:pt x="3375" y="1175"/>
                  <a:pt x="3382" y="1178"/>
                  <a:pt x="3390" y="1178"/>
                </a:cubicBezTo>
                <a:cubicBezTo>
                  <a:pt x="3390" y="1178"/>
                  <a:pt x="3390" y="1178"/>
                  <a:pt x="3394" y="1178"/>
                </a:cubicBezTo>
                <a:cubicBezTo>
                  <a:pt x="3394" y="1178"/>
                  <a:pt x="3394" y="1178"/>
                  <a:pt x="3394" y="1169"/>
                </a:cubicBezTo>
                <a:cubicBezTo>
                  <a:pt x="3394" y="1169"/>
                  <a:pt x="3394" y="1169"/>
                  <a:pt x="3392" y="1169"/>
                </a:cubicBezTo>
                <a:cubicBezTo>
                  <a:pt x="3389" y="1169"/>
                  <a:pt x="3388" y="1167"/>
                  <a:pt x="3388" y="1163"/>
                </a:cubicBezTo>
                <a:cubicBezTo>
                  <a:pt x="3388" y="1162"/>
                  <a:pt x="3388" y="1160"/>
                  <a:pt x="3388" y="1158"/>
                </a:cubicBezTo>
                <a:cubicBezTo>
                  <a:pt x="3388" y="1157"/>
                  <a:pt x="3388" y="1155"/>
                  <a:pt x="3388" y="1152"/>
                </a:cubicBezTo>
                <a:cubicBezTo>
                  <a:pt x="3388" y="1145"/>
                  <a:pt x="3385" y="1142"/>
                  <a:pt x="3380" y="1141"/>
                </a:cubicBezTo>
                <a:cubicBezTo>
                  <a:pt x="3380" y="1141"/>
                  <a:pt x="3380" y="1141"/>
                  <a:pt x="3380" y="1141"/>
                </a:cubicBezTo>
                <a:cubicBezTo>
                  <a:pt x="3385" y="1140"/>
                  <a:pt x="3388" y="1138"/>
                  <a:pt x="3388" y="1130"/>
                </a:cubicBezTo>
                <a:cubicBezTo>
                  <a:pt x="3388" y="1127"/>
                  <a:pt x="3388" y="1126"/>
                  <a:pt x="3388" y="1124"/>
                </a:cubicBezTo>
                <a:cubicBezTo>
                  <a:pt x="3388" y="1122"/>
                  <a:pt x="3388" y="1120"/>
                  <a:pt x="3388" y="1119"/>
                </a:cubicBezTo>
                <a:cubicBezTo>
                  <a:pt x="3388" y="1115"/>
                  <a:pt x="3389" y="1113"/>
                  <a:pt x="3392" y="1113"/>
                </a:cubicBezTo>
                <a:cubicBezTo>
                  <a:pt x="3392" y="1113"/>
                  <a:pt x="3392" y="1113"/>
                  <a:pt x="3394" y="1113"/>
                </a:cubicBezTo>
                <a:cubicBezTo>
                  <a:pt x="3394" y="1113"/>
                  <a:pt x="3394" y="1113"/>
                  <a:pt x="3394" y="1104"/>
                </a:cubicBezTo>
                <a:cubicBezTo>
                  <a:pt x="3394" y="1104"/>
                  <a:pt x="3394" y="1104"/>
                  <a:pt x="3390" y="1104"/>
                </a:cubicBezTo>
                <a:cubicBezTo>
                  <a:pt x="3381" y="1104"/>
                  <a:pt x="3375" y="1108"/>
                  <a:pt x="3375" y="1117"/>
                </a:cubicBezTo>
                <a:cubicBezTo>
                  <a:pt x="3375" y="1119"/>
                  <a:pt x="3376" y="1121"/>
                  <a:pt x="3376" y="1124"/>
                </a:cubicBezTo>
                <a:cubicBezTo>
                  <a:pt x="3376" y="1126"/>
                  <a:pt x="3377" y="1129"/>
                  <a:pt x="3377" y="1131"/>
                </a:cubicBezTo>
                <a:cubicBezTo>
                  <a:pt x="3377" y="1133"/>
                  <a:pt x="3376" y="1137"/>
                  <a:pt x="3370" y="1137"/>
                </a:cubicBezTo>
                <a:close/>
                <a:moveTo>
                  <a:pt x="3425" y="1145"/>
                </a:moveTo>
                <a:cubicBezTo>
                  <a:pt x="3425" y="1145"/>
                  <a:pt x="3425" y="1145"/>
                  <a:pt x="3425" y="1145"/>
                </a:cubicBezTo>
                <a:cubicBezTo>
                  <a:pt x="3425" y="1137"/>
                  <a:pt x="3425" y="1137"/>
                  <a:pt x="3425" y="1137"/>
                </a:cubicBezTo>
                <a:cubicBezTo>
                  <a:pt x="3418" y="1137"/>
                  <a:pt x="3418" y="1133"/>
                  <a:pt x="3418" y="1131"/>
                </a:cubicBezTo>
                <a:cubicBezTo>
                  <a:pt x="3418" y="1129"/>
                  <a:pt x="3418" y="1126"/>
                  <a:pt x="3418" y="1124"/>
                </a:cubicBezTo>
                <a:cubicBezTo>
                  <a:pt x="3419" y="1121"/>
                  <a:pt x="3419" y="1119"/>
                  <a:pt x="3419" y="1117"/>
                </a:cubicBezTo>
                <a:cubicBezTo>
                  <a:pt x="3419" y="1108"/>
                  <a:pt x="3414" y="1104"/>
                  <a:pt x="3404" y="1104"/>
                </a:cubicBezTo>
                <a:cubicBezTo>
                  <a:pt x="3404" y="1104"/>
                  <a:pt x="3404" y="1104"/>
                  <a:pt x="3401" y="1104"/>
                </a:cubicBezTo>
                <a:cubicBezTo>
                  <a:pt x="3401" y="1104"/>
                  <a:pt x="3401" y="1104"/>
                  <a:pt x="3401" y="1113"/>
                </a:cubicBezTo>
                <a:cubicBezTo>
                  <a:pt x="3401" y="1113"/>
                  <a:pt x="3401" y="1113"/>
                  <a:pt x="3402" y="1113"/>
                </a:cubicBezTo>
                <a:cubicBezTo>
                  <a:pt x="3406" y="1113"/>
                  <a:pt x="3407" y="1115"/>
                  <a:pt x="3407" y="1119"/>
                </a:cubicBezTo>
                <a:cubicBezTo>
                  <a:pt x="3407" y="1120"/>
                  <a:pt x="3407" y="1122"/>
                  <a:pt x="3407" y="1124"/>
                </a:cubicBezTo>
                <a:cubicBezTo>
                  <a:pt x="3407" y="1126"/>
                  <a:pt x="3407" y="1127"/>
                  <a:pt x="3407" y="1130"/>
                </a:cubicBezTo>
                <a:cubicBezTo>
                  <a:pt x="3407" y="1138"/>
                  <a:pt x="3409" y="1140"/>
                  <a:pt x="3415" y="1141"/>
                </a:cubicBezTo>
                <a:cubicBezTo>
                  <a:pt x="3415" y="1141"/>
                  <a:pt x="3415" y="1141"/>
                  <a:pt x="3415" y="1141"/>
                </a:cubicBezTo>
                <a:cubicBezTo>
                  <a:pt x="3409" y="1142"/>
                  <a:pt x="3407" y="1145"/>
                  <a:pt x="3407" y="1152"/>
                </a:cubicBezTo>
                <a:cubicBezTo>
                  <a:pt x="3407" y="1155"/>
                  <a:pt x="3407" y="1157"/>
                  <a:pt x="3407" y="1158"/>
                </a:cubicBezTo>
                <a:cubicBezTo>
                  <a:pt x="3407" y="1160"/>
                  <a:pt x="3407" y="1162"/>
                  <a:pt x="3407" y="1163"/>
                </a:cubicBezTo>
                <a:cubicBezTo>
                  <a:pt x="3407" y="1167"/>
                  <a:pt x="3406" y="1169"/>
                  <a:pt x="3402" y="1169"/>
                </a:cubicBezTo>
                <a:cubicBezTo>
                  <a:pt x="3402" y="1169"/>
                  <a:pt x="3402" y="1169"/>
                  <a:pt x="3401" y="1169"/>
                </a:cubicBezTo>
                <a:cubicBezTo>
                  <a:pt x="3401" y="1169"/>
                  <a:pt x="3401" y="1169"/>
                  <a:pt x="3401" y="1178"/>
                </a:cubicBezTo>
                <a:cubicBezTo>
                  <a:pt x="3401" y="1178"/>
                  <a:pt x="3401" y="1178"/>
                  <a:pt x="3404" y="1178"/>
                </a:cubicBezTo>
                <a:cubicBezTo>
                  <a:pt x="3413" y="1178"/>
                  <a:pt x="3419" y="1175"/>
                  <a:pt x="3419" y="1166"/>
                </a:cubicBezTo>
                <a:cubicBezTo>
                  <a:pt x="3419" y="1163"/>
                  <a:pt x="3419" y="1161"/>
                  <a:pt x="3418" y="1158"/>
                </a:cubicBezTo>
                <a:cubicBezTo>
                  <a:pt x="3418" y="1156"/>
                  <a:pt x="3418" y="1154"/>
                  <a:pt x="3418" y="1151"/>
                </a:cubicBezTo>
                <a:cubicBezTo>
                  <a:pt x="3418" y="1149"/>
                  <a:pt x="3418" y="1146"/>
                  <a:pt x="3425" y="1145"/>
                </a:cubicBezTo>
                <a:close/>
                <a:moveTo>
                  <a:pt x="3472" y="1105"/>
                </a:moveTo>
                <a:cubicBezTo>
                  <a:pt x="3472" y="1105"/>
                  <a:pt x="3472" y="1105"/>
                  <a:pt x="3472" y="1105"/>
                </a:cubicBezTo>
                <a:cubicBezTo>
                  <a:pt x="3467" y="1105"/>
                  <a:pt x="3467" y="1105"/>
                  <a:pt x="3467" y="1105"/>
                </a:cubicBezTo>
                <a:cubicBezTo>
                  <a:pt x="3464" y="1106"/>
                  <a:pt x="3463" y="1108"/>
                  <a:pt x="3461" y="1108"/>
                </a:cubicBezTo>
                <a:cubicBezTo>
                  <a:pt x="3459" y="1110"/>
                  <a:pt x="3457" y="1111"/>
                  <a:pt x="3455" y="1111"/>
                </a:cubicBezTo>
                <a:cubicBezTo>
                  <a:pt x="3453" y="1112"/>
                  <a:pt x="3452" y="1113"/>
                  <a:pt x="3450" y="1114"/>
                </a:cubicBezTo>
                <a:cubicBezTo>
                  <a:pt x="3448" y="1114"/>
                  <a:pt x="3447" y="1115"/>
                  <a:pt x="3444" y="1116"/>
                </a:cubicBezTo>
                <a:cubicBezTo>
                  <a:pt x="3444" y="1116"/>
                  <a:pt x="3444" y="1116"/>
                  <a:pt x="3444" y="1126"/>
                </a:cubicBezTo>
                <a:cubicBezTo>
                  <a:pt x="3447" y="1125"/>
                  <a:pt x="3450" y="1124"/>
                  <a:pt x="3452" y="1123"/>
                </a:cubicBezTo>
                <a:cubicBezTo>
                  <a:pt x="3455" y="1122"/>
                  <a:pt x="3458" y="1121"/>
                  <a:pt x="3460" y="1119"/>
                </a:cubicBezTo>
                <a:cubicBezTo>
                  <a:pt x="3460" y="1119"/>
                  <a:pt x="3460" y="1119"/>
                  <a:pt x="3460" y="1178"/>
                </a:cubicBezTo>
                <a:cubicBezTo>
                  <a:pt x="3460" y="1178"/>
                  <a:pt x="3460" y="1178"/>
                  <a:pt x="3472" y="1178"/>
                </a:cubicBezTo>
                <a:cubicBezTo>
                  <a:pt x="3472" y="1178"/>
                  <a:pt x="3472" y="1178"/>
                  <a:pt x="3472" y="1105"/>
                </a:cubicBezTo>
                <a:close/>
                <a:moveTo>
                  <a:pt x="3518" y="1105"/>
                </a:moveTo>
                <a:cubicBezTo>
                  <a:pt x="3518" y="1105"/>
                  <a:pt x="3518" y="1105"/>
                  <a:pt x="3518" y="1105"/>
                </a:cubicBezTo>
                <a:cubicBezTo>
                  <a:pt x="3513" y="1105"/>
                  <a:pt x="3513" y="1105"/>
                  <a:pt x="3513" y="1105"/>
                </a:cubicBezTo>
                <a:cubicBezTo>
                  <a:pt x="3511" y="1106"/>
                  <a:pt x="3509" y="1108"/>
                  <a:pt x="3507" y="1108"/>
                </a:cubicBezTo>
                <a:cubicBezTo>
                  <a:pt x="3506" y="1110"/>
                  <a:pt x="3504" y="1111"/>
                  <a:pt x="3502" y="1111"/>
                </a:cubicBezTo>
                <a:cubicBezTo>
                  <a:pt x="3501" y="1113"/>
                  <a:pt x="3499" y="1114"/>
                  <a:pt x="3497" y="1114"/>
                </a:cubicBezTo>
                <a:cubicBezTo>
                  <a:pt x="3495" y="1115"/>
                  <a:pt x="3494" y="1116"/>
                  <a:pt x="3491" y="1116"/>
                </a:cubicBezTo>
                <a:cubicBezTo>
                  <a:pt x="3491" y="1116"/>
                  <a:pt x="3491" y="1116"/>
                  <a:pt x="3491" y="1126"/>
                </a:cubicBezTo>
                <a:cubicBezTo>
                  <a:pt x="3494" y="1125"/>
                  <a:pt x="3497" y="1124"/>
                  <a:pt x="3499" y="1123"/>
                </a:cubicBezTo>
                <a:cubicBezTo>
                  <a:pt x="3502" y="1122"/>
                  <a:pt x="3504" y="1121"/>
                  <a:pt x="3506" y="1119"/>
                </a:cubicBezTo>
                <a:cubicBezTo>
                  <a:pt x="3506" y="1119"/>
                  <a:pt x="3506" y="1119"/>
                  <a:pt x="3506" y="1178"/>
                </a:cubicBezTo>
                <a:cubicBezTo>
                  <a:pt x="3506" y="1178"/>
                  <a:pt x="3506" y="1178"/>
                  <a:pt x="3518" y="1178"/>
                </a:cubicBezTo>
                <a:cubicBezTo>
                  <a:pt x="3518" y="1178"/>
                  <a:pt x="3518" y="1178"/>
                  <a:pt x="3518" y="1105"/>
                </a:cubicBezTo>
                <a:close/>
                <a:moveTo>
                  <a:pt x="3564" y="1105"/>
                </a:moveTo>
                <a:cubicBezTo>
                  <a:pt x="3564" y="1105"/>
                  <a:pt x="3564" y="1105"/>
                  <a:pt x="3564" y="1105"/>
                </a:cubicBezTo>
                <a:cubicBezTo>
                  <a:pt x="3560" y="1105"/>
                  <a:pt x="3560" y="1105"/>
                  <a:pt x="3560" y="1105"/>
                </a:cubicBezTo>
                <a:cubicBezTo>
                  <a:pt x="3557" y="1106"/>
                  <a:pt x="3556" y="1108"/>
                  <a:pt x="3554" y="1108"/>
                </a:cubicBezTo>
                <a:cubicBezTo>
                  <a:pt x="3552" y="1110"/>
                  <a:pt x="3550" y="1111"/>
                  <a:pt x="3549" y="1111"/>
                </a:cubicBezTo>
                <a:cubicBezTo>
                  <a:pt x="3547" y="1113"/>
                  <a:pt x="3545" y="1114"/>
                  <a:pt x="3543" y="1114"/>
                </a:cubicBezTo>
                <a:cubicBezTo>
                  <a:pt x="3542" y="1115"/>
                  <a:pt x="3539" y="1116"/>
                  <a:pt x="3538" y="1116"/>
                </a:cubicBezTo>
                <a:cubicBezTo>
                  <a:pt x="3538" y="1116"/>
                  <a:pt x="3538" y="1116"/>
                  <a:pt x="3538" y="1126"/>
                </a:cubicBezTo>
                <a:cubicBezTo>
                  <a:pt x="3541" y="1125"/>
                  <a:pt x="3544" y="1124"/>
                  <a:pt x="3546" y="1123"/>
                </a:cubicBezTo>
                <a:cubicBezTo>
                  <a:pt x="3548" y="1122"/>
                  <a:pt x="3551" y="1121"/>
                  <a:pt x="3552" y="1119"/>
                </a:cubicBezTo>
                <a:cubicBezTo>
                  <a:pt x="3552" y="1119"/>
                  <a:pt x="3552" y="1119"/>
                  <a:pt x="3552" y="1178"/>
                </a:cubicBezTo>
                <a:cubicBezTo>
                  <a:pt x="3552" y="1178"/>
                  <a:pt x="3552" y="1178"/>
                  <a:pt x="3564" y="1178"/>
                </a:cubicBezTo>
                <a:cubicBezTo>
                  <a:pt x="3564" y="1178"/>
                  <a:pt x="3564" y="1178"/>
                  <a:pt x="3564" y="1105"/>
                </a:cubicBezTo>
                <a:close/>
                <a:moveTo>
                  <a:pt x="3609" y="1105"/>
                </a:moveTo>
                <a:cubicBezTo>
                  <a:pt x="3609" y="1105"/>
                  <a:pt x="3609" y="1105"/>
                  <a:pt x="3609" y="1105"/>
                </a:cubicBezTo>
                <a:cubicBezTo>
                  <a:pt x="3605" y="1105"/>
                  <a:pt x="3605" y="1105"/>
                  <a:pt x="3605" y="1105"/>
                </a:cubicBezTo>
                <a:cubicBezTo>
                  <a:pt x="3603" y="1106"/>
                  <a:pt x="3602" y="1108"/>
                  <a:pt x="3599" y="1108"/>
                </a:cubicBezTo>
                <a:cubicBezTo>
                  <a:pt x="3598" y="1110"/>
                  <a:pt x="3596" y="1111"/>
                  <a:pt x="3594" y="1111"/>
                </a:cubicBezTo>
                <a:cubicBezTo>
                  <a:pt x="3592" y="1113"/>
                  <a:pt x="3591" y="1114"/>
                  <a:pt x="3589" y="1114"/>
                </a:cubicBezTo>
                <a:cubicBezTo>
                  <a:pt x="3587" y="1115"/>
                  <a:pt x="3585" y="1116"/>
                  <a:pt x="3584" y="1116"/>
                </a:cubicBezTo>
                <a:cubicBezTo>
                  <a:pt x="3584" y="1116"/>
                  <a:pt x="3584" y="1116"/>
                  <a:pt x="3584" y="1126"/>
                </a:cubicBezTo>
                <a:cubicBezTo>
                  <a:pt x="3586" y="1125"/>
                  <a:pt x="3589" y="1124"/>
                  <a:pt x="3591" y="1123"/>
                </a:cubicBezTo>
                <a:cubicBezTo>
                  <a:pt x="3594" y="1122"/>
                  <a:pt x="3596" y="1121"/>
                  <a:pt x="3598" y="1119"/>
                </a:cubicBezTo>
                <a:cubicBezTo>
                  <a:pt x="3598" y="1119"/>
                  <a:pt x="3598" y="1119"/>
                  <a:pt x="3598" y="1178"/>
                </a:cubicBezTo>
                <a:cubicBezTo>
                  <a:pt x="3598" y="1178"/>
                  <a:pt x="3598" y="1178"/>
                  <a:pt x="3609" y="1178"/>
                </a:cubicBezTo>
                <a:cubicBezTo>
                  <a:pt x="3609" y="1178"/>
                  <a:pt x="3609" y="1178"/>
                  <a:pt x="3609" y="1105"/>
                </a:cubicBezTo>
                <a:close/>
                <a:moveTo>
                  <a:pt x="3630" y="1137"/>
                </a:moveTo>
                <a:cubicBezTo>
                  <a:pt x="3630" y="1137"/>
                  <a:pt x="3630" y="1137"/>
                  <a:pt x="3630" y="1137"/>
                </a:cubicBezTo>
                <a:cubicBezTo>
                  <a:pt x="3630" y="1145"/>
                  <a:pt x="3630" y="1145"/>
                  <a:pt x="3630" y="1145"/>
                </a:cubicBezTo>
                <a:cubicBezTo>
                  <a:pt x="3636" y="1146"/>
                  <a:pt x="3637" y="1149"/>
                  <a:pt x="3637" y="1151"/>
                </a:cubicBezTo>
                <a:cubicBezTo>
                  <a:pt x="3637" y="1154"/>
                  <a:pt x="3636" y="1156"/>
                  <a:pt x="3636" y="1158"/>
                </a:cubicBezTo>
                <a:cubicBezTo>
                  <a:pt x="3636" y="1161"/>
                  <a:pt x="3636" y="1163"/>
                  <a:pt x="3636" y="1166"/>
                </a:cubicBezTo>
                <a:cubicBezTo>
                  <a:pt x="3636" y="1175"/>
                  <a:pt x="3641" y="1178"/>
                  <a:pt x="3650" y="1178"/>
                </a:cubicBezTo>
                <a:cubicBezTo>
                  <a:pt x="3650" y="1178"/>
                  <a:pt x="3650" y="1178"/>
                  <a:pt x="3654" y="1178"/>
                </a:cubicBezTo>
                <a:cubicBezTo>
                  <a:pt x="3654" y="1178"/>
                  <a:pt x="3654" y="1178"/>
                  <a:pt x="3654" y="1169"/>
                </a:cubicBezTo>
                <a:cubicBezTo>
                  <a:pt x="3654" y="1169"/>
                  <a:pt x="3654" y="1169"/>
                  <a:pt x="3652" y="1169"/>
                </a:cubicBezTo>
                <a:cubicBezTo>
                  <a:pt x="3648" y="1169"/>
                  <a:pt x="3647" y="1167"/>
                  <a:pt x="3647" y="1163"/>
                </a:cubicBezTo>
                <a:cubicBezTo>
                  <a:pt x="3647" y="1162"/>
                  <a:pt x="3647" y="1160"/>
                  <a:pt x="3648" y="1158"/>
                </a:cubicBezTo>
                <a:cubicBezTo>
                  <a:pt x="3648" y="1157"/>
                  <a:pt x="3648" y="1155"/>
                  <a:pt x="3648" y="1152"/>
                </a:cubicBezTo>
                <a:cubicBezTo>
                  <a:pt x="3648" y="1145"/>
                  <a:pt x="3645" y="1142"/>
                  <a:pt x="3640" y="1141"/>
                </a:cubicBezTo>
                <a:cubicBezTo>
                  <a:pt x="3640" y="1141"/>
                  <a:pt x="3640" y="1141"/>
                  <a:pt x="3640" y="1141"/>
                </a:cubicBezTo>
                <a:cubicBezTo>
                  <a:pt x="3645" y="1140"/>
                  <a:pt x="3648" y="1138"/>
                  <a:pt x="3648" y="1130"/>
                </a:cubicBezTo>
                <a:cubicBezTo>
                  <a:pt x="3648" y="1127"/>
                  <a:pt x="3648" y="1126"/>
                  <a:pt x="3648" y="1124"/>
                </a:cubicBezTo>
                <a:cubicBezTo>
                  <a:pt x="3647" y="1122"/>
                  <a:pt x="3647" y="1120"/>
                  <a:pt x="3647" y="1119"/>
                </a:cubicBezTo>
                <a:cubicBezTo>
                  <a:pt x="3647" y="1115"/>
                  <a:pt x="3648" y="1113"/>
                  <a:pt x="3652" y="1113"/>
                </a:cubicBezTo>
                <a:cubicBezTo>
                  <a:pt x="3652" y="1113"/>
                  <a:pt x="3652" y="1113"/>
                  <a:pt x="3654" y="1113"/>
                </a:cubicBezTo>
                <a:cubicBezTo>
                  <a:pt x="3654" y="1113"/>
                  <a:pt x="3654" y="1113"/>
                  <a:pt x="3654" y="1104"/>
                </a:cubicBezTo>
                <a:cubicBezTo>
                  <a:pt x="3654" y="1104"/>
                  <a:pt x="3654" y="1104"/>
                  <a:pt x="3650" y="1104"/>
                </a:cubicBezTo>
                <a:cubicBezTo>
                  <a:pt x="3641" y="1104"/>
                  <a:pt x="3636" y="1108"/>
                  <a:pt x="3636" y="1117"/>
                </a:cubicBezTo>
                <a:cubicBezTo>
                  <a:pt x="3636" y="1119"/>
                  <a:pt x="3636" y="1121"/>
                  <a:pt x="3636" y="1124"/>
                </a:cubicBezTo>
                <a:cubicBezTo>
                  <a:pt x="3636" y="1126"/>
                  <a:pt x="3637" y="1129"/>
                  <a:pt x="3637" y="1131"/>
                </a:cubicBezTo>
                <a:cubicBezTo>
                  <a:pt x="3637" y="1133"/>
                  <a:pt x="3636" y="1137"/>
                  <a:pt x="3630" y="1137"/>
                </a:cubicBezTo>
                <a:close/>
              </a:path>
            </a:pathLst>
          </a:custGeom>
          <a:solidFill>
            <a:srgbClr val="FFFFFF">
              <a:alpha val="20000"/>
            </a:srgbClr>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2C2C2C"/>
              </a:solidFill>
              <a:effectLst/>
              <a:uLnTx/>
              <a:uFillTx/>
              <a:latin typeface="Segoe UI" charset="0"/>
              <a:ea typeface="MS PGothic" charset="0"/>
            </a:endParaRPr>
          </a:p>
        </p:txBody>
      </p:sp>
      <p:pic>
        <p:nvPicPr>
          <p:cNvPr id="2469" name="Picture 2468"/>
          <p:cNvPicPr>
            <a:picLocks noChangeAspect="1"/>
          </p:cNvPicPr>
          <p:nvPr userDrawn="1"/>
        </p:nvPicPr>
        <p:blipFill>
          <a:blip r:embed="rId2"/>
          <a:stretch>
            <a:fillRect/>
          </a:stretch>
        </p:blipFill>
        <p:spPr>
          <a:xfrm>
            <a:off x="450206" y="6121376"/>
            <a:ext cx="1254209" cy="268966"/>
          </a:xfrm>
          <a:prstGeom prst="rect">
            <a:avLst/>
          </a:prstGeom>
        </p:spPr>
      </p:pic>
      <p:sp>
        <p:nvSpPr>
          <p:cNvPr id="2470" name="Title 1"/>
          <p:cNvSpPr>
            <a:spLocks noGrp="1"/>
          </p:cNvSpPr>
          <p:nvPr>
            <p:ph type="title" hasCustomPrompt="1"/>
          </p:nvPr>
        </p:nvSpPr>
        <p:spPr bwMode="auto">
          <a:xfrm>
            <a:off x="269302" y="1187622"/>
            <a:ext cx="8965805" cy="1793104"/>
          </a:xfrm>
          <a:noFill/>
        </p:spPr>
        <p:txBody>
          <a:bodyPr lIns="146304" tIns="91440" rIns="146304" bIns="91440" anchor="t" anchorCtr="0"/>
          <a:lstStyle>
            <a:lvl1pPr>
              <a:defRPr sz="7842" spc="-98" baseline="0">
                <a:gradFill>
                  <a:gsLst>
                    <a:gs pos="57576">
                      <a:srgbClr val="FFFFFF"/>
                    </a:gs>
                    <a:gs pos="35000">
                      <a:srgbClr val="FFFFFF"/>
                    </a:gs>
                  </a:gsLst>
                  <a:lin ang="5400000" scaled="0"/>
                </a:gradFill>
              </a:defRPr>
            </a:lvl1pPr>
          </a:lstStyle>
          <a:p>
            <a:r>
              <a:rPr lang="en-US" dirty="0"/>
              <a:t>Presentation title</a:t>
            </a:r>
          </a:p>
        </p:txBody>
      </p:sp>
      <p:sp>
        <p:nvSpPr>
          <p:cNvPr id="2471" name="Text Placeholder 2"/>
          <p:cNvSpPr>
            <a:spLocks noGrp="1"/>
          </p:cNvSpPr>
          <p:nvPr>
            <p:ph type="body" sz="quarter" idx="14" hasCustomPrompt="1"/>
          </p:nvPr>
        </p:nvSpPr>
        <p:spPr bwMode="auto">
          <a:xfrm>
            <a:off x="267682" y="3877276"/>
            <a:ext cx="8965805" cy="1793104"/>
          </a:xfrm>
        </p:spPr>
        <p:txBody>
          <a:bodyPr tIns="109728" bIns="109728">
            <a:noAutofit/>
          </a:bodyPr>
          <a:lstStyle>
            <a:lvl1pPr marL="0" indent="0">
              <a:spcBef>
                <a:spcPts val="0"/>
              </a:spcBef>
              <a:buNone/>
              <a:defRPr sz="4313">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98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base" latinLnBrk="0" hangingPunct="1">
              <a:lnSpc>
                <a:spcPct val="90000"/>
              </a:lnSpc>
              <a:spcBef>
                <a:spcPct val="0"/>
              </a:spcBef>
              <a:spcAft>
                <a:spcPct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238042950"/>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026668"/>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83203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439230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07867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1919363"/>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4331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3277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320017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498291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000524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581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5654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224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ct val="0"/>
              </a:spcBef>
              <a:spcAft>
                <a:spcPct val="0"/>
              </a:spcAft>
              <a:buClrTx/>
              <a:buSzTx/>
              <a:buFontTx/>
              <a:buNone/>
              <a:tabLst/>
              <a:defRPr/>
            </a:pPr>
            <a:r>
              <a:rPr kumimoji="0" lang="en-US" sz="686" b="0" i="0" u="none" strike="noStrike" kern="1200" cap="none" spc="0" normalizeH="0" baseline="0" noProof="0" dirty="0">
                <a:ln>
                  <a:noFill/>
                </a:ln>
                <a:gradFill>
                  <a:gsLst>
                    <a:gs pos="0">
                      <a:srgbClr val="2C2C2C"/>
                    </a:gs>
                    <a:gs pos="100000">
                      <a:srgbClr val="2C2C2C"/>
                    </a:gs>
                  </a:gsLst>
                  <a:lin ang="5400000" scaled="0"/>
                </a:gradFill>
                <a:effectLst/>
                <a:uLnTx/>
                <a:uFillTx/>
                <a:latin typeface="Segoe UI" charset="0"/>
                <a:ea typeface="MS PGothic" charset="0"/>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976807219"/>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211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9811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defTabSz="914367">
              <a:defRPr/>
            </a:pPr>
            <a:r>
              <a:rPr lang="en-US" sz="882" smtClean="0">
                <a:ea typeface="MS PGothic" charset="0"/>
              </a:rPr>
              <a:t>Microsoft Confidential</a:t>
            </a:r>
            <a:endParaRPr lang="en-US" sz="882" dirty="0">
              <a:ea typeface="MS PGothic" charset="0"/>
            </a:endParaRP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lgn="r">
              <a:defRPr/>
            </a:pPr>
            <a:fld id="{EC136591-509A-F246-B30E-5ECE4A4A5F5E}" type="slidenum">
              <a:rPr lang="en-US" sz="882" smtClean="0">
                <a:ea typeface="MS PGothic" charset="0"/>
              </a:rPr>
              <a:pPr algn="r">
                <a:defRPr/>
              </a:pPr>
              <a:t>‹#›</a:t>
            </a:fld>
            <a:endParaRPr lang="en-US" sz="882">
              <a:ea typeface="MS PGothic" charset="0"/>
            </a:endParaRPr>
          </a:p>
        </p:txBody>
      </p:sp>
    </p:spTree>
    <p:extLst>
      <p:ext uri="{BB962C8B-B14F-4D97-AF65-F5344CB8AC3E}">
        <p14:creationId xmlns:p14="http://schemas.microsoft.com/office/powerpoint/2010/main" val="30035358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7412450"/>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2"/>
            <a:ext cx="3859607" cy="133860"/>
          </a:xfrm>
          <a:prstGeom prst="rect">
            <a:avLst/>
          </a:prstGeom>
        </p:spPr>
        <p:txBody>
          <a:bodyPr/>
          <a:lstStyle>
            <a:lvl1pPr fontAlgn="base">
              <a:spcBef>
                <a:spcPct val="0"/>
              </a:spcBef>
              <a:spcAft>
                <a:spcPct val="0"/>
              </a:spcAft>
              <a:defRPr dirty="0" smtClean="0">
                <a:solidFill>
                  <a:srgbClr val="50505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505050"/>
                </a:solidFill>
              </a:defRPr>
            </a:lvl1pPr>
          </a:lstStyle>
          <a:p>
            <a:pPr algn="r">
              <a:defRPr/>
            </a:pPr>
            <a:fld id="{56442AAA-6A77-5942-BCC4-0CCA4B0626F8}"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33083339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3" name="Slide Number Placeholder 2"/>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25893691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284490044"/>
      </p:ext>
    </p:extLst>
  </p:cSld>
  <p:clrMapOvr>
    <a:masterClrMapping/>
  </p:clrMapOvr>
  <p:transition spd="med">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4659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96938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3"/>
            <a:ext cx="4969616" cy="2286395"/>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406322" indent="-182528">
              <a:buFont typeface="Segoe UI Light" panose="020B0502040204020203" pitchFamily="34" charset="0"/>
              <a:buChar char="−"/>
              <a:defRPr sz="3200">
                <a:latin typeface="+mj-lt"/>
              </a:defRPr>
            </a:lvl2pPr>
            <a:lvl3pPr marL="634879" indent="-182528">
              <a:buFont typeface="Courier New" panose="02070309020205020404" pitchFamily="49" charset="0"/>
              <a:buChar char="o"/>
              <a:defRPr sz="28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S PGothic" charset="0"/>
                <a:cs typeface="+mn-cs"/>
              </a:rPr>
              <a:t>Feature</a:t>
            </a:r>
          </a:p>
        </p:txBody>
      </p:sp>
      <p:sp>
        <p:nvSpPr>
          <p:cNvPr id="5" name="Picture Placeholder 6"/>
          <p:cNvSpPr>
            <a:spLocks noGrp="1"/>
          </p:cNvSpPr>
          <p:nvPr>
            <p:ph type="pic" sz="quarter" idx="12" hasCustomPrompt="1"/>
          </p:nvPr>
        </p:nvSpPr>
        <p:spPr>
          <a:xfrm>
            <a:off x="8096278" y="2376547"/>
            <a:ext cx="3492285" cy="127073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03131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userDrawn="1">
  <p:cSld name="5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grpSp>
        <p:nvGrpSpPr>
          <p:cNvPr id="25" name="Group 24"/>
          <p:cNvGrpSpPr/>
          <p:nvPr userDrawn="1"/>
        </p:nvGrpSpPr>
        <p:grpSpPr>
          <a:xfrm>
            <a:off x="1202933" y="2956053"/>
            <a:ext cx="1800939" cy="1801197"/>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gr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544105974"/>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with side content">
    <p:spTree>
      <p:nvGrpSpPr>
        <p:cNvPr id="1" name=""/>
        <p:cNvGrpSpPr/>
        <p:nvPr/>
      </p:nvGrpSpPr>
      <p:grpSpPr>
        <a:xfrm>
          <a:off x="0" y="0"/>
          <a:ext cx="0" cy="0"/>
          <a:chOff x="0" y="0"/>
          <a:chExt cx="0" cy="0"/>
        </a:xfrm>
      </p:grpSpPr>
      <p:sp>
        <p:nvSpPr>
          <p:cNvPr id="7" name="Rectangle 1"/>
          <p:cNvSpPr/>
          <p:nvPr userDrawn="1"/>
        </p:nvSpPr>
        <p:spPr>
          <a:xfrm rot="720628">
            <a:off x="-745374" y="-537632"/>
            <a:ext cx="4191143" cy="7638207"/>
          </a:xfrm>
          <a:custGeom>
            <a:avLst/>
            <a:gdLst>
              <a:gd name="connsiteX0" fmla="*/ 0 w 6138140"/>
              <a:gd name="connsiteY0" fmla="*/ 0 h 6138140"/>
              <a:gd name="connsiteX1" fmla="*/ 6138140 w 6138140"/>
              <a:gd name="connsiteY1" fmla="*/ 0 h 6138140"/>
              <a:gd name="connsiteX2" fmla="*/ 6138140 w 6138140"/>
              <a:gd name="connsiteY2" fmla="*/ 6138140 h 6138140"/>
              <a:gd name="connsiteX3" fmla="*/ 0 w 6138140"/>
              <a:gd name="connsiteY3" fmla="*/ 6138140 h 6138140"/>
              <a:gd name="connsiteX4" fmla="*/ 0 w 6138140"/>
              <a:gd name="connsiteY4" fmla="*/ 0 h 6138140"/>
              <a:gd name="connsiteX0" fmla="*/ 3915 w 6138140"/>
              <a:gd name="connsiteY0" fmla="*/ 1261595 h 6138140"/>
              <a:gd name="connsiteX1" fmla="*/ 6138140 w 6138140"/>
              <a:gd name="connsiteY1" fmla="*/ 0 h 6138140"/>
              <a:gd name="connsiteX2" fmla="*/ 6138140 w 6138140"/>
              <a:gd name="connsiteY2" fmla="*/ 6138140 h 6138140"/>
              <a:gd name="connsiteX3" fmla="*/ 0 w 6138140"/>
              <a:gd name="connsiteY3" fmla="*/ 6138140 h 6138140"/>
              <a:gd name="connsiteX4" fmla="*/ 3915 w 6138140"/>
              <a:gd name="connsiteY4" fmla="*/ 1261595 h 6138140"/>
              <a:gd name="connsiteX0" fmla="*/ 1712 w 6135937"/>
              <a:gd name="connsiteY0" fmla="*/ 1261595 h 7448191"/>
              <a:gd name="connsiteX1" fmla="*/ 6135937 w 6135937"/>
              <a:gd name="connsiteY1" fmla="*/ 0 h 7448191"/>
              <a:gd name="connsiteX2" fmla="*/ 6135937 w 6135937"/>
              <a:gd name="connsiteY2" fmla="*/ 6138140 h 7448191"/>
              <a:gd name="connsiteX3" fmla="*/ 0 w 6135937"/>
              <a:gd name="connsiteY3" fmla="*/ 7448191 h 7448191"/>
              <a:gd name="connsiteX4" fmla="*/ 1712 w 6135937"/>
              <a:gd name="connsiteY4" fmla="*/ 1261595 h 7448191"/>
              <a:gd name="connsiteX0" fmla="*/ 1648870 w 6135937"/>
              <a:gd name="connsiteY0" fmla="*/ 923190 h 7448191"/>
              <a:gd name="connsiteX1" fmla="*/ 6135937 w 6135937"/>
              <a:gd name="connsiteY1" fmla="*/ 0 h 7448191"/>
              <a:gd name="connsiteX2" fmla="*/ 6135937 w 6135937"/>
              <a:gd name="connsiteY2" fmla="*/ 6138140 h 7448191"/>
              <a:gd name="connsiteX3" fmla="*/ 0 w 6135937"/>
              <a:gd name="connsiteY3" fmla="*/ 7448191 h 7448191"/>
              <a:gd name="connsiteX4" fmla="*/ 1648870 w 6135937"/>
              <a:gd name="connsiteY4" fmla="*/ 923190 h 7448191"/>
              <a:gd name="connsiteX0" fmla="*/ 1 w 4487068"/>
              <a:gd name="connsiteY0" fmla="*/ 923190 h 6874631"/>
              <a:gd name="connsiteX1" fmla="*/ 4487068 w 4487068"/>
              <a:gd name="connsiteY1" fmla="*/ 0 h 6874631"/>
              <a:gd name="connsiteX2" fmla="*/ 4487068 w 4487068"/>
              <a:gd name="connsiteY2" fmla="*/ 6138140 h 6874631"/>
              <a:gd name="connsiteX3" fmla="*/ 934069 w 4487068"/>
              <a:gd name="connsiteY3" fmla="*/ 6874631 h 6874631"/>
              <a:gd name="connsiteX4" fmla="*/ 1 w 4487068"/>
              <a:gd name="connsiteY4" fmla="*/ 923190 h 6874631"/>
              <a:gd name="connsiteX0" fmla="*/ 1 w 4487068"/>
              <a:gd name="connsiteY0" fmla="*/ 923190 h 6874694"/>
              <a:gd name="connsiteX1" fmla="*/ 4487068 w 4487068"/>
              <a:gd name="connsiteY1" fmla="*/ 0 h 6874694"/>
              <a:gd name="connsiteX2" fmla="*/ 4487068 w 4487068"/>
              <a:gd name="connsiteY2" fmla="*/ 6138140 h 6874694"/>
              <a:gd name="connsiteX3" fmla="*/ 934069 w 4487068"/>
              <a:gd name="connsiteY3" fmla="*/ 6874631 h 6874694"/>
              <a:gd name="connsiteX4" fmla="*/ 1 w 4487068"/>
              <a:gd name="connsiteY4" fmla="*/ 923190 h 6874694"/>
              <a:gd name="connsiteX0" fmla="*/ 1 w 4487068"/>
              <a:gd name="connsiteY0" fmla="*/ 923190 h 6874672"/>
              <a:gd name="connsiteX1" fmla="*/ 4487068 w 4487068"/>
              <a:gd name="connsiteY1" fmla="*/ 0 h 6874672"/>
              <a:gd name="connsiteX2" fmla="*/ 4487068 w 4487068"/>
              <a:gd name="connsiteY2" fmla="*/ 6138140 h 6874672"/>
              <a:gd name="connsiteX3" fmla="*/ 934069 w 4487068"/>
              <a:gd name="connsiteY3" fmla="*/ 6874631 h 6874672"/>
              <a:gd name="connsiteX4" fmla="*/ 1 w 4487068"/>
              <a:gd name="connsiteY4" fmla="*/ 923190 h 6874672"/>
              <a:gd name="connsiteX0" fmla="*/ 0 w 4740100"/>
              <a:gd name="connsiteY0" fmla="*/ 977022 h 6874673"/>
              <a:gd name="connsiteX1" fmla="*/ 4740100 w 4740100"/>
              <a:gd name="connsiteY1" fmla="*/ 0 h 6874673"/>
              <a:gd name="connsiteX2" fmla="*/ 4740100 w 4740100"/>
              <a:gd name="connsiteY2" fmla="*/ 6138140 h 6874673"/>
              <a:gd name="connsiteX3" fmla="*/ 1187101 w 4740100"/>
              <a:gd name="connsiteY3" fmla="*/ 6874631 h 6874673"/>
              <a:gd name="connsiteX4" fmla="*/ 0 w 4740100"/>
              <a:gd name="connsiteY4" fmla="*/ 977022 h 6874673"/>
              <a:gd name="connsiteX0" fmla="*/ 0 w 4740100"/>
              <a:gd name="connsiteY0" fmla="*/ 977022 h 6915788"/>
              <a:gd name="connsiteX1" fmla="*/ 4740100 w 4740100"/>
              <a:gd name="connsiteY1" fmla="*/ 0 h 6915788"/>
              <a:gd name="connsiteX2" fmla="*/ 4740100 w 4740100"/>
              <a:gd name="connsiteY2" fmla="*/ 6138140 h 6915788"/>
              <a:gd name="connsiteX3" fmla="*/ 1219892 w 4740100"/>
              <a:gd name="connsiteY3" fmla="*/ 6915747 h 6915788"/>
              <a:gd name="connsiteX4" fmla="*/ 0 w 4740100"/>
              <a:gd name="connsiteY4" fmla="*/ 977022 h 6915788"/>
              <a:gd name="connsiteX0" fmla="*/ 309615 w 3520215"/>
              <a:gd name="connsiteY0" fmla="*/ 678176 h 6915786"/>
              <a:gd name="connsiteX1" fmla="*/ 3520215 w 3520215"/>
              <a:gd name="connsiteY1" fmla="*/ 0 h 6915786"/>
              <a:gd name="connsiteX2" fmla="*/ 3520215 w 3520215"/>
              <a:gd name="connsiteY2" fmla="*/ 6138140 h 6915786"/>
              <a:gd name="connsiteX3" fmla="*/ 7 w 3520215"/>
              <a:gd name="connsiteY3" fmla="*/ 6915747 h 6915786"/>
              <a:gd name="connsiteX4" fmla="*/ 309615 w 3520215"/>
              <a:gd name="connsiteY4" fmla="*/ 678176 h 6915786"/>
              <a:gd name="connsiteX0" fmla="*/ 1 w 3210601"/>
              <a:gd name="connsiteY0" fmla="*/ 678176 h 6554246"/>
              <a:gd name="connsiteX1" fmla="*/ 3210601 w 3210601"/>
              <a:gd name="connsiteY1" fmla="*/ 0 h 6554246"/>
              <a:gd name="connsiteX2" fmla="*/ 3210601 w 3210601"/>
              <a:gd name="connsiteY2" fmla="*/ 6138140 h 6554246"/>
              <a:gd name="connsiteX3" fmla="*/ 932190 w 3210601"/>
              <a:gd name="connsiteY3" fmla="*/ 6554204 h 6554246"/>
              <a:gd name="connsiteX4" fmla="*/ 1 w 3210601"/>
              <a:gd name="connsiteY4" fmla="*/ 678176 h 6554246"/>
              <a:gd name="connsiteX0" fmla="*/ 0 w 3594687"/>
              <a:gd name="connsiteY0" fmla="*/ 786441 h 6554246"/>
              <a:gd name="connsiteX1" fmla="*/ 3594687 w 3594687"/>
              <a:gd name="connsiteY1" fmla="*/ 0 h 6554246"/>
              <a:gd name="connsiteX2" fmla="*/ 3594687 w 3594687"/>
              <a:gd name="connsiteY2" fmla="*/ 6138140 h 6554246"/>
              <a:gd name="connsiteX3" fmla="*/ 1316276 w 3594687"/>
              <a:gd name="connsiteY3" fmla="*/ 6554204 h 6554246"/>
              <a:gd name="connsiteX4" fmla="*/ 0 w 3594687"/>
              <a:gd name="connsiteY4" fmla="*/ 786441 h 6554246"/>
              <a:gd name="connsiteX0" fmla="*/ 0 w 3594687"/>
              <a:gd name="connsiteY0" fmla="*/ 786441 h 6616397"/>
              <a:gd name="connsiteX1" fmla="*/ 3594687 w 3594687"/>
              <a:gd name="connsiteY1" fmla="*/ 0 h 6616397"/>
              <a:gd name="connsiteX2" fmla="*/ 3594687 w 3594687"/>
              <a:gd name="connsiteY2" fmla="*/ 6138140 h 6616397"/>
              <a:gd name="connsiteX3" fmla="*/ 1232145 w 3594687"/>
              <a:gd name="connsiteY3" fmla="*/ 6616355 h 6616397"/>
              <a:gd name="connsiteX4" fmla="*/ 0 w 3594687"/>
              <a:gd name="connsiteY4" fmla="*/ 786441 h 6616397"/>
              <a:gd name="connsiteX0" fmla="*/ 0 w 3594687"/>
              <a:gd name="connsiteY0" fmla="*/ 786441 h 6638197"/>
              <a:gd name="connsiteX1" fmla="*/ 3594687 w 3594687"/>
              <a:gd name="connsiteY1" fmla="*/ 0 h 6638197"/>
              <a:gd name="connsiteX2" fmla="*/ 3594687 w 3594687"/>
              <a:gd name="connsiteY2" fmla="*/ 6138140 h 6638197"/>
              <a:gd name="connsiteX3" fmla="*/ 1254482 w 3594687"/>
              <a:gd name="connsiteY3" fmla="*/ 6638155 h 6638197"/>
              <a:gd name="connsiteX4" fmla="*/ 0 w 3594687"/>
              <a:gd name="connsiteY4" fmla="*/ 786441 h 6638197"/>
              <a:gd name="connsiteX0" fmla="*/ 1 w 3584959"/>
              <a:gd name="connsiteY0" fmla="*/ 748970 h 6638197"/>
              <a:gd name="connsiteX1" fmla="*/ 3584959 w 3584959"/>
              <a:gd name="connsiteY1" fmla="*/ 0 h 6638197"/>
              <a:gd name="connsiteX2" fmla="*/ 3584959 w 3584959"/>
              <a:gd name="connsiteY2" fmla="*/ 6138140 h 6638197"/>
              <a:gd name="connsiteX3" fmla="*/ 1244754 w 3584959"/>
              <a:gd name="connsiteY3" fmla="*/ 6638155 h 6638197"/>
              <a:gd name="connsiteX4" fmla="*/ 1 w 3584959"/>
              <a:gd name="connsiteY4" fmla="*/ 748970 h 6638197"/>
              <a:gd name="connsiteX0" fmla="*/ 0 w 3642429"/>
              <a:gd name="connsiteY0" fmla="*/ 770048 h 6638197"/>
              <a:gd name="connsiteX1" fmla="*/ 3642429 w 3642429"/>
              <a:gd name="connsiteY1" fmla="*/ 0 h 6638197"/>
              <a:gd name="connsiteX2" fmla="*/ 3642429 w 3642429"/>
              <a:gd name="connsiteY2" fmla="*/ 6138140 h 6638197"/>
              <a:gd name="connsiteX3" fmla="*/ 1302224 w 3642429"/>
              <a:gd name="connsiteY3" fmla="*/ 6638155 h 6638197"/>
              <a:gd name="connsiteX4" fmla="*/ 0 w 3642429"/>
              <a:gd name="connsiteY4" fmla="*/ 770048 h 6638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29" h="6638197">
                <a:moveTo>
                  <a:pt x="0" y="770048"/>
                </a:moveTo>
                <a:lnTo>
                  <a:pt x="3642429" y="0"/>
                </a:lnTo>
                <a:lnTo>
                  <a:pt x="3642429" y="6138140"/>
                </a:lnTo>
                <a:lnTo>
                  <a:pt x="1302224" y="6638155"/>
                </a:lnTo>
                <a:cubicBezTo>
                  <a:pt x="1300595" y="6656425"/>
                  <a:pt x="-818" y="740276"/>
                  <a:pt x="0" y="770048"/>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68"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203200" y="1061591"/>
            <a:ext cx="3338653" cy="1077218"/>
          </a:xfrm>
        </p:spPr>
        <p:txBody>
          <a:bodyPr anchor="ctr"/>
          <a:lstStyle>
            <a:lvl1pPr>
              <a:defRPr sz="32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203199" y="2489201"/>
            <a:ext cx="3141885" cy="787908"/>
          </a:xfrm>
        </p:spPr>
        <p:txBody>
          <a:bodyPr wrap="square">
            <a:spAutoFit/>
          </a:bodyPr>
          <a:lstStyle>
            <a:lvl1pPr marL="0" indent="0">
              <a:buNone/>
              <a:defRPr sz="2400">
                <a:solidFill>
                  <a:schemeClr val="bg1"/>
                </a:solidFill>
                <a:latin typeface="+mj-lt"/>
              </a:defRPr>
            </a:lvl1pPr>
            <a:lvl2pPr marL="0" indent="0">
              <a:buNone/>
              <a:defRPr sz="1600">
                <a:solidFill>
                  <a:schemeClr val="bg1"/>
                </a:solidFill>
              </a:defRPr>
            </a:lvl2pPr>
            <a:lvl3pPr marL="173004" indent="0">
              <a:buNone/>
              <a:defRPr/>
            </a:lvl3pPr>
            <a:lvl4pPr marL="338073" indent="9524">
              <a:buNone/>
              <a:defRPr/>
            </a:lvl4pPr>
            <a:lvl5pPr marL="2437871" indent="0">
              <a:buNone/>
              <a:defRPr/>
            </a:lvl5pPr>
          </a:lstStyle>
          <a:p>
            <a:pPr lvl="0"/>
            <a:r>
              <a:rPr lang="en-US" dirty="0"/>
              <a:t>Edit Master text styles</a:t>
            </a:r>
          </a:p>
          <a:p>
            <a:pPr lvl="1"/>
            <a:r>
              <a:rPr lang="en-US" dirty="0"/>
              <a:t>Second level</a:t>
            </a:r>
          </a:p>
        </p:txBody>
      </p:sp>
      <p:pic>
        <p:nvPicPr>
          <p:cNvPr id="8" name="Picture 7" descr="MSFT_logo_rgb_C-Wht_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155" y="6196735"/>
            <a:ext cx="1318381" cy="484957"/>
          </a:xfrm>
          <a:prstGeom prst="rect">
            <a:avLst/>
          </a:prstGeom>
        </p:spPr>
      </p:pic>
      <p:sp>
        <p:nvSpPr>
          <p:cNvPr id="4" name="Text Placeholder 3"/>
          <p:cNvSpPr>
            <a:spLocks noGrp="1"/>
          </p:cNvSpPr>
          <p:nvPr>
            <p:ph type="body" sz="quarter" idx="11"/>
          </p:nvPr>
        </p:nvSpPr>
        <p:spPr>
          <a:xfrm>
            <a:off x="4194175" y="482601"/>
            <a:ext cx="7785100" cy="1962140"/>
          </a:xfrm>
        </p:spPr>
        <p:txBody>
          <a:bodyPr/>
          <a:lstStyle>
            <a:lvl1pPr marL="0" indent="0">
              <a:buNone/>
              <a:defRPr sz="3200">
                <a:latin typeface="+mj-lt"/>
              </a:defRPr>
            </a:lvl1pPr>
            <a:lvl2pPr marL="241254" indent="-241254">
              <a:buFont typeface="Arial" panose="020B0604020202020204" pitchFamily="34" charset="0"/>
              <a:buChar char="•"/>
              <a:defRPr>
                <a:latin typeface="+mj-lt"/>
              </a:defRPr>
            </a:lvl2pPr>
            <a:lvl3pPr marL="622181" indent="-303155">
              <a:tabLst/>
              <a:defRPr sz="2000">
                <a:latin typeface="+mj-lt"/>
              </a:defRPr>
            </a:lvl3pPr>
            <a:lvl4pPr marL="914225" indent="-303155">
              <a:defRPr/>
            </a:lvl4pPr>
            <a:lvl5pPr marL="1377685" indent="-303155">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7163634"/>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1143822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465169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71046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69" y="1"/>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73949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3505" fontAlgn="base">
              <a:spcBef>
                <a:spcPct val="0"/>
              </a:spcBef>
              <a:spcAft>
                <a:spcPct val="0"/>
              </a:spcAft>
            </a:pPr>
            <a:fld id="{8713FE0B-90A8-4522-911E-44EDD0F8888D}" type="datetimeFigureOut">
              <a:rPr lang="en-US" sz="2353" smtClean="0">
                <a:solidFill>
                  <a:srgbClr val="2C2C2C"/>
                </a:solidFill>
                <a:ea typeface="MS PGothic" charset="0"/>
              </a:rPr>
              <a:pPr defTabSz="913505" fontAlgn="base">
                <a:spcBef>
                  <a:spcPct val="0"/>
                </a:spcBef>
                <a:spcAft>
                  <a:spcPct val="0"/>
                </a:spcAft>
              </a:pPr>
              <a:t>05-May-17</a:t>
            </a:fld>
            <a:endParaRPr lang="en-US" sz="2353">
              <a:solidFill>
                <a:srgbClr val="2C2C2C"/>
              </a:solidFill>
              <a:ea typeface="MS PGothic" charset="0"/>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3505" fontAlgn="base">
              <a:spcBef>
                <a:spcPct val="0"/>
              </a:spcBef>
              <a:spcAft>
                <a:spcPct val="0"/>
              </a:spcAft>
            </a:pPr>
            <a:endParaRPr lang="en-US" sz="2353">
              <a:solidFill>
                <a:srgbClr val="2C2C2C"/>
              </a:solidFill>
              <a:ea typeface="MS PGothic" charset="0"/>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3505" fontAlgn="base">
              <a:spcBef>
                <a:spcPct val="0"/>
              </a:spcBef>
              <a:spcAft>
                <a:spcPct val="0"/>
              </a:spcAft>
            </a:pPr>
            <a:fld id="{24CEB870-F81B-40D5-A5CE-D66A83EBE3E9}" type="slidenum">
              <a:rPr lang="en-US" sz="2353" smtClean="0">
                <a:solidFill>
                  <a:srgbClr val="2C2C2C"/>
                </a:solidFill>
                <a:ea typeface="MS PGothic" charset="0"/>
              </a:rPr>
              <a:pPr defTabSz="913505" fontAlgn="base">
                <a:spcBef>
                  <a:spcPct val="0"/>
                </a:spcBef>
                <a:spcAft>
                  <a:spcPct val="0"/>
                </a:spcAft>
              </a:pPr>
              <a:t>‹#›</a:t>
            </a:fld>
            <a:endParaRPr lang="en-US" sz="2353">
              <a:solidFill>
                <a:srgbClr val="2C2C2C"/>
              </a:solidFill>
              <a:ea typeface="MS PGothic" charset="0"/>
            </a:endParaRPr>
          </a:p>
        </p:txBody>
      </p:sp>
    </p:spTree>
    <p:extLst>
      <p:ext uri="{BB962C8B-B14F-4D97-AF65-F5344CB8AC3E}">
        <p14:creationId xmlns:p14="http://schemas.microsoft.com/office/powerpoint/2010/main" val="519486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Walkin No tile">
    <p:bg>
      <p:bgPr>
        <a:solidFill>
          <a:srgbClr val="FF8C0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6" name="Freeform 30"/>
          <p:cNvSpPr>
            <a:spLocks noEditPoints="1"/>
          </p:cNvSpPr>
          <p:nvPr userDrawn="1"/>
        </p:nvSpPr>
        <p:spPr bwMode="auto">
          <a:xfrm>
            <a:off x="11546" y="0"/>
            <a:ext cx="12172020" cy="6854887"/>
          </a:xfrm>
          <a:custGeom>
            <a:avLst/>
            <a:gdLst>
              <a:gd name="T0" fmla="*/ 97 w 3869"/>
              <a:gd name="T1" fmla="*/ 947 h 2177"/>
              <a:gd name="T2" fmla="*/ 1388 w 3869"/>
              <a:gd name="T3" fmla="*/ 916 h 2177"/>
              <a:gd name="T4" fmla="*/ 1296 w 3869"/>
              <a:gd name="T5" fmla="*/ 810 h 2177"/>
              <a:gd name="T6" fmla="*/ 1534 w 3869"/>
              <a:gd name="T7" fmla="*/ 844 h 2177"/>
              <a:gd name="T8" fmla="*/ 273 w 3869"/>
              <a:gd name="T9" fmla="*/ 836 h 2177"/>
              <a:gd name="T10" fmla="*/ 478 w 3869"/>
              <a:gd name="T11" fmla="*/ 671 h 2177"/>
              <a:gd name="T12" fmla="*/ 129 w 3869"/>
              <a:gd name="T13" fmla="*/ 515 h 2177"/>
              <a:gd name="T14" fmla="*/ 489 w 3869"/>
              <a:gd name="T15" fmla="*/ 518 h 2177"/>
              <a:gd name="T16" fmla="*/ 1256 w 3869"/>
              <a:gd name="T17" fmla="*/ 452 h 2177"/>
              <a:gd name="T18" fmla="*/ 1134 w 3869"/>
              <a:gd name="T19" fmla="*/ 302 h 2177"/>
              <a:gd name="T20" fmla="*/ 748 w 3869"/>
              <a:gd name="T21" fmla="*/ 413 h 2177"/>
              <a:gd name="T22" fmla="*/ 1621 w 3869"/>
              <a:gd name="T23" fmla="*/ 266 h 2177"/>
              <a:gd name="T24" fmla="*/ 1181 w 3869"/>
              <a:gd name="T25" fmla="*/ 126 h 2177"/>
              <a:gd name="T26" fmla="*/ 750 w 3869"/>
              <a:gd name="T27" fmla="*/ 261 h 2177"/>
              <a:gd name="T28" fmla="*/ 807 w 3869"/>
              <a:gd name="T29" fmla="*/ 7 h 2177"/>
              <a:gd name="T30" fmla="*/ 2432 w 3869"/>
              <a:gd name="T31" fmla="*/ 1026 h 2177"/>
              <a:gd name="T32" fmla="*/ 2045 w 3869"/>
              <a:gd name="T33" fmla="*/ 925 h 2177"/>
              <a:gd name="T34" fmla="*/ 2410 w 3869"/>
              <a:gd name="T35" fmla="*/ 935 h 2177"/>
              <a:gd name="T36" fmla="*/ 3534 w 3869"/>
              <a:gd name="T37" fmla="*/ 833 h 2177"/>
              <a:gd name="T38" fmla="*/ 3077 w 3869"/>
              <a:gd name="T39" fmla="*/ 705 h 2177"/>
              <a:gd name="T40" fmla="*/ 2678 w 3869"/>
              <a:gd name="T41" fmla="*/ 837 h 2177"/>
              <a:gd name="T42" fmla="*/ 2671 w 3869"/>
              <a:gd name="T43" fmla="*/ 606 h 2177"/>
              <a:gd name="T44" fmla="*/ 2601 w 3869"/>
              <a:gd name="T45" fmla="*/ 601 h 2177"/>
              <a:gd name="T46" fmla="*/ 2339 w 3869"/>
              <a:gd name="T47" fmla="*/ 502 h 2177"/>
              <a:gd name="T48" fmla="*/ 3734 w 3869"/>
              <a:gd name="T49" fmla="*/ 394 h 2177"/>
              <a:gd name="T50" fmla="*/ 3412 w 3869"/>
              <a:gd name="T51" fmla="*/ 371 h 2177"/>
              <a:gd name="T52" fmla="*/ 2304 w 3869"/>
              <a:gd name="T53" fmla="*/ 394 h 2177"/>
              <a:gd name="T54" fmla="*/ 3763 w 3869"/>
              <a:gd name="T55" fmla="*/ 268 h 2177"/>
              <a:gd name="T56" fmla="*/ 3209 w 3869"/>
              <a:gd name="T57" fmla="*/ 178 h 2177"/>
              <a:gd name="T58" fmla="*/ 2340 w 3869"/>
              <a:gd name="T59" fmla="*/ 225 h 2177"/>
              <a:gd name="T60" fmla="*/ 3196 w 3869"/>
              <a:gd name="T61" fmla="*/ 40 h 2177"/>
              <a:gd name="T62" fmla="*/ 205 w 3869"/>
              <a:gd name="T63" fmla="*/ 2104 h 2177"/>
              <a:gd name="T64" fmla="*/ 95 w 3869"/>
              <a:gd name="T65" fmla="*/ 2064 h 2177"/>
              <a:gd name="T66" fmla="*/ 180 w 3869"/>
              <a:gd name="T67" fmla="*/ 2030 h 2177"/>
              <a:gd name="T68" fmla="*/ 1394 w 3869"/>
              <a:gd name="T69" fmla="*/ 1918 h 2177"/>
              <a:gd name="T70" fmla="*/ 1532 w 3869"/>
              <a:gd name="T71" fmla="*/ 1965 h 2177"/>
              <a:gd name="T72" fmla="*/ 579 w 3869"/>
              <a:gd name="T73" fmla="*/ 1907 h 2177"/>
              <a:gd name="T74" fmla="*/ 329 w 3869"/>
              <a:gd name="T75" fmla="*/ 1729 h 2177"/>
              <a:gd name="T76" fmla="*/ 1762 w 3869"/>
              <a:gd name="T77" fmla="*/ 1751 h 2177"/>
              <a:gd name="T78" fmla="*/ 515 w 3869"/>
              <a:gd name="T79" fmla="*/ 1602 h 2177"/>
              <a:gd name="T80" fmla="*/ 1625 w 3869"/>
              <a:gd name="T81" fmla="*/ 1492 h 2177"/>
              <a:gd name="T82" fmla="*/ 1347 w 3869"/>
              <a:gd name="T83" fmla="*/ 1470 h 2177"/>
              <a:gd name="T84" fmla="*/ 875 w 3869"/>
              <a:gd name="T85" fmla="*/ 1566 h 2177"/>
              <a:gd name="T86" fmla="*/ 1648 w 3869"/>
              <a:gd name="T87" fmla="*/ 1342 h 2177"/>
              <a:gd name="T88" fmla="*/ 1329 w 3869"/>
              <a:gd name="T89" fmla="*/ 1243 h 2177"/>
              <a:gd name="T90" fmla="*/ 783 w 3869"/>
              <a:gd name="T91" fmla="*/ 1380 h 2177"/>
              <a:gd name="T92" fmla="*/ 886 w 3869"/>
              <a:gd name="T93" fmla="*/ 1114 h 2177"/>
              <a:gd name="T94" fmla="*/ 2279 w 3869"/>
              <a:gd name="T95" fmla="*/ 2162 h 2177"/>
              <a:gd name="T96" fmla="*/ 3721 w 3869"/>
              <a:gd name="T97" fmla="*/ 2123 h 2177"/>
              <a:gd name="T98" fmla="*/ 2516 w 3869"/>
              <a:gd name="T99" fmla="*/ 2009 h 2177"/>
              <a:gd name="T100" fmla="*/ 3582 w 3869"/>
              <a:gd name="T101" fmla="*/ 1926 h 2177"/>
              <a:gd name="T102" fmla="*/ 3278 w 3869"/>
              <a:gd name="T103" fmla="*/ 1829 h 2177"/>
              <a:gd name="T104" fmla="*/ 2871 w 3869"/>
              <a:gd name="T105" fmla="*/ 1903 h 2177"/>
              <a:gd name="T106" fmla="*/ 2696 w 3869"/>
              <a:gd name="T107" fmla="*/ 1757 h 2177"/>
              <a:gd name="T108" fmla="*/ 2612 w 3869"/>
              <a:gd name="T109" fmla="*/ 1716 h 2177"/>
              <a:gd name="T110" fmla="*/ 2342 w 3869"/>
              <a:gd name="T111" fmla="*/ 1621 h 2177"/>
              <a:gd name="T112" fmla="*/ 3773 w 3869"/>
              <a:gd name="T113" fmla="*/ 1518 h 2177"/>
              <a:gd name="T114" fmla="*/ 3169 w 3869"/>
              <a:gd name="T115" fmla="*/ 1468 h 2177"/>
              <a:gd name="T116" fmla="*/ 2542 w 3869"/>
              <a:gd name="T117" fmla="*/ 1405 h 2177"/>
              <a:gd name="T118" fmla="*/ 3788 w 3869"/>
              <a:gd name="T119" fmla="*/ 1315 h 2177"/>
              <a:gd name="T120" fmla="*/ 3185 w 3869"/>
              <a:gd name="T121" fmla="*/ 1221 h 2177"/>
              <a:gd name="T122" fmla="*/ 2612 w 3869"/>
              <a:gd name="T123" fmla="*/ 1284 h 2177"/>
              <a:gd name="T124" fmla="*/ 2924 w 3869"/>
              <a:gd name="T125" fmla="*/ 1143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9" h="2177">
                <a:moveTo>
                  <a:pt x="89" y="1078"/>
                </a:moveTo>
                <a:cubicBezTo>
                  <a:pt x="81" y="1078"/>
                  <a:pt x="75" y="1075"/>
                  <a:pt x="70" y="1069"/>
                </a:cubicBezTo>
                <a:cubicBezTo>
                  <a:pt x="67" y="1063"/>
                  <a:pt x="65" y="1054"/>
                  <a:pt x="65" y="1042"/>
                </a:cubicBezTo>
                <a:cubicBezTo>
                  <a:pt x="65" y="1028"/>
                  <a:pt x="67" y="1019"/>
                  <a:pt x="71" y="1012"/>
                </a:cubicBezTo>
                <a:cubicBezTo>
                  <a:pt x="76" y="1006"/>
                  <a:pt x="82" y="1002"/>
                  <a:pt x="91" y="1002"/>
                </a:cubicBezTo>
                <a:cubicBezTo>
                  <a:pt x="107" y="1002"/>
                  <a:pt x="115" y="1015"/>
                  <a:pt x="115" y="1040"/>
                </a:cubicBezTo>
                <a:cubicBezTo>
                  <a:pt x="115" y="1052"/>
                  <a:pt x="113" y="1062"/>
                  <a:pt x="108" y="1068"/>
                </a:cubicBezTo>
                <a:cubicBezTo>
                  <a:pt x="103" y="1075"/>
                  <a:pt x="97" y="1078"/>
                  <a:pt x="89" y="1078"/>
                </a:cubicBezTo>
                <a:close/>
                <a:moveTo>
                  <a:pt x="90" y="1012"/>
                </a:moveTo>
                <a:cubicBezTo>
                  <a:pt x="81" y="1012"/>
                  <a:pt x="76" y="1022"/>
                  <a:pt x="76" y="1042"/>
                </a:cubicBezTo>
                <a:cubicBezTo>
                  <a:pt x="76" y="1060"/>
                  <a:pt x="81" y="1068"/>
                  <a:pt x="89" y="1068"/>
                </a:cubicBezTo>
                <a:cubicBezTo>
                  <a:pt x="98" y="1068"/>
                  <a:pt x="103" y="1060"/>
                  <a:pt x="103" y="1041"/>
                </a:cubicBezTo>
                <a:cubicBezTo>
                  <a:pt x="103" y="1021"/>
                  <a:pt x="98" y="1012"/>
                  <a:pt x="90" y="1012"/>
                </a:cubicBezTo>
                <a:close/>
                <a:moveTo>
                  <a:pt x="163" y="1005"/>
                </a:moveTo>
                <a:cubicBezTo>
                  <a:pt x="163" y="1005"/>
                  <a:pt x="163" y="1005"/>
                  <a:pt x="163" y="1005"/>
                </a:cubicBezTo>
                <a:cubicBezTo>
                  <a:pt x="157" y="1005"/>
                  <a:pt x="157" y="1005"/>
                  <a:pt x="157" y="1005"/>
                </a:cubicBezTo>
                <a:cubicBezTo>
                  <a:pt x="155" y="1006"/>
                  <a:pt x="154" y="1007"/>
                  <a:pt x="152" y="1008"/>
                </a:cubicBezTo>
                <a:cubicBezTo>
                  <a:pt x="150" y="1010"/>
                  <a:pt x="148" y="1010"/>
                  <a:pt x="147" y="1011"/>
                </a:cubicBezTo>
                <a:cubicBezTo>
                  <a:pt x="144" y="1012"/>
                  <a:pt x="143" y="1013"/>
                  <a:pt x="142" y="1013"/>
                </a:cubicBezTo>
                <a:cubicBezTo>
                  <a:pt x="139" y="1014"/>
                  <a:pt x="138" y="1015"/>
                  <a:pt x="136" y="1015"/>
                </a:cubicBezTo>
                <a:cubicBezTo>
                  <a:pt x="136" y="1015"/>
                  <a:pt x="136" y="1015"/>
                  <a:pt x="136" y="1026"/>
                </a:cubicBezTo>
                <a:cubicBezTo>
                  <a:pt x="139" y="1025"/>
                  <a:pt x="142" y="1023"/>
                  <a:pt x="144" y="1023"/>
                </a:cubicBezTo>
                <a:cubicBezTo>
                  <a:pt x="147" y="1022"/>
                  <a:pt x="149" y="1021"/>
                  <a:pt x="151" y="1019"/>
                </a:cubicBezTo>
                <a:cubicBezTo>
                  <a:pt x="151" y="1019"/>
                  <a:pt x="151" y="1019"/>
                  <a:pt x="151" y="1078"/>
                </a:cubicBezTo>
                <a:cubicBezTo>
                  <a:pt x="151" y="1078"/>
                  <a:pt x="151" y="1078"/>
                  <a:pt x="163" y="1078"/>
                </a:cubicBezTo>
                <a:cubicBezTo>
                  <a:pt x="163" y="1078"/>
                  <a:pt x="163" y="1078"/>
                  <a:pt x="163" y="1005"/>
                </a:cubicBezTo>
                <a:close/>
                <a:moveTo>
                  <a:pt x="210" y="1005"/>
                </a:moveTo>
                <a:cubicBezTo>
                  <a:pt x="210" y="1005"/>
                  <a:pt x="210" y="1005"/>
                  <a:pt x="210" y="1005"/>
                </a:cubicBezTo>
                <a:cubicBezTo>
                  <a:pt x="205" y="1005"/>
                  <a:pt x="205" y="1005"/>
                  <a:pt x="205" y="1005"/>
                </a:cubicBezTo>
                <a:cubicBezTo>
                  <a:pt x="202" y="1006"/>
                  <a:pt x="201" y="1007"/>
                  <a:pt x="199" y="1008"/>
                </a:cubicBezTo>
                <a:cubicBezTo>
                  <a:pt x="197" y="1010"/>
                  <a:pt x="195" y="1010"/>
                  <a:pt x="194" y="1011"/>
                </a:cubicBezTo>
                <a:cubicBezTo>
                  <a:pt x="192" y="1013"/>
                  <a:pt x="190" y="1013"/>
                  <a:pt x="189" y="1014"/>
                </a:cubicBezTo>
                <a:cubicBezTo>
                  <a:pt x="187" y="1015"/>
                  <a:pt x="185" y="1015"/>
                  <a:pt x="183" y="1015"/>
                </a:cubicBezTo>
                <a:cubicBezTo>
                  <a:pt x="183" y="1015"/>
                  <a:pt x="183" y="1015"/>
                  <a:pt x="183" y="1026"/>
                </a:cubicBezTo>
                <a:cubicBezTo>
                  <a:pt x="186" y="1025"/>
                  <a:pt x="189" y="1024"/>
                  <a:pt x="191" y="1023"/>
                </a:cubicBezTo>
                <a:cubicBezTo>
                  <a:pt x="194" y="1022"/>
                  <a:pt x="196" y="1021"/>
                  <a:pt x="198" y="1019"/>
                </a:cubicBezTo>
                <a:cubicBezTo>
                  <a:pt x="198" y="1019"/>
                  <a:pt x="198" y="1019"/>
                  <a:pt x="198" y="1078"/>
                </a:cubicBezTo>
                <a:cubicBezTo>
                  <a:pt x="198" y="1078"/>
                  <a:pt x="198" y="1078"/>
                  <a:pt x="210" y="1078"/>
                </a:cubicBezTo>
                <a:cubicBezTo>
                  <a:pt x="210" y="1078"/>
                  <a:pt x="210" y="1078"/>
                  <a:pt x="210" y="1005"/>
                </a:cubicBezTo>
                <a:close/>
                <a:moveTo>
                  <a:pt x="256" y="1005"/>
                </a:moveTo>
                <a:cubicBezTo>
                  <a:pt x="256" y="1005"/>
                  <a:pt x="256" y="1005"/>
                  <a:pt x="256" y="1005"/>
                </a:cubicBezTo>
                <a:cubicBezTo>
                  <a:pt x="252" y="1005"/>
                  <a:pt x="252" y="1005"/>
                  <a:pt x="252" y="1005"/>
                </a:cubicBezTo>
                <a:cubicBezTo>
                  <a:pt x="250" y="1006"/>
                  <a:pt x="248" y="1007"/>
                  <a:pt x="246" y="1008"/>
                </a:cubicBezTo>
                <a:cubicBezTo>
                  <a:pt x="245" y="1010"/>
                  <a:pt x="242" y="1010"/>
                  <a:pt x="241" y="1011"/>
                </a:cubicBezTo>
                <a:cubicBezTo>
                  <a:pt x="239" y="1013"/>
                  <a:pt x="237" y="1013"/>
                  <a:pt x="235" y="1014"/>
                </a:cubicBezTo>
                <a:cubicBezTo>
                  <a:pt x="234" y="1015"/>
                  <a:pt x="232" y="1015"/>
                  <a:pt x="230" y="1015"/>
                </a:cubicBezTo>
                <a:cubicBezTo>
                  <a:pt x="230" y="1015"/>
                  <a:pt x="230" y="1015"/>
                  <a:pt x="230" y="1026"/>
                </a:cubicBezTo>
                <a:cubicBezTo>
                  <a:pt x="233" y="1025"/>
                  <a:pt x="236" y="1024"/>
                  <a:pt x="238" y="1023"/>
                </a:cubicBezTo>
                <a:cubicBezTo>
                  <a:pt x="240" y="1022"/>
                  <a:pt x="243" y="1021"/>
                  <a:pt x="245" y="1019"/>
                </a:cubicBezTo>
                <a:cubicBezTo>
                  <a:pt x="245" y="1019"/>
                  <a:pt x="245" y="1019"/>
                  <a:pt x="245" y="1078"/>
                </a:cubicBezTo>
                <a:cubicBezTo>
                  <a:pt x="245" y="1078"/>
                  <a:pt x="245" y="1078"/>
                  <a:pt x="256" y="1078"/>
                </a:cubicBezTo>
                <a:cubicBezTo>
                  <a:pt x="256" y="1078"/>
                  <a:pt x="256" y="1078"/>
                  <a:pt x="256" y="1005"/>
                </a:cubicBezTo>
                <a:close/>
                <a:moveTo>
                  <a:pt x="304" y="1005"/>
                </a:moveTo>
                <a:cubicBezTo>
                  <a:pt x="304" y="1005"/>
                  <a:pt x="304" y="1005"/>
                  <a:pt x="304" y="1005"/>
                </a:cubicBezTo>
                <a:cubicBezTo>
                  <a:pt x="299" y="1005"/>
                  <a:pt x="299" y="1005"/>
                  <a:pt x="299" y="1005"/>
                </a:cubicBezTo>
                <a:cubicBezTo>
                  <a:pt x="296" y="1006"/>
                  <a:pt x="295" y="1007"/>
                  <a:pt x="293" y="1008"/>
                </a:cubicBezTo>
                <a:cubicBezTo>
                  <a:pt x="291" y="1010"/>
                  <a:pt x="290" y="1010"/>
                  <a:pt x="288" y="1011"/>
                </a:cubicBezTo>
                <a:cubicBezTo>
                  <a:pt x="286" y="1013"/>
                  <a:pt x="284" y="1013"/>
                  <a:pt x="283" y="1014"/>
                </a:cubicBezTo>
                <a:cubicBezTo>
                  <a:pt x="280" y="1015"/>
                  <a:pt x="279" y="1015"/>
                  <a:pt x="277" y="1015"/>
                </a:cubicBezTo>
                <a:cubicBezTo>
                  <a:pt x="277" y="1015"/>
                  <a:pt x="277" y="1015"/>
                  <a:pt x="277" y="1026"/>
                </a:cubicBezTo>
                <a:cubicBezTo>
                  <a:pt x="280" y="1025"/>
                  <a:pt x="283" y="1024"/>
                  <a:pt x="285" y="1023"/>
                </a:cubicBezTo>
                <a:cubicBezTo>
                  <a:pt x="288" y="1022"/>
                  <a:pt x="290" y="1021"/>
                  <a:pt x="292" y="1019"/>
                </a:cubicBezTo>
                <a:cubicBezTo>
                  <a:pt x="292" y="1019"/>
                  <a:pt x="292" y="1019"/>
                  <a:pt x="292" y="1078"/>
                </a:cubicBezTo>
                <a:cubicBezTo>
                  <a:pt x="292" y="1078"/>
                  <a:pt x="292" y="1078"/>
                  <a:pt x="304" y="1078"/>
                </a:cubicBezTo>
                <a:cubicBezTo>
                  <a:pt x="304" y="1078"/>
                  <a:pt x="304" y="1078"/>
                  <a:pt x="304" y="1005"/>
                </a:cubicBezTo>
                <a:close/>
                <a:moveTo>
                  <a:pt x="427" y="1005"/>
                </a:moveTo>
                <a:cubicBezTo>
                  <a:pt x="427" y="1005"/>
                  <a:pt x="427" y="1005"/>
                  <a:pt x="427" y="1005"/>
                </a:cubicBezTo>
                <a:cubicBezTo>
                  <a:pt x="421" y="1005"/>
                  <a:pt x="421" y="1005"/>
                  <a:pt x="421" y="1005"/>
                </a:cubicBezTo>
                <a:cubicBezTo>
                  <a:pt x="419" y="1006"/>
                  <a:pt x="418" y="1007"/>
                  <a:pt x="416" y="1008"/>
                </a:cubicBezTo>
                <a:cubicBezTo>
                  <a:pt x="414" y="1010"/>
                  <a:pt x="413" y="1010"/>
                  <a:pt x="411" y="1011"/>
                </a:cubicBezTo>
                <a:cubicBezTo>
                  <a:pt x="409" y="1013"/>
                  <a:pt x="407" y="1013"/>
                  <a:pt x="406" y="1014"/>
                </a:cubicBezTo>
                <a:cubicBezTo>
                  <a:pt x="403" y="1015"/>
                  <a:pt x="402" y="1015"/>
                  <a:pt x="400" y="1015"/>
                </a:cubicBezTo>
                <a:cubicBezTo>
                  <a:pt x="400" y="1015"/>
                  <a:pt x="400" y="1015"/>
                  <a:pt x="400" y="1026"/>
                </a:cubicBezTo>
                <a:cubicBezTo>
                  <a:pt x="403" y="1025"/>
                  <a:pt x="406" y="1024"/>
                  <a:pt x="408" y="1023"/>
                </a:cubicBezTo>
                <a:cubicBezTo>
                  <a:pt x="411" y="1022"/>
                  <a:pt x="413" y="1021"/>
                  <a:pt x="415" y="1019"/>
                </a:cubicBezTo>
                <a:cubicBezTo>
                  <a:pt x="415" y="1019"/>
                  <a:pt x="415" y="1019"/>
                  <a:pt x="415" y="1078"/>
                </a:cubicBezTo>
                <a:cubicBezTo>
                  <a:pt x="415" y="1078"/>
                  <a:pt x="415" y="1078"/>
                  <a:pt x="427" y="1078"/>
                </a:cubicBezTo>
                <a:cubicBezTo>
                  <a:pt x="427" y="1078"/>
                  <a:pt x="427" y="1078"/>
                  <a:pt x="427" y="1005"/>
                </a:cubicBezTo>
                <a:close/>
                <a:moveTo>
                  <a:pt x="474" y="1005"/>
                </a:moveTo>
                <a:cubicBezTo>
                  <a:pt x="474" y="1005"/>
                  <a:pt x="474" y="1005"/>
                  <a:pt x="474" y="1005"/>
                </a:cubicBezTo>
                <a:cubicBezTo>
                  <a:pt x="469" y="1005"/>
                  <a:pt x="469" y="1005"/>
                  <a:pt x="469" y="1005"/>
                </a:cubicBezTo>
                <a:cubicBezTo>
                  <a:pt x="467" y="1006"/>
                  <a:pt x="465" y="1007"/>
                  <a:pt x="463" y="1008"/>
                </a:cubicBezTo>
                <a:cubicBezTo>
                  <a:pt x="462" y="1010"/>
                  <a:pt x="460" y="1010"/>
                  <a:pt x="458" y="1011"/>
                </a:cubicBezTo>
                <a:cubicBezTo>
                  <a:pt x="457" y="1013"/>
                  <a:pt x="454" y="1013"/>
                  <a:pt x="453" y="1014"/>
                </a:cubicBezTo>
                <a:cubicBezTo>
                  <a:pt x="451" y="1015"/>
                  <a:pt x="449" y="1015"/>
                  <a:pt x="447" y="1015"/>
                </a:cubicBezTo>
                <a:cubicBezTo>
                  <a:pt x="447" y="1015"/>
                  <a:pt x="447" y="1015"/>
                  <a:pt x="447" y="1026"/>
                </a:cubicBezTo>
                <a:cubicBezTo>
                  <a:pt x="450" y="1025"/>
                  <a:pt x="453" y="1024"/>
                  <a:pt x="455" y="1023"/>
                </a:cubicBezTo>
                <a:cubicBezTo>
                  <a:pt x="458" y="1022"/>
                  <a:pt x="460" y="1021"/>
                  <a:pt x="462" y="1019"/>
                </a:cubicBezTo>
                <a:cubicBezTo>
                  <a:pt x="462" y="1019"/>
                  <a:pt x="462" y="1019"/>
                  <a:pt x="462" y="1078"/>
                </a:cubicBezTo>
                <a:cubicBezTo>
                  <a:pt x="462" y="1078"/>
                  <a:pt x="462" y="1078"/>
                  <a:pt x="474" y="1078"/>
                </a:cubicBezTo>
                <a:cubicBezTo>
                  <a:pt x="474" y="1078"/>
                  <a:pt x="474" y="1078"/>
                  <a:pt x="474" y="1005"/>
                </a:cubicBezTo>
                <a:close/>
                <a:moveTo>
                  <a:pt x="522" y="1005"/>
                </a:moveTo>
                <a:cubicBezTo>
                  <a:pt x="522" y="1005"/>
                  <a:pt x="522" y="1005"/>
                  <a:pt x="522" y="1005"/>
                </a:cubicBezTo>
                <a:cubicBezTo>
                  <a:pt x="517" y="1005"/>
                  <a:pt x="517" y="1005"/>
                  <a:pt x="517" y="1005"/>
                </a:cubicBezTo>
                <a:cubicBezTo>
                  <a:pt x="515" y="1006"/>
                  <a:pt x="513" y="1007"/>
                  <a:pt x="511" y="1008"/>
                </a:cubicBezTo>
                <a:cubicBezTo>
                  <a:pt x="509" y="1010"/>
                  <a:pt x="508" y="1010"/>
                  <a:pt x="506" y="1011"/>
                </a:cubicBezTo>
                <a:cubicBezTo>
                  <a:pt x="504" y="1013"/>
                  <a:pt x="502" y="1013"/>
                  <a:pt x="501" y="1014"/>
                </a:cubicBezTo>
                <a:cubicBezTo>
                  <a:pt x="498" y="1015"/>
                  <a:pt x="497" y="1015"/>
                  <a:pt x="495" y="1015"/>
                </a:cubicBezTo>
                <a:cubicBezTo>
                  <a:pt x="495" y="1015"/>
                  <a:pt x="495" y="1015"/>
                  <a:pt x="495" y="1026"/>
                </a:cubicBezTo>
                <a:cubicBezTo>
                  <a:pt x="498" y="1025"/>
                  <a:pt x="501" y="1024"/>
                  <a:pt x="503" y="1023"/>
                </a:cubicBezTo>
                <a:cubicBezTo>
                  <a:pt x="506" y="1022"/>
                  <a:pt x="508" y="1021"/>
                  <a:pt x="510" y="1019"/>
                </a:cubicBezTo>
                <a:cubicBezTo>
                  <a:pt x="510" y="1019"/>
                  <a:pt x="510" y="1019"/>
                  <a:pt x="510" y="1078"/>
                </a:cubicBezTo>
                <a:cubicBezTo>
                  <a:pt x="510" y="1078"/>
                  <a:pt x="510" y="1078"/>
                  <a:pt x="522" y="1078"/>
                </a:cubicBezTo>
                <a:cubicBezTo>
                  <a:pt x="522" y="1078"/>
                  <a:pt x="522" y="1078"/>
                  <a:pt x="522" y="1005"/>
                </a:cubicBezTo>
                <a:close/>
                <a:moveTo>
                  <a:pt x="568" y="1005"/>
                </a:moveTo>
                <a:cubicBezTo>
                  <a:pt x="568" y="1005"/>
                  <a:pt x="568" y="1005"/>
                  <a:pt x="568" y="1005"/>
                </a:cubicBezTo>
                <a:cubicBezTo>
                  <a:pt x="564" y="1005"/>
                  <a:pt x="564" y="1005"/>
                  <a:pt x="564" y="1005"/>
                </a:cubicBezTo>
                <a:cubicBezTo>
                  <a:pt x="562" y="1006"/>
                  <a:pt x="560" y="1007"/>
                  <a:pt x="558" y="1008"/>
                </a:cubicBezTo>
                <a:cubicBezTo>
                  <a:pt x="557" y="1010"/>
                  <a:pt x="554" y="1010"/>
                  <a:pt x="553" y="1011"/>
                </a:cubicBezTo>
                <a:cubicBezTo>
                  <a:pt x="551" y="1012"/>
                  <a:pt x="549" y="1013"/>
                  <a:pt x="547" y="1013"/>
                </a:cubicBezTo>
                <a:cubicBezTo>
                  <a:pt x="546" y="1014"/>
                  <a:pt x="544" y="1015"/>
                  <a:pt x="542" y="1015"/>
                </a:cubicBezTo>
                <a:cubicBezTo>
                  <a:pt x="542" y="1015"/>
                  <a:pt x="542" y="1015"/>
                  <a:pt x="542" y="1026"/>
                </a:cubicBezTo>
                <a:cubicBezTo>
                  <a:pt x="545" y="1025"/>
                  <a:pt x="548" y="1023"/>
                  <a:pt x="550" y="1023"/>
                </a:cubicBezTo>
                <a:cubicBezTo>
                  <a:pt x="552" y="1022"/>
                  <a:pt x="555" y="1021"/>
                  <a:pt x="557" y="1019"/>
                </a:cubicBezTo>
                <a:cubicBezTo>
                  <a:pt x="557" y="1019"/>
                  <a:pt x="557" y="1019"/>
                  <a:pt x="557" y="1078"/>
                </a:cubicBezTo>
                <a:cubicBezTo>
                  <a:pt x="557" y="1078"/>
                  <a:pt x="557" y="1078"/>
                  <a:pt x="568" y="1078"/>
                </a:cubicBezTo>
                <a:cubicBezTo>
                  <a:pt x="568" y="1078"/>
                  <a:pt x="568" y="1078"/>
                  <a:pt x="568" y="1005"/>
                </a:cubicBezTo>
                <a:close/>
                <a:moveTo>
                  <a:pt x="325" y="1037"/>
                </a:moveTo>
                <a:cubicBezTo>
                  <a:pt x="325" y="1037"/>
                  <a:pt x="325" y="1037"/>
                  <a:pt x="325" y="1037"/>
                </a:cubicBezTo>
                <a:cubicBezTo>
                  <a:pt x="324" y="1045"/>
                  <a:pt x="324" y="1045"/>
                  <a:pt x="324" y="1045"/>
                </a:cubicBezTo>
                <a:cubicBezTo>
                  <a:pt x="331" y="1046"/>
                  <a:pt x="331" y="1049"/>
                  <a:pt x="331" y="1051"/>
                </a:cubicBezTo>
                <a:cubicBezTo>
                  <a:pt x="331" y="1053"/>
                  <a:pt x="331" y="1056"/>
                  <a:pt x="331" y="1058"/>
                </a:cubicBezTo>
                <a:cubicBezTo>
                  <a:pt x="331" y="1061"/>
                  <a:pt x="330" y="1063"/>
                  <a:pt x="330" y="1065"/>
                </a:cubicBezTo>
                <a:cubicBezTo>
                  <a:pt x="330" y="1075"/>
                  <a:pt x="336" y="1078"/>
                  <a:pt x="345" y="1078"/>
                </a:cubicBezTo>
                <a:cubicBezTo>
                  <a:pt x="345" y="1078"/>
                  <a:pt x="345" y="1078"/>
                  <a:pt x="348" y="1078"/>
                </a:cubicBezTo>
                <a:cubicBezTo>
                  <a:pt x="348" y="1078"/>
                  <a:pt x="348" y="1078"/>
                  <a:pt x="348" y="1069"/>
                </a:cubicBezTo>
                <a:cubicBezTo>
                  <a:pt x="348" y="1069"/>
                  <a:pt x="348" y="1069"/>
                  <a:pt x="347" y="1069"/>
                </a:cubicBezTo>
                <a:cubicBezTo>
                  <a:pt x="343" y="1069"/>
                  <a:pt x="342" y="1066"/>
                  <a:pt x="342" y="1063"/>
                </a:cubicBezTo>
                <a:cubicBezTo>
                  <a:pt x="342" y="1062"/>
                  <a:pt x="342" y="1060"/>
                  <a:pt x="342" y="1058"/>
                </a:cubicBezTo>
                <a:cubicBezTo>
                  <a:pt x="342" y="1057"/>
                  <a:pt x="343" y="1055"/>
                  <a:pt x="343" y="1052"/>
                </a:cubicBezTo>
                <a:cubicBezTo>
                  <a:pt x="343" y="1045"/>
                  <a:pt x="340" y="1042"/>
                  <a:pt x="334" y="1041"/>
                </a:cubicBezTo>
                <a:cubicBezTo>
                  <a:pt x="334" y="1041"/>
                  <a:pt x="334" y="1041"/>
                  <a:pt x="334" y="1041"/>
                </a:cubicBezTo>
                <a:cubicBezTo>
                  <a:pt x="340" y="1040"/>
                  <a:pt x="343" y="1037"/>
                  <a:pt x="343" y="1030"/>
                </a:cubicBezTo>
                <a:cubicBezTo>
                  <a:pt x="343" y="1027"/>
                  <a:pt x="342" y="1026"/>
                  <a:pt x="342" y="1024"/>
                </a:cubicBezTo>
                <a:cubicBezTo>
                  <a:pt x="342" y="1022"/>
                  <a:pt x="342" y="1020"/>
                  <a:pt x="342" y="1019"/>
                </a:cubicBezTo>
                <a:cubicBezTo>
                  <a:pt x="342" y="1016"/>
                  <a:pt x="343" y="1013"/>
                  <a:pt x="347" y="1013"/>
                </a:cubicBezTo>
                <a:cubicBezTo>
                  <a:pt x="347" y="1013"/>
                  <a:pt x="347" y="1013"/>
                  <a:pt x="348" y="1013"/>
                </a:cubicBezTo>
                <a:cubicBezTo>
                  <a:pt x="348" y="1013"/>
                  <a:pt x="348" y="1013"/>
                  <a:pt x="348" y="1004"/>
                </a:cubicBezTo>
                <a:cubicBezTo>
                  <a:pt x="348" y="1004"/>
                  <a:pt x="348" y="1004"/>
                  <a:pt x="345" y="1004"/>
                </a:cubicBezTo>
                <a:cubicBezTo>
                  <a:pt x="336" y="1004"/>
                  <a:pt x="330" y="1008"/>
                  <a:pt x="330" y="1017"/>
                </a:cubicBezTo>
                <a:cubicBezTo>
                  <a:pt x="330" y="1019"/>
                  <a:pt x="331" y="1022"/>
                  <a:pt x="331" y="1024"/>
                </a:cubicBezTo>
                <a:cubicBezTo>
                  <a:pt x="331" y="1026"/>
                  <a:pt x="331" y="1029"/>
                  <a:pt x="331" y="1031"/>
                </a:cubicBezTo>
                <a:cubicBezTo>
                  <a:pt x="331" y="1033"/>
                  <a:pt x="331" y="1037"/>
                  <a:pt x="325" y="1037"/>
                </a:cubicBezTo>
                <a:close/>
                <a:moveTo>
                  <a:pt x="379" y="1045"/>
                </a:moveTo>
                <a:cubicBezTo>
                  <a:pt x="379" y="1045"/>
                  <a:pt x="379" y="1045"/>
                  <a:pt x="379" y="1045"/>
                </a:cubicBezTo>
                <a:cubicBezTo>
                  <a:pt x="379" y="1037"/>
                  <a:pt x="379" y="1037"/>
                  <a:pt x="379" y="1037"/>
                </a:cubicBezTo>
                <a:cubicBezTo>
                  <a:pt x="373" y="1037"/>
                  <a:pt x="372" y="1033"/>
                  <a:pt x="372" y="1031"/>
                </a:cubicBezTo>
                <a:cubicBezTo>
                  <a:pt x="372" y="1029"/>
                  <a:pt x="372" y="1026"/>
                  <a:pt x="373" y="1024"/>
                </a:cubicBezTo>
                <a:cubicBezTo>
                  <a:pt x="373" y="1022"/>
                  <a:pt x="373" y="1019"/>
                  <a:pt x="373" y="1017"/>
                </a:cubicBezTo>
                <a:cubicBezTo>
                  <a:pt x="373" y="1008"/>
                  <a:pt x="368" y="1004"/>
                  <a:pt x="359" y="1004"/>
                </a:cubicBezTo>
                <a:cubicBezTo>
                  <a:pt x="359" y="1004"/>
                  <a:pt x="359" y="1004"/>
                  <a:pt x="355" y="1004"/>
                </a:cubicBezTo>
                <a:cubicBezTo>
                  <a:pt x="355" y="1004"/>
                  <a:pt x="355" y="1004"/>
                  <a:pt x="355" y="1013"/>
                </a:cubicBezTo>
                <a:cubicBezTo>
                  <a:pt x="355" y="1013"/>
                  <a:pt x="355" y="1013"/>
                  <a:pt x="357" y="1013"/>
                </a:cubicBezTo>
                <a:cubicBezTo>
                  <a:pt x="360" y="1013"/>
                  <a:pt x="362" y="1016"/>
                  <a:pt x="362" y="1019"/>
                </a:cubicBezTo>
                <a:cubicBezTo>
                  <a:pt x="362" y="1020"/>
                  <a:pt x="361" y="1022"/>
                  <a:pt x="361" y="1024"/>
                </a:cubicBezTo>
                <a:cubicBezTo>
                  <a:pt x="361" y="1026"/>
                  <a:pt x="361" y="1027"/>
                  <a:pt x="361" y="1030"/>
                </a:cubicBezTo>
                <a:cubicBezTo>
                  <a:pt x="361" y="1037"/>
                  <a:pt x="364" y="1040"/>
                  <a:pt x="369" y="1041"/>
                </a:cubicBezTo>
                <a:cubicBezTo>
                  <a:pt x="369" y="1041"/>
                  <a:pt x="369" y="1041"/>
                  <a:pt x="369" y="1041"/>
                </a:cubicBezTo>
                <a:cubicBezTo>
                  <a:pt x="364" y="1042"/>
                  <a:pt x="361" y="1045"/>
                  <a:pt x="361" y="1052"/>
                </a:cubicBezTo>
                <a:cubicBezTo>
                  <a:pt x="361" y="1055"/>
                  <a:pt x="361" y="1057"/>
                  <a:pt x="361" y="1058"/>
                </a:cubicBezTo>
                <a:cubicBezTo>
                  <a:pt x="361" y="1060"/>
                  <a:pt x="362" y="1062"/>
                  <a:pt x="362" y="1063"/>
                </a:cubicBezTo>
                <a:cubicBezTo>
                  <a:pt x="362" y="1066"/>
                  <a:pt x="361" y="1069"/>
                  <a:pt x="357" y="1069"/>
                </a:cubicBezTo>
                <a:cubicBezTo>
                  <a:pt x="357" y="1069"/>
                  <a:pt x="357" y="1069"/>
                  <a:pt x="355" y="1069"/>
                </a:cubicBezTo>
                <a:cubicBezTo>
                  <a:pt x="355" y="1069"/>
                  <a:pt x="355" y="1069"/>
                  <a:pt x="355" y="1078"/>
                </a:cubicBezTo>
                <a:cubicBezTo>
                  <a:pt x="355" y="1078"/>
                  <a:pt x="355" y="1078"/>
                  <a:pt x="359" y="1078"/>
                </a:cubicBezTo>
                <a:cubicBezTo>
                  <a:pt x="368" y="1078"/>
                  <a:pt x="373" y="1075"/>
                  <a:pt x="373" y="1065"/>
                </a:cubicBezTo>
                <a:cubicBezTo>
                  <a:pt x="373" y="1063"/>
                  <a:pt x="373" y="1061"/>
                  <a:pt x="373" y="1058"/>
                </a:cubicBezTo>
                <a:cubicBezTo>
                  <a:pt x="372" y="1056"/>
                  <a:pt x="372" y="1053"/>
                  <a:pt x="372" y="1051"/>
                </a:cubicBezTo>
                <a:cubicBezTo>
                  <a:pt x="372" y="1049"/>
                  <a:pt x="373" y="1046"/>
                  <a:pt x="379" y="1045"/>
                </a:cubicBezTo>
                <a:close/>
                <a:moveTo>
                  <a:pt x="706" y="1037"/>
                </a:moveTo>
                <a:cubicBezTo>
                  <a:pt x="706" y="1037"/>
                  <a:pt x="706" y="1037"/>
                  <a:pt x="706" y="1037"/>
                </a:cubicBezTo>
                <a:cubicBezTo>
                  <a:pt x="706" y="1045"/>
                  <a:pt x="706" y="1045"/>
                  <a:pt x="706" y="1045"/>
                </a:cubicBezTo>
                <a:cubicBezTo>
                  <a:pt x="712" y="1046"/>
                  <a:pt x="713" y="1049"/>
                  <a:pt x="713" y="1051"/>
                </a:cubicBezTo>
                <a:cubicBezTo>
                  <a:pt x="713" y="1053"/>
                  <a:pt x="713" y="1056"/>
                  <a:pt x="713" y="1058"/>
                </a:cubicBezTo>
                <a:cubicBezTo>
                  <a:pt x="712" y="1061"/>
                  <a:pt x="712" y="1063"/>
                  <a:pt x="712" y="1065"/>
                </a:cubicBezTo>
                <a:cubicBezTo>
                  <a:pt x="712" y="1075"/>
                  <a:pt x="718" y="1078"/>
                  <a:pt x="726" y="1078"/>
                </a:cubicBezTo>
                <a:cubicBezTo>
                  <a:pt x="726" y="1078"/>
                  <a:pt x="726" y="1078"/>
                  <a:pt x="730" y="1078"/>
                </a:cubicBezTo>
                <a:cubicBezTo>
                  <a:pt x="730" y="1078"/>
                  <a:pt x="730" y="1078"/>
                  <a:pt x="730" y="1069"/>
                </a:cubicBezTo>
                <a:cubicBezTo>
                  <a:pt x="730" y="1069"/>
                  <a:pt x="730" y="1069"/>
                  <a:pt x="728" y="1069"/>
                </a:cubicBezTo>
                <a:cubicBezTo>
                  <a:pt x="725" y="1069"/>
                  <a:pt x="724" y="1066"/>
                  <a:pt x="724" y="1063"/>
                </a:cubicBezTo>
                <a:cubicBezTo>
                  <a:pt x="724" y="1062"/>
                  <a:pt x="724" y="1060"/>
                  <a:pt x="724" y="1058"/>
                </a:cubicBezTo>
                <a:cubicBezTo>
                  <a:pt x="724" y="1057"/>
                  <a:pt x="724" y="1055"/>
                  <a:pt x="724" y="1052"/>
                </a:cubicBezTo>
                <a:cubicBezTo>
                  <a:pt x="724" y="1045"/>
                  <a:pt x="721" y="1042"/>
                  <a:pt x="716" y="1041"/>
                </a:cubicBezTo>
                <a:cubicBezTo>
                  <a:pt x="716" y="1041"/>
                  <a:pt x="716" y="1041"/>
                  <a:pt x="716" y="1041"/>
                </a:cubicBezTo>
                <a:cubicBezTo>
                  <a:pt x="721" y="1040"/>
                  <a:pt x="724" y="1037"/>
                  <a:pt x="724" y="1030"/>
                </a:cubicBezTo>
                <a:cubicBezTo>
                  <a:pt x="724" y="1027"/>
                  <a:pt x="724" y="1026"/>
                  <a:pt x="724" y="1024"/>
                </a:cubicBezTo>
                <a:cubicBezTo>
                  <a:pt x="724" y="1022"/>
                  <a:pt x="724" y="1020"/>
                  <a:pt x="724" y="1019"/>
                </a:cubicBezTo>
                <a:cubicBezTo>
                  <a:pt x="724" y="1016"/>
                  <a:pt x="725" y="1013"/>
                  <a:pt x="728" y="1013"/>
                </a:cubicBezTo>
                <a:cubicBezTo>
                  <a:pt x="728" y="1013"/>
                  <a:pt x="728" y="1013"/>
                  <a:pt x="730" y="1013"/>
                </a:cubicBezTo>
                <a:cubicBezTo>
                  <a:pt x="730" y="1013"/>
                  <a:pt x="730" y="1013"/>
                  <a:pt x="730" y="1004"/>
                </a:cubicBezTo>
                <a:cubicBezTo>
                  <a:pt x="730" y="1004"/>
                  <a:pt x="730" y="1004"/>
                  <a:pt x="726" y="1004"/>
                </a:cubicBezTo>
                <a:cubicBezTo>
                  <a:pt x="717" y="1004"/>
                  <a:pt x="712" y="1008"/>
                  <a:pt x="712" y="1017"/>
                </a:cubicBezTo>
                <a:cubicBezTo>
                  <a:pt x="712" y="1019"/>
                  <a:pt x="712" y="1022"/>
                  <a:pt x="712" y="1024"/>
                </a:cubicBezTo>
                <a:cubicBezTo>
                  <a:pt x="713" y="1026"/>
                  <a:pt x="713" y="1029"/>
                  <a:pt x="713" y="1031"/>
                </a:cubicBezTo>
                <a:cubicBezTo>
                  <a:pt x="713" y="1033"/>
                  <a:pt x="712" y="1037"/>
                  <a:pt x="706" y="1037"/>
                </a:cubicBezTo>
                <a:close/>
                <a:moveTo>
                  <a:pt x="761" y="1045"/>
                </a:moveTo>
                <a:cubicBezTo>
                  <a:pt x="761" y="1045"/>
                  <a:pt x="761" y="1045"/>
                  <a:pt x="761" y="1045"/>
                </a:cubicBezTo>
                <a:cubicBezTo>
                  <a:pt x="761" y="1037"/>
                  <a:pt x="761" y="1037"/>
                  <a:pt x="761" y="1037"/>
                </a:cubicBezTo>
                <a:cubicBezTo>
                  <a:pt x="754" y="1037"/>
                  <a:pt x="754" y="1033"/>
                  <a:pt x="754" y="1031"/>
                </a:cubicBezTo>
                <a:cubicBezTo>
                  <a:pt x="754" y="1029"/>
                  <a:pt x="754" y="1026"/>
                  <a:pt x="754" y="1024"/>
                </a:cubicBezTo>
                <a:cubicBezTo>
                  <a:pt x="755" y="1022"/>
                  <a:pt x="755" y="1019"/>
                  <a:pt x="755" y="1017"/>
                </a:cubicBezTo>
                <a:cubicBezTo>
                  <a:pt x="755" y="1008"/>
                  <a:pt x="750" y="1004"/>
                  <a:pt x="740" y="1004"/>
                </a:cubicBezTo>
                <a:cubicBezTo>
                  <a:pt x="740" y="1004"/>
                  <a:pt x="740" y="1004"/>
                  <a:pt x="737" y="1004"/>
                </a:cubicBezTo>
                <a:cubicBezTo>
                  <a:pt x="737" y="1004"/>
                  <a:pt x="737" y="1004"/>
                  <a:pt x="737" y="1013"/>
                </a:cubicBezTo>
                <a:cubicBezTo>
                  <a:pt x="737" y="1013"/>
                  <a:pt x="737" y="1013"/>
                  <a:pt x="738" y="1013"/>
                </a:cubicBezTo>
                <a:cubicBezTo>
                  <a:pt x="742" y="1013"/>
                  <a:pt x="743" y="1016"/>
                  <a:pt x="743" y="1019"/>
                </a:cubicBezTo>
                <a:cubicBezTo>
                  <a:pt x="743" y="1020"/>
                  <a:pt x="743" y="1022"/>
                  <a:pt x="743" y="1024"/>
                </a:cubicBezTo>
                <a:cubicBezTo>
                  <a:pt x="743" y="1026"/>
                  <a:pt x="743" y="1027"/>
                  <a:pt x="743" y="1030"/>
                </a:cubicBezTo>
                <a:cubicBezTo>
                  <a:pt x="743" y="1037"/>
                  <a:pt x="745" y="1040"/>
                  <a:pt x="751" y="1041"/>
                </a:cubicBezTo>
                <a:cubicBezTo>
                  <a:pt x="751" y="1041"/>
                  <a:pt x="751" y="1041"/>
                  <a:pt x="751" y="1041"/>
                </a:cubicBezTo>
                <a:cubicBezTo>
                  <a:pt x="745" y="1042"/>
                  <a:pt x="743" y="1045"/>
                  <a:pt x="743" y="1052"/>
                </a:cubicBezTo>
                <a:cubicBezTo>
                  <a:pt x="743" y="1055"/>
                  <a:pt x="743" y="1057"/>
                  <a:pt x="743" y="1058"/>
                </a:cubicBezTo>
                <a:cubicBezTo>
                  <a:pt x="743" y="1060"/>
                  <a:pt x="743" y="1062"/>
                  <a:pt x="743" y="1063"/>
                </a:cubicBezTo>
                <a:cubicBezTo>
                  <a:pt x="743" y="1066"/>
                  <a:pt x="742" y="1069"/>
                  <a:pt x="738" y="1069"/>
                </a:cubicBezTo>
                <a:cubicBezTo>
                  <a:pt x="738" y="1069"/>
                  <a:pt x="738" y="1069"/>
                  <a:pt x="737" y="1069"/>
                </a:cubicBezTo>
                <a:cubicBezTo>
                  <a:pt x="737" y="1069"/>
                  <a:pt x="737" y="1069"/>
                  <a:pt x="737" y="1078"/>
                </a:cubicBezTo>
                <a:cubicBezTo>
                  <a:pt x="737" y="1078"/>
                  <a:pt x="737" y="1078"/>
                  <a:pt x="740" y="1078"/>
                </a:cubicBezTo>
                <a:cubicBezTo>
                  <a:pt x="749" y="1078"/>
                  <a:pt x="755" y="1075"/>
                  <a:pt x="755" y="1065"/>
                </a:cubicBezTo>
                <a:cubicBezTo>
                  <a:pt x="755" y="1063"/>
                  <a:pt x="755" y="1061"/>
                  <a:pt x="754" y="1058"/>
                </a:cubicBezTo>
                <a:cubicBezTo>
                  <a:pt x="754" y="1056"/>
                  <a:pt x="754" y="1053"/>
                  <a:pt x="754" y="1051"/>
                </a:cubicBezTo>
                <a:cubicBezTo>
                  <a:pt x="754" y="1049"/>
                  <a:pt x="754" y="1046"/>
                  <a:pt x="761" y="1045"/>
                </a:cubicBezTo>
                <a:close/>
                <a:moveTo>
                  <a:pt x="808" y="1005"/>
                </a:moveTo>
                <a:cubicBezTo>
                  <a:pt x="808" y="1005"/>
                  <a:pt x="808" y="1005"/>
                  <a:pt x="808" y="1005"/>
                </a:cubicBezTo>
                <a:cubicBezTo>
                  <a:pt x="803" y="1005"/>
                  <a:pt x="803" y="1005"/>
                  <a:pt x="803" y="1005"/>
                </a:cubicBezTo>
                <a:cubicBezTo>
                  <a:pt x="801" y="1006"/>
                  <a:pt x="799" y="1007"/>
                  <a:pt x="797" y="1008"/>
                </a:cubicBezTo>
                <a:cubicBezTo>
                  <a:pt x="796" y="1010"/>
                  <a:pt x="794" y="1010"/>
                  <a:pt x="792" y="1011"/>
                </a:cubicBezTo>
                <a:cubicBezTo>
                  <a:pt x="790" y="1012"/>
                  <a:pt x="789" y="1013"/>
                  <a:pt x="787" y="1013"/>
                </a:cubicBezTo>
                <a:cubicBezTo>
                  <a:pt x="785" y="1014"/>
                  <a:pt x="783" y="1015"/>
                  <a:pt x="781" y="1015"/>
                </a:cubicBezTo>
                <a:cubicBezTo>
                  <a:pt x="781" y="1015"/>
                  <a:pt x="781" y="1015"/>
                  <a:pt x="781" y="1026"/>
                </a:cubicBezTo>
                <a:cubicBezTo>
                  <a:pt x="784" y="1025"/>
                  <a:pt x="787" y="1023"/>
                  <a:pt x="789" y="1023"/>
                </a:cubicBezTo>
                <a:cubicBezTo>
                  <a:pt x="792" y="1022"/>
                  <a:pt x="794" y="1021"/>
                  <a:pt x="797" y="1019"/>
                </a:cubicBezTo>
                <a:cubicBezTo>
                  <a:pt x="797" y="1019"/>
                  <a:pt x="797" y="1019"/>
                  <a:pt x="797" y="1078"/>
                </a:cubicBezTo>
                <a:cubicBezTo>
                  <a:pt x="797" y="1078"/>
                  <a:pt x="797" y="1078"/>
                  <a:pt x="808" y="1078"/>
                </a:cubicBezTo>
                <a:cubicBezTo>
                  <a:pt x="808" y="1078"/>
                  <a:pt x="808" y="1078"/>
                  <a:pt x="808" y="1005"/>
                </a:cubicBezTo>
                <a:close/>
                <a:moveTo>
                  <a:pt x="855" y="1005"/>
                </a:moveTo>
                <a:cubicBezTo>
                  <a:pt x="855" y="1005"/>
                  <a:pt x="855" y="1005"/>
                  <a:pt x="855" y="1005"/>
                </a:cubicBezTo>
                <a:cubicBezTo>
                  <a:pt x="850" y="1005"/>
                  <a:pt x="850" y="1005"/>
                  <a:pt x="850" y="1005"/>
                </a:cubicBezTo>
                <a:cubicBezTo>
                  <a:pt x="848" y="1006"/>
                  <a:pt x="847" y="1007"/>
                  <a:pt x="845" y="1008"/>
                </a:cubicBezTo>
                <a:cubicBezTo>
                  <a:pt x="843" y="1010"/>
                  <a:pt x="841" y="1010"/>
                  <a:pt x="840" y="1011"/>
                </a:cubicBezTo>
                <a:cubicBezTo>
                  <a:pt x="838" y="1013"/>
                  <a:pt x="836" y="1013"/>
                  <a:pt x="835" y="1014"/>
                </a:cubicBezTo>
                <a:cubicBezTo>
                  <a:pt x="832" y="1015"/>
                  <a:pt x="831" y="1015"/>
                  <a:pt x="829" y="1015"/>
                </a:cubicBezTo>
                <a:cubicBezTo>
                  <a:pt x="829" y="1015"/>
                  <a:pt x="829" y="1015"/>
                  <a:pt x="829" y="1026"/>
                </a:cubicBezTo>
                <a:cubicBezTo>
                  <a:pt x="832" y="1025"/>
                  <a:pt x="835" y="1024"/>
                  <a:pt x="837" y="1023"/>
                </a:cubicBezTo>
                <a:cubicBezTo>
                  <a:pt x="840" y="1022"/>
                  <a:pt x="842" y="1021"/>
                  <a:pt x="844" y="1019"/>
                </a:cubicBezTo>
                <a:cubicBezTo>
                  <a:pt x="844" y="1019"/>
                  <a:pt x="844" y="1019"/>
                  <a:pt x="844" y="1078"/>
                </a:cubicBezTo>
                <a:cubicBezTo>
                  <a:pt x="844" y="1078"/>
                  <a:pt x="844" y="1078"/>
                  <a:pt x="855" y="1078"/>
                </a:cubicBezTo>
                <a:cubicBezTo>
                  <a:pt x="855" y="1078"/>
                  <a:pt x="855" y="1078"/>
                  <a:pt x="855" y="1005"/>
                </a:cubicBezTo>
                <a:close/>
                <a:moveTo>
                  <a:pt x="902" y="1005"/>
                </a:moveTo>
                <a:cubicBezTo>
                  <a:pt x="902" y="1005"/>
                  <a:pt x="902" y="1005"/>
                  <a:pt x="902" y="1005"/>
                </a:cubicBezTo>
                <a:cubicBezTo>
                  <a:pt x="897" y="1005"/>
                  <a:pt x="897" y="1005"/>
                  <a:pt x="897" y="1005"/>
                </a:cubicBezTo>
                <a:cubicBezTo>
                  <a:pt x="895" y="1006"/>
                  <a:pt x="894" y="1007"/>
                  <a:pt x="892" y="1008"/>
                </a:cubicBezTo>
                <a:cubicBezTo>
                  <a:pt x="890" y="1010"/>
                  <a:pt x="888" y="1010"/>
                  <a:pt x="887" y="1011"/>
                </a:cubicBezTo>
                <a:cubicBezTo>
                  <a:pt x="884" y="1013"/>
                  <a:pt x="883" y="1013"/>
                  <a:pt x="881" y="1014"/>
                </a:cubicBezTo>
                <a:cubicBezTo>
                  <a:pt x="879" y="1015"/>
                  <a:pt x="877" y="1015"/>
                  <a:pt x="876" y="1015"/>
                </a:cubicBezTo>
                <a:cubicBezTo>
                  <a:pt x="876" y="1015"/>
                  <a:pt x="876" y="1015"/>
                  <a:pt x="876" y="1026"/>
                </a:cubicBezTo>
                <a:cubicBezTo>
                  <a:pt x="879" y="1025"/>
                  <a:pt x="882" y="1024"/>
                  <a:pt x="884" y="1023"/>
                </a:cubicBezTo>
                <a:cubicBezTo>
                  <a:pt x="886" y="1022"/>
                  <a:pt x="889" y="1021"/>
                  <a:pt x="890" y="1019"/>
                </a:cubicBezTo>
                <a:cubicBezTo>
                  <a:pt x="890" y="1019"/>
                  <a:pt x="890" y="1019"/>
                  <a:pt x="890" y="1078"/>
                </a:cubicBezTo>
                <a:cubicBezTo>
                  <a:pt x="890" y="1078"/>
                  <a:pt x="890" y="1078"/>
                  <a:pt x="902" y="1078"/>
                </a:cubicBezTo>
                <a:cubicBezTo>
                  <a:pt x="902" y="1078"/>
                  <a:pt x="902" y="1078"/>
                  <a:pt x="902" y="1005"/>
                </a:cubicBezTo>
                <a:close/>
                <a:moveTo>
                  <a:pt x="1025" y="1005"/>
                </a:moveTo>
                <a:cubicBezTo>
                  <a:pt x="1025" y="1005"/>
                  <a:pt x="1025" y="1005"/>
                  <a:pt x="1025" y="1005"/>
                </a:cubicBezTo>
                <a:cubicBezTo>
                  <a:pt x="1020" y="1005"/>
                  <a:pt x="1020" y="1005"/>
                  <a:pt x="1020" y="1005"/>
                </a:cubicBezTo>
                <a:cubicBezTo>
                  <a:pt x="1018" y="1006"/>
                  <a:pt x="1016" y="1007"/>
                  <a:pt x="1014" y="1008"/>
                </a:cubicBezTo>
                <a:cubicBezTo>
                  <a:pt x="1013" y="1010"/>
                  <a:pt x="1011" y="1010"/>
                  <a:pt x="1009" y="1011"/>
                </a:cubicBezTo>
                <a:cubicBezTo>
                  <a:pt x="1007" y="1013"/>
                  <a:pt x="1005" y="1013"/>
                  <a:pt x="1004" y="1014"/>
                </a:cubicBezTo>
                <a:cubicBezTo>
                  <a:pt x="1001" y="1015"/>
                  <a:pt x="1000" y="1015"/>
                  <a:pt x="998" y="1015"/>
                </a:cubicBezTo>
                <a:cubicBezTo>
                  <a:pt x="998" y="1015"/>
                  <a:pt x="998" y="1015"/>
                  <a:pt x="998" y="1026"/>
                </a:cubicBezTo>
                <a:cubicBezTo>
                  <a:pt x="1001" y="1025"/>
                  <a:pt x="1004" y="1024"/>
                  <a:pt x="1007" y="1023"/>
                </a:cubicBezTo>
                <a:cubicBezTo>
                  <a:pt x="1009" y="1022"/>
                  <a:pt x="1011" y="1021"/>
                  <a:pt x="1013" y="1019"/>
                </a:cubicBezTo>
                <a:cubicBezTo>
                  <a:pt x="1013" y="1019"/>
                  <a:pt x="1013" y="1019"/>
                  <a:pt x="1013" y="1078"/>
                </a:cubicBezTo>
                <a:cubicBezTo>
                  <a:pt x="1013" y="1078"/>
                  <a:pt x="1013" y="1078"/>
                  <a:pt x="1025" y="1078"/>
                </a:cubicBezTo>
                <a:cubicBezTo>
                  <a:pt x="1025" y="1078"/>
                  <a:pt x="1025" y="1078"/>
                  <a:pt x="1025" y="1005"/>
                </a:cubicBezTo>
                <a:close/>
                <a:moveTo>
                  <a:pt x="1073" y="1005"/>
                </a:moveTo>
                <a:cubicBezTo>
                  <a:pt x="1073" y="1005"/>
                  <a:pt x="1073" y="1005"/>
                  <a:pt x="1073" y="1005"/>
                </a:cubicBezTo>
                <a:cubicBezTo>
                  <a:pt x="1067" y="1005"/>
                  <a:pt x="1067" y="1005"/>
                  <a:pt x="1067" y="1005"/>
                </a:cubicBezTo>
                <a:cubicBezTo>
                  <a:pt x="1065" y="1006"/>
                  <a:pt x="1064" y="1007"/>
                  <a:pt x="1062" y="1008"/>
                </a:cubicBezTo>
                <a:cubicBezTo>
                  <a:pt x="1060" y="1010"/>
                  <a:pt x="1058" y="1010"/>
                  <a:pt x="1056" y="1011"/>
                </a:cubicBezTo>
                <a:cubicBezTo>
                  <a:pt x="1055" y="1013"/>
                  <a:pt x="1053" y="1013"/>
                  <a:pt x="1051" y="1014"/>
                </a:cubicBezTo>
                <a:cubicBezTo>
                  <a:pt x="1049" y="1015"/>
                  <a:pt x="1048" y="1015"/>
                  <a:pt x="1045" y="1015"/>
                </a:cubicBezTo>
                <a:cubicBezTo>
                  <a:pt x="1045" y="1015"/>
                  <a:pt x="1045" y="1015"/>
                  <a:pt x="1045" y="1026"/>
                </a:cubicBezTo>
                <a:cubicBezTo>
                  <a:pt x="1048" y="1025"/>
                  <a:pt x="1051" y="1024"/>
                  <a:pt x="1053" y="1023"/>
                </a:cubicBezTo>
                <a:cubicBezTo>
                  <a:pt x="1056" y="1022"/>
                  <a:pt x="1059" y="1021"/>
                  <a:pt x="1061" y="1019"/>
                </a:cubicBezTo>
                <a:cubicBezTo>
                  <a:pt x="1061" y="1019"/>
                  <a:pt x="1061" y="1019"/>
                  <a:pt x="1061" y="1078"/>
                </a:cubicBezTo>
                <a:cubicBezTo>
                  <a:pt x="1061" y="1078"/>
                  <a:pt x="1061" y="1078"/>
                  <a:pt x="1073" y="1078"/>
                </a:cubicBezTo>
                <a:cubicBezTo>
                  <a:pt x="1073" y="1078"/>
                  <a:pt x="1073" y="1078"/>
                  <a:pt x="1073" y="1005"/>
                </a:cubicBezTo>
                <a:close/>
                <a:moveTo>
                  <a:pt x="1119" y="1005"/>
                </a:moveTo>
                <a:cubicBezTo>
                  <a:pt x="1119" y="1005"/>
                  <a:pt x="1119" y="1005"/>
                  <a:pt x="1119" y="1005"/>
                </a:cubicBezTo>
                <a:cubicBezTo>
                  <a:pt x="1114" y="1005"/>
                  <a:pt x="1114" y="1005"/>
                  <a:pt x="1114" y="1005"/>
                </a:cubicBezTo>
                <a:cubicBezTo>
                  <a:pt x="1112" y="1006"/>
                  <a:pt x="1111" y="1007"/>
                  <a:pt x="1109" y="1008"/>
                </a:cubicBezTo>
                <a:cubicBezTo>
                  <a:pt x="1107" y="1010"/>
                  <a:pt x="1105" y="1010"/>
                  <a:pt x="1104" y="1011"/>
                </a:cubicBezTo>
                <a:cubicBezTo>
                  <a:pt x="1101" y="1012"/>
                  <a:pt x="1100" y="1013"/>
                  <a:pt x="1098" y="1013"/>
                </a:cubicBezTo>
                <a:cubicBezTo>
                  <a:pt x="1096" y="1014"/>
                  <a:pt x="1094" y="1015"/>
                  <a:pt x="1093" y="1015"/>
                </a:cubicBezTo>
                <a:cubicBezTo>
                  <a:pt x="1093" y="1015"/>
                  <a:pt x="1093" y="1015"/>
                  <a:pt x="1093" y="1026"/>
                </a:cubicBezTo>
                <a:cubicBezTo>
                  <a:pt x="1096" y="1025"/>
                  <a:pt x="1099" y="1023"/>
                  <a:pt x="1101" y="1023"/>
                </a:cubicBezTo>
                <a:cubicBezTo>
                  <a:pt x="1103" y="1022"/>
                  <a:pt x="1106" y="1021"/>
                  <a:pt x="1107" y="1019"/>
                </a:cubicBezTo>
                <a:cubicBezTo>
                  <a:pt x="1107" y="1019"/>
                  <a:pt x="1107" y="1019"/>
                  <a:pt x="1107" y="1078"/>
                </a:cubicBezTo>
                <a:cubicBezTo>
                  <a:pt x="1107" y="1078"/>
                  <a:pt x="1107" y="1078"/>
                  <a:pt x="1119" y="1078"/>
                </a:cubicBezTo>
                <a:cubicBezTo>
                  <a:pt x="1119" y="1078"/>
                  <a:pt x="1119" y="1078"/>
                  <a:pt x="1119" y="1005"/>
                </a:cubicBezTo>
                <a:close/>
                <a:moveTo>
                  <a:pt x="1163" y="1078"/>
                </a:moveTo>
                <a:cubicBezTo>
                  <a:pt x="1156" y="1078"/>
                  <a:pt x="1150" y="1075"/>
                  <a:pt x="1145" y="1069"/>
                </a:cubicBezTo>
                <a:cubicBezTo>
                  <a:pt x="1142" y="1063"/>
                  <a:pt x="1139" y="1054"/>
                  <a:pt x="1139" y="1042"/>
                </a:cubicBezTo>
                <a:cubicBezTo>
                  <a:pt x="1139" y="1028"/>
                  <a:pt x="1142" y="1019"/>
                  <a:pt x="1146" y="1012"/>
                </a:cubicBezTo>
                <a:cubicBezTo>
                  <a:pt x="1150" y="1006"/>
                  <a:pt x="1157" y="1002"/>
                  <a:pt x="1166" y="1002"/>
                </a:cubicBezTo>
                <a:cubicBezTo>
                  <a:pt x="1182" y="1002"/>
                  <a:pt x="1190" y="1015"/>
                  <a:pt x="1190" y="1040"/>
                </a:cubicBezTo>
                <a:cubicBezTo>
                  <a:pt x="1190" y="1052"/>
                  <a:pt x="1188" y="1062"/>
                  <a:pt x="1182" y="1068"/>
                </a:cubicBezTo>
                <a:cubicBezTo>
                  <a:pt x="1178" y="1075"/>
                  <a:pt x="1172" y="1078"/>
                  <a:pt x="1163" y="1078"/>
                </a:cubicBezTo>
                <a:close/>
                <a:moveTo>
                  <a:pt x="1165" y="1012"/>
                </a:moveTo>
                <a:cubicBezTo>
                  <a:pt x="1155" y="1012"/>
                  <a:pt x="1151" y="1022"/>
                  <a:pt x="1151" y="1042"/>
                </a:cubicBezTo>
                <a:cubicBezTo>
                  <a:pt x="1151" y="1060"/>
                  <a:pt x="1155" y="1068"/>
                  <a:pt x="1164" y="1068"/>
                </a:cubicBezTo>
                <a:cubicBezTo>
                  <a:pt x="1173" y="1068"/>
                  <a:pt x="1177" y="1060"/>
                  <a:pt x="1177" y="1041"/>
                </a:cubicBezTo>
                <a:cubicBezTo>
                  <a:pt x="1177" y="1021"/>
                  <a:pt x="1173" y="1012"/>
                  <a:pt x="1165" y="1012"/>
                </a:cubicBezTo>
                <a:close/>
                <a:moveTo>
                  <a:pt x="1235" y="1078"/>
                </a:moveTo>
                <a:cubicBezTo>
                  <a:pt x="1227" y="1078"/>
                  <a:pt x="1221" y="1075"/>
                  <a:pt x="1217" y="1069"/>
                </a:cubicBezTo>
                <a:cubicBezTo>
                  <a:pt x="1213" y="1063"/>
                  <a:pt x="1210" y="1054"/>
                  <a:pt x="1210" y="1042"/>
                </a:cubicBezTo>
                <a:cubicBezTo>
                  <a:pt x="1210" y="1028"/>
                  <a:pt x="1213" y="1019"/>
                  <a:pt x="1217" y="1012"/>
                </a:cubicBezTo>
                <a:cubicBezTo>
                  <a:pt x="1221" y="1006"/>
                  <a:pt x="1228" y="1002"/>
                  <a:pt x="1237" y="1002"/>
                </a:cubicBezTo>
                <a:cubicBezTo>
                  <a:pt x="1253" y="1002"/>
                  <a:pt x="1261" y="1015"/>
                  <a:pt x="1261" y="1040"/>
                </a:cubicBezTo>
                <a:cubicBezTo>
                  <a:pt x="1261" y="1052"/>
                  <a:pt x="1259" y="1062"/>
                  <a:pt x="1254" y="1068"/>
                </a:cubicBezTo>
                <a:cubicBezTo>
                  <a:pt x="1249" y="1075"/>
                  <a:pt x="1243" y="1078"/>
                  <a:pt x="1235" y="1078"/>
                </a:cubicBezTo>
                <a:close/>
                <a:moveTo>
                  <a:pt x="1236" y="1012"/>
                </a:moveTo>
                <a:cubicBezTo>
                  <a:pt x="1227" y="1012"/>
                  <a:pt x="1222" y="1022"/>
                  <a:pt x="1222" y="1042"/>
                </a:cubicBezTo>
                <a:cubicBezTo>
                  <a:pt x="1222" y="1060"/>
                  <a:pt x="1226" y="1068"/>
                  <a:pt x="1235" y="1068"/>
                </a:cubicBezTo>
                <a:cubicBezTo>
                  <a:pt x="1244" y="1068"/>
                  <a:pt x="1248" y="1060"/>
                  <a:pt x="1248" y="1041"/>
                </a:cubicBezTo>
                <a:cubicBezTo>
                  <a:pt x="1248" y="1021"/>
                  <a:pt x="1244" y="1012"/>
                  <a:pt x="1236" y="1012"/>
                </a:cubicBezTo>
                <a:close/>
                <a:moveTo>
                  <a:pt x="923" y="1037"/>
                </a:moveTo>
                <a:cubicBezTo>
                  <a:pt x="923" y="1037"/>
                  <a:pt x="923" y="1037"/>
                  <a:pt x="923" y="1037"/>
                </a:cubicBezTo>
                <a:cubicBezTo>
                  <a:pt x="922" y="1045"/>
                  <a:pt x="922" y="1045"/>
                  <a:pt x="922" y="1045"/>
                </a:cubicBezTo>
                <a:cubicBezTo>
                  <a:pt x="929" y="1046"/>
                  <a:pt x="929" y="1049"/>
                  <a:pt x="929" y="1051"/>
                </a:cubicBezTo>
                <a:cubicBezTo>
                  <a:pt x="929" y="1053"/>
                  <a:pt x="929" y="1056"/>
                  <a:pt x="929" y="1058"/>
                </a:cubicBezTo>
                <a:cubicBezTo>
                  <a:pt x="929" y="1061"/>
                  <a:pt x="928" y="1063"/>
                  <a:pt x="928" y="1065"/>
                </a:cubicBezTo>
                <a:cubicBezTo>
                  <a:pt x="928" y="1075"/>
                  <a:pt x="934" y="1078"/>
                  <a:pt x="943" y="1078"/>
                </a:cubicBezTo>
                <a:cubicBezTo>
                  <a:pt x="943" y="1078"/>
                  <a:pt x="943" y="1078"/>
                  <a:pt x="946" y="1078"/>
                </a:cubicBezTo>
                <a:cubicBezTo>
                  <a:pt x="946" y="1078"/>
                  <a:pt x="946" y="1078"/>
                  <a:pt x="946" y="1069"/>
                </a:cubicBezTo>
                <a:cubicBezTo>
                  <a:pt x="946" y="1069"/>
                  <a:pt x="946" y="1069"/>
                  <a:pt x="945" y="1069"/>
                </a:cubicBezTo>
                <a:cubicBezTo>
                  <a:pt x="941" y="1069"/>
                  <a:pt x="940" y="1066"/>
                  <a:pt x="940" y="1063"/>
                </a:cubicBezTo>
                <a:cubicBezTo>
                  <a:pt x="940" y="1062"/>
                  <a:pt x="940" y="1060"/>
                  <a:pt x="941" y="1058"/>
                </a:cubicBezTo>
                <a:cubicBezTo>
                  <a:pt x="941" y="1057"/>
                  <a:pt x="941" y="1055"/>
                  <a:pt x="941" y="1052"/>
                </a:cubicBezTo>
                <a:cubicBezTo>
                  <a:pt x="941" y="1045"/>
                  <a:pt x="938" y="1042"/>
                  <a:pt x="932" y="1041"/>
                </a:cubicBezTo>
                <a:cubicBezTo>
                  <a:pt x="932" y="1041"/>
                  <a:pt x="932" y="1041"/>
                  <a:pt x="932" y="1041"/>
                </a:cubicBezTo>
                <a:cubicBezTo>
                  <a:pt x="938" y="1040"/>
                  <a:pt x="941" y="1037"/>
                  <a:pt x="941" y="1030"/>
                </a:cubicBezTo>
                <a:cubicBezTo>
                  <a:pt x="941" y="1027"/>
                  <a:pt x="941" y="1026"/>
                  <a:pt x="941" y="1024"/>
                </a:cubicBezTo>
                <a:cubicBezTo>
                  <a:pt x="940" y="1022"/>
                  <a:pt x="940" y="1020"/>
                  <a:pt x="940" y="1019"/>
                </a:cubicBezTo>
                <a:cubicBezTo>
                  <a:pt x="940" y="1016"/>
                  <a:pt x="941" y="1013"/>
                  <a:pt x="945" y="1013"/>
                </a:cubicBezTo>
                <a:cubicBezTo>
                  <a:pt x="945" y="1013"/>
                  <a:pt x="945" y="1013"/>
                  <a:pt x="946" y="1013"/>
                </a:cubicBezTo>
                <a:cubicBezTo>
                  <a:pt x="946" y="1013"/>
                  <a:pt x="946" y="1013"/>
                  <a:pt x="946" y="1004"/>
                </a:cubicBezTo>
                <a:cubicBezTo>
                  <a:pt x="946" y="1004"/>
                  <a:pt x="946" y="1004"/>
                  <a:pt x="943" y="1004"/>
                </a:cubicBezTo>
                <a:cubicBezTo>
                  <a:pt x="934" y="1004"/>
                  <a:pt x="928" y="1008"/>
                  <a:pt x="928" y="1017"/>
                </a:cubicBezTo>
                <a:cubicBezTo>
                  <a:pt x="928" y="1019"/>
                  <a:pt x="929" y="1022"/>
                  <a:pt x="929" y="1024"/>
                </a:cubicBezTo>
                <a:cubicBezTo>
                  <a:pt x="929" y="1026"/>
                  <a:pt x="929" y="1029"/>
                  <a:pt x="929" y="1031"/>
                </a:cubicBezTo>
                <a:cubicBezTo>
                  <a:pt x="929" y="1033"/>
                  <a:pt x="929" y="1037"/>
                  <a:pt x="923" y="1037"/>
                </a:cubicBezTo>
                <a:close/>
                <a:moveTo>
                  <a:pt x="978" y="1045"/>
                </a:moveTo>
                <a:cubicBezTo>
                  <a:pt x="978" y="1045"/>
                  <a:pt x="978" y="1045"/>
                  <a:pt x="978" y="1045"/>
                </a:cubicBezTo>
                <a:cubicBezTo>
                  <a:pt x="978" y="1037"/>
                  <a:pt x="978" y="1037"/>
                  <a:pt x="978" y="1037"/>
                </a:cubicBezTo>
                <a:cubicBezTo>
                  <a:pt x="971" y="1037"/>
                  <a:pt x="971" y="1033"/>
                  <a:pt x="971" y="1031"/>
                </a:cubicBezTo>
                <a:cubicBezTo>
                  <a:pt x="971" y="1029"/>
                  <a:pt x="971" y="1026"/>
                  <a:pt x="971" y="1024"/>
                </a:cubicBezTo>
                <a:cubicBezTo>
                  <a:pt x="972" y="1022"/>
                  <a:pt x="972" y="1019"/>
                  <a:pt x="972" y="1017"/>
                </a:cubicBezTo>
                <a:cubicBezTo>
                  <a:pt x="972" y="1008"/>
                  <a:pt x="966" y="1004"/>
                  <a:pt x="957" y="1004"/>
                </a:cubicBezTo>
                <a:cubicBezTo>
                  <a:pt x="957" y="1004"/>
                  <a:pt x="957" y="1004"/>
                  <a:pt x="953" y="1004"/>
                </a:cubicBezTo>
                <a:cubicBezTo>
                  <a:pt x="953" y="1004"/>
                  <a:pt x="953" y="1004"/>
                  <a:pt x="953" y="1013"/>
                </a:cubicBezTo>
                <a:cubicBezTo>
                  <a:pt x="953" y="1013"/>
                  <a:pt x="953" y="1013"/>
                  <a:pt x="955" y="1013"/>
                </a:cubicBezTo>
                <a:cubicBezTo>
                  <a:pt x="958" y="1013"/>
                  <a:pt x="960" y="1016"/>
                  <a:pt x="960" y="1019"/>
                </a:cubicBezTo>
                <a:cubicBezTo>
                  <a:pt x="960" y="1020"/>
                  <a:pt x="960" y="1022"/>
                  <a:pt x="960" y="1024"/>
                </a:cubicBezTo>
                <a:cubicBezTo>
                  <a:pt x="959" y="1026"/>
                  <a:pt x="959" y="1027"/>
                  <a:pt x="959" y="1030"/>
                </a:cubicBezTo>
                <a:cubicBezTo>
                  <a:pt x="959" y="1037"/>
                  <a:pt x="962" y="1040"/>
                  <a:pt x="968" y="1041"/>
                </a:cubicBezTo>
                <a:cubicBezTo>
                  <a:pt x="968" y="1041"/>
                  <a:pt x="968" y="1041"/>
                  <a:pt x="968" y="1041"/>
                </a:cubicBezTo>
                <a:cubicBezTo>
                  <a:pt x="962" y="1042"/>
                  <a:pt x="959" y="1045"/>
                  <a:pt x="959" y="1052"/>
                </a:cubicBezTo>
                <a:cubicBezTo>
                  <a:pt x="959" y="1055"/>
                  <a:pt x="959" y="1057"/>
                  <a:pt x="960" y="1058"/>
                </a:cubicBezTo>
                <a:cubicBezTo>
                  <a:pt x="960" y="1060"/>
                  <a:pt x="960" y="1062"/>
                  <a:pt x="960" y="1063"/>
                </a:cubicBezTo>
                <a:cubicBezTo>
                  <a:pt x="960" y="1066"/>
                  <a:pt x="959" y="1069"/>
                  <a:pt x="955" y="1069"/>
                </a:cubicBezTo>
                <a:cubicBezTo>
                  <a:pt x="955" y="1069"/>
                  <a:pt x="955" y="1069"/>
                  <a:pt x="953" y="1069"/>
                </a:cubicBezTo>
                <a:cubicBezTo>
                  <a:pt x="953" y="1069"/>
                  <a:pt x="953" y="1069"/>
                  <a:pt x="953" y="1078"/>
                </a:cubicBezTo>
                <a:cubicBezTo>
                  <a:pt x="953" y="1078"/>
                  <a:pt x="953" y="1078"/>
                  <a:pt x="957" y="1078"/>
                </a:cubicBezTo>
                <a:cubicBezTo>
                  <a:pt x="966" y="1078"/>
                  <a:pt x="972" y="1075"/>
                  <a:pt x="972" y="1065"/>
                </a:cubicBezTo>
                <a:cubicBezTo>
                  <a:pt x="972" y="1063"/>
                  <a:pt x="972" y="1061"/>
                  <a:pt x="971" y="1058"/>
                </a:cubicBezTo>
                <a:cubicBezTo>
                  <a:pt x="971" y="1056"/>
                  <a:pt x="971" y="1053"/>
                  <a:pt x="971" y="1051"/>
                </a:cubicBezTo>
                <a:cubicBezTo>
                  <a:pt x="971" y="1049"/>
                  <a:pt x="971" y="1046"/>
                  <a:pt x="978" y="1045"/>
                </a:cubicBezTo>
                <a:close/>
                <a:moveTo>
                  <a:pt x="1447" y="1078"/>
                </a:moveTo>
                <a:cubicBezTo>
                  <a:pt x="1440" y="1078"/>
                  <a:pt x="1434" y="1075"/>
                  <a:pt x="1429" y="1068"/>
                </a:cubicBezTo>
                <a:cubicBezTo>
                  <a:pt x="1425" y="1063"/>
                  <a:pt x="1423" y="1053"/>
                  <a:pt x="1423" y="1042"/>
                </a:cubicBezTo>
                <a:cubicBezTo>
                  <a:pt x="1423" y="1028"/>
                  <a:pt x="1425" y="1019"/>
                  <a:pt x="1429" y="1012"/>
                </a:cubicBezTo>
                <a:cubicBezTo>
                  <a:pt x="1434" y="1005"/>
                  <a:pt x="1440" y="1002"/>
                  <a:pt x="1449" y="1002"/>
                </a:cubicBezTo>
                <a:cubicBezTo>
                  <a:pt x="1465" y="1002"/>
                  <a:pt x="1473" y="1015"/>
                  <a:pt x="1473" y="1039"/>
                </a:cubicBezTo>
                <a:cubicBezTo>
                  <a:pt x="1473" y="1052"/>
                  <a:pt x="1471" y="1062"/>
                  <a:pt x="1467" y="1068"/>
                </a:cubicBezTo>
                <a:cubicBezTo>
                  <a:pt x="1462" y="1075"/>
                  <a:pt x="1456" y="1078"/>
                  <a:pt x="1447" y="1078"/>
                </a:cubicBezTo>
                <a:close/>
                <a:moveTo>
                  <a:pt x="1448" y="1012"/>
                </a:moveTo>
                <a:cubicBezTo>
                  <a:pt x="1440" y="1012"/>
                  <a:pt x="1435" y="1021"/>
                  <a:pt x="1435" y="1041"/>
                </a:cubicBezTo>
                <a:cubicBezTo>
                  <a:pt x="1435" y="1059"/>
                  <a:pt x="1440" y="1068"/>
                  <a:pt x="1448" y="1068"/>
                </a:cubicBezTo>
                <a:cubicBezTo>
                  <a:pt x="1456" y="1068"/>
                  <a:pt x="1461" y="1059"/>
                  <a:pt x="1461" y="1041"/>
                </a:cubicBezTo>
                <a:cubicBezTo>
                  <a:pt x="1461" y="1021"/>
                  <a:pt x="1457" y="1012"/>
                  <a:pt x="1448" y="1012"/>
                </a:cubicBezTo>
                <a:close/>
                <a:moveTo>
                  <a:pt x="1565" y="1078"/>
                </a:moveTo>
                <a:cubicBezTo>
                  <a:pt x="1557" y="1078"/>
                  <a:pt x="1552" y="1075"/>
                  <a:pt x="1547" y="1068"/>
                </a:cubicBezTo>
                <a:cubicBezTo>
                  <a:pt x="1543" y="1063"/>
                  <a:pt x="1541" y="1053"/>
                  <a:pt x="1541" y="1042"/>
                </a:cubicBezTo>
                <a:cubicBezTo>
                  <a:pt x="1541" y="1028"/>
                  <a:pt x="1543" y="1019"/>
                  <a:pt x="1547" y="1012"/>
                </a:cubicBezTo>
                <a:cubicBezTo>
                  <a:pt x="1552" y="1005"/>
                  <a:pt x="1558" y="1002"/>
                  <a:pt x="1567" y="1002"/>
                </a:cubicBezTo>
                <a:cubicBezTo>
                  <a:pt x="1583" y="1002"/>
                  <a:pt x="1591" y="1015"/>
                  <a:pt x="1591" y="1039"/>
                </a:cubicBezTo>
                <a:cubicBezTo>
                  <a:pt x="1591" y="1052"/>
                  <a:pt x="1589" y="1062"/>
                  <a:pt x="1584" y="1068"/>
                </a:cubicBezTo>
                <a:cubicBezTo>
                  <a:pt x="1579" y="1075"/>
                  <a:pt x="1574" y="1078"/>
                  <a:pt x="1565" y="1078"/>
                </a:cubicBezTo>
                <a:close/>
                <a:moveTo>
                  <a:pt x="1566" y="1012"/>
                </a:moveTo>
                <a:cubicBezTo>
                  <a:pt x="1557" y="1012"/>
                  <a:pt x="1553" y="1021"/>
                  <a:pt x="1553" y="1041"/>
                </a:cubicBezTo>
                <a:cubicBezTo>
                  <a:pt x="1553" y="1059"/>
                  <a:pt x="1557" y="1068"/>
                  <a:pt x="1566" y="1068"/>
                </a:cubicBezTo>
                <a:cubicBezTo>
                  <a:pt x="1574" y="1068"/>
                  <a:pt x="1579" y="1059"/>
                  <a:pt x="1579" y="1041"/>
                </a:cubicBezTo>
                <a:cubicBezTo>
                  <a:pt x="1579" y="1021"/>
                  <a:pt x="1575" y="1012"/>
                  <a:pt x="1566" y="1012"/>
                </a:cubicBezTo>
                <a:close/>
                <a:moveTo>
                  <a:pt x="1520" y="1005"/>
                </a:moveTo>
                <a:cubicBezTo>
                  <a:pt x="1520" y="1005"/>
                  <a:pt x="1520" y="1005"/>
                  <a:pt x="1520" y="1005"/>
                </a:cubicBezTo>
                <a:cubicBezTo>
                  <a:pt x="1515" y="1005"/>
                  <a:pt x="1515" y="1005"/>
                  <a:pt x="1515" y="1005"/>
                </a:cubicBezTo>
                <a:cubicBezTo>
                  <a:pt x="1513" y="1006"/>
                  <a:pt x="1512" y="1007"/>
                  <a:pt x="1510" y="1008"/>
                </a:cubicBezTo>
                <a:cubicBezTo>
                  <a:pt x="1508" y="1010"/>
                  <a:pt x="1506" y="1010"/>
                  <a:pt x="1505" y="1011"/>
                </a:cubicBezTo>
                <a:cubicBezTo>
                  <a:pt x="1503" y="1012"/>
                  <a:pt x="1501" y="1013"/>
                  <a:pt x="1499" y="1013"/>
                </a:cubicBezTo>
                <a:cubicBezTo>
                  <a:pt x="1497" y="1014"/>
                  <a:pt x="1496" y="1015"/>
                  <a:pt x="1494" y="1015"/>
                </a:cubicBezTo>
                <a:cubicBezTo>
                  <a:pt x="1494" y="1015"/>
                  <a:pt x="1494" y="1015"/>
                  <a:pt x="1494" y="1026"/>
                </a:cubicBezTo>
                <a:cubicBezTo>
                  <a:pt x="1497" y="1025"/>
                  <a:pt x="1499" y="1023"/>
                  <a:pt x="1502" y="1023"/>
                </a:cubicBezTo>
                <a:cubicBezTo>
                  <a:pt x="1505" y="1022"/>
                  <a:pt x="1507" y="1021"/>
                  <a:pt x="1509" y="1019"/>
                </a:cubicBezTo>
                <a:cubicBezTo>
                  <a:pt x="1509" y="1019"/>
                  <a:pt x="1509" y="1019"/>
                  <a:pt x="1509" y="1078"/>
                </a:cubicBezTo>
                <a:cubicBezTo>
                  <a:pt x="1509" y="1078"/>
                  <a:pt x="1509" y="1078"/>
                  <a:pt x="1520" y="1078"/>
                </a:cubicBezTo>
                <a:cubicBezTo>
                  <a:pt x="1520" y="1078"/>
                  <a:pt x="1520" y="1078"/>
                  <a:pt x="1520" y="1005"/>
                </a:cubicBezTo>
                <a:close/>
                <a:moveTo>
                  <a:pt x="1636" y="1078"/>
                </a:moveTo>
                <a:cubicBezTo>
                  <a:pt x="1628" y="1078"/>
                  <a:pt x="1622" y="1075"/>
                  <a:pt x="1618" y="1069"/>
                </a:cubicBezTo>
                <a:cubicBezTo>
                  <a:pt x="1614" y="1063"/>
                  <a:pt x="1612" y="1054"/>
                  <a:pt x="1612" y="1042"/>
                </a:cubicBezTo>
                <a:cubicBezTo>
                  <a:pt x="1612" y="1028"/>
                  <a:pt x="1614" y="1019"/>
                  <a:pt x="1618" y="1012"/>
                </a:cubicBezTo>
                <a:cubicBezTo>
                  <a:pt x="1623" y="1006"/>
                  <a:pt x="1629" y="1002"/>
                  <a:pt x="1638" y="1002"/>
                </a:cubicBezTo>
                <a:cubicBezTo>
                  <a:pt x="1654" y="1002"/>
                  <a:pt x="1662" y="1015"/>
                  <a:pt x="1662" y="1040"/>
                </a:cubicBezTo>
                <a:cubicBezTo>
                  <a:pt x="1662" y="1052"/>
                  <a:pt x="1660" y="1062"/>
                  <a:pt x="1656" y="1068"/>
                </a:cubicBezTo>
                <a:cubicBezTo>
                  <a:pt x="1650" y="1075"/>
                  <a:pt x="1645" y="1078"/>
                  <a:pt x="1636" y="1078"/>
                </a:cubicBezTo>
                <a:close/>
                <a:moveTo>
                  <a:pt x="1637" y="1012"/>
                </a:moveTo>
                <a:cubicBezTo>
                  <a:pt x="1628" y="1012"/>
                  <a:pt x="1623" y="1022"/>
                  <a:pt x="1623" y="1042"/>
                </a:cubicBezTo>
                <a:cubicBezTo>
                  <a:pt x="1623" y="1060"/>
                  <a:pt x="1628" y="1068"/>
                  <a:pt x="1637" y="1068"/>
                </a:cubicBezTo>
                <a:cubicBezTo>
                  <a:pt x="1645" y="1068"/>
                  <a:pt x="1650" y="1060"/>
                  <a:pt x="1650" y="1041"/>
                </a:cubicBezTo>
                <a:cubicBezTo>
                  <a:pt x="1650" y="1021"/>
                  <a:pt x="1645" y="1012"/>
                  <a:pt x="1637" y="1012"/>
                </a:cubicBezTo>
                <a:close/>
                <a:moveTo>
                  <a:pt x="1683" y="1037"/>
                </a:moveTo>
                <a:cubicBezTo>
                  <a:pt x="1683" y="1037"/>
                  <a:pt x="1683" y="1037"/>
                  <a:pt x="1683" y="1037"/>
                </a:cubicBezTo>
                <a:cubicBezTo>
                  <a:pt x="1683" y="1045"/>
                  <a:pt x="1683" y="1045"/>
                  <a:pt x="1683" y="1045"/>
                </a:cubicBezTo>
                <a:cubicBezTo>
                  <a:pt x="1689" y="1046"/>
                  <a:pt x="1690" y="1049"/>
                  <a:pt x="1690" y="1051"/>
                </a:cubicBezTo>
                <a:cubicBezTo>
                  <a:pt x="1690" y="1053"/>
                  <a:pt x="1689" y="1056"/>
                  <a:pt x="1689" y="1058"/>
                </a:cubicBezTo>
                <a:cubicBezTo>
                  <a:pt x="1689" y="1061"/>
                  <a:pt x="1689" y="1063"/>
                  <a:pt x="1689" y="1065"/>
                </a:cubicBezTo>
                <a:cubicBezTo>
                  <a:pt x="1689" y="1075"/>
                  <a:pt x="1695" y="1078"/>
                  <a:pt x="1703" y="1078"/>
                </a:cubicBezTo>
                <a:cubicBezTo>
                  <a:pt x="1703" y="1078"/>
                  <a:pt x="1703" y="1078"/>
                  <a:pt x="1707" y="1078"/>
                </a:cubicBezTo>
                <a:cubicBezTo>
                  <a:pt x="1707" y="1078"/>
                  <a:pt x="1707" y="1078"/>
                  <a:pt x="1707" y="1069"/>
                </a:cubicBezTo>
                <a:cubicBezTo>
                  <a:pt x="1707" y="1069"/>
                  <a:pt x="1707" y="1069"/>
                  <a:pt x="1705" y="1069"/>
                </a:cubicBezTo>
                <a:cubicBezTo>
                  <a:pt x="1702" y="1069"/>
                  <a:pt x="1700" y="1066"/>
                  <a:pt x="1700" y="1063"/>
                </a:cubicBezTo>
                <a:cubicBezTo>
                  <a:pt x="1700" y="1062"/>
                  <a:pt x="1700" y="1060"/>
                  <a:pt x="1701" y="1058"/>
                </a:cubicBezTo>
                <a:cubicBezTo>
                  <a:pt x="1701" y="1057"/>
                  <a:pt x="1701" y="1055"/>
                  <a:pt x="1701" y="1052"/>
                </a:cubicBezTo>
                <a:cubicBezTo>
                  <a:pt x="1701" y="1045"/>
                  <a:pt x="1698" y="1042"/>
                  <a:pt x="1693" y="1041"/>
                </a:cubicBezTo>
                <a:cubicBezTo>
                  <a:pt x="1693" y="1041"/>
                  <a:pt x="1693" y="1041"/>
                  <a:pt x="1693" y="1041"/>
                </a:cubicBezTo>
                <a:cubicBezTo>
                  <a:pt x="1698" y="1040"/>
                  <a:pt x="1701" y="1037"/>
                  <a:pt x="1701" y="1030"/>
                </a:cubicBezTo>
                <a:cubicBezTo>
                  <a:pt x="1701" y="1027"/>
                  <a:pt x="1701" y="1026"/>
                  <a:pt x="1701" y="1024"/>
                </a:cubicBezTo>
                <a:cubicBezTo>
                  <a:pt x="1700" y="1022"/>
                  <a:pt x="1700" y="1020"/>
                  <a:pt x="1700" y="1019"/>
                </a:cubicBezTo>
                <a:cubicBezTo>
                  <a:pt x="1700" y="1016"/>
                  <a:pt x="1702" y="1013"/>
                  <a:pt x="1705" y="1013"/>
                </a:cubicBezTo>
                <a:cubicBezTo>
                  <a:pt x="1705" y="1013"/>
                  <a:pt x="1705" y="1013"/>
                  <a:pt x="1707" y="1013"/>
                </a:cubicBezTo>
                <a:cubicBezTo>
                  <a:pt x="1707" y="1013"/>
                  <a:pt x="1707" y="1013"/>
                  <a:pt x="1707" y="1004"/>
                </a:cubicBezTo>
                <a:cubicBezTo>
                  <a:pt x="1707" y="1004"/>
                  <a:pt x="1707" y="1004"/>
                  <a:pt x="1703" y="1004"/>
                </a:cubicBezTo>
                <a:cubicBezTo>
                  <a:pt x="1694" y="1004"/>
                  <a:pt x="1689" y="1008"/>
                  <a:pt x="1689" y="1017"/>
                </a:cubicBezTo>
                <a:cubicBezTo>
                  <a:pt x="1689" y="1019"/>
                  <a:pt x="1689" y="1022"/>
                  <a:pt x="1689" y="1024"/>
                </a:cubicBezTo>
                <a:cubicBezTo>
                  <a:pt x="1689" y="1026"/>
                  <a:pt x="1690" y="1029"/>
                  <a:pt x="1690" y="1031"/>
                </a:cubicBezTo>
                <a:cubicBezTo>
                  <a:pt x="1690" y="1033"/>
                  <a:pt x="1689" y="1037"/>
                  <a:pt x="1683" y="1037"/>
                </a:cubicBezTo>
                <a:close/>
                <a:moveTo>
                  <a:pt x="1737" y="1045"/>
                </a:moveTo>
                <a:cubicBezTo>
                  <a:pt x="1737" y="1045"/>
                  <a:pt x="1737" y="1045"/>
                  <a:pt x="1737" y="1045"/>
                </a:cubicBezTo>
                <a:cubicBezTo>
                  <a:pt x="1737" y="1037"/>
                  <a:pt x="1737" y="1037"/>
                  <a:pt x="1737" y="1037"/>
                </a:cubicBezTo>
                <a:cubicBezTo>
                  <a:pt x="1731" y="1037"/>
                  <a:pt x="1731" y="1033"/>
                  <a:pt x="1731" y="1031"/>
                </a:cubicBezTo>
                <a:cubicBezTo>
                  <a:pt x="1731" y="1029"/>
                  <a:pt x="1731" y="1026"/>
                  <a:pt x="1731" y="1024"/>
                </a:cubicBezTo>
                <a:cubicBezTo>
                  <a:pt x="1732" y="1022"/>
                  <a:pt x="1732" y="1019"/>
                  <a:pt x="1732" y="1017"/>
                </a:cubicBezTo>
                <a:cubicBezTo>
                  <a:pt x="1732" y="1008"/>
                  <a:pt x="1726" y="1004"/>
                  <a:pt x="1717" y="1004"/>
                </a:cubicBezTo>
                <a:cubicBezTo>
                  <a:pt x="1717" y="1004"/>
                  <a:pt x="1717" y="1004"/>
                  <a:pt x="1713" y="1004"/>
                </a:cubicBezTo>
                <a:cubicBezTo>
                  <a:pt x="1713" y="1004"/>
                  <a:pt x="1713" y="1004"/>
                  <a:pt x="1713" y="1013"/>
                </a:cubicBezTo>
                <a:cubicBezTo>
                  <a:pt x="1713" y="1013"/>
                  <a:pt x="1713" y="1013"/>
                  <a:pt x="1715" y="1013"/>
                </a:cubicBezTo>
                <a:cubicBezTo>
                  <a:pt x="1719" y="1013"/>
                  <a:pt x="1720" y="1016"/>
                  <a:pt x="1720" y="1019"/>
                </a:cubicBezTo>
                <a:cubicBezTo>
                  <a:pt x="1720" y="1020"/>
                  <a:pt x="1720" y="1022"/>
                  <a:pt x="1720" y="1024"/>
                </a:cubicBezTo>
                <a:cubicBezTo>
                  <a:pt x="1719" y="1026"/>
                  <a:pt x="1719" y="1027"/>
                  <a:pt x="1719" y="1030"/>
                </a:cubicBezTo>
                <a:cubicBezTo>
                  <a:pt x="1719" y="1037"/>
                  <a:pt x="1722" y="1040"/>
                  <a:pt x="1728" y="1041"/>
                </a:cubicBezTo>
                <a:cubicBezTo>
                  <a:pt x="1728" y="1041"/>
                  <a:pt x="1728" y="1041"/>
                  <a:pt x="1728" y="1041"/>
                </a:cubicBezTo>
                <a:cubicBezTo>
                  <a:pt x="1722" y="1042"/>
                  <a:pt x="1719" y="1045"/>
                  <a:pt x="1719" y="1052"/>
                </a:cubicBezTo>
                <a:cubicBezTo>
                  <a:pt x="1719" y="1055"/>
                  <a:pt x="1719" y="1057"/>
                  <a:pt x="1720" y="1058"/>
                </a:cubicBezTo>
                <a:cubicBezTo>
                  <a:pt x="1720" y="1060"/>
                  <a:pt x="1720" y="1062"/>
                  <a:pt x="1720" y="1063"/>
                </a:cubicBezTo>
                <a:cubicBezTo>
                  <a:pt x="1720" y="1066"/>
                  <a:pt x="1719" y="1069"/>
                  <a:pt x="1715" y="1069"/>
                </a:cubicBezTo>
                <a:cubicBezTo>
                  <a:pt x="1715" y="1069"/>
                  <a:pt x="1715" y="1069"/>
                  <a:pt x="1713" y="1069"/>
                </a:cubicBezTo>
                <a:cubicBezTo>
                  <a:pt x="1713" y="1069"/>
                  <a:pt x="1713" y="1069"/>
                  <a:pt x="1713" y="1078"/>
                </a:cubicBezTo>
                <a:cubicBezTo>
                  <a:pt x="1713" y="1078"/>
                  <a:pt x="1713" y="1078"/>
                  <a:pt x="1717" y="1078"/>
                </a:cubicBezTo>
                <a:cubicBezTo>
                  <a:pt x="1726" y="1078"/>
                  <a:pt x="1732" y="1075"/>
                  <a:pt x="1732" y="1065"/>
                </a:cubicBezTo>
                <a:cubicBezTo>
                  <a:pt x="1732" y="1063"/>
                  <a:pt x="1732" y="1061"/>
                  <a:pt x="1731" y="1058"/>
                </a:cubicBezTo>
                <a:cubicBezTo>
                  <a:pt x="1731" y="1056"/>
                  <a:pt x="1731" y="1053"/>
                  <a:pt x="1731" y="1051"/>
                </a:cubicBezTo>
                <a:cubicBezTo>
                  <a:pt x="1731" y="1049"/>
                  <a:pt x="1731" y="1046"/>
                  <a:pt x="1737" y="1045"/>
                </a:cubicBezTo>
                <a:close/>
                <a:moveTo>
                  <a:pt x="1858" y="1078"/>
                </a:moveTo>
                <a:cubicBezTo>
                  <a:pt x="1850" y="1078"/>
                  <a:pt x="1844" y="1075"/>
                  <a:pt x="1839" y="1069"/>
                </a:cubicBezTo>
                <a:cubicBezTo>
                  <a:pt x="1836" y="1063"/>
                  <a:pt x="1833" y="1054"/>
                  <a:pt x="1833" y="1042"/>
                </a:cubicBezTo>
                <a:cubicBezTo>
                  <a:pt x="1833" y="1028"/>
                  <a:pt x="1836" y="1019"/>
                  <a:pt x="1840" y="1012"/>
                </a:cubicBezTo>
                <a:cubicBezTo>
                  <a:pt x="1845" y="1006"/>
                  <a:pt x="1851" y="1002"/>
                  <a:pt x="1860" y="1002"/>
                </a:cubicBezTo>
                <a:cubicBezTo>
                  <a:pt x="1876" y="1002"/>
                  <a:pt x="1884" y="1015"/>
                  <a:pt x="1884" y="1040"/>
                </a:cubicBezTo>
                <a:cubicBezTo>
                  <a:pt x="1884" y="1052"/>
                  <a:pt x="1882" y="1062"/>
                  <a:pt x="1877" y="1068"/>
                </a:cubicBezTo>
                <a:cubicBezTo>
                  <a:pt x="1873" y="1075"/>
                  <a:pt x="1866" y="1078"/>
                  <a:pt x="1858" y="1078"/>
                </a:cubicBezTo>
                <a:close/>
                <a:moveTo>
                  <a:pt x="1859" y="1012"/>
                </a:moveTo>
                <a:cubicBezTo>
                  <a:pt x="1850" y="1012"/>
                  <a:pt x="1845" y="1022"/>
                  <a:pt x="1845" y="1042"/>
                </a:cubicBezTo>
                <a:cubicBezTo>
                  <a:pt x="1845" y="1060"/>
                  <a:pt x="1850" y="1068"/>
                  <a:pt x="1859" y="1068"/>
                </a:cubicBezTo>
                <a:cubicBezTo>
                  <a:pt x="1867" y="1068"/>
                  <a:pt x="1872" y="1060"/>
                  <a:pt x="1872" y="1041"/>
                </a:cubicBezTo>
                <a:cubicBezTo>
                  <a:pt x="1872" y="1021"/>
                  <a:pt x="1867" y="1012"/>
                  <a:pt x="1859" y="1012"/>
                </a:cubicBezTo>
                <a:close/>
                <a:moveTo>
                  <a:pt x="1932" y="1005"/>
                </a:moveTo>
                <a:cubicBezTo>
                  <a:pt x="1932" y="1005"/>
                  <a:pt x="1932" y="1005"/>
                  <a:pt x="1932" y="1005"/>
                </a:cubicBezTo>
                <a:cubicBezTo>
                  <a:pt x="1927" y="1005"/>
                  <a:pt x="1927" y="1005"/>
                  <a:pt x="1927" y="1005"/>
                </a:cubicBezTo>
                <a:cubicBezTo>
                  <a:pt x="1924" y="1006"/>
                  <a:pt x="1923" y="1007"/>
                  <a:pt x="1921" y="1008"/>
                </a:cubicBezTo>
                <a:cubicBezTo>
                  <a:pt x="1919" y="1010"/>
                  <a:pt x="1917" y="1010"/>
                  <a:pt x="1916" y="1011"/>
                </a:cubicBezTo>
                <a:cubicBezTo>
                  <a:pt x="1913" y="1012"/>
                  <a:pt x="1912" y="1013"/>
                  <a:pt x="1910" y="1013"/>
                </a:cubicBezTo>
                <a:cubicBezTo>
                  <a:pt x="1908" y="1014"/>
                  <a:pt x="1907" y="1015"/>
                  <a:pt x="1904" y="1015"/>
                </a:cubicBezTo>
                <a:cubicBezTo>
                  <a:pt x="1904" y="1015"/>
                  <a:pt x="1904" y="1015"/>
                  <a:pt x="1904" y="1026"/>
                </a:cubicBezTo>
                <a:cubicBezTo>
                  <a:pt x="1907" y="1025"/>
                  <a:pt x="1910" y="1023"/>
                  <a:pt x="1913" y="1023"/>
                </a:cubicBezTo>
                <a:cubicBezTo>
                  <a:pt x="1916" y="1022"/>
                  <a:pt x="1918" y="1021"/>
                  <a:pt x="1920" y="1019"/>
                </a:cubicBezTo>
                <a:cubicBezTo>
                  <a:pt x="1920" y="1019"/>
                  <a:pt x="1920" y="1019"/>
                  <a:pt x="1920" y="1078"/>
                </a:cubicBezTo>
                <a:cubicBezTo>
                  <a:pt x="1920" y="1078"/>
                  <a:pt x="1920" y="1078"/>
                  <a:pt x="1932" y="1078"/>
                </a:cubicBezTo>
                <a:cubicBezTo>
                  <a:pt x="1932" y="1078"/>
                  <a:pt x="1932" y="1078"/>
                  <a:pt x="1932" y="1005"/>
                </a:cubicBezTo>
                <a:close/>
                <a:moveTo>
                  <a:pt x="128" y="957"/>
                </a:moveTo>
                <a:cubicBezTo>
                  <a:pt x="128" y="958"/>
                  <a:pt x="129" y="960"/>
                  <a:pt x="130" y="961"/>
                </a:cubicBezTo>
                <a:cubicBezTo>
                  <a:pt x="130" y="963"/>
                  <a:pt x="130" y="965"/>
                  <a:pt x="131" y="966"/>
                </a:cubicBezTo>
                <a:cubicBezTo>
                  <a:pt x="131" y="968"/>
                  <a:pt x="131" y="969"/>
                  <a:pt x="131" y="971"/>
                </a:cubicBezTo>
                <a:cubicBezTo>
                  <a:pt x="132" y="974"/>
                  <a:pt x="131" y="976"/>
                  <a:pt x="128" y="976"/>
                </a:cubicBezTo>
                <a:cubicBezTo>
                  <a:pt x="125" y="976"/>
                  <a:pt x="122" y="975"/>
                  <a:pt x="119" y="975"/>
                </a:cubicBezTo>
                <a:cubicBezTo>
                  <a:pt x="119" y="975"/>
                  <a:pt x="118" y="975"/>
                  <a:pt x="118" y="976"/>
                </a:cubicBezTo>
                <a:cubicBezTo>
                  <a:pt x="116" y="977"/>
                  <a:pt x="115" y="979"/>
                  <a:pt x="114" y="980"/>
                </a:cubicBezTo>
                <a:cubicBezTo>
                  <a:pt x="112" y="983"/>
                  <a:pt x="108" y="983"/>
                  <a:pt x="106" y="981"/>
                </a:cubicBezTo>
                <a:cubicBezTo>
                  <a:pt x="104" y="979"/>
                  <a:pt x="103" y="976"/>
                  <a:pt x="101" y="973"/>
                </a:cubicBezTo>
                <a:cubicBezTo>
                  <a:pt x="101" y="972"/>
                  <a:pt x="101" y="970"/>
                  <a:pt x="103" y="969"/>
                </a:cubicBezTo>
                <a:cubicBezTo>
                  <a:pt x="101" y="969"/>
                  <a:pt x="99" y="969"/>
                  <a:pt x="97" y="969"/>
                </a:cubicBezTo>
                <a:cubicBezTo>
                  <a:pt x="97" y="971"/>
                  <a:pt x="95" y="973"/>
                  <a:pt x="95" y="975"/>
                </a:cubicBezTo>
                <a:cubicBezTo>
                  <a:pt x="95" y="975"/>
                  <a:pt x="94" y="976"/>
                  <a:pt x="94" y="977"/>
                </a:cubicBezTo>
                <a:cubicBezTo>
                  <a:pt x="94" y="980"/>
                  <a:pt x="93" y="981"/>
                  <a:pt x="90" y="981"/>
                </a:cubicBezTo>
                <a:cubicBezTo>
                  <a:pt x="87" y="981"/>
                  <a:pt x="84" y="980"/>
                  <a:pt x="81" y="979"/>
                </a:cubicBezTo>
                <a:cubicBezTo>
                  <a:pt x="79" y="978"/>
                  <a:pt x="79" y="977"/>
                  <a:pt x="79" y="975"/>
                </a:cubicBezTo>
                <a:cubicBezTo>
                  <a:pt x="79" y="974"/>
                  <a:pt x="79" y="973"/>
                  <a:pt x="80" y="973"/>
                </a:cubicBezTo>
                <a:cubicBezTo>
                  <a:pt x="77" y="972"/>
                  <a:pt x="75" y="971"/>
                  <a:pt x="73" y="969"/>
                </a:cubicBezTo>
                <a:cubicBezTo>
                  <a:pt x="72" y="969"/>
                  <a:pt x="71" y="967"/>
                  <a:pt x="70" y="965"/>
                </a:cubicBezTo>
                <a:cubicBezTo>
                  <a:pt x="69" y="963"/>
                  <a:pt x="69" y="962"/>
                  <a:pt x="71" y="960"/>
                </a:cubicBezTo>
                <a:cubicBezTo>
                  <a:pt x="74" y="958"/>
                  <a:pt x="75" y="955"/>
                  <a:pt x="74" y="951"/>
                </a:cubicBezTo>
                <a:cubicBezTo>
                  <a:pt x="74" y="949"/>
                  <a:pt x="74" y="947"/>
                  <a:pt x="74" y="945"/>
                </a:cubicBezTo>
                <a:cubicBezTo>
                  <a:pt x="73" y="944"/>
                  <a:pt x="71" y="944"/>
                  <a:pt x="70" y="943"/>
                </a:cubicBezTo>
                <a:cubicBezTo>
                  <a:pt x="69" y="941"/>
                  <a:pt x="68" y="939"/>
                  <a:pt x="68" y="937"/>
                </a:cubicBezTo>
                <a:cubicBezTo>
                  <a:pt x="68" y="934"/>
                  <a:pt x="72" y="931"/>
                  <a:pt x="74" y="931"/>
                </a:cubicBezTo>
                <a:cubicBezTo>
                  <a:pt x="75" y="931"/>
                  <a:pt x="75" y="932"/>
                  <a:pt x="75" y="933"/>
                </a:cubicBezTo>
                <a:cubicBezTo>
                  <a:pt x="75" y="934"/>
                  <a:pt x="75" y="935"/>
                  <a:pt x="75" y="936"/>
                </a:cubicBezTo>
                <a:cubicBezTo>
                  <a:pt x="75" y="936"/>
                  <a:pt x="74" y="936"/>
                  <a:pt x="74" y="936"/>
                </a:cubicBezTo>
                <a:cubicBezTo>
                  <a:pt x="74" y="937"/>
                  <a:pt x="73" y="938"/>
                  <a:pt x="72" y="940"/>
                </a:cubicBezTo>
                <a:cubicBezTo>
                  <a:pt x="74" y="940"/>
                  <a:pt x="74" y="940"/>
                  <a:pt x="75" y="939"/>
                </a:cubicBezTo>
                <a:cubicBezTo>
                  <a:pt x="76" y="938"/>
                  <a:pt x="77" y="937"/>
                  <a:pt x="77" y="936"/>
                </a:cubicBezTo>
                <a:cubicBezTo>
                  <a:pt x="82" y="929"/>
                  <a:pt x="88" y="926"/>
                  <a:pt x="95" y="924"/>
                </a:cubicBezTo>
                <a:cubicBezTo>
                  <a:pt x="99" y="924"/>
                  <a:pt x="102" y="922"/>
                  <a:pt x="104" y="920"/>
                </a:cubicBezTo>
                <a:cubicBezTo>
                  <a:pt x="104" y="919"/>
                  <a:pt x="105" y="919"/>
                  <a:pt x="105" y="919"/>
                </a:cubicBezTo>
                <a:cubicBezTo>
                  <a:pt x="108" y="918"/>
                  <a:pt x="110" y="916"/>
                  <a:pt x="112" y="914"/>
                </a:cubicBezTo>
                <a:cubicBezTo>
                  <a:pt x="119" y="907"/>
                  <a:pt x="131" y="906"/>
                  <a:pt x="139" y="913"/>
                </a:cubicBezTo>
                <a:cubicBezTo>
                  <a:pt x="141" y="915"/>
                  <a:pt x="144" y="917"/>
                  <a:pt x="146" y="919"/>
                </a:cubicBezTo>
                <a:cubicBezTo>
                  <a:pt x="148" y="920"/>
                  <a:pt x="149" y="922"/>
                  <a:pt x="150" y="924"/>
                </a:cubicBezTo>
                <a:cubicBezTo>
                  <a:pt x="151" y="925"/>
                  <a:pt x="152" y="925"/>
                  <a:pt x="153" y="924"/>
                </a:cubicBezTo>
                <a:cubicBezTo>
                  <a:pt x="154" y="924"/>
                  <a:pt x="154" y="923"/>
                  <a:pt x="155" y="922"/>
                </a:cubicBezTo>
                <a:cubicBezTo>
                  <a:pt x="157" y="919"/>
                  <a:pt x="160" y="919"/>
                  <a:pt x="161" y="922"/>
                </a:cubicBezTo>
                <a:cubicBezTo>
                  <a:pt x="163" y="926"/>
                  <a:pt x="163" y="928"/>
                  <a:pt x="164" y="931"/>
                </a:cubicBezTo>
                <a:cubicBezTo>
                  <a:pt x="164" y="936"/>
                  <a:pt x="164" y="940"/>
                  <a:pt x="163" y="945"/>
                </a:cubicBezTo>
                <a:cubicBezTo>
                  <a:pt x="160" y="951"/>
                  <a:pt x="155" y="954"/>
                  <a:pt x="149" y="954"/>
                </a:cubicBezTo>
                <a:cubicBezTo>
                  <a:pt x="148" y="954"/>
                  <a:pt x="148" y="954"/>
                  <a:pt x="147" y="954"/>
                </a:cubicBezTo>
                <a:cubicBezTo>
                  <a:pt x="144" y="954"/>
                  <a:pt x="143" y="954"/>
                  <a:pt x="143" y="957"/>
                </a:cubicBezTo>
                <a:cubicBezTo>
                  <a:pt x="141" y="961"/>
                  <a:pt x="135" y="963"/>
                  <a:pt x="132" y="960"/>
                </a:cubicBezTo>
                <a:cubicBezTo>
                  <a:pt x="131" y="958"/>
                  <a:pt x="130" y="958"/>
                  <a:pt x="129" y="956"/>
                </a:cubicBezTo>
                <a:cubicBezTo>
                  <a:pt x="128" y="957"/>
                  <a:pt x="128" y="957"/>
                  <a:pt x="128" y="957"/>
                </a:cubicBezTo>
                <a:close/>
                <a:moveTo>
                  <a:pt x="123" y="952"/>
                </a:moveTo>
                <a:cubicBezTo>
                  <a:pt x="126" y="954"/>
                  <a:pt x="130" y="955"/>
                  <a:pt x="132" y="958"/>
                </a:cubicBezTo>
                <a:cubicBezTo>
                  <a:pt x="134" y="960"/>
                  <a:pt x="136" y="960"/>
                  <a:pt x="138" y="960"/>
                </a:cubicBezTo>
                <a:cubicBezTo>
                  <a:pt x="141" y="959"/>
                  <a:pt x="142" y="957"/>
                  <a:pt x="142" y="954"/>
                </a:cubicBezTo>
                <a:cubicBezTo>
                  <a:pt x="142" y="954"/>
                  <a:pt x="141" y="954"/>
                  <a:pt x="141" y="954"/>
                </a:cubicBezTo>
                <a:cubicBezTo>
                  <a:pt x="141" y="956"/>
                  <a:pt x="139" y="957"/>
                  <a:pt x="139" y="958"/>
                </a:cubicBezTo>
                <a:cubicBezTo>
                  <a:pt x="137" y="959"/>
                  <a:pt x="136" y="959"/>
                  <a:pt x="135" y="958"/>
                </a:cubicBezTo>
                <a:cubicBezTo>
                  <a:pt x="135" y="958"/>
                  <a:pt x="134" y="957"/>
                  <a:pt x="134" y="956"/>
                </a:cubicBezTo>
                <a:cubicBezTo>
                  <a:pt x="134" y="954"/>
                  <a:pt x="135" y="952"/>
                  <a:pt x="135" y="950"/>
                </a:cubicBezTo>
                <a:cubicBezTo>
                  <a:pt x="138" y="951"/>
                  <a:pt x="141" y="952"/>
                  <a:pt x="145" y="952"/>
                </a:cubicBezTo>
                <a:cubicBezTo>
                  <a:pt x="152" y="954"/>
                  <a:pt x="158" y="952"/>
                  <a:pt x="161" y="943"/>
                </a:cubicBezTo>
                <a:cubicBezTo>
                  <a:pt x="163" y="939"/>
                  <a:pt x="163" y="934"/>
                  <a:pt x="162" y="929"/>
                </a:cubicBezTo>
                <a:cubicBezTo>
                  <a:pt x="161" y="927"/>
                  <a:pt x="161" y="925"/>
                  <a:pt x="160" y="923"/>
                </a:cubicBezTo>
                <a:cubicBezTo>
                  <a:pt x="159" y="922"/>
                  <a:pt x="158" y="921"/>
                  <a:pt x="157" y="923"/>
                </a:cubicBezTo>
                <a:cubicBezTo>
                  <a:pt x="155" y="924"/>
                  <a:pt x="154" y="926"/>
                  <a:pt x="152" y="927"/>
                </a:cubicBezTo>
                <a:cubicBezTo>
                  <a:pt x="151" y="927"/>
                  <a:pt x="150" y="928"/>
                  <a:pt x="150" y="929"/>
                </a:cubicBezTo>
                <a:cubicBezTo>
                  <a:pt x="151" y="932"/>
                  <a:pt x="150" y="935"/>
                  <a:pt x="149" y="939"/>
                </a:cubicBezTo>
                <a:cubicBezTo>
                  <a:pt x="149" y="937"/>
                  <a:pt x="150" y="935"/>
                  <a:pt x="150" y="933"/>
                </a:cubicBezTo>
                <a:cubicBezTo>
                  <a:pt x="150" y="932"/>
                  <a:pt x="149" y="932"/>
                  <a:pt x="149" y="931"/>
                </a:cubicBezTo>
                <a:cubicBezTo>
                  <a:pt x="148" y="932"/>
                  <a:pt x="148" y="932"/>
                  <a:pt x="148" y="932"/>
                </a:cubicBezTo>
                <a:cubicBezTo>
                  <a:pt x="147" y="933"/>
                  <a:pt x="146" y="935"/>
                  <a:pt x="145" y="936"/>
                </a:cubicBezTo>
                <a:cubicBezTo>
                  <a:pt x="145" y="936"/>
                  <a:pt x="145" y="936"/>
                  <a:pt x="145" y="936"/>
                </a:cubicBezTo>
                <a:cubicBezTo>
                  <a:pt x="145" y="935"/>
                  <a:pt x="146" y="933"/>
                  <a:pt x="146" y="931"/>
                </a:cubicBezTo>
                <a:cubicBezTo>
                  <a:pt x="145" y="931"/>
                  <a:pt x="144" y="932"/>
                  <a:pt x="144" y="933"/>
                </a:cubicBezTo>
                <a:cubicBezTo>
                  <a:pt x="143" y="933"/>
                  <a:pt x="143" y="934"/>
                  <a:pt x="143" y="935"/>
                </a:cubicBezTo>
                <a:cubicBezTo>
                  <a:pt x="143" y="931"/>
                  <a:pt x="143" y="931"/>
                  <a:pt x="149" y="930"/>
                </a:cubicBezTo>
                <a:cubicBezTo>
                  <a:pt x="149" y="929"/>
                  <a:pt x="148" y="929"/>
                  <a:pt x="148" y="929"/>
                </a:cubicBezTo>
                <a:cubicBezTo>
                  <a:pt x="145" y="929"/>
                  <a:pt x="144" y="928"/>
                  <a:pt x="144" y="926"/>
                </a:cubicBezTo>
                <a:cubicBezTo>
                  <a:pt x="146" y="925"/>
                  <a:pt x="147" y="925"/>
                  <a:pt x="149" y="924"/>
                </a:cubicBezTo>
                <a:cubicBezTo>
                  <a:pt x="147" y="922"/>
                  <a:pt x="146" y="919"/>
                  <a:pt x="143" y="919"/>
                </a:cubicBezTo>
                <a:cubicBezTo>
                  <a:pt x="142" y="919"/>
                  <a:pt x="142" y="918"/>
                  <a:pt x="142" y="918"/>
                </a:cubicBezTo>
                <a:cubicBezTo>
                  <a:pt x="139" y="916"/>
                  <a:pt x="137" y="914"/>
                  <a:pt x="134" y="912"/>
                </a:cubicBezTo>
                <a:cubicBezTo>
                  <a:pt x="132" y="910"/>
                  <a:pt x="129" y="910"/>
                  <a:pt x="127" y="910"/>
                </a:cubicBezTo>
                <a:cubicBezTo>
                  <a:pt x="124" y="910"/>
                  <a:pt x="121" y="911"/>
                  <a:pt x="117" y="912"/>
                </a:cubicBezTo>
                <a:cubicBezTo>
                  <a:pt x="115" y="913"/>
                  <a:pt x="112" y="915"/>
                  <a:pt x="110" y="918"/>
                </a:cubicBezTo>
                <a:cubicBezTo>
                  <a:pt x="112" y="918"/>
                  <a:pt x="113" y="918"/>
                  <a:pt x="114" y="918"/>
                </a:cubicBezTo>
                <a:cubicBezTo>
                  <a:pt x="114" y="918"/>
                  <a:pt x="113" y="919"/>
                  <a:pt x="112" y="919"/>
                </a:cubicBezTo>
                <a:cubicBezTo>
                  <a:pt x="110" y="920"/>
                  <a:pt x="107" y="919"/>
                  <a:pt x="105" y="921"/>
                </a:cubicBezTo>
                <a:cubicBezTo>
                  <a:pt x="102" y="925"/>
                  <a:pt x="98" y="929"/>
                  <a:pt x="94" y="933"/>
                </a:cubicBezTo>
                <a:cubicBezTo>
                  <a:pt x="93" y="935"/>
                  <a:pt x="92" y="937"/>
                  <a:pt x="91" y="940"/>
                </a:cubicBezTo>
                <a:cubicBezTo>
                  <a:pt x="91" y="940"/>
                  <a:pt x="91" y="941"/>
                  <a:pt x="91" y="941"/>
                </a:cubicBezTo>
                <a:cubicBezTo>
                  <a:pt x="92" y="943"/>
                  <a:pt x="94" y="945"/>
                  <a:pt x="95" y="947"/>
                </a:cubicBezTo>
                <a:cubicBezTo>
                  <a:pt x="96" y="946"/>
                  <a:pt x="97" y="944"/>
                  <a:pt x="99" y="943"/>
                </a:cubicBezTo>
                <a:cubicBezTo>
                  <a:pt x="98" y="944"/>
                  <a:pt x="98" y="945"/>
                  <a:pt x="97" y="947"/>
                </a:cubicBezTo>
                <a:cubicBezTo>
                  <a:pt x="96" y="948"/>
                  <a:pt x="95" y="949"/>
                  <a:pt x="95" y="951"/>
                </a:cubicBezTo>
                <a:cubicBezTo>
                  <a:pt x="95" y="952"/>
                  <a:pt x="95" y="953"/>
                  <a:pt x="95" y="954"/>
                </a:cubicBezTo>
                <a:cubicBezTo>
                  <a:pt x="98" y="957"/>
                  <a:pt x="101" y="957"/>
                  <a:pt x="105" y="955"/>
                </a:cubicBezTo>
                <a:cubicBezTo>
                  <a:pt x="107" y="954"/>
                  <a:pt x="110" y="952"/>
                  <a:pt x="113" y="952"/>
                </a:cubicBezTo>
                <a:cubicBezTo>
                  <a:pt x="114" y="951"/>
                  <a:pt x="115" y="950"/>
                  <a:pt x="115" y="949"/>
                </a:cubicBezTo>
                <a:cubicBezTo>
                  <a:pt x="115" y="946"/>
                  <a:pt x="115" y="942"/>
                  <a:pt x="115" y="939"/>
                </a:cubicBezTo>
                <a:cubicBezTo>
                  <a:pt x="115" y="936"/>
                  <a:pt x="115" y="933"/>
                  <a:pt x="115" y="930"/>
                </a:cubicBezTo>
                <a:cubicBezTo>
                  <a:pt x="116" y="933"/>
                  <a:pt x="117" y="935"/>
                  <a:pt x="117" y="938"/>
                </a:cubicBezTo>
                <a:cubicBezTo>
                  <a:pt x="118" y="943"/>
                  <a:pt x="118" y="947"/>
                  <a:pt x="117" y="951"/>
                </a:cubicBezTo>
                <a:cubicBezTo>
                  <a:pt x="116" y="952"/>
                  <a:pt x="115" y="953"/>
                  <a:pt x="115" y="953"/>
                </a:cubicBezTo>
                <a:cubicBezTo>
                  <a:pt x="112" y="953"/>
                  <a:pt x="108" y="955"/>
                  <a:pt x="105" y="957"/>
                </a:cubicBezTo>
                <a:cubicBezTo>
                  <a:pt x="100" y="960"/>
                  <a:pt x="97" y="958"/>
                  <a:pt x="93" y="954"/>
                </a:cubicBezTo>
                <a:cubicBezTo>
                  <a:pt x="93" y="954"/>
                  <a:pt x="93" y="952"/>
                  <a:pt x="93" y="952"/>
                </a:cubicBezTo>
                <a:cubicBezTo>
                  <a:pt x="94" y="950"/>
                  <a:pt x="93" y="948"/>
                  <a:pt x="92" y="946"/>
                </a:cubicBezTo>
                <a:cubicBezTo>
                  <a:pt x="90" y="944"/>
                  <a:pt x="88" y="941"/>
                  <a:pt x="90" y="939"/>
                </a:cubicBezTo>
                <a:cubicBezTo>
                  <a:pt x="90" y="937"/>
                  <a:pt x="91" y="935"/>
                  <a:pt x="92" y="933"/>
                </a:cubicBezTo>
                <a:cubicBezTo>
                  <a:pt x="94" y="931"/>
                  <a:pt x="96" y="928"/>
                  <a:pt x="98" y="926"/>
                </a:cubicBezTo>
                <a:cubicBezTo>
                  <a:pt x="98" y="926"/>
                  <a:pt x="97" y="926"/>
                  <a:pt x="97" y="926"/>
                </a:cubicBezTo>
                <a:cubicBezTo>
                  <a:pt x="92" y="927"/>
                  <a:pt x="88" y="928"/>
                  <a:pt x="84" y="931"/>
                </a:cubicBezTo>
                <a:cubicBezTo>
                  <a:pt x="79" y="936"/>
                  <a:pt x="76" y="941"/>
                  <a:pt x="76" y="948"/>
                </a:cubicBezTo>
                <a:cubicBezTo>
                  <a:pt x="75" y="954"/>
                  <a:pt x="78" y="960"/>
                  <a:pt x="81" y="966"/>
                </a:cubicBezTo>
                <a:cubicBezTo>
                  <a:pt x="82" y="967"/>
                  <a:pt x="83" y="969"/>
                  <a:pt x="82" y="970"/>
                </a:cubicBezTo>
                <a:cubicBezTo>
                  <a:pt x="82" y="971"/>
                  <a:pt x="82" y="973"/>
                  <a:pt x="81" y="974"/>
                </a:cubicBezTo>
                <a:cubicBezTo>
                  <a:pt x="81" y="976"/>
                  <a:pt x="81" y="977"/>
                  <a:pt x="82" y="977"/>
                </a:cubicBezTo>
                <a:cubicBezTo>
                  <a:pt x="85" y="978"/>
                  <a:pt x="88" y="979"/>
                  <a:pt x="91" y="979"/>
                </a:cubicBezTo>
                <a:cubicBezTo>
                  <a:pt x="92" y="979"/>
                  <a:pt x="92" y="978"/>
                  <a:pt x="92" y="978"/>
                </a:cubicBezTo>
                <a:cubicBezTo>
                  <a:pt x="93" y="977"/>
                  <a:pt x="93" y="975"/>
                  <a:pt x="94" y="974"/>
                </a:cubicBezTo>
                <a:cubicBezTo>
                  <a:pt x="95" y="972"/>
                  <a:pt x="95" y="969"/>
                  <a:pt x="95" y="966"/>
                </a:cubicBezTo>
                <a:cubicBezTo>
                  <a:pt x="95" y="966"/>
                  <a:pt x="95" y="966"/>
                  <a:pt x="95" y="965"/>
                </a:cubicBezTo>
                <a:cubicBezTo>
                  <a:pt x="95" y="965"/>
                  <a:pt x="95" y="965"/>
                  <a:pt x="95" y="964"/>
                </a:cubicBezTo>
                <a:cubicBezTo>
                  <a:pt x="96" y="967"/>
                  <a:pt x="97" y="967"/>
                  <a:pt x="99" y="967"/>
                </a:cubicBezTo>
                <a:cubicBezTo>
                  <a:pt x="100" y="967"/>
                  <a:pt x="101" y="967"/>
                  <a:pt x="102" y="967"/>
                </a:cubicBezTo>
                <a:cubicBezTo>
                  <a:pt x="104" y="967"/>
                  <a:pt x="108" y="968"/>
                  <a:pt x="108" y="964"/>
                </a:cubicBezTo>
                <a:cubicBezTo>
                  <a:pt x="108" y="966"/>
                  <a:pt x="108" y="967"/>
                  <a:pt x="108" y="968"/>
                </a:cubicBezTo>
                <a:cubicBezTo>
                  <a:pt x="107" y="969"/>
                  <a:pt x="106" y="970"/>
                  <a:pt x="104" y="970"/>
                </a:cubicBezTo>
                <a:cubicBezTo>
                  <a:pt x="103" y="971"/>
                  <a:pt x="103" y="973"/>
                  <a:pt x="103" y="973"/>
                </a:cubicBezTo>
                <a:cubicBezTo>
                  <a:pt x="104" y="976"/>
                  <a:pt x="106" y="978"/>
                  <a:pt x="107" y="980"/>
                </a:cubicBezTo>
                <a:cubicBezTo>
                  <a:pt x="109" y="981"/>
                  <a:pt x="111" y="981"/>
                  <a:pt x="112" y="979"/>
                </a:cubicBezTo>
                <a:cubicBezTo>
                  <a:pt x="113" y="978"/>
                  <a:pt x="114" y="977"/>
                  <a:pt x="114" y="977"/>
                </a:cubicBezTo>
                <a:cubicBezTo>
                  <a:pt x="116" y="975"/>
                  <a:pt x="117" y="974"/>
                  <a:pt x="119" y="973"/>
                </a:cubicBezTo>
                <a:cubicBezTo>
                  <a:pt x="123" y="969"/>
                  <a:pt x="125" y="963"/>
                  <a:pt x="127" y="957"/>
                </a:cubicBezTo>
                <a:cubicBezTo>
                  <a:pt x="127" y="956"/>
                  <a:pt x="126" y="956"/>
                  <a:pt x="126" y="955"/>
                </a:cubicBezTo>
                <a:cubicBezTo>
                  <a:pt x="125" y="954"/>
                  <a:pt x="124" y="953"/>
                  <a:pt x="123" y="952"/>
                </a:cubicBezTo>
                <a:close/>
                <a:moveTo>
                  <a:pt x="75" y="959"/>
                </a:moveTo>
                <a:cubicBezTo>
                  <a:pt x="75" y="960"/>
                  <a:pt x="73" y="960"/>
                  <a:pt x="72" y="962"/>
                </a:cubicBezTo>
                <a:cubicBezTo>
                  <a:pt x="72" y="962"/>
                  <a:pt x="71" y="963"/>
                  <a:pt x="71" y="964"/>
                </a:cubicBezTo>
                <a:cubicBezTo>
                  <a:pt x="71" y="966"/>
                  <a:pt x="75" y="971"/>
                  <a:pt x="79" y="970"/>
                </a:cubicBezTo>
                <a:cubicBezTo>
                  <a:pt x="80" y="970"/>
                  <a:pt x="81" y="969"/>
                  <a:pt x="80" y="967"/>
                </a:cubicBezTo>
                <a:cubicBezTo>
                  <a:pt x="79" y="964"/>
                  <a:pt x="77" y="962"/>
                  <a:pt x="75" y="959"/>
                </a:cubicBezTo>
                <a:close/>
                <a:moveTo>
                  <a:pt x="128" y="961"/>
                </a:moveTo>
                <a:cubicBezTo>
                  <a:pt x="126" y="966"/>
                  <a:pt x="123" y="970"/>
                  <a:pt x="121" y="974"/>
                </a:cubicBezTo>
                <a:cubicBezTo>
                  <a:pt x="124" y="974"/>
                  <a:pt x="126" y="975"/>
                  <a:pt x="129" y="974"/>
                </a:cubicBezTo>
                <a:cubicBezTo>
                  <a:pt x="129" y="974"/>
                  <a:pt x="130" y="973"/>
                  <a:pt x="130" y="973"/>
                </a:cubicBezTo>
                <a:cubicBezTo>
                  <a:pt x="130" y="970"/>
                  <a:pt x="130" y="967"/>
                  <a:pt x="129" y="965"/>
                </a:cubicBezTo>
                <a:cubicBezTo>
                  <a:pt x="129" y="964"/>
                  <a:pt x="128" y="962"/>
                  <a:pt x="128" y="961"/>
                </a:cubicBezTo>
                <a:close/>
                <a:moveTo>
                  <a:pt x="75" y="941"/>
                </a:moveTo>
                <a:cubicBezTo>
                  <a:pt x="75" y="941"/>
                  <a:pt x="74" y="941"/>
                  <a:pt x="74" y="941"/>
                </a:cubicBezTo>
                <a:cubicBezTo>
                  <a:pt x="73" y="941"/>
                  <a:pt x="72" y="941"/>
                  <a:pt x="72" y="941"/>
                </a:cubicBezTo>
                <a:cubicBezTo>
                  <a:pt x="72" y="941"/>
                  <a:pt x="71" y="940"/>
                  <a:pt x="71" y="939"/>
                </a:cubicBezTo>
                <a:cubicBezTo>
                  <a:pt x="72" y="937"/>
                  <a:pt x="72" y="935"/>
                  <a:pt x="73" y="933"/>
                </a:cubicBezTo>
                <a:cubicBezTo>
                  <a:pt x="73" y="933"/>
                  <a:pt x="73" y="933"/>
                  <a:pt x="72" y="933"/>
                </a:cubicBezTo>
                <a:cubicBezTo>
                  <a:pt x="72" y="934"/>
                  <a:pt x="70" y="935"/>
                  <a:pt x="70" y="936"/>
                </a:cubicBezTo>
                <a:cubicBezTo>
                  <a:pt x="69" y="937"/>
                  <a:pt x="70" y="942"/>
                  <a:pt x="72" y="943"/>
                </a:cubicBezTo>
                <a:cubicBezTo>
                  <a:pt x="74" y="944"/>
                  <a:pt x="75" y="943"/>
                  <a:pt x="75" y="941"/>
                </a:cubicBezTo>
                <a:close/>
                <a:moveTo>
                  <a:pt x="76" y="959"/>
                </a:moveTo>
                <a:cubicBezTo>
                  <a:pt x="75" y="960"/>
                  <a:pt x="73" y="961"/>
                  <a:pt x="72" y="962"/>
                </a:cubicBezTo>
                <a:cubicBezTo>
                  <a:pt x="72" y="962"/>
                  <a:pt x="71" y="963"/>
                  <a:pt x="71" y="964"/>
                </a:cubicBezTo>
                <a:cubicBezTo>
                  <a:pt x="71" y="967"/>
                  <a:pt x="76" y="971"/>
                  <a:pt x="79" y="971"/>
                </a:cubicBezTo>
                <a:cubicBezTo>
                  <a:pt x="80" y="971"/>
                  <a:pt x="81" y="969"/>
                  <a:pt x="80" y="968"/>
                </a:cubicBezTo>
                <a:cubicBezTo>
                  <a:pt x="79" y="965"/>
                  <a:pt x="77" y="962"/>
                  <a:pt x="76" y="959"/>
                </a:cubicBezTo>
                <a:close/>
                <a:moveTo>
                  <a:pt x="128" y="961"/>
                </a:moveTo>
                <a:cubicBezTo>
                  <a:pt x="126" y="966"/>
                  <a:pt x="124" y="970"/>
                  <a:pt x="121" y="974"/>
                </a:cubicBezTo>
                <a:cubicBezTo>
                  <a:pt x="124" y="974"/>
                  <a:pt x="126" y="975"/>
                  <a:pt x="129" y="974"/>
                </a:cubicBezTo>
                <a:cubicBezTo>
                  <a:pt x="129" y="974"/>
                  <a:pt x="129" y="973"/>
                  <a:pt x="129" y="973"/>
                </a:cubicBezTo>
                <a:cubicBezTo>
                  <a:pt x="129" y="970"/>
                  <a:pt x="129" y="968"/>
                  <a:pt x="129" y="965"/>
                </a:cubicBezTo>
                <a:cubicBezTo>
                  <a:pt x="129" y="964"/>
                  <a:pt x="128" y="962"/>
                  <a:pt x="128" y="961"/>
                </a:cubicBezTo>
                <a:close/>
                <a:moveTo>
                  <a:pt x="76" y="941"/>
                </a:moveTo>
                <a:cubicBezTo>
                  <a:pt x="75" y="941"/>
                  <a:pt x="74" y="942"/>
                  <a:pt x="74" y="942"/>
                </a:cubicBezTo>
                <a:cubicBezTo>
                  <a:pt x="73" y="942"/>
                  <a:pt x="72" y="942"/>
                  <a:pt x="72" y="941"/>
                </a:cubicBezTo>
                <a:cubicBezTo>
                  <a:pt x="72" y="941"/>
                  <a:pt x="71" y="940"/>
                  <a:pt x="71" y="939"/>
                </a:cubicBezTo>
                <a:cubicBezTo>
                  <a:pt x="72" y="937"/>
                  <a:pt x="73" y="935"/>
                  <a:pt x="73" y="933"/>
                </a:cubicBezTo>
                <a:cubicBezTo>
                  <a:pt x="73" y="933"/>
                  <a:pt x="73" y="933"/>
                  <a:pt x="73" y="933"/>
                </a:cubicBezTo>
                <a:cubicBezTo>
                  <a:pt x="72" y="934"/>
                  <a:pt x="71" y="935"/>
                  <a:pt x="70" y="936"/>
                </a:cubicBezTo>
                <a:cubicBezTo>
                  <a:pt x="69" y="937"/>
                  <a:pt x="71" y="942"/>
                  <a:pt x="72" y="943"/>
                </a:cubicBezTo>
                <a:cubicBezTo>
                  <a:pt x="74" y="944"/>
                  <a:pt x="76" y="943"/>
                  <a:pt x="76" y="941"/>
                </a:cubicBezTo>
                <a:close/>
                <a:moveTo>
                  <a:pt x="128" y="933"/>
                </a:moveTo>
                <a:cubicBezTo>
                  <a:pt x="131" y="929"/>
                  <a:pt x="131" y="929"/>
                  <a:pt x="135" y="928"/>
                </a:cubicBezTo>
                <a:cubicBezTo>
                  <a:pt x="135" y="930"/>
                  <a:pt x="136" y="931"/>
                  <a:pt x="138" y="931"/>
                </a:cubicBezTo>
                <a:cubicBezTo>
                  <a:pt x="135" y="932"/>
                  <a:pt x="133" y="934"/>
                  <a:pt x="131" y="935"/>
                </a:cubicBezTo>
                <a:cubicBezTo>
                  <a:pt x="130" y="934"/>
                  <a:pt x="130" y="933"/>
                  <a:pt x="129" y="932"/>
                </a:cubicBezTo>
                <a:cubicBezTo>
                  <a:pt x="129" y="932"/>
                  <a:pt x="128" y="932"/>
                  <a:pt x="128" y="933"/>
                </a:cubicBezTo>
                <a:close/>
                <a:moveTo>
                  <a:pt x="134" y="932"/>
                </a:moveTo>
                <a:cubicBezTo>
                  <a:pt x="133" y="932"/>
                  <a:pt x="132" y="931"/>
                  <a:pt x="132" y="931"/>
                </a:cubicBezTo>
                <a:cubicBezTo>
                  <a:pt x="131" y="931"/>
                  <a:pt x="130" y="932"/>
                  <a:pt x="130" y="933"/>
                </a:cubicBezTo>
                <a:cubicBezTo>
                  <a:pt x="130" y="933"/>
                  <a:pt x="131" y="933"/>
                  <a:pt x="131" y="934"/>
                </a:cubicBezTo>
                <a:cubicBezTo>
                  <a:pt x="132" y="933"/>
                  <a:pt x="132" y="933"/>
                  <a:pt x="134" y="932"/>
                </a:cubicBezTo>
                <a:close/>
                <a:moveTo>
                  <a:pt x="115" y="922"/>
                </a:moveTo>
                <a:cubicBezTo>
                  <a:pt x="108" y="921"/>
                  <a:pt x="105" y="924"/>
                  <a:pt x="104" y="932"/>
                </a:cubicBezTo>
                <a:cubicBezTo>
                  <a:pt x="105" y="930"/>
                  <a:pt x="106" y="928"/>
                  <a:pt x="108" y="925"/>
                </a:cubicBezTo>
                <a:cubicBezTo>
                  <a:pt x="108" y="925"/>
                  <a:pt x="108" y="925"/>
                  <a:pt x="108" y="925"/>
                </a:cubicBezTo>
                <a:cubicBezTo>
                  <a:pt x="108" y="926"/>
                  <a:pt x="108" y="927"/>
                  <a:pt x="108" y="928"/>
                </a:cubicBezTo>
                <a:cubicBezTo>
                  <a:pt x="109" y="925"/>
                  <a:pt x="111" y="923"/>
                  <a:pt x="115" y="922"/>
                </a:cubicBezTo>
                <a:close/>
                <a:moveTo>
                  <a:pt x="158" y="924"/>
                </a:moveTo>
                <a:cubicBezTo>
                  <a:pt x="156" y="925"/>
                  <a:pt x="154" y="927"/>
                  <a:pt x="153" y="928"/>
                </a:cubicBezTo>
                <a:cubicBezTo>
                  <a:pt x="155" y="928"/>
                  <a:pt x="157" y="927"/>
                  <a:pt x="158" y="924"/>
                </a:cubicBezTo>
                <a:close/>
                <a:moveTo>
                  <a:pt x="125" y="926"/>
                </a:moveTo>
                <a:cubicBezTo>
                  <a:pt x="126" y="925"/>
                  <a:pt x="127" y="923"/>
                  <a:pt x="128" y="922"/>
                </a:cubicBezTo>
                <a:cubicBezTo>
                  <a:pt x="125" y="923"/>
                  <a:pt x="125" y="924"/>
                  <a:pt x="125" y="926"/>
                </a:cubicBezTo>
                <a:close/>
                <a:moveTo>
                  <a:pt x="135" y="947"/>
                </a:moveTo>
                <a:cubicBezTo>
                  <a:pt x="133" y="948"/>
                  <a:pt x="132" y="949"/>
                  <a:pt x="132" y="949"/>
                </a:cubicBezTo>
                <a:cubicBezTo>
                  <a:pt x="133" y="949"/>
                  <a:pt x="134" y="948"/>
                  <a:pt x="135" y="947"/>
                </a:cubicBezTo>
                <a:close/>
                <a:moveTo>
                  <a:pt x="134" y="932"/>
                </a:moveTo>
                <a:cubicBezTo>
                  <a:pt x="133" y="931"/>
                  <a:pt x="132" y="931"/>
                  <a:pt x="132" y="931"/>
                </a:cubicBezTo>
                <a:cubicBezTo>
                  <a:pt x="131" y="931"/>
                  <a:pt x="130" y="932"/>
                  <a:pt x="130" y="932"/>
                </a:cubicBezTo>
                <a:cubicBezTo>
                  <a:pt x="130" y="933"/>
                  <a:pt x="131" y="933"/>
                  <a:pt x="131" y="933"/>
                </a:cubicBezTo>
                <a:cubicBezTo>
                  <a:pt x="132" y="933"/>
                  <a:pt x="133" y="933"/>
                  <a:pt x="134" y="932"/>
                </a:cubicBezTo>
                <a:close/>
                <a:moveTo>
                  <a:pt x="1764" y="1078"/>
                </a:moveTo>
                <a:cubicBezTo>
                  <a:pt x="1767" y="1059"/>
                  <a:pt x="1767" y="1059"/>
                  <a:pt x="1767" y="1059"/>
                </a:cubicBezTo>
                <a:cubicBezTo>
                  <a:pt x="1758" y="1059"/>
                  <a:pt x="1758" y="1059"/>
                  <a:pt x="1758" y="1059"/>
                </a:cubicBezTo>
                <a:cubicBezTo>
                  <a:pt x="1758" y="1047"/>
                  <a:pt x="1758" y="1047"/>
                  <a:pt x="1758" y="1047"/>
                </a:cubicBezTo>
                <a:cubicBezTo>
                  <a:pt x="1769" y="1047"/>
                  <a:pt x="1769" y="1047"/>
                  <a:pt x="1769" y="1047"/>
                </a:cubicBezTo>
                <a:cubicBezTo>
                  <a:pt x="1770" y="1036"/>
                  <a:pt x="1770" y="1036"/>
                  <a:pt x="1770" y="1036"/>
                </a:cubicBezTo>
                <a:cubicBezTo>
                  <a:pt x="1761" y="1036"/>
                  <a:pt x="1761" y="1036"/>
                  <a:pt x="1761" y="1036"/>
                </a:cubicBezTo>
                <a:cubicBezTo>
                  <a:pt x="1761" y="1024"/>
                  <a:pt x="1761" y="1024"/>
                  <a:pt x="1761" y="1024"/>
                </a:cubicBezTo>
                <a:cubicBezTo>
                  <a:pt x="1772" y="1024"/>
                  <a:pt x="1772" y="1024"/>
                  <a:pt x="1772" y="1024"/>
                </a:cubicBezTo>
                <a:cubicBezTo>
                  <a:pt x="1775" y="1006"/>
                  <a:pt x="1775" y="1006"/>
                  <a:pt x="1775" y="1006"/>
                </a:cubicBezTo>
                <a:cubicBezTo>
                  <a:pt x="1786" y="1006"/>
                  <a:pt x="1786" y="1006"/>
                  <a:pt x="1786" y="1006"/>
                </a:cubicBezTo>
                <a:cubicBezTo>
                  <a:pt x="1783" y="1024"/>
                  <a:pt x="1783" y="1024"/>
                  <a:pt x="1783" y="1024"/>
                </a:cubicBezTo>
                <a:cubicBezTo>
                  <a:pt x="1793" y="1024"/>
                  <a:pt x="1793" y="1024"/>
                  <a:pt x="1793" y="1024"/>
                </a:cubicBezTo>
                <a:cubicBezTo>
                  <a:pt x="1796" y="1006"/>
                  <a:pt x="1796" y="1006"/>
                  <a:pt x="1796" y="1006"/>
                </a:cubicBezTo>
                <a:cubicBezTo>
                  <a:pt x="1807" y="1006"/>
                  <a:pt x="1807" y="1006"/>
                  <a:pt x="1807" y="1006"/>
                </a:cubicBezTo>
                <a:cubicBezTo>
                  <a:pt x="1804" y="1024"/>
                  <a:pt x="1804" y="1024"/>
                  <a:pt x="1804" y="1024"/>
                </a:cubicBezTo>
                <a:cubicBezTo>
                  <a:pt x="1813" y="1024"/>
                  <a:pt x="1813" y="1024"/>
                  <a:pt x="1813" y="1024"/>
                </a:cubicBezTo>
                <a:cubicBezTo>
                  <a:pt x="1813" y="1036"/>
                  <a:pt x="1813" y="1036"/>
                  <a:pt x="1813" y="1036"/>
                </a:cubicBezTo>
                <a:cubicBezTo>
                  <a:pt x="1803" y="1036"/>
                  <a:pt x="1803" y="1036"/>
                  <a:pt x="1803" y="1036"/>
                </a:cubicBezTo>
                <a:cubicBezTo>
                  <a:pt x="1801" y="1047"/>
                  <a:pt x="1801" y="1047"/>
                  <a:pt x="1801" y="1047"/>
                </a:cubicBezTo>
                <a:cubicBezTo>
                  <a:pt x="1810" y="1047"/>
                  <a:pt x="1810" y="1047"/>
                  <a:pt x="1810" y="1047"/>
                </a:cubicBezTo>
                <a:cubicBezTo>
                  <a:pt x="1810" y="1059"/>
                  <a:pt x="1810" y="1059"/>
                  <a:pt x="1810" y="1059"/>
                </a:cubicBezTo>
                <a:cubicBezTo>
                  <a:pt x="1799" y="1059"/>
                  <a:pt x="1799" y="1059"/>
                  <a:pt x="1799" y="1059"/>
                </a:cubicBezTo>
                <a:cubicBezTo>
                  <a:pt x="1796" y="1078"/>
                  <a:pt x="1796" y="1078"/>
                  <a:pt x="1796" y="1078"/>
                </a:cubicBezTo>
                <a:cubicBezTo>
                  <a:pt x="1785" y="1078"/>
                  <a:pt x="1785" y="1078"/>
                  <a:pt x="1785" y="1078"/>
                </a:cubicBezTo>
                <a:cubicBezTo>
                  <a:pt x="1788" y="1059"/>
                  <a:pt x="1788" y="1059"/>
                  <a:pt x="1788" y="1059"/>
                </a:cubicBezTo>
                <a:cubicBezTo>
                  <a:pt x="1778" y="1059"/>
                  <a:pt x="1778" y="1059"/>
                  <a:pt x="1778" y="1059"/>
                </a:cubicBezTo>
                <a:cubicBezTo>
                  <a:pt x="1775" y="1078"/>
                  <a:pt x="1775" y="1078"/>
                  <a:pt x="1775" y="1078"/>
                </a:cubicBezTo>
                <a:cubicBezTo>
                  <a:pt x="1764" y="1078"/>
                  <a:pt x="1764" y="1078"/>
                  <a:pt x="1764" y="1078"/>
                </a:cubicBezTo>
                <a:cubicBezTo>
                  <a:pt x="1764" y="1078"/>
                  <a:pt x="1764" y="1078"/>
                  <a:pt x="1764" y="1078"/>
                </a:cubicBezTo>
                <a:close/>
                <a:moveTo>
                  <a:pt x="1790" y="1047"/>
                </a:moveTo>
                <a:cubicBezTo>
                  <a:pt x="1791" y="1036"/>
                  <a:pt x="1791" y="1036"/>
                  <a:pt x="1791" y="1036"/>
                </a:cubicBezTo>
                <a:cubicBezTo>
                  <a:pt x="1782" y="1036"/>
                  <a:pt x="1782" y="1036"/>
                  <a:pt x="1782" y="1036"/>
                </a:cubicBezTo>
                <a:cubicBezTo>
                  <a:pt x="1780" y="1047"/>
                  <a:pt x="1780" y="1047"/>
                  <a:pt x="1780" y="1047"/>
                </a:cubicBezTo>
                <a:cubicBezTo>
                  <a:pt x="1790" y="1047"/>
                  <a:pt x="1790" y="1047"/>
                  <a:pt x="1790" y="1047"/>
                </a:cubicBezTo>
                <a:cubicBezTo>
                  <a:pt x="1790" y="1047"/>
                  <a:pt x="1790" y="1047"/>
                  <a:pt x="1790" y="1047"/>
                </a:cubicBezTo>
                <a:close/>
                <a:moveTo>
                  <a:pt x="649" y="1052"/>
                </a:moveTo>
                <a:cubicBezTo>
                  <a:pt x="649" y="1053"/>
                  <a:pt x="650" y="1055"/>
                  <a:pt x="650" y="1056"/>
                </a:cubicBezTo>
                <a:cubicBezTo>
                  <a:pt x="651" y="1058"/>
                  <a:pt x="651" y="1060"/>
                  <a:pt x="652" y="1061"/>
                </a:cubicBezTo>
                <a:cubicBezTo>
                  <a:pt x="652" y="1063"/>
                  <a:pt x="652" y="1065"/>
                  <a:pt x="652" y="1066"/>
                </a:cubicBezTo>
                <a:cubicBezTo>
                  <a:pt x="653" y="1069"/>
                  <a:pt x="652" y="1071"/>
                  <a:pt x="648" y="1071"/>
                </a:cubicBezTo>
                <a:cubicBezTo>
                  <a:pt x="646" y="1071"/>
                  <a:pt x="643" y="1070"/>
                  <a:pt x="640" y="1070"/>
                </a:cubicBezTo>
                <a:cubicBezTo>
                  <a:pt x="640" y="1070"/>
                  <a:pt x="639" y="1070"/>
                  <a:pt x="639" y="1071"/>
                </a:cubicBezTo>
                <a:cubicBezTo>
                  <a:pt x="637" y="1072"/>
                  <a:pt x="635" y="1074"/>
                  <a:pt x="634" y="1075"/>
                </a:cubicBezTo>
                <a:cubicBezTo>
                  <a:pt x="632" y="1078"/>
                  <a:pt x="629" y="1078"/>
                  <a:pt x="627" y="1076"/>
                </a:cubicBezTo>
                <a:cubicBezTo>
                  <a:pt x="625" y="1074"/>
                  <a:pt x="624" y="1071"/>
                  <a:pt x="622" y="1068"/>
                </a:cubicBezTo>
                <a:cubicBezTo>
                  <a:pt x="621" y="1067"/>
                  <a:pt x="622" y="1065"/>
                  <a:pt x="624" y="1064"/>
                </a:cubicBezTo>
                <a:cubicBezTo>
                  <a:pt x="621" y="1064"/>
                  <a:pt x="620" y="1064"/>
                  <a:pt x="618" y="1064"/>
                </a:cubicBezTo>
                <a:cubicBezTo>
                  <a:pt x="617" y="1066"/>
                  <a:pt x="616" y="1068"/>
                  <a:pt x="615" y="1070"/>
                </a:cubicBezTo>
                <a:cubicBezTo>
                  <a:pt x="615" y="1070"/>
                  <a:pt x="615" y="1071"/>
                  <a:pt x="615" y="1072"/>
                </a:cubicBezTo>
                <a:cubicBezTo>
                  <a:pt x="615" y="1075"/>
                  <a:pt x="614" y="1076"/>
                  <a:pt x="611" y="1076"/>
                </a:cubicBezTo>
                <a:cubicBezTo>
                  <a:pt x="608" y="1076"/>
                  <a:pt x="605" y="1075"/>
                  <a:pt x="602" y="1074"/>
                </a:cubicBezTo>
                <a:cubicBezTo>
                  <a:pt x="600" y="1073"/>
                  <a:pt x="599" y="1072"/>
                  <a:pt x="600" y="1070"/>
                </a:cubicBezTo>
                <a:cubicBezTo>
                  <a:pt x="600" y="1069"/>
                  <a:pt x="600" y="1068"/>
                  <a:pt x="601" y="1068"/>
                </a:cubicBezTo>
                <a:cubicBezTo>
                  <a:pt x="598" y="1067"/>
                  <a:pt x="596" y="1066"/>
                  <a:pt x="594" y="1065"/>
                </a:cubicBezTo>
                <a:cubicBezTo>
                  <a:pt x="593" y="1064"/>
                  <a:pt x="592" y="1062"/>
                  <a:pt x="591" y="1060"/>
                </a:cubicBezTo>
                <a:cubicBezTo>
                  <a:pt x="590" y="1058"/>
                  <a:pt x="590" y="1057"/>
                  <a:pt x="592" y="1055"/>
                </a:cubicBezTo>
                <a:cubicBezTo>
                  <a:pt x="595" y="1053"/>
                  <a:pt x="596" y="1050"/>
                  <a:pt x="595" y="1046"/>
                </a:cubicBezTo>
                <a:cubicBezTo>
                  <a:pt x="595" y="1044"/>
                  <a:pt x="595" y="1042"/>
                  <a:pt x="595" y="1040"/>
                </a:cubicBezTo>
                <a:cubicBezTo>
                  <a:pt x="594" y="1039"/>
                  <a:pt x="592" y="1039"/>
                  <a:pt x="591" y="1038"/>
                </a:cubicBezTo>
                <a:cubicBezTo>
                  <a:pt x="590" y="1036"/>
                  <a:pt x="589" y="1034"/>
                  <a:pt x="589" y="1032"/>
                </a:cubicBezTo>
                <a:cubicBezTo>
                  <a:pt x="589" y="1029"/>
                  <a:pt x="592" y="1026"/>
                  <a:pt x="595" y="1026"/>
                </a:cubicBezTo>
                <a:cubicBezTo>
                  <a:pt x="595" y="1026"/>
                  <a:pt x="595" y="1027"/>
                  <a:pt x="596" y="1028"/>
                </a:cubicBezTo>
                <a:cubicBezTo>
                  <a:pt x="596" y="1029"/>
                  <a:pt x="596" y="1030"/>
                  <a:pt x="596" y="1031"/>
                </a:cubicBezTo>
                <a:cubicBezTo>
                  <a:pt x="595" y="1031"/>
                  <a:pt x="595" y="1031"/>
                  <a:pt x="595" y="1031"/>
                </a:cubicBezTo>
                <a:cubicBezTo>
                  <a:pt x="594" y="1032"/>
                  <a:pt x="594" y="1033"/>
                  <a:pt x="593" y="1035"/>
                </a:cubicBezTo>
                <a:cubicBezTo>
                  <a:pt x="594" y="1035"/>
                  <a:pt x="595" y="1035"/>
                  <a:pt x="595" y="1034"/>
                </a:cubicBezTo>
                <a:cubicBezTo>
                  <a:pt x="597" y="1033"/>
                  <a:pt x="597" y="1032"/>
                  <a:pt x="598" y="1031"/>
                </a:cubicBezTo>
                <a:cubicBezTo>
                  <a:pt x="603" y="1025"/>
                  <a:pt x="608" y="1021"/>
                  <a:pt x="616" y="1019"/>
                </a:cubicBezTo>
                <a:cubicBezTo>
                  <a:pt x="619" y="1019"/>
                  <a:pt x="623" y="1017"/>
                  <a:pt x="625" y="1015"/>
                </a:cubicBezTo>
                <a:cubicBezTo>
                  <a:pt x="625" y="1014"/>
                  <a:pt x="626" y="1014"/>
                  <a:pt x="626" y="1014"/>
                </a:cubicBezTo>
                <a:cubicBezTo>
                  <a:pt x="629" y="1013"/>
                  <a:pt x="630" y="1011"/>
                  <a:pt x="632" y="1009"/>
                </a:cubicBezTo>
                <a:cubicBezTo>
                  <a:pt x="640" y="1002"/>
                  <a:pt x="652" y="1001"/>
                  <a:pt x="659" y="1008"/>
                </a:cubicBezTo>
                <a:cubicBezTo>
                  <a:pt x="662" y="1010"/>
                  <a:pt x="665" y="1012"/>
                  <a:pt x="667" y="1014"/>
                </a:cubicBezTo>
                <a:cubicBezTo>
                  <a:pt x="668" y="1015"/>
                  <a:pt x="670" y="1017"/>
                  <a:pt x="671" y="1019"/>
                </a:cubicBezTo>
                <a:cubicBezTo>
                  <a:pt x="672" y="1020"/>
                  <a:pt x="672" y="1020"/>
                  <a:pt x="674" y="1019"/>
                </a:cubicBezTo>
                <a:cubicBezTo>
                  <a:pt x="674" y="1019"/>
                  <a:pt x="675" y="1018"/>
                  <a:pt x="676" y="1017"/>
                </a:cubicBezTo>
                <a:cubicBezTo>
                  <a:pt x="678" y="1014"/>
                  <a:pt x="681" y="1014"/>
                  <a:pt x="682" y="1017"/>
                </a:cubicBezTo>
                <a:cubicBezTo>
                  <a:pt x="683" y="1021"/>
                  <a:pt x="684" y="1023"/>
                  <a:pt x="685" y="1026"/>
                </a:cubicBezTo>
                <a:cubicBezTo>
                  <a:pt x="685" y="1031"/>
                  <a:pt x="685" y="1035"/>
                  <a:pt x="683" y="1040"/>
                </a:cubicBezTo>
                <a:cubicBezTo>
                  <a:pt x="681" y="1046"/>
                  <a:pt x="676" y="1049"/>
                  <a:pt x="670" y="1049"/>
                </a:cubicBezTo>
                <a:cubicBezTo>
                  <a:pt x="669" y="1049"/>
                  <a:pt x="668" y="1049"/>
                  <a:pt x="668" y="1049"/>
                </a:cubicBezTo>
                <a:cubicBezTo>
                  <a:pt x="665" y="1049"/>
                  <a:pt x="664" y="1049"/>
                  <a:pt x="663" y="1052"/>
                </a:cubicBezTo>
                <a:cubicBezTo>
                  <a:pt x="662" y="1056"/>
                  <a:pt x="656" y="1058"/>
                  <a:pt x="653" y="1055"/>
                </a:cubicBezTo>
                <a:cubicBezTo>
                  <a:pt x="652" y="1053"/>
                  <a:pt x="651" y="1053"/>
                  <a:pt x="650" y="1051"/>
                </a:cubicBezTo>
                <a:cubicBezTo>
                  <a:pt x="649" y="1052"/>
                  <a:pt x="649" y="1052"/>
                  <a:pt x="649" y="1052"/>
                </a:cubicBezTo>
                <a:close/>
                <a:moveTo>
                  <a:pt x="643" y="1047"/>
                </a:moveTo>
                <a:cubicBezTo>
                  <a:pt x="647" y="1049"/>
                  <a:pt x="650" y="1050"/>
                  <a:pt x="653" y="1053"/>
                </a:cubicBezTo>
                <a:cubicBezTo>
                  <a:pt x="655" y="1055"/>
                  <a:pt x="657" y="1055"/>
                  <a:pt x="659" y="1055"/>
                </a:cubicBezTo>
                <a:cubicBezTo>
                  <a:pt x="661" y="1054"/>
                  <a:pt x="663" y="1052"/>
                  <a:pt x="663" y="1049"/>
                </a:cubicBezTo>
                <a:cubicBezTo>
                  <a:pt x="663" y="1049"/>
                  <a:pt x="662" y="1049"/>
                  <a:pt x="662" y="1049"/>
                </a:cubicBezTo>
                <a:cubicBezTo>
                  <a:pt x="661" y="1051"/>
                  <a:pt x="660" y="1052"/>
                  <a:pt x="659" y="1053"/>
                </a:cubicBezTo>
                <a:cubicBezTo>
                  <a:pt x="658" y="1054"/>
                  <a:pt x="657" y="1054"/>
                  <a:pt x="656" y="1053"/>
                </a:cubicBezTo>
                <a:cubicBezTo>
                  <a:pt x="655" y="1053"/>
                  <a:pt x="655" y="1052"/>
                  <a:pt x="655" y="1051"/>
                </a:cubicBezTo>
                <a:cubicBezTo>
                  <a:pt x="655" y="1049"/>
                  <a:pt x="655" y="1047"/>
                  <a:pt x="656" y="1045"/>
                </a:cubicBezTo>
                <a:cubicBezTo>
                  <a:pt x="659" y="1046"/>
                  <a:pt x="662" y="1047"/>
                  <a:pt x="666" y="1047"/>
                </a:cubicBezTo>
                <a:cubicBezTo>
                  <a:pt x="673" y="1049"/>
                  <a:pt x="679" y="1047"/>
                  <a:pt x="682" y="1038"/>
                </a:cubicBezTo>
                <a:cubicBezTo>
                  <a:pt x="684" y="1034"/>
                  <a:pt x="683" y="1029"/>
                  <a:pt x="683" y="1024"/>
                </a:cubicBezTo>
                <a:cubicBezTo>
                  <a:pt x="682" y="1022"/>
                  <a:pt x="681" y="1020"/>
                  <a:pt x="681" y="1018"/>
                </a:cubicBezTo>
                <a:cubicBezTo>
                  <a:pt x="680" y="1017"/>
                  <a:pt x="679" y="1016"/>
                  <a:pt x="677" y="1018"/>
                </a:cubicBezTo>
                <a:cubicBezTo>
                  <a:pt x="676" y="1019"/>
                  <a:pt x="674" y="1021"/>
                  <a:pt x="672" y="1022"/>
                </a:cubicBezTo>
                <a:cubicBezTo>
                  <a:pt x="672" y="1022"/>
                  <a:pt x="671" y="1023"/>
                  <a:pt x="671" y="1024"/>
                </a:cubicBezTo>
                <a:cubicBezTo>
                  <a:pt x="672" y="1027"/>
                  <a:pt x="671" y="1030"/>
                  <a:pt x="670" y="1034"/>
                </a:cubicBezTo>
                <a:cubicBezTo>
                  <a:pt x="670" y="1032"/>
                  <a:pt x="670" y="1030"/>
                  <a:pt x="670" y="1028"/>
                </a:cubicBezTo>
                <a:cubicBezTo>
                  <a:pt x="670" y="1027"/>
                  <a:pt x="670" y="1027"/>
                  <a:pt x="670" y="1026"/>
                </a:cubicBezTo>
                <a:cubicBezTo>
                  <a:pt x="669" y="1027"/>
                  <a:pt x="668" y="1027"/>
                  <a:pt x="668" y="1027"/>
                </a:cubicBezTo>
                <a:cubicBezTo>
                  <a:pt x="668" y="1028"/>
                  <a:pt x="667" y="1030"/>
                  <a:pt x="666" y="1031"/>
                </a:cubicBezTo>
                <a:cubicBezTo>
                  <a:pt x="666" y="1031"/>
                  <a:pt x="666" y="1031"/>
                  <a:pt x="666" y="1031"/>
                </a:cubicBezTo>
                <a:cubicBezTo>
                  <a:pt x="666" y="1030"/>
                  <a:pt x="666" y="1028"/>
                  <a:pt x="667" y="1026"/>
                </a:cubicBezTo>
                <a:cubicBezTo>
                  <a:pt x="666" y="1026"/>
                  <a:pt x="665" y="1027"/>
                  <a:pt x="665" y="1028"/>
                </a:cubicBezTo>
                <a:cubicBezTo>
                  <a:pt x="664" y="1028"/>
                  <a:pt x="664" y="1029"/>
                  <a:pt x="663" y="1030"/>
                </a:cubicBezTo>
                <a:cubicBezTo>
                  <a:pt x="664" y="1026"/>
                  <a:pt x="664" y="1026"/>
                  <a:pt x="670" y="1025"/>
                </a:cubicBezTo>
                <a:cubicBezTo>
                  <a:pt x="670" y="1025"/>
                  <a:pt x="669" y="1024"/>
                  <a:pt x="669" y="1024"/>
                </a:cubicBezTo>
                <a:cubicBezTo>
                  <a:pt x="666" y="1025"/>
                  <a:pt x="665" y="1023"/>
                  <a:pt x="665" y="1021"/>
                </a:cubicBezTo>
                <a:cubicBezTo>
                  <a:pt x="666" y="1020"/>
                  <a:pt x="668" y="1020"/>
                  <a:pt x="670" y="1019"/>
                </a:cubicBezTo>
                <a:cubicBezTo>
                  <a:pt x="668" y="1017"/>
                  <a:pt x="666" y="1014"/>
                  <a:pt x="663" y="1014"/>
                </a:cubicBezTo>
                <a:cubicBezTo>
                  <a:pt x="663" y="1014"/>
                  <a:pt x="663" y="1013"/>
                  <a:pt x="663" y="1013"/>
                </a:cubicBezTo>
                <a:cubicBezTo>
                  <a:pt x="660" y="1011"/>
                  <a:pt x="658" y="1009"/>
                  <a:pt x="655" y="1007"/>
                </a:cubicBezTo>
                <a:cubicBezTo>
                  <a:pt x="653" y="1006"/>
                  <a:pt x="650" y="1005"/>
                  <a:pt x="648" y="1005"/>
                </a:cubicBezTo>
                <a:cubicBezTo>
                  <a:pt x="645" y="1005"/>
                  <a:pt x="641" y="1006"/>
                  <a:pt x="638" y="1007"/>
                </a:cubicBezTo>
                <a:cubicBezTo>
                  <a:pt x="635" y="1008"/>
                  <a:pt x="633" y="1010"/>
                  <a:pt x="631" y="1013"/>
                </a:cubicBezTo>
                <a:cubicBezTo>
                  <a:pt x="633" y="1013"/>
                  <a:pt x="634" y="1013"/>
                  <a:pt x="635" y="1013"/>
                </a:cubicBezTo>
                <a:cubicBezTo>
                  <a:pt x="635" y="1013"/>
                  <a:pt x="634" y="1014"/>
                  <a:pt x="633" y="1014"/>
                </a:cubicBezTo>
                <a:cubicBezTo>
                  <a:pt x="631" y="1015"/>
                  <a:pt x="628" y="1014"/>
                  <a:pt x="626" y="1016"/>
                </a:cubicBezTo>
                <a:cubicBezTo>
                  <a:pt x="623" y="1020"/>
                  <a:pt x="619" y="1024"/>
                  <a:pt x="615" y="1028"/>
                </a:cubicBezTo>
                <a:cubicBezTo>
                  <a:pt x="614" y="1030"/>
                  <a:pt x="613" y="1032"/>
                  <a:pt x="612" y="1035"/>
                </a:cubicBezTo>
                <a:cubicBezTo>
                  <a:pt x="612" y="1035"/>
                  <a:pt x="612" y="1036"/>
                  <a:pt x="612" y="1036"/>
                </a:cubicBezTo>
                <a:cubicBezTo>
                  <a:pt x="613" y="1038"/>
                  <a:pt x="614" y="1040"/>
                  <a:pt x="616" y="1042"/>
                </a:cubicBezTo>
                <a:cubicBezTo>
                  <a:pt x="617" y="1041"/>
                  <a:pt x="618" y="1039"/>
                  <a:pt x="619" y="1038"/>
                </a:cubicBezTo>
                <a:cubicBezTo>
                  <a:pt x="619" y="1039"/>
                  <a:pt x="619" y="1040"/>
                  <a:pt x="618" y="1042"/>
                </a:cubicBezTo>
                <a:cubicBezTo>
                  <a:pt x="617" y="1043"/>
                  <a:pt x="616" y="1044"/>
                  <a:pt x="616" y="1046"/>
                </a:cubicBezTo>
                <a:cubicBezTo>
                  <a:pt x="615" y="1047"/>
                  <a:pt x="616" y="1048"/>
                  <a:pt x="616" y="1049"/>
                </a:cubicBezTo>
                <a:cubicBezTo>
                  <a:pt x="619" y="1052"/>
                  <a:pt x="622" y="1052"/>
                  <a:pt x="626" y="1050"/>
                </a:cubicBezTo>
                <a:cubicBezTo>
                  <a:pt x="628" y="1049"/>
                  <a:pt x="631" y="1047"/>
                  <a:pt x="634" y="1047"/>
                </a:cubicBezTo>
                <a:cubicBezTo>
                  <a:pt x="635" y="1046"/>
                  <a:pt x="636" y="1045"/>
                  <a:pt x="636" y="1044"/>
                </a:cubicBezTo>
                <a:cubicBezTo>
                  <a:pt x="636" y="1041"/>
                  <a:pt x="636" y="1037"/>
                  <a:pt x="636" y="1034"/>
                </a:cubicBezTo>
                <a:cubicBezTo>
                  <a:pt x="636" y="1031"/>
                  <a:pt x="636" y="1028"/>
                  <a:pt x="636" y="1025"/>
                </a:cubicBezTo>
                <a:cubicBezTo>
                  <a:pt x="637" y="1028"/>
                  <a:pt x="637" y="1030"/>
                  <a:pt x="638" y="1033"/>
                </a:cubicBezTo>
                <a:cubicBezTo>
                  <a:pt x="639" y="1038"/>
                  <a:pt x="639" y="1042"/>
                  <a:pt x="637" y="1046"/>
                </a:cubicBezTo>
                <a:cubicBezTo>
                  <a:pt x="637" y="1047"/>
                  <a:pt x="636" y="1048"/>
                  <a:pt x="636" y="1048"/>
                </a:cubicBezTo>
                <a:cubicBezTo>
                  <a:pt x="632" y="1048"/>
                  <a:pt x="629" y="1050"/>
                  <a:pt x="626" y="1052"/>
                </a:cubicBezTo>
                <a:cubicBezTo>
                  <a:pt x="621" y="1055"/>
                  <a:pt x="617" y="1053"/>
                  <a:pt x="614" y="1049"/>
                </a:cubicBezTo>
                <a:cubicBezTo>
                  <a:pt x="614" y="1049"/>
                  <a:pt x="614" y="1047"/>
                  <a:pt x="614" y="1047"/>
                </a:cubicBezTo>
                <a:cubicBezTo>
                  <a:pt x="615" y="1045"/>
                  <a:pt x="614" y="1043"/>
                  <a:pt x="612" y="1041"/>
                </a:cubicBezTo>
                <a:cubicBezTo>
                  <a:pt x="611" y="1039"/>
                  <a:pt x="609" y="1036"/>
                  <a:pt x="610" y="1034"/>
                </a:cubicBezTo>
                <a:cubicBezTo>
                  <a:pt x="611" y="1032"/>
                  <a:pt x="612" y="1030"/>
                  <a:pt x="613" y="1028"/>
                </a:cubicBezTo>
                <a:cubicBezTo>
                  <a:pt x="615" y="1026"/>
                  <a:pt x="617" y="1023"/>
                  <a:pt x="619" y="1021"/>
                </a:cubicBezTo>
                <a:cubicBezTo>
                  <a:pt x="619" y="1021"/>
                  <a:pt x="618" y="1021"/>
                  <a:pt x="618" y="1021"/>
                </a:cubicBezTo>
                <a:cubicBezTo>
                  <a:pt x="613" y="1022"/>
                  <a:pt x="608" y="1023"/>
                  <a:pt x="605" y="1026"/>
                </a:cubicBezTo>
                <a:cubicBezTo>
                  <a:pt x="600" y="1031"/>
                  <a:pt x="597" y="1036"/>
                  <a:pt x="597" y="1043"/>
                </a:cubicBezTo>
                <a:cubicBezTo>
                  <a:pt x="596" y="1049"/>
                  <a:pt x="599" y="1055"/>
                  <a:pt x="602" y="1061"/>
                </a:cubicBezTo>
                <a:cubicBezTo>
                  <a:pt x="603" y="1062"/>
                  <a:pt x="603" y="1064"/>
                  <a:pt x="603" y="1065"/>
                </a:cubicBezTo>
                <a:cubicBezTo>
                  <a:pt x="603" y="1066"/>
                  <a:pt x="603" y="1068"/>
                  <a:pt x="602" y="1069"/>
                </a:cubicBezTo>
                <a:cubicBezTo>
                  <a:pt x="601" y="1071"/>
                  <a:pt x="602" y="1072"/>
                  <a:pt x="603" y="1072"/>
                </a:cubicBezTo>
                <a:cubicBezTo>
                  <a:pt x="606" y="1073"/>
                  <a:pt x="609" y="1074"/>
                  <a:pt x="612" y="1074"/>
                </a:cubicBezTo>
                <a:cubicBezTo>
                  <a:pt x="612" y="1074"/>
                  <a:pt x="613" y="1073"/>
                  <a:pt x="613" y="1073"/>
                </a:cubicBezTo>
                <a:cubicBezTo>
                  <a:pt x="614" y="1072"/>
                  <a:pt x="614" y="1070"/>
                  <a:pt x="614" y="1069"/>
                </a:cubicBezTo>
                <a:cubicBezTo>
                  <a:pt x="616" y="1067"/>
                  <a:pt x="616" y="1064"/>
                  <a:pt x="616" y="1061"/>
                </a:cubicBezTo>
                <a:cubicBezTo>
                  <a:pt x="616" y="1061"/>
                  <a:pt x="616" y="1061"/>
                  <a:pt x="616" y="1060"/>
                </a:cubicBezTo>
                <a:cubicBezTo>
                  <a:pt x="616" y="1060"/>
                  <a:pt x="616" y="1060"/>
                  <a:pt x="616" y="1059"/>
                </a:cubicBezTo>
                <a:cubicBezTo>
                  <a:pt x="617" y="1062"/>
                  <a:pt x="618" y="1062"/>
                  <a:pt x="620" y="1062"/>
                </a:cubicBezTo>
                <a:cubicBezTo>
                  <a:pt x="621" y="1062"/>
                  <a:pt x="622" y="1062"/>
                  <a:pt x="623" y="1062"/>
                </a:cubicBezTo>
                <a:cubicBezTo>
                  <a:pt x="625" y="1062"/>
                  <a:pt x="628" y="1063"/>
                  <a:pt x="629" y="1059"/>
                </a:cubicBezTo>
                <a:cubicBezTo>
                  <a:pt x="629" y="1061"/>
                  <a:pt x="629" y="1063"/>
                  <a:pt x="629" y="1063"/>
                </a:cubicBezTo>
                <a:cubicBezTo>
                  <a:pt x="628" y="1064"/>
                  <a:pt x="626" y="1065"/>
                  <a:pt x="625" y="1065"/>
                </a:cubicBezTo>
                <a:cubicBezTo>
                  <a:pt x="624" y="1066"/>
                  <a:pt x="623" y="1068"/>
                  <a:pt x="624" y="1068"/>
                </a:cubicBezTo>
                <a:cubicBezTo>
                  <a:pt x="625" y="1071"/>
                  <a:pt x="626" y="1073"/>
                  <a:pt x="628" y="1075"/>
                </a:cubicBezTo>
                <a:cubicBezTo>
                  <a:pt x="630" y="1076"/>
                  <a:pt x="632" y="1076"/>
                  <a:pt x="633" y="1074"/>
                </a:cubicBezTo>
                <a:cubicBezTo>
                  <a:pt x="634" y="1073"/>
                  <a:pt x="634" y="1072"/>
                  <a:pt x="635" y="1072"/>
                </a:cubicBezTo>
                <a:cubicBezTo>
                  <a:pt x="637" y="1070"/>
                  <a:pt x="638" y="1069"/>
                  <a:pt x="640" y="1068"/>
                </a:cubicBezTo>
                <a:cubicBezTo>
                  <a:pt x="644" y="1064"/>
                  <a:pt x="646" y="1058"/>
                  <a:pt x="648" y="1052"/>
                </a:cubicBezTo>
                <a:cubicBezTo>
                  <a:pt x="648" y="1051"/>
                  <a:pt x="647" y="1051"/>
                  <a:pt x="646" y="1050"/>
                </a:cubicBezTo>
                <a:cubicBezTo>
                  <a:pt x="646" y="1049"/>
                  <a:pt x="645" y="1048"/>
                  <a:pt x="643" y="1047"/>
                </a:cubicBezTo>
                <a:close/>
                <a:moveTo>
                  <a:pt x="596" y="1054"/>
                </a:moveTo>
                <a:cubicBezTo>
                  <a:pt x="595" y="1055"/>
                  <a:pt x="594" y="1055"/>
                  <a:pt x="593" y="1057"/>
                </a:cubicBezTo>
                <a:cubicBezTo>
                  <a:pt x="592" y="1057"/>
                  <a:pt x="592" y="1058"/>
                  <a:pt x="592" y="1059"/>
                </a:cubicBezTo>
                <a:cubicBezTo>
                  <a:pt x="592" y="1061"/>
                  <a:pt x="596" y="1066"/>
                  <a:pt x="599" y="1065"/>
                </a:cubicBezTo>
                <a:cubicBezTo>
                  <a:pt x="601" y="1065"/>
                  <a:pt x="602" y="1064"/>
                  <a:pt x="601" y="1063"/>
                </a:cubicBezTo>
                <a:cubicBezTo>
                  <a:pt x="599" y="1059"/>
                  <a:pt x="598" y="1057"/>
                  <a:pt x="596" y="1054"/>
                </a:cubicBezTo>
                <a:close/>
                <a:moveTo>
                  <a:pt x="649" y="1056"/>
                </a:moveTo>
                <a:cubicBezTo>
                  <a:pt x="646" y="1061"/>
                  <a:pt x="644" y="1065"/>
                  <a:pt x="642" y="1069"/>
                </a:cubicBezTo>
                <a:cubicBezTo>
                  <a:pt x="645" y="1069"/>
                  <a:pt x="647" y="1070"/>
                  <a:pt x="650" y="1069"/>
                </a:cubicBezTo>
                <a:cubicBezTo>
                  <a:pt x="650" y="1069"/>
                  <a:pt x="650" y="1068"/>
                  <a:pt x="650" y="1068"/>
                </a:cubicBezTo>
                <a:cubicBezTo>
                  <a:pt x="650" y="1065"/>
                  <a:pt x="650" y="1063"/>
                  <a:pt x="650" y="1060"/>
                </a:cubicBezTo>
                <a:cubicBezTo>
                  <a:pt x="650" y="1059"/>
                  <a:pt x="649" y="1057"/>
                  <a:pt x="649" y="1056"/>
                </a:cubicBezTo>
                <a:close/>
                <a:moveTo>
                  <a:pt x="596" y="1036"/>
                </a:moveTo>
                <a:cubicBezTo>
                  <a:pt x="595" y="1036"/>
                  <a:pt x="595" y="1036"/>
                  <a:pt x="594" y="1036"/>
                </a:cubicBezTo>
                <a:cubicBezTo>
                  <a:pt x="594" y="1036"/>
                  <a:pt x="593" y="1036"/>
                  <a:pt x="593" y="1036"/>
                </a:cubicBezTo>
                <a:cubicBezTo>
                  <a:pt x="592" y="1036"/>
                  <a:pt x="592" y="1035"/>
                  <a:pt x="592" y="1034"/>
                </a:cubicBezTo>
                <a:cubicBezTo>
                  <a:pt x="593" y="1032"/>
                  <a:pt x="593" y="1030"/>
                  <a:pt x="594" y="1028"/>
                </a:cubicBezTo>
                <a:cubicBezTo>
                  <a:pt x="594" y="1028"/>
                  <a:pt x="594" y="1028"/>
                  <a:pt x="593" y="1028"/>
                </a:cubicBezTo>
                <a:cubicBezTo>
                  <a:pt x="592" y="1029"/>
                  <a:pt x="591" y="1030"/>
                  <a:pt x="590" y="1031"/>
                </a:cubicBezTo>
                <a:cubicBezTo>
                  <a:pt x="590" y="1032"/>
                  <a:pt x="591" y="1037"/>
                  <a:pt x="593" y="1038"/>
                </a:cubicBezTo>
                <a:cubicBezTo>
                  <a:pt x="594" y="1039"/>
                  <a:pt x="596" y="1038"/>
                  <a:pt x="596" y="1036"/>
                </a:cubicBezTo>
                <a:close/>
                <a:moveTo>
                  <a:pt x="596" y="1054"/>
                </a:moveTo>
                <a:cubicBezTo>
                  <a:pt x="595" y="1055"/>
                  <a:pt x="594" y="1056"/>
                  <a:pt x="592" y="1057"/>
                </a:cubicBezTo>
                <a:cubicBezTo>
                  <a:pt x="592" y="1057"/>
                  <a:pt x="592" y="1058"/>
                  <a:pt x="592" y="1059"/>
                </a:cubicBezTo>
                <a:cubicBezTo>
                  <a:pt x="592" y="1062"/>
                  <a:pt x="596" y="1066"/>
                  <a:pt x="599" y="1066"/>
                </a:cubicBezTo>
                <a:cubicBezTo>
                  <a:pt x="601" y="1066"/>
                  <a:pt x="602" y="1064"/>
                  <a:pt x="601" y="1063"/>
                </a:cubicBezTo>
                <a:cubicBezTo>
                  <a:pt x="599" y="1060"/>
                  <a:pt x="598" y="1057"/>
                  <a:pt x="596" y="1054"/>
                </a:cubicBezTo>
                <a:close/>
                <a:moveTo>
                  <a:pt x="649" y="1056"/>
                </a:moveTo>
                <a:cubicBezTo>
                  <a:pt x="646" y="1061"/>
                  <a:pt x="644" y="1065"/>
                  <a:pt x="642" y="1069"/>
                </a:cubicBezTo>
                <a:cubicBezTo>
                  <a:pt x="644" y="1069"/>
                  <a:pt x="647" y="1070"/>
                  <a:pt x="649" y="1069"/>
                </a:cubicBezTo>
                <a:cubicBezTo>
                  <a:pt x="650" y="1069"/>
                  <a:pt x="650" y="1068"/>
                  <a:pt x="650" y="1068"/>
                </a:cubicBezTo>
                <a:cubicBezTo>
                  <a:pt x="650" y="1065"/>
                  <a:pt x="650" y="1063"/>
                  <a:pt x="650" y="1060"/>
                </a:cubicBezTo>
                <a:cubicBezTo>
                  <a:pt x="649" y="1059"/>
                  <a:pt x="649" y="1057"/>
                  <a:pt x="649" y="1056"/>
                </a:cubicBezTo>
                <a:close/>
                <a:moveTo>
                  <a:pt x="596" y="1036"/>
                </a:moveTo>
                <a:cubicBezTo>
                  <a:pt x="595" y="1036"/>
                  <a:pt x="595" y="1037"/>
                  <a:pt x="594" y="1037"/>
                </a:cubicBezTo>
                <a:cubicBezTo>
                  <a:pt x="593" y="1037"/>
                  <a:pt x="593" y="1037"/>
                  <a:pt x="593" y="1036"/>
                </a:cubicBezTo>
                <a:cubicBezTo>
                  <a:pt x="592" y="1036"/>
                  <a:pt x="592" y="1035"/>
                  <a:pt x="592" y="1034"/>
                </a:cubicBezTo>
                <a:cubicBezTo>
                  <a:pt x="593" y="1032"/>
                  <a:pt x="593" y="1030"/>
                  <a:pt x="594" y="1028"/>
                </a:cubicBezTo>
                <a:cubicBezTo>
                  <a:pt x="593" y="1028"/>
                  <a:pt x="593" y="1028"/>
                  <a:pt x="593" y="1028"/>
                </a:cubicBezTo>
                <a:cubicBezTo>
                  <a:pt x="592" y="1029"/>
                  <a:pt x="591" y="1030"/>
                  <a:pt x="591" y="1031"/>
                </a:cubicBezTo>
                <a:cubicBezTo>
                  <a:pt x="590" y="1032"/>
                  <a:pt x="591" y="1037"/>
                  <a:pt x="593" y="1038"/>
                </a:cubicBezTo>
                <a:cubicBezTo>
                  <a:pt x="594" y="1039"/>
                  <a:pt x="596" y="1038"/>
                  <a:pt x="596" y="1036"/>
                </a:cubicBezTo>
                <a:close/>
                <a:moveTo>
                  <a:pt x="648" y="1028"/>
                </a:moveTo>
                <a:cubicBezTo>
                  <a:pt x="652" y="1024"/>
                  <a:pt x="652" y="1024"/>
                  <a:pt x="656" y="1023"/>
                </a:cubicBezTo>
                <a:cubicBezTo>
                  <a:pt x="656" y="1025"/>
                  <a:pt x="657" y="1026"/>
                  <a:pt x="658" y="1026"/>
                </a:cubicBezTo>
                <a:cubicBezTo>
                  <a:pt x="656" y="1027"/>
                  <a:pt x="654" y="1029"/>
                  <a:pt x="652" y="1030"/>
                </a:cubicBezTo>
                <a:cubicBezTo>
                  <a:pt x="651" y="1029"/>
                  <a:pt x="651" y="1028"/>
                  <a:pt x="650" y="1027"/>
                </a:cubicBezTo>
                <a:cubicBezTo>
                  <a:pt x="650" y="1027"/>
                  <a:pt x="649" y="1027"/>
                  <a:pt x="648" y="1028"/>
                </a:cubicBezTo>
                <a:close/>
                <a:moveTo>
                  <a:pt x="654" y="1027"/>
                </a:moveTo>
                <a:cubicBezTo>
                  <a:pt x="654" y="1027"/>
                  <a:pt x="653" y="1026"/>
                  <a:pt x="652" y="1026"/>
                </a:cubicBezTo>
                <a:cubicBezTo>
                  <a:pt x="652" y="1026"/>
                  <a:pt x="651" y="1027"/>
                  <a:pt x="651" y="1028"/>
                </a:cubicBezTo>
                <a:cubicBezTo>
                  <a:pt x="651" y="1028"/>
                  <a:pt x="652" y="1028"/>
                  <a:pt x="652" y="1029"/>
                </a:cubicBezTo>
                <a:cubicBezTo>
                  <a:pt x="653" y="1028"/>
                  <a:pt x="653" y="1028"/>
                  <a:pt x="654" y="1027"/>
                </a:cubicBezTo>
                <a:close/>
                <a:moveTo>
                  <a:pt x="635" y="1018"/>
                </a:moveTo>
                <a:cubicBezTo>
                  <a:pt x="629" y="1017"/>
                  <a:pt x="626" y="1019"/>
                  <a:pt x="625" y="1027"/>
                </a:cubicBezTo>
                <a:cubicBezTo>
                  <a:pt x="626" y="1025"/>
                  <a:pt x="627" y="1023"/>
                  <a:pt x="628" y="1020"/>
                </a:cubicBezTo>
                <a:cubicBezTo>
                  <a:pt x="629" y="1020"/>
                  <a:pt x="629" y="1020"/>
                  <a:pt x="629" y="1020"/>
                </a:cubicBezTo>
                <a:cubicBezTo>
                  <a:pt x="629" y="1022"/>
                  <a:pt x="629" y="1022"/>
                  <a:pt x="629" y="1023"/>
                </a:cubicBezTo>
                <a:cubicBezTo>
                  <a:pt x="630" y="1020"/>
                  <a:pt x="632" y="1018"/>
                  <a:pt x="635" y="1018"/>
                </a:cubicBezTo>
                <a:close/>
                <a:moveTo>
                  <a:pt x="679" y="1019"/>
                </a:moveTo>
                <a:cubicBezTo>
                  <a:pt x="677" y="1020"/>
                  <a:pt x="675" y="1022"/>
                  <a:pt x="674" y="1023"/>
                </a:cubicBezTo>
                <a:cubicBezTo>
                  <a:pt x="676" y="1024"/>
                  <a:pt x="678" y="1022"/>
                  <a:pt x="679" y="1019"/>
                </a:cubicBezTo>
                <a:close/>
                <a:moveTo>
                  <a:pt x="646" y="1021"/>
                </a:moveTo>
                <a:cubicBezTo>
                  <a:pt x="647" y="1020"/>
                  <a:pt x="648" y="1019"/>
                  <a:pt x="649" y="1017"/>
                </a:cubicBezTo>
                <a:cubicBezTo>
                  <a:pt x="646" y="1019"/>
                  <a:pt x="645" y="1019"/>
                  <a:pt x="646" y="1021"/>
                </a:cubicBezTo>
                <a:close/>
                <a:moveTo>
                  <a:pt x="656" y="1042"/>
                </a:moveTo>
                <a:cubicBezTo>
                  <a:pt x="654" y="1043"/>
                  <a:pt x="653" y="1044"/>
                  <a:pt x="653" y="1044"/>
                </a:cubicBezTo>
                <a:cubicBezTo>
                  <a:pt x="654" y="1044"/>
                  <a:pt x="655" y="1043"/>
                  <a:pt x="656" y="1042"/>
                </a:cubicBezTo>
                <a:close/>
                <a:moveTo>
                  <a:pt x="655" y="1027"/>
                </a:moveTo>
                <a:cubicBezTo>
                  <a:pt x="654" y="1027"/>
                  <a:pt x="653" y="1026"/>
                  <a:pt x="652" y="1026"/>
                </a:cubicBezTo>
                <a:cubicBezTo>
                  <a:pt x="652" y="1026"/>
                  <a:pt x="651" y="1027"/>
                  <a:pt x="651" y="1027"/>
                </a:cubicBezTo>
                <a:cubicBezTo>
                  <a:pt x="651" y="1028"/>
                  <a:pt x="652" y="1028"/>
                  <a:pt x="652" y="1029"/>
                </a:cubicBezTo>
                <a:cubicBezTo>
                  <a:pt x="653" y="1028"/>
                  <a:pt x="653" y="1028"/>
                  <a:pt x="655" y="1027"/>
                </a:cubicBezTo>
                <a:close/>
                <a:moveTo>
                  <a:pt x="1308" y="1005"/>
                </a:moveTo>
                <a:cubicBezTo>
                  <a:pt x="1308" y="1005"/>
                  <a:pt x="1308" y="1005"/>
                  <a:pt x="1308" y="1005"/>
                </a:cubicBezTo>
                <a:cubicBezTo>
                  <a:pt x="1303" y="1005"/>
                  <a:pt x="1303" y="1005"/>
                  <a:pt x="1303" y="1005"/>
                </a:cubicBezTo>
                <a:cubicBezTo>
                  <a:pt x="1301" y="1006"/>
                  <a:pt x="1300" y="1007"/>
                  <a:pt x="1297" y="1008"/>
                </a:cubicBezTo>
                <a:cubicBezTo>
                  <a:pt x="1296" y="1010"/>
                  <a:pt x="1295" y="1010"/>
                  <a:pt x="1292" y="1011"/>
                </a:cubicBezTo>
                <a:cubicBezTo>
                  <a:pt x="1291" y="1013"/>
                  <a:pt x="1289" y="1013"/>
                  <a:pt x="1287" y="1014"/>
                </a:cubicBezTo>
                <a:cubicBezTo>
                  <a:pt x="1285" y="1015"/>
                  <a:pt x="1284" y="1015"/>
                  <a:pt x="1281" y="1015"/>
                </a:cubicBezTo>
                <a:cubicBezTo>
                  <a:pt x="1281" y="1015"/>
                  <a:pt x="1281" y="1015"/>
                  <a:pt x="1281" y="1026"/>
                </a:cubicBezTo>
                <a:cubicBezTo>
                  <a:pt x="1284" y="1025"/>
                  <a:pt x="1287" y="1024"/>
                  <a:pt x="1290" y="1023"/>
                </a:cubicBezTo>
                <a:cubicBezTo>
                  <a:pt x="1292" y="1022"/>
                  <a:pt x="1295" y="1021"/>
                  <a:pt x="1297" y="1019"/>
                </a:cubicBezTo>
                <a:cubicBezTo>
                  <a:pt x="1297" y="1019"/>
                  <a:pt x="1297" y="1019"/>
                  <a:pt x="1297" y="1078"/>
                </a:cubicBezTo>
                <a:cubicBezTo>
                  <a:pt x="1297" y="1078"/>
                  <a:pt x="1297" y="1078"/>
                  <a:pt x="1308" y="1078"/>
                </a:cubicBezTo>
                <a:cubicBezTo>
                  <a:pt x="1308" y="1078"/>
                  <a:pt x="1308" y="1078"/>
                  <a:pt x="1308" y="1005"/>
                </a:cubicBezTo>
                <a:close/>
                <a:moveTo>
                  <a:pt x="1356" y="1005"/>
                </a:moveTo>
                <a:cubicBezTo>
                  <a:pt x="1356" y="1005"/>
                  <a:pt x="1356" y="1005"/>
                  <a:pt x="1356" y="1005"/>
                </a:cubicBezTo>
                <a:cubicBezTo>
                  <a:pt x="1351" y="1005"/>
                  <a:pt x="1351" y="1005"/>
                  <a:pt x="1351" y="1005"/>
                </a:cubicBezTo>
                <a:cubicBezTo>
                  <a:pt x="1349" y="1006"/>
                  <a:pt x="1347" y="1007"/>
                  <a:pt x="1345" y="1008"/>
                </a:cubicBezTo>
                <a:cubicBezTo>
                  <a:pt x="1344" y="1010"/>
                  <a:pt x="1341" y="1010"/>
                  <a:pt x="1340" y="1011"/>
                </a:cubicBezTo>
                <a:cubicBezTo>
                  <a:pt x="1338" y="1013"/>
                  <a:pt x="1336" y="1013"/>
                  <a:pt x="1335" y="1014"/>
                </a:cubicBezTo>
                <a:cubicBezTo>
                  <a:pt x="1333" y="1015"/>
                  <a:pt x="1331" y="1015"/>
                  <a:pt x="1329" y="1015"/>
                </a:cubicBezTo>
                <a:cubicBezTo>
                  <a:pt x="1329" y="1015"/>
                  <a:pt x="1329" y="1015"/>
                  <a:pt x="1329" y="1026"/>
                </a:cubicBezTo>
                <a:cubicBezTo>
                  <a:pt x="1332" y="1025"/>
                  <a:pt x="1335" y="1024"/>
                  <a:pt x="1337" y="1023"/>
                </a:cubicBezTo>
                <a:cubicBezTo>
                  <a:pt x="1340" y="1022"/>
                  <a:pt x="1342" y="1021"/>
                  <a:pt x="1344" y="1019"/>
                </a:cubicBezTo>
                <a:cubicBezTo>
                  <a:pt x="1344" y="1019"/>
                  <a:pt x="1344" y="1019"/>
                  <a:pt x="1344" y="1078"/>
                </a:cubicBezTo>
                <a:cubicBezTo>
                  <a:pt x="1344" y="1078"/>
                  <a:pt x="1344" y="1078"/>
                  <a:pt x="1356" y="1078"/>
                </a:cubicBezTo>
                <a:cubicBezTo>
                  <a:pt x="1356" y="1078"/>
                  <a:pt x="1356" y="1078"/>
                  <a:pt x="1356" y="1005"/>
                </a:cubicBezTo>
                <a:close/>
                <a:moveTo>
                  <a:pt x="1402" y="1005"/>
                </a:moveTo>
                <a:cubicBezTo>
                  <a:pt x="1402" y="1005"/>
                  <a:pt x="1402" y="1005"/>
                  <a:pt x="1402" y="1005"/>
                </a:cubicBezTo>
                <a:cubicBezTo>
                  <a:pt x="1398" y="1005"/>
                  <a:pt x="1398" y="1005"/>
                  <a:pt x="1398" y="1005"/>
                </a:cubicBezTo>
                <a:cubicBezTo>
                  <a:pt x="1396" y="1006"/>
                  <a:pt x="1394" y="1007"/>
                  <a:pt x="1392" y="1008"/>
                </a:cubicBezTo>
                <a:cubicBezTo>
                  <a:pt x="1391" y="1010"/>
                  <a:pt x="1389" y="1010"/>
                  <a:pt x="1387" y="1011"/>
                </a:cubicBezTo>
                <a:cubicBezTo>
                  <a:pt x="1385" y="1012"/>
                  <a:pt x="1384" y="1013"/>
                  <a:pt x="1382" y="1013"/>
                </a:cubicBezTo>
                <a:cubicBezTo>
                  <a:pt x="1380" y="1014"/>
                  <a:pt x="1378" y="1015"/>
                  <a:pt x="1376" y="1015"/>
                </a:cubicBezTo>
                <a:cubicBezTo>
                  <a:pt x="1376" y="1015"/>
                  <a:pt x="1376" y="1015"/>
                  <a:pt x="1376" y="1026"/>
                </a:cubicBezTo>
                <a:cubicBezTo>
                  <a:pt x="1379" y="1025"/>
                  <a:pt x="1382" y="1023"/>
                  <a:pt x="1384" y="1023"/>
                </a:cubicBezTo>
                <a:cubicBezTo>
                  <a:pt x="1387" y="1022"/>
                  <a:pt x="1389" y="1021"/>
                  <a:pt x="1391" y="1019"/>
                </a:cubicBezTo>
                <a:cubicBezTo>
                  <a:pt x="1391" y="1019"/>
                  <a:pt x="1391" y="1019"/>
                  <a:pt x="1391" y="1078"/>
                </a:cubicBezTo>
                <a:cubicBezTo>
                  <a:pt x="1391" y="1078"/>
                  <a:pt x="1391" y="1078"/>
                  <a:pt x="1402" y="1078"/>
                </a:cubicBezTo>
                <a:cubicBezTo>
                  <a:pt x="1402" y="1078"/>
                  <a:pt x="1402" y="1078"/>
                  <a:pt x="1402" y="1005"/>
                </a:cubicBezTo>
                <a:close/>
                <a:moveTo>
                  <a:pt x="1613" y="909"/>
                </a:moveTo>
                <a:cubicBezTo>
                  <a:pt x="1613" y="909"/>
                  <a:pt x="1613" y="909"/>
                  <a:pt x="1613" y="909"/>
                </a:cubicBezTo>
                <a:cubicBezTo>
                  <a:pt x="1608" y="909"/>
                  <a:pt x="1608" y="909"/>
                  <a:pt x="1608" y="909"/>
                </a:cubicBezTo>
                <a:cubicBezTo>
                  <a:pt x="1606" y="911"/>
                  <a:pt x="1604" y="912"/>
                  <a:pt x="1602" y="913"/>
                </a:cubicBezTo>
                <a:cubicBezTo>
                  <a:pt x="1601" y="915"/>
                  <a:pt x="1599" y="915"/>
                  <a:pt x="1597" y="916"/>
                </a:cubicBezTo>
                <a:cubicBezTo>
                  <a:pt x="1595" y="917"/>
                  <a:pt x="1594" y="917"/>
                  <a:pt x="1592" y="918"/>
                </a:cubicBezTo>
                <a:cubicBezTo>
                  <a:pt x="1590" y="919"/>
                  <a:pt x="1588" y="920"/>
                  <a:pt x="1586" y="920"/>
                </a:cubicBezTo>
                <a:cubicBezTo>
                  <a:pt x="1586" y="920"/>
                  <a:pt x="1586" y="920"/>
                  <a:pt x="1586" y="931"/>
                </a:cubicBezTo>
                <a:cubicBezTo>
                  <a:pt x="1589" y="930"/>
                  <a:pt x="1592" y="928"/>
                  <a:pt x="1594" y="928"/>
                </a:cubicBezTo>
                <a:cubicBezTo>
                  <a:pt x="1597" y="927"/>
                  <a:pt x="1599" y="925"/>
                  <a:pt x="1602" y="924"/>
                </a:cubicBezTo>
                <a:cubicBezTo>
                  <a:pt x="1602" y="924"/>
                  <a:pt x="1602" y="924"/>
                  <a:pt x="1602" y="983"/>
                </a:cubicBezTo>
                <a:cubicBezTo>
                  <a:pt x="1602" y="983"/>
                  <a:pt x="1602" y="983"/>
                  <a:pt x="1613" y="983"/>
                </a:cubicBezTo>
                <a:cubicBezTo>
                  <a:pt x="1613" y="983"/>
                  <a:pt x="1613" y="983"/>
                  <a:pt x="1613" y="909"/>
                </a:cubicBezTo>
                <a:close/>
                <a:moveTo>
                  <a:pt x="1660" y="909"/>
                </a:moveTo>
                <a:cubicBezTo>
                  <a:pt x="1660" y="909"/>
                  <a:pt x="1660" y="909"/>
                  <a:pt x="1660" y="909"/>
                </a:cubicBezTo>
                <a:cubicBezTo>
                  <a:pt x="1655" y="909"/>
                  <a:pt x="1655" y="909"/>
                  <a:pt x="1655" y="909"/>
                </a:cubicBezTo>
                <a:cubicBezTo>
                  <a:pt x="1652" y="911"/>
                  <a:pt x="1651" y="912"/>
                  <a:pt x="1649" y="913"/>
                </a:cubicBezTo>
                <a:cubicBezTo>
                  <a:pt x="1647" y="915"/>
                  <a:pt x="1645" y="915"/>
                  <a:pt x="1644" y="916"/>
                </a:cubicBezTo>
                <a:cubicBezTo>
                  <a:pt x="1642" y="917"/>
                  <a:pt x="1640" y="918"/>
                  <a:pt x="1639" y="919"/>
                </a:cubicBezTo>
                <a:cubicBezTo>
                  <a:pt x="1636" y="920"/>
                  <a:pt x="1635" y="920"/>
                  <a:pt x="1633" y="920"/>
                </a:cubicBezTo>
                <a:cubicBezTo>
                  <a:pt x="1633" y="920"/>
                  <a:pt x="1633" y="920"/>
                  <a:pt x="1633" y="931"/>
                </a:cubicBezTo>
                <a:cubicBezTo>
                  <a:pt x="1636" y="930"/>
                  <a:pt x="1639" y="929"/>
                  <a:pt x="1641" y="928"/>
                </a:cubicBezTo>
                <a:cubicBezTo>
                  <a:pt x="1644" y="927"/>
                  <a:pt x="1646" y="925"/>
                  <a:pt x="1648" y="924"/>
                </a:cubicBezTo>
                <a:cubicBezTo>
                  <a:pt x="1648" y="924"/>
                  <a:pt x="1648" y="924"/>
                  <a:pt x="1648" y="983"/>
                </a:cubicBezTo>
                <a:cubicBezTo>
                  <a:pt x="1648" y="983"/>
                  <a:pt x="1648" y="983"/>
                  <a:pt x="1660" y="983"/>
                </a:cubicBezTo>
                <a:cubicBezTo>
                  <a:pt x="1660" y="983"/>
                  <a:pt x="1660" y="983"/>
                  <a:pt x="1660" y="909"/>
                </a:cubicBezTo>
                <a:close/>
                <a:moveTo>
                  <a:pt x="1705" y="909"/>
                </a:moveTo>
                <a:cubicBezTo>
                  <a:pt x="1705" y="909"/>
                  <a:pt x="1705" y="909"/>
                  <a:pt x="1705" y="909"/>
                </a:cubicBezTo>
                <a:cubicBezTo>
                  <a:pt x="1701" y="909"/>
                  <a:pt x="1701" y="909"/>
                  <a:pt x="1701" y="909"/>
                </a:cubicBezTo>
                <a:cubicBezTo>
                  <a:pt x="1699" y="911"/>
                  <a:pt x="1697" y="912"/>
                  <a:pt x="1695" y="913"/>
                </a:cubicBezTo>
                <a:cubicBezTo>
                  <a:pt x="1694" y="915"/>
                  <a:pt x="1692" y="915"/>
                  <a:pt x="1690" y="916"/>
                </a:cubicBezTo>
                <a:cubicBezTo>
                  <a:pt x="1688" y="917"/>
                  <a:pt x="1687" y="918"/>
                  <a:pt x="1684" y="919"/>
                </a:cubicBezTo>
                <a:cubicBezTo>
                  <a:pt x="1683" y="920"/>
                  <a:pt x="1681" y="920"/>
                  <a:pt x="1679" y="920"/>
                </a:cubicBezTo>
                <a:cubicBezTo>
                  <a:pt x="1679" y="920"/>
                  <a:pt x="1679" y="920"/>
                  <a:pt x="1679" y="931"/>
                </a:cubicBezTo>
                <a:cubicBezTo>
                  <a:pt x="1682" y="930"/>
                  <a:pt x="1685" y="929"/>
                  <a:pt x="1687" y="928"/>
                </a:cubicBezTo>
                <a:cubicBezTo>
                  <a:pt x="1689" y="927"/>
                  <a:pt x="1692" y="925"/>
                  <a:pt x="1694" y="924"/>
                </a:cubicBezTo>
                <a:cubicBezTo>
                  <a:pt x="1694" y="924"/>
                  <a:pt x="1694" y="924"/>
                  <a:pt x="1694" y="983"/>
                </a:cubicBezTo>
                <a:cubicBezTo>
                  <a:pt x="1694" y="983"/>
                  <a:pt x="1694" y="983"/>
                  <a:pt x="1705" y="983"/>
                </a:cubicBezTo>
                <a:cubicBezTo>
                  <a:pt x="1705" y="983"/>
                  <a:pt x="1705" y="983"/>
                  <a:pt x="1705" y="909"/>
                </a:cubicBezTo>
                <a:close/>
                <a:moveTo>
                  <a:pt x="1752" y="909"/>
                </a:moveTo>
                <a:cubicBezTo>
                  <a:pt x="1752" y="909"/>
                  <a:pt x="1752" y="909"/>
                  <a:pt x="1752" y="909"/>
                </a:cubicBezTo>
                <a:cubicBezTo>
                  <a:pt x="1747" y="909"/>
                  <a:pt x="1747" y="909"/>
                  <a:pt x="1747" y="909"/>
                </a:cubicBezTo>
                <a:cubicBezTo>
                  <a:pt x="1745" y="911"/>
                  <a:pt x="1743" y="912"/>
                  <a:pt x="1741" y="913"/>
                </a:cubicBezTo>
                <a:cubicBezTo>
                  <a:pt x="1740" y="915"/>
                  <a:pt x="1738" y="915"/>
                  <a:pt x="1736" y="916"/>
                </a:cubicBezTo>
                <a:cubicBezTo>
                  <a:pt x="1735" y="917"/>
                  <a:pt x="1732" y="918"/>
                  <a:pt x="1731" y="919"/>
                </a:cubicBezTo>
                <a:cubicBezTo>
                  <a:pt x="1729" y="920"/>
                  <a:pt x="1727" y="920"/>
                  <a:pt x="1725" y="920"/>
                </a:cubicBezTo>
                <a:cubicBezTo>
                  <a:pt x="1725" y="920"/>
                  <a:pt x="1725" y="920"/>
                  <a:pt x="1725" y="931"/>
                </a:cubicBezTo>
                <a:cubicBezTo>
                  <a:pt x="1728" y="930"/>
                  <a:pt x="1731" y="929"/>
                  <a:pt x="1733" y="928"/>
                </a:cubicBezTo>
                <a:cubicBezTo>
                  <a:pt x="1736" y="927"/>
                  <a:pt x="1738" y="925"/>
                  <a:pt x="1741" y="924"/>
                </a:cubicBezTo>
                <a:cubicBezTo>
                  <a:pt x="1741" y="924"/>
                  <a:pt x="1741" y="924"/>
                  <a:pt x="1741" y="983"/>
                </a:cubicBezTo>
                <a:cubicBezTo>
                  <a:pt x="1741" y="983"/>
                  <a:pt x="1741" y="983"/>
                  <a:pt x="1752" y="983"/>
                </a:cubicBezTo>
                <a:cubicBezTo>
                  <a:pt x="1752" y="983"/>
                  <a:pt x="1752" y="983"/>
                  <a:pt x="1752" y="909"/>
                </a:cubicBezTo>
                <a:close/>
                <a:moveTo>
                  <a:pt x="1874" y="909"/>
                </a:moveTo>
                <a:cubicBezTo>
                  <a:pt x="1874" y="909"/>
                  <a:pt x="1874" y="909"/>
                  <a:pt x="1874" y="909"/>
                </a:cubicBezTo>
                <a:cubicBezTo>
                  <a:pt x="1869" y="909"/>
                  <a:pt x="1869" y="909"/>
                  <a:pt x="1869" y="909"/>
                </a:cubicBezTo>
                <a:cubicBezTo>
                  <a:pt x="1866" y="911"/>
                  <a:pt x="1865" y="912"/>
                  <a:pt x="1863" y="913"/>
                </a:cubicBezTo>
                <a:cubicBezTo>
                  <a:pt x="1861" y="915"/>
                  <a:pt x="1860" y="915"/>
                  <a:pt x="1858" y="916"/>
                </a:cubicBezTo>
                <a:cubicBezTo>
                  <a:pt x="1856" y="917"/>
                  <a:pt x="1854" y="918"/>
                  <a:pt x="1852" y="919"/>
                </a:cubicBezTo>
                <a:cubicBezTo>
                  <a:pt x="1850" y="920"/>
                  <a:pt x="1849" y="920"/>
                  <a:pt x="1846" y="920"/>
                </a:cubicBezTo>
                <a:cubicBezTo>
                  <a:pt x="1846" y="920"/>
                  <a:pt x="1846" y="920"/>
                  <a:pt x="1846" y="931"/>
                </a:cubicBezTo>
                <a:cubicBezTo>
                  <a:pt x="1849" y="930"/>
                  <a:pt x="1852" y="929"/>
                  <a:pt x="1855" y="928"/>
                </a:cubicBezTo>
                <a:cubicBezTo>
                  <a:pt x="1858" y="927"/>
                  <a:pt x="1860" y="925"/>
                  <a:pt x="1862" y="924"/>
                </a:cubicBezTo>
                <a:cubicBezTo>
                  <a:pt x="1862" y="924"/>
                  <a:pt x="1862" y="924"/>
                  <a:pt x="1862" y="983"/>
                </a:cubicBezTo>
                <a:cubicBezTo>
                  <a:pt x="1862" y="983"/>
                  <a:pt x="1862" y="983"/>
                  <a:pt x="1874" y="983"/>
                </a:cubicBezTo>
                <a:cubicBezTo>
                  <a:pt x="1874" y="983"/>
                  <a:pt x="1874" y="983"/>
                  <a:pt x="1874" y="909"/>
                </a:cubicBezTo>
                <a:close/>
                <a:moveTo>
                  <a:pt x="1920" y="909"/>
                </a:moveTo>
                <a:cubicBezTo>
                  <a:pt x="1920" y="909"/>
                  <a:pt x="1920" y="909"/>
                  <a:pt x="1920" y="909"/>
                </a:cubicBezTo>
                <a:cubicBezTo>
                  <a:pt x="1915" y="909"/>
                  <a:pt x="1915" y="909"/>
                  <a:pt x="1915" y="909"/>
                </a:cubicBezTo>
                <a:cubicBezTo>
                  <a:pt x="1913" y="911"/>
                  <a:pt x="1912" y="912"/>
                  <a:pt x="1909" y="913"/>
                </a:cubicBezTo>
                <a:cubicBezTo>
                  <a:pt x="1908" y="915"/>
                  <a:pt x="1906" y="915"/>
                  <a:pt x="1904" y="916"/>
                </a:cubicBezTo>
                <a:cubicBezTo>
                  <a:pt x="1903" y="917"/>
                  <a:pt x="1901" y="918"/>
                  <a:pt x="1899" y="919"/>
                </a:cubicBezTo>
                <a:cubicBezTo>
                  <a:pt x="1897" y="920"/>
                  <a:pt x="1896" y="920"/>
                  <a:pt x="1893" y="920"/>
                </a:cubicBezTo>
                <a:cubicBezTo>
                  <a:pt x="1893" y="920"/>
                  <a:pt x="1893" y="920"/>
                  <a:pt x="1893" y="931"/>
                </a:cubicBezTo>
                <a:cubicBezTo>
                  <a:pt x="1896" y="930"/>
                  <a:pt x="1899" y="929"/>
                  <a:pt x="1901" y="928"/>
                </a:cubicBezTo>
                <a:cubicBezTo>
                  <a:pt x="1904" y="927"/>
                  <a:pt x="1907" y="925"/>
                  <a:pt x="1909" y="924"/>
                </a:cubicBezTo>
                <a:cubicBezTo>
                  <a:pt x="1909" y="924"/>
                  <a:pt x="1909" y="924"/>
                  <a:pt x="1909" y="983"/>
                </a:cubicBezTo>
                <a:cubicBezTo>
                  <a:pt x="1909" y="983"/>
                  <a:pt x="1909" y="983"/>
                  <a:pt x="1920" y="983"/>
                </a:cubicBezTo>
                <a:cubicBezTo>
                  <a:pt x="1920" y="983"/>
                  <a:pt x="1920" y="983"/>
                  <a:pt x="1920" y="909"/>
                </a:cubicBezTo>
                <a:close/>
                <a:moveTo>
                  <a:pt x="1772" y="942"/>
                </a:moveTo>
                <a:cubicBezTo>
                  <a:pt x="1772" y="942"/>
                  <a:pt x="1772" y="942"/>
                  <a:pt x="1772" y="942"/>
                </a:cubicBezTo>
                <a:cubicBezTo>
                  <a:pt x="1772" y="950"/>
                  <a:pt x="1772" y="950"/>
                  <a:pt x="1772" y="950"/>
                </a:cubicBezTo>
                <a:cubicBezTo>
                  <a:pt x="1778" y="950"/>
                  <a:pt x="1779" y="953"/>
                  <a:pt x="1779" y="956"/>
                </a:cubicBezTo>
                <a:cubicBezTo>
                  <a:pt x="1779" y="958"/>
                  <a:pt x="1779" y="960"/>
                  <a:pt x="1779" y="963"/>
                </a:cubicBezTo>
                <a:cubicBezTo>
                  <a:pt x="1778" y="966"/>
                  <a:pt x="1778" y="968"/>
                  <a:pt x="1778" y="970"/>
                </a:cubicBezTo>
                <a:cubicBezTo>
                  <a:pt x="1778" y="980"/>
                  <a:pt x="1784" y="983"/>
                  <a:pt x="1792" y="983"/>
                </a:cubicBezTo>
                <a:cubicBezTo>
                  <a:pt x="1792" y="983"/>
                  <a:pt x="1792" y="983"/>
                  <a:pt x="1796" y="983"/>
                </a:cubicBezTo>
                <a:cubicBezTo>
                  <a:pt x="1796" y="983"/>
                  <a:pt x="1796" y="983"/>
                  <a:pt x="1796" y="974"/>
                </a:cubicBezTo>
                <a:cubicBezTo>
                  <a:pt x="1796" y="974"/>
                  <a:pt x="1796" y="974"/>
                  <a:pt x="1795" y="974"/>
                </a:cubicBezTo>
                <a:cubicBezTo>
                  <a:pt x="1791" y="974"/>
                  <a:pt x="1790" y="971"/>
                  <a:pt x="1790" y="968"/>
                </a:cubicBezTo>
                <a:cubicBezTo>
                  <a:pt x="1790" y="966"/>
                  <a:pt x="1790" y="965"/>
                  <a:pt x="1790" y="963"/>
                </a:cubicBezTo>
                <a:cubicBezTo>
                  <a:pt x="1790" y="962"/>
                  <a:pt x="1790" y="959"/>
                  <a:pt x="1790" y="957"/>
                </a:cubicBezTo>
                <a:cubicBezTo>
                  <a:pt x="1790" y="950"/>
                  <a:pt x="1788" y="947"/>
                  <a:pt x="1782" y="946"/>
                </a:cubicBezTo>
                <a:cubicBezTo>
                  <a:pt x="1782" y="946"/>
                  <a:pt x="1782" y="946"/>
                  <a:pt x="1782" y="946"/>
                </a:cubicBezTo>
                <a:cubicBezTo>
                  <a:pt x="1788" y="944"/>
                  <a:pt x="1790" y="942"/>
                  <a:pt x="1790" y="935"/>
                </a:cubicBezTo>
                <a:cubicBezTo>
                  <a:pt x="1790" y="932"/>
                  <a:pt x="1790" y="930"/>
                  <a:pt x="1790" y="928"/>
                </a:cubicBezTo>
                <a:cubicBezTo>
                  <a:pt x="1790" y="927"/>
                  <a:pt x="1790" y="925"/>
                  <a:pt x="1790" y="924"/>
                </a:cubicBezTo>
                <a:cubicBezTo>
                  <a:pt x="1790" y="920"/>
                  <a:pt x="1791" y="918"/>
                  <a:pt x="1795" y="918"/>
                </a:cubicBezTo>
                <a:cubicBezTo>
                  <a:pt x="1795" y="918"/>
                  <a:pt x="1795" y="918"/>
                  <a:pt x="1796" y="918"/>
                </a:cubicBezTo>
                <a:cubicBezTo>
                  <a:pt x="1796" y="918"/>
                  <a:pt x="1796" y="918"/>
                  <a:pt x="1796" y="909"/>
                </a:cubicBezTo>
                <a:cubicBezTo>
                  <a:pt x="1796" y="909"/>
                  <a:pt x="1796" y="909"/>
                  <a:pt x="1792" y="909"/>
                </a:cubicBezTo>
                <a:cubicBezTo>
                  <a:pt x="1783" y="909"/>
                  <a:pt x="1778" y="913"/>
                  <a:pt x="1778" y="921"/>
                </a:cubicBezTo>
                <a:cubicBezTo>
                  <a:pt x="1778" y="923"/>
                  <a:pt x="1778" y="926"/>
                  <a:pt x="1778" y="929"/>
                </a:cubicBezTo>
                <a:cubicBezTo>
                  <a:pt x="1779" y="931"/>
                  <a:pt x="1779" y="934"/>
                  <a:pt x="1779" y="935"/>
                </a:cubicBezTo>
                <a:cubicBezTo>
                  <a:pt x="1779" y="938"/>
                  <a:pt x="1778" y="941"/>
                  <a:pt x="1772" y="942"/>
                </a:cubicBezTo>
                <a:close/>
                <a:moveTo>
                  <a:pt x="1827" y="950"/>
                </a:moveTo>
                <a:cubicBezTo>
                  <a:pt x="1827" y="950"/>
                  <a:pt x="1827" y="950"/>
                  <a:pt x="1827" y="950"/>
                </a:cubicBezTo>
                <a:cubicBezTo>
                  <a:pt x="1827" y="942"/>
                  <a:pt x="1827" y="942"/>
                  <a:pt x="1827" y="942"/>
                </a:cubicBezTo>
                <a:cubicBezTo>
                  <a:pt x="1820" y="941"/>
                  <a:pt x="1820" y="938"/>
                  <a:pt x="1820" y="935"/>
                </a:cubicBezTo>
                <a:cubicBezTo>
                  <a:pt x="1820" y="934"/>
                  <a:pt x="1820" y="931"/>
                  <a:pt x="1820" y="929"/>
                </a:cubicBezTo>
                <a:cubicBezTo>
                  <a:pt x="1821" y="926"/>
                  <a:pt x="1821" y="923"/>
                  <a:pt x="1821" y="921"/>
                </a:cubicBezTo>
                <a:cubicBezTo>
                  <a:pt x="1821" y="913"/>
                  <a:pt x="1816" y="909"/>
                  <a:pt x="1806" y="909"/>
                </a:cubicBezTo>
                <a:cubicBezTo>
                  <a:pt x="1806" y="909"/>
                  <a:pt x="1806" y="909"/>
                  <a:pt x="1803" y="909"/>
                </a:cubicBezTo>
                <a:cubicBezTo>
                  <a:pt x="1803" y="909"/>
                  <a:pt x="1803" y="909"/>
                  <a:pt x="1803" y="918"/>
                </a:cubicBezTo>
                <a:cubicBezTo>
                  <a:pt x="1803" y="918"/>
                  <a:pt x="1803" y="918"/>
                  <a:pt x="1804" y="918"/>
                </a:cubicBezTo>
                <a:cubicBezTo>
                  <a:pt x="1808" y="918"/>
                  <a:pt x="1809" y="920"/>
                  <a:pt x="1809" y="924"/>
                </a:cubicBezTo>
                <a:cubicBezTo>
                  <a:pt x="1809" y="925"/>
                  <a:pt x="1809" y="927"/>
                  <a:pt x="1809" y="928"/>
                </a:cubicBezTo>
                <a:cubicBezTo>
                  <a:pt x="1809" y="930"/>
                  <a:pt x="1809" y="932"/>
                  <a:pt x="1809" y="935"/>
                </a:cubicBezTo>
                <a:cubicBezTo>
                  <a:pt x="1809" y="942"/>
                  <a:pt x="1811" y="944"/>
                  <a:pt x="1817" y="946"/>
                </a:cubicBezTo>
                <a:cubicBezTo>
                  <a:pt x="1817" y="946"/>
                  <a:pt x="1817" y="946"/>
                  <a:pt x="1817" y="946"/>
                </a:cubicBezTo>
                <a:cubicBezTo>
                  <a:pt x="1811" y="947"/>
                  <a:pt x="1809" y="950"/>
                  <a:pt x="1809" y="957"/>
                </a:cubicBezTo>
                <a:cubicBezTo>
                  <a:pt x="1809" y="959"/>
                  <a:pt x="1809" y="962"/>
                  <a:pt x="1809" y="963"/>
                </a:cubicBezTo>
                <a:cubicBezTo>
                  <a:pt x="1809" y="965"/>
                  <a:pt x="1809" y="966"/>
                  <a:pt x="1809" y="968"/>
                </a:cubicBezTo>
                <a:cubicBezTo>
                  <a:pt x="1809" y="971"/>
                  <a:pt x="1808" y="974"/>
                  <a:pt x="1804" y="974"/>
                </a:cubicBezTo>
                <a:cubicBezTo>
                  <a:pt x="1804" y="974"/>
                  <a:pt x="1804" y="974"/>
                  <a:pt x="1803" y="974"/>
                </a:cubicBezTo>
                <a:cubicBezTo>
                  <a:pt x="1803" y="974"/>
                  <a:pt x="1803" y="974"/>
                  <a:pt x="1803" y="983"/>
                </a:cubicBezTo>
                <a:cubicBezTo>
                  <a:pt x="1803" y="983"/>
                  <a:pt x="1803" y="983"/>
                  <a:pt x="1806" y="983"/>
                </a:cubicBezTo>
                <a:cubicBezTo>
                  <a:pt x="1815" y="983"/>
                  <a:pt x="1821" y="980"/>
                  <a:pt x="1821" y="970"/>
                </a:cubicBezTo>
                <a:cubicBezTo>
                  <a:pt x="1821" y="968"/>
                  <a:pt x="1821" y="966"/>
                  <a:pt x="1820" y="963"/>
                </a:cubicBezTo>
                <a:cubicBezTo>
                  <a:pt x="1820" y="960"/>
                  <a:pt x="1820" y="958"/>
                  <a:pt x="1820" y="956"/>
                </a:cubicBezTo>
                <a:cubicBezTo>
                  <a:pt x="1820" y="953"/>
                  <a:pt x="1820" y="950"/>
                  <a:pt x="1827" y="950"/>
                </a:cubicBezTo>
                <a:close/>
                <a:moveTo>
                  <a:pt x="1214" y="983"/>
                </a:moveTo>
                <a:cubicBezTo>
                  <a:pt x="1207" y="983"/>
                  <a:pt x="1200" y="980"/>
                  <a:pt x="1196" y="974"/>
                </a:cubicBezTo>
                <a:cubicBezTo>
                  <a:pt x="1192" y="968"/>
                  <a:pt x="1190" y="959"/>
                  <a:pt x="1190" y="946"/>
                </a:cubicBezTo>
                <a:cubicBezTo>
                  <a:pt x="1190" y="933"/>
                  <a:pt x="1192" y="924"/>
                  <a:pt x="1196" y="917"/>
                </a:cubicBezTo>
                <a:cubicBezTo>
                  <a:pt x="1201" y="911"/>
                  <a:pt x="1207" y="907"/>
                  <a:pt x="1216" y="907"/>
                </a:cubicBezTo>
                <a:cubicBezTo>
                  <a:pt x="1232" y="907"/>
                  <a:pt x="1240" y="919"/>
                  <a:pt x="1240" y="945"/>
                </a:cubicBezTo>
                <a:cubicBezTo>
                  <a:pt x="1240" y="957"/>
                  <a:pt x="1238" y="967"/>
                  <a:pt x="1233" y="973"/>
                </a:cubicBezTo>
                <a:cubicBezTo>
                  <a:pt x="1228" y="980"/>
                  <a:pt x="1222" y="983"/>
                  <a:pt x="1214" y="983"/>
                </a:cubicBezTo>
                <a:close/>
                <a:moveTo>
                  <a:pt x="1215" y="917"/>
                </a:moveTo>
                <a:cubicBezTo>
                  <a:pt x="1206" y="917"/>
                  <a:pt x="1201" y="927"/>
                  <a:pt x="1201" y="946"/>
                </a:cubicBezTo>
                <a:cubicBezTo>
                  <a:pt x="1201" y="965"/>
                  <a:pt x="1206" y="973"/>
                  <a:pt x="1215" y="973"/>
                </a:cubicBezTo>
                <a:cubicBezTo>
                  <a:pt x="1223" y="973"/>
                  <a:pt x="1228" y="965"/>
                  <a:pt x="1228" y="946"/>
                </a:cubicBezTo>
                <a:cubicBezTo>
                  <a:pt x="1228" y="926"/>
                  <a:pt x="1223" y="917"/>
                  <a:pt x="1215" y="917"/>
                </a:cubicBezTo>
                <a:close/>
                <a:moveTo>
                  <a:pt x="1284" y="983"/>
                </a:moveTo>
                <a:cubicBezTo>
                  <a:pt x="1277" y="983"/>
                  <a:pt x="1270" y="980"/>
                  <a:pt x="1266" y="974"/>
                </a:cubicBezTo>
                <a:cubicBezTo>
                  <a:pt x="1262" y="968"/>
                  <a:pt x="1260" y="959"/>
                  <a:pt x="1260" y="946"/>
                </a:cubicBezTo>
                <a:cubicBezTo>
                  <a:pt x="1260" y="933"/>
                  <a:pt x="1262" y="924"/>
                  <a:pt x="1266" y="917"/>
                </a:cubicBezTo>
                <a:cubicBezTo>
                  <a:pt x="1271" y="911"/>
                  <a:pt x="1277" y="907"/>
                  <a:pt x="1286" y="907"/>
                </a:cubicBezTo>
                <a:cubicBezTo>
                  <a:pt x="1302" y="907"/>
                  <a:pt x="1310" y="919"/>
                  <a:pt x="1310" y="945"/>
                </a:cubicBezTo>
                <a:cubicBezTo>
                  <a:pt x="1310" y="957"/>
                  <a:pt x="1308" y="967"/>
                  <a:pt x="1304" y="973"/>
                </a:cubicBezTo>
                <a:cubicBezTo>
                  <a:pt x="1299" y="980"/>
                  <a:pt x="1293" y="983"/>
                  <a:pt x="1284" y="983"/>
                </a:cubicBezTo>
                <a:close/>
                <a:moveTo>
                  <a:pt x="1285" y="917"/>
                </a:moveTo>
                <a:cubicBezTo>
                  <a:pt x="1277" y="917"/>
                  <a:pt x="1272" y="927"/>
                  <a:pt x="1272" y="946"/>
                </a:cubicBezTo>
                <a:cubicBezTo>
                  <a:pt x="1272" y="965"/>
                  <a:pt x="1276" y="973"/>
                  <a:pt x="1285" y="973"/>
                </a:cubicBezTo>
                <a:cubicBezTo>
                  <a:pt x="1293" y="973"/>
                  <a:pt x="1298" y="965"/>
                  <a:pt x="1298" y="946"/>
                </a:cubicBezTo>
                <a:cubicBezTo>
                  <a:pt x="1298" y="926"/>
                  <a:pt x="1293" y="917"/>
                  <a:pt x="1285" y="917"/>
                </a:cubicBezTo>
                <a:close/>
                <a:moveTo>
                  <a:pt x="1494" y="983"/>
                </a:moveTo>
                <a:cubicBezTo>
                  <a:pt x="1486" y="983"/>
                  <a:pt x="1481" y="980"/>
                  <a:pt x="1476" y="973"/>
                </a:cubicBezTo>
                <a:cubicBezTo>
                  <a:pt x="1472" y="968"/>
                  <a:pt x="1470" y="958"/>
                  <a:pt x="1470" y="946"/>
                </a:cubicBezTo>
                <a:cubicBezTo>
                  <a:pt x="1470" y="933"/>
                  <a:pt x="1472" y="924"/>
                  <a:pt x="1476" y="917"/>
                </a:cubicBezTo>
                <a:cubicBezTo>
                  <a:pt x="1481" y="910"/>
                  <a:pt x="1487" y="907"/>
                  <a:pt x="1496" y="907"/>
                </a:cubicBezTo>
                <a:cubicBezTo>
                  <a:pt x="1512" y="907"/>
                  <a:pt x="1520" y="919"/>
                  <a:pt x="1520" y="944"/>
                </a:cubicBezTo>
                <a:cubicBezTo>
                  <a:pt x="1520" y="957"/>
                  <a:pt x="1518" y="967"/>
                  <a:pt x="1513" y="973"/>
                </a:cubicBezTo>
                <a:cubicBezTo>
                  <a:pt x="1508" y="980"/>
                  <a:pt x="1502" y="983"/>
                  <a:pt x="1494" y="983"/>
                </a:cubicBezTo>
                <a:close/>
                <a:moveTo>
                  <a:pt x="1495" y="917"/>
                </a:moveTo>
                <a:cubicBezTo>
                  <a:pt x="1486" y="917"/>
                  <a:pt x="1482" y="926"/>
                  <a:pt x="1482" y="946"/>
                </a:cubicBezTo>
                <a:cubicBezTo>
                  <a:pt x="1482" y="964"/>
                  <a:pt x="1486" y="973"/>
                  <a:pt x="1495" y="973"/>
                </a:cubicBezTo>
                <a:cubicBezTo>
                  <a:pt x="1503" y="973"/>
                  <a:pt x="1508" y="964"/>
                  <a:pt x="1508" y="946"/>
                </a:cubicBezTo>
                <a:cubicBezTo>
                  <a:pt x="1508" y="926"/>
                  <a:pt x="1504" y="917"/>
                  <a:pt x="1495" y="917"/>
                </a:cubicBezTo>
                <a:close/>
                <a:moveTo>
                  <a:pt x="1567" y="909"/>
                </a:moveTo>
                <a:cubicBezTo>
                  <a:pt x="1567" y="909"/>
                  <a:pt x="1567" y="909"/>
                  <a:pt x="1567" y="909"/>
                </a:cubicBezTo>
                <a:cubicBezTo>
                  <a:pt x="1561" y="909"/>
                  <a:pt x="1561" y="909"/>
                  <a:pt x="1561" y="909"/>
                </a:cubicBezTo>
                <a:cubicBezTo>
                  <a:pt x="1559" y="911"/>
                  <a:pt x="1558" y="912"/>
                  <a:pt x="1556" y="913"/>
                </a:cubicBezTo>
                <a:cubicBezTo>
                  <a:pt x="1554" y="915"/>
                  <a:pt x="1552" y="915"/>
                  <a:pt x="1551" y="916"/>
                </a:cubicBezTo>
                <a:cubicBezTo>
                  <a:pt x="1549" y="917"/>
                  <a:pt x="1547" y="917"/>
                  <a:pt x="1546" y="918"/>
                </a:cubicBezTo>
                <a:cubicBezTo>
                  <a:pt x="1543" y="919"/>
                  <a:pt x="1542" y="920"/>
                  <a:pt x="1540" y="920"/>
                </a:cubicBezTo>
                <a:cubicBezTo>
                  <a:pt x="1540" y="920"/>
                  <a:pt x="1540" y="920"/>
                  <a:pt x="1540" y="931"/>
                </a:cubicBezTo>
                <a:cubicBezTo>
                  <a:pt x="1543" y="930"/>
                  <a:pt x="1546" y="928"/>
                  <a:pt x="1548" y="928"/>
                </a:cubicBezTo>
                <a:cubicBezTo>
                  <a:pt x="1551" y="927"/>
                  <a:pt x="1553" y="925"/>
                  <a:pt x="1555" y="924"/>
                </a:cubicBezTo>
                <a:cubicBezTo>
                  <a:pt x="1555" y="924"/>
                  <a:pt x="1555" y="924"/>
                  <a:pt x="1555" y="983"/>
                </a:cubicBezTo>
                <a:cubicBezTo>
                  <a:pt x="1555" y="983"/>
                  <a:pt x="1555" y="983"/>
                  <a:pt x="1567" y="983"/>
                </a:cubicBezTo>
                <a:cubicBezTo>
                  <a:pt x="1567" y="983"/>
                  <a:pt x="1567" y="983"/>
                  <a:pt x="1567" y="909"/>
                </a:cubicBezTo>
                <a:close/>
                <a:moveTo>
                  <a:pt x="1357" y="909"/>
                </a:moveTo>
                <a:cubicBezTo>
                  <a:pt x="1357" y="909"/>
                  <a:pt x="1357" y="909"/>
                  <a:pt x="1357" y="909"/>
                </a:cubicBezTo>
                <a:cubicBezTo>
                  <a:pt x="1352" y="909"/>
                  <a:pt x="1352" y="909"/>
                  <a:pt x="1352" y="909"/>
                </a:cubicBezTo>
                <a:cubicBezTo>
                  <a:pt x="1350" y="911"/>
                  <a:pt x="1349" y="912"/>
                  <a:pt x="1346" y="913"/>
                </a:cubicBezTo>
                <a:cubicBezTo>
                  <a:pt x="1345" y="915"/>
                  <a:pt x="1343" y="915"/>
                  <a:pt x="1341" y="916"/>
                </a:cubicBezTo>
                <a:cubicBezTo>
                  <a:pt x="1340" y="917"/>
                  <a:pt x="1338" y="918"/>
                  <a:pt x="1336" y="919"/>
                </a:cubicBezTo>
                <a:cubicBezTo>
                  <a:pt x="1334" y="920"/>
                  <a:pt x="1333" y="920"/>
                  <a:pt x="1330" y="920"/>
                </a:cubicBezTo>
                <a:cubicBezTo>
                  <a:pt x="1330" y="920"/>
                  <a:pt x="1330" y="920"/>
                  <a:pt x="1330" y="931"/>
                </a:cubicBezTo>
                <a:cubicBezTo>
                  <a:pt x="1333" y="930"/>
                  <a:pt x="1336" y="929"/>
                  <a:pt x="1339" y="928"/>
                </a:cubicBezTo>
                <a:cubicBezTo>
                  <a:pt x="1341" y="927"/>
                  <a:pt x="1343" y="925"/>
                  <a:pt x="1346" y="924"/>
                </a:cubicBezTo>
                <a:cubicBezTo>
                  <a:pt x="1346" y="924"/>
                  <a:pt x="1346" y="924"/>
                  <a:pt x="1346" y="983"/>
                </a:cubicBezTo>
                <a:cubicBezTo>
                  <a:pt x="1346" y="983"/>
                  <a:pt x="1346" y="983"/>
                  <a:pt x="1357" y="983"/>
                </a:cubicBezTo>
                <a:cubicBezTo>
                  <a:pt x="1357" y="983"/>
                  <a:pt x="1357" y="983"/>
                  <a:pt x="1357" y="909"/>
                </a:cubicBezTo>
                <a:close/>
                <a:moveTo>
                  <a:pt x="1404" y="909"/>
                </a:moveTo>
                <a:cubicBezTo>
                  <a:pt x="1404" y="909"/>
                  <a:pt x="1404" y="909"/>
                  <a:pt x="1404" y="909"/>
                </a:cubicBezTo>
                <a:cubicBezTo>
                  <a:pt x="1399" y="909"/>
                  <a:pt x="1399" y="909"/>
                  <a:pt x="1399" y="909"/>
                </a:cubicBezTo>
                <a:cubicBezTo>
                  <a:pt x="1397" y="911"/>
                  <a:pt x="1395" y="912"/>
                  <a:pt x="1393" y="913"/>
                </a:cubicBezTo>
                <a:cubicBezTo>
                  <a:pt x="1392" y="915"/>
                  <a:pt x="1390" y="915"/>
                  <a:pt x="1388" y="916"/>
                </a:cubicBezTo>
                <a:cubicBezTo>
                  <a:pt x="1387" y="917"/>
                  <a:pt x="1384" y="918"/>
                  <a:pt x="1383" y="919"/>
                </a:cubicBezTo>
                <a:cubicBezTo>
                  <a:pt x="1381" y="920"/>
                  <a:pt x="1379" y="920"/>
                  <a:pt x="1377" y="920"/>
                </a:cubicBezTo>
                <a:cubicBezTo>
                  <a:pt x="1377" y="920"/>
                  <a:pt x="1377" y="920"/>
                  <a:pt x="1377" y="931"/>
                </a:cubicBezTo>
                <a:cubicBezTo>
                  <a:pt x="1380" y="930"/>
                  <a:pt x="1383" y="929"/>
                  <a:pt x="1385" y="928"/>
                </a:cubicBezTo>
                <a:cubicBezTo>
                  <a:pt x="1388" y="927"/>
                  <a:pt x="1390" y="925"/>
                  <a:pt x="1393" y="924"/>
                </a:cubicBezTo>
                <a:cubicBezTo>
                  <a:pt x="1393" y="924"/>
                  <a:pt x="1393" y="924"/>
                  <a:pt x="1393" y="983"/>
                </a:cubicBezTo>
                <a:cubicBezTo>
                  <a:pt x="1393" y="983"/>
                  <a:pt x="1393" y="983"/>
                  <a:pt x="1404" y="983"/>
                </a:cubicBezTo>
                <a:cubicBezTo>
                  <a:pt x="1404" y="983"/>
                  <a:pt x="1404" y="983"/>
                  <a:pt x="1404" y="909"/>
                </a:cubicBezTo>
                <a:close/>
                <a:moveTo>
                  <a:pt x="1450" y="909"/>
                </a:moveTo>
                <a:cubicBezTo>
                  <a:pt x="1450" y="909"/>
                  <a:pt x="1450" y="909"/>
                  <a:pt x="1450" y="909"/>
                </a:cubicBezTo>
                <a:cubicBezTo>
                  <a:pt x="1446" y="909"/>
                  <a:pt x="1446" y="909"/>
                  <a:pt x="1446" y="909"/>
                </a:cubicBezTo>
                <a:cubicBezTo>
                  <a:pt x="1443" y="911"/>
                  <a:pt x="1442" y="912"/>
                  <a:pt x="1440" y="913"/>
                </a:cubicBezTo>
                <a:cubicBezTo>
                  <a:pt x="1438" y="915"/>
                  <a:pt x="1436" y="915"/>
                  <a:pt x="1435" y="916"/>
                </a:cubicBezTo>
                <a:cubicBezTo>
                  <a:pt x="1433" y="917"/>
                  <a:pt x="1431" y="917"/>
                  <a:pt x="1429" y="918"/>
                </a:cubicBezTo>
                <a:cubicBezTo>
                  <a:pt x="1428" y="919"/>
                  <a:pt x="1425" y="920"/>
                  <a:pt x="1424" y="920"/>
                </a:cubicBezTo>
                <a:cubicBezTo>
                  <a:pt x="1424" y="920"/>
                  <a:pt x="1424" y="920"/>
                  <a:pt x="1424" y="931"/>
                </a:cubicBezTo>
                <a:cubicBezTo>
                  <a:pt x="1427" y="930"/>
                  <a:pt x="1430" y="928"/>
                  <a:pt x="1432" y="928"/>
                </a:cubicBezTo>
                <a:cubicBezTo>
                  <a:pt x="1434" y="927"/>
                  <a:pt x="1437" y="925"/>
                  <a:pt x="1438" y="924"/>
                </a:cubicBezTo>
                <a:cubicBezTo>
                  <a:pt x="1438" y="924"/>
                  <a:pt x="1438" y="924"/>
                  <a:pt x="1438" y="983"/>
                </a:cubicBezTo>
                <a:cubicBezTo>
                  <a:pt x="1438" y="983"/>
                  <a:pt x="1438" y="983"/>
                  <a:pt x="1450" y="983"/>
                </a:cubicBezTo>
                <a:cubicBezTo>
                  <a:pt x="1450" y="983"/>
                  <a:pt x="1450" y="983"/>
                  <a:pt x="1450" y="909"/>
                </a:cubicBezTo>
                <a:close/>
                <a:moveTo>
                  <a:pt x="208" y="909"/>
                </a:moveTo>
                <a:cubicBezTo>
                  <a:pt x="208" y="909"/>
                  <a:pt x="208" y="909"/>
                  <a:pt x="208" y="909"/>
                </a:cubicBezTo>
                <a:cubicBezTo>
                  <a:pt x="203" y="909"/>
                  <a:pt x="203" y="909"/>
                  <a:pt x="203" y="909"/>
                </a:cubicBezTo>
                <a:cubicBezTo>
                  <a:pt x="200" y="911"/>
                  <a:pt x="199" y="912"/>
                  <a:pt x="197" y="913"/>
                </a:cubicBezTo>
                <a:cubicBezTo>
                  <a:pt x="195" y="915"/>
                  <a:pt x="193" y="915"/>
                  <a:pt x="191" y="916"/>
                </a:cubicBezTo>
                <a:cubicBezTo>
                  <a:pt x="190" y="917"/>
                  <a:pt x="188" y="918"/>
                  <a:pt x="186" y="919"/>
                </a:cubicBezTo>
                <a:cubicBezTo>
                  <a:pt x="184" y="920"/>
                  <a:pt x="183" y="920"/>
                  <a:pt x="180" y="920"/>
                </a:cubicBezTo>
                <a:cubicBezTo>
                  <a:pt x="180" y="920"/>
                  <a:pt x="180" y="920"/>
                  <a:pt x="180" y="931"/>
                </a:cubicBezTo>
                <a:cubicBezTo>
                  <a:pt x="183" y="930"/>
                  <a:pt x="186" y="929"/>
                  <a:pt x="188" y="928"/>
                </a:cubicBezTo>
                <a:cubicBezTo>
                  <a:pt x="191" y="927"/>
                  <a:pt x="194" y="925"/>
                  <a:pt x="196" y="924"/>
                </a:cubicBezTo>
                <a:cubicBezTo>
                  <a:pt x="196" y="924"/>
                  <a:pt x="196" y="924"/>
                  <a:pt x="196" y="983"/>
                </a:cubicBezTo>
                <a:cubicBezTo>
                  <a:pt x="196" y="983"/>
                  <a:pt x="196" y="983"/>
                  <a:pt x="208" y="983"/>
                </a:cubicBezTo>
                <a:cubicBezTo>
                  <a:pt x="208" y="983"/>
                  <a:pt x="208" y="983"/>
                  <a:pt x="208" y="909"/>
                </a:cubicBezTo>
                <a:close/>
                <a:moveTo>
                  <a:pt x="254" y="909"/>
                </a:moveTo>
                <a:cubicBezTo>
                  <a:pt x="254" y="909"/>
                  <a:pt x="254" y="909"/>
                  <a:pt x="254" y="909"/>
                </a:cubicBezTo>
                <a:cubicBezTo>
                  <a:pt x="249" y="909"/>
                  <a:pt x="249" y="909"/>
                  <a:pt x="249" y="909"/>
                </a:cubicBezTo>
                <a:cubicBezTo>
                  <a:pt x="248" y="911"/>
                  <a:pt x="246" y="912"/>
                  <a:pt x="244" y="913"/>
                </a:cubicBezTo>
                <a:cubicBezTo>
                  <a:pt x="242" y="915"/>
                  <a:pt x="240" y="915"/>
                  <a:pt x="238" y="916"/>
                </a:cubicBezTo>
                <a:cubicBezTo>
                  <a:pt x="237" y="917"/>
                  <a:pt x="235" y="918"/>
                  <a:pt x="233" y="919"/>
                </a:cubicBezTo>
                <a:cubicBezTo>
                  <a:pt x="231" y="920"/>
                  <a:pt x="230" y="920"/>
                  <a:pt x="227" y="920"/>
                </a:cubicBezTo>
                <a:cubicBezTo>
                  <a:pt x="227" y="920"/>
                  <a:pt x="227" y="920"/>
                  <a:pt x="227" y="931"/>
                </a:cubicBezTo>
                <a:cubicBezTo>
                  <a:pt x="230" y="930"/>
                  <a:pt x="233" y="929"/>
                  <a:pt x="236" y="928"/>
                </a:cubicBezTo>
                <a:cubicBezTo>
                  <a:pt x="238" y="927"/>
                  <a:pt x="240" y="925"/>
                  <a:pt x="243" y="924"/>
                </a:cubicBezTo>
                <a:cubicBezTo>
                  <a:pt x="243" y="924"/>
                  <a:pt x="243" y="924"/>
                  <a:pt x="243" y="983"/>
                </a:cubicBezTo>
                <a:cubicBezTo>
                  <a:pt x="243" y="983"/>
                  <a:pt x="243" y="983"/>
                  <a:pt x="254" y="983"/>
                </a:cubicBezTo>
                <a:cubicBezTo>
                  <a:pt x="254" y="983"/>
                  <a:pt x="254" y="983"/>
                  <a:pt x="254" y="909"/>
                </a:cubicBezTo>
                <a:close/>
                <a:moveTo>
                  <a:pt x="300" y="909"/>
                </a:moveTo>
                <a:cubicBezTo>
                  <a:pt x="300" y="909"/>
                  <a:pt x="300" y="909"/>
                  <a:pt x="300" y="909"/>
                </a:cubicBezTo>
                <a:cubicBezTo>
                  <a:pt x="296" y="909"/>
                  <a:pt x="296" y="909"/>
                  <a:pt x="296" y="909"/>
                </a:cubicBezTo>
                <a:cubicBezTo>
                  <a:pt x="293" y="911"/>
                  <a:pt x="292" y="912"/>
                  <a:pt x="290" y="913"/>
                </a:cubicBezTo>
                <a:cubicBezTo>
                  <a:pt x="288" y="915"/>
                  <a:pt x="286" y="915"/>
                  <a:pt x="285" y="916"/>
                </a:cubicBezTo>
                <a:cubicBezTo>
                  <a:pt x="283" y="917"/>
                  <a:pt x="281" y="917"/>
                  <a:pt x="279" y="918"/>
                </a:cubicBezTo>
                <a:cubicBezTo>
                  <a:pt x="278" y="919"/>
                  <a:pt x="275" y="920"/>
                  <a:pt x="274" y="920"/>
                </a:cubicBezTo>
                <a:cubicBezTo>
                  <a:pt x="274" y="920"/>
                  <a:pt x="274" y="920"/>
                  <a:pt x="274" y="931"/>
                </a:cubicBezTo>
                <a:cubicBezTo>
                  <a:pt x="277" y="930"/>
                  <a:pt x="280" y="928"/>
                  <a:pt x="282" y="928"/>
                </a:cubicBezTo>
                <a:cubicBezTo>
                  <a:pt x="284" y="927"/>
                  <a:pt x="287" y="925"/>
                  <a:pt x="288" y="924"/>
                </a:cubicBezTo>
                <a:cubicBezTo>
                  <a:pt x="288" y="924"/>
                  <a:pt x="288" y="924"/>
                  <a:pt x="288" y="983"/>
                </a:cubicBezTo>
                <a:cubicBezTo>
                  <a:pt x="288" y="983"/>
                  <a:pt x="288" y="983"/>
                  <a:pt x="300" y="983"/>
                </a:cubicBezTo>
                <a:cubicBezTo>
                  <a:pt x="300" y="983"/>
                  <a:pt x="300" y="983"/>
                  <a:pt x="300" y="909"/>
                </a:cubicBezTo>
                <a:close/>
                <a:moveTo>
                  <a:pt x="437" y="942"/>
                </a:moveTo>
                <a:cubicBezTo>
                  <a:pt x="437" y="942"/>
                  <a:pt x="437" y="942"/>
                  <a:pt x="437" y="942"/>
                </a:cubicBezTo>
                <a:cubicBezTo>
                  <a:pt x="436" y="950"/>
                  <a:pt x="436" y="950"/>
                  <a:pt x="436" y="950"/>
                </a:cubicBezTo>
                <a:cubicBezTo>
                  <a:pt x="442" y="950"/>
                  <a:pt x="443" y="953"/>
                  <a:pt x="443" y="956"/>
                </a:cubicBezTo>
                <a:cubicBezTo>
                  <a:pt x="443" y="958"/>
                  <a:pt x="443" y="960"/>
                  <a:pt x="443" y="963"/>
                </a:cubicBezTo>
                <a:cubicBezTo>
                  <a:pt x="442" y="966"/>
                  <a:pt x="442" y="968"/>
                  <a:pt x="442" y="970"/>
                </a:cubicBezTo>
                <a:cubicBezTo>
                  <a:pt x="442" y="980"/>
                  <a:pt x="448" y="983"/>
                  <a:pt x="456" y="983"/>
                </a:cubicBezTo>
                <a:cubicBezTo>
                  <a:pt x="456" y="983"/>
                  <a:pt x="456" y="983"/>
                  <a:pt x="460" y="983"/>
                </a:cubicBezTo>
                <a:cubicBezTo>
                  <a:pt x="460" y="983"/>
                  <a:pt x="460" y="983"/>
                  <a:pt x="460" y="974"/>
                </a:cubicBezTo>
                <a:cubicBezTo>
                  <a:pt x="460" y="974"/>
                  <a:pt x="460" y="974"/>
                  <a:pt x="459" y="974"/>
                </a:cubicBezTo>
                <a:cubicBezTo>
                  <a:pt x="455" y="974"/>
                  <a:pt x="454" y="971"/>
                  <a:pt x="454" y="968"/>
                </a:cubicBezTo>
                <a:cubicBezTo>
                  <a:pt x="454" y="966"/>
                  <a:pt x="454" y="965"/>
                  <a:pt x="454" y="963"/>
                </a:cubicBezTo>
                <a:cubicBezTo>
                  <a:pt x="454" y="962"/>
                  <a:pt x="455" y="959"/>
                  <a:pt x="455" y="957"/>
                </a:cubicBezTo>
                <a:cubicBezTo>
                  <a:pt x="455" y="950"/>
                  <a:pt x="452" y="947"/>
                  <a:pt x="446" y="946"/>
                </a:cubicBezTo>
                <a:cubicBezTo>
                  <a:pt x="446" y="946"/>
                  <a:pt x="446" y="946"/>
                  <a:pt x="446" y="946"/>
                </a:cubicBezTo>
                <a:cubicBezTo>
                  <a:pt x="452" y="944"/>
                  <a:pt x="455" y="942"/>
                  <a:pt x="455" y="935"/>
                </a:cubicBezTo>
                <a:cubicBezTo>
                  <a:pt x="455" y="932"/>
                  <a:pt x="454" y="930"/>
                  <a:pt x="454" y="928"/>
                </a:cubicBezTo>
                <a:cubicBezTo>
                  <a:pt x="454" y="927"/>
                  <a:pt x="454" y="925"/>
                  <a:pt x="454" y="924"/>
                </a:cubicBezTo>
                <a:cubicBezTo>
                  <a:pt x="454" y="920"/>
                  <a:pt x="455" y="918"/>
                  <a:pt x="459" y="918"/>
                </a:cubicBezTo>
                <a:cubicBezTo>
                  <a:pt x="459" y="918"/>
                  <a:pt x="459" y="918"/>
                  <a:pt x="460" y="918"/>
                </a:cubicBezTo>
                <a:cubicBezTo>
                  <a:pt x="460" y="918"/>
                  <a:pt x="460" y="918"/>
                  <a:pt x="460" y="909"/>
                </a:cubicBezTo>
                <a:cubicBezTo>
                  <a:pt x="460" y="909"/>
                  <a:pt x="460" y="909"/>
                  <a:pt x="456" y="909"/>
                </a:cubicBezTo>
                <a:cubicBezTo>
                  <a:pt x="448" y="909"/>
                  <a:pt x="442" y="913"/>
                  <a:pt x="442" y="921"/>
                </a:cubicBezTo>
                <a:cubicBezTo>
                  <a:pt x="442" y="923"/>
                  <a:pt x="442" y="926"/>
                  <a:pt x="442" y="929"/>
                </a:cubicBezTo>
                <a:cubicBezTo>
                  <a:pt x="443" y="931"/>
                  <a:pt x="443" y="934"/>
                  <a:pt x="443" y="935"/>
                </a:cubicBezTo>
                <a:cubicBezTo>
                  <a:pt x="443" y="938"/>
                  <a:pt x="442" y="941"/>
                  <a:pt x="437" y="942"/>
                </a:cubicBezTo>
                <a:close/>
                <a:moveTo>
                  <a:pt x="491" y="950"/>
                </a:moveTo>
                <a:cubicBezTo>
                  <a:pt x="491" y="950"/>
                  <a:pt x="491" y="950"/>
                  <a:pt x="491" y="950"/>
                </a:cubicBezTo>
                <a:cubicBezTo>
                  <a:pt x="491" y="942"/>
                  <a:pt x="491" y="942"/>
                  <a:pt x="491" y="942"/>
                </a:cubicBezTo>
                <a:cubicBezTo>
                  <a:pt x="485" y="941"/>
                  <a:pt x="485" y="938"/>
                  <a:pt x="485" y="935"/>
                </a:cubicBezTo>
                <a:cubicBezTo>
                  <a:pt x="485" y="934"/>
                  <a:pt x="485" y="931"/>
                  <a:pt x="485" y="929"/>
                </a:cubicBezTo>
                <a:cubicBezTo>
                  <a:pt x="485" y="926"/>
                  <a:pt x="485" y="923"/>
                  <a:pt x="485" y="921"/>
                </a:cubicBezTo>
                <a:cubicBezTo>
                  <a:pt x="485" y="913"/>
                  <a:pt x="480" y="909"/>
                  <a:pt x="471" y="909"/>
                </a:cubicBezTo>
                <a:cubicBezTo>
                  <a:pt x="471" y="909"/>
                  <a:pt x="471" y="909"/>
                  <a:pt x="467" y="909"/>
                </a:cubicBezTo>
                <a:cubicBezTo>
                  <a:pt x="467" y="909"/>
                  <a:pt x="467" y="909"/>
                  <a:pt x="467" y="918"/>
                </a:cubicBezTo>
                <a:cubicBezTo>
                  <a:pt x="467" y="918"/>
                  <a:pt x="467" y="918"/>
                  <a:pt x="468" y="918"/>
                </a:cubicBezTo>
                <a:cubicBezTo>
                  <a:pt x="472" y="918"/>
                  <a:pt x="474" y="920"/>
                  <a:pt x="474" y="924"/>
                </a:cubicBezTo>
                <a:cubicBezTo>
                  <a:pt x="474" y="925"/>
                  <a:pt x="473" y="927"/>
                  <a:pt x="473" y="928"/>
                </a:cubicBezTo>
                <a:cubicBezTo>
                  <a:pt x="473" y="930"/>
                  <a:pt x="473" y="932"/>
                  <a:pt x="473" y="935"/>
                </a:cubicBezTo>
                <a:cubicBezTo>
                  <a:pt x="473" y="942"/>
                  <a:pt x="476" y="944"/>
                  <a:pt x="482" y="946"/>
                </a:cubicBezTo>
                <a:cubicBezTo>
                  <a:pt x="482" y="946"/>
                  <a:pt x="482" y="946"/>
                  <a:pt x="482" y="946"/>
                </a:cubicBezTo>
                <a:cubicBezTo>
                  <a:pt x="476" y="947"/>
                  <a:pt x="473" y="950"/>
                  <a:pt x="473" y="957"/>
                </a:cubicBezTo>
                <a:cubicBezTo>
                  <a:pt x="473" y="959"/>
                  <a:pt x="473" y="962"/>
                  <a:pt x="473" y="963"/>
                </a:cubicBezTo>
                <a:cubicBezTo>
                  <a:pt x="473" y="965"/>
                  <a:pt x="474" y="966"/>
                  <a:pt x="474" y="968"/>
                </a:cubicBezTo>
                <a:cubicBezTo>
                  <a:pt x="474" y="971"/>
                  <a:pt x="473" y="974"/>
                  <a:pt x="468" y="974"/>
                </a:cubicBezTo>
                <a:cubicBezTo>
                  <a:pt x="468" y="974"/>
                  <a:pt x="468" y="974"/>
                  <a:pt x="467" y="974"/>
                </a:cubicBezTo>
                <a:cubicBezTo>
                  <a:pt x="467" y="974"/>
                  <a:pt x="467" y="974"/>
                  <a:pt x="467" y="983"/>
                </a:cubicBezTo>
                <a:cubicBezTo>
                  <a:pt x="467" y="983"/>
                  <a:pt x="467" y="983"/>
                  <a:pt x="471" y="983"/>
                </a:cubicBezTo>
                <a:cubicBezTo>
                  <a:pt x="480" y="983"/>
                  <a:pt x="485" y="980"/>
                  <a:pt x="485" y="970"/>
                </a:cubicBezTo>
                <a:cubicBezTo>
                  <a:pt x="485" y="968"/>
                  <a:pt x="485" y="966"/>
                  <a:pt x="485" y="963"/>
                </a:cubicBezTo>
                <a:cubicBezTo>
                  <a:pt x="485" y="960"/>
                  <a:pt x="485" y="958"/>
                  <a:pt x="485" y="956"/>
                </a:cubicBezTo>
                <a:cubicBezTo>
                  <a:pt x="485" y="953"/>
                  <a:pt x="485" y="950"/>
                  <a:pt x="491" y="950"/>
                </a:cubicBezTo>
                <a:close/>
                <a:moveTo>
                  <a:pt x="538" y="909"/>
                </a:moveTo>
                <a:cubicBezTo>
                  <a:pt x="538" y="909"/>
                  <a:pt x="538" y="909"/>
                  <a:pt x="538" y="909"/>
                </a:cubicBezTo>
                <a:cubicBezTo>
                  <a:pt x="533" y="909"/>
                  <a:pt x="533" y="909"/>
                  <a:pt x="533" y="909"/>
                </a:cubicBezTo>
                <a:cubicBezTo>
                  <a:pt x="531" y="911"/>
                  <a:pt x="529" y="912"/>
                  <a:pt x="527" y="913"/>
                </a:cubicBezTo>
                <a:cubicBezTo>
                  <a:pt x="526" y="915"/>
                  <a:pt x="523" y="915"/>
                  <a:pt x="522" y="916"/>
                </a:cubicBezTo>
                <a:cubicBezTo>
                  <a:pt x="520" y="917"/>
                  <a:pt x="518" y="917"/>
                  <a:pt x="517" y="918"/>
                </a:cubicBezTo>
                <a:cubicBezTo>
                  <a:pt x="515" y="919"/>
                  <a:pt x="513" y="920"/>
                  <a:pt x="511" y="920"/>
                </a:cubicBezTo>
                <a:cubicBezTo>
                  <a:pt x="511" y="920"/>
                  <a:pt x="511" y="920"/>
                  <a:pt x="511" y="931"/>
                </a:cubicBezTo>
                <a:cubicBezTo>
                  <a:pt x="514" y="930"/>
                  <a:pt x="517" y="928"/>
                  <a:pt x="519" y="928"/>
                </a:cubicBezTo>
                <a:cubicBezTo>
                  <a:pt x="522" y="927"/>
                  <a:pt x="524" y="925"/>
                  <a:pt x="526" y="924"/>
                </a:cubicBezTo>
                <a:cubicBezTo>
                  <a:pt x="526" y="924"/>
                  <a:pt x="526" y="924"/>
                  <a:pt x="526" y="983"/>
                </a:cubicBezTo>
                <a:cubicBezTo>
                  <a:pt x="526" y="983"/>
                  <a:pt x="526" y="983"/>
                  <a:pt x="538" y="983"/>
                </a:cubicBezTo>
                <a:cubicBezTo>
                  <a:pt x="538" y="983"/>
                  <a:pt x="538" y="983"/>
                  <a:pt x="538" y="909"/>
                </a:cubicBezTo>
                <a:close/>
                <a:moveTo>
                  <a:pt x="584" y="909"/>
                </a:moveTo>
                <a:cubicBezTo>
                  <a:pt x="584" y="909"/>
                  <a:pt x="584" y="909"/>
                  <a:pt x="584" y="909"/>
                </a:cubicBezTo>
                <a:cubicBezTo>
                  <a:pt x="579" y="909"/>
                  <a:pt x="579" y="909"/>
                  <a:pt x="579" y="909"/>
                </a:cubicBezTo>
                <a:cubicBezTo>
                  <a:pt x="577" y="911"/>
                  <a:pt x="576" y="912"/>
                  <a:pt x="574" y="913"/>
                </a:cubicBezTo>
                <a:cubicBezTo>
                  <a:pt x="572" y="915"/>
                  <a:pt x="570" y="915"/>
                  <a:pt x="569" y="916"/>
                </a:cubicBezTo>
                <a:cubicBezTo>
                  <a:pt x="567" y="917"/>
                  <a:pt x="565" y="918"/>
                  <a:pt x="563" y="919"/>
                </a:cubicBezTo>
                <a:cubicBezTo>
                  <a:pt x="561" y="920"/>
                  <a:pt x="560" y="920"/>
                  <a:pt x="558" y="920"/>
                </a:cubicBezTo>
                <a:cubicBezTo>
                  <a:pt x="558" y="920"/>
                  <a:pt x="558" y="920"/>
                  <a:pt x="558" y="931"/>
                </a:cubicBezTo>
                <a:cubicBezTo>
                  <a:pt x="561" y="930"/>
                  <a:pt x="563" y="929"/>
                  <a:pt x="566" y="928"/>
                </a:cubicBezTo>
                <a:cubicBezTo>
                  <a:pt x="569" y="927"/>
                  <a:pt x="571" y="925"/>
                  <a:pt x="573" y="924"/>
                </a:cubicBezTo>
                <a:cubicBezTo>
                  <a:pt x="573" y="924"/>
                  <a:pt x="573" y="924"/>
                  <a:pt x="573" y="983"/>
                </a:cubicBezTo>
                <a:cubicBezTo>
                  <a:pt x="573" y="983"/>
                  <a:pt x="573" y="983"/>
                  <a:pt x="584" y="983"/>
                </a:cubicBezTo>
                <a:cubicBezTo>
                  <a:pt x="584" y="983"/>
                  <a:pt x="584" y="983"/>
                  <a:pt x="584" y="909"/>
                </a:cubicBezTo>
                <a:close/>
                <a:moveTo>
                  <a:pt x="630" y="909"/>
                </a:moveTo>
                <a:cubicBezTo>
                  <a:pt x="630" y="909"/>
                  <a:pt x="630" y="909"/>
                  <a:pt x="630" y="909"/>
                </a:cubicBezTo>
                <a:cubicBezTo>
                  <a:pt x="626" y="909"/>
                  <a:pt x="626" y="909"/>
                  <a:pt x="626" y="909"/>
                </a:cubicBezTo>
                <a:cubicBezTo>
                  <a:pt x="624" y="911"/>
                  <a:pt x="622" y="912"/>
                  <a:pt x="620" y="913"/>
                </a:cubicBezTo>
                <a:cubicBezTo>
                  <a:pt x="619" y="915"/>
                  <a:pt x="616" y="915"/>
                  <a:pt x="615" y="916"/>
                </a:cubicBezTo>
                <a:cubicBezTo>
                  <a:pt x="613" y="917"/>
                  <a:pt x="611" y="918"/>
                  <a:pt x="609" y="919"/>
                </a:cubicBezTo>
                <a:cubicBezTo>
                  <a:pt x="608" y="920"/>
                  <a:pt x="606" y="920"/>
                  <a:pt x="604" y="920"/>
                </a:cubicBezTo>
                <a:cubicBezTo>
                  <a:pt x="604" y="920"/>
                  <a:pt x="604" y="920"/>
                  <a:pt x="604" y="931"/>
                </a:cubicBezTo>
                <a:cubicBezTo>
                  <a:pt x="607" y="930"/>
                  <a:pt x="610" y="929"/>
                  <a:pt x="612" y="928"/>
                </a:cubicBezTo>
                <a:cubicBezTo>
                  <a:pt x="614" y="927"/>
                  <a:pt x="617" y="925"/>
                  <a:pt x="619" y="924"/>
                </a:cubicBezTo>
                <a:cubicBezTo>
                  <a:pt x="619" y="924"/>
                  <a:pt x="619" y="924"/>
                  <a:pt x="619" y="983"/>
                </a:cubicBezTo>
                <a:cubicBezTo>
                  <a:pt x="619" y="983"/>
                  <a:pt x="619" y="983"/>
                  <a:pt x="630" y="983"/>
                </a:cubicBezTo>
                <a:cubicBezTo>
                  <a:pt x="630" y="983"/>
                  <a:pt x="630" y="983"/>
                  <a:pt x="630" y="909"/>
                </a:cubicBezTo>
                <a:close/>
                <a:moveTo>
                  <a:pt x="380" y="957"/>
                </a:moveTo>
                <a:cubicBezTo>
                  <a:pt x="380" y="958"/>
                  <a:pt x="381" y="960"/>
                  <a:pt x="382" y="961"/>
                </a:cubicBezTo>
                <a:cubicBezTo>
                  <a:pt x="382" y="963"/>
                  <a:pt x="382" y="965"/>
                  <a:pt x="383" y="966"/>
                </a:cubicBezTo>
                <a:cubicBezTo>
                  <a:pt x="383" y="968"/>
                  <a:pt x="383" y="969"/>
                  <a:pt x="383" y="971"/>
                </a:cubicBezTo>
                <a:cubicBezTo>
                  <a:pt x="384" y="974"/>
                  <a:pt x="383" y="976"/>
                  <a:pt x="380" y="976"/>
                </a:cubicBezTo>
                <a:cubicBezTo>
                  <a:pt x="377" y="976"/>
                  <a:pt x="374" y="975"/>
                  <a:pt x="371" y="975"/>
                </a:cubicBezTo>
                <a:cubicBezTo>
                  <a:pt x="371" y="975"/>
                  <a:pt x="370" y="975"/>
                  <a:pt x="370" y="976"/>
                </a:cubicBezTo>
                <a:cubicBezTo>
                  <a:pt x="368" y="977"/>
                  <a:pt x="367" y="979"/>
                  <a:pt x="366" y="980"/>
                </a:cubicBezTo>
                <a:cubicBezTo>
                  <a:pt x="364" y="983"/>
                  <a:pt x="360" y="983"/>
                  <a:pt x="358" y="981"/>
                </a:cubicBezTo>
                <a:cubicBezTo>
                  <a:pt x="356" y="979"/>
                  <a:pt x="355" y="976"/>
                  <a:pt x="353" y="973"/>
                </a:cubicBezTo>
                <a:cubicBezTo>
                  <a:pt x="353" y="972"/>
                  <a:pt x="353" y="970"/>
                  <a:pt x="355" y="969"/>
                </a:cubicBezTo>
                <a:cubicBezTo>
                  <a:pt x="353" y="969"/>
                  <a:pt x="351" y="969"/>
                  <a:pt x="349" y="969"/>
                </a:cubicBezTo>
                <a:cubicBezTo>
                  <a:pt x="349" y="971"/>
                  <a:pt x="347" y="973"/>
                  <a:pt x="347" y="975"/>
                </a:cubicBezTo>
                <a:cubicBezTo>
                  <a:pt x="347" y="975"/>
                  <a:pt x="346" y="976"/>
                  <a:pt x="346" y="977"/>
                </a:cubicBezTo>
                <a:cubicBezTo>
                  <a:pt x="346" y="980"/>
                  <a:pt x="345" y="981"/>
                  <a:pt x="342" y="981"/>
                </a:cubicBezTo>
                <a:cubicBezTo>
                  <a:pt x="339" y="981"/>
                  <a:pt x="336" y="980"/>
                  <a:pt x="333" y="979"/>
                </a:cubicBezTo>
                <a:cubicBezTo>
                  <a:pt x="331" y="978"/>
                  <a:pt x="331" y="977"/>
                  <a:pt x="331" y="975"/>
                </a:cubicBezTo>
                <a:cubicBezTo>
                  <a:pt x="331" y="974"/>
                  <a:pt x="331" y="973"/>
                  <a:pt x="332" y="973"/>
                </a:cubicBezTo>
                <a:cubicBezTo>
                  <a:pt x="329" y="972"/>
                  <a:pt x="327" y="971"/>
                  <a:pt x="325" y="969"/>
                </a:cubicBezTo>
                <a:cubicBezTo>
                  <a:pt x="324" y="969"/>
                  <a:pt x="323" y="967"/>
                  <a:pt x="322" y="965"/>
                </a:cubicBezTo>
                <a:cubicBezTo>
                  <a:pt x="321" y="963"/>
                  <a:pt x="321" y="962"/>
                  <a:pt x="323" y="960"/>
                </a:cubicBezTo>
                <a:cubicBezTo>
                  <a:pt x="326" y="958"/>
                  <a:pt x="327" y="955"/>
                  <a:pt x="326" y="951"/>
                </a:cubicBezTo>
                <a:cubicBezTo>
                  <a:pt x="326" y="949"/>
                  <a:pt x="326" y="947"/>
                  <a:pt x="326" y="945"/>
                </a:cubicBezTo>
                <a:cubicBezTo>
                  <a:pt x="325" y="944"/>
                  <a:pt x="323" y="944"/>
                  <a:pt x="322" y="943"/>
                </a:cubicBezTo>
                <a:cubicBezTo>
                  <a:pt x="321" y="941"/>
                  <a:pt x="320" y="939"/>
                  <a:pt x="320" y="937"/>
                </a:cubicBezTo>
                <a:cubicBezTo>
                  <a:pt x="320" y="934"/>
                  <a:pt x="324" y="931"/>
                  <a:pt x="326" y="931"/>
                </a:cubicBezTo>
                <a:cubicBezTo>
                  <a:pt x="327" y="931"/>
                  <a:pt x="327" y="932"/>
                  <a:pt x="327" y="933"/>
                </a:cubicBezTo>
                <a:cubicBezTo>
                  <a:pt x="327" y="934"/>
                  <a:pt x="327" y="935"/>
                  <a:pt x="327" y="936"/>
                </a:cubicBezTo>
                <a:cubicBezTo>
                  <a:pt x="327" y="936"/>
                  <a:pt x="326" y="936"/>
                  <a:pt x="326" y="936"/>
                </a:cubicBezTo>
                <a:cubicBezTo>
                  <a:pt x="326" y="937"/>
                  <a:pt x="325" y="938"/>
                  <a:pt x="324" y="940"/>
                </a:cubicBezTo>
                <a:cubicBezTo>
                  <a:pt x="326" y="940"/>
                  <a:pt x="326" y="940"/>
                  <a:pt x="327" y="939"/>
                </a:cubicBezTo>
                <a:cubicBezTo>
                  <a:pt x="328" y="938"/>
                  <a:pt x="329" y="937"/>
                  <a:pt x="329" y="936"/>
                </a:cubicBezTo>
                <a:cubicBezTo>
                  <a:pt x="334" y="929"/>
                  <a:pt x="340" y="926"/>
                  <a:pt x="347" y="924"/>
                </a:cubicBezTo>
                <a:cubicBezTo>
                  <a:pt x="351" y="924"/>
                  <a:pt x="354" y="922"/>
                  <a:pt x="356" y="920"/>
                </a:cubicBezTo>
                <a:cubicBezTo>
                  <a:pt x="356" y="919"/>
                  <a:pt x="357" y="919"/>
                  <a:pt x="357" y="919"/>
                </a:cubicBezTo>
                <a:cubicBezTo>
                  <a:pt x="360" y="918"/>
                  <a:pt x="362" y="916"/>
                  <a:pt x="364" y="914"/>
                </a:cubicBezTo>
                <a:cubicBezTo>
                  <a:pt x="371" y="907"/>
                  <a:pt x="383" y="906"/>
                  <a:pt x="391" y="913"/>
                </a:cubicBezTo>
                <a:cubicBezTo>
                  <a:pt x="393" y="915"/>
                  <a:pt x="396" y="917"/>
                  <a:pt x="398" y="919"/>
                </a:cubicBezTo>
                <a:cubicBezTo>
                  <a:pt x="400" y="920"/>
                  <a:pt x="401" y="922"/>
                  <a:pt x="402" y="924"/>
                </a:cubicBezTo>
                <a:cubicBezTo>
                  <a:pt x="403" y="925"/>
                  <a:pt x="404" y="925"/>
                  <a:pt x="405" y="924"/>
                </a:cubicBezTo>
                <a:cubicBezTo>
                  <a:pt x="406" y="924"/>
                  <a:pt x="406" y="923"/>
                  <a:pt x="407" y="922"/>
                </a:cubicBezTo>
                <a:cubicBezTo>
                  <a:pt x="409" y="919"/>
                  <a:pt x="412" y="919"/>
                  <a:pt x="413" y="922"/>
                </a:cubicBezTo>
                <a:cubicBezTo>
                  <a:pt x="415" y="926"/>
                  <a:pt x="415" y="928"/>
                  <a:pt x="416" y="931"/>
                </a:cubicBezTo>
                <a:cubicBezTo>
                  <a:pt x="416" y="936"/>
                  <a:pt x="416" y="940"/>
                  <a:pt x="415" y="945"/>
                </a:cubicBezTo>
                <a:cubicBezTo>
                  <a:pt x="412" y="951"/>
                  <a:pt x="407" y="954"/>
                  <a:pt x="401" y="954"/>
                </a:cubicBezTo>
                <a:cubicBezTo>
                  <a:pt x="400" y="954"/>
                  <a:pt x="400" y="954"/>
                  <a:pt x="399" y="954"/>
                </a:cubicBezTo>
                <a:cubicBezTo>
                  <a:pt x="396" y="954"/>
                  <a:pt x="395" y="954"/>
                  <a:pt x="395" y="957"/>
                </a:cubicBezTo>
                <a:cubicBezTo>
                  <a:pt x="393" y="961"/>
                  <a:pt x="387" y="963"/>
                  <a:pt x="384" y="960"/>
                </a:cubicBezTo>
                <a:cubicBezTo>
                  <a:pt x="383" y="958"/>
                  <a:pt x="382" y="958"/>
                  <a:pt x="381" y="956"/>
                </a:cubicBezTo>
                <a:cubicBezTo>
                  <a:pt x="380" y="957"/>
                  <a:pt x="380" y="957"/>
                  <a:pt x="380" y="957"/>
                </a:cubicBezTo>
                <a:close/>
                <a:moveTo>
                  <a:pt x="375" y="952"/>
                </a:moveTo>
                <a:cubicBezTo>
                  <a:pt x="378" y="954"/>
                  <a:pt x="382" y="955"/>
                  <a:pt x="384" y="958"/>
                </a:cubicBezTo>
                <a:cubicBezTo>
                  <a:pt x="386" y="960"/>
                  <a:pt x="388" y="960"/>
                  <a:pt x="390" y="960"/>
                </a:cubicBezTo>
                <a:cubicBezTo>
                  <a:pt x="393" y="959"/>
                  <a:pt x="394" y="957"/>
                  <a:pt x="394" y="954"/>
                </a:cubicBezTo>
                <a:cubicBezTo>
                  <a:pt x="394" y="954"/>
                  <a:pt x="393" y="954"/>
                  <a:pt x="393" y="954"/>
                </a:cubicBezTo>
                <a:cubicBezTo>
                  <a:pt x="393" y="956"/>
                  <a:pt x="391" y="957"/>
                  <a:pt x="391" y="958"/>
                </a:cubicBezTo>
                <a:cubicBezTo>
                  <a:pt x="389" y="959"/>
                  <a:pt x="388" y="959"/>
                  <a:pt x="387" y="958"/>
                </a:cubicBezTo>
                <a:cubicBezTo>
                  <a:pt x="387" y="958"/>
                  <a:pt x="386" y="957"/>
                  <a:pt x="386" y="956"/>
                </a:cubicBezTo>
                <a:cubicBezTo>
                  <a:pt x="386" y="954"/>
                  <a:pt x="387" y="952"/>
                  <a:pt x="387" y="950"/>
                </a:cubicBezTo>
                <a:cubicBezTo>
                  <a:pt x="390" y="951"/>
                  <a:pt x="393" y="952"/>
                  <a:pt x="397" y="952"/>
                </a:cubicBezTo>
                <a:cubicBezTo>
                  <a:pt x="404" y="954"/>
                  <a:pt x="410" y="952"/>
                  <a:pt x="413" y="943"/>
                </a:cubicBezTo>
                <a:cubicBezTo>
                  <a:pt x="415" y="939"/>
                  <a:pt x="415" y="934"/>
                  <a:pt x="414" y="929"/>
                </a:cubicBezTo>
                <a:cubicBezTo>
                  <a:pt x="413" y="927"/>
                  <a:pt x="413" y="925"/>
                  <a:pt x="412" y="923"/>
                </a:cubicBezTo>
                <a:cubicBezTo>
                  <a:pt x="411" y="922"/>
                  <a:pt x="410" y="921"/>
                  <a:pt x="409" y="923"/>
                </a:cubicBezTo>
                <a:cubicBezTo>
                  <a:pt x="407" y="924"/>
                  <a:pt x="406" y="926"/>
                  <a:pt x="404" y="927"/>
                </a:cubicBezTo>
                <a:cubicBezTo>
                  <a:pt x="403" y="927"/>
                  <a:pt x="402" y="928"/>
                  <a:pt x="402" y="929"/>
                </a:cubicBezTo>
                <a:cubicBezTo>
                  <a:pt x="403" y="932"/>
                  <a:pt x="402" y="935"/>
                  <a:pt x="401" y="939"/>
                </a:cubicBezTo>
                <a:cubicBezTo>
                  <a:pt x="401" y="937"/>
                  <a:pt x="402" y="935"/>
                  <a:pt x="402" y="933"/>
                </a:cubicBezTo>
                <a:cubicBezTo>
                  <a:pt x="402" y="932"/>
                  <a:pt x="401" y="932"/>
                  <a:pt x="401" y="931"/>
                </a:cubicBezTo>
                <a:cubicBezTo>
                  <a:pt x="400" y="932"/>
                  <a:pt x="400" y="932"/>
                  <a:pt x="400" y="932"/>
                </a:cubicBezTo>
                <a:cubicBezTo>
                  <a:pt x="399" y="933"/>
                  <a:pt x="398" y="935"/>
                  <a:pt x="397" y="936"/>
                </a:cubicBezTo>
                <a:cubicBezTo>
                  <a:pt x="397" y="936"/>
                  <a:pt x="397" y="936"/>
                  <a:pt x="397" y="936"/>
                </a:cubicBezTo>
                <a:cubicBezTo>
                  <a:pt x="397" y="935"/>
                  <a:pt x="398" y="933"/>
                  <a:pt x="398" y="931"/>
                </a:cubicBezTo>
                <a:cubicBezTo>
                  <a:pt x="397" y="931"/>
                  <a:pt x="396" y="932"/>
                  <a:pt x="396" y="933"/>
                </a:cubicBezTo>
                <a:cubicBezTo>
                  <a:pt x="395" y="933"/>
                  <a:pt x="395" y="934"/>
                  <a:pt x="395" y="935"/>
                </a:cubicBezTo>
                <a:cubicBezTo>
                  <a:pt x="395" y="931"/>
                  <a:pt x="395" y="931"/>
                  <a:pt x="401" y="930"/>
                </a:cubicBezTo>
                <a:cubicBezTo>
                  <a:pt x="401" y="929"/>
                  <a:pt x="400" y="929"/>
                  <a:pt x="400" y="929"/>
                </a:cubicBezTo>
                <a:cubicBezTo>
                  <a:pt x="397" y="929"/>
                  <a:pt x="396" y="928"/>
                  <a:pt x="396" y="926"/>
                </a:cubicBezTo>
                <a:cubicBezTo>
                  <a:pt x="398" y="925"/>
                  <a:pt x="399" y="925"/>
                  <a:pt x="401" y="924"/>
                </a:cubicBezTo>
                <a:cubicBezTo>
                  <a:pt x="399" y="922"/>
                  <a:pt x="398" y="919"/>
                  <a:pt x="395" y="919"/>
                </a:cubicBezTo>
                <a:cubicBezTo>
                  <a:pt x="394" y="919"/>
                  <a:pt x="394" y="918"/>
                  <a:pt x="394" y="918"/>
                </a:cubicBezTo>
                <a:cubicBezTo>
                  <a:pt x="391" y="916"/>
                  <a:pt x="389" y="914"/>
                  <a:pt x="386" y="912"/>
                </a:cubicBezTo>
                <a:cubicBezTo>
                  <a:pt x="384" y="910"/>
                  <a:pt x="381" y="910"/>
                  <a:pt x="379" y="910"/>
                </a:cubicBezTo>
                <a:cubicBezTo>
                  <a:pt x="376" y="910"/>
                  <a:pt x="373" y="911"/>
                  <a:pt x="369" y="912"/>
                </a:cubicBezTo>
                <a:cubicBezTo>
                  <a:pt x="367" y="913"/>
                  <a:pt x="364" y="915"/>
                  <a:pt x="362" y="918"/>
                </a:cubicBezTo>
                <a:cubicBezTo>
                  <a:pt x="364" y="918"/>
                  <a:pt x="365" y="918"/>
                  <a:pt x="366" y="918"/>
                </a:cubicBezTo>
                <a:cubicBezTo>
                  <a:pt x="366" y="918"/>
                  <a:pt x="365" y="919"/>
                  <a:pt x="364" y="919"/>
                </a:cubicBezTo>
                <a:cubicBezTo>
                  <a:pt x="362" y="920"/>
                  <a:pt x="359" y="919"/>
                  <a:pt x="357" y="921"/>
                </a:cubicBezTo>
                <a:cubicBezTo>
                  <a:pt x="354" y="925"/>
                  <a:pt x="350" y="929"/>
                  <a:pt x="346" y="933"/>
                </a:cubicBezTo>
                <a:cubicBezTo>
                  <a:pt x="345" y="935"/>
                  <a:pt x="344" y="937"/>
                  <a:pt x="343" y="940"/>
                </a:cubicBezTo>
                <a:cubicBezTo>
                  <a:pt x="343" y="940"/>
                  <a:pt x="343" y="941"/>
                  <a:pt x="343" y="941"/>
                </a:cubicBezTo>
                <a:cubicBezTo>
                  <a:pt x="344" y="943"/>
                  <a:pt x="346" y="945"/>
                  <a:pt x="347" y="947"/>
                </a:cubicBezTo>
                <a:cubicBezTo>
                  <a:pt x="348" y="946"/>
                  <a:pt x="349" y="944"/>
                  <a:pt x="351" y="943"/>
                </a:cubicBezTo>
                <a:cubicBezTo>
                  <a:pt x="350" y="944"/>
                  <a:pt x="350" y="945"/>
                  <a:pt x="349" y="947"/>
                </a:cubicBezTo>
                <a:cubicBezTo>
                  <a:pt x="348" y="948"/>
                  <a:pt x="347" y="949"/>
                  <a:pt x="347" y="951"/>
                </a:cubicBezTo>
                <a:cubicBezTo>
                  <a:pt x="347" y="952"/>
                  <a:pt x="347" y="953"/>
                  <a:pt x="347" y="954"/>
                </a:cubicBezTo>
                <a:cubicBezTo>
                  <a:pt x="350" y="957"/>
                  <a:pt x="353" y="957"/>
                  <a:pt x="357" y="955"/>
                </a:cubicBezTo>
                <a:cubicBezTo>
                  <a:pt x="359" y="954"/>
                  <a:pt x="362" y="952"/>
                  <a:pt x="365" y="952"/>
                </a:cubicBezTo>
                <a:cubicBezTo>
                  <a:pt x="366" y="951"/>
                  <a:pt x="367" y="950"/>
                  <a:pt x="367" y="949"/>
                </a:cubicBezTo>
                <a:cubicBezTo>
                  <a:pt x="367" y="946"/>
                  <a:pt x="367" y="942"/>
                  <a:pt x="367" y="939"/>
                </a:cubicBezTo>
                <a:cubicBezTo>
                  <a:pt x="367" y="936"/>
                  <a:pt x="367" y="933"/>
                  <a:pt x="367" y="930"/>
                </a:cubicBezTo>
                <a:cubicBezTo>
                  <a:pt x="368" y="933"/>
                  <a:pt x="369" y="935"/>
                  <a:pt x="369" y="938"/>
                </a:cubicBezTo>
                <a:cubicBezTo>
                  <a:pt x="370" y="943"/>
                  <a:pt x="370" y="947"/>
                  <a:pt x="369" y="951"/>
                </a:cubicBezTo>
                <a:cubicBezTo>
                  <a:pt x="368" y="952"/>
                  <a:pt x="367" y="953"/>
                  <a:pt x="367" y="953"/>
                </a:cubicBezTo>
                <a:cubicBezTo>
                  <a:pt x="364" y="953"/>
                  <a:pt x="360" y="955"/>
                  <a:pt x="357" y="957"/>
                </a:cubicBezTo>
                <a:cubicBezTo>
                  <a:pt x="352" y="960"/>
                  <a:pt x="349" y="958"/>
                  <a:pt x="345" y="954"/>
                </a:cubicBezTo>
                <a:cubicBezTo>
                  <a:pt x="345" y="954"/>
                  <a:pt x="345" y="952"/>
                  <a:pt x="345" y="952"/>
                </a:cubicBezTo>
                <a:cubicBezTo>
                  <a:pt x="346" y="950"/>
                  <a:pt x="345" y="948"/>
                  <a:pt x="344" y="946"/>
                </a:cubicBezTo>
                <a:cubicBezTo>
                  <a:pt x="342" y="944"/>
                  <a:pt x="340" y="941"/>
                  <a:pt x="342" y="939"/>
                </a:cubicBezTo>
                <a:cubicBezTo>
                  <a:pt x="342" y="937"/>
                  <a:pt x="343" y="935"/>
                  <a:pt x="344" y="933"/>
                </a:cubicBezTo>
                <a:cubicBezTo>
                  <a:pt x="346" y="931"/>
                  <a:pt x="348" y="928"/>
                  <a:pt x="350" y="926"/>
                </a:cubicBezTo>
                <a:cubicBezTo>
                  <a:pt x="350" y="926"/>
                  <a:pt x="349" y="926"/>
                  <a:pt x="349" y="926"/>
                </a:cubicBezTo>
                <a:cubicBezTo>
                  <a:pt x="344" y="927"/>
                  <a:pt x="340" y="928"/>
                  <a:pt x="336" y="931"/>
                </a:cubicBezTo>
                <a:cubicBezTo>
                  <a:pt x="331" y="936"/>
                  <a:pt x="328" y="941"/>
                  <a:pt x="328" y="948"/>
                </a:cubicBezTo>
                <a:cubicBezTo>
                  <a:pt x="327" y="954"/>
                  <a:pt x="330" y="960"/>
                  <a:pt x="333" y="966"/>
                </a:cubicBezTo>
                <a:cubicBezTo>
                  <a:pt x="334" y="967"/>
                  <a:pt x="335" y="969"/>
                  <a:pt x="334" y="970"/>
                </a:cubicBezTo>
                <a:cubicBezTo>
                  <a:pt x="334" y="971"/>
                  <a:pt x="334" y="973"/>
                  <a:pt x="333" y="974"/>
                </a:cubicBezTo>
                <a:cubicBezTo>
                  <a:pt x="333" y="976"/>
                  <a:pt x="333" y="977"/>
                  <a:pt x="334" y="977"/>
                </a:cubicBezTo>
                <a:cubicBezTo>
                  <a:pt x="337" y="978"/>
                  <a:pt x="340" y="979"/>
                  <a:pt x="343" y="979"/>
                </a:cubicBezTo>
                <a:cubicBezTo>
                  <a:pt x="344" y="979"/>
                  <a:pt x="344" y="978"/>
                  <a:pt x="344" y="978"/>
                </a:cubicBezTo>
                <a:cubicBezTo>
                  <a:pt x="345" y="977"/>
                  <a:pt x="345" y="975"/>
                  <a:pt x="346" y="974"/>
                </a:cubicBezTo>
                <a:cubicBezTo>
                  <a:pt x="347" y="972"/>
                  <a:pt x="347" y="969"/>
                  <a:pt x="347" y="966"/>
                </a:cubicBezTo>
                <a:cubicBezTo>
                  <a:pt x="347" y="966"/>
                  <a:pt x="347" y="966"/>
                  <a:pt x="347" y="965"/>
                </a:cubicBezTo>
                <a:cubicBezTo>
                  <a:pt x="347" y="965"/>
                  <a:pt x="347" y="965"/>
                  <a:pt x="347" y="964"/>
                </a:cubicBezTo>
                <a:cubicBezTo>
                  <a:pt x="348" y="967"/>
                  <a:pt x="349" y="967"/>
                  <a:pt x="351" y="967"/>
                </a:cubicBezTo>
                <a:cubicBezTo>
                  <a:pt x="352" y="967"/>
                  <a:pt x="353" y="967"/>
                  <a:pt x="354" y="967"/>
                </a:cubicBezTo>
                <a:cubicBezTo>
                  <a:pt x="356" y="967"/>
                  <a:pt x="360" y="968"/>
                  <a:pt x="360" y="964"/>
                </a:cubicBezTo>
                <a:cubicBezTo>
                  <a:pt x="360" y="966"/>
                  <a:pt x="360" y="967"/>
                  <a:pt x="360" y="968"/>
                </a:cubicBezTo>
                <a:cubicBezTo>
                  <a:pt x="359" y="969"/>
                  <a:pt x="358" y="970"/>
                  <a:pt x="356" y="970"/>
                </a:cubicBezTo>
                <a:cubicBezTo>
                  <a:pt x="355" y="971"/>
                  <a:pt x="355" y="973"/>
                  <a:pt x="355" y="973"/>
                </a:cubicBezTo>
                <a:cubicBezTo>
                  <a:pt x="356" y="976"/>
                  <a:pt x="358" y="978"/>
                  <a:pt x="359" y="980"/>
                </a:cubicBezTo>
                <a:cubicBezTo>
                  <a:pt x="361" y="981"/>
                  <a:pt x="363" y="981"/>
                  <a:pt x="364" y="979"/>
                </a:cubicBezTo>
                <a:cubicBezTo>
                  <a:pt x="365" y="978"/>
                  <a:pt x="366" y="977"/>
                  <a:pt x="366" y="977"/>
                </a:cubicBezTo>
                <a:cubicBezTo>
                  <a:pt x="368" y="975"/>
                  <a:pt x="369" y="974"/>
                  <a:pt x="371" y="973"/>
                </a:cubicBezTo>
                <a:cubicBezTo>
                  <a:pt x="375" y="969"/>
                  <a:pt x="377" y="963"/>
                  <a:pt x="379" y="957"/>
                </a:cubicBezTo>
                <a:cubicBezTo>
                  <a:pt x="379" y="956"/>
                  <a:pt x="378" y="956"/>
                  <a:pt x="378" y="955"/>
                </a:cubicBezTo>
                <a:cubicBezTo>
                  <a:pt x="377" y="954"/>
                  <a:pt x="376" y="953"/>
                  <a:pt x="375" y="952"/>
                </a:cubicBezTo>
                <a:close/>
                <a:moveTo>
                  <a:pt x="327" y="959"/>
                </a:moveTo>
                <a:cubicBezTo>
                  <a:pt x="327" y="960"/>
                  <a:pt x="325" y="960"/>
                  <a:pt x="324" y="962"/>
                </a:cubicBezTo>
                <a:cubicBezTo>
                  <a:pt x="324" y="962"/>
                  <a:pt x="323" y="963"/>
                  <a:pt x="323" y="964"/>
                </a:cubicBezTo>
                <a:cubicBezTo>
                  <a:pt x="323" y="966"/>
                  <a:pt x="327" y="971"/>
                  <a:pt x="331" y="970"/>
                </a:cubicBezTo>
                <a:cubicBezTo>
                  <a:pt x="332" y="970"/>
                  <a:pt x="333" y="969"/>
                  <a:pt x="332" y="967"/>
                </a:cubicBezTo>
                <a:cubicBezTo>
                  <a:pt x="331" y="964"/>
                  <a:pt x="329" y="962"/>
                  <a:pt x="327" y="959"/>
                </a:cubicBezTo>
                <a:close/>
                <a:moveTo>
                  <a:pt x="380" y="961"/>
                </a:moveTo>
                <a:cubicBezTo>
                  <a:pt x="378" y="966"/>
                  <a:pt x="375" y="970"/>
                  <a:pt x="373" y="974"/>
                </a:cubicBezTo>
                <a:cubicBezTo>
                  <a:pt x="376" y="974"/>
                  <a:pt x="378" y="975"/>
                  <a:pt x="381" y="974"/>
                </a:cubicBezTo>
                <a:cubicBezTo>
                  <a:pt x="381" y="974"/>
                  <a:pt x="382" y="973"/>
                  <a:pt x="382" y="973"/>
                </a:cubicBezTo>
                <a:cubicBezTo>
                  <a:pt x="382" y="970"/>
                  <a:pt x="382" y="967"/>
                  <a:pt x="381" y="965"/>
                </a:cubicBezTo>
                <a:cubicBezTo>
                  <a:pt x="381" y="964"/>
                  <a:pt x="380" y="962"/>
                  <a:pt x="380" y="961"/>
                </a:cubicBezTo>
                <a:close/>
                <a:moveTo>
                  <a:pt x="327" y="941"/>
                </a:moveTo>
                <a:cubicBezTo>
                  <a:pt x="327" y="941"/>
                  <a:pt x="326" y="941"/>
                  <a:pt x="326" y="941"/>
                </a:cubicBezTo>
                <a:cubicBezTo>
                  <a:pt x="325" y="941"/>
                  <a:pt x="324" y="941"/>
                  <a:pt x="324" y="941"/>
                </a:cubicBezTo>
                <a:cubicBezTo>
                  <a:pt x="324" y="941"/>
                  <a:pt x="323" y="940"/>
                  <a:pt x="323" y="939"/>
                </a:cubicBezTo>
                <a:cubicBezTo>
                  <a:pt x="324" y="937"/>
                  <a:pt x="324" y="935"/>
                  <a:pt x="325" y="933"/>
                </a:cubicBezTo>
                <a:cubicBezTo>
                  <a:pt x="325" y="933"/>
                  <a:pt x="325" y="933"/>
                  <a:pt x="324" y="933"/>
                </a:cubicBezTo>
                <a:cubicBezTo>
                  <a:pt x="324" y="934"/>
                  <a:pt x="322" y="935"/>
                  <a:pt x="322" y="936"/>
                </a:cubicBezTo>
                <a:cubicBezTo>
                  <a:pt x="321" y="937"/>
                  <a:pt x="322" y="942"/>
                  <a:pt x="324" y="943"/>
                </a:cubicBezTo>
                <a:cubicBezTo>
                  <a:pt x="326" y="944"/>
                  <a:pt x="327" y="943"/>
                  <a:pt x="327" y="941"/>
                </a:cubicBezTo>
                <a:close/>
                <a:moveTo>
                  <a:pt x="327" y="959"/>
                </a:moveTo>
                <a:cubicBezTo>
                  <a:pt x="327" y="960"/>
                  <a:pt x="325" y="961"/>
                  <a:pt x="324" y="962"/>
                </a:cubicBezTo>
                <a:cubicBezTo>
                  <a:pt x="323" y="962"/>
                  <a:pt x="323" y="963"/>
                  <a:pt x="323" y="964"/>
                </a:cubicBezTo>
                <a:cubicBezTo>
                  <a:pt x="323" y="967"/>
                  <a:pt x="327" y="971"/>
                  <a:pt x="331" y="971"/>
                </a:cubicBezTo>
                <a:cubicBezTo>
                  <a:pt x="332" y="971"/>
                  <a:pt x="333" y="969"/>
                  <a:pt x="332" y="968"/>
                </a:cubicBezTo>
                <a:cubicBezTo>
                  <a:pt x="331" y="965"/>
                  <a:pt x="329" y="962"/>
                  <a:pt x="327" y="959"/>
                </a:cubicBezTo>
                <a:close/>
                <a:moveTo>
                  <a:pt x="380" y="961"/>
                </a:moveTo>
                <a:cubicBezTo>
                  <a:pt x="378" y="966"/>
                  <a:pt x="375" y="970"/>
                  <a:pt x="373" y="974"/>
                </a:cubicBezTo>
                <a:cubicBezTo>
                  <a:pt x="376" y="974"/>
                  <a:pt x="378" y="975"/>
                  <a:pt x="381" y="974"/>
                </a:cubicBezTo>
                <a:cubicBezTo>
                  <a:pt x="381" y="974"/>
                  <a:pt x="381" y="973"/>
                  <a:pt x="381" y="973"/>
                </a:cubicBezTo>
                <a:cubicBezTo>
                  <a:pt x="381" y="970"/>
                  <a:pt x="381" y="968"/>
                  <a:pt x="381" y="965"/>
                </a:cubicBezTo>
                <a:cubicBezTo>
                  <a:pt x="381" y="964"/>
                  <a:pt x="380" y="962"/>
                  <a:pt x="380" y="961"/>
                </a:cubicBezTo>
                <a:close/>
                <a:moveTo>
                  <a:pt x="327" y="941"/>
                </a:moveTo>
                <a:cubicBezTo>
                  <a:pt x="326" y="941"/>
                  <a:pt x="326" y="942"/>
                  <a:pt x="325" y="942"/>
                </a:cubicBezTo>
                <a:cubicBezTo>
                  <a:pt x="324" y="942"/>
                  <a:pt x="324" y="942"/>
                  <a:pt x="324" y="941"/>
                </a:cubicBezTo>
                <a:cubicBezTo>
                  <a:pt x="323" y="941"/>
                  <a:pt x="323" y="940"/>
                  <a:pt x="323" y="939"/>
                </a:cubicBezTo>
                <a:cubicBezTo>
                  <a:pt x="324" y="937"/>
                  <a:pt x="324" y="935"/>
                  <a:pt x="325" y="933"/>
                </a:cubicBezTo>
                <a:cubicBezTo>
                  <a:pt x="324" y="933"/>
                  <a:pt x="324" y="933"/>
                  <a:pt x="324" y="933"/>
                </a:cubicBezTo>
                <a:cubicBezTo>
                  <a:pt x="323" y="934"/>
                  <a:pt x="322" y="935"/>
                  <a:pt x="321" y="936"/>
                </a:cubicBezTo>
                <a:cubicBezTo>
                  <a:pt x="320" y="937"/>
                  <a:pt x="322" y="942"/>
                  <a:pt x="324" y="943"/>
                </a:cubicBezTo>
                <a:cubicBezTo>
                  <a:pt x="325" y="944"/>
                  <a:pt x="327" y="943"/>
                  <a:pt x="327" y="941"/>
                </a:cubicBezTo>
                <a:close/>
                <a:moveTo>
                  <a:pt x="380" y="933"/>
                </a:moveTo>
                <a:cubicBezTo>
                  <a:pt x="383" y="929"/>
                  <a:pt x="383" y="929"/>
                  <a:pt x="386" y="928"/>
                </a:cubicBezTo>
                <a:cubicBezTo>
                  <a:pt x="386" y="930"/>
                  <a:pt x="388" y="931"/>
                  <a:pt x="389" y="931"/>
                </a:cubicBezTo>
                <a:cubicBezTo>
                  <a:pt x="387" y="932"/>
                  <a:pt x="385" y="934"/>
                  <a:pt x="383" y="935"/>
                </a:cubicBezTo>
                <a:cubicBezTo>
                  <a:pt x="382" y="934"/>
                  <a:pt x="382" y="933"/>
                  <a:pt x="381" y="932"/>
                </a:cubicBezTo>
                <a:cubicBezTo>
                  <a:pt x="381" y="932"/>
                  <a:pt x="380" y="932"/>
                  <a:pt x="380" y="933"/>
                </a:cubicBezTo>
                <a:close/>
                <a:moveTo>
                  <a:pt x="385" y="932"/>
                </a:moveTo>
                <a:cubicBezTo>
                  <a:pt x="385" y="932"/>
                  <a:pt x="384" y="931"/>
                  <a:pt x="383" y="931"/>
                </a:cubicBezTo>
                <a:cubicBezTo>
                  <a:pt x="383" y="931"/>
                  <a:pt x="382" y="932"/>
                  <a:pt x="382" y="933"/>
                </a:cubicBezTo>
                <a:cubicBezTo>
                  <a:pt x="382" y="933"/>
                  <a:pt x="383" y="933"/>
                  <a:pt x="383" y="934"/>
                </a:cubicBezTo>
                <a:cubicBezTo>
                  <a:pt x="384" y="933"/>
                  <a:pt x="384" y="933"/>
                  <a:pt x="385" y="932"/>
                </a:cubicBezTo>
                <a:close/>
                <a:moveTo>
                  <a:pt x="367" y="922"/>
                </a:moveTo>
                <a:cubicBezTo>
                  <a:pt x="360" y="921"/>
                  <a:pt x="357" y="924"/>
                  <a:pt x="356" y="932"/>
                </a:cubicBezTo>
                <a:cubicBezTo>
                  <a:pt x="357" y="930"/>
                  <a:pt x="358" y="928"/>
                  <a:pt x="360" y="925"/>
                </a:cubicBezTo>
                <a:cubicBezTo>
                  <a:pt x="360" y="925"/>
                  <a:pt x="360" y="925"/>
                  <a:pt x="360" y="925"/>
                </a:cubicBezTo>
                <a:cubicBezTo>
                  <a:pt x="360" y="926"/>
                  <a:pt x="360" y="927"/>
                  <a:pt x="360" y="928"/>
                </a:cubicBezTo>
                <a:cubicBezTo>
                  <a:pt x="361" y="925"/>
                  <a:pt x="363" y="923"/>
                  <a:pt x="367" y="922"/>
                </a:cubicBezTo>
                <a:close/>
                <a:moveTo>
                  <a:pt x="410" y="924"/>
                </a:moveTo>
                <a:cubicBezTo>
                  <a:pt x="408" y="925"/>
                  <a:pt x="406" y="927"/>
                  <a:pt x="404" y="928"/>
                </a:cubicBezTo>
                <a:cubicBezTo>
                  <a:pt x="407" y="928"/>
                  <a:pt x="409" y="927"/>
                  <a:pt x="410" y="924"/>
                </a:cubicBezTo>
                <a:close/>
                <a:moveTo>
                  <a:pt x="377" y="926"/>
                </a:moveTo>
                <a:cubicBezTo>
                  <a:pt x="378" y="925"/>
                  <a:pt x="379" y="923"/>
                  <a:pt x="380" y="922"/>
                </a:cubicBezTo>
                <a:cubicBezTo>
                  <a:pt x="377" y="923"/>
                  <a:pt x="376" y="924"/>
                  <a:pt x="377" y="926"/>
                </a:cubicBezTo>
                <a:close/>
                <a:moveTo>
                  <a:pt x="387" y="947"/>
                </a:moveTo>
                <a:cubicBezTo>
                  <a:pt x="385" y="948"/>
                  <a:pt x="384" y="949"/>
                  <a:pt x="384" y="949"/>
                </a:cubicBezTo>
                <a:cubicBezTo>
                  <a:pt x="385" y="949"/>
                  <a:pt x="386" y="948"/>
                  <a:pt x="387" y="947"/>
                </a:cubicBezTo>
                <a:close/>
                <a:moveTo>
                  <a:pt x="385" y="932"/>
                </a:moveTo>
                <a:cubicBezTo>
                  <a:pt x="385" y="931"/>
                  <a:pt x="384" y="931"/>
                  <a:pt x="383" y="931"/>
                </a:cubicBezTo>
                <a:cubicBezTo>
                  <a:pt x="383" y="931"/>
                  <a:pt x="382" y="932"/>
                  <a:pt x="382" y="932"/>
                </a:cubicBezTo>
                <a:cubicBezTo>
                  <a:pt x="382" y="933"/>
                  <a:pt x="383" y="933"/>
                  <a:pt x="383" y="933"/>
                </a:cubicBezTo>
                <a:cubicBezTo>
                  <a:pt x="384" y="933"/>
                  <a:pt x="384" y="933"/>
                  <a:pt x="385" y="932"/>
                </a:cubicBezTo>
                <a:close/>
                <a:moveTo>
                  <a:pt x="676" y="909"/>
                </a:moveTo>
                <a:cubicBezTo>
                  <a:pt x="676" y="909"/>
                  <a:pt x="676" y="909"/>
                  <a:pt x="676" y="909"/>
                </a:cubicBezTo>
                <a:cubicBezTo>
                  <a:pt x="671" y="909"/>
                  <a:pt x="671" y="909"/>
                  <a:pt x="671" y="909"/>
                </a:cubicBezTo>
                <a:cubicBezTo>
                  <a:pt x="669" y="911"/>
                  <a:pt x="668" y="912"/>
                  <a:pt x="666" y="913"/>
                </a:cubicBezTo>
                <a:cubicBezTo>
                  <a:pt x="664" y="915"/>
                  <a:pt x="662" y="915"/>
                  <a:pt x="661" y="916"/>
                </a:cubicBezTo>
                <a:cubicBezTo>
                  <a:pt x="658" y="917"/>
                  <a:pt x="657" y="918"/>
                  <a:pt x="655" y="919"/>
                </a:cubicBezTo>
                <a:cubicBezTo>
                  <a:pt x="653" y="920"/>
                  <a:pt x="651" y="920"/>
                  <a:pt x="650" y="920"/>
                </a:cubicBezTo>
                <a:cubicBezTo>
                  <a:pt x="650" y="920"/>
                  <a:pt x="650" y="920"/>
                  <a:pt x="650" y="931"/>
                </a:cubicBezTo>
                <a:cubicBezTo>
                  <a:pt x="653" y="930"/>
                  <a:pt x="656" y="929"/>
                  <a:pt x="658" y="928"/>
                </a:cubicBezTo>
                <a:cubicBezTo>
                  <a:pt x="660" y="927"/>
                  <a:pt x="663" y="925"/>
                  <a:pt x="664" y="924"/>
                </a:cubicBezTo>
                <a:cubicBezTo>
                  <a:pt x="664" y="924"/>
                  <a:pt x="664" y="924"/>
                  <a:pt x="664" y="983"/>
                </a:cubicBezTo>
                <a:cubicBezTo>
                  <a:pt x="664" y="983"/>
                  <a:pt x="664" y="983"/>
                  <a:pt x="676" y="983"/>
                </a:cubicBezTo>
                <a:cubicBezTo>
                  <a:pt x="676" y="983"/>
                  <a:pt x="676" y="983"/>
                  <a:pt x="676" y="909"/>
                </a:cubicBezTo>
                <a:close/>
                <a:moveTo>
                  <a:pt x="798" y="909"/>
                </a:moveTo>
                <a:cubicBezTo>
                  <a:pt x="798" y="909"/>
                  <a:pt x="798" y="909"/>
                  <a:pt x="798" y="909"/>
                </a:cubicBezTo>
                <a:cubicBezTo>
                  <a:pt x="792" y="909"/>
                  <a:pt x="792" y="909"/>
                  <a:pt x="792" y="909"/>
                </a:cubicBezTo>
                <a:cubicBezTo>
                  <a:pt x="790" y="911"/>
                  <a:pt x="789" y="912"/>
                  <a:pt x="787" y="913"/>
                </a:cubicBezTo>
                <a:cubicBezTo>
                  <a:pt x="785" y="915"/>
                  <a:pt x="784" y="915"/>
                  <a:pt x="781" y="916"/>
                </a:cubicBezTo>
                <a:cubicBezTo>
                  <a:pt x="780" y="917"/>
                  <a:pt x="778" y="918"/>
                  <a:pt x="776" y="919"/>
                </a:cubicBezTo>
                <a:cubicBezTo>
                  <a:pt x="774" y="920"/>
                  <a:pt x="772" y="920"/>
                  <a:pt x="770" y="920"/>
                </a:cubicBezTo>
                <a:cubicBezTo>
                  <a:pt x="770" y="920"/>
                  <a:pt x="770" y="920"/>
                  <a:pt x="770" y="931"/>
                </a:cubicBezTo>
                <a:cubicBezTo>
                  <a:pt x="773" y="930"/>
                  <a:pt x="776" y="929"/>
                  <a:pt x="779" y="928"/>
                </a:cubicBezTo>
                <a:cubicBezTo>
                  <a:pt x="781" y="927"/>
                  <a:pt x="784" y="925"/>
                  <a:pt x="786" y="924"/>
                </a:cubicBezTo>
                <a:cubicBezTo>
                  <a:pt x="786" y="924"/>
                  <a:pt x="786" y="924"/>
                  <a:pt x="786" y="983"/>
                </a:cubicBezTo>
                <a:cubicBezTo>
                  <a:pt x="786" y="983"/>
                  <a:pt x="786" y="983"/>
                  <a:pt x="798" y="983"/>
                </a:cubicBezTo>
                <a:cubicBezTo>
                  <a:pt x="798" y="983"/>
                  <a:pt x="798" y="983"/>
                  <a:pt x="798" y="909"/>
                </a:cubicBezTo>
                <a:close/>
                <a:moveTo>
                  <a:pt x="844" y="909"/>
                </a:moveTo>
                <a:cubicBezTo>
                  <a:pt x="844" y="909"/>
                  <a:pt x="844" y="909"/>
                  <a:pt x="844" y="909"/>
                </a:cubicBezTo>
                <a:cubicBezTo>
                  <a:pt x="839" y="909"/>
                  <a:pt x="839" y="909"/>
                  <a:pt x="839" y="909"/>
                </a:cubicBezTo>
                <a:cubicBezTo>
                  <a:pt x="837" y="911"/>
                  <a:pt x="835" y="912"/>
                  <a:pt x="833" y="913"/>
                </a:cubicBezTo>
                <a:cubicBezTo>
                  <a:pt x="832" y="915"/>
                  <a:pt x="830" y="915"/>
                  <a:pt x="828" y="916"/>
                </a:cubicBezTo>
                <a:cubicBezTo>
                  <a:pt x="827" y="917"/>
                  <a:pt x="825" y="918"/>
                  <a:pt x="823" y="919"/>
                </a:cubicBezTo>
                <a:cubicBezTo>
                  <a:pt x="821" y="920"/>
                  <a:pt x="819" y="920"/>
                  <a:pt x="817" y="920"/>
                </a:cubicBezTo>
                <a:cubicBezTo>
                  <a:pt x="817" y="920"/>
                  <a:pt x="817" y="920"/>
                  <a:pt x="817" y="931"/>
                </a:cubicBezTo>
                <a:cubicBezTo>
                  <a:pt x="820" y="930"/>
                  <a:pt x="823" y="929"/>
                  <a:pt x="825" y="928"/>
                </a:cubicBezTo>
                <a:cubicBezTo>
                  <a:pt x="828" y="927"/>
                  <a:pt x="830" y="925"/>
                  <a:pt x="833" y="924"/>
                </a:cubicBezTo>
                <a:cubicBezTo>
                  <a:pt x="833" y="924"/>
                  <a:pt x="833" y="924"/>
                  <a:pt x="833" y="983"/>
                </a:cubicBezTo>
                <a:cubicBezTo>
                  <a:pt x="833" y="983"/>
                  <a:pt x="833" y="983"/>
                  <a:pt x="844" y="983"/>
                </a:cubicBezTo>
                <a:cubicBezTo>
                  <a:pt x="844" y="983"/>
                  <a:pt x="844" y="983"/>
                  <a:pt x="844" y="909"/>
                </a:cubicBezTo>
                <a:close/>
                <a:moveTo>
                  <a:pt x="890" y="909"/>
                </a:moveTo>
                <a:cubicBezTo>
                  <a:pt x="890" y="909"/>
                  <a:pt x="890" y="909"/>
                  <a:pt x="890" y="909"/>
                </a:cubicBezTo>
                <a:cubicBezTo>
                  <a:pt x="886" y="909"/>
                  <a:pt x="886" y="909"/>
                  <a:pt x="886" y="909"/>
                </a:cubicBezTo>
                <a:cubicBezTo>
                  <a:pt x="884" y="911"/>
                  <a:pt x="882" y="912"/>
                  <a:pt x="880" y="913"/>
                </a:cubicBezTo>
                <a:cubicBezTo>
                  <a:pt x="879" y="915"/>
                  <a:pt x="876" y="915"/>
                  <a:pt x="875" y="916"/>
                </a:cubicBezTo>
                <a:cubicBezTo>
                  <a:pt x="873" y="917"/>
                  <a:pt x="871" y="917"/>
                  <a:pt x="869" y="918"/>
                </a:cubicBezTo>
                <a:cubicBezTo>
                  <a:pt x="868" y="919"/>
                  <a:pt x="865" y="920"/>
                  <a:pt x="864" y="920"/>
                </a:cubicBezTo>
                <a:cubicBezTo>
                  <a:pt x="864" y="920"/>
                  <a:pt x="864" y="920"/>
                  <a:pt x="864" y="931"/>
                </a:cubicBezTo>
                <a:cubicBezTo>
                  <a:pt x="867" y="930"/>
                  <a:pt x="870" y="928"/>
                  <a:pt x="872" y="928"/>
                </a:cubicBezTo>
                <a:cubicBezTo>
                  <a:pt x="874" y="927"/>
                  <a:pt x="877" y="925"/>
                  <a:pt x="879" y="924"/>
                </a:cubicBezTo>
                <a:cubicBezTo>
                  <a:pt x="879" y="924"/>
                  <a:pt x="879" y="924"/>
                  <a:pt x="879" y="983"/>
                </a:cubicBezTo>
                <a:cubicBezTo>
                  <a:pt x="879" y="983"/>
                  <a:pt x="879" y="983"/>
                  <a:pt x="890" y="983"/>
                </a:cubicBezTo>
                <a:cubicBezTo>
                  <a:pt x="890" y="983"/>
                  <a:pt x="890" y="983"/>
                  <a:pt x="890" y="909"/>
                </a:cubicBezTo>
                <a:close/>
                <a:moveTo>
                  <a:pt x="696" y="942"/>
                </a:moveTo>
                <a:cubicBezTo>
                  <a:pt x="696" y="942"/>
                  <a:pt x="696" y="942"/>
                  <a:pt x="696" y="942"/>
                </a:cubicBezTo>
                <a:cubicBezTo>
                  <a:pt x="696" y="950"/>
                  <a:pt x="696" y="950"/>
                  <a:pt x="696" y="950"/>
                </a:cubicBezTo>
                <a:cubicBezTo>
                  <a:pt x="702" y="950"/>
                  <a:pt x="703" y="953"/>
                  <a:pt x="703" y="956"/>
                </a:cubicBezTo>
                <a:cubicBezTo>
                  <a:pt x="703" y="958"/>
                  <a:pt x="702" y="960"/>
                  <a:pt x="702" y="963"/>
                </a:cubicBezTo>
                <a:cubicBezTo>
                  <a:pt x="702" y="966"/>
                  <a:pt x="702" y="968"/>
                  <a:pt x="702" y="970"/>
                </a:cubicBezTo>
                <a:cubicBezTo>
                  <a:pt x="702" y="980"/>
                  <a:pt x="708" y="983"/>
                  <a:pt x="716" y="983"/>
                </a:cubicBezTo>
                <a:cubicBezTo>
                  <a:pt x="716" y="983"/>
                  <a:pt x="716" y="983"/>
                  <a:pt x="720" y="983"/>
                </a:cubicBezTo>
                <a:cubicBezTo>
                  <a:pt x="720" y="983"/>
                  <a:pt x="720" y="983"/>
                  <a:pt x="720" y="974"/>
                </a:cubicBezTo>
                <a:cubicBezTo>
                  <a:pt x="720" y="974"/>
                  <a:pt x="720" y="974"/>
                  <a:pt x="718" y="974"/>
                </a:cubicBezTo>
                <a:cubicBezTo>
                  <a:pt x="715" y="974"/>
                  <a:pt x="714" y="971"/>
                  <a:pt x="714" y="968"/>
                </a:cubicBezTo>
                <a:cubicBezTo>
                  <a:pt x="714" y="966"/>
                  <a:pt x="714" y="965"/>
                  <a:pt x="714" y="963"/>
                </a:cubicBezTo>
                <a:cubicBezTo>
                  <a:pt x="714" y="962"/>
                  <a:pt x="714" y="959"/>
                  <a:pt x="714" y="957"/>
                </a:cubicBezTo>
                <a:cubicBezTo>
                  <a:pt x="714" y="950"/>
                  <a:pt x="711" y="947"/>
                  <a:pt x="706" y="946"/>
                </a:cubicBezTo>
                <a:cubicBezTo>
                  <a:pt x="706" y="946"/>
                  <a:pt x="706" y="946"/>
                  <a:pt x="706" y="946"/>
                </a:cubicBezTo>
                <a:cubicBezTo>
                  <a:pt x="711" y="944"/>
                  <a:pt x="714" y="942"/>
                  <a:pt x="714" y="935"/>
                </a:cubicBezTo>
                <a:cubicBezTo>
                  <a:pt x="714" y="932"/>
                  <a:pt x="714" y="930"/>
                  <a:pt x="714" y="928"/>
                </a:cubicBezTo>
                <a:cubicBezTo>
                  <a:pt x="714" y="927"/>
                  <a:pt x="714" y="925"/>
                  <a:pt x="714" y="924"/>
                </a:cubicBezTo>
                <a:cubicBezTo>
                  <a:pt x="714" y="920"/>
                  <a:pt x="715" y="918"/>
                  <a:pt x="718" y="918"/>
                </a:cubicBezTo>
                <a:cubicBezTo>
                  <a:pt x="718" y="918"/>
                  <a:pt x="718" y="918"/>
                  <a:pt x="720" y="918"/>
                </a:cubicBezTo>
                <a:cubicBezTo>
                  <a:pt x="720" y="918"/>
                  <a:pt x="720" y="918"/>
                  <a:pt x="720" y="909"/>
                </a:cubicBezTo>
                <a:cubicBezTo>
                  <a:pt x="720" y="909"/>
                  <a:pt x="720" y="909"/>
                  <a:pt x="716" y="909"/>
                </a:cubicBezTo>
                <a:cubicBezTo>
                  <a:pt x="707" y="909"/>
                  <a:pt x="702" y="913"/>
                  <a:pt x="702" y="921"/>
                </a:cubicBezTo>
                <a:cubicBezTo>
                  <a:pt x="702" y="923"/>
                  <a:pt x="702" y="926"/>
                  <a:pt x="702" y="929"/>
                </a:cubicBezTo>
                <a:cubicBezTo>
                  <a:pt x="702" y="931"/>
                  <a:pt x="703" y="934"/>
                  <a:pt x="703" y="935"/>
                </a:cubicBezTo>
                <a:cubicBezTo>
                  <a:pt x="703" y="938"/>
                  <a:pt x="702" y="941"/>
                  <a:pt x="696" y="942"/>
                </a:cubicBezTo>
                <a:close/>
                <a:moveTo>
                  <a:pt x="751" y="950"/>
                </a:moveTo>
                <a:cubicBezTo>
                  <a:pt x="751" y="950"/>
                  <a:pt x="751" y="950"/>
                  <a:pt x="751" y="950"/>
                </a:cubicBezTo>
                <a:cubicBezTo>
                  <a:pt x="751" y="942"/>
                  <a:pt x="751" y="942"/>
                  <a:pt x="751" y="942"/>
                </a:cubicBezTo>
                <a:cubicBezTo>
                  <a:pt x="744" y="941"/>
                  <a:pt x="744" y="938"/>
                  <a:pt x="744" y="935"/>
                </a:cubicBezTo>
                <a:cubicBezTo>
                  <a:pt x="744" y="934"/>
                  <a:pt x="744" y="931"/>
                  <a:pt x="744" y="929"/>
                </a:cubicBezTo>
                <a:cubicBezTo>
                  <a:pt x="745" y="926"/>
                  <a:pt x="745" y="923"/>
                  <a:pt x="745" y="921"/>
                </a:cubicBezTo>
                <a:cubicBezTo>
                  <a:pt x="745" y="913"/>
                  <a:pt x="739" y="909"/>
                  <a:pt x="730" y="909"/>
                </a:cubicBezTo>
                <a:cubicBezTo>
                  <a:pt x="730" y="909"/>
                  <a:pt x="730" y="909"/>
                  <a:pt x="727" y="909"/>
                </a:cubicBezTo>
                <a:cubicBezTo>
                  <a:pt x="727" y="909"/>
                  <a:pt x="727" y="909"/>
                  <a:pt x="727" y="918"/>
                </a:cubicBezTo>
                <a:cubicBezTo>
                  <a:pt x="727" y="918"/>
                  <a:pt x="727" y="918"/>
                  <a:pt x="728" y="918"/>
                </a:cubicBezTo>
                <a:cubicBezTo>
                  <a:pt x="732" y="918"/>
                  <a:pt x="733" y="920"/>
                  <a:pt x="733" y="924"/>
                </a:cubicBezTo>
                <a:cubicBezTo>
                  <a:pt x="733" y="925"/>
                  <a:pt x="733" y="927"/>
                  <a:pt x="733" y="928"/>
                </a:cubicBezTo>
                <a:cubicBezTo>
                  <a:pt x="732" y="930"/>
                  <a:pt x="732" y="932"/>
                  <a:pt x="732" y="935"/>
                </a:cubicBezTo>
                <a:cubicBezTo>
                  <a:pt x="732" y="942"/>
                  <a:pt x="735" y="944"/>
                  <a:pt x="741" y="946"/>
                </a:cubicBezTo>
                <a:cubicBezTo>
                  <a:pt x="741" y="946"/>
                  <a:pt x="741" y="946"/>
                  <a:pt x="741" y="946"/>
                </a:cubicBezTo>
                <a:cubicBezTo>
                  <a:pt x="735" y="947"/>
                  <a:pt x="732" y="950"/>
                  <a:pt x="732" y="957"/>
                </a:cubicBezTo>
                <a:cubicBezTo>
                  <a:pt x="732" y="959"/>
                  <a:pt x="732" y="962"/>
                  <a:pt x="733" y="963"/>
                </a:cubicBezTo>
                <a:cubicBezTo>
                  <a:pt x="733" y="965"/>
                  <a:pt x="733" y="966"/>
                  <a:pt x="733" y="968"/>
                </a:cubicBezTo>
                <a:cubicBezTo>
                  <a:pt x="733" y="971"/>
                  <a:pt x="732" y="974"/>
                  <a:pt x="728" y="974"/>
                </a:cubicBezTo>
                <a:cubicBezTo>
                  <a:pt x="728" y="974"/>
                  <a:pt x="728" y="974"/>
                  <a:pt x="727" y="974"/>
                </a:cubicBezTo>
                <a:cubicBezTo>
                  <a:pt x="727" y="974"/>
                  <a:pt x="727" y="974"/>
                  <a:pt x="727" y="983"/>
                </a:cubicBezTo>
                <a:cubicBezTo>
                  <a:pt x="727" y="983"/>
                  <a:pt x="727" y="983"/>
                  <a:pt x="730" y="983"/>
                </a:cubicBezTo>
                <a:cubicBezTo>
                  <a:pt x="739" y="983"/>
                  <a:pt x="745" y="980"/>
                  <a:pt x="745" y="970"/>
                </a:cubicBezTo>
                <a:cubicBezTo>
                  <a:pt x="745" y="968"/>
                  <a:pt x="745" y="966"/>
                  <a:pt x="744" y="963"/>
                </a:cubicBezTo>
                <a:cubicBezTo>
                  <a:pt x="744" y="960"/>
                  <a:pt x="744" y="958"/>
                  <a:pt x="744" y="956"/>
                </a:cubicBezTo>
                <a:cubicBezTo>
                  <a:pt x="744" y="953"/>
                  <a:pt x="744" y="950"/>
                  <a:pt x="751" y="950"/>
                </a:cubicBezTo>
                <a:close/>
                <a:moveTo>
                  <a:pt x="934" y="983"/>
                </a:moveTo>
                <a:cubicBezTo>
                  <a:pt x="927" y="983"/>
                  <a:pt x="920" y="980"/>
                  <a:pt x="916" y="974"/>
                </a:cubicBezTo>
                <a:cubicBezTo>
                  <a:pt x="912" y="968"/>
                  <a:pt x="910" y="959"/>
                  <a:pt x="910" y="946"/>
                </a:cubicBezTo>
                <a:cubicBezTo>
                  <a:pt x="910" y="933"/>
                  <a:pt x="912" y="924"/>
                  <a:pt x="917" y="917"/>
                </a:cubicBezTo>
                <a:cubicBezTo>
                  <a:pt x="921" y="911"/>
                  <a:pt x="927" y="907"/>
                  <a:pt x="936" y="907"/>
                </a:cubicBezTo>
                <a:cubicBezTo>
                  <a:pt x="952" y="907"/>
                  <a:pt x="960" y="919"/>
                  <a:pt x="960" y="945"/>
                </a:cubicBezTo>
                <a:cubicBezTo>
                  <a:pt x="960" y="957"/>
                  <a:pt x="958" y="967"/>
                  <a:pt x="953" y="973"/>
                </a:cubicBezTo>
                <a:cubicBezTo>
                  <a:pt x="949" y="980"/>
                  <a:pt x="942" y="983"/>
                  <a:pt x="934" y="983"/>
                </a:cubicBezTo>
                <a:close/>
                <a:moveTo>
                  <a:pt x="935" y="917"/>
                </a:moveTo>
                <a:cubicBezTo>
                  <a:pt x="926" y="917"/>
                  <a:pt x="922" y="927"/>
                  <a:pt x="922" y="946"/>
                </a:cubicBezTo>
                <a:cubicBezTo>
                  <a:pt x="922" y="965"/>
                  <a:pt x="926" y="973"/>
                  <a:pt x="935" y="973"/>
                </a:cubicBezTo>
                <a:cubicBezTo>
                  <a:pt x="944" y="973"/>
                  <a:pt x="948" y="965"/>
                  <a:pt x="948" y="946"/>
                </a:cubicBezTo>
                <a:cubicBezTo>
                  <a:pt x="948" y="926"/>
                  <a:pt x="944" y="917"/>
                  <a:pt x="935" y="917"/>
                </a:cubicBezTo>
                <a:close/>
                <a:moveTo>
                  <a:pt x="1004" y="983"/>
                </a:moveTo>
                <a:cubicBezTo>
                  <a:pt x="997" y="983"/>
                  <a:pt x="990" y="980"/>
                  <a:pt x="987" y="974"/>
                </a:cubicBezTo>
                <a:cubicBezTo>
                  <a:pt x="982" y="968"/>
                  <a:pt x="980" y="959"/>
                  <a:pt x="980" y="946"/>
                </a:cubicBezTo>
                <a:cubicBezTo>
                  <a:pt x="980" y="933"/>
                  <a:pt x="982" y="924"/>
                  <a:pt x="987" y="917"/>
                </a:cubicBezTo>
                <a:cubicBezTo>
                  <a:pt x="991" y="911"/>
                  <a:pt x="998" y="907"/>
                  <a:pt x="1006" y="907"/>
                </a:cubicBezTo>
                <a:cubicBezTo>
                  <a:pt x="1022" y="907"/>
                  <a:pt x="1030" y="919"/>
                  <a:pt x="1030" y="945"/>
                </a:cubicBezTo>
                <a:cubicBezTo>
                  <a:pt x="1030" y="957"/>
                  <a:pt x="1028" y="967"/>
                  <a:pt x="1024" y="973"/>
                </a:cubicBezTo>
                <a:cubicBezTo>
                  <a:pt x="1019" y="980"/>
                  <a:pt x="1013" y="983"/>
                  <a:pt x="1004" y="983"/>
                </a:cubicBezTo>
                <a:close/>
                <a:moveTo>
                  <a:pt x="1006" y="917"/>
                </a:moveTo>
                <a:cubicBezTo>
                  <a:pt x="997" y="917"/>
                  <a:pt x="992" y="927"/>
                  <a:pt x="992" y="946"/>
                </a:cubicBezTo>
                <a:cubicBezTo>
                  <a:pt x="992" y="965"/>
                  <a:pt x="996" y="973"/>
                  <a:pt x="1005" y="973"/>
                </a:cubicBezTo>
                <a:cubicBezTo>
                  <a:pt x="1014" y="973"/>
                  <a:pt x="1018" y="965"/>
                  <a:pt x="1018" y="946"/>
                </a:cubicBezTo>
                <a:cubicBezTo>
                  <a:pt x="1018" y="926"/>
                  <a:pt x="1014" y="917"/>
                  <a:pt x="1006" y="917"/>
                </a:cubicBezTo>
                <a:close/>
                <a:moveTo>
                  <a:pt x="1077" y="909"/>
                </a:moveTo>
                <a:cubicBezTo>
                  <a:pt x="1077" y="909"/>
                  <a:pt x="1077" y="909"/>
                  <a:pt x="1077" y="909"/>
                </a:cubicBezTo>
                <a:cubicBezTo>
                  <a:pt x="1072" y="909"/>
                  <a:pt x="1072" y="909"/>
                  <a:pt x="1072" y="909"/>
                </a:cubicBezTo>
                <a:cubicBezTo>
                  <a:pt x="1070" y="911"/>
                  <a:pt x="1069" y="912"/>
                  <a:pt x="1066" y="913"/>
                </a:cubicBezTo>
                <a:cubicBezTo>
                  <a:pt x="1065" y="915"/>
                  <a:pt x="1063" y="915"/>
                  <a:pt x="1061" y="916"/>
                </a:cubicBezTo>
                <a:cubicBezTo>
                  <a:pt x="1060" y="917"/>
                  <a:pt x="1057" y="918"/>
                  <a:pt x="1056" y="919"/>
                </a:cubicBezTo>
                <a:cubicBezTo>
                  <a:pt x="1054" y="920"/>
                  <a:pt x="1052" y="920"/>
                  <a:pt x="1050" y="920"/>
                </a:cubicBezTo>
                <a:cubicBezTo>
                  <a:pt x="1050" y="920"/>
                  <a:pt x="1050" y="920"/>
                  <a:pt x="1050" y="931"/>
                </a:cubicBezTo>
                <a:cubicBezTo>
                  <a:pt x="1053" y="930"/>
                  <a:pt x="1056" y="929"/>
                  <a:pt x="1059" y="928"/>
                </a:cubicBezTo>
                <a:cubicBezTo>
                  <a:pt x="1061" y="927"/>
                  <a:pt x="1063" y="925"/>
                  <a:pt x="1066" y="924"/>
                </a:cubicBezTo>
                <a:cubicBezTo>
                  <a:pt x="1066" y="924"/>
                  <a:pt x="1066" y="924"/>
                  <a:pt x="1066" y="983"/>
                </a:cubicBezTo>
                <a:cubicBezTo>
                  <a:pt x="1066" y="983"/>
                  <a:pt x="1066" y="983"/>
                  <a:pt x="1077" y="983"/>
                </a:cubicBezTo>
                <a:cubicBezTo>
                  <a:pt x="1077" y="983"/>
                  <a:pt x="1077" y="983"/>
                  <a:pt x="1077" y="909"/>
                </a:cubicBezTo>
                <a:close/>
                <a:moveTo>
                  <a:pt x="1124" y="909"/>
                </a:moveTo>
                <a:cubicBezTo>
                  <a:pt x="1124" y="909"/>
                  <a:pt x="1124" y="909"/>
                  <a:pt x="1124" y="909"/>
                </a:cubicBezTo>
                <a:cubicBezTo>
                  <a:pt x="1119" y="909"/>
                  <a:pt x="1119" y="909"/>
                  <a:pt x="1119" y="909"/>
                </a:cubicBezTo>
                <a:cubicBezTo>
                  <a:pt x="1117" y="911"/>
                  <a:pt x="1115" y="912"/>
                  <a:pt x="1113" y="913"/>
                </a:cubicBezTo>
                <a:cubicBezTo>
                  <a:pt x="1112" y="915"/>
                  <a:pt x="1109" y="915"/>
                  <a:pt x="1108" y="916"/>
                </a:cubicBezTo>
                <a:cubicBezTo>
                  <a:pt x="1107" y="917"/>
                  <a:pt x="1104" y="918"/>
                  <a:pt x="1103" y="919"/>
                </a:cubicBezTo>
                <a:cubicBezTo>
                  <a:pt x="1101" y="920"/>
                  <a:pt x="1099" y="920"/>
                  <a:pt x="1097" y="920"/>
                </a:cubicBezTo>
                <a:cubicBezTo>
                  <a:pt x="1097" y="920"/>
                  <a:pt x="1097" y="920"/>
                  <a:pt x="1097" y="931"/>
                </a:cubicBezTo>
                <a:cubicBezTo>
                  <a:pt x="1100" y="930"/>
                  <a:pt x="1103" y="929"/>
                  <a:pt x="1105" y="928"/>
                </a:cubicBezTo>
                <a:cubicBezTo>
                  <a:pt x="1108" y="927"/>
                  <a:pt x="1110" y="925"/>
                  <a:pt x="1112" y="924"/>
                </a:cubicBezTo>
                <a:cubicBezTo>
                  <a:pt x="1112" y="924"/>
                  <a:pt x="1112" y="924"/>
                  <a:pt x="1112" y="983"/>
                </a:cubicBezTo>
                <a:cubicBezTo>
                  <a:pt x="1112" y="983"/>
                  <a:pt x="1112" y="983"/>
                  <a:pt x="1124" y="983"/>
                </a:cubicBezTo>
                <a:cubicBezTo>
                  <a:pt x="1124" y="983"/>
                  <a:pt x="1124" y="983"/>
                  <a:pt x="1124" y="909"/>
                </a:cubicBezTo>
                <a:close/>
                <a:moveTo>
                  <a:pt x="1170" y="909"/>
                </a:moveTo>
                <a:cubicBezTo>
                  <a:pt x="1170" y="909"/>
                  <a:pt x="1170" y="909"/>
                  <a:pt x="1170" y="909"/>
                </a:cubicBezTo>
                <a:cubicBezTo>
                  <a:pt x="1166" y="909"/>
                  <a:pt x="1166" y="909"/>
                  <a:pt x="1166" y="909"/>
                </a:cubicBezTo>
                <a:cubicBezTo>
                  <a:pt x="1164" y="911"/>
                  <a:pt x="1162" y="912"/>
                  <a:pt x="1160" y="913"/>
                </a:cubicBezTo>
                <a:cubicBezTo>
                  <a:pt x="1159" y="915"/>
                  <a:pt x="1156" y="915"/>
                  <a:pt x="1155" y="916"/>
                </a:cubicBezTo>
                <a:cubicBezTo>
                  <a:pt x="1153" y="917"/>
                  <a:pt x="1151" y="917"/>
                  <a:pt x="1149" y="918"/>
                </a:cubicBezTo>
                <a:cubicBezTo>
                  <a:pt x="1148" y="919"/>
                  <a:pt x="1146" y="920"/>
                  <a:pt x="1144" y="920"/>
                </a:cubicBezTo>
                <a:cubicBezTo>
                  <a:pt x="1144" y="920"/>
                  <a:pt x="1144" y="920"/>
                  <a:pt x="1144" y="931"/>
                </a:cubicBezTo>
                <a:cubicBezTo>
                  <a:pt x="1147" y="930"/>
                  <a:pt x="1150" y="928"/>
                  <a:pt x="1152" y="928"/>
                </a:cubicBezTo>
                <a:cubicBezTo>
                  <a:pt x="1154" y="927"/>
                  <a:pt x="1157" y="925"/>
                  <a:pt x="1159" y="924"/>
                </a:cubicBezTo>
                <a:cubicBezTo>
                  <a:pt x="1159" y="924"/>
                  <a:pt x="1159" y="924"/>
                  <a:pt x="1159" y="983"/>
                </a:cubicBezTo>
                <a:cubicBezTo>
                  <a:pt x="1159" y="983"/>
                  <a:pt x="1159" y="983"/>
                  <a:pt x="1170" y="983"/>
                </a:cubicBezTo>
                <a:cubicBezTo>
                  <a:pt x="1170" y="983"/>
                  <a:pt x="1170" y="983"/>
                  <a:pt x="1170" y="909"/>
                </a:cubicBezTo>
                <a:close/>
                <a:moveTo>
                  <a:pt x="979" y="874"/>
                </a:moveTo>
                <a:cubicBezTo>
                  <a:pt x="972" y="874"/>
                  <a:pt x="965" y="872"/>
                  <a:pt x="961" y="866"/>
                </a:cubicBezTo>
                <a:cubicBezTo>
                  <a:pt x="957" y="859"/>
                  <a:pt x="955" y="850"/>
                  <a:pt x="955" y="838"/>
                </a:cubicBezTo>
                <a:cubicBezTo>
                  <a:pt x="955" y="825"/>
                  <a:pt x="957" y="815"/>
                  <a:pt x="962" y="808"/>
                </a:cubicBezTo>
                <a:cubicBezTo>
                  <a:pt x="966" y="802"/>
                  <a:pt x="973" y="798"/>
                  <a:pt x="981" y="798"/>
                </a:cubicBezTo>
                <a:cubicBezTo>
                  <a:pt x="997" y="798"/>
                  <a:pt x="1005" y="811"/>
                  <a:pt x="1005" y="836"/>
                </a:cubicBezTo>
                <a:cubicBezTo>
                  <a:pt x="1005" y="849"/>
                  <a:pt x="1003" y="858"/>
                  <a:pt x="998" y="865"/>
                </a:cubicBezTo>
                <a:cubicBezTo>
                  <a:pt x="994" y="872"/>
                  <a:pt x="987" y="874"/>
                  <a:pt x="979" y="874"/>
                </a:cubicBezTo>
                <a:close/>
                <a:moveTo>
                  <a:pt x="981" y="808"/>
                </a:moveTo>
                <a:cubicBezTo>
                  <a:pt x="971" y="808"/>
                  <a:pt x="967" y="818"/>
                  <a:pt x="967" y="838"/>
                </a:cubicBezTo>
                <a:cubicBezTo>
                  <a:pt x="967" y="856"/>
                  <a:pt x="971" y="865"/>
                  <a:pt x="980" y="865"/>
                </a:cubicBezTo>
                <a:cubicBezTo>
                  <a:pt x="989" y="865"/>
                  <a:pt x="993" y="856"/>
                  <a:pt x="993" y="837"/>
                </a:cubicBezTo>
                <a:cubicBezTo>
                  <a:pt x="993" y="817"/>
                  <a:pt x="989" y="808"/>
                  <a:pt x="981" y="808"/>
                </a:cubicBezTo>
                <a:close/>
                <a:moveTo>
                  <a:pt x="1053" y="801"/>
                </a:moveTo>
                <a:cubicBezTo>
                  <a:pt x="1053" y="801"/>
                  <a:pt x="1053" y="801"/>
                  <a:pt x="1053" y="801"/>
                </a:cubicBezTo>
                <a:cubicBezTo>
                  <a:pt x="1048" y="801"/>
                  <a:pt x="1048" y="801"/>
                  <a:pt x="1048" y="801"/>
                </a:cubicBezTo>
                <a:cubicBezTo>
                  <a:pt x="1046" y="802"/>
                  <a:pt x="1044" y="804"/>
                  <a:pt x="1042" y="805"/>
                </a:cubicBezTo>
                <a:cubicBezTo>
                  <a:pt x="1041" y="806"/>
                  <a:pt x="1038" y="807"/>
                  <a:pt x="1037" y="808"/>
                </a:cubicBezTo>
                <a:cubicBezTo>
                  <a:pt x="1035" y="808"/>
                  <a:pt x="1033" y="809"/>
                  <a:pt x="1032" y="810"/>
                </a:cubicBezTo>
                <a:cubicBezTo>
                  <a:pt x="1030" y="810"/>
                  <a:pt x="1028" y="811"/>
                  <a:pt x="1026" y="812"/>
                </a:cubicBezTo>
                <a:cubicBezTo>
                  <a:pt x="1026" y="812"/>
                  <a:pt x="1026" y="812"/>
                  <a:pt x="1026" y="822"/>
                </a:cubicBezTo>
                <a:cubicBezTo>
                  <a:pt x="1029" y="821"/>
                  <a:pt x="1032" y="820"/>
                  <a:pt x="1034" y="819"/>
                </a:cubicBezTo>
                <a:cubicBezTo>
                  <a:pt x="1037" y="818"/>
                  <a:pt x="1039" y="817"/>
                  <a:pt x="1041" y="816"/>
                </a:cubicBezTo>
                <a:cubicBezTo>
                  <a:pt x="1041" y="816"/>
                  <a:pt x="1041" y="816"/>
                  <a:pt x="1041" y="874"/>
                </a:cubicBezTo>
                <a:cubicBezTo>
                  <a:pt x="1041" y="874"/>
                  <a:pt x="1041" y="874"/>
                  <a:pt x="1053" y="874"/>
                </a:cubicBezTo>
                <a:cubicBezTo>
                  <a:pt x="1053" y="874"/>
                  <a:pt x="1053" y="874"/>
                  <a:pt x="1053" y="801"/>
                </a:cubicBezTo>
                <a:close/>
                <a:moveTo>
                  <a:pt x="1100" y="801"/>
                </a:moveTo>
                <a:cubicBezTo>
                  <a:pt x="1100" y="801"/>
                  <a:pt x="1100" y="801"/>
                  <a:pt x="1100" y="801"/>
                </a:cubicBezTo>
                <a:cubicBezTo>
                  <a:pt x="1095" y="801"/>
                  <a:pt x="1095" y="801"/>
                  <a:pt x="1095" y="801"/>
                </a:cubicBezTo>
                <a:cubicBezTo>
                  <a:pt x="1093" y="802"/>
                  <a:pt x="1091" y="804"/>
                  <a:pt x="1089" y="805"/>
                </a:cubicBezTo>
                <a:cubicBezTo>
                  <a:pt x="1088" y="806"/>
                  <a:pt x="1086" y="807"/>
                  <a:pt x="1084" y="808"/>
                </a:cubicBezTo>
                <a:cubicBezTo>
                  <a:pt x="1083" y="809"/>
                  <a:pt x="1081" y="810"/>
                  <a:pt x="1079" y="810"/>
                </a:cubicBezTo>
                <a:cubicBezTo>
                  <a:pt x="1077" y="811"/>
                  <a:pt x="1076" y="812"/>
                  <a:pt x="1074" y="812"/>
                </a:cubicBezTo>
                <a:cubicBezTo>
                  <a:pt x="1074" y="812"/>
                  <a:pt x="1074" y="812"/>
                  <a:pt x="1074" y="822"/>
                </a:cubicBezTo>
                <a:cubicBezTo>
                  <a:pt x="1076" y="821"/>
                  <a:pt x="1079" y="821"/>
                  <a:pt x="1081" y="819"/>
                </a:cubicBezTo>
                <a:cubicBezTo>
                  <a:pt x="1084" y="818"/>
                  <a:pt x="1086" y="817"/>
                  <a:pt x="1089" y="816"/>
                </a:cubicBezTo>
                <a:cubicBezTo>
                  <a:pt x="1089" y="816"/>
                  <a:pt x="1089" y="816"/>
                  <a:pt x="1089" y="874"/>
                </a:cubicBezTo>
                <a:cubicBezTo>
                  <a:pt x="1089" y="874"/>
                  <a:pt x="1089" y="874"/>
                  <a:pt x="1100" y="874"/>
                </a:cubicBezTo>
                <a:cubicBezTo>
                  <a:pt x="1100" y="874"/>
                  <a:pt x="1100" y="874"/>
                  <a:pt x="1100" y="801"/>
                </a:cubicBezTo>
                <a:close/>
                <a:moveTo>
                  <a:pt x="1147" y="801"/>
                </a:moveTo>
                <a:cubicBezTo>
                  <a:pt x="1147" y="801"/>
                  <a:pt x="1147" y="801"/>
                  <a:pt x="1147" y="801"/>
                </a:cubicBezTo>
                <a:cubicBezTo>
                  <a:pt x="1142" y="801"/>
                  <a:pt x="1142" y="801"/>
                  <a:pt x="1142" y="801"/>
                </a:cubicBezTo>
                <a:cubicBezTo>
                  <a:pt x="1140" y="802"/>
                  <a:pt x="1139" y="804"/>
                  <a:pt x="1136" y="805"/>
                </a:cubicBezTo>
                <a:cubicBezTo>
                  <a:pt x="1135" y="806"/>
                  <a:pt x="1133" y="807"/>
                  <a:pt x="1131" y="808"/>
                </a:cubicBezTo>
                <a:cubicBezTo>
                  <a:pt x="1129" y="809"/>
                  <a:pt x="1128" y="810"/>
                  <a:pt x="1126" y="810"/>
                </a:cubicBezTo>
                <a:cubicBezTo>
                  <a:pt x="1124" y="811"/>
                  <a:pt x="1122" y="812"/>
                  <a:pt x="1121" y="812"/>
                </a:cubicBezTo>
                <a:cubicBezTo>
                  <a:pt x="1121" y="812"/>
                  <a:pt x="1121" y="812"/>
                  <a:pt x="1121" y="822"/>
                </a:cubicBezTo>
                <a:cubicBezTo>
                  <a:pt x="1124" y="821"/>
                  <a:pt x="1126" y="821"/>
                  <a:pt x="1129" y="819"/>
                </a:cubicBezTo>
                <a:cubicBezTo>
                  <a:pt x="1131" y="818"/>
                  <a:pt x="1134" y="817"/>
                  <a:pt x="1135" y="816"/>
                </a:cubicBezTo>
                <a:cubicBezTo>
                  <a:pt x="1135" y="816"/>
                  <a:pt x="1135" y="816"/>
                  <a:pt x="1135" y="874"/>
                </a:cubicBezTo>
                <a:cubicBezTo>
                  <a:pt x="1135" y="874"/>
                  <a:pt x="1135" y="874"/>
                  <a:pt x="1147" y="874"/>
                </a:cubicBezTo>
                <a:cubicBezTo>
                  <a:pt x="1147" y="874"/>
                  <a:pt x="1147" y="874"/>
                  <a:pt x="1147" y="801"/>
                </a:cubicBezTo>
                <a:close/>
                <a:moveTo>
                  <a:pt x="1194" y="801"/>
                </a:moveTo>
                <a:cubicBezTo>
                  <a:pt x="1194" y="801"/>
                  <a:pt x="1194" y="801"/>
                  <a:pt x="1194" y="801"/>
                </a:cubicBezTo>
                <a:cubicBezTo>
                  <a:pt x="1189" y="801"/>
                  <a:pt x="1189" y="801"/>
                  <a:pt x="1189" y="801"/>
                </a:cubicBezTo>
                <a:cubicBezTo>
                  <a:pt x="1187" y="802"/>
                  <a:pt x="1185" y="804"/>
                  <a:pt x="1183" y="805"/>
                </a:cubicBezTo>
                <a:cubicBezTo>
                  <a:pt x="1182" y="806"/>
                  <a:pt x="1180" y="807"/>
                  <a:pt x="1178" y="808"/>
                </a:cubicBezTo>
                <a:cubicBezTo>
                  <a:pt x="1177" y="809"/>
                  <a:pt x="1174" y="810"/>
                  <a:pt x="1173" y="810"/>
                </a:cubicBezTo>
                <a:cubicBezTo>
                  <a:pt x="1171" y="811"/>
                  <a:pt x="1169" y="812"/>
                  <a:pt x="1167" y="812"/>
                </a:cubicBezTo>
                <a:cubicBezTo>
                  <a:pt x="1167" y="812"/>
                  <a:pt x="1167" y="812"/>
                  <a:pt x="1167" y="822"/>
                </a:cubicBezTo>
                <a:cubicBezTo>
                  <a:pt x="1170" y="821"/>
                  <a:pt x="1173" y="821"/>
                  <a:pt x="1175" y="819"/>
                </a:cubicBezTo>
                <a:cubicBezTo>
                  <a:pt x="1178" y="818"/>
                  <a:pt x="1180" y="817"/>
                  <a:pt x="1182" y="816"/>
                </a:cubicBezTo>
                <a:cubicBezTo>
                  <a:pt x="1182" y="816"/>
                  <a:pt x="1182" y="816"/>
                  <a:pt x="1182" y="874"/>
                </a:cubicBezTo>
                <a:cubicBezTo>
                  <a:pt x="1182" y="874"/>
                  <a:pt x="1182" y="874"/>
                  <a:pt x="1194" y="874"/>
                </a:cubicBezTo>
                <a:cubicBezTo>
                  <a:pt x="1194" y="874"/>
                  <a:pt x="1194" y="874"/>
                  <a:pt x="1194" y="801"/>
                </a:cubicBezTo>
                <a:close/>
                <a:moveTo>
                  <a:pt x="1317" y="801"/>
                </a:moveTo>
                <a:cubicBezTo>
                  <a:pt x="1317" y="801"/>
                  <a:pt x="1317" y="801"/>
                  <a:pt x="1317" y="801"/>
                </a:cubicBezTo>
                <a:cubicBezTo>
                  <a:pt x="1312" y="801"/>
                  <a:pt x="1312" y="801"/>
                  <a:pt x="1312" y="801"/>
                </a:cubicBezTo>
                <a:cubicBezTo>
                  <a:pt x="1310" y="802"/>
                  <a:pt x="1309" y="804"/>
                  <a:pt x="1306" y="805"/>
                </a:cubicBezTo>
                <a:cubicBezTo>
                  <a:pt x="1305" y="806"/>
                  <a:pt x="1303" y="807"/>
                  <a:pt x="1301" y="808"/>
                </a:cubicBezTo>
                <a:cubicBezTo>
                  <a:pt x="1300" y="809"/>
                  <a:pt x="1297" y="810"/>
                  <a:pt x="1296" y="810"/>
                </a:cubicBezTo>
                <a:cubicBezTo>
                  <a:pt x="1294" y="811"/>
                  <a:pt x="1292" y="812"/>
                  <a:pt x="1290" y="812"/>
                </a:cubicBezTo>
                <a:cubicBezTo>
                  <a:pt x="1290" y="812"/>
                  <a:pt x="1290" y="812"/>
                  <a:pt x="1290" y="822"/>
                </a:cubicBezTo>
                <a:cubicBezTo>
                  <a:pt x="1293" y="821"/>
                  <a:pt x="1296" y="821"/>
                  <a:pt x="1299" y="819"/>
                </a:cubicBezTo>
                <a:cubicBezTo>
                  <a:pt x="1301" y="818"/>
                  <a:pt x="1303" y="817"/>
                  <a:pt x="1306" y="816"/>
                </a:cubicBezTo>
                <a:cubicBezTo>
                  <a:pt x="1306" y="816"/>
                  <a:pt x="1306" y="816"/>
                  <a:pt x="1306" y="874"/>
                </a:cubicBezTo>
                <a:cubicBezTo>
                  <a:pt x="1306" y="874"/>
                  <a:pt x="1306" y="874"/>
                  <a:pt x="1317" y="874"/>
                </a:cubicBezTo>
                <a:cubicBezTo>
                  <a:pt x="1317" y="874"/>
                  <a:pt x="1317" y="874"/>
                  <a:pt x="1317" y="801"/>
                </a:cubicBezTo>
                <a:close/>
                <a:moveTo>
                  <a:pt x="1365" y="801"/>
                </a:moveTo>
                <a:cubicBezTo>
                  <a:pt x="1365" y="801"/>
                  <a:pt x="1365" y="801"/>
                  <a:pt x="1365" y="801"/>
                </a:cubicBezTo>
                <a:cubicBezTo>
                  <a:pt x="1360" y="801"/>
                  <a:pt x="1360" y="801"/>
                  <a:pt x="1360" y="801"/>
                </a:cubicBezTo>
                <a:cubicBezTo>
                  <a:pt x="1358" y="802"/>
                  <a:pt x="1356" y="804"/>
                  <a:pt x="1354" y="805"/>
                </a:cubicBezTo>
                <a:cubicBezTo>
                  <a:pt x="1353" y="806"/>
                  <a:pt x="1350" y="807"/>
                  <a:pt x="1349" y="808"/>
                </a:cubicBezTo>
                <a:cubicBezTo>
                  <a:pt x="1348" y="809"/>
                  <a:pt x="1345" y="810"/>
                  <a:pt x="1344" y="810"/>
                </a:cubicBezTo>
                <a:cubicBezTo>
                  <a:pt x="1342" y="811"/>
                  <a:pt x="1340" y="812"/>
                  <a:pt x="1338" y="812"/>
                </a:cubicBezTo>
                <a:cubicBezTo>
                  <a:pt x="1338" y="812"/>
                  <a:pt x="1338" y="812"/>
                  <a:pt x="1338" y="822"/>
                </a:cubicBezTo>
                <a:cubicBezTo>
                  <a:pt x="1341" y="821"/>
                  <a:pt x="1344" y="821"/>
                  <a:pt x="1346" y="819"/>
                </a:cubicBezTo>
                <a:cubicBezTo>
                  <a:pt x="1349" y="818"/>
                  <a:pt x="1351" y="817"/>
                  <a:pt x="1353" y="816"/>
                </a:cubicBezTo>
                <a:cubicBezTo>
                  <a:pt x="1353" y="816"/>
                  <a:pt x="1353" y="816"/>
                  <a:pt x="1353" y="874"/>
                </a:cubicBezTo>
                <a:cubicBezTo>
                  <a:pt x="1353" y="874"/>
                  <a:pt x="1353" y="874"/>
                  <a:pt x="1365" y="874"/>
                </a:cubicBezTo>
                <a:cubicBezTo>
                  <a:pt x="1365" y="874"/>
                  <a:pt x="1365" y="874"/>
                  <a:pt x="1365" y="801"/>
                </a:cubicBezTo>
                <a:close/>
                <a:moveTo>
                  <a:pt x="1412" y="801"/>
                </a:moveTo>
                <a:cubicBezTo>
                  <a:pt x="1412" y="801"/>
                  <a:pt x="1412" y="801"/>
                  <a:pt x="1412" y="801"/>
                </a:cubicBezTo>
                <a:cubicBezTo>
                  <a:pt x="1407" y="801"/>
                  <a:pt x="1407" y="801"/>
                  <a:pt x="1407" y="801"/>
                </a:cubicBezTo>
                <a:cubicBezTo>
                  <a:pt x="1406" y="802"/>
                  <a:pt x="1404" y="804"/>
                  <a:pt x="1402" y="805"/>
                </a:cubicBezTo>
                <a:cubicBezTo>
                  <a:pt x="1400" y="806"/>
                  <a:pt x="1399" y="807"/>
                  <a:pt x="1397" y="808"/>
                </a:cubicBezTo>
                <a:cubicBezTo>
                  <a:pt x="1395" y="809"/>
                  <a:pt x="1393" y="810"/>
                  <a:pt x="1391" y="810"/>
                </a:cubicBezTo>
                <a:cubicBezTo>
                  <a:pt x="1389" y="811"/>
                  <a:pt x="1388" y="812"/>
                  <a:pt x="1386" y="812"/>
                </a:cubicBezTo>
                <a:cubicBezTo>
                  <a:pt x="1386" y="812"/>
                  <a:pt x="1386" y="812"/>
                  <a:pt x="1386" y="822"/>
                </a:cubicBezTo>
                <a:cubicBezTo>
                  <a:pt x="1389" y="821"/>
                  <a:pt x="1391" y="821"/>
                  <a:pt x="1394" y="819"/>
                </a:cubicBezTo>
                <a:cubicBezTo>
                  <a:pt x="1397" y="818"/>
                  <a:pt x="1399" y="817"/>
                  <a:pt x="1401" y="816"/>
                </a:cubicBezTo>
                <a:cubicBezTo>
                  <a:pt x="1401" y="816"/>
                  <a:pt x="1401" y="816"/>
                  <a:pt x="1401" y="874"/>
                </a:cubicBezTo>
                <a:cubicBezTo>
                  <a:pt x="1401" y="874"/>
                  <a:pt x="1401" y="874"/>
                  <a:pt x="1412" y="874"/>
                </a:cubicBezTo>
                <a:cubicBezTo>
                  <a:pt x="1412" y="874"/>
                  <a:pt x="1412" y="874"/>
                  <a:pt x="1412" y="801"/>
                </a:cubicBezTo>
                <a:close/>
                <a:moveTo>
                  <a:pt x="1459" y="801"/>
                </a:moveTo>
                <a:cubicBezTo>
                  <a:pt x="1459" y="801"/>
                  <a:pt x="1459" y="801"/>
                  <a:pt x="1459" y="801"/>
                </a:cubicBezTo>
                <a:cubicBezTo>
                  <a:pt x="1455" y="801"/>
                  <a:pt x="1455" y="801"/>
                  <a:pt x="1455" y="801"/>
                </a:cubicBezTo>
                <a:cubicBezTo>
                  <a:pt x="1453" y="802"/>
                  <a:pt x="1451" y="804"/>
                  <a:pt x="1449" y="805"/>
                </a:cubicBezTo>
                <a:cubicBezTo>
                  <a:pt x="1448" y="806"/>
                  <a:pt x="1445" y="807"/>
                  <a:pt x="1444" y="808"/>
                </a:cubicBezTo>
                <a:cubicBezTo>
                  <a:pt x="1442" y="808"/>
                  <a:pt x="1440" y="809"/>
                  <a:pt x="1438" y="810"/>
                </a:cubicBezTo>
                <a:cubicBezTo>
                  <a:pt x="1437" y="810"/>
                  <a:pt x="1435" y="811"/>
                  <a:pt x="1433" y="812"/>
                </a:cubicBezTo>
                <a:cubicBezTo>
                  <a:pt x="1433" y="812"/>
                  <a:pt x="1433" y="812"/>
                  <a:pt x="1433" y="822"/>
                </a:cubicBezTo>
                <a:cubicBezTo>
                  <a:pt x="1436" y="821"/>
                  <a:pt x="1439" y="820"/>
                  <a:pt x="1441" y="819"/>
                </a:cubicBezTo>
                <a:cubicBezTo>
                  <a:pt x="1443" y="818"/>
                  <a:pt x="1446" y="817"/>
                  <a:pt x="1448" y="816"/>
                </a:cubicBezTo>
                <a:cubicBezTo>
                  <a:pt x="1448" y="816"/>
                  <a:pt x="1448" y="816"/>
                  <a:pt x="1448" y="874"/>
                </a:cubicBezTo>
                <a:cubicBezTo>
                  <a:pt x="1448" y="874"/>
                  <a:pt x="1448" y="874"/>
                  <a:pt x="1459" y="874"/>
                </a:cubicBezTo>
                <a:cubicBezTo>
                  <a:pt x="1459" y="874"/>
                  <a:pt x="1459" y="874"/>
                  <a:pt x="1459" y="801"/>
                </a:cubicBezTo>
                <a:close/>
                <a:moveTo>
                  <a:pt x="1215" y="833"/>
                </a:moveTo>
                <a:cubicBezTo>
                  <a:pt x="1215" y="833"/>
                  <a:pt x="1215" y="833"/>
                  <a:pt x="1215" y="833"/>
                </a:cubicBezTo>
                <a:cubicBezTo>
                  <a:pt x="1215" y="842"/>
                  <a:pt x="1215" y="842"/>
                  <a:pt x="1215" y="842"/>
                </a:cubicBezTo>
                <a:cubicBezTo>
                  <a:pt x="1221" y="842"/>
                  <a:pt x="1222" y="845"/>
                  <a:pt x="1222" y="848"/>
                </a:cubicBezTo>
                <a:cubicBezTo>
                  <a:pt x="1222" y="850"/>
                  <a:pt x="1221" y="852"/>
                  <a:pt x="1221" y="855"/>
                </a:cubicBezTo>
                <a:cubicBezTo>
                  <a:pt x="1221" y="857"/>
                  <a:pt x="1221" y="859"/>
                  <a:pt x="1221" y="862"/>
                </a:cubicBezTo>
                <a:cubicBezTo>
                  <a:pt x="1221" y="871"/>
                  <a:pt x="1227" y="874"/>
                  <a:pt x="1235" y="874"/>
                </a:cubicBezTo>
                <a:cubicBezTo>
                  <a:pt x="1235" y="874"/>
                  <a:pt x="1235" y="874"/>
                  <a:pt x="1239" y="874"/>
                </a:cubicBezTo>
                <a:cubicBezTo>
                  <a:pt x="1239" y="874"/>
                  <a:pt x="1239" y="874"/>
                  <a:pt x="1239" y="865"/>
                </a:cubicBezTo>
                <a:cubicBezTo>
                  <a:pt x="1239" y="865"/>
                  <a:pt x="1239" y="865"/>
                  <a:pt x="1237" y="865"/>
                </a:cubicBezTo>
                <a:cubicBezTo>
                  <a:pt x="1234" y="865"/>
                  <a:pt x="1232" y="863"/>
                  <a:pt x="1232" y="859"/>
                </a:cubicBezTo>
                <a:cubicBezTo>
                  <a:pt x="1232" y="858"/>
                  <a:pt x="1232" y="856"/>
                  <a:pt x="1233" y="855"/>
                </a:cubicBezTo>
                <a:cubicBezTo>
                  <a:pt x="1233" y="853"/>
                  <a:pt x="1233" y="851"/>
                  <a:pt x="1233" y="849"/>
                </a:cubicBezTo>
                <a:cubicBezTo>
                  <a:pt x="1233" y="841"/>
                  <a:pt x="1230" y="839"/>
                  <a:pt x="1225" y="837"/>
                </a:cubicBezTo>
                <a:cubicBezTo>
                  <a:pt x="1225" y="837"/>
                  <a:pt x="1225" y="837"/>
                  <a:pt x="1225" y="837"/>
                </a:cubicBezTo>
                <a:cubicBezTo>
                  <a:pt x="1230" y="836"/>
                  <a:pt x="1233" y="834"/>
                  <a:pt x="1233" y="826"/>
                </a:cubicBezTo>
                <a:cubicBezTo>
                  <a:pt x="1233" y="824"/>
                  <a:pt x="1233" y="822"/>
                  <a:pt x="1233" y="820"/>
                </a:cubicBezTo>
                <a:cubicBezTo>
                  <a:pt x="1232" y="818"/>
                  <a:pt x="1232" y="816"/>
                  <a:pt x="1232" y="815"/>
                </a:cubicBezTo>
                <a:cubicBezTo>
                  <a:pt x="1232" y="812"/>
                  <a:pt x="1234" y="809"/>
                  <a:pt x="1237" y="809"/>
                </a:cubicBezTo>
                <a:cubicBezTo>
                  <a:pt x="1237" y="809"/>
                  <a:pt x="1237" y="809"/>
                  <a:pt x="1239" y="809"/>
                </a:cubicBezTo>
                <a:cubicBezTo>
                  <a:pt x="1239" y="809"/>
                  <a:pt x="1239" y="809"/>
                  <a:pt x="1239" y="800"/>
                </a:cubicBezTo>
                <a:cubicBezTo>
                  <a:pt x="1239" y="800"/>
                  <a:pt x="1239" y="800"/>
                  <a:pt x="1235" y="800"/>
                </a:cubicBezTo>
                <a:cubicBezTo>
                  <a:pt x="1226" y="800"/>
                  <a:pt x="1221" y="804"/>
                  <a:pt x="1221" y="813"/>
                </a:cubicBezTo>
                <a:cubicBezTo>
                  <a:pt x="1221" y="815"/>
                  <a:pt x="1221" y="818"/>
                  <a:pt x="1221" y="820"/>
                </a:cubicBezTo>
                <a:cubicBezTo>
                  <a:pt x="1221" y="822"/>
                  <a:pt x="1222" y="825"/>
                  <a:pt x="1222" y="827"/>
                </a:cubicBezTo>
                <a:cubicBezTo>
                  <a:pt x="1222" y="830"/>
                  <a:pt x="1221" y="833"/>
                  <a:pt x="1215" y="833"/>
                </a:cubicBezTo>
                <a:close/>
                <a:moveTo>
                  <a:pt x="1270" y="842"/>
                </a:moveTo>
                <a:cubicBezTo>
                  <a:pt x="1270" y="842"/>
                  <a:pt x="1270" y="842"/>
                  <a:pt x="1270" y="842"/>
                </a:cubicBezTo>
                <a:cubicBezTo>
                  <a:pt x="1270" y="833"/>
                  <a:pt x="1270" y="833"/>
                  <a:pt x="1270" y="833"/>
                </a:cubicBezTo>
                <a:cubicBezTo>
                  <a:pt x="1264" y="833"/>
                  <a:pt x="1263" y="830"/>
                  <a:pt x="1263" y="827"/>
                </a:cubicBezTo>
                <a:cubicBezTo>
                  <a:pt x="1263" y="825"/>
                  <a:pt x="1263" y="822"/>
                  <a:pt x="1264" y="820"/>
                </a:cubicBezTo>
                <a:cubicBezTo>
                  <a:pt x="1264" y="818"/>
                  <a:pt x="1264" y="815"/>
                  <a:pt x="1264" y="813"/>
                </a:cubicBezTo>
                <a:cubicBezTo>
                  <a:pt x="1264" y="804"/>
                  <a:pt x="1259" y="800"/>
                  <a:pt x="1249" y="800"/>
                </a:cubicBezTo>
                <a:cubicBezTo>
                  <a:pt x="1249" y="800"/>
                  <a:pt x="1249" y="800"/>
                  <a:pt x="1245" y="800"/>
                </a:cubicBezTo>
                <a:cubicBezTo>
                  <a:pt x="1245" y="800"/>
                  <a:pt x="1245" y="800"/>
                  <a:pt x="1245" y="809"/>
                </a:cubicBezTo>
                <a:cubicBezTo>
                  <a:pt x="1245" y="809"/>
                  <a:pt x="1245" y="809"/>
                  <a:pt x="1247" y="809"/>
                </a:cubicBezTo>
                <a:cubicBezTo>
                  <a:pt x="1251" y="809"/>
                  <a:pt x="1252" y="812"/>
                  <a:pt x="1252" y="815"/>
                </a:cubicBezTo>
                <a:cubicBezTo>
                  <a:pt x="1252" y="816"/>
                  <a:pt x="1252" y="818"/>
                  <a:pt x="1252" y="820"/>
                </a:cubicBezTo>
                <a:cubicBezTo>
                  <a:pt x="1251" y="822"/>
                  <a:pt x="1251" y="824"/>
                  <a:pt x="1251" y="826"/>
                </a:cubicBezTo>
                <a:cubicBezTo>
                  <a:pt x="1251" y="834"/>
                  <a:pt x="1254" y="836"/>
                  <a:pt x="1260" y="837"/>
                </a:cubicBezTo>
                <a:cubicBezTo>
                  <a:pt x="1260" y="837"/>
                  <a:pt x="1260" y="837"/>
                  <a:pt x="1260" y="837"/>
                </a:cubicBezTo>
                <a:cubicBezTo>
                  <a:pt x="1254" y="839"/>
                  <a:pt x="1251" y="841"/>
                  <a:pt x="1251" y="849"/>
                </a:cubicBezTo>
                <a:cubicBezTo>
                  <a:pt x="1251" y="851"/>
                  <a:pt x="1251" y="853"/>
                  <a:pt x="1252" y="855"/>
                </a:cubicBezTo>
                <a:cubicBezTo>
                  <a:pt x="1252" y="856"/>
                  <a:pt x="1252" y="858"/>
                  <a:pt x="1252" y="859"/>
                </a:cubicBezTo>
                <a:cubicBezTo>
                  <a:pt x="1252" y="863"/>
                  <a:pt x="1251" y="865"/>
                  <a:pt x="1247" y="865"/>
                </a:cubicBezTo>
                <a:cubicBezTo>
                  <a:pt x="1247" y="865"/>
                  <a:pt x="1247" y="865"/>
                  <a:pt x="1245" y="865"/>
                </a:cubicBezTo>
                <a:cubicBezTo>
                  <a:pt x="1245" y="865"/>
                  <a:pt x="1245" y="865"/>
                  <a:pt x="1245" y="874"/>
                </a:cubicBezTo>
                <a:cubicBezTo>
                  <a:pt x="1245" y="874"/>
                  <a:pt x="1245" y="874"/>
                  <a:pt x="1249" y="874"/>
                </a:cubicBezTo>
                <a:cubicBezTo>
                  <a:pt x="1258" y="874"/>
                  <a:pt x="1264" y="871"/>
                  <a:pt x="1264" y="862"/>
                </a:cubicBezTo>
                <a:cubicBezTo>
                  <a:pt x="1264" y="859"/>
                  <a:pt x="1264" y="857"/>
                  <a:pt x="1264" y="855"/>
                </a:cubicBezTo>
                <a:cubicBezTo>
                  <a:pt x="1263" y="852"/>
                  <a:pt x="1263" y="850"/>
                  <a:pt x="1263" y="848"/>
                </a:cubicBezTo>
                <a:cubicBezTo>
                  <a:pt x="1263" y="845"/>
                  <a:pt x="1264" y="842"/>
                  <a:pt x="1270" y="842"/>
                </a:cubicBezTo>
                <a:close/>
                <a:moveTo>
                  <a:pt x="1597" y="833"/>
                </a:moveTo>
                <a:cubicBezTo>
                  <a:pt x="1597" y="833"/>
                  <a:pt x="1597" y="833"/>
                  <a:pt x="1597" y="833"/>
                </a:cubicBezTo>
                <a:cubicBezTo>
                  <a:pt x="1597" y="842"/>
                  <a:pt x="1597" y="842"/>
                  <a:pt x="1597" y="842"/>
                </a:cubicBezTo>
                <a:cubicBezTo>
                  <a:pt x="1603" y="842"/>
                  <a:pt x="1604" y="845"/>
                  <a:pt x="1604" y="848"/>
                </a:cubicBezTo>
                <a:cubicBezTo>
                  <a:pt x="1604" y="850"/>
                  <a:pt x="1603" y="852"/>
                  <a:pt x="1603" y="855"/>
                </a:cubicBezTo>
                <a:cubicBezTo>
                  <a:pt x="1603" y="857"/>
                  <a:pt x="1603" y="859"/>
                  <a:pt x="1603" y="862"/>
                </a:cubicBezTo>
                <a:cubicBezTo>
                  <a:pt x="1603" y="871"/>
                  <a:pt x="1609" y="874"/>
                  <a:pt x="1617" y="874"/>
                </a:cubicBezTo>
                <a:cubicBezTo>
                  <a:pt x="1617" y="874"/>
                  <a:pt x="1617" y="874"/>
                  <a:pt x="1621" y="874"/>
                </a:cubicBezTo>
                <a:cubicBezTo>
                  <a:pt x="1621" y="874"/>
                  <a:pt x="1621" y="874"/>
                  <a:pt x="1621" y="865"/>
                </a:cubicBezTo>
                <a:cubicBezTo>
                  <a:pt x="1621" y="865"/>
                  <a:pt x="1621" y="865"/>
                  <a:pt x="1619" y="865"/>
                </a:cubicBezTo>
                <a:cubicBezTo>
                  <a:pt x="1616" y="865"/>
                  <a:pt x="1615" y="863"/>
                  <a:pt x="1615" y="859"/>
                </a:cubicBezTo>
                <a:cubicBezTo>
                  <a:pt x="1615" y="858"/>
                  <a:pt x="1615" y="856"/>
                  <a:pt x="1615" y="855"/>
                </a:cubicBezTo>
                <a:cubicBezTo>
                  <a:pt x="1615" y="853"/>
                  <a:pt x="1615" y="851"/>
                  <a:pt x="1615" y="849"/>
                </a:cubicBezTo>
                <a:cubicBezTo>
                  <a:pt x="1615" y="841"/>
                  <a:pt x="1612" y="839"/>
                  <a:pt x="1607" y="837"/>
                </a:cubicBezTo>
                <a:cubicBezTo>
                  <a:pt x="1607" y="837"/>
                  <a:pt x="1607" y="837"/>
                  <a:pt x="1607" y="837"/>
                </a:cubicBezTo>
                <a:cubicBezTo>
                  <a:pt x="1612" y="836"/>
                  <a:pt x="1615" y="834"/>
                  <a:pt x="1615" y="826"/>
                </a:cubicBezTo>
                <a:cubicBezTo>
                  <a:pt x="1615" y="824"/>
                  <a:pt x="1615" y="822"/>
                  <a:pt x="1615" y="820"/>
                </a:cubicBezTo>
                <a:cubicBezTo>
                  <a:pt x="1615" y="818"/>
                  <a:pt x="1615" y="816"/>
                  <a:pt x="1615" y="815"/>
                </a:cubicBezTo>
                <a:cubicBezTo>
                  <a:pt x="1615" y="812"/>
                  <a:pt x="1616" y="809"/>
                  <a:pt x="1619" y="809"/>
                </a:cubicBezTo>
                <a:cubicBezTo>
                  <a:pt x="1619" y="809"/>
                  <a:pt x="1619" y="809"/>
                  <a:pt x="1621" y="809"/>
                </a:cubicBezTo>
                <a:cubicBezTo>
                  <a:pt x="1621" y="809"/>
                  <a:pt x="1621" y="809"/>
                  <a:pt x="1621" y="800"/>
                </a:cubicBezTo>
                <a:cubicBezTo>
                  <a:pt x="1621" y="800"/>
                  <a:pt x="1621" y="800"/>
                  <a:pt x="1617" y="800"/>
                </a:cubicBezTo>
                <a:cubicBezTo>
                  <a:pt x="1608" y="800"/>
                  <a:pt x="1603" y="804"/>
                  <a:pt x="1603" y="813"/>
                </a:cubicBezTo>
                <a:cubicBezTo>
                  <a:pt x="1603" y="815"/>
                  <a:pt x="1603" y="818"/>
                  <a:pt x="1603" y="820"/>
                </a:cubicBezTo>
                <a:cubicBezTo>
                  <a:pt x="1603" y="822"/>
                  <a:pt x="1604" y="825"/>
                  <a:pt x="1604" y="827"/>
                </a:cubicBezTo>
                <a:cubicBezTo>
                  <a:pt x="1604" y="830"/>
                  <a:pt x="1603" y="833"/>
                  <a:pt x="1597" y="833"/>
                </a:cubicBezTo>
                <a:close/>
                <a:moveTo>
                  <a:pt x="1652" y="842"/>
                </a:moveTo>
                <a:cubicBezTo>
                  <a:pt x="1652" y="842"/>
                  <a:pt x="1652" y="842"/>
                  <a:pt x="1652" y="842"/>
                </a:cubicBezTo>
                <a:cubicBezTo>
                  <a:pt x="1652" y="833"/>
                  <a:pt x="1652" y="833"/>
                  <a:pt x="1652" y="833"/>
                </a:cubicBezTo>
                <a:cubicBezTo>
                  <a:pt x="1646" y="833"/>
                  <a:pt x="1645" y="830"/>
                  <a:pt x="1645" y="827"/>
                </a:cubicBezTo>
                <a:cubicBezTo>
                  <a:pt x="1645" y="825"/>
                  <a:pt x="1645" y="822"/>
                  <a:pt x="1646" y="820"/>
                </a:cubicBezTo>
                <a:cubicBezTo>
                  <a:pt x="1646" y="818"/>
                  <a:pt x="1646" y="815"/>
                  <a:pt x="1646" y="813"/>
                </a:cubicBezTo>
                <a:cubicBezTo>
                  <a:pt x="1646" y="804"/>
                  <a:pt x="1641" y="800"/>
                  <a:pt x="1631" y="800"/>
                </a:cubicBezTo>
                <a:cubicBezTo>
                  <a:pt x="1631" y="800"/>
                  <a:pt x="1631" y="800"/>
                  <a:pt x="1628" y="800"/>
                </a:cubicBezTo>
                <a:cubicBezTo>
                  <a:pt x="1628" y="800"/>
                  <a:pt x="1628" y="800"/>
                  <a:pt x="1628" y="809"/>
                </a:cubicBezTo>
                <a:cubicBezTo>
                  <a:pt x="1628" y="809"/>
                  <a:pt x="1628" y="809"/>
                  <a:pt x="1629" y="809"/>
                </a:cubicBezTo>
                <a:cubicBezTo>
                  <a:pt x="1633" y="809"/>
                  <a:pt x="1634" y="812"/>
                  <a:pt x="1634" y="815"/>
                </a:cubicBezTo>
                <a:cubicBezTo>
                  <a:pt x="1634" y="816"/>
                  <a:pt x="1634" y="818"/>
                  <a:pt x="1634" y="820"/>
                </a:cubicBezTo>
                <a:cubicBezTo>
                  <a:pt x="1634" y="822"/>
                  <a:pt x="1634" y="824"/>
                  <a:pt x="1634" y="826"/>
                </a:cubicBezTo>
                <a:cubicBezTo>
                  <a:pt x="1634" y="834"/>
                  <a:pt x="1636" y="836"/>
                  <a:pt x="1642" y="837"/>
                </a:cubicBezTo>
                <a:cubicBezTo>
                  <a:pt x="1642" y="837"/>
                  <a:pt x="1642" y="837"/>
                  <a:pt x="1642" y="837"/>
                </a:cubicBezTo>
                <a:cubicBezTo>
                  <a:pt x="1636" y="839"/>
                  <a:pt x="1634" y="841"/>
                  <a:pt x="1634" y="849"/>
                </a:cubicBezTo>
                <a:cubicBezTo>
                  <a:pt x="1634" y="851"/>
                  <a:pt x="1634" y="853"/>
                  <a:pt x="1634" y="855"/>
                </a:cubicBezTo>
                <a:cubicBezTo>
                  <a:pt x="1634" y="856"/>
                  <a:pt x="1634" y="858"/>
                  <a:pt x="1634" y="859"/>
                </a:cubicBezTo>
                <a:cubicBezTo>
                  <a:pt x="1634" y="863"/>
                  <a:pt x="1633" y="865"/>
                  <a:pt x="1629" y="865"/>
                </a:cubicBezTo>
                <a:cubicBezTo>
                  <a:pt x="1629" y="865"/>
                  <a:pt x="1629" y="865"/>
                  <a:pt x="1628" y="865"/>
                </a:cubicBezTo>
                <a:cubicBezTo>
                  <a:pt x="1628" y="865"/>
                  <a:pt x="1628" y="865"/>
                  <a:pt x="1628" y="874"/>
                </a:cubicBezTo>
                <a:cubicBezTo>
                  <a:pt x="1628" y="874"/>
                  <a:pt x="1628" y="874"/>
                  <a:pt x="1631" y="874"/>
                </a:cubicBezTo>
                <a:cubicBezTo>
                  <a:pt x="1640" y="874"/>
                  <a:pt x="1646" y="871"/>
                  <a:pt x="1646" y="862"/>
                </a:cubicBezTo>
                <a:cubicBezTo>
                  <a:pt x="1646" y="859"/>
                  <a:pt x="1646" y="857"/>
                  <a:pt x="1646" y="855"/>
                </a:cubicBezTo>
                <a:cubicBezTo>
                  <a:pt x="1645" y="852"/>
                  <a:pt x="1645" y="850"/>
                  <a:pt x="1645" y="848"/>
                </a:cubicBezTo>
                <a:cubicBezTo>
                  <a:pt x="1645" y="845"/>
                  <a:pt x="1646" y="842"/>
                  <a:pt x="1652" y="842"/>
                </a:cubicBezTo>
                <a:close/>
                <a:moveTo>
                  <a:pt x="1700" y="801"/>
                </a:moveTo>
                <a:cubicBezTo>
                  <a:pt x="1700" y="801"/>
                  <a:pt x="1700" y="801"/>
                  <a:pt x="1700" y="801"/>
                </a:cubicBezTo>
                <a:cubicBezTo>
                  <a:pt x="1694" y="801"/>
                  <a:pt x="1694" y="801"/>
                  <a:pt x="1694" y="801"/>
                </a:cubicBezTo>
                <a:cubicBezTo>
                  <a:pt x="1692" y="802"/>
                  <a:pt x="1691" y="804"/>
                  <a:pt x="1688" y="805"/>
                </a:cubicBezTo>
                <a:cubicBezTo>
                  <a:pt x="1687" y="806"/>
                  <a:pt x="1685" y="807"/>
                  <a:pt x="1683" y="808"/>
                </a:cubicBezTo>
                <a:cubicBezTo>
                  <a:pt x="1681" y="808"/>
                  <a:pt x="1680" y="809"/>
                  <a:pt x="1678" y="810"/>
                </a:cubicBezTo>
                <a:cubicBezTo>
                  <a:pt x="1676" y="810"/>
                  <a:pt x="1674" y="811"/>
                  <a:pt x="1672" y="812"/>
                </a:cubicBezTo>
                <a:cubicBezTo>
                  <a:pt x="1672" y="812"/>
                  <a:pt x="1672" y="812"/>
                  <a:pt x="1672" y="822"/>
                </a:cubicBezTo>
                <a:cubicBezTo>
                  <a:pt x="1675" y="821"/>
                  <a:pt x="1678" y="820"/>
                  <a:pt x="1680" y="819"/>
                </a:cubicBezTo>
                <a:cubicBezTo>
                  <a:pt x="1683" y="818"/>
                  <a:pt x="1685" y="817"/>
                  <a:pt x="1688" y="816"/>
                </a:cubicBezTo>
                <a:cubicBezTo>
                  <a:pt x="1688" y="816"/>
                  <a:pt x="1688" y="816"/>
                  <a:pt x="1688" y="874"/>
                </a:cubicBezTo>
                <a:cubicBezTo>
                  <a:pt x="1688" y="874"/>
                  <a:pt x="1688" y="874"/>
                  <a:pt x="1700" y="874"/>
                </a:cubicBezTo>
                <a:cubicBezTo>
                  <a:pt x="1700" y="874"/>
                  <a:pt x="1700" y="874"/>
                  <a:pt x="1700" y="801"/>
                </a:cubicBezTo>
                <a:close/>
                <a:moveTo>
                  <a:pt x="1747" y="801"/>
                </a:moveTo>
                <a:cubicBezTo>
                  <a:pt x="1747" y="801"/>
                  <a:pt x="1747" y="801"/>
                  <a:pt x="1747" y="801"/>
                </a:cubicBezTo>
                <a:cubicBezTo>
                  <a:pt x="1742" y="801"/>
                  <a:pt x="1742" y="801"/>
                  <a:pt x="1742" y="801"/>
                </a:cubicBezTo>
                <a:cubicBezTo>
                  <a:pt x="1739" y="802"/>
                  <a:pt x="1738" y="804"/>
                  <a:pt x="1736" y="805"/>
                </a:cubicBezTo>
                <a:cubicBezTo>
                  <a:pt x="1734" y="806"/>
                  <a:pt x="1732" y="807"/>
                  <a:pt x="1731" y="808"/>
                </a:cubicBezTo>
                <a:cubicBezTo>
                  <a:pt x="1729" y="809"/>
                  <a:pt x="1727" y="810"/>
                  <a:pt x="1726" y="810"/>
                </a:cubicBezTo>
                <a:cubicBezTo>
                  <a:pt x="1724" y="811"/>
                  <a:pt x="1722" y="812"/>
                  <a:pt x="1720" y="812"/>
                </a:cubicBezTo>
                <a:cubicBezTo>
                  <a:pt x="1720" y="812"/>
                  <a:pt x="1720" y="812"/>
                  <a:pt x="1720" y="822"/>
                </a:cubicBezTo>
                <a:cubicBezTo>
                  <a:pt x="1723" y="821"/>
                  <a:pt x="1726" y="821"/>
                  <a:pt x="1728" y="819"/>
                </a:cubicBezTo>
                <a:cubicBezTo>
                  <a:pt x="1731" y="818"/>
                  <a:pt x="1733" y="817"/>
                  <a:pt x="1735" y="816"/>
                </a:cubicBezTo>
                <a:cubicBezTo>
                  <a:pt x="1735" y="816"/>
                  <a:pt x="1735" y="816"/>
                  <a:pt x="1735" y="874"/>
                </a:cubicBezTo>
                <a:cubicBezTo>
                  <a:pt x="1735" y="874"/>
                  <a:pt x="1735" y="874"/>
                  <a:pt x="1747" y="874"/>
                </a:cubicBezTo>
                <a:cubicBezTo>
                  <a:pt x="1747" y="874"/>
                  <a:pt x="1747" y="874"/>
                  <a:pt x="1747" y="801"/>
                </a:cubicBezTo>
                <a:close/>
                <a:moveTo>
                  <a:pt x="1793" y="801"/>
                </a:moveTo>
                <a:cubicBezTo>
                  <a:pt x="1793" y="801"/>
                  <a:pt x="1793" y="801"/>
                  <a:pt x="1793" y="801"/>
                </a:cubicBezTo>
                <a:cubicBezTo>
                  <a:pt x="1789" y="801"/>
                  <a:pt x="1789" y="801"/>
                  <a:pt x="1789" y="801"/>
                </a:cubicBezTo>
                <a:cubicBezTo>
                  <a:pt x="1787" y="802"/>
                  <a:pt x="1785" y="804"/>
                  <a:pt x="1783" y="805"/>
                </a:cubicBezTo>
                <a:cubicBezTo>
                  <a:pt x="1782" y="806"/>
                  <a:pt x="1779" y="807"/>
                  <a:pt x="1778" y="808"/>
                </a:cubicBezTo>
                <a:cubicBezTo>
                  <a:pt x="1776" y="809"/>
                  <a:pt x="1774" y="810"/>
                  <a:pt x="1772" y="810"/>
                </a:cubicBezTo>
                <a:cubicBezTo>
                  <a:pt x="1771" y="811"/>
                  <a:pt x="1769" y="812"/>
                  <a:pt x="1767" y="812"/>
                </a:cubicBezTo>
                <a:cubicBezTo>
                  <a:pt x="1767" y="812"/>
                  <a:pt x="1767" y="812"/>
                  <a:pt x="1767" y="822"/>
                </a:cubicBezTo>
                <a:cubicBezTo>
                  <a:pt x="1770" y="821"/>
                  <a:pt x="1773" y="821"/>
                  <a:pt x="1775" y="819"/>
                </a:cubicBezTo>
                <a:cubicBezTo>
                  <a:pt x="1777" y="818"/>
                  <a:pt x="1780" y="817"/>
                  <a:pt x="1782" y="816"/>
                </a:cubicBezTo>
                <a:cubicBezTo>
                  <a:pt x="1782" y="816"/>
                  <a:pt x="1782" y="816"/>
                  <a:pt x="1782" y="874"/>
                </a:cubicBezTo>
                <a:cubicBezTo>
                  <a:pt x="1782" y="874"/>
                  <a:pt x="1782" y="874"/>
                  <a:pt x="1793" y="874"/>
                </a:cubicBezTo>
                <a:cubicBezTo>
                  <a:pt x="1793" y="874"/>
                  <a:pt x="1793" y="874"/>
                  <a:pt x="1793" y="801"/>
                </a:cubicBezTo>
                <a:close/>
                <a:moveTo>
                  <a:pt x="1916" y="801"/>
                </a:moveTo>
                <a:cubicBezTo>
                  <a:pt x="1916" y="801"/>
                  <a:pt x="1916" y="801"/>
                  <a:pt x="1916" y="801"/>
                </a:cubicBezTo>
                <a:cubicBezTo>
                  <a:pt x="1911" y="801"/>
                  <a:pt x="1911" y="801"/>
                  <a:pt x="1911" y="801"/>
                </a:cubicBezTo>
                <a:cubicBezTo>
                  <a:pt x="1909" y="802"/>
                  <a:pt x="1908" y="804"/>
                  <a:pt x="1905" y="805"/>
                </a:cubicBezTo>
                <a:cubicBezTo>
                  <a:pt x="1904" y="806"/>
                  <a:pt x="1902" y="807"/>
                  <a:pt x="1900" y="808"/>
                </a:cubicBezTo>
                <a:cubicBezTo>
                  <a:pt x="1899" y="809"/>
                  <a:pt x="1897" y="810"/>
                  <a:pt x="1895" y="810"/>
                </a:cubicBezTo>
                <a:cubicBezTo>
                  <a:pt x="1893" y="811"/>
                  <a:pt x="1891" y="812"/>
                  <a:pt x="1889" y="812"/>
                </a:cubicBezTo>
                <a:cubicBezTo>
                  <a:pt x="1889" y="812"/>
                  <a:pt x="1889" y="812"/>
                  <a:pt x="1889" y="822"/>
                </a:cubicBezTo>
                <a:cubicBezTo>
                  <a:pt x="1892" y="821"/>
                  <a:pt x="1895" y="821"/>
                  <a:pt x="1898" y="819"/>
                </a:cubicBezTo>
                <a:cubicBezTo>
                  <a:pt x="1900" y="818"/>
                  <a:pt x="1902" y="817"/>
                  <a:pt x="1905" y="816"/>
                </a:cubicBezTo>
                <a:cubicBezTo>
                  <a:pt x="1905" y="816"/>
                  <a:pt x="1905" y="816"/>
                  <a:pt x="1905" y="874"/>
                </a:cubicBezTo>
                <a:cubicBezTo>
                  <a:pt x="1905" y="874"/>
                  <a:pt x="1905" y="874"/>
                  <a:pt x="1916" y="874"/>
                </a:cubicBezTo>
                <a:cubicBezTo>
                  <a:pt x="1916" y="874"/>
                  <a:pt x="1916" y="874"/>
                  <a:pt x="1916" y="801"/>
                </a:cubicBezTo>
                <a:close/>
                <a:moveTo>
                  <a:pt x="1814" y="833"/>
                </a:moveTo>
                <a:cubicBezTo>
                  <a:pt x="1814" y="833"/>
                  <a:pt x="1814" y="833"/>
                  <a:pt x="1814" y="833"/>
                </a:cubicBezTo>
                <a:cubicBezTo>
                  <a:pt x="1814" y="842"/>
                  <a:pt x="1814" y="842"/>
                  <a:pt x="1814" y="842"/>
                </a:cubicBezTo>
                <a:cubicBezTo>
                  <a:pt x="1820" y="842"/>
                  <a:pt x="1821" y="845"/>
                  <a:pt x="1821" y="848"/>
                </a:cubicBezTo>
                <a:cubicBezTo>
                  <a:pt x="1821" y="850"/>
                  <a:pt x="1820" y="852"/>
                  <a:pt x="1820" y="855"/>
                </a:cubicBezTo>
                <a:cubicBezTo>
                  <a:pt x="1820" y="857"/>
                  <a:pt x="1820" y="859"/>
                  <a:pt x="1820" y="862"/>
                </a:cubicBezTo>
                <a:cubicBezTo>
                  <a:pt x="1820" y="871"/>
                  <a:pt x="1826" y="874"/>
                  <a:pt x="1834" y="874"/>
                </a:cubicBezTo>
                <a:cubicBezTo>
                  <a:pt x="1834" y="874"/>
                  <a:pt x="1834" y="874"/>
                  <a:pt x="1838" y="874"/>
                </a:cubicBezTo>
                <a:cubicBezTo>
                  <a:pt x="1838" y="874"/>
                  <a:pt x="1838" y="874"/>
                  <a:pt x="1838" y="865"/>
                </a:cubicBezTo>
                <a:cubicBezTo>
                  <a:pt x="1838" y="865"/>
                  <a:pt x="1838" y="865"/>
                  <a:pt x="1836" y="865"/>
                </a:cubicBezTo>
                <a:cubicBezTo>
                  <a:pt x="1833" y="865"/>
                  <a:pt x="1831" y="863"/>
                  <a:pt x="1831" y="859"/>
                </a:cubicBezTo>
                <a:cubicBezTo>
                  <a:pt x="1831" y="858"/>
                  <a:pt x="1831" y="856"/>
                  <a:pt x="1832" y="855"/>
                </a:cubicBezTo>
                <a:cubicBezTo>
                  <a:pt x="1832" y="853"/>
                  <a:pt x="1832" y="851"/>
                  <a:pt x="1832" y="849"/>
                </a:cubicBezTo>
                <a:cubicBezTo>
                  <a:pt x="1832" y="841"/>
                  <a:pt x="1829" y="839"/>
                  <a:pt x="1824" y="837"/>
                </a:cubicBezTo>
                <a:cubicBezTo>
                  <a:pt x="1824" y="837"/>
                  <a:pt x="1824" y="837"/>
                  <a:pt x="1824" y="837"/>
                </a:cubicBezTo>
                <a:cubicBezTo>
                  <a:pt x="1829" y="836"/>
                  <a:pt x="1832" y="834"/>
                  <a:pt x="1832" y="826"/>
                </a:cubicBezTo>
                <a:cubicBezTo>
                  <a:pt x="1832" y="824"/>
                  <a:pt x="1832" y="822"/>
                  <a:pt x="1832" y="820"/>
                </a:cubicBezTo>
                <a:cubicBezTo>
                  <a:pt x="1831" y="818"/>
                  <a:pt x="1831" y="816"/>
                  <a:pt x="1831" y="815"/>
                </a:cubicBezTo>
                <a:cubicBezTo>
                  <a:pt x="1831" y="812"/>
                  <a:pt x="1833" y="809"/>
                  <a:pt x="1836" y="809"/>
                </a:cubicBezTo>
                <a:cubicBezTo>
                  <a:pt x="1836" y="809"/>
                  <a:pt x="1836" y="809"/>
                  <a:pt x="1838" y="809"/>
                </a:cubicBezTo>
                <a:cubicBezTo>
                  <a:pt x="1838" y="809"/>
                  <a:pt x="1838" y="809"/>
                  <a:pt x="1838" y="800"/>
                </a:cubicBezTo>
                <a:cubicBezTo>
                  <a:pt x="1838" y="800"/>
                  <a:pt x="1838" y="800"/>
                  <a:pt x="1834" y="800"/>
                </a:cubicBezTo>
                <a:cubicBezTo>
                  <a:pt x="1825" y="800"/>
                  <a:pt x="1820" y="804"/>
                  <a:pt x="1820" y="813"/>
                </a:cubicBezTo>
                <a:cubicBezTo>
                  <a:pt x="1820" y="815"/>
                  <a:pt x="1820" y="818"/>
                  <a:pt x="1820" y="820"/>
                </a:cubicBezTo>
                <a:cubicBezTo>
                  <a:pt x="1820" y="822"/>
                  <a:pt x="1821" y="825"/>
                  <a:pt x="1821" y="827"/>
                </a:cubicBezTo>
                <a:cubicBezTo>
                  <a:pt x="1821" y="830"/>
                  <a:pt x="1820" y="833"/>
                  <a:pt x="1814" y="833"/>
                </a:cubicBezTo>
                <a:close/>
                <a:moveTo>
                  <a:pt x="1868" y="842"/>
                </a:moveTo>
                <a:cubicBezTo>
                  <a:pt x="1868" y="842"/>
                  <a:pt x="1868" y="842"/>
                  <a:pt x="1868" y="842"/>
                </a:cubicBezTo>
                <a:cubicBezTo>
                  <a:pt x="1868" y="833"/>
                  <a:pt x="1868" y="833"/>
                  <a:pt x="1868" y="833"/>
                </a:cubicBezTo>
                <a:cubicBezTo>
                  <a:pt x="1862" y="833"/>
                  <a:pt x="1862" y="830"/>
                  <a:pt x="1862" y="827"/>
                </a:cubicBezTo>
                <a:cubicBezTo>
                  <a:pt x="1862" y="825"/>
                  <a:pt x="1862" y="822"/>
                  <a:pt x="1862" y="820"/>
                </a:cubicBezTo>
                <a:cubicBezTo>
                  <a:pt x="1863" y="818"/>
                  <a:pt x="1863" y="815"/>
                  <a:pt x="1863" y="813"/>
                </a:cubicBezTo>
                <a:cubicBezTo>
                  <a:pt x="1863" y="804"/>
                  <a:pt x="1857" y="800"/>
                  <a:pt x="1848" y="800"/>
                </a:cubicBezTo>
                <a:cubicBezTo>
                  <a:pt x="1848" y="800"/>
                  <a:pt x="1848" y="800"/>
                  <a:pt x="1844" y="800"/>
                </a:cubicBezTo>
                <a:cubicBezTo>
                  <a:pt x="1844" y="800"/>
                  <a:pt x="1844" y="800"/>
                  <a:pt x="1844" y="809"/>
                </a:cubicBezTo>
                <a:cubicBezTo>
                  <a:pt x="1844" y="809"/>
                  <a:pt x="1844" y="809"/>
                  <a:pt x="1846" y="809"/>
                </a:cubicBezTo>
                <a:cubicBezTo>
                  <a:pt x="1850" y="809"/>
                  <a:pt x="1851" y="812"/>
                  <a:pt x="1851" y="815"/>
                </a:cubicBezTo>
                <a:cubicBezTo>
                  <a:pt x="1851" y="816"/>
                  <a:pt x="1851" y="818"/>
                  <a:pt x="1851" y="820"/>
                </a:cubicBezTo>
                <a:cubicBezTo>
                  <a:pt x="1850" y="822"/>
                  <a:pt x="1850" y="824"/>
                  <a:pt x="1850" y="826"/>
                </a:cubicBezTo>
                <a:cubicBezTo>
                  <a:pt x="1850" y="834"/>
                  <a:pt x="1853" y="836"/>
                  <a:pt x="1859" y="837"/>
                </a:cubicBezTo>
                <a:cubicBezTo>
                  <a:pt x="1859" y="837"/>
                  <a:pt x="1859" y="837"/>
                  <a:pt x="1859" y="837"/>
                </a:cubicBezTo>
                <a:cubicBezTo>
                  <a:pt x="1853" y="839"/>
                  <a:pt x="1850" y="841"/>
                  <a:pt x="1850" y="849"/>
                </a:cubicBezTo>
                <a:cubicBezTo>
                  <a:pt x="1850" y="851"/>
                  <a:pt x="1850" y="853"/>
                  <a:pt x="1851" y="855"/>
                </a:cubicBezTo>
                <a:cubicBezTo>
                  <a:pt x="1851" y="856"/>
                  <a:pt x="1851" y="858"/>
                  <a:pt x="1851" y="859"/>
                </a:cubicBezTo>
                <a:cubicBezTo>
                  <a:pt x="1851" y="863"/>
                  <a:pt x="1850" y="865"/>
                  <a:pt x="1846" y="865"/>
                </a:cubicBezTo>
                <a:cubicBezTo>
                  <a:pt x="1846" y="865"/>
                  <a:pt x="1846" y="865"/>
                  <a:pt x="1844" y="865"/>
                </a:cubicBezTo>
                <a:cubicBezTo>
                  <a:pt x="1844" y="865"/>
                  <a:pt x="1844" y="865"/>
                  <a:pt x="1844" y="874"/>
                </a:cubicBezTo>
                <a:cubicBezTo>
                  <a:pt x="1844" y="874"/>
                  <a:pt x="1844" y="874"/>
                  <a:pt x="1848" y="874"/>
                </a:cubicBezTo>
                <a:cubicBezTo>
                  <a:pt x="1857" y="874"/>
                  <a:pt x="1863" y="871"/>
                  <a:pt x="1863" y="862"/>
                </a:cubicBezTo>
                <a:cubicBezTo>
                  <a:pt x="1863" y="859"/>
                  <a:pt x="1863" y="857"/>
                  <a:pt x="1862" y="855"/>
                </a:cubicBezTo>
                <a:cubicBezTo>
                  <a:pt x="1862" y="852"/>
                  <a:pt x="1862" y="850"/>
                  <a:pt x="1862" y="848"/>
                </a:cubicBezTo>
                <a:cubicBezTo>
                  <a:pt x="1862" y="845"/>
                  <a:pt x="1862" y="842"/>
                  <a:pt x="1868" y="842"/>
                </a:cubicBezTo>
                <a:close/>
                <a:moveTo>
                  <a:pt x="1010" y="752"/>
                </a:moveTo>
                <a:cubicBezTo>
                  <a:pt x="1010" y="754"/>
                  <a:pt x="1011" y="755"/>
                  <a:pt x="1011" y="757"/>
                </a:cubicBezTo>
                <a:cubicBezTo>
                  <a:pt x="1012" y="758"/>
                  <a:pt x="1012" y="760"/>
                  <a:pt x="1013" y="762"/>
                </a:cubicBezTo>
                <a:cubicBezTo>
                  <a:pt x="1013" y="763"/>
                  <a:pt x="1013" y="765"/>
                  <a:pt x="1013" y="767"/>
                </a:cubicBezTo>
                <a:cubicBezTo>
                  <a:pt x="1014" y="770"/>
                  <a:pt x="1013" y="771"/>
                  <a:pt x="1009" y="771"/>
                </a:cubicBezTo>
                <a:cubicBezTo>
                  <a:pt x="1007" y="771"/>
                  <a:pt x="1004" y="771"/>
                  <a:pt x="1001" y="771"/>
                </a:cubicBezTo>
                <a:cubicBezTo>
                  <a:pt x="1001" y="771"/>
                  <a:pt x="1000" y="771"/>
                  <a:pt x="1000" y="771"/>
                </a:cubicBezTo>
                <a:cubicBezTo>
                  <a:pt x="998" y="773"/>
                  <a:pt x="996" y="774"/>
                  <a:pt x="995" y="776"/>
                </a:cubicBezTo>
                <a:cubicBezTo>
                  <a:pt x="993" y="778"/>
                  <a:pt x="990" y="778"/>
                  <a:pt x="988" y="776"/>
                </a:cubicBezTo>
                <a:cubicBezTo>
                  <a:pt x="986" y="774"/>
                  <a:pt x="985" y="772"/>
                  <a:pt x="983" y="769"/>
                </a:cubicBezTo>
                <a:cubicBezTo>
                  <a:pt x="982" y="767"/>
                  <a:pt x="983" y="766"/>
                  <a:pt x="985" y="764"/>
                </a:cubicBezTo>
                <a:cubicBezTo>
                  <a:pt x="982" y="764"/>
                  <a:pt x="981" y="764"/>
                  <a:pt x="979" y="764"/>
                </a:cubicBezTo>
                <a:cubicBezTo>
                  <a:pt x="978" y="766"/>
                  <a:pt x="977" y="768"/>
                  <a:pt x="976" y="770"/>
                </a:cubicBezTo>
                <a:cubicBezTo>
                  <a:pt x="976" y="771"/>
                  <a:pt x="976" y="772"/>
                  <a:pt x="976" y="773"/>
                </a:cubicBezTo>
                <a:cubicBezTo>
                  <a:pt x="976" y="776"/>
                  <a:pt x="975" y="777"/>
                  <a:pt x="972" y="776"/>
                </a:cubicBezTo>
                <a:cubicBezTo>
                  <a:pt x="969" y="776"/>
                  <a:pt x="966" y="775"/>
                  <a:pt x="963" y="774"/>
                </a:cubicBezTo>
                <a:cubicBezTo>
                  <a:pt x="961" y="774"/>
                  <a:pt x="960" y="772"/>
                  <a:pt x="961" y="770"/>
                </a:cubicBezTo>
                <a:cubicBezTo>
                  <a:pt x="961" y="769"/>
                  <a:pt x="961" y="769"/>
                  <a:pt x="962" y="769"/>
                </a:cubicBezTo>
                <a:cubicBezTo>
                  <a:pt x="959" y="767"/>
                  <a:pt x="957" y="767"/>
                  <a:pt x="955" y="765"/>
                </a:cubicBezTo>
                <a:cubicBezTo>
                  <a:pt x="954" y="764"/>
                  <a:pt x="953" y="762"/>
                  <a:pt x="952" y="761"/>
                </a:cubicBezTo>
                <a:cubicBezTo>
                  <a:pt x="951" y="759"/>
                  <a:pt x="951" y="757"/>
                  <a:pt x="953" y="755"/>
                </a:cubicBezTo>
                <a:cubicBezTo>
                  <a:pt x="956" y="753"/>
                  <a:pt x="957" y="750"/>
                  <a:pt x="956" y="746"/>
                </a:cubicBezTo>
                <a:cubicBezTo>
                  <a:pt x="956" y="744"/>
                  <a:pt x="956" y="742"/>
                  <a:pt x="956" y="740"/>
                </a:cubicBezTo>
                <a:cubicBezTo>
                  <a:pt x="955" y="740"/>
                  <a:pt x="953" y="739"/>
                  <a:pt x="952" y="738"/>
                </a:cubicBezTo>
                <a:cubicBezTo>
                  <a:pt x="951" y="736"/>
                  <a:pt x="950" y="734"/>
                  <a:pt x="950" y="733"/>
                </a:cubicBezTo>
                <a:cubicBezTo>
                  <a:pt x="950" y="730"/>
                  <a:pt x="953" y="727"/>
                  <a:pt x="956" y="726"/>
                </a:cubicBezTo>
                <a:cubicBezTo>
                  <a:pt x="956" y="727"/>
                  <a:pt x="956" y="728"/>
                  <a:pt x="957" y="729"/>
                </a:cubicBezTo>
                <a:cubicBezTo>
                  <a:pt x="957" y="730"/>
                  <a:pt x="957" y="731"/>
                  <a:pt x="957" y="732"/>
                </a:cubicBezTo>
                <a:cubicBezTo>
                  <a:pt x="956" y="731"/>
                  <a:pt x="956" y="731"/>
                  <a:pt x="956" y="731"/>
                </a:cubicBezTo>
                <a:cubicBezTo>
                  <a:pt x="955" y="733"/>
                  <a:pt x="955" y="734"/>
                  <a:pt x="954" y="736"/>
                </a:cubicBezTo>
                <a:cubicBezTo>
                  <a:pt x="955" y="735"/>
                  <a:pt x="956" y="735"/>
                  <a:pt x="956" y="735"/>
                </a:cubicBezTo>
                <a:cubicBezTo>
                  <a:pt x="958" y="734"/>
                  <a:pt x="958" y="733"/>
                  <a:pt x="959" y="732"/>
                </a:cubicBezTo>
                <a:cubicBezTo>
                  <a:pt x="964" y="725"/>
                  <a:pt x="969" y="721"/>
                  <a:pt x="977" y="719"/>
                </a:cubicBezTo>
                <a:cubicBezTo>
                  <a:pt x="980" y="719"/>
                  <a:pt x="984" y="718"/>
                  <a:pt x="986" y="715"/>
                </a:cubicBezTo>
                <a:cubicBezTo>
                  <a:pt x="986" y="715"/>
                  <a:pt x="987" y="714"/>
                  <a:pt x="987" y="714"/>
                </a:cubicBezTo>
                <a:cubicBezTo>
                  <a:pt x="990" y="714"/>
                  <a:pt x="991" y="712"/>
                  <a:pt x="993" y="710"/>
                </a:cubicBezTo>
                <a:cubicBezTo>
                  <a:pt x="1001" y="702"/>
                  <a:pt x="1013" y="702"/>
                  <a:pt x="1020" y="708"/>
                </a:cubicBezTo>
                <a:cubicBezTo>
                  <a:pt x="1023" y="710"/>
                  <a:pt x="1025" y="712"/>
                  <a:pt x="1028" y="714"/>
                </a:cubicBezTo>
                <a:cubicBezTo>
                  <a:pt x="1029" y="715"/>
                  <a:pt x="1031" y="717"/>
                  <a:pt x="1032" y="719"/>
                </a:cubicBezTo>
                <a:cubicBezTo>
                  <a:pt x="1033" y="721"/>
                  <a:pt x="1033" y="721"/>
                  <a:pt x="1034" y="719"/>
                </a:cubicBezTo>
                <a:cubicBezTo>
                  <a:pt x="1035" y="719"/>
                  <a:pt x="1036" y="718"/>
                  <a:pt x="1037" y="717"/>
                </a:cubicBezTo>
                <a:cubicBezTo>
                  <a:pt x="1039" y="715"/>
                  <a:pt x="1042" y="715"/>
                  <a:pt x="1043" y="718"/>
                </a:cubicBezTo>
                <a:cubicBezTo>
                  <a:pt x="1044" y="721"/>
                  <a:pt x="1045" y="724"/>
                  <a:pt x="1045" y="727"/>
                </a:cubicBezTo>
                <a:cubicBezTo>
                  <a:pt x="1046" y="731"/>
                  <a:pt x="1046" y="736"/>
                  <a:pt x="1044" y="740"/>
                </a:cubicBezTo>
                <a:cubicBezTo>
                  <a:pt x="1042" y="746"/>
                  <a:pt x="1037" y="750"/>
                  <a:pt x="1031" y="750"/>
                </a:cubicBezTo>
                <a:cubicBezTo>
                  <a:pt x="1030" y="750"/>
                  <a:pt x="1029" y="750"/>
                  <a:pt x="1029" y="750"/>
                </a:cubicBezTo>
                <a:cubicBezTo>
                  <a:pt x="1026" y="750"/>
                  <a:pt x="1025" y="750"/>
                  <a:pt x="1024" y="752"/>
                </a:cubicBezTo>
                <a:cubicBezTo>
                  <a:pt x="1023" y="757"/>
                  <a:pt x="1017" y="758"/>
                  <a:pt x="1014" y="755"/>
                </a:cubicBezTo>
                <a:cubicBezTo>
                  <a:pt x="1013" y="754"/>
                  <a:pt x="1012" y="753"/>
                  <a:pt x="1011" y="752"/>
                </a:cubicBezTo>
                <a:cubicBezTo>
                  <a:pt x="1010" y="752"/>
                  <a:pt x="1010" y="752"/>
                  <a:pt x="1010" y="752"/>
                </a:cubicBezTo>
                <a:close/>
                <a:moveTo>
                  <a:pt x="1004" y="748"/>
                </a:moveTo>
                <a:cubicBezTo>
                  <a:pt x="1008" y="750"/>
                  <a:pt x="1011" y="751"/>
                  <a:pt x="1014" y="754"/>
                </a:cubicBezTo>
                <a:cubicBezTo>
                  <a:pt x="1016" y="755"/>
                  <a:pt x="1018" y="756"/>
                  <a:pt x="1020" y="755"/>
                </a:cubicBezTo>
                <a:cubicBezTo>
                  <a:pt x="1022" y="754"/>
                  <a:pt x="1024" y="752"/>
                  <a:pt x="1024" y="749"/>
                </a:cubicBezTo>
                <a:cubicBezTo>
                  <a:pt x="1024" y="750"/>
                  <a:pt x="1023" y="750"/>
                  <a:pt x="1023" y="750"/>
                </a:cubicBezTo>
                <a:cubicBezTo>
                  <a:pt x="1022" y="752"/>
                  <a:pt x="1021" y="752"/>
                  <a:pt x="1020" y="754"/>
                </a:cubicBezTo>
                <a:cubicBezTo>
                  <a:pt x="1019" y="755"/>
                  <a:pt x="1018" y="754"/>
                  <a:pt x="1017" y="754"/>
                </a:cubicBezTo>
                <a:cubicBezTo>
                  <a:pt x="1016" y="754"/>
                  <a:pt x="1016" y="753"/>
                  <a:pt x="1016" y="752"/>
                </a:cubicBezTo>
                <a:cubicBezTo>
                  <a:pt x="1016" y="750"/>
                  <a:pt x="1016" y="748"/>
                  <a:pt x="1017" y="746"/>
                </a:cubicBezTo>
                <a:cubicBezTo>
                  <a:pt x="1020" y="746"/>
                  <a:pt x="1023" y="748"/>
                  <a:pt x="1027" y="748"/>
                </a:cubicBezTo>
                <a:cubicBezTo>
                  <a:pt x="1034" y="749"/>
                  <a:pt x="1040" y="748"/>
                  <a:pt x="1043" y="739"/>
                </a:cubicBezTo>
                <a:cubicBezTo>
                  <a:pt x="1045" y="734"/>
                  <a:pt x="1044" y="729"/>
                  <a:pt x="1044" y="724"/>
                </a:cubicBezTo>
                <a:cubicBezTo>
                  <a:pt x="1043" y="722"/>
                  <a:pt x="1042" y="721"/>
                  <a:pt x="1042" y="719"/>
                </a:cubicBezTo>
                <a:cubicBezTo>
                  <a:pt x="1041" y="717"/>
                  <a:pt x="1040" y="717"/>
                  <a:pt x="1038" y="718"/>
                </a:cubicBezTo>
                <a:cubicBezTo>
                  <a:pt x="1037" y="720"/>
                  <a:pt x="1035" y="721"/>
                  <a:pt x="1033" y="722"/>
                </a:cubicBezTo>
                <a:cubicBezTo>
                  <a:pt x="1033" y="723"/>
                  <a:pt x="1032" y="723"/>
                  <a:pt x="1032" y="725"/>
                </a:cubicBezTo>
                <a:cubicBezTo>
                  <a:pt x="1033" y="728"/>
                  <a:pt x="1032" y="731"/>
                  <a:pt x="1031" y="734"/>
                </a:cubicBezTo>
                <a:cubicBezTo>
                  <a:pt x="1031" y="732"/>
                  <a:pt x="1031" y="730"/>
                  <a:pt x="1031" y="729"/>
                </a:cubicBezTo>
                <a:cubicBezTo>
                  <a:pt x="1031" y="728"/>
                  <a:pt x="1031" y="727"/>
                  <a:pt x="1031" y="727"/>
                </a:cubicBezTo>
                <a:cubicBezTo>
                  <a:pt x="1030" y="727"/>
                  <a:pt x="1029" y="727"/>
                  <a:pt x="1029" y="728"/>
                </a:cubicBezTo>
                <a:cubicBezTo>
                  <a:pt x="1029" y="729"/>
                  <a:pt x="1028" y="731"/>
                  <a:pt x="1027" y="732"/>
                </a:cubicBezTo>
                <a:cubicBezTo>
                  <a:pt x="1027" y="732"/>
                  <a:pt x="1027" y="732"/>
                  <a:pt x="1027" y="732"/>
                </a:cubicBezTo>
                <a:cubicBezTo>
                  <a:pt x="1027" y="730"/>
                  <a:pt x="1027" y="729"/>
                  <a:pt x="1028" y="726"/>
                </a:cubicBezTo>
                <a:cubicBezTo>
                  <a:pt x="1027" y="727"/>
                  <a:pt x="1026" y="727"/>
                  <a:pt x="1025" y="728"/>
                </a:cubicBezTo>
                <a:cubicBezTo>
                  <a:pt x="1025" y="729"/>
                  <a:pt x="1025" y="729"/>
                  <a:pt x="1024" y="730"/>
                </a:cubicBezTo>
                <a:cubicBezTo>
                  <a:pt x="1025" y="727"/>
                  <a:pt x="1025" y="727"/>
                  <a:pt x="1031" y="725"/>
                </a:cubicBezTo>
                <a:cubicBezTo>
                  <a:pt x="1031" y="725"/>
                  <a:pt x="1030" y="724"/>
                  <a:pt x="1030" y="724"/>
                </a:cubicBezTo>
                <a:cubicBezTo>
                  <a:pt x="1027" y="725"/>
                  <a:pt x="1026" y="723"/>
                  <a:pt x="1026" y="721"/>
                </a:cubicBezTo>
                <a:cubicBezTo>
                  <a:pt x="1027" y="721"/>
                  <a:pt x="1029" y="720"/>
                  <a:pt x="1031" y="720"/>
                </a:cubicBezTo>
                <a:cubicBezTo>
                  <a:pt x="1029" y="717"/>
                  <a:pt x="1027" y="715"/>
                  <a:pt x="1024" y="714"/>
                </a:cubicBezTo>
                <a:cubicBezTo>
                  <a:pt x="1024" y="714"/>
                  <a:pt x="1024" y="714"/>
                  <a:pt x="1024" y="714"/>
                </a:cubicBezTo>
                <a:cubicBezTo>
                  <a:pt x="1021" y="712"/>
                  <a:pt x="1019" y="709"/>
                  <a:pt x="1016" y="707"/>
                </a:cubicBezTo>
                <a:cubicBezTo>
                  <a:pt x="1014" y="706"/>
                  <a:pt x="1011" y="705"/>
                  <a:pt x="1009" y="705"/>
                </a:cubicBezTo>
                <a:cubicBezTo>
                  <a:pt x="1005" y="706"/>
                  <a:pt x="1002" y="707"/>
                  <a:pt x="999" y="708"/>
                </a:cubicBezTo>
                <a:cubicBezTo>
                  <a:pt x="996" y="709"/>
                  <a:pt x="994" y="710"/>
                  <a:pt x="992" y="714"/>
                </a:cubicBezTo>
                <a:cubicBezTo>
                  <a:pt x="994" y="714"/>
                  <a:pt x="995" y="714"/>
                  <a:pt x="996" y="714"/>
                </a:cubicBezTo>
                <a:cubicBezTo>
                  <a:pt x="996" y="714"/>
                  <a:pt x="995" y="714"/>
                  <a:pt x="994" y="714"/>
                </a:cubicBezTo>
                <a:cubicBezTo>
                  <a:pt x="992" y="715"/>
                  <a:pt x="989" y="714"/>
                  <a:pt x="987" y="717"/>
                </a:cubicBezTo>
                <a:cubicBezTo>
                  <a:pt x="984" y="721"/>
                  <a:pt x="980" y="724"/>
                  <a:pt x="976" y="729"/>
                </a:cubicBezTo>
                <a:cubicBezTo>
                  <a:pt x="974" y="731"/>
                  <a:pt x="974" y="733"/>
                  <a:pt x="973" y="735"/>
                </a:cubicBezTo>
                <a:cubicBezTo>
                  <a:pt x="973" y="736"/>
                  <a:pt x="973" y="736"/>
                  <a:pt x="973" y="737"/>
                </a:cubicBezTo>
                <a:cubicBezTo>
                  <a:pt x="974" y="739"/>
                  <a:pt x="975" y="741"/>
                  <a:pt x="977" y="743"/>
                </a:cubicBezTo>
                <a:cubicBezTo>
                  <a:pt x="978" y="741"/>
                  <a:pt x="979" y="740"/>
                  <a:pt x="980" y="738"/>
                </a:cubicBezTo>
                <a:cubicBezTo>
                  <a:pt x="980" y="740"/>
                  <a:pt x="980" y="741"/>
                  <a:pt x="979" y="742"/>
                </a:cubicBezTo>
                <a:cubicBezTo>
                  <a:pt x="978" y="744"/>
                  <a:pt x="977" y="745"/>
                  <a:pt x="977" y="746"/>
                </a:cubicBezTo>
                <a:cubicBezTo>
                  <a:pt x="976" y="747"/>
                  <a:pt x="977" y="748"/>
                  <a:pt x="977" y="749"/>
                </a:cubicBezTo>
                <a:cubicBezTo>
                  <a:pt x="980" y="753"/>
                  <a:pt x="983" y="753"/>
                  <a:pt x="987" y="751"/>
                </a:cubicBezTo>
                <a:cubicBezTo>
                  <a:pt x="989" y="749"/>
                  <a:pt x="992" y="748"/>
                  <a:pt x="994" y="747"/>
                </a:cubicBezTo>
                <a:cubicBezTo>
                  <a:pt x="996" y="747"/>
                  <a:pt x="997" y="746"/>
                  <a:pt x="997" y="744"/>
                </a:cubicBezTo>
                <a:cubicBezTo>
                  <a:pt x="997" y="741"/>
                  <a:pt x="997" y="738"/>
                  <a:pt x="997" y="734"/>
                </a:cubicBezTo>
                <a:cubicBezTo>
                  <a:pt x="997" y="731"/>
                  <a:pt x="997" y="729"/>
                  <a:pt x="997" y="725"/>
                </a:cubicBezTo>
                <a:cubicBezTo>
                  <a:pt x="998" y="728"/>
                  <a:pt x="998" y="731"/>
                  <a:pt x="999" y="733"/>
                </a:cubicBezTo>
                <a:cubicBezTo>
                  <a:pt x="1000" y="738"/>
                  <a:pt x="1000" y="742"/>
                  <a:pt x="998" y="747"/>
                </a:cubicBezTo>
                <a:cubicBezTo>
                  <a:pt x="998" y="748"/>
                  <a:pt x="997" y="748"/>
                  <a:pt x="997" y="748"/>
                </a:cubicBezTo>
                <a:cubicBezTo>
                  <a:pt x="993" y="749"/>
                  <a:pt x="990" y="751"/>
                  <a:pt x="987" y="752"/>
                </a:cubicBezTo>
                <a:cubicBezTo>
                  <a:pt x="982" y="755"/>
                  <a:pt x="978" y="754"/>
                  <a:pt x="975" y="750"/>
                </a:cubicBezTo>
                <a:cubicBezTo>
                  <a:pt x="974" y="749"/>
                  <a:pt x="974" y="748"/>
                  <a:pt x="975" y="748"/>
                </a:cubicBezTo>
                <a:cubicBezTo>
                  <a:pt x="976" y="745"/>
                  <a:pt x="975" y="743"/>
                  <a:pt x="973" y="741"/>
                </a:cubicBezTo>
                <a:cubicBezTo>
                  <a:pt x="972" y="739"/>
                  <a:pt x="970" y="737"/>
                  <a:pt x="971" y="734"/>
                </a:cubicBezTo>
                <a:cubicBezTo>
                  <a:pt x="972" y="732"/>
                  <a:pt x="973" y="731"/>
                  <a:pt x="974" y="729"/>
                </a:cubicBezTo>
                <a:cubicBezTo>
                  <a:pt x="976" y="726"/>
                  <a:pt x="978" y="724"/>
                  <a:pt x="980" y="721"/>
                </a:cubicBezTo>
                <a:cubicBezTo>
                  <a:pt x="980" y="721"/>
                  <a:pt x="979" y="721"/>
                  <a:pt x="979" y="721"/>
                </a:cubicBezTo>
                <a:cubicBezTo>
                  <a:pt x="974" y="722"/>
                  <a:pt x="969" y="724"/>
                  <a:pt x="965" y="727"/>
                </a:cubicBezTo>
                <a:cubicBezTo>
                  <a:pt x="961" y="731"/>
                  <a:pt x="958" y="736"/>
                  <a:pt x="958" y="743"/>
                </a:cubicBezTo>
                <a:cubicBezTo>
                  <a:pt x="957" y="750"/>
                  <a:pt x="960" y="756"/>
                  <a:pt x="963" y="762"/>
                </a:cubicBezTo>
                <a:cubicBezTo>
                  <a:pt x="964" y="763"/>
                  <a:pt x="964" y="764"/>
                  <a:pt x="964" y="765"/>
                </a:cubicBezTo>
                <a:cubicBezTo>
                  <a:pt x="964" y="767"/>
                  <a:pt x="964" y="769"/>
                  <a:pt x="963" y="770"/>
                </a:cubicBezTo>
                <a:cubicBezTo>
                  <a:pt x="962" y="772"/>
                  <a:pt x="963" y="773"/>
                  <a:pt x="964" y="773"/>
                </a:cubicBezTo>
                <a:cubicBezTo>
                  <a:pt x="967" y="774"/>
                  <a:pt x="970" y="774"/>
                  <a:pt x="973" y="774"/>
                </a:cubicBezTo>
                <a:cubicBezTo>
                  <a:pt x="973" y="774"/>
                  <a:pt x="974" y="774"/>
                  <a:pt x="974" y="773"/>
                </a:cubicBezTo>
                <a:cubicBezTo>
                  <a:pt x="974" y="772"/>
                  <a:pt x="974" y="771"/>
                  <a:pt x="975" y="770"/>
                </a:cubicBezTo>
                <a:cubicBezTo>
                  <a:pt x="977" y="767"/>
                  <a:pt x="977" y="765"/>
                  <a:pt x="977" y="762"/>
                </a:cubicBezTo>
                <a:cubicBezTo>
                  <a:pt x="977" y="761"/>
                  <a:pt x="977" y="761"/>
                  <a:pt x="977" y="761"/>
                </a:cubicBezTo>
                <a:cubicBezTo>
                  <a:pt x="977" y="760"/>
                  <a:pt x="977" y="760"/>
                  <a:pt x="977" y="760"/>
                </a:cubicBezTo>
                <a:cubicBezTo>
                  <a:pt x="978" y="763"/>
                  <a:pt x="979" y="763"/>
                  <a:pt x="981" y="763"/>
                </a:cubicBezTo>
                <a:cubicBezTo>
                  <a:pt x="982" y="763"/>
                  <a:pt x="983" y="763"/>
                  <a:pt x="984" y="763"/>
                </a:cubicBezTo>
                <a:cubicBezTo>
                  <a:pt x="986" y="763"/>
                  <a:pt x="989" y="763"/>
                  <a:pt x="990" y="759"/>
                </a:cubicBezTo>
                <a:cubicBezTo>
                  <a:pt x="990" y="761"/>
                  <a:pt x="990" y="763"/>
                  <a:pt x="990" y="764"/>
                </a:cubicBezTo>
                <a:cubicBezTo>
                  <a:pt x="989" y="765"/>
                  <a:pt x="987" y="765"/>
                  <a:pt x="986" y="766"/>
                </a:cubicBezTo>
                <a:cubicBezTo>
                  <a:pt x="985" y="767"/>
                  <a:pt x="984" y="768"/>
                  <a:pt x="985" y="769"/>
                </a:cubicBezTo>
                <a:cubicBezTo>
                  <a:pt x="986" y="771"/>
                  <a:pt x="987" y="773"/>
                  <a:pt x="989" y="775"/>
                </a:cubicBezTo>
                <a:cubicBezTo>
                  <a:pt x="991" y="776"/>
                  <a:pt x="993" y="776"/>
                  <a:pt x="994" y="774"/>
                </a:cubicBezTo>
                <a:cubicBezTo>
                  <a:pt x="994" y="774"/>
                  <a:pt x="995" y="773"/>
                  <a:pt x="996" y="773"/>
                </a:cubicBezTo>
                <a:cubicBezTo>
                  <a:pt x="998" y="771"/>
                  <a:pt x="999" y="770"/>
                  <a:pt x="1001" y="769"/>
                </a:cubicBezTo>
                <a:cubicBezTo>
                  <a:pt x="1005" y="764"/>
                  <a:pt x="1007" y="758"/>
                  <a:pt x="1009" y="752"/>
                </a:cubicBezTo>
                <a:cubicBezTo>
                  <a:pt x="1009" y="752"/>
                  <a:pt x="1008" y="751"/>
                  <a:pt x="1007" y="751"/>
                </a:cubicBezTo>
                <a:cubicBezTo>
                  <a:pt x="1007" y="750"/>
                  <a:pt x="1005" y="749"/>
                  <a:pt x="1004" y="748"/>
                </a:cubicBezTo>
                <a:close/>
                <a:moveTo>
                  <a:pt x="957" y="754"/>
                </a:moveTo>
                <a:cubicBezTo>
                  <a:pt x="956" y="755"/>
                  <a:pt x="955" y="756"/>
                  <a:pt x="954" y="757"/>
                </a:cubicBezTo>
                <a:cubicBezTo>
                  <a:pt x="953" y="757"/>
                  <a:pt x="953" y="758"/>
                  <a:pt x="953" y="759"/>
                </a:cubicBezTo>
                <a:cubicBezTo>
                  <a:pt x="953" y="762"/>
                  <a:pt x="957" y="766"/>
                  <a:pt x="960" y="766"/>
                </a:cubicBezTo>
                <a:cubicBezTo>
                  <a:pt x="962" y="766"/>
                  <a:pt x="963" y="765"/>
                  <a:pt x="962" y="763"/>
                </a:cubicBezTo>
                <a:cubicBezTo>
                  <a:pt x="960" y="760"/>
                  <a:pt x="959" y="757"/>
                  <a:pt x="957" y="754"/>
                </a:cubicBezTo>
                <a:close/>
                <a:moveTo>
                  <a:pt x="1010" y="756"/>
                </a:moveTo>
                <a:cubicBezTo>
                  <a:pt x="1007" y="761"/>
                  <a:pt x="1005" y="765"/>
                  <a:pt x="1003" y="770"/>
                </a:cubicBezTo>
                <a:cubicBezTo>
                  <a:pt x="1005" y="770"/>
                  <a:pt x="1008" y="770"/>
                  <a:pt x="1011" y="770"/>
                </a:cubicBezTo>
                <a:cubicBezTo>
                  <a:pt x="1011" y="770"/>
                  <a:pt x="1011" y="769"/>
                  <a:pt x="1011" y="768"/>
                </a:cubicBezTo>
                <a:cubicBezTo>
                  <a:pt x="1011" y="765"/>
                  <a:pt x="1011" y="763"/>
                  <a:pt x="1011" y="761"/>
                </a:cubicBezTo>
                <a:cubicBezTo>
                  <a:pt x="1011"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3"/>
                  <a:pt x="954" y="731"/>
                  <a:pt x="955" y="729"/>
                </a:cubicBezTo>
                <a:cubicBezTo>
                  <a:pt x="954" y="729"/>
                  <a:pt x="954" y="729"/>
                  <a:pt x="954" y="729"/>
                </a:cubicBezTo>
                <a:cubicBezTo>
                  <a:pt x="953" y="729"/>
                  <a:pt x="952" y="730"/>
                  <a:pt x="951" y="731"/>
                </a:cubicBezTo>
                <a:cubicBezTo>
                  <a:pt x="951" y="733"/>
                  <a:pt x="952" y="738"/>
                  <a:pt x="954" y="738"/>
                </a:cubicBezTo>
                <a:cubicBezTo>
                  <a:pt x="955" y="739"/>
                  <a:pt x="957" y="738"/>
                  <a:pt x="957" y="736"/>
                </a:cubicBezTo>
                <a:close/>
                <a:moveTo>
                  <a:pt x="957" y="754"/>
                </a:moveTo>
                <a:cubicBezTo>
                  <a:pt x="956" y="755"/>
                  <a:pt x="955" y="756"/>
                  <a:pt x="953" y="757"/>
                </a:cubicBezTo>
                <a:cubicBezTo>
                  <a:pt x="953" y="757"/>
                  <a:pt x="953" y="758"/>
                  <a:pt x="953" y="759"/>
                </a:cubicBezTo>
                <a:cubicBezTo>
                  <a:pt x="953" y="762"/>
                  <a:pt x="957" y="766"/>
                  <a:pt x="960" y="766"/>
                </a:cubicBezTo>
                <a:cubicBezTo>
                  <a:pt x="962" y="766"/>
                  <a:pt x="963" y="764"/>
                  <a:pt x="962" y="763"/>
                </a:cubicBezTo>
                <a:cubicBezTo>
                  <a:pt x="960" y="760"/>
                  <a:pt x="959" y="757"/>
                  <a:pt x="957" y="754"/>
                </a:cubicBezTo>
                <a:close/>
                <a:moveTo>
                  <a:pt x="1010" y="756"/>
                </a:moveTo>
                <a:cubicBezTo>
                  <a:pt x="1007" y="761"/>
                  <a:pt x="1005" y="766"/>
                  <a:pt x="1003" y="770"/>
                </a:cubicBezTo>
                <a:cubicBezTo>
                  <a:pt x="1005" y="770"/>
                  <a:pt x="1008" y="770"/>
                  <a:pt x="1010" y="770"/>
                </a:cubicBezTo>
                <a:cubicBezTo>
                  <a:pt x="1011" y="770"/>
                  <a:pt x="1011" y="769"/>
                  <a:pt x="1011" y="768"/>
                </a:cubicBezTo>
                <a:cubicBezTo>
                  <a:pt x="1011" y="766"/>
                  <a:pt x="1011" y="763"/>
                  <a:pt x="1011" y="761"/>
                </a:cubicBezTo>
                <a:cubicBezTo>
                  <a:pt x="1010"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2"/>
                  <a:pt x="954" y="730"/>
                  <a:pt x="955" y="729"/>
                </a:cubicBezTo>
                <a:cubicBezTo>
                  <a:pt x="954" y="729"/>
                  <a:pt x="954" y="729"/>
                  <a:pt x="954" y="729"/>
                </a:cubicBezTo>
                <a:cubicBezTo>
                  <a:pt x="953" y="729"/>
                  <a:pt x="952" y="730"/>
                  <a:pt x="951" y="731"/>
                </a:cubicBezTo>
                <a:cubicBezTo>
                  <a:pt x="951" y="732"/>
                  <a:pt x="952" y="738"/>
                  <a:pt x="954" y="738"/>
                </a:cubicBezTo>
                <a:cubicBezTo>
                  <a:pt x="955" y="739"/>
                  <a:pt x="957" y="738"/>
                  <a:pt x="957" y="736"/>
                </a:cubicBezTo>
                <a:close/>
                <a:moveTo>
                  <a:pt x="1009" y="728"/>
                </a:moveTo>
                <a:cubicBezTo>
                  <a:pt x="1013" y="724"/>
                  <a:pt x="1013" y="724"/>
                  <a:pt x="1017" y="723"/>
                </a:cubicBezTo>
                <a:cubicBezTo>
                  <a:pt x="1017" y="725"/>
                  <a:pt x="1018" y="726"/>
                  <a:pt x="1019" y="726"/>
                </a:cubicBezTo>
                <a:cubicBezTo>
                  <a:pt x="1017" y="727"/>
                  <a:pt x="1015" y="729"/>
                  <a:pt x="1013" y="730"/>
                </a:cubicBezTo>
                <a:cubicBezTo>
                  <a:pt x="1012" y="729"/>
                  <a:pt x="1012" y="728"/>
                  <a:pt x="1011" y="727"/>
                </a:cubicBezTo>
                <a:cubicBezTo>
                  <a:pt x="1011" y="727"/>
                  <a:pt x="1010" y="727"/>
                  <a:pt x="1009" y="728"/>
                </a:cubicBezTo>
                <a:close/>
                <a:moveTo>
                  <a:pt x="1015" y="727"/>
                </a:moveTo>
                <a:cubicBezTo>
                  <a:pt x="1015" y="727"/>
                  <a:pt x="1014" y="727"/>
                  <a:pt x="1013" y="727"/>
                </a:cubicBezTo>
                <a:cubicBezTo>
                  <a:pt x="1013" y="727"/>
                  <a:pt x="1012" y="727"/>
                  <a:pt x="1012" y="728"/>
                </a:cubicBezTo>
                <a:cubicBezTo>
                  <a:pt x="1012" y="728"/>
                  <a:pt x="1013" y="728"/>
                  <a:pt x="1013" y="729"/>
                </a:cubicBezTo>
                <a:cubicBezTo>
                  <a:pt x="1014" y="728"/>
                  <a:pt x="1014" y="728"/>
                  <a:pt x="1015" y="727"/>
                </a:cubicBezTo>
                <a:close/>
                <a:moveTo>
                  <a:pt x="996" y="718"/>
                </a:moveTo>
                <a:cubicBezTo>
                  <a:pt x="990" y="717"/>
                  <a:pt x="987" y="719"/>
                  <a:pt x="986" y="728"/>
                </a:cubicBezTo>
                <a:cubicBezTo>
                  <a:pt x="987" y="726"/>
                  <a:pt x="988" y="723"/>
                  <a:pt x="989" y="721"/>
                </a:cubicBezTo>
                <a:cubicBezTo>
                  <a:pt x="990" y="721"/>
                  <a:pt x="990" y="721"/>
                  <a:pt x="990" y="721"/>
                </a:cubicBezTo>
                <a:cubicBezTo>
                  <a:pt x="990" y="722"/>
                  <a:pt x="990" y="723"/>
                  <a:pt x="990" y="723"/>
                </a:cubicBezTo>
                <a:cubicBezTo>
                  <a:pt x="991" y="720"/>
                  <a:pt x="993" y="718"/>
                  <a:pt x="996" y="718"/>
                </a:cubicBezTo>
                <a:close/>
                <a:moveTo>
                  <a:pt x="1040" y="719"/>
                </a:moveTo>
                <a:cubicBezTo>
                  <a:pt x="1038" y="721"/>
                  <a:pt x="1036" y="722"/>
                  <a:pt x="1035" y="723"/>
                </a:cubicBezTo>
                <a:cubicBezTo>
                  <a:pt x="1037" y="724"/>
                  <a:pt x="1039" y="722"/>
                  <a:pt x="1040" y="719"/>
                </a:cubicBezTo>
                <a:close/>
                <a:moveTo>
                  <a:pt x="1007" y="721"/>
                </a:moveTo>
                <a:cubicBezTo>
                  <a:pt x="1008" y="720"/>
                  <a:pt x="1009" y="719"/>
                  <a:pt x="1010" y="717"/>
                </a:cubicBezTo>
                <a:cubicBezTo>
                  <a:pt x="1007" y="719"/>
                  <a:pt x="1006" y="719"/>
                  <a:pt x="1007" y="721"/>
                </a:cubicBezTo>
                <a:close/>
                <a:moveTo>
                  <a:pt x="1016" y="743"/>
                </a:moveTo>
                <a:cubicBezTo>
                  <a:pt x="1015" y="743"/>
                  <a:pt x="1014" y="744"/>
                  <a:pt x="1014" y="745"/>
                </a:cubicBezTo>
                <a:cubicBezTo>
                  <a:pt x="1014" y="744"/>
                  <a:pt x="1016" y="744"/>
                  <a:pt x="1016" y="743"/>
                </a:cubicBezTo>
                <a:close/>
                <a:moveTo>
                  <a:pt x="1016" y="727"/>
                </a:moveTo>
                <a:cubicBezTo>
                  <a:pt x="1015" y="727"/>
                  <a:pt x="1014" y="727"/>
                  <a:pt x="1013" y="727"/>
                </a:cubicBezTo>
                <a:cubicBezTo>
                  <a:pt x="1013" y="727"/>
                  <a:pt x="1012" y="727"/>
                  <a:pt x="1012" y="728"/>
                </a:cubicBezTo>
                <a:cubicBezTo>
                  <a:pt x="1012" y="728"/>
                  <a:pt x="1013" y="729"/>
                  <a:pt x="1013" y="729"/>
                </a:cubicBezTo>
                <a:cubicBezTo>
                  <a:pt x="1014" y="729"/>
                  <a:pt x="1014" y="728"/>
                  <a:pt x="1016" y="727"/>
                </a:cubicBezTo>
                <a:close/>
                <a:moveTo>
                  <a:pt x="1540" y="848"/>
                </a:moveTo>
                <a:cubicBezTo>
                  <a:pt x="1540" y="850"/>
                  <a:pt x="1541" y="851"/>
                  <a:pt x="1541" y="853"/>
                </a:cubicBezTo>
                <a:cubicBezTo>
                  <a:pt x="1542" y="854"/>
                  <a:pt x="1542" y="856"/>
                  <a:pt x="1542" y="858"/>
                </a:cubicBezTo>
                <a:cubicBezTo>
                  <a:pt x="1542" y="859"/>
                  <a:pt x="1543" y="861"/>
                  <a:pt x="1543" y="863"/>
                </a:cubicBezTo>
                <a:cubicBezTo>
                  <a:pt x="1544" y="866"/>
                  <a:pt x="1542" y="867"/>
                  <a:pt x="1539" y="867"/>
                </a:cubicBezTo>
                <a:cubicBezTo>
                  <a:pt x="1537" y="867"/>
                  <a:pt x="1534" y="867"/>
                  <a:pt x="1531" y="867"/>
                </a:cubicBezTo>
                <a:cubicBezTo>
                  <a:pt x="1531" y="867"/>
                  <a:pt x="1530" y="867"/>
                  <a:pt x="1530" y="867"/>
                </a:cubicBezTo>
                <a:cubicBezTo>
                  <a:pt x="1528" y="869"/>
                  <a:pt x="1526" y="870"/>
                  <a:pt x="1525" y="872"/>
                </a:cubicBezTo>
                <a:cubicBezTo>
                  <a:pt x="1523" y="874"/>
                  <a:pt x="1520" y="874"/>
                  <a:pt x="1518" y="872"/>
                </a:cubicBezTo>
                <a:cubicBezTo>
                  <a:pt x="1516" y="870"/>
                  <a:pt x="1515" y="868"/>
                  <a:pt x="1513" y="865"/>
                </a:cubicBezTo>
                <a:cubicBezTo>
                  <a:pt x="1512" y="863"/>
                  <a:pt x="1513" y="862"/>
                  <a:pt x="1515" y="860"/>
                </a:cubicBezTo>
                <a:cubicBezTo>
                  <a:pt x="1512" y="860"/>
                  <a:pt x="1511" y="860"/>
                  <a:pt x="1509" y="860"/>
                </a:cubicBezTo>
                <a:cubicBezTo>
                  <a:pt x="1508" y="862"/>
                  <a:pt x="1507" y="864"/>
                  <a:pt x="1506" y="866"/>
                </a:cubicBezTo>
                <a:cubicBezTo>
                  <a:pt x="1506" y="867"/>
                  <a:pt x="1506" y="868"/>
                  <a:pt x="1506" y="869"/>
                </a:cubicBezTo>
                <a:cubicBezTo>
                  <a:pt x="1506" y="872"/>
                  <a:pt x="1505" y="873"/>
                  <a:pt x="1502" y="872"/>
                </a:cubicBezTo>
                <a:cubicBezTo>
                  <a:pt x="1499" y="872"/>
                  <a:pt x="1496" y="871"/>
                  <a:pt x="1493" y="870"/>
                </a:cubicBezTo>
                <a:cubicBezTo>
                  <a:pt x="1491" y="870"/>
                  <a:pt x="1490" y="868"/>
                  <a:pt x="1491" y="866"/>
                </a:cubicBezTo>
                <a:cubicBezTo>
                  <a:pt x="1491" y="865"/>
                  <a:pt x="1491" y="865"/>
                  <a:pt x="1491" y="865"/>
                </a:cubicBezTo>
                <a:cubicBezTo>
                  <a:pt x="1489" y="863"/>
                  <a:pt x="1487" y="863"/>
                  <a:pt x="1485" y="861"/>
                </a:cubicBezTo>
                <a:cubicBezTo>
                  <a:pt x="1484" y="860"/>
                  <a:pt x="1482" y="858"/>
                  <a:pt x="1482" y="857"/>
                </a:cubicBezTo>
                <a:cubicBezTo>
                  <a:pt x="1481" y="855"/>
                  <a:pt x="1481" y="853"/>
                  <a:pt x="1483" y="851"/>
                </a:cubicBezTo>
                <a:cubicBezTo>
                  <a:pt x="1486" y="849"/>
                  <a:pt x="1487" y="846"/>
                  <a:pt x="1486" y="842"/>
                </a:cubicBezTo>
                <a:cubicBezTo>
                  <a:pt x="1486" y="840"/>
                  <a:pt x="1486" y="838"/>
                  <a:pt x="1486" y="836"/>
                </a:cubicBezTo>
                <a:cubicBezTo>
                  <a:pt x="1485" y="836"/>
                  <a:pt x="1483" y="835"/>
                  <a:pt x="1482" y="834"/>
                </a:cubicBezTo>
                <a:cubicBezTo>
                  <a:pt x="1481" y="832"/>
                  <a:pt x="1480" y="830"/>
                  <a:pt x="1480" y="829"/>
                </a:cubicBezTo>
                <a:cubicBezTo>
                  <a:pt x="1480" y="826"/>
                  <a:pt x="1483" y="823"/>
                  <a:pt x="1486" y="822"/>
                </a:cubicBezTo>
                <a:cubicBezTo>
                  <a:pt x="1486" y="823"/>
                  <a:pt x="1486" y="824"/>
                  <a:pt x="1487" y="825"/>
                </a:cubicBezTo>
                <a:cubicBezTo>
                  <a:pt x="1487" y="826"/>
                  <a:pt x="1487" y="827"/>
                  <a:pt x="1487" y="828"/>
                </a:cubicBezTo>
                <a:cubicBezTo>
                  <a:pt x="1486" y="827"/>
                  <a:pt x="1486" y="827"/>
                  <a:pt x="1486" y="827"/>
                </a:cubicBezTo>
                <a:cubicBezTo>
                  <a:pt x="1485" y="829"/>
                  <a:pt x="1485" y="830"/>
                  <a:pt x="1484" y="832"/>
                </a:cubicBezTo>
                <a:cubicBezTo>
                  <a:pt x="1485" y="831"/>
                  <a:pt x="1486" y="831"/>
                  <a:pt x="1486" y="831"/>
                </a:cubicBezTo>
                <a:cubicBezTo>
                  <a:pt x="1488" y="830"/>
                  <a:pt x="1488" y="829"/>
                  <a:pt x="1489" y="828"/>
                </a:cubicBezTo>
                <a:cubicBezTo>
                  <a:pt x="1493" y="821"/>
                  <a:pt x="1499" y="817"/>
                  <a:pt x="1507" y="815"/>
                </a:cubicBezTo>
                <a:cubicBezTo>
                  <a:pt x="1510" y="815"/>
                  <a:pt x="1513" y="814"/>
                  <a:pt x="1516" y="811"/>
                </a:cubicBezTo>
                <a:cubicBezTo>
                  <a:pt x="1516" y="811"/>
                  <a:pt x="1517" y="810"/>
                  <a:pt x="1517" y="810"/>
                </a:cubicBezTo>
                <a:cubicBezTo>
                  <a:pt x="1520" y="810"/>
                  <a:pt x="1521" y="808"/>
                  <a:pt x="1523" y="806"/>
                </a:cubicBezTo>
                <a:cubicBezTo>
                  <a:pt x="1531" y="798"/>
                  <a:pt x="1542" y="798"/>
                  <a:pt x="1550" y="804"/>
                </a:cubicBezTo>
                <a:cubicBezTo>
                  <a:pt x="1553" y="806"/>
                  <a:pt x="1555" y="808"/>
                  <a:pt x="1558" y="810"/>
                </a:cubicBezTo>
                <a:cubicBezTo>
                  <a:pt x="1559" y="811"/>
                  <a:pt x="1560" y="813"/>
                  <a:pt x="1562" y="815"/>
                </a:cubicBezTo>
                <a:cubicBezTo>
                  <a:pt x="1562" y="817"/>
                  <a:pt x="1563" y="817"/>
                  <a:pt x="1564" y="815"/>
                </a:cubicBezTo>
                <a:cubicBezTo>
                  <a:pt x="1565" y="815"/>
                  <a:pt x="1566" y="814"/>
                  <a:pt x="1567" y="813"/>
                </a:cubicBezTo>
                <a:cubicBezTo>
                  <a:pt x="1569" y="811"/>
                  <a:pt x="1572" y="811"/>
                  <a:pt x="1573" y="814"/>
                </a:cubicBezTo>
                <a:cubicBezTo>
                  <a:pt x="1574" y="817"/>
                  <a:pt x="1575" y="820"/>
                  <a:pt x="1575" y="823"/>
                </a:cubicBezTo>
                <a:cubicBezTo>
                  <a:pt x="1576" y="827"/>
                  <a:pt x="1576" y="832"/>
                  <a:pt x="1574" y="836"/>
                </a:cubicBezTo>
                <a:cubicBezTo>
                  <a:pt x="1572" y="842"/>
                  <a:pt x="1567" y="846"/>
                  <a:pt x="1560" y="846"/>
                </a:cubicBezTo>
                <a:cubicBezTo>
                  <a:pt x="1560" y="846"/>
                  <a:pt x="1559" y="846"/>
                  <a:pt x="1559" y="846"/>
                </a:cubicBezTo>
                <a:cubicBezTo>
                  <a:pt x="1556" y="846"/>
                  <a:pt x="1555" y="846"/>
                  <a:pt x="1554" y="848"/>
                </a:cubicBezTo>
                <a:cubicBezTo>
                  <a:pt x="1553" y="853"/>
                  <a:pt x="1547" y="854"/>
                  <a:pt x="1544" y="851"/>
                </a:cubicBezTo>
                <a:cubicBezTo>
                  <a:pt x="1542" y="850"/>
                  <a:pt x="1542" y="849"/>
                  <a:pt x="1540" y="848"/>
                </a:cubicBezTo>
                <a:cubicBezTo>
                  <a:pt x="1540" y="848"/>
                  <a:pt x="1540" y="848"/>
                  <a:pt x="1540" y="848"/>
                </a:cubicBezTo>
                <a:close/>
                <a:moveTo>
                  <a:pt x="1534" y="844"/>
                </a:moveTo>
                <a:cubicBezTo>
                  <a:pt x="1538" y="846"/>
                  <a:pt x="1541" y="847"/>
                  <a:pt x="1544" y="850"/>
                </a:cubicBezTo>
                <a:cubicBezTo>
                  <a:pt x="1546" y="851"/>
                  <a:pt x="1548" y="852"/>
                  <a:pt x="1550" y="851"/>
                </a:cubicBezTo>
                <a:cubicBezTo>
                  <a:pt x="1552" y="850"/>
                  <a:pt x="1554" y="848"/>
                  <a:pt x="1554" y="845"/>
                </a:cubicBezTo>
                <a:cubicBezTo>
                  <a:pt x="1553" y="846"/>
                  <a:pt x="1553" y="846"/>
                  <a:pt x="1553" y="846"/>
                </a:cubicBezTo>
                <a:cubicBezTo>
                  <a:pt x="1552" y="848"/>
                  <a:pt x="1551" y="848"/>
                  <a:pt x="1550" y="850"/>
                </a:cubicBezTo>
                <a:cubicBezTo>
                  <a:pt x="1549" y="851"/>
                  <a:pt x="1548" y="850"/>
                  <a:pt x="1547" y="850"/>
                </a:cubicBezTo>
                <a:cubicBezTo>
                  <a:pt x="1546" y="850"/>
                  <a:pt x="1546" y="849"/>
                  <a:pt x="1546" y="848"/>
                </a:cubicBezTo>
                <a:cubicBezTo>
                  <a:pt x="1546" y="846"/>
                  <a:pt x="1546" y="844"/>
                  <a:pt x="1547" y="842"/>
                </a:cubicBezTo>
                <a:cubicBezTo>
                  <a:pt x="1550" y="842"/>
                  <a:pt x="1553" y="844"/>
                  <a:pt x="1557" y="844"/>
                </a:cubicBezTo>
                <a:cubicBezTo>
                  <a:pt x="1564" y="845"/>
                  <a:pt x="1570" y="844"/>
                  <a:pt x="1573" y="835"/>
                </a:cubicBezTo>
                <a:cubicBezTo>
                  <a:pt x="1575" y="830"/>
                  <a:pt x="1574" y="825"/>
                  <a:pt x="1573" y="820"/>
                </a:cubicBezTo>
                <a:cubicBezTo>
                  <a:pt x="1573" y="818"/>
                  <a:pt x="1572" y="817"/>
                  <a:pt x="1571" y="815"/>
                </a:cubicBezTo>
                <a:cubicBezTo>
                  <a:pt x="1571" y="813"/>
                  <a:pt x="1570" y="813"/>
                  <a:pt x="1568" y="814"/>
                </a:cubicBezTo>
                <a:cubicBezTo>
                  <a:pt x="1567" y="816"/>
                  <a:pt x="1565" y="817"/>
                  <a:pt x="1563" y="818"/>
                </a:cubicBezTo>
                <a:cubicBezTo>
                  <a:pt x="1562" y="819"/>
                  <a:pt x="1562" y="819"/>
                  <a:pt x="1562" y="821"/>
                </a:cubicBezTo>
                <a:cubicBezTo>
                  <a:pt x="1563" y="824"/>
                  <a:pt x="1562" y="827"/>
                  <a:pt x="1561" y="830"/>
                </a:cubicBezTo>
                <a:cubicBezTo>
                  <a:pt x="1561" y="828"/>
                  <a:pt x="1561" y="826"/>
                  <a:pt x="1561" y="825"/>
                </a:cubicBezTo>
                <a:cubicBezTo>
                  <a:pt x="1561" y="824"/>
                  <a:pt x="1561" y="823"/>
                  <a:pt x="1560" y="823"/>
                </a:cubicBezTo>
                <a:cubicBezTo>
                  <a:pt x="1560" y="823"/>
                  <a:pt x="1559" y="823"/>
                  <a:pt x="1559" y="824"/>
                </a:cubicBezTo>
                <a:cubicBezTo>
                  <a:pt x="1559" y="825"/>
                  <a:pt x="1558" y="827"/>
                  <a:pt x="1557" y="828"/>
                </a:cubicBezTo>
                <a:cubicBezTo>
                  <a:pt x="1557" y="828"/>
                  <a:pt x="1557" y="828"/>
                  <a:pt x="1557" y="828"/>
                </a:cubicBezTo>
                <a:cubicBezTo>
                  <a:pt x="1557" y="826"/>
                  <a:pt x="1557" y="825"/>
                  <a:pt x="1558" y="822"/>
                </a:cubicBezTo>
                <a:cubicBezTo>
                  <a:pt x="1557" y="823"/>
                  <a:pt x="1556" y="823"/>
                  <a:pt x="1555" y="824"/>
                </a:cubicBezTo>
                <a:cubicBezTo>
                  <a:pt x="1555" y="825"/>
                  <a:pt x="1555" y="825"/>
                  <a:pt x="1554" y="826"/>
                </a:cubicBezTo>
                <a:cubicBezTo>
                  <a:pt x="1555" y="823"/>
                  <a:pt x="1555" y="823"/>
                  <a:pt x="1561" y="821"/>
                </a:cubicBezTo>
                <a:cubicBezTo>
                  <a:pt x="1560" y="821"/>
                  <a:pt x="1560" y="820"/>
                  <a:pt x="1560" y="820"/>
                </a:cubicBezTo>
                <a:cubicBezTo>
                  <a:pt x="1557" y="821"/>
                  <a:pt x="1556" y="819"/>
                  <a:pt x="1556" y="817"/>
                </a:cubicBezTo>
                <a:cubicBezTo>
                  <a:pt x="1557" y="817"/>
                  <a:pt x="1559" y="816"/>
                  <a:pt x="1560" y="816"/>
                </a:cubicBezTo>
                <a:cubicBezTo>
                  <a:pt x="1559" y="813"/>
                  <a:pt x="1557" y="811"/>
                  <a:pt x="1554" y="810"/>
                </a:cubicBezTo>
                <a:cubicBezTo>
                  <a:pt x="1554" y="810"/>
                  <a:pt x="1553" y="810"/>
                  <a:pt x="1553" y="810"/>
                </a:cubicBezTo>
                <a:cubicBezTo>
                  <a:pt x="1551" y="808"/>
                  <a:pt x="1549" y="805"/>
                  <a:pt x="1546" y="803"/>
                </a:cubicBezTo>
                <a:cubicBezTo>
                  <a:pt x="1544" y="802"/>
                  <a:pt x="1541" y="801"/>
                  <a:pt x="1539" y="801"/>
                </a:cubicBezTo>
                <a:cubicBezTo>
                  <a:pt x="1535" y="802"/>
                  <a:pt x="1532" y="803"/>
                  <a:pt x="1529" y="804"/>
                </a:cubicBezTo>
                <a:cubicBezTo>
                  <a:pt x="1526" y="805"/>
                  <a:pt x="1524" y="806"/>
                  <a:pt x="1522" y="810"/>
                </a:cubicBezTo>
                <a:cubicBezTo>
                  <a:pt x="1524" y="810"/>
                  <a:pt x="1525" y="810"/>
                  <a:pt x="1526" y="810"/>
                </a:cubicBezTo>
                <a:cubicBezTo>
                  <a:pt x="1526" y="810"/>
                  <a:pt x="1525" y="810"/>
                  <a:pt x="1524" y="810"/>
                </a:cubicBezTo>
                <a:cubicBezTo>
                  <a:pt x="1522" y="811"/>
                  <a:pt x="1519" y="810"/>
                  <a:pt x="1517" y="813"/>
                </a:cubicBezTo>
                <a:cubicBezTo>
                  <a:pt x="1513" y="817"/>
                  <a:pt x="1510" y="820"/>
                  <a:pt x="1506" y="825"/>
                </a:cubicBezTo>
                <a:cubicBezTo>
                  <a:pt x="1504" y="827"/>
                  <a:pt x="1504" y="829"/>
                  <a:pt x="1502" y="831"/>
                </a:cubicBezTo>
                <a:cubicBezTo>
                  <a:pt x="1502" y="832"/>
                  <a:pt x="1502" y="832"/>
                  <a:pt x="1503" y="833"/>
                </a:cubicBezTo>
                <a:cubicBezTo>
                  <a:pt x="1504" y="835"/>
                  <a:pt x="1505" y="837"/>
                  <a:pt x="1507" y="839"/>
                </a:cubicBezTo>
                <a:cubicBezTo>
                  <a:pt x="1508" y="837"/>
                  <a:pt x="1509" y="836"/>
                  <a:pt x="1510" y="834"/>
                </a:cubicBezTo>
                <a:cubicBezTo>
                  <a:pt x="1510" y="836"/>
                  <a:pt x="1510" y="837"/>
                  <a:pt x="1509" y="838"/>
                </a:cubicBezTo>
                <a:cubicBezTo>
                  <a:pt x="1508" y="840"/>
                  <a:pt x="1507" y="841"/>
                  <a:pt x="1507" y="842"/>
                </a:cubicBezTo>
                <a:cubicBezTo>
                  <a:pt x="1506" y="843"/>
                  <a:pt x="1507" y="844"/>
                  <a:pt x="1507" y="845"/>
                </a:cubicBezTo>
                <a:cubicBezTo>
                  <a:pt x="1510" y="849"/>
                  <a:pt x="1513" y="849"/>
                  <a:pt x="1517" y="847"/>
                </a:cubicBezTo>
                <a:cubicBezTo>
                  <a:pt x="1519" y="845"/>
                  <a:pt x="1522" y="844"/>
                  <a:pt x="1524" y="843"/>
                </a:cubicBezTo>
                <a:cubicBezTo>
                  <a:pt x="1526" y="843"/>
                  <a:pt x="1527" y="842"/>
                  <a:pt x="1527" y="840"/>
                </a:cubicBezTo>
                <a:cubicBezTo>
                  <a:pt x="1527" y="837"/>
                  <a:pt x="1527" y="834"/>
                  <a:pt x="1527" y="830"/>
                </a:cubicBezTo>
                <a:cubicBezTo>
                  <a:pt x="1527" y="827"/>
                  <a:pt x="1527" y="825"/>
                  <a:pt x="1527" y="821"/>
                </a:cubicBezTo>
                <a:cubicBezTo>
                  <a:pt x="1528" y="824"/>
                  <a:pt x="1528" y="827"/>
                  <a:pt x="1529" y="829"/>
                </a:cubicBezTo>
                <a:cubicBezTo>
                  <a:pt x="1530" y="834"/>
                  <a:pt x="1530" y="838"/>
                  <a:pt x="1528" y="843"/>
                </a:cubicBezTo>
                <a:cubicBezTo>
                  <a:pt x="1528" y="844"/>
                  <a:pt x="1527" y="844"/>
                  <a:pt x="1527" y="844"/>
                </a:cubicBezTo>
                <a:cubicBezTo>
                  <a:pt x="1523" y="845"/>
                  <a:pt x="1520" y="847"/>
                  <a:pt x="1517" y="848"/>
                </a:cubicBezTo>
                <a:cubicBezTo>
                  <a:pt x="1512" y="851"/>
                  <a:pt x="1508" y="850"/>
                  <a:pt x="1505" y="846"/>
                </a:cubicBezTo>
                <a:cubicBezTo>
                  <a:pt x="1504" y="845"/>
                  <a:pt x="1504" y="844"/>
                  <a:pt x="1505" y="844"/>
                </a:cubicBezTo>
                <a:cubicBezTo>
                  <a:pt x="1506" y="841"/>
                  <a:pt x="1505" y="839"/>
                  <a:pt x="1503" y="837"/>
                </a:cubicBezTo>
                <a:cubicBezTo>
                  <a:pt x="1502" y="835"/>
                  <a:pt x="1500" y="833"/>
                  <a:pt x="1501" y="830"/>
                </a:cubicBezTo>
                <a:cubicBezTo>
                  <a:pt x="1502" y="828"/>
                  <a:pt x="1503" y="827"/>
                  <a:pt x="1504" y="825"/>
                </a:cubicBezTo>
                <a:cubicBezTo>
                  <a:pt x="1506" y="822"/>
                  <a:pt x="1508" y="820"/>
                  <a:pt x="1510" y="817"/>
                </a:cubicBezTo>
                <a:cubicBezTo>
                  <a:pt x="1510" y="817"/>
                  <a:pt x="1509" y="817"/>
                  <a:pt x="1509" y="817"/>
                </a:cubicBezTo>
                <a:cubicBezTo>
                  <a:pt x="1504" y="818"/>
                  <a:pt x="1499" y="820"/>
                  <a:pt x="1495" y="823"/>
                </a:cubicBezTo>
                <a:cubicBezTo>
                  <a:pt x="1491" y="827"/>
                  <a:pt x="1488" y="832"/>
                  <a:pt x="1488" y="839"/>
                </a:cubicBezTo>
                <a:cubicBezTo>
                  <a:pt x="1487" y="846"/>
                  <a:pt x="1489" y="852"/>
                  <a:pt x="1493" y="858"/>
                </a:cubicBezTo>
                <a:cubicBezTo>
                  <a:pt x="1493" y="859"/>
                  <a:pt x="1494" y="860"/>
                  <a:pt x="1494" y="861"/>
                </a:cubicBezTo>
                <a:cubicBezTo>
                  <a:pt x="1494" y="863"/>
                  <a:pt x="1493" y="865"/>
                  <a:pt x="1493" y="866"/>
                </a:cubicBezTo>
                <a:cubicBezTo>
                  <a:pt x="1492" y="868"/>
                  <a:pt x="1493" y="869"/>
                  <a:pt x="1494" y="869"/>
                </a:cubicBezTo>
                <a:cubicBezTo>
                  <a:pt x="1497" y="870"/>
                  <a:pt x="1500" y="870"/>
                  <a:pt x="1502" y="870"/>
                </a:cubicBezTo>
                <a:cubicBezTo>
                  <a:pt x="1503" y="870"/>
                  <a:pt x="1504" y="870"/>
                  <a:pt x="1504" y="869"/>
                </a:cubicBezTo>
                <a:cubicBezTo>
                  <a:pt x="1504" y="868"/>
                  <a:pt x="1504" y="867"/>
                  <a:pt x="1505" y="866"/>
                </a:cubicBezTo>
                <a:cubicBezTo>
                  <a:pt x="1507" y="863"/>
                  <a:pt x="1507" y="861"/>
                  <a:pt x="1507" y="858"/>
                </a:cubicBezTo>
                <a:cubicBezTo>
                  <a:pt x="1507" y="857"/>
                  <a:pt x="1507" y="857"/>
                  <a:pt x="1507" y="857"/>
                </a:cubicBezTo>
                <a:cubicBezTo>
                  <a:pt x="1507" y="856"/>
                  <a:pt x="1507" y="856"/>
                  <a:pt x="1507" y="856"/>
                </a:cubicBezTo>
                <a:cubicBezTo>
                  <a:pt x="1508" y="859"/>
                  <a:pt x="1509" y="859"/>
                  <a:pt x="1511" y="859"/>
                </a:cubicBezTo>
                <a:cubicBezTo>
                  <a:pt x="1512" y="859"/>
                  <a:pt x="1513" y="859"/>
                  <a:pt x="1514" y="859"/>
                </a:cubicBezTo>
                <a:cubicBezTo>
                  <a:pt x="1516" y="859"/>
                  <a:pt x="1519" y="859"/>
                  <a:pt x="1520" y="855"/>
                </a:cubicBezTo>
                <a:cubicBezTo>
                  <a:pt x="1520" y="857"/>
                  <a:pt x="1520" y="859"/>
                  <a:pt x="1520" y="860"/>
                </a:cubicBezTo>
                <a:cubicBezTo>
                  <a:pt x="1519" y="861"/>
                  <a:pt x="1517" y="861"/>
                  <a:pt x="1516" y="862"/>
                </a:cubicBezTo>
                <a:cubicBezTo>
                  <a:pt x="1515" y="863"/>
                  <a:pt x="1514" y="864"/>
                  <a:pt x="1515" y="865"/>
                </a:cubicBezTo>
                <a:cubicBezTo>
                  <a:pt x="1516" y="867"/>
                  <a:pt x="1517" y="869"/>
                  <a:pt x="1519" y="871"/>
                </a:cubicBezTo>
                <a:cubicBezTo>
                  <a:pt x="1520" y="872"/>
                  <a:pt x="1522" y="872"/>
                  <a:pt x="1524" y="870"/>
                </a:cubicBezTo>
                <a:cubicBezTo>
                  <a:pt x="1524" y="870"/>
                  <a:pt x="1525" y="869"/>
                  <a:pt x="1526" y="869"/>
                </a:cubicBezTo>
                <a:cubicBezTo>
                  <a:pt x="1528" y="867"/>
                  <a:pt x="1529" y="866"/>
                  <a:pt x="1531" y="865"/>
                </a:cubicBezTo>
                <a:cubicBezTo>
                  <a:pt x="1535" y="860"/>
                  <a:pt x="1537" y="854"/>
                  <a:pt x="1539" y="848"/>
                </a:cubicBezTo>
                <a:cubicBezTo>
                  <a:pt x="1539" y="848"/>
                  <a:pt x="1538" y="847"/>
                  <a:pt x="1537" y="847"/>
                </a:cubicBezTo>
                <a:cubicBezTo>
                  <a:pt x="1537" y="846"/>
                  <a:pt x="1535" y="845"/>
                  <a:pt x="1534" y="844"/>
                </a:cubicBezTo>
                <a:close/>
                <a:moveTo>
                  <a:pt x="1487" y="850"/>
                </a:moveTo>
                <a:cubicBezTo>
                  <a:pt x="1486" y="851"/>
                  <a:pt x="1485" y="852"/>
                  <a:pt x="1484" y="853"/>
                </a:cubicBezTo>
                <a:cubicBezTo>
                  <a:pt x="1483" y="853"/>
                  <a:pt x="1483" y="854"/>
                  <a:pt x="1483" y="855"/>
                </a:cubicBezTo>
                <a:cubicBezTo>
                  <a:pt x="1483" y="858"/>
                  <a:pt x="1487" y="862"/>
                  <a:pt x="1490" y="862"/>
                </a:cubicBezTo>
                <a:cubicBezTo>
                  <a:pt x="1492" y="862"/>
                  <a:pt x="1493" y="861"/>
                  <a:pt x="1492" y="859"/>
                </a:cubicBezTo>
                <a:cubicBezTo>
                  <a:pt x="1490" y="856"/>
                  <a:pt x="1489" y="853"/>
                  <a:pt x="1487" y="850"/>
                </a:cubicBezTo>
                <a:close/>
                <a:moveTo>
                  <a:pt x="1540" y="852"/>
                </a:moveTo>
                <a:cubicBezTo>
                  <a:pt x="1537" y="857"/>
                  <a:pt x="1535" y="861"/>
                  <a:pt x="1533" y="866"/>
                </a:cubicBezTo>
                <a:cubicBezTo>
                  <a:pt x="1535" y="866"/>
                  <a:pt x="1538" y="866"/>
                  <a:pt x="1540" y="866"/>
                </a:cubicBezTo>
                <a:cubicBezTo>
                  <a:pt x="1541" y="866"/>
                  <a:pt x="1541" y="865"/>
                  <a:pt x="1541" y="864"/>
                </a:cubicBezTo>
                <a:cubicBezTo>
                  <a:pt x="1541" y="861"/>
                  <a:pt x="1541" y="859"/>
                  <a:pt x="1541" y="857"/>
                </a:cubicBezTo>
                <a:cubicBezTo>
                  <a:pt x="1540" y="855"/>
                  <a:pt x="1540" y="854"/>
                  <a:pt x="1540" y="852"/>
                </a:cubicBezTo>
                <a:close/>
                <a:moveTo>
                  <a:pt x="1487" y="832"/>
                </a:moveTo>
                <a:cubicBezTo>
                  <a:pt x="1486" y="832"/>
                  <a:pt x="1486" y="833"/>
                  <a:pt x="1485" y="833"/>
                </a:cubicBezTo>
                <a:cubicBezTo>
                  <a:pt x="1484" y="833"/>
                  <a:pt x="1484" y="833"/>
                  <a:pt x="1484" y="832"/>
                </a:cubicBezTo>
                <a:cubicBezTo>
                  <a:pt x="1483" y="832"/>
                  <a:pt x="1483" y="831"/>
                  <a:pt x="1483" y="830"/>
                </a:cubicBezTo>
                <a:cubicBezTo>
                  <a:pt x="1484" y="829"/>
                  <a:pt x="1484" y="827"/>
                  <a:pt x="1485" y="825"/>
                </a:cubicBezTo>
                <a:cubicBezTo>
                  <a:pt x="1484" y="825"/>
                  <a:pt x="1484" y="825"/>
                  <a:pt x="1484" y="825"/>
                </a:cubicBezTo>
                <a:cubicBezTo>
                  <a:pt x="1483" y="825"/>
                  <a:pt x="1482" y="826"/>
                  <a:pt x="1481" y="827"/>
                </a:cubicBezTo>
                <a:cubicBezTo>
                  <a:pt x="1480" y="829"/>
                  <a:pt x="1482" y="834"/>
                  <a:pt x="1484" y="834"/>
                </a:cubicBezTo>
                <a:cubicBezTo>
                  <a:pt x="1485" y="835"/>
                  <a:pt x="1487" y="834"/>
                  <a:pt x="1487" y="832"/>
                </a:cubicBezTo>
                <a:close/>
                <a:moveTo>
                  <a:pt x="1487" y="850"/>
                </a:moveTo>
                <a:cubicBezTo>
                  <a:pt x="1486" y="851"/>
                  <a:pt x="1485" y="852"/>
                  <a:pt x="1483" y="853"/>
                </a:cubicBezTo>
                <a:cubicBezTo>
                  <a:pt x="1483" y="853"/>
                  <a:pt x="1483" y="854"/>
                  <a:pt x="1483" y="855"/>
                </a:cubicBezTo>
                <a:cubicBezTo>
                  <a:pt x="1483" y="858"/>
                  <a:pt x="1487" y="862"/>
                  <a:pt x="1490" y="862"/>
                </a:cubicBezTo>
                <a:cubicBezTo>
                  <a:pt x="1492" y="862"/>
                  <a:pt x="1493" y="860"/>
                  <a:pt x="1492" y="859"/>
                </a:cubicBezTo>
                <a:cubicBezTo>
                  <a:pt x="1490" y="856"/>
                  <a:pt x="1489" y="853"/>
                  <a:pt x="1487" y="850"/>
                </a:cubicBezTo>
                <a:close/>
                <a:moveTo>
                  <a:pt x="1540" y="852"/>
                </a:moveTo>
                <a:cubicBezTo>
                  <a:pt x="1537" y="857"/>
                  <a:pt x="1535" y="862"/>
                  <a:pt x="1532" y="866"/>
                </a:cubicBezTo>
                <a:cubicBezTo>
                  <a:pt x="1535" y="866"/>
                  <a:pt x="1538" y="866"/>
                  <a:pt x="1540" y="866"/>
                </a:cubicBezTo>
                <a:cubicBezTo>
                  <a:pt x="1541" y="866"/>
                  <a:pt x="1541" y="865"/>
                  <a:pt x="1541" y="864"/>
                </a:cubicBezTo>
                <a:cubicBezTo>
                  <a:pt x="1541" y="862"/>
                  <a:pt x="1541" y="859"/>
                  <a:pt x="1541" y="857"/>
                </a:cubicBezTo>
                <a:cubicBezTo>
                  <a:pt x="1540" y="855"/>
                  <a:pt x="1540" y="854"/>
                  <a:pt x="1540" y="852"/>
                </a:cubicBezTo>
                <a:close/>
                <a:moveTo>
                  <a:pt x="1487" y="832"/>
                </a:moveTo>
                <a:cubicBezTo>
                  <a:pt x="1486" y="832"/>
                  <a:pt x="1485" y="833"/>
                  <a:pt x="1485" y="833"/>
                </a:cubicBezTo>
                <a:cubicBezTo>
                  <a:pt x="1484" y="833"/>
                  <a:pt x="1484" y="833"/>
                  <a:pt x="1484" y="832"/>
                </a:cubicBezTo>
                <a:cubicBezTo>
                  <a:pt x="1483" y="832"/>
                  <a:pt x="1483" y="831"/>
                  <a:pt x="1483" y="830"/>
                </a:cubicBezTo>
                <a:cubicBezTo>
                  <a:pt x="1484" y="828"/>
                  <a:pt x="1484" y="826"/>
                  <a:pt x="1485" y="825"/>
                </a:cubicBezTo>
                <a:cubicBezTo>
                  <a:pt x="1484" y="825"/>
                  <a:pt x="1484" y="825"/>
                  <a:pt x="1484" y="825"/>
                </a:cubicBezTo>
                <a:cubicBezTo>
                  <a:pt x="1483" y="825"/>
                  <a:pt x="1482" y="826"/>
                  <a:pt x="1481" y="827"/>
                </a:cubicBezTo>
                <a:cubicBezTo>
                  <a:pt x="1481" y="828"/>
                  <a:pt x="1482" y="834"/>
                  <a:pt x="1484" y="834"/>
                </a:cubicBezTo>
                <a:cubicBezTo>
                  <a:pt x="1485" y="835"/>
                  <a:pt x="1487" y="834"/>
                  <a:pt x="1487" y="832"/>
                </a:cubicBezTo>
                <a:close/>
                <a:moveTo>
                  <a:pt x="1539" y="824"/>
                </a:moveTo>
                <a:cubicBezTo>
                  <a:pt x="1542" y="820"/>
                  <a:pt x="1542" y="820"/>
                  <a:pt x="1546" y="819"/>
                </a:cubicBezTo>
                <a:cubicBezTo>
                  <a:pt x="1546" y="821"/>
                  <a:pt x="1548" y="822"/>
                  <a:pt x="1549" y="822"/>
                </a:cubicBezTo>
                <a:cubicBezTo>
                  <a:pt x="1547" y="823"/>
                  <a:pt x="1545" y="825"/>
                  <a:pt x="1543" y="826"/>
                </a:cubicBezTo>
                <a:cubicBezTo>
                  <a:pt x="1542" y="825"/>
                  <a:pt x="1542" y="824"/>
                  <a:pt x="1541" y="823"/>
                </a:cubicBezTo>
                <a:cubicBezTo>
                  <a:pt x="1540" y="823"/>
                  <a:pt x="1540" y="823"/>
                  <a:pt x="1539" y="824"/>
                </a:cubicBezTo>
                <a:close/>
                <a:moveTo>
                  <a:pt x="1545" y="823"/>
                </a:moveTo>
                <a:cubicBezTo>
                  <a:pt x="1544" y="823"/>
                  <a:pt x="1544" y="822"/>
                  <a:pt x="1543" y="822"/>
                </a:cubicBezTo>
                <a:cubicBezTo>
                  <a:pt x="1543" y="822"/>
                  <a:pt x="1542" y="823"/>
                  <a:pt x="1542" y="824"/>
                </a:cubicBezTo>
                <a:cubicBezTo>
                  <a:pt x="1542" y="824"/>
                  <a:pt x="1542" y="824"/>
                  <a:pt x="1543" y="825"/>
                </a:cubicBezTo>
                <a:cubicBezTo>
                  <a:pt x="1544" y="824"/>
                  <a:pt x="1544" y="824"/>
                  <a:pt x="1545" y="823"/>
                </a:cubicBezTo>
                <a:close/>
                <a:moveTo>
                  <a:pt x="1526" y="814"/>
                </a:moveTo>
                <a:cubicBezTo>
                  <a:pt x="1520" y="813"/>
                  <a:pt x="1517" y="815"/>
                  <a:pt x="1516" y="823"/>
                </a:cubicBezTo>
                <a:cubicBezTo>
                  <a:pt x="1517" y="821"/>
                  <a:pt x="1518" y="819"/>
                  <a:pt x="1519" y="816"/>
                </a:cubicBezTo>
                <a:cubicBezTo>
                  <a:pt x="1520" y="816"/>
                  <a:pt x="1520" y="816"/>
                  <a:pt x="1520" y="816"/>
                </a:cubicBezTo>
                <a:cubicBezTo>
                  <a:pt x="1520" y="818"/>
                  <a:pt x="1520" y="818"/>
                  <a:pt x="1520" y="819"/>
                </a:cubicBezTo>
                <a:cubicBezTo>
                  <a:pt x="1521" y="816"/>
                  <a:pt x="1523" y="814"/>
                  <a:pt x="1526" y="814"/>
                </a:cubicBezTo>
                <a:close/>
                <a:moveTo>
                  <a:pt x="1570" y="815"/>
                </a:moveTo>
                <a:cubicBezTo>
                  <a:pt x="1568" y="817"/>
                  <a:pt x="1566" y="818"/>
                  <a:pt x="1565" y="819"/>
                </a:cubicBezTo>
                <a:cubicBezTo>
                  <a:pt x="1567" y="820"/>
                  <a:pt x="1569" y="818"/>
                  <a:pt x="1570" y="815"/>
                </a:cubicBezTo>
                <a:close/>
                <a:moveTo>
                  <a:pt x="1537" y="817"/>
                </a:moveTo>
                <a:cubicBezTo>
                  <a:pt x="1538" y="816"/>
                  <a:pt x="1539" y="815"/>
                  <a:pt x="1540" y="813"/>
                </a:cubicBezTo>
                <a:cubicBezTo>
                  <a:pt x="1537" y="815"/>
                  <a:pt x="1536" y="815"/>
                  <a:pt x="1537" y="817"/>
                </a:cubicBezTo>
                <a:close/>
                <a:moveTo>
                  <a:pt x="1546" y="839"/>
                </a:moveTo>
                <a:cubicBezTo>
                  <a:pt x="1545" y="839"/>
                  <a:pt x="1544" y="840"/>
                  <a:pt x="1544" y="841"/>
                </a:cubicBezTo>
                <a:cubicBezTo>
                  <a:pt x="1544" y="840"/>
                  <a:pt x="1546" y="840"/>
                  <a:pt x="1546" y="839"/>
                </a:cubicBezTo>
                <a:close/>
                <a:moveTo>
                  <a:pt x="1545" y="823"/>
                </a:moveTo>
                <a:cubicBezTo>
                  <a:pt x="1545" y="823"/>
                  <a:pt x="1544" y="823"/>
                  <a:pt x="1543" y="823"/>
                </a:cubicBezTo>
                <a:cubicBezTo>
                  <a:pt x="1543" y="823"/>
                  <a:pt x="1542" y="823"/>
                  <a:pt x="1542" y="824"/>
                </a:cubicBezTo>
                <a:cubicBezTo>
                  <a:pt x="1542" y="824"/>
                  <a:pt x="1543" y="825"/>
                  <a:pt x="1543" y="825"/>
                </a:cubicBezTo>
                <a:cubicBezTo>
                  <a:pt x="1544" y="825"/>
                  <a:pt x="1544" y="824"/>
                  <a:pt x="1545" y="823"/>
                </a:cubicBezTo>
                <a:close/>
                <a:moveTo>
                  <a:pt x="1093" y="705"/>
                </a:moveTo>
                <a:cubicBezTo>
                  <a:pt x="1093" y="705"/>
                  <a:pt x="1093" y="705"/>
                  <a:pt x="1093" y="705"/>
                </a:cubicBezTo>
                <a:cubicBezTo>
                  <a:pt x="1088" y="705"/>
                  <a:pt x="1088" y="705"/>
                  <a:pt x="1088" y="705"/>
                </a:cubicBezTo>
                <a:cubicBezTo>
                  <a:pt x="1086" y="706"/>
                  <a:pt x="1085" y="708"/>
                  <a:pt x="1082" y="709"/>
                </a:cubicBezTo>
                <a:cubicBezTo>
                  <a:pt x="1081" y="710"/>
                  <a:pt x="1079" y="711"/>
                  <a:pt x="1077" y="712"/>
                </a:cubicBezTo>
                <a:cubicBezTo>
                  <a:pt x="1076" y="713"/>
                  <a:pt x="1074" y="714"/>
                  <a:pt x="1072" y="714"/>
                </a:cubicBezTo>
                <a:cubicBezTo>
                  <a:pt x="1070" y="715"/>
                  <a:pt x="1069" y="716"/>
                  <a:pt x="1066" y="716"/>
                </a:cubicBezTo>
                <a:cubicBezTo>
                  <a:pt x="1066" y="716"/>
                  <a:pt x="1066" y="716"/>
                  <a:pt x="1066" y="726"/>
                </a:cubicBezTo>
                <a:cubicBezTo>
                  <a:pt x="1069" y="725"/>
                  <a:pt x="1072" y="725"/>
                  <a:pt x="1074" y="723"/>
                </a:cubicBezTo>
                <a:cubicBezTo>
                  <a:pt x="1077" y="722"/>
                  <a:pt x="1079" y="721"/>
                  <a:pt x="1082" y="720"/>
                </a:cubicBezTo>
                <a:cubicBezTo>
                  <a:pt x="1082" y="720"/>
                  <a:pt x="1082" y="720"/>
                  <a:pt x="1082" y="778"/>
                </a:cubicBezTo>
                <a:cubicBezTo>
                  <a:pt x="1082" y="778"/>
                  <a:pt x="1082" y="778"/>
                  <a:pt x="1093" y="778"/>
                </a:cubicBezTo>
                <a:cubicBezTo>
                  <a:pt x="1093" y="778"/>
                  <a:pt x="1093" y="778"/>
                  <a:pt x="1093" y="705"/>
                </a:cubicBezTo>
                <a:close/>
                <a:moveTo>
                  <a:pt x="1140" y="705"/>
                </a:moveTo>
                <a:cubicBezTo>
                  <a:pt x="1140" y="705"/>
                  <a:pt x="1140" y="705"/>
                  <a:pt x="1140" y="705"/>
                </a:cubicBezTo>
                <a:cubicBezTo>
                  <a:pt x="1135" y="705"/>
                  <a:pt x="1135" y="705"/>
                  <a:pt x="1135" y="705"/>
                </a:cubicBezTo>
                <a:cubicBezTo>
                  <a:pt x="1134" y="706"/>
                  <a:pt x="1131" y="708"/>
                  <a:pt x="1130" y="709"/>
                </a:cubicBezTo>
                <a:cubicBezTo>
                  <a:pt x="1128" y="710"/>
                  <a:pt x="1126" y="711"/>
                  <a:pt x="1124" y="712"/>
                </a:cubicBezTo>
                <a:cubicBezTo>
                  <a:pt x="1123" y="713"/>
                  <a:pt x="1120" y="714"/>
                  <a:pt x="1119" y="714"/>
                </a:cubicBezTo>
                <a:cubicBezTo>
                  <a:pt x="1117" y="715"/>
                  <a:pt x="1115" y="716"/>
                  <a:pt x="1113" y="716"/>
                </a:cubicBezTo>
                <a:cubicBezTo>
                  <a:pt x="1113" y="716"/>
                  <a:pt x="1113" y="716"/>
                  <a:pt x="1113" y="726"/>
                </a:cubicBezTo>
                <a:cubicBezTo>
                  <a:pt x="1116" y="725"/>
                  <a:pt x="1119" y="725"/>
                  <a:pt x="1122" y="723"/>
                </a:cubicBezTo>
                <a:cubicBezTo>
                  <a:pt x="1124" y="722"/>
                  <a:pt x="1126" y="721"/>
                  <a:pt x="1129" y="720"/>
                </a:cubicBezTo>
                <a:cubicBezTo>
                  <a:pt x="1129" y="720"/>
                  <a:pt x="1129" y="720"/>
                  <a:pt x="1129" y="778"/>
                </a:cubicBezTo>
                <a:cubicBezTo>
                  <a:pt x="1129" y="778"/>
                  <a:pt x="1129" y="778"/>
                  <a:pt x="1140" y="778"/>
                </a:cubicBezTo>
                <a:cubicBezTo>
                  <a:pt x="1140" y="778"/>
                  <a:pt x="1140" y="778"/>
                  <a:pt x="1140" y="705"/>
                </a:cubicBezTo>
                <a:close/>
                <a:moveTo>
                  <a:pt x="1186" y="705"/>
                </a:moveTo>
                <a:cubicBezTo>
                  <a:pt x="1186" y="705"/>
                  <a:pt x="1186" y="705"/>
                  <a:pt x="1186" y="705"/>
                </a:cubicBezTo>
                <a:cubicBezTo>
                  <a:pt x="1182" y="705"/>
                  <a:pt x="1182" y="705"/>
                  <a:pt x="1182" y="705"/>
                </a:cubicBezTo>
                <a:cubicBezTo>
                  <a:pt x="1179" y="706"/>
                  <a:pt x="1178" y="708"/>
                  <a:pt x="1176" y="709"/>
                </a:cubicBezTo>
                <a:cubicBezTo>
                  <a:pt x="1174" y="710"/>
                  <a:pt x="1172" y="711"/>
                  <a:pt x="1171" y="712"/>
                </a:cubicBezTo>
                <a:cubicBezTo>
                  <a:pt x="1169" y="712"/>
                  <a:pt x="1167" y="713"/>
                  <a:pt x="1165" y="714"/>
                </a:cubicBezTo>
                <a:cubicBezTo>
                  <a:pt x="1164" y="714"/>
                  <a:pt x="1161" y="715"/>
                  <a:pt x="1160" y="716"/>
                </a:cubicBezTo>
                <a:cubicBezTo>
                  <a:pt x="1160" y="716"/>
                  <a:pt x="1160" y="716"/>
                  <a:pt x="1160" y="726"/>
                </a:cubicBezTo>
                <a:cubicBezTo>
                  <a:pt x="1163" y="725"/>
                  <a:pt x="1166" y="724"/>
                  <a:pt x="1168" y="723"/>
                </a:cubicBezTo>
                <a:cubicBezTo>
                  <a:pt x="1170" y="722"/>
                  <a:pt x="1173" y="721"/>
                  <a:pt x="1174" y="720"/>
                </a:cubicBezTo>
                <a:cubicBezTo>
                  <a:pt x="1174" y="720"/>
                  <a:pt x="1174" y="720"/>
                  <a:pt x="1174" y="778"/>
                </a:cubicBezTo>
                <a:cubicBezTo>
                  <a:pt x="1174" y="778"/>
                  <a:pt x="1174" y="778"/>
                  <a:pt x="1186" y="778"/>
                </a:cubicBezTo>
                <a:cubicBezTo>
                  <a:pt x="1186" y="778"/>
                  <a:pt x="1186" y="778"/>
                  <a:pt x="1186" y="705"/>
                </a:cubicBezTo>
                <a:close/>
                <a:moveTo>
                  <a:pt x="1323" y="737"/>
                </a:moveTo>
                <a:cubicBezTo>
                  <a:pt x="1323" y="737"/>
                  <a:pt x="1323" y="737"/>
                  <a:pt x="1323" y="737"/>
                </a:cubicBezTo>
                <a:cubicBezTo>
                  <a:pt x="1322" y="746"/>
                  <a:pt x="1322" y="746"/>
                  <a:pt x="1322" y="746"/>
                </a:cubicBezTo>
                <a:cubicBezTo>
                  <a:pt x="1329" y="746"/>
                  <a:pt x="1329" y="749"/>
                  <a:pt x="1329" y="752"/>
                </a:cubicBezTo>
                <a:cubicBezTo>
                  <a:pt x="1329" y="754"/>
                  <a:pt x="1329" y="756"/>
                  <a:pt x="1329" y="759"/>
                </a:cubicBezTo>
                <a:cubicBezTo>
                  <a:pt x="1329" y="761"/>
                  <a:pt x="1328" y="763"/>
                  <a:pt x="1328" y="766"/>
                </a:cubicBezTo>
                <a:cubicBezTo>
                  <a:pt x="1328" y="775"/>
                  <a:pt x="1334" y="778"/>
                  <a:pt x="1343" y="778"/>
                </a:cubicBezTo>
                <a:cubicBezTo>
                  <a:pt x="1343" y="778"/>
                  <a:pt x="1343" y="778"/>
                  <a:pt x="1347" y="778"/>
                </a:cubicBezTo>
                <a:cubicBezTo>
                  <a:pt x="1347" y="778"/>
                  <a:pt x="1347" y="778"/>
                  <a:pt x="1347" y="769"/>
                </a:cubicBezTo>
                <a:cubicBezTo>
                  <a:pt x="1347" y="769"/>
                  <a:pt x="1347" y="769"/>
                  <a:pt x="1345" y="769"/>
                </a:cubicBezTo>
                <a:cubicBezTo>
                  <a:pt x="1341" y="769"/>
                  <a:pt x="1340" y="767"/>
                  <a:pt x="1340" y="763"/>
                </a:cubicBezTo>
                <a:cubicBezTo>
                  <a:pt x="1340" y="762"/>
                  <a:pt x="1340" y="760"/>
                  <a:pt x="1341" y="759"/>
                </a:cubicBezTo>
                <a:cubicBezTo>
                  <a:pt x="1341" y="757"/>
                  <a:pt x="1341" y="755"/>
                  <a:pt x="1341" y="753"/>
                </a:cubicBezTo>
                <a:cubicBezTo>
                  <a:pt x="1341" y="745"/>
                  <a:pt x="1338" y="743"/>
                  <a:pt x="1332" y="741"/>
                </a:cubicBezTo>
                <a:cubicBezTo>
                  <a:pt x="1332" y="741"/>
                  <a:pt x="1332" y="741"/>
                  <a:pt x="1332" y="741"/>
                </a:cubicBezTo>
                <a:cubicBezTo>
                  <a:pt x="1338" y="740"/>
                  <a:pt x="1341" y="738"/>
                  <a:pt x="1341" y="730"/>
                </a:cubicBezTo>
                <a:cubicBezTo>
                  <a:pt x="1341" y="728"/>
                  <a:pt x="1341" y="726"/>
                  <a:pt x="1341" y="724"/>
                </a:cubicBezTo>
                <a:cubicBezTo>
                  <a:pt x="1340" y="722"/>
                  <a:pt x="1340" y="720"/>
                  <a:pt x="1340" y="719"/>
                </a:cubicBezTo>
                <a:cubicBezTo>
                  <a:pt x="1340" y="716"/>
                  <a:pt x="1341" y="713"/>
                  <a:pt x="1345" y="713"/>
                </a:cubicBezTo>
                <a:cubicBezTo>
                  <a:pt x="1345" y="713"/>
                  <a:pt x="1345" y="713"/>
                  <a:pt x="1347" y="713"/>
                </a:cubicBezTo>
                <a:cubicBezTo>
                  <a:pt x="1347" y="713"/>
                  <a:pt x="1347" y="713"/>
                  <a:pt x="1347" y="704"/>
                </a:cubicBezTo>
                <a:cubicBezTo>
                  <a:pt x="1347" y="704"/>
                  <a:pt x="1347" y="704"/>
                  <a:pt x="1343" y="704"/>
                </a:cubicBezTo>
                <a:cubicBezTo>
                  <a:pt x="1334" y="704"/>
                  <a:pt x="1328" y="708"/>
                  <a:pt x="1328" y="717"/>
                </a:cubicBezTo>
                <a:cubicBezTo>
                  <a:pt x="1328" y="719"/>
                  <a:pt x="1329" y="722"/>
                  <a:pt x="1329" y="724"/>
                </a:cubicBezTo>
                <a:cubicBezTo>
                  <a:pt x="1329" y="726"/>
                  <a:pt x="1329" y="729"/>
                  <a:pt x="1329" y="731"/>
                </a:cubicBezTo>
                <a:cubicBezTo>
                  <a:pt x="1329" y="734"/>
                  <a:pt x="1329" y="737"/>
                  <a:pt x="1323" y="737"/>
                </a:cubicBezTo>
                <a:close/>
                <a:moveTo>
                  <a:pt x="1377" y="746"/>
                </a:moveTo>
                <a:cubicBezTo>
                  <a:pt x="1377" y="746"/>
                  <a:pt x="1377" y="746"/>
                  <a:pt x="1377" y="746"/>
                </a:cubicBezTo>
                <a:cubicBezTo>
                  <a:pt x="1377" y="737"/>
                  <a:pt x="1377" y="737"/>
                  <a:pt x="1377" y="737"/>
                </a:cubicBezTo>
                <a:cubicBezTo>
                  <a:pt x="1371" y="737"/>
                  <a:pt x="1371" y="734"/>
                  <a:pt x="1371" y="731"/>
                </a:cubicBezTo>
                <a:cubicBezTo>
                  <a:pt x="1371" y="729"/>
                  <a:pt x="1371" y="726"/>
                  <a:pt x="1371" y="724"/>
                </a:cubicBezTo>
                <a:cubicBezTo>
                  <a:pt x="1372" y="722"/>
                  <a:pt x="1372" y="719"/>
                  <a:pt x="1372" y="717"/>
                </a:cubicBezTo>
                <a:cubicBezTo>
                  <a:pt x="1372" y="708"/>
                  <a:pt x="1366" y="704"/>
                  <a:pt x="1357" y="704"/>
                </a:cubicBezTo>
                <a:cubicBezTo>
                  <a:pt x="1357" y="704"/>
                  <a:pt x="1357" y="704"/>
                  <a:pt x="1353" y="704"/>
                </a:cubicBezTo>
                <a:cubicBezTo>
                  <a:pt x="1353" y="704"/>
                  <a:pt x="1353" y="704"/>
                  <a:pt x="1353" y="713"/>
                </a:cubicBezTo>
                <a:cubicBezTo>
                  <a:pt x="1353" y="713"/>
                  <a:pt x="1353" y="713"/>
                  <a:pt x="1355" y="713"/>
                </a:cubicBezTo>
                <a:cubicBezTo>
                  <a:pt x="1359" y="713"/>
                  <a:pt x="1360" y="716"/>
                  <a:pt x="1360" y="719"/>
                </a:cubicBezTo>
                <a:cubicBezTo>
                  <a:pt x="1360" y="720"/>
                  <a:pt x="1360" y="722"/>
                  <a:pt x="1360" y="724"/>
                </a:cubicBezTo>
                <a:cubicBezTo>
                  <a:pt x="1359" y="726"/>
                  <a:pt x="1359" y="728"/>
                  <a:pt x="1359" y="730"/>
                </a:cubicBezTo>
                <a:cubicBezTo>
                  <a:pt x="1359" y="738"/>
                  <a:pt x="1362" y="740"/>
                  <a:pt x="1368" y="741"/>
                </a:cubicBezTo>
                <a:cubicBezTo>
                  <a:pt x="1368" y="741"/>
                  <a:pt x="1368" y="741"/>
                  <a:pt x="1368" y="741"/>
                </a:cubicBezTo>
                <a:cubicBezTo>
                  <a:pt x="1362" y="743"/>
                  <a:pt x="1359" y="745"/>
                  <a:pt x="1359" y="753"/>
                </a:cubicBezTo>
                <a:cubicBezTo>
                  <a:pt x="1359" y="755"/>
                  <a:pt x="1359" y="757"/>
                  <a:pt x="1360" y="759"/>
                </a:cubicBezTo>
                <a:cubicBezTo>
                  <a:pt x="1360" y="760"/>
                  <a:pt x="1360" y="762"/>
                  <a:pt x="1360" y="763"/>
                </a:cubicBezTo>
                <a:cubicBezTo>
                  <a:pt x="1360" y="767"/>
                  <a:pt x="1359" y="769"/>
                  <a:pt x="1355" y="769"/>
                </a:cubicBezTo>
                <a:cubicBezTo>
                  <a:pt x="1355" y="769"/>
                  <a:pt x="1355" y="769"/>
                  <a:pt x="1353" y="769"/>
                </a:cubicBezTo>
                <a:cubicBezTo>
                  <a:pt x="1353" y="769"/>
                  <a:pt x="1353" y="769"/>
                  <a:pt x="1353" y="778"/>
                </a:cubicBezTo>
                <a:cubicBezTo>
                  <a:pt x="1353" y="778"/>
                  <a:pt x="1353" y="778"/>
                  <a:pt x="1357" y="778"/>
                </a:cubicBezTo>
                <a:cubicBezTo>
                  <a:pt x="1366" y="778"/>
                  <a:pt x="1372" y="775"/>
                  <a:pt x="1372" y="766"/>
                </a:cubicBezTo>
                <a:cubicBezTo>
                  <a:pt x="1372" y="763"/>
                  <a:pt x="1372" y="761"/>
                  <a:pt x="1371" y="759"/>
                </a:cubicBezTo>
                <a:cubicBezTo>
                  <a:pt x="1371" y="756"/>
                  <a:pt x="1371" y="754"/>
                  <a:pt x="1371" y="752"/>
                </a:cubicBezTo>
                <a:cubicBezTo>
                  <a:pt x="1371" y="749"/>
                  <a:pt x="1371" y="746"/>
                  <a:pt x="1377" y="746"/>
                </a:cubicBezTo>
                <a:close/>
                <a:moveTo>
                  <a:pt x="1424" y="705"/>
                </a:moveTo>
                <a:cubicBezTo>
                  <a:pt x="1424" y="705"/>
                  <a:pt x="1424" y="705"/>
                  <a:pt x="1424" y="705"/>
                </a:cubicBezTo>
                <a:cubicBezTo>
                  <a:pt x="1419" y="705"/>
                  <a:pt x="1419" y="705"/>
                  <a:pt x="1419" y="705"/>
                </a:cubicBezTo>
                <a:cubicBezTo>
                  <a:pt x="1417" y="706"/>
                  <a:pt x="1416" y="708"/>
                  <a:pt x="1413" y="709"/>
                </a:cubicBezTo>
                <a:cubicBezTo>
                  <a:pt x="1412" y="710"/>
                  <a:pt x="1410" y="711"/>
                  <a:pt x="1408" y="712"/>
                </a:cubicBezTo>
                <a:cubicBezTo>
                  <a:pt x="1406" y="712"/>
                  <a:pt x="1405" y="713"/>
                  <a:pt x="1403" y="714"/>
                </a:cubicBezTo>
                <a:cubicBezTo>
                  <a:pt x="1401" y="714"/>
                  <a:pt x="1399" y="715"/>
                  <a:pt x="1397" y="716"/>
                </a:cubicBezTo>
                <a:cubicBezTo>
                  <a:pt x="1397" y="716"/>
                  <a:pt x="1397" y="716"/>
                  <a:pt x="1397" y="726"/>
                </a:cubicBezTo>
                <a:cubicBezTo>
                  <a:pt x="1400" y="725"/>
                  <a:pt x="1403" y="724"/>
                  <a:pt x="1405" y="723"/>
                </a:cubicBezTo>
                <a:cubicBezTo>
                  <a:pt x="1408" y="722"/>
                  <a:pt x="1410" y="721"/>
                  <a:pt x="1413" y="720"/>
                </a:cubicBezTo>
                <a:cubicBezTo>
                  <a:pt x="1413" y="720"/>
                  <a:pt x="1413" y="720"/>
                  <a:pt x="1413" y="778"/>
                </a:cubicBezTo>
                <a:cubicBezTo>
                  <a:pt x="1413" y="778"/>
                  <a:pt x="1413" y="778"/>
                  <a:pt x="1424" y="778"/>
                </a:cubicBezTo>
                <a:cubicBezTo>
                  <a:pt x="1424" y="778"/>
                  <a:pt x="1424" y="778"/>
                  <a:pt x="1424" y="705"/>
                </a:cubicBezTo>
                <a:close/>
                <a:moveTo>
                  <a:pt x="1471" y="705"/>
                </a:moveTo>
                <a:cubicBezTo>
                  <a:pt x="1471" y="705"/>
                  <a:pt x="1471" y="705"/>
                  <a:pt x="1471" y="705"/>
                </a:cubicBezTo>
                <a:cubicBezTo>
                  <a:pt x="1466" y="705"/>
                  <a:pt x="1466" y="705"/>
                  <a:pt x="1466" y="705"/>
                </a:cubicBezTo>
                <a:cubicBezTo>
                  <a:pt x="1463" y="706"/>
                  <a:pt x="1462" y="708"/>
                  <a:pt x="1460" y="709"/>
                </a:cubicBezTo>
                <a:cubicBezTo>
                  <a:pt x="1458" y="710"/>
                  <a:pt x="1456" y="711"/>
                  <a:pt x="1455" y="712"/>
                </a:cubicBezTo>
                <a:cubicBezTo>
                  <a:pt x="1453" y="713"/>
                  <a:pt x="1451" y="714"/>
                  <a:pt x="1450" y="714"/>
                </a:cubicBezTo>
                <a:cubicBezTo>
                  <a:pt x="1448" y="715"/>
                  <a:pt x="1446" y="716"/>
                  <a:pt x="1444" y="716"/>
                </a:cubicBezTo>
                <a:cubicBezTo>
                  <a:pt x="1444" y="716"/>
                  <a:pt x="1444" y="716"/>
                  <a:pt x="1444" y="726"/>
                </a:cubicBezTo>
                <a:cubicBezTo>
                  <a:pt x="1447" y="725"/>
                  <a:pt x="1450" y="725"/>
                  <a:pt x="1452" y="723"/>
                </a:cubicBezTo>
                <a:cubicBezTo>
                  <a:pt x="1455" y="722"/>
                  <a:pt x="1457" y="721"/>
                  <a:pt x="1459" y="720"/>
                </a:cubicBezTo>
                <a:cubicBezTo>
                  <a:pt x="1459" y="720"/>
                  <a:pt x="1459" y="720"/>
                  <a:pt x="1459" y="778"/>
                </a:cubicBezTo>
                <a:cubicBezTo>
                  <a:pt x="1459" y="778"/>
                  <a:pt x="1459" y="778"/>
                  <a:pt x="1471" y="778"/>
                </a:cubicBezTo>
                <a:cubicBezTo>
                  <a:pt x="1471" y="778"/>
                  <a:pt x="1471" y="778"/>
                  <a:pt x="1471" y="705"/>
                </a:cubicBezTo>
                <a:close/>
                <a:moveTo>
                  <a:pt x="1517" y="705"/>
                </a:moveTo>
                <a:cubicBezTo>
                  <a:pt x="1517" y="705"/>
                  <a:pt x="1517" y="705"/>
                  <a:pt x="1517" y="705"/>
                </a:cubicBezTo>
                <a:cubicBezTo>
                  <a:pt x="1512" y="705"/>
                  <a:pt x="1512" y="705"/>
                  <a:pt x="1512" y="705"/>
                </a:cubicBezTo>
                <a:cubicBezTo>
                  <a:pt x="1510" y="706"/>
                  <a:pt x="1509" y="708"/>
                  <a:pt x="1507" y="709"/>
                </a:cubicBezTo>
                <a:cubicBezTo>
                  <a:pt x="1505" y="710"/>
                  <a:pt x="1503" y="711"/>
                  <a:pt x="1502" y="712"/>
                </a:cubicBezTo>
                <a:cubicBezTo>
                  <a:pt x="1499" y="713"/>
                  <a:pt x="1498" y="714"/>
                  <a:pt x="1496" y="714"/>
                </a:cubicBezTo>
                <a:cubicBezTo>
                  <a:pt x="1494" y="715"/>
                  <a:pt x="1492" y="716"/>
                  <a:pt x="1491" y="716"/>
                </a:cubicBezTo>
                <a:cubicBezTo>
                  <a:pt x="1491" y="716"/>
                  <a:pt x="1491" y="716"/>
                  <a:pt x="1491" y="726"/>
                </a:cubicBezTo>
                <a:cubicBezTo>
                  <a:pt x="1494" y="725"/>
                  <a:pt x="1496" y="725"/>
                  <a:pt x="1499" y="723"/>
                </a:cubicBezTo>
                <a:cubicBezTo>
                  <a:pt x="1501" y="722"/>
                  <a:pt x="1504" y="721"/>
                  <a:pt x="1505" y="720"/>
                </a:cubicBezTo>
                <a:cubicBezTo>
                  <a:pt x="1505" y="720"/>
                  <a:pt x="1505" y="720"/>
                  <a:pt x="1505" y="778"/>
                </a:cubicBezTo>
                <a:cubicBezTo>
                  <a:pt x="1505" y="778"/>
                  <a:pt x="1505" y="778"/>
                  <a:pt x="1517" y="778"/>
                </a:cubicBezTo>
                <a:cubicBezTo>
                  <a:pt x="1517" y="778"/>
                  <a:pt x="1517" y="778"/>
                  <a:pt x="1517" y="705"/>
                </a:cubicBezTo>
                <a:close/>
                <a:moveTo>
                  <a:pt x="1266" y="752"/>
                </a:moveTo>
                <a:cubicBezTo>
                  <a:pt x="1266" y="754"/>
                  <a:pt x="1267" y="755"/>
                  <a:pt x="1268" y="757"/>
                </a:cubicBezTo>
                <a:cubicBezTo>
                  <a:pt x="1268" y="758"/>
                  <a:pt x="1268" y="760"/>
                  <a:pt x="1269" y="762"/>
                </a:cubicBezTo>
                <a:cubicBezTo>
                  <a:pt x="1269" y="763"/>
                  <a:pt x="1269" y="765"/>
                  <a:pt x="1269" y="767"/>
                </a:cubicBezTo>
                <a:cubicBezTo>
                  <a:pt x="1270" y="770"/>
                  <a:pt x="1269" y="771"/>
                  <a:pt x="1266" y="771"/>
                </a:cubicBezTo>
                <a:cubicBezTo>
                  <a:pt x="1263" y="771"/>
                  <a:pt x="1260" y="771"/>
                  <a:pt x="1257" y="771"/>
                </a:cubicBezTo>
                <a:cubicBezTo>
                  <a:pt x="1257" y="771"/>
                  <a:pt x="1256" y="771"/>
                  <a:pt x="1256" y="771"/>
                </a:cubicBezTo>
                <a:cubicBezTo>
                  <a:pt x="1254" y="773"/>
                  <a:pt x="1253" y="774"/>
                  <a:pt x="1252" y="776"/>
                </a:cubicBezTo>
                <a:cubicBezTo>
                  <a:pt x="1250" y="778"/>
                  <a:pt x="1246" y="778"/>
                  <a:pt x="1244" y="776"/>
                </a:cubicBezTo>
                <a:cubicBezTo>
                  <a:pt x="1242" y="774"/>
                  <a:pt x="1241" y="772"/>
                  <a:pt x="1239" y="769"/>
                </a:cubicBezTo>
                <a:cubicBezTo>
                  <a:pt x="1239" y="767"/>
                  <a:pt x="1239" y="766"/>
                  <a:pt x="1241" y="764"/>
                </a:cubicBezTo>
                <a:cubicBezTo>
                  <a:pt x="1239" y="764"/>
                  <a:pt x="1237" y="764"/>
                  <a:pt x="1236" y="764"/>
                </a:cubicBezTo>
                <a:cubicBezTo>
                  <a:pt x="1235" y="766"/>
                  <a:pt x="1234" y="768"/>
                  <a:pt x="1233" y="770"/>
                </a:cubicBezTo>
                <a:cubicBezTo>
                  <a:pt x="1233" y="771"/>
                  <a:pt x="1232" y="772"/>
                  <a:pt x="1232" y="773"/>
                </a:cubicBezTo>
                <a:cubicBezTo>
                  <a:pt x="1232" y="776"/>
                  <a:pt x="1231" y="777"/>
                  <a:pt x="1228" y="776"/>
                </a:cubicBezTo>
                <a:cubicBezTo>
                  <a:pt x="1225" y="776"/>
                  <a:pt x="1222" y="775"/>
                  <a:pt x="1219" y="774"/>
                </a:cubicBezTo>
                <a:cubicBezTo>
                  <a:pt x="1217" y="774"/>
                  <a:pt x="1217" y="772"/>
                  <a:pt x="1217" y="770"/>
                </a:cubicBezTo>
                <a:cubicBezTo>
                  <a:pt x="1217" y="769"/>
                  <a:pt x="1217" y="769"/>
                  <a:pt x="1218" y="769"/>
                </a:cubicBezTo>
                <a:cubicBezTo>
                  <a:pt x="1216" y="767"/>
                  <a:pt x="1213" y="767"/>
                  <a:pt x="1211" y="765"/>
                </a:cubicBezTo>
                <a:cubicBezTo>
                  <a:pt x="1210" y="764"/>
                  <a:pt x="1209" y="762"/>
                  <a:pt x="1208" y="761"/>
                </a:cubicBezTo>
                <a:cubicBezTo>
                  <a:pt x="1207" y="759"/>
                  <a:pt x="1207" y="757"/>
                  <a:pt x="1209" y="755"/>
                </a:cubicBezTo>
                <a:cubicBezTo>
                  <a:pt x="1212" y="753"/>
                  <a:pt x="1213" y="750"/>
                  <a:pt x="1212" y="746"/>
                </a:cubicBezTo>
                <a:cubicBezTo>
                  <a:pt x="1212" y="744"/>
                  <a:pt x="1212" y="742"/>
                  <a:pt x="1212" y="740"/>
                </a:cubicBezTo>
                <a:cubicBezTo>
                  <a:pt x="1211" y="740"/>
                  <a:pt x="1209" y="739"/>
                  <a:pt x="1208" y="738"/>
                </a:cubicBezTo>
                <a:cubicBezTo>
                  <a:pt x="1207" y="736"/>
                  <a:pt x="1206" y="734"/>
                  <a:pt x="1206" y="733"/>
                </a:cubicBezTo>
                <a:cubicBezTo>
                  <a:pt x="1206" y="730"/>
                  <a:pt x="1210" y="727"/>
                  <a:pt x="1212" y="726"/>
                </a:cubicBezTo>
                <a:cubicBezTo>
                  <a:pt x="1213" y="727"/>
                  <a:pt x="1213" y="728"/>
                  <a:pt x="1213" y="729"/>
                </a:cubicBezTo>
                <a:cubicBezTo>
                  <a:pt x="1213" y="730"/>
                  <a:pt x="1213" y="731"/>
                  <a:pt x="1214" y="732"/>
                </a:cubicBezTo>
                <a:cubicBezTo>
                  <a:pt x="1213" y="731"/>
                  <a:pt x="1212" y="731"/>
                  <a:pt x="1212" y="731"/>
                </a:cubicBezTo>
                <a:cubicBezTo>
                  <a:pt x="1212" y="733"/>
                  <a:pt x="1211" y="734"/>
                  <a:pt x="1210" y="736"/>
                </a:cubicBezTo>
                <a:cubicBezTo>
                  <a:pt x="1212" y="735"/>
                  <a:pt x="1212" y="735"/>
                  <a:pt x="1213" y="735"/>
                </a:cubicBezTo>
                <a:cubicBezTo>
                  <a:pt x="1214" y="734"/>
                  <a:pt x="1215" y="733"/>
                  <a:pt x="1216" y="732"/>
                </a:cubicBezTo>
                <a:cubicBezTo>
                  <a:pt x="1220" y="725"/>
                  <a:pt x="1226" y="721"/>
                  <a:pt x="1234" y="719"/>
                </a:cubicBezTo>
                <a:cubicBezTo>
                  <a:pt x="1237" y="719"/>
                  <a:pt x="1240" y="718"/>
                  <a:pt x="1242" y="715"/>
                </a:cubicBezTo>
                <a:cubicBezTo>
                  <a:pt x="1242" y="715"/>
                  <a:pt x="1243" y="714"/>
                  <a:pt x="1243" y="714"/>
                </a:cubicBezTo>
                <a:cubicBezTo>
                  <a:pt x="1246" y="714"/>
                  <a:pt x="1248" y="712"/>
                  <a:pt x="1250" y="710"/>
                </a:cubicBezTo>
                <a:cubicBezTo>
                  <a:pt x="1257" y="702"/>
                  <a:pt x="1269" y="702"/>
                  <a:pt x="1277" y="708"/>
                </a:cubicBezTo>
                <a:cubicBezTo>
                  <a:pt x="1279" y="710"/>
                  <a:pt x="1282" y="712"/>
                  <a:pt x="1284" y="714"/>
                </a:cubicBezTo>
                <a:cubicBezTo>
                  <a:pt x="1286" y="715"/>
                  <a:pt x="1287" y="717"/>
                  <a:pt x="1288" y="719"/>
                </a:cubicBezTo>
                <a:cubicBezTo>
                  <a:pt x="1289" y="721"/>
                  <a:pt x="1290" y="721"/>
                  <a:pt x="1291" y="719"/>
                </a:cubicBezTo>
                <a:cubicBezTo>
                  <a:pt x="1292" y="719"/>
                  <a:pt x="1292" y="718"/>
                  <a:pt x="1293" y="717"/>
                </a:cubicBezTo>
                <a:cubicBezTo>
                  <a:pt x="1295" y="715"/>
                  <a:pt x="1298" y="715"/>
                  <a:pt x="1299" y="718"/>
                </a:cubicBezTo>
                <a:cubicBezTo>
                  <a:pt x="1301" y="721"/>
                  <a:pt x="1301" y="724"/>
                  <a:pt x="1302" y="727"/>
                </a:cubicBezTo>
                <a:cubicBezTo>
                  <a:pt x="1303" y="731"/>
                  <a:pt x="1302" y="736"/>
                  <a:pt x="1301" y="740"/>
                </a:cubicBezTo>
                <a:cubicBezTo>
                  <a:pt x="1298" y="746"/>
                  <a:pt x="1294" y="750"/>
                  <a:pt x="1287" y="750"/>
                </a:cubicBezTo>
                <a:cubicBezTo>
                  <a:pt x="1286" y="750"/>
                  <a:pt x="1286" y="750"/>
                  <a:pt x="1285" y="750"/>
                </a:cubicBezTo>
                <a:cubicBezTo>
                  <a:pt x="1283" y="750"/>
                  <a:pt x="1281" y="750"/>
                  <a:pt x="1281" y="752"/>
                </a:cubicBezTo>
                <a:cubicBezTo>
                  <a:pt x="1279" y="757"/>
                  <a:pt x="1274" y="758"/>
                  <a:pt x="1270" y="755"/>
                </a:cubicBezTo>
                <a:cubicBezTo>
                  <a:pt x="1269" y="754"/>
                  <a:pt x="1268" y="753"/>
                  <a:pt x="1267" y="752"/>
                </a:cubicBezTo>
                <a:cubicBezTo>
                  <a:pt x="1266" y="752"/>
                  <a:pt x="1266" y="752"/>
                  <a:pt x="1266" y="752"/>
                </a:cubicBezTo>
                <a:close/>
                <a:moveTo>
                  <a:pt x="1261" y="748"/>
                </a:moveTo>
                <a:cubicBezTo>
                  <a:pt x="1264" y="750"/>
                  <a:pt x="1268" y="751"/>
                  <a:pt x="1270" y="754"/>
                </a:cubicBezTo>
                <a:cubicBezTo>
                  <a:pt x="1272" y="755"/>
                  <a:pt x="1274" y="756"/>
                  <a:pt x="1276" y="755"/>
                </a:cubicBezTo>
                <a:cubicBezTo>
                  <a:pt x="1279" y="754"/>
                  <a:pt x="1280" y="752"/>
                  <a:pt x="1280" y="749"/>
                </a:cubicBezTo>
                <a:cubicBezTo>
                  <a:pt x="1280" y="750"/>
                  <a:pt x="1279" y="750"/>
                  <a:pt x="1279" y="750"/>
                </a:cubicBezTo>
                <a:cubicBezTo>
                  <a:pt x="1279" y="752"/>
                  <a:pt x="1277" y="752"/>
                  <a:pt x="1277" y="754"/>
                </a:cubicBezTo>
                <a:cubicBezTo>
                  <a:pt x="1276" y="755"/>
                  <a:pt x="1274" y="754"/>
                  <a:pt x="1274" y="754"/>
                </a:cubicBezTo>
                <a:cubicBezTo>
                  <a:pt x="1273" y="754"/>
                  <a:pt x="1272" y="753"/>
                  <a:pt x="1272" y="752"/>
                </a:cubicBezTo>
                <a:cubicBezTo>
                  <a:pt x="1272" y="750"/>
                  <a:pt x="1273" y="748"/>
                  <a:pt x="1273" y="746"/>
                </a:cubicBezTo>
                <a:cubicBezTo>
                  <a:pt x="1276" y="746"/>
                  <a:pt x="1279" y="748"/>
                  <a:pt x="1283" y="748"/>
                </a:cubicBezTo>
                <a:cubicBezTo>
                  <a:pt x="1290" y="749"/>
                  <a:pt x="1296" y="748"/>
                  <a:pt x="1299" y="739"/>
                </a:cubicBezTo>
                <a:cubicBezTo>
                  <a:pt x="1301" y="734"/>
                  <a:pt x="1301" y="729"/>
                  <a:pt x="1300" y="724"/>
                </a:cubicBezTo>
                <a:cubicBezTo>
                  <a:pt x="1299" y="722"/>
                  <a:pt x="1299" y="721"/>
                  <a:pt x="1298" y="719"/>
                </a:cubicBezTo>
                <a:cubicBezTo>
                  <a:pt x="1297" y="717"/>
                  <a:pt x="1296" y="717"/>
                  <a:pt x="1295" y="718"/>
                </a:cubicBezTo>
                <a:cubicBezTo>
                  <a:pt x="1293" y="720"/>
                  <a:pt x="1292" y="721"/>
                  <a:pt x="1290" y="722"/>
                </a:cubicBezTo>
                <a:cubicBezTo>
                  <a:pt x="1289" y="723"/>
                  <a:pt x="1288" y="723"/>
                  <a:pt x="1288" y="725"/>
                </a:cubicBezTo>
                <a:cubicBezTo>
                  <a:pt x="1289" y="728"/>
                  <a:pt x="1288" y="731"/>
                  <a:pt x="1287" y="734"/>
                </a:cubicBezTo>
                <a:cubicBezTo>
                  <a:pt x="1287" y="732"/>
                  <a:pt x="1288" y="730"/>
                  <a:pt x="1288" y="729"/>
                </a:cubicBezTo>
                <a:cubicBezTo>
                  <a:pt x="1288" y="728"/>
                  <a:pt x="1287" y="727"/>
                  <a:pt x="1287" y="727"/>
                </a:cubicBezTo>
                <a:cubicBezTo>
                  <a:pt x="1286" y="727"/>
                  <a:pt x="1286" y="727"/>
                  <a:pt x="1286" y="728"/>
                </a:cubicBezTo>
                <a:cubicBezTo>
                  <a:pt x="1285" y="729"/>
                  <a:pt x="1284" y="731"/>
                  <a:pt x="1283" y="732"/>
                </a:cubicBezTo>
                <a:cubicBezTo>
                  <a:pt x="1283" y="732"/>
                  <a:pt x="1283" y="732"/>
                  <a:pt x="1283" y="732"/>
                </a:cubicBezTo>
                <a:cubicBezTo>
                  <a:pt x="1283" y="730"/>
                  <a:pt x="1284" y="729"/>
                  <a:pt x="1284" y="726"/>
                </a:cubicBezTo>
                <a:cubicBezTo>
                  <a:pt x="1283" y="727"/>
                  <a:pt x="1283" y="727"/>
                  <a:pt x="1282" y="728"/>
                </a:cubicBezTo>
                <a:cubicBezTo>
                  <a:pt x="1281" y="729"/>
                  <a:pt x="1281" y="729"/>
                  <a:pt x="1281" y="730"/>
                </a:cubicBezTo>
                <a:cubicBezTo>
                  <a:pt x="1281" y="727"/>
                  <a:pt x="1281" y="727"/>
                  <a:pt x="1287" y="725"/>
                </a:cubicBezTo>
                <a:cubicBezTo>
                  <a:pt x="1287" y="725"/>
                  <a:pt x="1286" y="724"/>
                  <a:pt x="1286" y="724"/>
                </a:cubicBezTo>
                <a:cubicBezTo>
                  <a:pt x="1283" y="725"/>
                  <a:pt x="1283" y="723"/>
                  <a:pt x="1282" y="721"/>
                </a:cubicBezTo>
                <a:cubicBezTo>
                  <a:pt x="1284" y="721"/>
                  <a:pt x="1285" y="720"/>
                  <a:pt x="1287" y="720"/>
                </a:cubicBezTo>
                <a:cubicBezTo>
                  <a:pt x="1285" y="717"/>
                  <a:pt x="1284" y="715"/>
                  <a:pt x="1281" y="714"/>
                </a:cubicBezTo>
                <a:cubicBezTo>
                  <a:pt x="1280" y="714"/>
                  <a:pt x="1280" y="714"/>
                  <a:pt x="1280" y="714"/>
                </a:cubicBezTo>
                <a:cubicBezTo>
                  <a:pt x="1277" y="712"/>
                  <a:pt x="1275" y="709"/>
                  <a:pt x="1272" y="707"/>
                </a:cubicBezTo>
                <a:cubicBezTo>
                  <a:pt x="1270" y="706"/>
                  <a:pt x="1267" y="705"/>
                  <a:pt x="1265" y="705"/>
                </a:cubicBezTo>
                <a:cubicBezTo>
                  <a:pt x="1262" y="706"/>
                  <a:pt x="1259" y="707"/>
                  <a:pt x="1256" y="708"/>
                </a:cubicBezTo>
                <a:cubicBezTo>
                  <a:pt x="1253" y="709"/>
                  <a:pt x="1250" y="710"/>
                  <a:pt x="1248" y="714"/>
                </a:cubicBezTo>
                <a:cubicBezTo>
                  <a:pt x="1250" y="714"/>
                  <a:pt x="1251" y="714"/>
                  <a:pt x="1252" y="714"/>
                </a:cubicBezTo>
                <a:cubicBezTo>
                  <a:pt x="1252" y="714"/>
                  <a:pt x="1251" y="714"/>
                  <a:pt x="1250" y="714"/>
                </a:cubicBezTo>
                <a:cubicBezTo>
                  <a:pt x="1248" y="715"/>
                  <a:pt x="1245" y="714"/>
                  <a:pt x="1243" y="717"/>
                </a:cubicBezTo>
                <a:cubicBezTo>
                  <a:pt x="1240" y="721"/>
                  <a:pt x="1236" y="724"/>
                  <a:pt x="1232" y="729"/>
                </a:cubicBezTo>
                <a:cubicBezTo>
                  <a:pt x="1231" y="731"/>
                  <a:pt x="1230" y="733"/>
                  <a:pt x="1229" y="735"/>
                </a:cubicBezTo>
                <a:cubicBezTo>
                  <a:pt x="1229" y="736"/>
                  <a:pt x="1229" y="736"/>
                  <a:pt x="1229" y="737"/>
                </a:cubicBezTo>
                <a:cubicBezTo>
                  <a:pt x="1230" y="739"/>
                  <a:pt x="1232" y="741"/>
                  <a:pt x="1233" y="743"/>
                </a:cubicBezTo>
                <a:cubicBezTo>
                  <a:pt x="1234" y="741"/>
                  <a:pt x="1236" y="740"/>
                  <a:pt x="1237" y="738"/>
                </a:cubicBezTo>
                <a:cubicBezTo>
                  <a:pt x="1236" y="740"/>
                  <a:pt x="1236" y="741"/>
                  <a:pt x="1235" y="742"/>
                </a:cubicBezTo>
                <a:cubicBezTo>
                  <a:pt x="1234" y="744"/>
                  <a:pt x="1234" y="745"/>
                  <a:pt x="1233" y="746"/>
                </a:cubicBezTo>
                <a:cubicBezTo>
                  <a:pt x="1233" y="747"/>
                  <a:pt x="1233" y="748"/>
                  <a:pt x="1234" y="749"/>
                </a:cubicBezTo>
                <a:cubicBezTo>
                  <a:pt x="1236" y="753"/>
                  <a:pt x="1239" y="753"/>
                  <a:pt x="1243" y="751"/>
                </a:cubicBezTo>
                <a:cubicBezTo>
                  <a:pt x="1245" y="749"/>
                  <a:pt x="1248" y="748"/>
                  <a:pt x="1251" y="747"/>
                </a:cubicBezTo>
                <a:cubicBezTo>
                  <a:pt x="1252" y="747"/>
                  <a:pt x="1254" y="746"/>
                  <a:pt x="1254" y="744"/>
                </a:cubicBezTo>
                <a:cubicBezTo>
                  <a:pt x="1254" y="741"/>
                  <a:pt x="1254" y="738"/>
                  <a:pt x="1254" y="734"/>
                </a:cubicBezTo>
                <a:cubicBezTo>
                  <a:pt x="1254" y="731"/>
                  <a:pt x="1254" y="729"/>
                  <a:pt x="1254" y="725"/>
                </a:cubicBezTo>
                <a:cubicBezTo>
                  <a:pt x="1254" y="728"/>
                  <a:pt x="1255" y="731"/>
                  <a:pt x="1255" y="733"/>
                </a:cubicBezTo>
                <a:cubicBezTo>
                  <a:pt x="1256" y="738"/>
                  <a:pt x="1256" y="742"/>
                  <a:pt x="1255" y="747"/>
                </a:cubicBezTo>
                <a:cubicBezTo>
                  <a:pt x="1254" y="748"/>
                  <a:pt x="1254" y="748"/>
                  <a:pt x="1253" y="748"/>
                </a:cubicBezTo>
                <a:cubicBezTo>
                  <a:pt x="1250" y="749"/>
                  <a:pt x="1246" y="751"/>
                  <a:pt x="1243" y="752"/>
                </a:cubicBezTo>
                <a:cubicBezTo>
                  <a:pt x="1238" y="755"/>
                  <a:pt x="1235" y="754"/>
                  <a:pt x="1231" y="750"/>
                </a:cubicBezTo>
                <a:cubicBezTo>
                  <a:pt x="1231" y="749"/>
                  <a:pt x="1231" y="748"/>
                  <a:pt x="1231" y="748"/>
                </a:cubicBezTo>
                <a:cubicBezTo>
                  <a:pt x="1232" y="745"/>
                  <a:pt x="1231" y="743"/>
                  <a:pt x="1230" y="741"/>
                </a:cubicBezTo>
                <a:cubicBezTo>
                  <a:pt x="1228" y="739"/>
                  <a:pt x="1226" y="737"/>
                  <a:pt x="1228" y="734"/>
                </a:cubicBezTo>
                <a:cubicBezTo>
                  <a:pt x="1228" y="732"/>
                  <a:pt x="1229" y="731"/>
                  <a:pt x="1230" y="729"/>
                </a:cubicBezTo>
                <a:cubicBezTo>
                  <a:pt x="1232" y="726"/>
                  <a:pt x="1234" y="724"/>
                  <a:pt x="1236" y="721"/>
                </a:cubicBezTo>
                <a:cubicBezTo>
                  <a:pt x="1236" y="721"/>
                  <a:pt x="1235" y="721"/>
                  <a:pt x="1235" y="721"/>
                </a:cubicBezTo>
                <a:cubicBezTo>
                  <a:pt x="1230" y="722"/>
                  <a:pt x="1226" y="724"/>
                  <a:pt x="1222" y="727"/>
                </a:cubicBezTo>
                <a:cubicBezTo>
                  <a:pt x="1217" y="731"/>
                  <a:pt x="1214" y="736"/>
                  <a:pt x="1214" y="743"/>
                </a:cubicBezTo>
                <a:cubicBezTo>
                  <a:pt x="1214" y="750"/>
                  <a:pt x="1216" y="756"/>
                  <a:pt x="1219" y="762"/>
                </a:cubicBezTo>
                <a:cubicBezTo>
                  <a:pt x="1220" y="763"/>
                  <a:pt x="1221" y="764"/>
                  <a:pt x="1220" y="765"/>
                </a:cubicBezTo>
                <a:cubicBezTo>
                  <a:pt x="1220" y="767"/>
                  <a:pt x="1220" y="769"/>
                  <a:pt x="1219" y="770"/>
                </a:cubicBezTo>
                <a:cubicBezTo>
                  <a:pt x="1219" y="772"/>
                  <a:pt x="1219" y="773"/>
                  <a:pt x="1220" y="773"/>
                </a:cubicBezTo>
                <a:cubicBezTo>
                  <a:pt x="1223" y="774"/>
                  <a:pt x="1226" y="774"/>
                  <a:pt x="1229" y="774"/>
                </a:cubicBezTo>
                <a:cubicBezTo>
                  <a:pt x="1230" y="774"/>
                  <a:pt x="1230" y="774"/>
                  <a:pt x="1230" y="773"/>
                </a:cubicBezTo>
                <a:cubicBezTo>
                  <a:pt x="1231" y="772"/>
                  <a:pt x="1231" y="771"/>
                  <a:pt x="1232" y="770"/>
                </a:cubicBezTo>
                <a:cubicBezTo>
                  <a:pt x="1234" y="767"/>
                  <a:pt x="1234" y="765"/>
                  <a:pt x="1234" y="762"/>
                </a:cubicBezTo>
                <a:cubicBezTo>
                  <a:pt x="1234" y="761"/>
                  <a:pt x="1234" y="761"/>
                  <a:pt x="1234" y="761"/>
                </a:cubicBezTo>
                <a:cubicBezTo>
                  <a:pt x="1234" y="760"/>
                  <a:pt x="1234" y="760"/>
                  <a:pt x="1234" y="760"/>
                </a:cubicBezTo>
                <a:cubicBezTo>
                  <a:pt x="1234" y="763"/>
                  <a:pt x="1236" y="763"/>
                  <a:pt x="1237" y="763"/>
                </a:cubicBezTo>
                <a:cubicBezTo>
                  <a:pt x="1238" y="763"/>
                  <a:pt x="1239" y="763"/>
                  <a:pt x="1240" y="763"/>
                </a:cubicBezTo>
                <a:cubicBezTo>
                  <a:pt x="1243" y="763"/>
                  <a:pt x="1246" y="763"/>
                  <a:pt x="1246" y="759"/>
                </a:cubicBezTo>
                <a:cubicBezTo>
                  <a:pt x="1246" y="761"/>
                  <a:pt x="1246" y="763"/>
                  <a:pt x="1246" y="764"/>
                </a:cubicBezTo>
                <a:cubicBezTo>
                  <a:pt x="1245" y="765"/>
                  <a:pt x="1244" y="765"/>
                  <a:pt x="1243" y="766"/>
                </a:cubicBezTo>
                <a:cubicBezTo>
                  <a:pt x="1241" y="767"/>
                  <a:pt x="1241" y="768"/>
                  <a:pt x="1241" y="769"/>
                </a:cubicBezTo>
                <a:cubicBezTo>
                  <a:pt x="1243" y="771"/>
                  <a:pt x="1244" y="773"/>
                  <a:pt x="1245" y="775"/>
                </a:cubicBezTo>
                <a:cubicBezTo>
                  <a:pt x="1247" y="776"/>
                  <a:pt x="1249" y="776"/>
                  <a:pt x="1250" y="774"/>
                </a:cubicBezTo>
                <a:cubicBezTo>
                  <a:pt x="1251" y="774"/>
                  <a:pt x="1252" y="773"/>
                  <a:pt x="1252" y="773"/>
                </a:cubicBezTo>
                <a:cubicBezTo>
                  <a:pt x="1254" y="771"/>
                  <a:pt x="1256" y="770"/>
                  <a:pt x="1257" y="769"/>
                </a:cubicBezTo>
                <a:cubicBezTo>
                  <a:pt x="1261" y="764"/>
                  <a:pt x="1263" y="758"/>
                  <a:pt x="1265" y="752"/>
                </a:cubicBezTo>
                <a:cubicBezTo>
                  <a:pt x="1265" y="752"/>
                  <a:pt x="1264" y="751"/>
                  <a:pt x="1264" y="751"/>
                </a:cubicBezTo>
                <a:cubicBezTo>
                  <a:pt x="1263" y="750"/>
                  <a:pt x="1262" y="749"/>
                  <a:pt x="1261" y="748"/>
                </a:cubicBezTo>
                <a:close/>
                <a:moveTo>
                  <a:pt x="1214" y="754"/>
                </a:moveTo>
                <a:cubicBezTo>
                  <a:pt x="1213" y="755"/>
                  <a:pt x="1211" y="756"/>
                  <a:pt x="1210" y="757"/>
                </a:cubicBezTo>
                <a:cubicBezTo>
                  <a:pt x="1210" y="757"/>
                  <a:pt x="1209" y="758"/>
                  <a:pt x="1209" y="759"/>
                </a:cubicBezTo>
                <a:cubicBezTo>
                  <a:pt x="1209" y="762"/>
                  <a:pt x="1214" y="766"/>
                  <a:pt x="1217" y="766"/>
                </a:cubicBezTo>
                <a:cubicBezTo>
                  <a:pt x="1218" y="766"/>
                  <a:pt x="1219" y="765"/>
                  <a:pt x="1218" y="763"/>
                </a:cubicBezTo>
                <a:cubicBezTo>
                  <a:pt x="1217" y="760"/>
                  <a:pt x="1215" y="757"/>
                  <a:pt x="1214" y="754"/>
                </a:cubicBezTo>
                <a:close/>
                <a:moveTo>
                  <a:pt x="1266" y="756"/>
                </a:moveTo>
                <a:cubicBezTo>
                  <a:pt x="1264" y="761"/>
                  <a:pt x="1261" y="765"/>
                  <a:pt x="1259" y="770"/>
                </a:cubicBezTo>
                <a:cubicBezTo>
                  <a:pt x="1262" y="770"/>
                  <a:pt x="1264" y="770"/>
                  <a:pt x="1267" y="770"/>
                </a:cubicBezTo>
                <a:cubicBezTo>
                  <a:pt x="1267" y="770"/>
                  <a:pt x="1268" y="769"/>
                  <a:pt x="1268" y="768"/>
                </a:cubicBezTo>
                <a:cubicBezTo>
                  <a:pt x="1268" y="765"/>
                  <a:pt x="1268" y="763"/>
                  <a:pt x="1267" y="761"/>
                </a:cubicBezTo>
                <a:cubicBezTo>
                  <a:pt x="1267" y="759"/>
                  <a:pt x="1266" y="758"/>
                  <a:pt x="1266" y="756"/>
                </a:cubicBezTo>
                <a:close/>
                <a:moveTo>
                  <a:pt x="1214" y="736"/>
                </a:moveTo>
                <a:cubicBezTo>
                  <a:pt x="1213" y="736"/>
                  <a:pt x="1212" y="737"/>
                  <a:pt x="1212" y="737"/>
                </a:cubicBezTo>
                <a:cubicBezTo>
                  <a:pt x="1211" y="737"/>
                  <a:pt x="1210" y="737"/>
                  <a:pt x="1210" y="736"/>
                </a:cubicBezTo>
                <a:cubicBezTo>
                  <a:pt x="1210" y="736"/>
                  <a:pt x="1209" y="735"/>
                  <a:pt x="1209" y="734"/>
                </a:cubicBezTo>
                <a:cubicBezTo>
                  <a:pt x="1210" y="733"/>
                  <a:pt x="1210" y="731"/>
                  <a:pt x="1211" y="729"/>
                </a:cubicBezTo>
                <a:cubicBezTo>
                  <a:pt x="1211" y="729"/>
                  <a:pt x="1211" y="729"/>
                  <a:pt x="1210" y="729"/>
                </a:cubicBezTo>
                <a:cubicBezTo>
                  <a:pt x="1210" y="729"/>
                  <a:pt x="1208" y="730"/>
                  <a:pt x="1208" y="731"/>
                </a:cubicBezTo>
                <a:cubicBezTo>
                  <a:pt x="1207" y="733"/>
                  <a:pt x="1208" y="738"/>
                  <a:pt x="1210" y="738"/>
                </a:cubicBezTo>
                <a:cubicBezTo>
                  <a:pt x="1212" y="739"/>
                  <a:pt x="1214" y="738"/>
                  <a:pt x="1214" y="736"/>
                </a:cubicBezTo>
                <a:close/>
                <a:moveTo>
                  <a:pt x="1213" y="754"/>
                </a:moveTo>
                <a:cubicBezTo>
                  <a:pt x="1213" y="755"/>
                  <a:pt x="1211" y="756"/>
                  <a:pt x="1210" y="757"/>
                </a:cubicBezTo>
                <a:cubicBezTo>
                  <a:pt x="1209" y="757"/>
                  <a:pt x="1209" y="758"/>
                  <a:pt x="1209" y="759"/>
                </a:cubicBezTo>
                <a:cubicBezTo>
                  <a:pt x="1209" y="762"/>
                  <a:pt x="1213" y="766"/>
                  <a:pt x="1217" y="766"/>
                </a:cubicBezTo>
                <a:cubicBezTo>
                  <a:pt x="1218" y="766"/>
                  <a:pt x="1219" y="764"/>
                  <a:pt x="1218" y="763"/>
                </a:cubicBezTo>
                <a:cubicBezTo>
                  <a:pt x="1217" y="760"/>
                  <a:pt x="1215" y="757"/>
                  <a:pt x="1213" y="754"/>
                </a:cubicBezTo>
                <a:close/>
                <a:moveTo>
                  <a:pt x="1266" y="756"/>
                </a:moveTo>
                <a:cubicBezTo>
                  <a:pt x="1264" y="761"/>
                  <a:pt x="1261" y="766"/>
                  <a:pt x="1259" y="770"/>
                </a:cubicBezTo>
                <a:cubicBezTo>
                  <a:pt x="1262" y="770"/>
                  <a:pt x="1264" y="770"/>
                  <a:pt x="1267" y="770"/>
                </a:cubicBezTo>
                <a:cubicBezTo>
                  <a:pt x="1267" y="770"/>
                  <a:pt x="1268" y="769"/>
                  <a:pt x="1268" y="768"/>
                </a:cubicBezTo>
                <a:cubicBezTo>
                  <a:pt x="1268" y="766"/>
                  <a:pt x="1268" y="763"/>
                  <a:pt x="1267" y="761"/>
                </a:cubicBezTo>
                <a:cubicBezTo>
                  <a:pt x="1267" y="759"/>
                  <a:pt x="1266" y="758"/>
                  <a:pt x="1266" y="756"/>
                </a:cubicBezTo>
                <a:close/>
                <a:moveTo>
                  <a:pt x="1213" y="736"/>
                </a:moveTo>
                <a:cubicBezTo>
                  <a:pt x="1213" y="736"/>
                  <a:pt x="1212" y="737"/>
                  <a:pt x="1211" y="737"/>
                </a:cubicBezTo>
                <a:cubicBezTo>
                  <a:pt x="1211" y="737"/>
                  <a:pt x="1210" y="737"/>
                  <a:pt x="1210" y="736"/>
                </a:cubicBezTo>
                <a:cubicBezTo>
                  <a:pt x="1209" y="736"/>
                  <a:pt x="1209" y="735"/>
                  <a:pt x="1209" y="734"/>
                </a:cubicBezTo>
                <a:cubicBezTo>
                  <a:pt x="1210" y="732"/>
                  <a:pt x="1210" y="730"/>
                  <a:pt x="1211" y="729"/>
                </a:cubicBezTo>
                <a:cubicBezTo>
                  <a:pt x="1211" y="729"/>
                  <a:pt x="1211" y="729"/>
                  <a:pt x="1210" y="729"/>
                </a:cubicBezTo>
                <a:cubicBezTo>
                  <a:pt x="1209" y="729"/>
                  <a:pt x="1208" y="730"/>
                  <a:pt x="1207" y="731"/>
                </a:cubicBezTo>
                <a:cubicBezTo>
                  <a:pt x="1207" y="732"/>
                  <a:pt x="1208" y="738"/>
                  <a:pt x="1210" y="738"/>
                </a:cubicBezTo>
                <a:cubicBezTo>
                  <a:pt x="1211" y="739"/>
                  <a:pt x="1213" y="738"/>
                  <a:pt x="1213" y="736"/>
                </a:cubicBezTo>
                <a:close/>
                <a:moveTo>
                  <a:pt x="1266" y="728"/>
                </a:moveTo>
                <a:cubicBezTo>
                  <a:pt x="1269" y="724"/>
                  <a:pt x="1269" y="724"/>
                  <a:pt x="1273" y="723"/>
                </a:cubicBezTo>
                <a:cubicBezTo>
                  <a:pt x="1273" y="725"/>
                  <a:pt x="1274" y="726"/>
                  <a:pt x="1275" y="726"/>
                </a:cubicBezTo>
                <a:cubicBezTo>
                  <a:pt x="1273" y="727"/>
                  <a:pt x="1271" y="729"/>
                  <a:pt x="1269" y="730"/>
                </a:cubicBezTo>
                <a:cubicBezTo>
                  <a:pt x="1268" y="729"/>
                  <a:pt x="1268" y="728"/>
                  <a:pt x="1267" y="727"/>
                </a:cubicBezTo>
                <a:cubicBezTo>
                  <a:pt x="1267" y="727"/>
                  <a:pt x="1266" y="727"/>
                  <a:pt x="1266" y="728"/>
                </a:cubicBezTo>
                <a:close/>
                <a:moveTo>
                  <a:pt x="1271" y="727"/>
                </a:moveTo>
                <a:cubicBezTo>
                  <a:pt x="1271" y="727"/>
                  <a:pt x="1270" y="727"/>
                  <a:pt x="1269" y="727"/>
                </a:cubicBezTo>
                <a:cubicBezTo>
                  <a:pt x="1269" y="727"/>
                  <a:pt x="1268" y="727"/>
                  <a:pt x="1268" y="728"/>
                </a:cubicBezTo>
                <a:cubicBezTo>
                  <a:pt x="1268" y="728"/>
                  <a:pt x="1269" y="728"/>
                  <a:pt x="1269" y="729"/>
                </a:cubicBezTo>
                <a:cubicBezTo>
                  <a:pt x="1270" y="728"/>
                  <a:pt x="1270" y="728"/>
                  <a:pt x="1271" y="727"/>
                </a:cubicBezTo>
                <a:close/>
                <a:moveTo>
                  <a:pt x="1253" y="718"/>
                </a:moveTo>
                <a:cubicBezTo>
                  <a:pt x="1246" y="717"/>
                  <a:pt x="1243" y="719"/>
                  <a:pt x="1242" y="728"/>
                </a:cubicBezTo>
                <a:cubicBezTo>
                  <a:pt x="1243" y="726"/>
                  <a:pt x="1244" y="723"/>
                  <a:pt x="1246" y="721"/>
                </a:cubicBezTo>
                <a:cubicBezTo>
                  <a:pt x="1246" y="721"/>
                  <a:pt x="1246" y="721"/>
                  <a:pt x="1246" y="721"/>
                </a:cubicBezTo>
                <a:cubicBezTo>
                  <a:pt x="1246" y="722"/>
                  <a:pt x="1246" y="723"/>
                  <a:pt x="1246" y="723"/>
                </a:cubicBezTo>
                <a:cubicBezTo>
                  <a:pt x="1248" y="720"/>
                  <a:pt x="1249" y="718"/>
                  <a:pt x="1253" y="718"/>
                </a:cubicBezTo>
                <a:close/>
                <a:moveTo>
                  <a:pt x="1296" y="719"/>
                </a:moveTo>
                <a:cubicBezTo>
                  <a:pt x="1294" y="721"/>
                  <a:pt x="1292" y="722"/>
                  <a:pt x="1291" y="723"/>
                </a:cubicBezTo>
                <a:cubicBezTo>
                  <a:pt x="1293" y="724"/>
                  <a:pt x="1295" y="722"/>
                  <a:pt x="1296" y="719"/>
                </a:cubicBezTo>
                <a:close/>
                <a:moveTo>
                  <a:pt x="1263" y="721"/>
                </a:moveTo>
                <a:cubicBezTo>
                  <a:pt x="1264" y="720"/>
                  <a:pt x="1265" y="719"/>
                  <a:pt x="1267" y="717"/>
                </a:cubicBezTo>
                <a:cubicBezTo>
                  <a:pt x="1263" y="719"/>
                  <a:pt x="1262" y="719"/>
                  <a:pt x="1263" y="721"/>
                </a:cubicBezTo>
                <a:close/>
                <a:moveTo>
                  <a:pt x="1273" y="743"/>
                </a:moveTo>
                <a:cubicBezTo>
                  <a:pt x="1271" y="743"/>
                  <a:pt x="1270" y="744"/>
                  <a:pt x="1270" y="745"/>
                </a:cubicBezTo>
                <a:cubicBezTo>
                  <a:pt x="1271" y="744"/>
                  <a:pt x="1272" y="744"/>
                  <a:pt x="1273" y="743"/>
                </a:cubicBezTo>
                <a:close/>
                <a:moveTo>
                  <a:pt x="1271" y="727"/>
                </a:moveTo>
                <a:cubicBezTo>
                  <a:pt x="1271" y="727"/>
                  <a:pt x="1270" y="727"/>
                  <a:pt x="1270" y="727"/>
                </a:cubicBezTo>
                <a:cubicBezTo>
                  <a:pt x="1269" y="727"/>
                  <a:pt x="1268" y="727"/>
                  <a:pt x="1268" y="728"/>
                </a:cubicBezTo>
                <a:cubicBezTo>
                  <a:pt x="1268" y="728"/>
                  <a:pt x="1269" y="729"/>
                  <a:pt x="1269" y="729"/>
                </a:cubicBezTo>
                <a:cubicBezTo>
                  <a:pt x="1270" y="729"/>
                  <a:pt x="1270" y="728"/>
                  <a:pt x="1271" y="727"/>
                </a:cubicBezTo>
                <a:close/>
                <a:moveTo>
                  <a:pt x="1562" y="705"/>
                </a:moveTo>
                <a:cubicBezTo>
                  <a:pt x="1562" y="705"/>
                  <a:pt x="1562" y="705"/>
                  <a:pt x="1562" y="705"/>
                </a:cubicBezTo>
                <a:cubicBezTo>
                  <a:pt x="1558" y="705"/>
                  <a:pt x="1558" y="705"/>
                  <a:pt x="1558" y="705"/>
                </a:cubicBezTo>
                <a:cubicBezTo>
                  <a:pt x="1556" y="706"/>
                  <a:pt x="1554" y="708"/>
                  <a:pt x="1552" y="709"/>
                </a:cubicBezTo>
                <a:cubicBezTo>
                  <a:pt x="1551" y="710"/>
                  <a:pt x="1549" y="711"/>
                  <a:pt x="1547" y="712"/>
                </a:cubicBezTo>
                <a:cubicBezTo>
                  <a:pt x="1545" y="713"/>
                  <a:pt x="1544" y="714"/>
                  <a:pt x="1541" y="714"/>
                </a:cubicBezTo>
                <a:cubicBezTo>
                  <a:pt x="1540" y="715"/>
                  <a:pt x="1538" y="716"/>
                  <a:pt x="1536" y="716"/>
                </a:cubicBezTo>
                <a:cubicBezTo>
                  <a:pt x="1536" y="716"/>
                  <a:pt x="1536" y="716"/>
                  <a:pt x="1536" y="726"/>
                </a:cubicBezTo>
                <a:cubicBezTo>
                  <a:pt x="1539" y="725"/>
                  <a:pt x="1542" y="725"/>
                  <a:pt x="1544" y="723"/>
                </a:cubicBezTo>
                <a:cubicBezTo>
                  <a:pt x="1546" y="722"/>
                  <a:pt x="1549" y="721"/>
                  <a:pt x="1551" y="720"/>
                </a:cubicBezTo>
                <a:cubicBezTo>
                  <a:pt x="1551" y="720"/>
                  <a:pt x="1551" y="720"/>
                  <a:pt x="1551" y="778"/>
                </a:cubicBezTo>
                <a:cubicBezTo>
                  <a:pt x="1551" y="778"/>
                  <a:pt x="1551" y="778"/>
                  <a:pt x="1562" y="778"/>
                </a:cubicBezTo>
                <a:cubicBezTo>
                  <a:pt x="1562" y="778"/>
                  <a:pt x="1562" y="778"/>
                  <a:pt x="1562" y="705"/>
                </a:cubicBezTo>
                <a:close/>
                <a:moveTo>
                  <a:pt x="1684" y="705"/>
                </a:moveTo>
                <a:cubicBezTo>
                  <a:pt x="1684" y="705"/>
                  <a:pt x="1684" y="705"/>
                  <a:pt x="1684" y="705"/>
                </a:cubicBezTo>
                <a:cubicBezTo>
                  <a:pt x="1679" y="705"/>
                  <a:pt x="1679" y="705"/>
                  <a:pt x="1679" y="705"/>
                </a:cubicBezTo>
                <a:cubicBezTo>
                  <a:pt x="1677" y="706"/>
                  <a:pt x="1675" y="708"/>
                  <a:pt x="1673" y="709"/>
                </a:cubicBezTo>
                <a:cubicBezTo>
                  <a:pt x="1672" y="710"/>
                  <a:pt x="1670" y="711"/>
                  <a:pt x="1668" y="712"/>
                </a:cubicBezTo>
                <a:cubicBezTo>
                  <a:pt x="1667" y="713"/>
                  <a:pt x="1665" y="714"/>
                  <a:pt x="1663" y="714"/>
                </a:cubicBezTo>
                <a:cubicBezTo>
                  <a:pt x="1661" y="715"/>
                  <a:pt x="1659" y="716"/>
                  <a:pt x="1657" y="716"/>
                </a:cubicBezTo>
                <a:cubicBezTo>
                  <a:pt x="1657" y="716"/>
                  <a:pt x="1657" y="716"/>
                  <a:pt x="1657" y="726"/>
                </a:cubicBezTo>
                <a:cubicBezTo>
                  <a:pt x="1660" y="725"/>
                  <a:pt x="1663" y="725"/>
                  <a:pt x="1666" y="723"/>
                </a:cubicBezTo>
                <a:cubicBezTo>
                  <a:pt x="1668" y="722"/>
                  <a:pt x="1670" y="721"/>
                  <a:pt x="1673" y="720"/>
                </a:cubicBezTo>
                <a:cubicBezTo>
                  <a:pt x="1673" y="720"/>
                  <a:pt x="1673" y="720"/>
                  <a:pt x="1673" y="778"/>
                </a:cubicBezTo>
                <a:cubicBezTo>
                  <a:pt x="1673" y="778"/>
                  <a:pt x="1673" y="778"/>
                  <a:pt x="1684" y="778"/>
                </a:cubicBezTo>
                <a:cubicBezTo>
                  <a:pt x="1684" y="778"/>
                  <a:pt x="1684" y="778"/>
                  <a:pt x="1684" y="705"/>
                </a:cubicBezTo>
                <a:close/>
                <a:moveTo>
                  <a:pt x="1731" y="705"/>
                </a:moveTo>
                <a:cubicBezTo>
                  <a:pt x="1731" y="705"/>
                  <a:pt x="1731" y="705"/>
                  <a:pt x="1731" y="705"/>
                </a:cubicBezTo>
                <a:cubicBezTo>
                  <a:pt x="1726" y="705"/>
                  <a:pt x="1726" y="705"/>
                  <a:pt x="1726" y="705"/>
                </a:cubicBezTo>
                <a:cubicBezTo>
                  <a:pt x="1724" y="706"/>
                  <a:pt x="1722" y="708"/>
                  <a:pt x="1720" y="709"/>
                </a:cubicBezTo>
                <a:cubicBezTo>
                  <a:pt x="1719" y="710"/>
                  <a:pt x="1717" y="711"/>
                  <a:pt x="1715" y="712"/>
                </a:cubicBezTo>
                <a:cubicBezTo>
                  <a:pt x="1714" y="713"/>
                  <a:pt x="1712" y="714"/>
                  <a:pt x="1710" y="714"/>
                </a:cubicBezTo>
                <a:cubicBezTo>
                  <a:pt x="1708" y="715"/>
                  <a:pt x="1707" y="716"/>
                  <a:pt x="1704" y="716"/>
                </a:cubicBezTo>
                <a:cubicBezTo>
                  <a:pt x="1704" y="716"/>
                  <a:pt x="1704" y="716"/>
                  <a:pt x="1704" y="726"/>
                </a:cubicBezTo>
                <a:cubicBezTo>
                  <a:pt x="1707" y="725"/>
                  <a:pt x="1710" y="725"/>
                  <a:pt x="1712" y="723"/>
                </a:cubicBezTo>
                <a:cubicBezTo>
                  <a:pt x="1715" y="722"/>
                  <a:pt x="1717" y="721"/>
                  <a:pt x="1720" y="720"/>
                </a:cubicBezTo>
                <a:cubicBezTo>
                  <a:pt x="1720" y="720"/>
                  <a:pt x="1720" y="720"/>
                  <a:pt x="1720" y="778"/>
                </a:cubicBezTo>
                <a:cubicBezTo>
                  <a:pt x="1720" y="778"/>
                  <a:pt x="1720" y="778"/>
                  <a:pt x="1731" y="778"/>
                </a:cubicBezTo>
                <a:cubicBezTo>
                  <a:pt x="1731" y="778"/>
                  <a:pt x="1731" y="778"/>
                  <a:pt x="1731" y="705"/>
                </a:cubicBezTo>
                <a:close/>
                <a:moveTo>
                  <a:pt x="1777" y="705"/>
                </a:moveTo>
                <a:cubicBezTo>
                  <a:pt x="1777" y="705"/>
                  <a:pt x="1777" y="705"/>
                  <a:pt x="1777" y="705"/>
                </a:cubicBezTo>
                <a:cubicBezTo>
                  <a:pt x="1773" y="705"/>
                  <a:pt x="1773" y="705"/>
                  <a:pt x="1773" y="705"/>
                </a:cubicBezTo>
                <a:cubicBezTo>
                  <a:pt x="1771" y="706"/>
                  <a:pt x="1769" y="708"/>
                  <a:pt x="1767" y="709"/>
                </a:cubicBezTo>
                <a:cubicBezTo>
                  <a:pt x="1766" y="710"/>
                  <a:pt x="1763" y="711"/>
                  <a:pt x="1762" y="712"/>
                </a:cubicBezTo>
                <a:cubicBezTo>
                  <a:pt x="1760" y="712"/>
                  <a:pt x="1758" y="713"/>
                  <a:pt x="1756" y="714"/>
                </a:cubicBezTo>
                <a:cubicBezTo>
                  <a:pt x="1755" y="714"/>
                  <a:pt x="1752" y="715"/>
                  <a:pt x="1751" y="716"/>
                </a:cubicBezTo>
                <a:cubicBezTo>
                  <a:pt x="1751" y="716"/>
                  <a:pt x="1751" y="716"/>
                  <a:pt x="1751" y="726"/>
                </a:cubicBezTo>
                <a:cubicBezTo>
                  <a:pt x="1754" y="725"/>
                  <a:pt x="1757" y="724"/>
                  <a:pt x="1759" y="723"/>
                </a:cubicBezTo>
                <a:cubicBezTo>
                  <a:pt x="1761" y="722"/>
                  <a:pt x="1764" y="721"/>
                  <a:pt x="1766" y="720"/>
                </a:cubicBezTo>
                <a:cubicBezTo>
                  <a:pt x="1766" y="720"/>
                  <a:pt x="1766" y="720"/>
                  <a:pt x="1766" y="778"/>
                </a:cubicBezTo>
                <a:cubicBezTo>
                  <a:pt x="1766" y="778"/>
                  <a:pt x="1766" y="778"/>
                  <a:pt x="1777" y="778"/>
                </a:cubicBezTo>
                <a:cubicBezTo>
                  <a:pt x="1777" y="778"/>
                  <a:pt x="1777" y="778"/>
                  <a:pt x="1777" y="705"/>
                </a:cubicBezTo>
                <a:close/>
                <a:moveTo>
                  <a:pt x="1583" y="737"/>
                </a:moveTo>
                <a:cubicBezTo>
                  <a:pt x="1583" y="737"/>
                  <a:pt x="1583" y="737"/>
                  <a:pt x="1583" y="737"/>
                </a:cubicBezTo>
                <a:cubicBezTo>
                  <a:pt x="1582" y="746"/>
                  <a:pt x="1582" y="746"/>
                  <a:pt x="1582" y="746"/>
                </a:cubicBezTo>
                <a:cubicBezTo>
                  <a:pt x="1589" y="746"/>
                  <a:pt x="1589" y="749"/>
                  <a:pt x="1589" y="752"/>
                </a:cubicBezTo>
                <a:cubicBezTo>
                  <a:pt x="1589" y="754"/>
                  <a:pt x="1589" y="756"/>
                  <a:pt x="1589" y="759"/>
                </a:cubicBezTo>
                <a:cubicBezTo>
                  <a:pt x="1589" y="761"/>
                  <a:pt x="1588" y="763"/>
                  <a:pt x="1588" y="766"/>
                </a:cubicBezTo>
                <a:cubicBezTo>
                  <a:pt x="1588" y="775"/>
                  <a:pt x="1594" y="778"/>
                  <a:pt x="1603" y="778"/>
                </a:cubicBezTo>
                <a:cubicBezTo>
                  <a:pt x="1603" y="778"/>
                  <a:pt x="1603" y="778"/>
                  <a:pt x="1606" y="778"/>
                </a:cubicBezTo>
                <a:cubicBezTo>
                  <a:pt x="1606" y="778"/>
                  <a:pt x="1606" y="778"/>
                  <a:pt x="1606" y="769"/>
                </a:cubicBezTo>
                <a:cubicBezTo>
                  <a:pt x="1606" y="769"/>
                  <a:pt x="1606" y="769"/>
                  <a:pt x="1605" y="769"/>
                </a:cubicBezTo>
                <a:cubicBezTo>
                  <a:pt x="1601" y="769"/>
                  <a:pt x="1600" y="767"/>
                  <a:pt x="1600" y="763"/>
                </a:cubicBezTo>
                <a:cubicBezTo>
                  <a:pt x="1600" y="762"/>
                  <a:pt x="1600" y="760"/>
                  <a:pt x="1601" y="759"/>
                </a:cubicBezTo>
                <a:cubicBezTo>
                  <a:pt x="1601" y="757"/>
                  <a:pt x="1601" y="755"/>
                  <a:pt x="1601" y="753"/>
                </a:cubicBezTo>
                <a:cubicBezTo>
                  <a:pt x="1601" y="745"/>
                  <a:pt x="1598" y="743"/>
                  <a:pt x="1592" y="741"/>
                </a:cubicBezTo>
                <a:cubicBezTo>
                  <a:pt x="1592" y="741"/>
                  <a:pt x="1592" y="741"/>
                  <a:pt x="1592" y="741"/>
                </a:cubicBezTo>
                <a:cubicBezTo>
                  <a:pt x="1598" y="740"/>
                  <a:pt x="1601" y="738"/>
                  <a:pt x="1601" y="730"/>
                </a:cubicBezTo>
                <a:cubicBezTo>
                  <a:pt x="1601" y="728"/>
                  <a:pt x="1601" y="726"/>
                  <a:pt x="1601" y="724"/>
                </a:cubicBezTo>
                <a:cubicBezTo>
                  <a:pt x="1600" y="722"/>
                  <a:pt x="1600" y="720"/>
                  <a:pt x="1600" y="719"/>
                </a:cubicBezTo>
                <a:cubicBezTo>
                  <a:pt x="1600" y="716"/>
                  <a:pt x="1601" y="713"/>
                  <a:pt x="1605" y="713"/>
                </a:cubicBezTo>
                <a:cubicBezTo>
                  <a:pt x="1605" y="713"/>
                  <a:pt x="1605" y="713"/>
                  <a:pt x="1606" y="713"/>
                </a:cubicBezTo>
                <a:cubicBezTo>
                  <a:pt x="1606" y="713"/>
                  <a:pt x="1606" y="713"/>
                  <a:pt x="1606" y="704"/>
                </a:cubicBezTo>
                <a:cubicBezTo>
                  <a:pt x="1606" y="704"/>
                  <a:pt x="1606" y="704"/>
                  <a:pt x="1603" y="704"/>
                </a:cubicBezTo>
                <a:cubicBezTo>
                  <a:pt x="1594" y="704"/>
                  <a:pt x="1588" y="708"/>
                  <a:pt x="1588" y="717"/>
                </a:cubicBezTo>
                <a:cubicBezTo>
                  <a:pt x="1588" y="719"/>
                  <a:pt x="1589" y="722"/>
                  <a:pt x="1589" y="724"/>
                </a:cubicBezTo>
                <a:cubicBezTo>
                  <a:pt x="1589" y="726"/>
                  <a:pt x="1589" y="729"/>
                  <a:pt x="1589" y="731"/>
                </a:cubicBezTo>
                <a:cubicBezTo>
                  <a:pt x="1589" y="734"/>
                  <a:pt x="1589" y="737"/>
                  <a:pt x="1583" y="737"/>
                </a:cubicBezTo>
                <a:close/>
                <a:moveTo>
                  <a:pt x="1637" y="746"/>
                </a:moveTo>
                <a:cubicBezTo>
                  <a:pt x="1637" y="746"/>
                  <a:pt x="1637" y="746"/>
                  <a:pt x="1637" y="746"/>
                </a:cubicBezTo>
                <a:cubicBezTo>
                  <a:pt x="1637" y="737"/>
                  <a:pt x="1637" y="737"/>
                  <a:pt x="1637" y="737"/>
                </a:cubicBezTo>
                <a:cubicBezTo>
                  <a:pt x="1631" y="737"/>
                  <a:pt x="1630" y="734"/>
                  <a:pt x="1630" y="731"/>
                </a:cubicBezTo>
                <a:cubicBezTo>
                  <a:pt x="1630" y="729"/>
                  <a:pt x="1630" y="726"/>
                  <a:pt x="1631" y="724"/>
                </a:cubicBezTo>
                <a:cubicBezTo>
                  <a:pt x="1631" y="722"/>
                  <a:pt x="1631" y="719"/>
                  <a:pt x="1631" y="717"/>
                </a:cubicBezTo>
                <a:cubicBezTo>
                  <a:pt x="1631" y="708"/>
                  <a:pt x="1626" y="704"/>
                  <a:pt x="1617" y="704"/>
                </a:cubicBezTo>
                <a:cubicBezTo>
                  <a:pt x="1617" y="704"/>
                  <a:pt x="1617" y="704"/>
                  <a:pt x="1613" y="704"/>
                </a:cubicBezTo>
                <a:cubicBezTo>
                  <a:pt x="1613" y="704"/>
                  <a:pt x="1613" y="704"/>
                  <a:pt x="1613" y="713"/>
                </a:cubicBezTo>
                <a:cubicBezTo>
                  <a:pt x="1613" y="713"/>
                  <a:pt x="1613" y="713"/>
                  <a:pt x="1615" y="713"/>
                </a:cubicBezTo>
                <a:cubicBezTo>
                  <a:pt x="1618" y="713"/>
                  <a:pt x="1620" y="716"/>
                  <a:pt x="1620" y="719"/>
                </a:cubicBezTo>
                <a:cubicBezTo>
                  <a:pt x="1620" y="720"/>
                  <a:pt x="1619" y="722"/>
                  <a:pt x="1619" y="724"/>
                </a:cubicBezTo>
                <a:cubicBezTo>
                  <a:pt x="1619" y="726"/>
                  <a:pt x="1619" y="728"/>
                  <a:pt x="1619" y="730"/>
                </a:cubicBezTo>
                <a:cubicBezTo>
                  <a:pt x="1619" y="738"/>
                  <a:pt x="1622" y="740"/>
                  <a:pt x="1628" y="741"/>
                </a:cubicBezTo>
                <a:cubicBezTo>
                  <a:pt x="1628" y="741"/>
                  <a:pt x="1628" y="741"/>
                  <a:pt x="1628" y="741"/>
                </a:cubicBezTo>
                <a:cubicBezTo>
                  <a:pt x="1622" y="743"/>
                  <a:pt x="1619" y="745"/>
                  <a:pt x="1619" y="753"/>
                </a:cubicBezTo>
                <a:cubicBezTo>
                  <a:pt x="1619" y="755"/>
                  <a:pt x="1619" y="757"/>
                  <a:pt x="1619" y="759"/>
                </a:cubicBezTo>
                <a:cubicBezTo>
                  <a:pt x="1619" y="760"/>
                  <a:pt x="1620" y="762"/>
                  <a:pt x="1620" y="763"/>
                </a:cubicBezTo>
                <a:cubicBezTo>
                  <a:pt x="1620" y="767"/>
                  <a:pt x="1619" y="769"/>
                  <a:pt x="1615" y="769"/>
                </a:cubicBezTo>
                <a:cubicBezTo>
                  <a:pt x="1615" y="769"/>
                  <a:pt x="1615" y="769"/>
                  <a:pt x="1613" y="769"/>
                </a:cubicBezTo>
                <a:cubicBezTo>
                  <a:pt x="1613" y="769"/>
                  <a:pt x="1613" y="769"/>
                  <a:pt x="1613" y="778"/>
                </a:cubicBezTo>
                <a:cubicBezTo>
                  <a:pt x="1613" y="778"/>
                  <a:pt x="1613" y="778"/>
                  <a:pt x="1617" y="778"/>
                </a:cubicBezTo>
                <a:cubicBezTo>
                  <a:pt x="1626" y="778"/>
                  <a:pt x="1631" y="775"/>
                  <a:pt x="1631" y="766"/>
                </a:cubicBezTo>
                <a:cubicBezTo>
                  <a:pt x="1631" y="763"/>
                  <a:pt x="1631" y="761"/>
                  <a:pt x="1631" y="759"/>
                </a:cubicBezTo>
                <a:cubicBezTo>
                  <a:pt x="1630" y="756"/>
                  <a:pt x="1630" y="754"/>
                  <a:pt x="1630" y="752"/>
                </a:cubicBezTo>
                <a:cubicBezTo>
                  <a:pt x="1630" y="749"/>
                  <a:pt x="1631" y="746"/>
                  <a:pt x="1637" y="746"/>
                </a:cubicBezTo>
                <a:close/>
                <a:moveTo>
                  <a:pt x="1821" y="778"/>
                </a:moveTo>
                <a:cubicBezTo>
                  <a:pt x="1814" y="778"/>
                  <a:pt x="1807" y="776"/>
                  <a:pt x="1803" y="770"/>
                </a:cubicBezTo>
                <a:cubicBezTo>
                  <a:pt x="1799" y="763"/>
                  <a:pt x="1797" y="754"/>
                  <a:pt x="1797" y="742"/>
                </a:cubicBezTo>
                <a:cubicBezTo>
                  <a:pt x="1797" y="729"/>
                  <a:pt x="1799" y="719"/>
                  <a:pt x="1804" y="713"/>
                </a:cubicBezTo>
                <a:cubicBezTo>
                  <a:pt x="1808" y="706"/>
                  <a:pt x="1815" y="703"/>
                  <a:pt x="1823" y="703"/>
                </a:cubicBezTo>
                <a:cubicBezTo>
                  <a:pt x="1839" y="703"/>
                  <a:pt x="1847" y="715"/>
                  <a:pt x="1847" y="741"/>
                </a:cubicBezTo>
                <a:cubicBezTo>
                  <a:pt x="1847" y="753"/>
                  <a:pt x="1845" y="762"/>
                  <a:pt x="1840" y="769"/>
                </a:cubicBezTo>
                <a:cubicBezTo>
                  <a:pt x="1836" y="776"/>
                  <a:pt x="1829" y="778"/>
                  <a:pt x="1821" y="778"/>
                </a:cubicBezTo>
                <a:close/>
                <a:moveTo>
                  <a:pt x="1823" y="712"/>
                </a:moveTo>
                <a:cubicBezTo>
                  <a:pt x="1813" y="712"/>
                  <a:pt x="1809" y="722"/>
                  <a:pt x="1809" y="742"/>
                </a:cubicBezTo>
                <a:cubicBezTo>
                  <a:pt x="1809" y="760"/>
                  <a:pt x="1813" y="769"/>
                  <a:pt x="1822" y="769"/>
                </a:cubicBezTo>
                <a:cubicBezTo>
                  <a:pt x="1831" y="769"/>
                  <a:pt x="1835" y="760"/>
                  <a:pt x="1835" y="741"/>
                </a:cubicBezTo>
                <a:cubicBezTo>
                  <a:pt x="1835" y="722"/>
                  <a:pt x="1831" y="712"/>
                  <a:pt x="1823" y="712"/>
                </a:cubicBezTo>
                <a:close/>
                <a:moveTo>
                  <a:pt x="1891" y="778"/>
                </a:moveTo>
                <a:cubicBezTo>
                  <a:pt x="1884" y="778"/>
                  <a:pt x="1877" y="776"/>
                  <a:pt x="1874" y="770"/>
                </a:cubicBezTo>
                <a:cubicBezTo>
                  <a:pt x="1869" y="763"/>
                  <a:pt x="1867" y="754"/>
                  <a:pt x="1867" y="742"/>
                </a:cubicBezTo>
                <a:cubicBezTo>
                  <a:pt x="1867" y="729"/>
                  <a:pt x="1869" y="719"/>
                  <a:pt x="1874" y="713"/>
                </a:cubicBezTo>
                <a:cubicBezTo>
                  <a:pt x="1878" y="706"/>
                  <a:pt x="1885" y="703"/>
                  <a:pt x="1894" y="703"/>
                </a:cubicBezTo>
                <a:cubicBezTo>
                  <a:pt x="1910" y="703"/>
                  <a:pt x="1918" y="715"/>
                  <a:pt x="1918" y="741"/>
                </a:cubicBezTo>
                <a:cubicBezTo>
                  <a:pt x="1918" y="753"/>
                  <a:pt x="1916" y="762"/>
                  <a:pt x="1911" y="769"/>
                </a:cubicBezTo>
                <a:cubicBezTo>
                  <a:pt x="1906" y="776"/>
                  <a:pt x="1900" y="778"/>
                  <a:pt x="1891" y="778"/>
                </a:cubicBezTo>
                <a:close/>
                <a:moveTo>
                  <a:pt x="1893" y="712"/>
                </a:moveTo>
                <a:cubicBezTo>
                  <a:pt x="1884" y="712"/>
                  <a:pt x="1879" y="722"/>
                  <a:pt x="1879" y="742"/>
                </a:cubicBezTo>
                <a:cubicBezTo>
                  <a:pt x="1879" y="760"/>
                  <a:pt x="1883" y="769"/>
                  <a:pt x="1892" y="769"/>
                </a:cubicBezTo>
                <a:cubicBezTo>
                  <a:pt x="1901" y="769"/>
                  <a:pt x="1905" y="760"/>
                  <a:pt x="1905" y="741"/>
                </a:cubicBezTo>
                <a:cubicBezTo>
                  <a:pt x="1905" y="722"/>
                  <a:pt x="1901" y="712"/>
                  <a:pt x="1893" y="712"/>
                </a:cubicBezTo>
                <a:close/>
                <a:moveTo>
                  <a:pt x="37" y="801"/>
                </a:moveTo>
                <a:cubicBezTo>
                  <a:pt x="37" y="801"/>
                  <a:pt x="37" y="801"/>
                  <a:pt x="37" y="801"/>
                </a:cubicBezTo>
                <a:cubicBezTo>
                  <a:pt x="32" y="801"/>
                  <a:pt x="32" y="801"/>
                  <a:pt x="32" y="801"/>
                </a:cubicBezTo>
                <a:cubicBezTo>
                  <a:pt x="29" y="802"/>
                  <a:pt x="28" y="804"/>
                  <a:pt x="26" y="805"/>
                </a:cubicBezTo>
                <a:cubicBezTo>
                  <a:pt x="24" y="806"/>
                  <a:pt x="23" y="807"/>
                  <a:pt x="21" y="808"/>
                </a:cubicBezTo>
                <a:cubicBezTo>
                  <a:pt x="19" y="809"/>
                  <a:pt x="17" y="810"/>
                  <a:pt x="15" y="810"/>
                </a:cubicBezTo>
                <a:cubicBezTo>
                  <a:pt x="13" y="811"/>
                  <a:pt x="12" y="812"/>
                  <a:pt x="9" y="812"/>
                </a:cubicBezTo>
                <a:cubicBezTo>
                  <a:pt x="9" y="812"/>
                  <a:pt x="9" y="812"/>
                  <a:pt x="9" y="822"/>
                </a:cubicBezTo>
                <a:cubicBezTo>
                  <a:pt x="12" y="821"/>
                  <a:pt x="15" y="821"/>
                  <a:pt x="18" y="819"/>
                </a:cubicBezTo>
                <a:cubicBezTo>
                  <a:pt x="21" y="818"/>
                  <a:pt x="23" y="817"/>
                  <a:pt x="25" y="816"/>
                </a:cubicBezTo>
                <a:cubicBezTo>
                  <a:pt x="25" y="816"/>
                  <a:pt x="25" y="816"/>
                  <a:pt x="25" y="874"/>
                </a:cubicBezTo>
                <a:cubicBezTo>
                  <a:pt x="25" y="874"/>
                  <a:pt x="25" y="874"/>
                  <a:pt x="37" y="874"/>
                </a:cubicBezTo>
                <a:cubicBezTo>
                  <a:pt x="37" y="874"/>
                  <a:pt x="37" y="874"/>
                  <a:pt x="37" y="801"/>
                </a:cubicBezTo>
                <a:close/>
                <a:moveTo>
                  <a:pt x="84" y="801"/>
                </a:moveTo>
                <a:cubicBezTo>
                  <a:pt x="84" y="801"/>
                  <a:pt x="84" y="801"/>
                  <a:pt x="84" y="801"/>
                </a:cubicBezTo>
                <a:cubicBezTo>
                  <a:pt x="79" y="801"/>
                  <a:pt x="79" y="801"/>
                  <a:pt x="79" y="801"/>
                </a:cubicBezTo>
                <a:cubicBezTo>
                  <a:pt x="77" y="802"/>
                  <a:pt x="76" y="804"/>
                  <a:pt x="73" y="805"/>
                </a:cubicBezTo>
                <a:cubicBezTo>
                  <a:pt x="72" y="806"/>
                  <a:pt x="70" y="807"/>
                  <a:pt x="68" y="808"/>
                </a:cubicBezTo>
                <a:cubicBezTo>
                  <a:pt x="67" y="809"/>
                  <a:pt x="65" y="810"/>
                  <a:pt x="63" y="810"/>
                </a:cubicBezTo>
                <a:cubicBezTo>
                  <a:pt x="61" y="811"/>
                  <a:pt x="60" y="812"/>
                  <a:pt x="57" y="812"/>
                </a:cubicBezTo>
                <a:cubicBezTo>
                  <a:pt x="57" y="812"/>
                  <a:pt x="57" y="812"/>
                  <a:pt x="57" y="822"/>
                </a:cubicBezTo>
                <a:cubicBezTo>
                  <a:pt x="60" y="821"/>
                  <a:pt x="63" y="821"/>
                  <a:pt x="65" y="819"/>
                </a:cubicBezTo>
                <a:cubicBezTo>
                  <a:pt x="68" y="818"/>
                  <a:pt x="71" y="817"/>
                  <a:pt x="73" y="816"/>
                </a:cubicBezTo>
                <a:cubicBezTo>
                  <a:pt x="73" y="816"/>
                  <a:pt x="73" y="816"/>
                  <a:pt x="73" y="874"/>
                </a:cubicBezTo>
                <a:cubicBezTo>
                  <a:pt x="73" y="874"/>
                  <a:pt x="73" y="874"/>
                  <a:pt x="84" y="874"/>
                </a:cubicBezTo>
                <a:cubicBezTo>
                  <a:pt x="84" y="874"/>
                  <a:pt x="84" y="874"/>
                  <a:pt x="84" y="801"/>
                </a:cubicBezTo>
                <a:close/>
                <a:moveTo>
                  <a:pt x="131" y="801"/>
                </a:moveTo>
                <a:cubicBezTo>
                  <a:pt x="131" y="801"/>
                  <a:pt x="131" y="801"/>
                  <a:pt x="131" y="801"/>
                </a:cubicBezTo>
                <a:cubicBezTo>
                  <a:pt x="127" y="801"/>
                  <a:pt x="127" y="801"/>
                  <a:pt x="127" y="801"/>
                </a:cubicBezTo>
                <a:cubicBezTo>
                  <a:pt x="124" y="802"/>
                  <a:pt x="123" y="804"/>
                  <a:pt x="121" y="805"/>
                </a:cubicBezTo>
                <a:cubicBezTo>
                  <a:pt x="119" y="806"/>
                  <a:pt x="117" y="807"/>
                  <a:pt x="116" y="808"/>
                </a:cubicBezTo>
                <a:cubicBezTo>
                  <a:pt x="114" y="808"/>
                  <a:pt x="112" y="809"/>
                  <a:pt x="110" y="810"/>
                </a:cubicBezTo>
                <a:cubicBezTo>
                  <a:pt x="109" y="810"/>
                  <a:pt x="106" y="811"/>
                  <a:pt x="105" y="812"/>
                </a:cubicBezTo>
                <a:cubicBezTo>
                  <a:pt x="105" y="812"/>
                  <a:pt x="105" y="812"/>
                  <a:pt x="105" y="822"/>
                </a:cubicBezTo>
                <a:cubicBezTo>
                  <a:pt x="108" y="821"/>
                  <a:pt x="111" y="820"/>
                  <a:pt x="113" y="819"/>
                </a:cubicBezTo>
                <a:cubicBezTo>
                  <a:pt x="115" y="818"/>
                  <a:pt x="118" y="817"/>
                  <a:pt x="119" y="816"/>
                </a:cubicBezTo>
                <a:cubicBezTo>
                  <a:pt x="119" y="816"/>
                  <a:pt x="119" y="816"/>
                  <a:pt x="119" y="874"/>
                </a:cubicBezTo>
                <a:cubicBezTo>
                  <a:pt x="119" y="874"/>
                  <a:pt x="119" y="874"/>
                  <a:pt x="131" y="874"/>
                </a:cubicBezTo>
                <a:cubicBezTo>
                  <a:pt x="131" y="874"/>
                  <a:pt x="131" y="874"/>
                  <a:pt x="131" y="801"/>
                </a:cubicBezTo>
                <a:close/>
                <a:moveTo>
                  <a:pt x="176" y="874"/>
                </a:moveTo>
                <a:cubicBezTo>
                  <a:pt x="168" y="874"/>
                  <a:pt x="162" y="872"/>
                  <a:pt x="157" y="866"/>
                </a:cubicBezTo>
                <a:cubicBezTo>
                  <a:pt x="154" y="859"/>
                  <a:pt x="152" y="850"/>
                  <a:pt x="152" y="838"/>
                </a:cubicBezTo>
                <a:cubicBezTo>
                  <a:pt x="152" y="825"/>
                  <a:pt x="154" y="815"/>
                  <a:pt x="158" y="808"/>
                </a:cubicBezTo>
                <a:cubicBezTo>
                  <a:pt x="162" y="802"/>
                  <a:pt x="169" y="798"/>
                  <a:pt x="178" y="798"/>
                </a:cubicBezTo>
                <a:cubicBezTo>
                  <a:pt x="194" y="798"/>
                  <a:pt x="202" y="811"/>
                  <a:pt x="202" y="836"/>
                </a:cubicBezTo>
                <a:cubicBezTo>
                  <a:pt x="202" y="849"/>
                  <a:pt x="200" y="858"/>
                  <a:pt x="195" y="865"/>
                </a:cubicBezTo>
                <a:cubicBezTo>
                  <a:pt x="190" y="872"/>
                  <a:pt x="184" y="874"/>
                  <a:pt x="176" y="874"/>
                </a:cubicBezTo>
                <a:close/>
                <a:moveTo>
                  <a:pt x="177" y="808"/>
                </a:moveTo>
                <a:cubicBezTo>
                  <a:pt x="168" y="808"/>
                  <a:pt x="163" y="818"/>
                  <a:pt x="163" y="838"/>
                </a:cubicBezTo>
                <a:cubicBezTo>
                  <a:pt x="163" y="856"/>
                  <a:pt x="168" y="865"/>
                  <a:pt x="176" y="865"/>
                </a:cubicBezTo>
                <a:cubicBezTo>
                  <a:pt x="185" y="865"/>
                  <a:pt x="190" y="856"/>
                  <a:pt x="190" y="837"/>
                </a:cubicBezTo>
                <a:cubicBezTo>
                  <a:pt x="190" y="817"/>
                  <a:pt x="185" y="808"/>
                  <a:pt x="177" y="808"/>
                </a:cubicBezTo>
                <a:close/>
                <a:moveTo>
                  <a:pt x="247" y="874"/>
                </a:moveTo>
                <a:cubicBezTo>
                  <a:pt x="239" y="874"/>
                  <a:pt x="233" y="872"/>
                  <a:pt x="229" y="866"/>
                </a:cubicBezTo>
                <a:cubicBezTo>
                  <a:pt x="225" y="859"/>
                  <a:pt x="223" y="850"/>
                  <a:pt x="223" y="838"/>
                </a:cubicBezTo>
                <a:cubicBezTo>
                  <a:pt x="223" y="825"/>
                  <a:pt x="225" y="815"/>
                  <a:pt x="229" y="808"/>
                </a:cubicBezTo>
                <a:cubicBezTo>
                  <a:pt x="234" y="802"/>
                  <a:pt x="240" y="798"/>
                  <a:pt x="249" y="798"/>
                </a:cubicBezTo>
                <a:cubicBezTo>
                  <a:pt x="265" y="798"/>
                  <a:pt x="273" y="811"/>
                  <a:pt x="273" y="836"/>
                </a:cubicBezTo>
                <a:cubicBezTo>
                  <a:pt x="273" y="849"/>
                  <a:pt x="271" y="858"/>
                  <a:pt x="266" y="865"/>
                </a:cubicBezTo>
                <a:cubicBezTo>
                  <a:pt x="261" y="872"/>
                  <a:pt x="255" y="874"/>
                  <a:pt x="247" y="874"/>
                </a:cubicBezTo>
                <a:close/>
                <a:moveTo>
                  <a:pt x="248" y="808"/>
                </a:moveTo>
                <a:cubicBezTo>
                  <a:pt x="239" y="808"/>
                  <a:pt x="234" y="818"/>
                  <a:pt x="234" y="838"/>
                </a:cubicBezTo>
                <a:cubicBezTo>
                  <a:pt x="234" y="856"/>
                  <a:pt x="239" y="865"/>
                  <a:pt x="247" y="865"/>
                </a:cubicBezTo>
                <a:cubicBezTo>
                  <a:pt x="256" y="865"/>
                  <a:pt x="261" y="856"/>
                  <a:pt x="261" y="837"/>
                </a:cubicBezTo>
                <a:cubicBezTo>
                  <a:pt x="261" y="817"/>
                  <a:pt x="256" y="808"/>
                  <a:pt x="248" y="808"/>
                </a:cubicBezTo>
                <a:close/>
                <a:moveTo>
                  <a:pt x="459" y="874"/>
                </a:moveTo>
                <a:cubicBezTo>
                  <a:pt x="452" y="874"/>
                  <a:pt x="446" y="872"/>
                  <a:pt x="442" y="865"/>
                </a:cubicBezTo>
                <a:cubicBezTo>
                  <a:pt x="437" y="859"/>
                  <a:pt x="435" y="849"/>
                  <a:pt x="435" y="838"/>
                </a:cubicBezTo>
                <a:cubicBezTo>
                  <a:pt x="435" y="825"/>
                  <a:pt x="437" y="815"/>
                  <a:pt x="442" y="808"/>
                </a:cubicBezTo>
                <a:cubicBezTo>
                  <a:pt x="446" y="801"/>
                  <a:pt x="453" y="798"/>
                  <a:pt x="462" y="798"/>
                </a:cubicBezTo>
                <a:cubicBezTo>
                  <a:pt x="478" y="798"/>
                  <a:pt x="486" y="811"/>
                  <a:pt x="486" y="836"/>
                </a:cubicBezTo>
                <a:cubicBezTo>
                  <a:pt x="486" y="849"/>
                  <a:pt x="483" y="858"/>
                  <a:pt x="479" y="865"/>
                </a:cubicBezTo>
                <a:cubicBezTo>
                  <a:pt x="474" y="872"/>
                  <a:pt x="468" y="874"/>
                  <a:pt x="459" y="874"/>
                </a:cubicBezTo>
                <a:close/>
                <a:moveTo>
                  <a:pt x="461" y="808"/>
                </a:moveTo>
                <a:cubicBezTo>
                  <a:pt x="452" y="808"/>
                  <a:pt x="448" y="817"/>
                  <a:pt x="448" y="837"/>
                </a:cubicBezTo>
                <a:cubicBezTo>
                  <a:pt x="448" y="855"/>
                  <a:pt x="452" y="865"/>
                  <a:pt x="461" y="865"/>
                </a:cubicBezTo>
                <a:cubicBezTo>
                  <a:pt x="469" y="865"/>
                  <a:pt x="473" y="855"/>
                  <a:pt x="473" y="837"/>
                </a:cubicBezTo>
                <a:cubicBezTo>
                  <a:pt x="473" y="817"/>
                  <a:pt x="470" y="808"/>
                  <a:pt x="461" y="808"/>
                </a:cubicBezTo>
                <a:close/>
                <a:moveTo>
                  <a:pt x="577" y="874"/>
                </a:moveTo>
                <a:cubicBezTo>
                  <a:pt x="570" y="874"/>
                  <a:pt x="564" y="872"/>
                  <a:pt x="560" y="865"/>
                </a:cubicBezTo>
                <a:cubicBezTo>
                  <a:pt x="555" y="859"/>
                  <a:pt x="553" y="849"/>
                  <a:pt x="553" y="838"/>
                </a:cubicBezTo>
                <a:cubicBezTo>
                  <a:pt x="553" y="825"/>
                  <a:pt x="555" y="815"/>
                  <a:pt x="560" y="808"/>
                </a:cubicBezTo>
                <a:cubicBezTo>
                  <a:pt x="564" y="801"/>
                  <a:pt x="571" y="798"/>
                  <a:pt x="580" y="798"/>
                </a:cubicBezTo>
                <a:cubicBezTo>
                  <a:pt x="596" y="798"/>
                  <a:pt x="604" y="811"/>
                  <a:pt x="604" y="836"/>
                </a:cubicBezTo>
                <a:cubicBezTo>
                  <a:pt x="604" y="849"/>
                  <a:pt x="602" y="858"/>
                  <a:pt x="597" y="865"/>
                </a:cubicBezTo>
                <a:cubicBezTo>
                  <a:pt x="592" y="872"/>
                  <a:pt x="586" y="874"/>
                  <a:pt x="577" y="874"/>
                </a:cubicBezTo>
                <a:close/>
                <a:moveTo>
                  <a:pt x="579" y="808"/>
                </a:moveTo>
                <a:cubicBezTo>
                  <a:pt x="570" y="808"/>
                  <a:pt x="566" y="817"/>
                  <a:pt x="566" y="837"/>
                </a:cubicBezTo>
                <a:cubicBezTo>
                  <a:pt x="566" y="855"/>
                  <a:pt x="570" y="865"/>
                  <a:pt x="579" y="865"/>
                </a:cubicBezTo>
                <a:cubicBezTo>
                  <a:pt x="587" y="865"/>
                  <a:pt x="591" y="855"/>
                  <a:pt x="591" y="837"/>
                </a:cubicBezTo>
                <a:cubicBezTo>
                  <a:pt x="591" y="817"/>
                  <a:pt x="588" y="808"/>
                  <a:pt x="579" y="808"/>
                </a:cubicBezTo>
                <a:close/>
                <a:moveTo>
                  <a:pt x="533" y="801"/>
                </a:moveTo>
                <a:cubicBezTo>
                  <a:pt x="533" y="801"/>
                  <a:pt x="533" y="801"/>
                  <a:pt x="533" y="801"/>
                </a:cubicBezTo>
                <a:cubicBezTo>
                  <a:pt x="528" y="801"/>
                  <a:pt x="528" y="801"/>
                  <a:pt x="528" y="801"/>
                </a:cubicBezTo>
                <a:cubicBezTo>
                  <a:pt x="526" y="802"/>
                  <a:pt x="524" y="804"/>
                  <a:pt x="522" y="805"/>
                </a:cubicBezTo>
                <a:cubicBezTo>
                  <a:pt x="521" y="806"/>
                  <a:pt x="518" y="807"/>
                  <a:pt x="517" y="808"/>
                </a:cubicBezTo>
                <a:cubicBezTo>
                  <a:pt x="516" y="808"/>
                  <a:pt x="513" y="809"/>
                  <a:pt x="512" y="810"/>
                </a:cubicBezTo>
                <a:cubicBezTo>
                  <a:pt x="510" y="810"/>
                  <a:pt x="508" y="811"/>
                  <a:pt x="506" y="812"/>
                </a:cubicBezTo>
                <a:cubicBezTo>
                  <a:pt x="506" y="812"/>
                  <a:pt x="506" y="812"/>
                  <a:pt x="506" y="822"/>
                </a:cubicBezTo>
                <a:cubicBezTo>
                  <a:pt x="509" y="821"/>
                  <a:pt x="512" y="820"/>
                  <a:pt x="514" y="819"/>
                </a:cubicBezTo>
                <a:cubicBezTo>
                  <a:pt x="517" y="818"/>
                  <a:pt x="519" y="817"/>
                  <a:pt x="521" y="816"/>
                </a:cubicBezTo>
                <a:cubicBezTo>
                  <a:pt x="521" y="816"/>
                  <a:pt x="521" y="816"/>
                  <a:pt x="521" y="874"/>
                </a:cubicBezTo>
                <a:cubicBezTo>
                  <a:pt x="521" y="874"/>
                  <a:pt x="521" y="874"/>
                  <a:pt x="533" y="874"/>
                </a:cubicBezTo>
                <a:cubicBezTo>
                  <a:pt x="533" y="874"/>
                  <a:pt x="533" y="874"/>
                  <a:pt x="533" y="801"/>
                </a:cubicBezTo>
                <a:close/>
                <a:moveTo>
                  <a:pt x="648" y="874"/>
                </a:moveTo>
                <a:cubicBezTo>
                  <a:pt x="641" y="874"/>
                  <a:pt x="635" y="872"/>
                  <a:pt x="631" y="866"/>
                </a:cubicBezTo>
                <a:cubicBezTo>
                  <a:pt x="627" y="859"/>
                  <a:pt x="624" y="850"/>
                  <a:pt x="624" y="838"/>
                </a:cubicBezTo>
                <a:cubicBezTo>
                  <a:pt x="624" y="825"/>
                  <a:pt x="627" y="815"/>
                  <a:pt x="631" y="808"/>
                </a:cubicBezTo>
                <a:cubicBezTo>
                  <a:pt x="635" y="802"/>
                  <a:pt x="642" y="798"/>
                  <a:pt x="651" y="798"/>
                </a:cubicBezTo>
                <a:cubicBezTo>
                  <a:pt x="667" y="798"/>
                  <a:pt x="675" y="811"/>
                  <a:pt x="675" y="836"/>
                </a:cubicBezTo>
                <a:cubicBezTo>
                  <a:pt x="675" y="849"/>
                  <a:pt x="673" y="858"/>
                  <a:pt x="668" y="865"/>
                </a:cubicBezTo>
                <a:cubicBezTo>
                  <a:pt x="663" y="872"/>
                  <a:pt x="657" y="874"/>
                  <a:pt x="648" y="874"/>
                </a:cubicBezTo>
                <a:close/>
                <a:moveTo>
                  <a:pt x="650" y="808"/>
                </a:moveTo>
                <a:cubicBezTo>
                  <a:pt x="641" y="808"/>
                  <a:pt x="636" y="818"/>
                  <a:pt x="636" y="838"/>
                </a:cubicBezTo>
                <a:cubicBezTo>
                  <a:pt x="636" y="856"/>
                  <a:pt x="640" y="865"/>
                  <a:pt x="649" y="865"/>
                </a:cubicBezTo>
                <a:cubicBezTo>
                  <a:pt x="658" y="865"/>
                  <a:pt x="662" y="856"/>
                  <a:pt x="662" y="837"/>
                </a:cubicBezTo>
                <a:cubicBezTo>
                  <a:pt x="662" y="817"/>
                  <a:pt x="658" y="808"/>
                  <a:pt x="650" y="808"/>
                </a:cubicBezTo>
                <a:close/>
                <a:moveTo>
                  <a:pt x="696" y="833"/>
                </a:moveTo>
                <a:cubicBezTo>
                  <a:pt x="696" y="833"/>
                  <a:pt x="696" y="833"/>
                  <a:pt x="696" y="833"/>
                </a:cubicBezTo>
                <a:cubicBezTo>
                  <a:pt x="695" y="842"/>
                  <a:pt x="695" y="842"/>
                  <a:pt x="695" y="842"/>
                </a:cubicBezTo>
                <a:cubicBezTo>
                  <a:pt x="702" y="842"/>
                  <a:pt x="702" y="845"/>
                  <a:pt x="702" y="848"/>
                </a:cubicBezTo>
                <a:cubicBezTo>
                  <a:pt x="702" y="850"/>
                  <a:pt x="702" y="852"/>
                  <a:pt x="702" y="855"/>
                </a:cubicBezTo>
                <a:cubicBezTo>
                  <a:pt x="702" y="857"/>
                  <a:pt x="701" y="859"/>
                  <a:pt x="701" y="862"/>
                </a:cubicBezTo>
                <a:cubicBezTo>
                  <a:pt x="701" y="871"/>
                  <a:pt x="707" y="874"/>
                  <a:pt x="716" y="874"/>
                </a:cubicBezTo>
                <a:cubicBezTo>
                  <a:pt x="716" y="874"/>
                  <a:pt x="716" y="874"/>
                  <a:pt x="719" y="874"/>
                </a:cubicBezTo>
                <a:cubicBezTo>
                  <a:pt x="719" y="874"/>
                  <a:pt x="719" y="874"/>
                  <a:pt x="719" y="865"/>
                </a:cubicBezTo>
                <a:cubicBezTo>
                  <a:pt x="719" y="865"/>
                  <a:pt x="719" y="865"/>
                  <a:pt x="718" y="865"/>
                </a:cubicBezTo>
                <a:cubicBezTo>
                  <a:pt x="714" y="865"/>
                  <a:pt x="713" y="863"/>
                  <a:pt x="713" y="859"/>
                </a:cubicBezTo>
                <a:cubicBezTo>
                  <a:pt x="713" y="858"/>
                  <a:pt x="713" y="856"/>
                  <a:pt x="713" y="855"/>
                </a:cubicBezTo>
                <a:cubicBezTo>
                  <a:pt x="713" y="853"/>
                  <a:pt x="714" y="851"/>
                  <a:pt x="714" y="849"/>
                </a:cubicBezTo>
                <a:cubicBezTo>
                  <a:pt x="714" y="841"/>
                  <a:pt x="711" y="839"/>
                  <a:pt x="705" y="837"/>
                </a:cubicBezTo>
                <a:cubicBezTo>
                  <a:pt x="705" y="837"/>
                  <a:pt x="705" y="837"/>
                  <a:pt x="705" y="837"/>
                </a:cubicBezTo>
                <a:cubicBezTo>
                  <a:pt x="711" y="836"/>
                  <a:pt x="714" y="834"/>
                  <a:pt x="714" y="826"/>
                </a:cubicBezTo>
                <a:cubicBezTo>
                  <a:pt x="714" y="824"/>
                  <a:pt x="713" y="822"/>
                  <a:pt x="713" y="820"/>
                </a:cubicBezTo>
                <a:cubicBezTo>
                  <a:pt x="713" y="818"/>
                  <a:pt x="713" y="816"/>
                  <a:pt x="713" y="815"/>
                </a:cubicBezTo>
                <a:cubicBezTo>
                  <a:pt x="713" y="812"/>
                  <a:pt x="714" y="809"/>
                  <a:pt x="718" y="809"/>
                </a:cubicBezTo>
                <a:cubicBezTo>
                  <a:pt x="718" y="809"/>
                  <a:pt x="718" y="809"/>
                  <a:pt x="719" y="809"/>
                </a:cubicBezTo>
                <a:cubicBezTo>
                  <a:pt x="719" y="809"/>
                  <a:pt x="719" y="809"/>
                  <a:pt x="719" y="800"/>
                </a:cubicBezTo>
                <a:cubicBezTo>
                  <a:pt x="719" y="800"/>
                  <a:pt x="719" y="800"/>
                  <a:pt x="716" y="800"/>
                </a:cubicBezTo>
                <a:cubicBezTo>
                  <a:pt x="707" y="800"/>
                  <a:pt x="701" y="804"/>
                  <a:pt x="701" y="813"/>
                </a:cubicBezTo>
                <a:cubicBezTo>
                  <a:pt x="701" y="815"/>
                  <a:pt x="702" y="818"/>
                  <a:pt x="702" y="820"/>
                </a:cubicBezTo>
                <a:cubicBezTo>
                  <a:pt x="702" y="822"/>
                  <a:pt x="702" y="825"/>
                  <a:pt x="702" y="827"/>
                </a:cubicBezTo>
                <a:cubicBezTo>
                  <a:pt x="702" y="830"/>
                  <a:pt x="702" y="833"/>
                  <a:pt x="696" y="833"/>
                </a:cubicBezTo>
                <a:close/>
                <a:moveTo>
                  <a:pt x="751" y="842"/>
                </a:moveTo>
                <a:cubicBezTo>
                  <a:pt x="751" y="842"/>
                  <a:pt x="751" y="842"/>
                  <a:pt x="751" y="842"/>
                </a:cubicBezTo>
                <a:cubicBezTo>
                  <a:pt x="751" y="833"/>
                  <a:pt x="751" y="833"/>
                  <a:pt x="751" y="833"/>
                </a:cubicBezTo>
                <a:cubicBezTo>
                  <a:pt x="744" y="833"/>
                  <a:pt x="744" y="830"/>
                  <a:pt x="744" y="827"/>
                </a:cubicBezTo>
                <a:cubicBezTo>
                  <a:pt x="744" y="825"/>
                  <a:pt x="744" y="822"/>
                  <a:pt x="744" y="820"/>
                </a:cubicBezTo>
                <a:cubicBezTo>
                  <a:pt x="745" y="818"/>
                  <a:pt x="745" y="815"/>
                  <a:pt x="745" y="813"/>
                </a:cubicBezTo>
                <a:cubicBezTo>
                  <a:pt x="745" y="804"/>
                  <a:pt x="739" y="800"/>
                  <a:pt x="730" y="800"/>
                </a:cubicBezTo>
                <a:cubicBezTo>
                  <a:pt x="730" y="800"/>
                  <a:pt x="730" y="800"/>
                  <a:pt x="726" y="800"/>
                </a:cubicBezTo>
                <a:cubicBezTo>
                  <a:pt x="726" y="800"/>
                  <a:pt x="726" y="800"/>
                  <a:pt x="726" y="809"/>
                </a:cubicBezTo>
                <a:cubicBezTo>
                  <a:pt x="726" y="809"/>
                  <a:pt x="726" y="809"/>
                  <a:pt x="728" y="809"/>
                </a:cubicBezTo>
                <a:cubicBezTo>
                  <a:pt x="731" y="809"/>
                  <a:pt x="733" y="812"/>
                  <a:pt x="733" y="815"/>
                </a:cubicBezTo>
                <a:cubicBezTo>
                  <a:pt x="733" y="816"/>
                  <a:pt x="732" y="818"/>
                  <a:pt x="732" y="820"/>
                </a:cubicBezTo>
                <a:cubicBezTo>
                  <a:pt x="732" y="822"/>
                  <a:pt x="732" y="824"/>
                  <a:pt x="732" y="826"/>
                </a:cubicBezTo>
                <a:cubicBezTo>
                  <a:pt x="732" y="834"/>
                  <a:pt x="735" y="836"/>
                  <a:pt x="741" y="837"/>
                </a:cubicBezTo>
                <a:cubicBezTo>
                  <a:pt x="741" y="837"/>
                  <a:pt x="741" y="837"/>
                  <a:pt x="741" y="837"/>
                </a:cubicBezTo>
                <a:cubicBezTo>
                  <a:pt x="735" y="839"/>
                  <a:pt x="732" y="841"/>
                  <a:pt x="732" y="849"/>
                </a:cubicBezTo>
                <a:cubicBezTo>
                  <a:pt x="732" y="851"/>
                  <a:pt x="732" y="853"/>
                  <a:pt x="732" y="855"/>
                </a:cubicBezTo>
                <a:cubicBezTo>
                  <a:pt x="732" y="856"/>
                  <a:pt x="733" y="858"/>
                  <a:pt x="733" y="859"/>
                </a:cubicBezTo>
                <a:cubicBezTo>
                  <a:pt x="733" y="863"/>
                  <a:pt x="732" y="865"/>
                  <a:pt x="728" y="865"/>
                </a:cubicBezTo>
                <a:cubicBezTo>
                  <a:pt x="728" y="865"/>
                  <a:pt x="728" y="865"/>
                  <a:pt x="726" y="865"/>
                </a:cubicBezTo>
                <a:cubicBezTo>
                  <a:pt x="726" y="865"/>
                  <a:pt x="726" y="865"/>
                  <a:pt x="726" y="874"/>
                </a:cubicBezTo>
                <a:cubicBezTo>
                  <a:pt x="726" y="874"/>
                  <a:pt x="726" y="874"/>
                  <a:pt x="730" y="874"/>
                </a:cubicBezTo>
                <a:cubicBezTo>
                  <a:pt x="739" y="874"/>
                  <a:pt x="745" y="871"/>
                  <a:pt x="745" y="862"/>
                </a:cubicBezTo>
                <a:cubicBezTo>
                  <a:pt x="745" y="859"/>
                  <a:pt x="745" y="857"/>
                  <a:pt x="744" y="855"/>
                </a:cubicBezTo>
                <a:cubicBezTo>
                  <a:pt x="744" y="852"/>
                  <a:pt x="744" y="850"/>
                  <a:pt x="744" y="848"/>
                </a:cubicBezTo>
                <a:cubicBezTo>
                  <a:pt x="744" y="845"/>
                  <a:pt x="744" y="842"/>
                  <a:pt x="751" y="842"/>
                </a:cubicBezTo>
                <a:close/>
                <a:moveTo>
                  <a:pt x="871" y="874"/>
                </a:moveTo>
                <a:cubicBezTo>
                  <a:pt x="863" y="874"/>
                  <a:pt x="857" y="872"/>
                  <a:pt x="852" y="866"/>
                </a:cubicBezTo>
                <a:cubicBezTo>
                  <a:pt x="849" y="859"/>
                  <a:pt x="847" y="850"/>
                  <a:pt x="847" y="838"/>
                </a:cubicBezTo>
                <a:cubicBezTo>
                  <a:pt x="847" y="825"/>
                  <a:pt x="849" y="815"/>
                  <a:pt x="853" y="808"/>
                </a:cubicBezTo>
                <a:cubicBezTo>
                  <a:pt x="858" y="802"/>
                  <a:pt x="864" y="798"/>
                  <a:pt x="873" y="798"/>
                </a:cubicBezTo>
                <a:cubicBezTo>
                  <a:pt x="889" y="798"/>
                  <a:pt x="897" y="811"/>
                  <a:pt x="897" y="836"/>
                </a:cubicBezTo>
                <a:cubicBezTo>
                  <a:pt x="897" y="849"/>
                  <a:pt x="895" y="858"/>
                  <a:pt x="890" y="865"/>
                </a:cubicBezTo>
                <a:cubicBezTo>
                  <a:pt x="885" y="872"/>
                  <a:pt x="879" y="874"/>
                  <a:pt x="871" y="874"/>
                </a:cubicBezTo>
                <a:close/>
                <a:moveTo>
                  <a:pt x="872" y="808"/>
                </a:moveTo>
                <a:cubicBezTo>
                  <a:pt x="863" y="808"/>
                  <a:pt x="858" y="818"/>
                  <a:pt x="858" y="838"/>
                </a:cubicBezTo>
                <a:cubicBezTo>
                  <a:pt x="858" y="856"/>
                  <a:pt x="863" y="865"/>
                  <a:pt x="871" y="865"/>
                </a:cubicBezTo>
                <a:cubicBezTo>
                  <a:pt x="880" y="865"/>
                  <a:pt x="885" y="856"/>
                  <a:pt x="885" y="837"/>
                </a:cubicBezTo>
                <a:cubicBezTo>
                  <a:pt x="885" y="817"/>
                  <a:pt x="880" y="808"/>
                  <a:pt x="872" y="808"/>
                </a:cubicBezTo>
                <a:close/>
                <a:moveTo>
                  <a:pt x="944" y="801"/>
                </a:moveTo>
                <a:cubicBezTo>
                  <a:pt x="944" y="801"/>
                  <a:pt x="944" y="801"/>
                  <a:pt x="944" y="801"/>
                </a:cubicBezTo>
                <a:cubicBezTo>
                  <a:pt x="939" y="801"/>
                  <a:pt x="939" y="801"/>
                  <a:pt x="939" y="801"/>
                </a:cubicBezTo>
                <a:cubicBezTo>
                  <a:pt x="937" y="802"/>
                  <a:pt x="936" y="804"/>
                  <a:pt x="934" y="805"/>
                </a:cubicBezTo>
                <a:cubicBezTo>
                  <a:pt x="932" y="806"/>
                  <a:pt x="930" y="807"/>
                  <a:pt x="929" y="808"/>
                </a:cubicBezTo>
                <a:cubicBezTo>
                  <a:pt x="926" y="808"/>
                  <a:pt x="925" y="809"/>
                  <a:pt x="923" y="810"/>
                </a:cubicBezTo>
                <a:cubicBezTo>
                  <a:pt x="921" y="810"/>
                  <a:pt x="920" y="811"/>
                  <a:pt x="918" y="812"/>
                </a:cubicBezTo>
                <a:cubicBezTo>
                  <a:pt x="918" y="812"/>
                  <a:pt x="918" y="812"/>
                  <a:pt x="918" y="822"/>
                </a:cubicBezTo>
                <a:cubicBezTo>
                  <a:pt x="921" y="821"/>
                  <a:pt x="923" y="820"/>
                  <a:pt x="926" y="819"/>
                </a:cubicBezTo>
                <a:cubicBezTo>
                  <a:pt x="929" y="818"/>
                  <a:pt x="931" y="817"/>
                  <a:pt x="933" y="816"/>
                </a:cubicBezTo>
                <a:cubicBezTo>
                  <a:pt x="933" y="816"/>
                  <a:pt x="933" y="816"/>
                  <a:pt x="933" y="874"/>
                </a:cubicBezTo>
                <a:cubicBezTo>
                  <a:pt x="933" y="874"/>
                  <a:pt x="933" y="874"/>
                  <a:pt x="944" y="874"/>
                </a:cubicBezTo>
                <a:cubicBezTo>
                  <a:pt x="944" y="874"/>
                  <a:pt x="944" y="874"/>
                  <a:pt x="944" y="801"/>
                </a:cubicBezTo>
                <a:close/>
                <a:moveTo>
                  <a:pt x="777" y="874"/>
                </a:moveTo>
                <a:cubicBezTo>
                  <a:pt x="780" y="855"/>
                  <a:pt x="780" y="855"/>
                  <a:pt x="780" y="855"/>
                </a:cubicBezTo>
                <a:cubicBezTo>
                  <a:pt x="771" y="855"/>
                  <a:pt x="771" y="855"/>
                  <a:pt x="771" y="855"/>
                </a:cubicBezTo>
                <a:cubicBezTo>
                  <a:pt x="771" y="843"/>
                  <a:pt x="771" y="843"/>
                  <a:pt x="771" y="843"/>
                </a:cubicBezTo>
                <a:cubicBezTo>
                  <a:pt x="782" y="843"/>
                  <a:pt x="782" y="843"/>
                  <a:pt x="782" y="843"/>
                </a:cubicBezTo>
                <a:cubicBezTo>
                  <a:pt x="783" y="832"/>
                  <a:pt x="783" y="832"/>
                  <a:pt x="783" y="832"/>
                </a:cubicBezTo>
                <a:cubicBezTo>
                  <a:pt x="774" y="832"/>
                  <a:pt x="774" y="832"/>
                  <a:pt x="774" y="832"/>
                </a:cubicBezTo>
                <a:cubicBezTo>
                  <a:pt x="774" y="820"/>
                  <a:pt x="774" y="820"/>
                  <a:pt x="774" y="820"/>
                </a:cubicBezTo>
                <a:cubicBezTo>
                  <a:pt x="785" y="820"/>
                  <a:pt x="785" y="820"/>
                  <a:pt x="785" y="820"/>
                </a:cubicBezTo>
                <a:cubicBezTo>
                  <a:pt x="788" y="802"/>
                  <a:pt x="788" y="802"/>
                  <a:pt x="788" y="802"/>
                </a:cubicBezTo>
                <a:cubicBezTo>
                  <a:pt x="799" y="802"/>
                  <a:pt x="799" y="802"/>
                  <a:pt x="799" y="802"/>
                </a:cubicBezTo>
                <a:cubicBezTo>
                  <a:pt x="796" y="820"/>
                  <a:pt x="796" y="820"/>
                  <a:pt x="796" y="820"/>
                </a:cubicBezTo>
                <a:cubicBezTo>
                  <a:pt x="806" y="820"/>
                  <a:pt x="806" y="820"/>
                  <a:pt x="806" y="820"/>
                </a:cubicBezTo>
                <a:cubicBezTo>
                  <a:pt x="809" y="802"/>
                  <a:pt x="809" y="802"/>
                  <a:pt x="809" y="802"/>
                </a:cubicBezTo>
                <a:cubicBezTo>
                  <a:pt x="820" y="802"/>
                  <a:pt x="820" y="802"/>
                  <a:pt x="820" y="802"/>
                </a:cubicBezTo>
                <a:cubicBezTo>
                  <a:pt x="817" y="820"/>
                  <a:pt x="817" y="820"/>
                  <a:pt x="817" y="820"/>
                </a:cubicBezTo>
                <a:cubicBezTo>
                  <a:pt x="826" y="820"/>
                  <a:pt x="826" y="820"/>
                  <a:pt x="826" y="820"/>
                </a:cubicBezTo>
                <a:cubicBezTo>
                  <a:pt x="826" y="832"/>
                  <a:pt x="826" y="832"/>
                  <a:pt x="826" y="832"/>
                </a:cubicBezTo>
                <a:cubicBezTo>
                  <a:pt x="815" y="832"/>
                  <a:pt x="815" y="832"/>
                  <a:pt x="815" y="832"/>
                </a:cubicBezTo>
                <a:cubicBezTo>
                  <a:pt x="813" y="843"/>
                  <a:pt x="813" y="843"/>
                  <a:pt x="813" y="843"/>
                </a:cubicBezTo>
                <a:cubicBezTo>
                  <a:pt x="823" y="843"/>
                  <a:pt x="823" y="843"/>
                  <a:pt x="823" y="843"/>
                </a:cubicBezTo>
                <a:cubicBezTo>
                  <a:pt x="823" y="855"/>
                  <a:pt x="823" y="855"/>
                  <a:pt x="823" y="855"/>
                </a:cubicBezTo>
                <a:cubicBezTo>
                  <a:pt x="812" y="855"/>
                  <a:pt x="812" y="855"/>
                  <a:pt x="812" y="855"/>
                </a:cubicBezTo>
                <a:cubicBezTo>
                  <a:pt x="809" y="874"/>
                  <a:pt x="809" y="874"/>
                  <a:pt x="809" y="874"/>
                </a:cubicBezTo>
                <a:cubicBezTo>
                  <a:pt x="798" y="874"/>
                  <a:pt x="798" y="874"/>
                  <a:pt x="798" y="874"/>
                </a:cubicBezTo>
                <a:cubicBezTo>
                  <a:pt x="801" y="855"/>
                  <a:pt x="801" y="855"/>
                  <a:pt x="801" y="855"/>
                </a:cubicBezTo>
                <a:cubicBezTo>
                  <a:pt x="791" y="855"/>
                  <a:pt x="791" y="855"/>
                  <a:pt x="791" y="855"/>
                </a:cubicBezTo>
                <a:cubicBezTo>
                  <a:pt x="788" y="874"/>
                  <a:pt x="788" y="874"/>
                  <a:pt x="788" y="874"/>
                </a:cubicBezTo>
                <a:cubicBezTo>
                  <a:pt x="777" y="874"/>
                  <a:pt x="777" y="874"/>
                  <a:pt x="777" y="874"/>
                </a:cubicBezTo>
                <a:cubicBezTo>
                  <a:pt x="777" y="874"/>
                  <a:pt x="777" y="874"/>
                  <a:pt x="777" y="874"/>
                </a:cubicBezTo>
                <a:close/>
                <a:moveTo>
                  <a:pt x="802" y="843"/>
                </a:moveTo>
                <a:cubicBezTo>
                  <a:pt x="804" y="832"/>
                  <a:pt x="804" y="832"/>
                  <a:pt x="804" y="832"/>
                </a:cubicBezTo>
                <a:cubicBezTo>
                  <a:pt x="794" y="832"/>
                  <a:pt x="794" y="832"/>
                  <a:pt x="794" y="832"/>
                </a:cubicBezTo>
                <a:cubicBezTo>
                  <a:pt x="793" y="843"/>
                  <a:pt x="793" y="843"/>
                  <a:pt x="793" y="843"/>
                </a:cubicBezTo>
                <a:cubicBezTo>
                  <a:pt x="802" y="843"/>
                  <a:pt x="802" y="843"/>
                  <a:pt x="802" y="843"/>
                </a:cubicBezTo>
                <a:cubicBezTo>
                  <a:pt x="802" y="843"/>
                  <a:pt x="802" y="843"/>
                  <a:pt x="802" y="843"/>
                </a:cubicBezTo>
                <a:close/>
                <a:moveTo>
                  <a:pt x="320" y="801"/>
                </a:moveTo>
                <a:cubicBezTo>
                  <a:pt x="320" y="801"/>
                  <a:pt x="320" y="801"/>
                  <a:pt x="320" y="801"/>
                </a:cubicBezTo>
                <a:cubicBezTo>
                  <a:pt x="315" y="801"/>
                  <a:pt x="315" y="801"/>
                  <a:pt x="315" y="801"/>
                </a:cubicBezTo>
                <a:cubicBezTo>
                  <a:pt x="313" y="802"/>
                  <a:pt x="312" y="804"/>
                  <a:pt x="310" y="805"/>
                </a:cubicBezTo>
                <a:cubicBezTo>
                  <a:pt x="308" y="806"/>
                  <a:pt x="307" y="807"/>
                  <a:pt x="305" y="808"/>
                </a:cubicBezTo>
                <a:cubicBezTo>
                  <a:pt x="303" y="809"/>
                  <a:pt x="301" y="810"/>
                  <a:pt x="299" y="810"/>
                </a:cubicBezTo>
                <a:cubicBezTo>
                  <a:pt x="297" y="811"/>
                  <a:pt x="296" y="812"/>
                  <a:pt x="294" y="812"/>
                </a:cubicBezTo>
                <a:cubicBezTo>
                  <a:pt x="294" y="812"/>
                  <a:pt x="294" y="812"/>
                  <a:pt x="294" y="822"/>
                </a:cubicBezTo>
                <a:cubicBezTo>
                  <a:pt x="297" y="821"/>
                  <a:pt x="299" y="821"/>
                  <a:pt x="302" y="819"/>
                </a:cubicBezTo>
                <a:cubicBezTo>
                  <a:pt x="305" y="818"/>
                  <a:pt x="307" y="817"/>
                  <a:pt x="309" y="816"/>
                </a:cubicBezTo>
                <a:cubicBezTo>
                  <a:pt x="309" y="816"/>
                  <a:pt x="309" y="816"/>
                  <a:pt x="309" y="874"/>
                </a:cubicBezTo>
                <a:cubicBezTo>
                  <a:pt x="309" y="874"/>
                  <a:pt x="309" y="874"/>
                  <a:pt x="320" y="874"/>
                </a:cubicBezTo>
                <a:cubicBezTo>
                  <a:pt x="320" y="874"/>
                  <a:pt x="320" y="874"/>
                  <a:pt x="320" y="801"/>
                </a:cubicBezTo>
                <a:close/>
                <a:moveTo>
                  <a:pt x="368" y="801"/>
                </a:moveTo>
                <a:cubicBezTo>
                  <a:pt x="368" y="801"/>
                  <a:pt x="368" y="801"/>
                  <a:pt x="368" y="801"/>
                </a:cubicBezTo>
                <a:cubicBezTo>
                  <a:pt x="363" y="801"/>
                  <a:pt x="363" y="801"/>
                  <a:pt x="363" y="801"/>
                </a:cubicBezTo>
                <a:cubicBezTo>
                  <a:pt x="361" y="802"/>
                  <a:pt x="359" y="804"/>
                  <a:pt x="357" y="805"/>
                </a:cubicBezTo>
                <a:cubicBezTo>
                  <a:pt x="356" y="806"/>
                  <a:pt x="353" y="807"/>
                  <a:pt x="352" y="808"/>
                </a:cubicBezTo>
                <a:cubicBezTo>
                  <a:pt x="351" y="809"/>
                  <a:pt x="348" y="810"/>
                  <a:pt x="347" y="810"/>
                </a:cubicBezTo>
                <a:cubicBezTo>
                  <a:pt x="345" y="811"/>
                  <a:pt x="343" y="812"/>
                  <a:pt x="341" y="812"/>
                </a:cubicBezTo>
                <a:cubicBezTo>
                  <a:pt x="341" y="812"/>
                  <a:pt x="341" y="812"/>
                  <a:pt x="341" y="822"/>
                </a:cubicBezTo>
                <a:cubicBezTo>
                  <a:pt x="344" y="821"/>
                  <a:pt x="347" y="821"/>
                  <a:pt x="349" y="819"/>
                </a:cubicBezTo>
                <a:cubicBezTo>
                  <a:pt x="352" y="818"/>
                  <a:pt x="354" y="817"/>
                  <a:pt x="356" y="816"/>
                </a:cubicBezTo>
                <a:cubicBezTo>
                  <a:pt x="356" y="816"/>
                  <a:pt x="356" y="816"/>
                  <a:pt x="356" y="874"/>
                </a:cubicBezTo>
                <a:cubicBezTo>
                  <a:pt x="356" y="874"/>
                  <a:pt x="356" y="874"/>
                  <a:pt x="368" y="874"/>
                </a:cubicBezTo>
                <a:cubicBezTo>
                  <a:pt x="368" y="874"/>
                  <a:pt x="368" y="874"/>
                  <a:pt x="368" y="801"/>
                </a:cubicBezTo>
                <a:close/>
                <a:moveTo>
                  <a:pt x="415" y="801"/>
                </a:moveTo>
                <a:cubicBezTo>
                  <a:pt x="415" y="801"/>
                  <a:pt x="415" y="801"/>
                  <a:pt x="415" y="801"/>
                </a:cubicBezTo>
                <a:cubicBezTo>
                  <a:pt x="410" y="801"/>
                  <a:pt x="410" y="801"/>
                  <a:pt x="410" y="801"/>
                </a:cubicBezTo>
                <a:cubicBezTo>
                  <a:pt x="408" y="802"/>
                  <a:pt x="407" y="804"/>
                  <a:pt x="404" y="805"/>
                </a:cubicBezTo>
                <a:cubicBezTo>
                  <a:pt x="403" y="806"/>
                  <a:pt x="401" y="807"/>
                  <a:pt x="399" y="808"/>
                </a:cubicBezTo>
                <a:cubicBezTo>
                  <a:pt x="397" y="808"/>
                  <a:pt x="396" y="809"/>
                  <a:pt x="394" y="810"/>
                </a:cubicBezTo>
                <a:cubicBezTo>
                  <a:pt x="392" y="810"/>
                  <a:pt x="390" y="811"/>
                  <a:pt x="389" y="812"/>
                </a:cubicBezTo>
                <a:cubicBezTo>
                  <a:pt x="389" y="812"/>
                  <a:pt x="389" y="812"/>
                  <a:pt x="389" y="822"/>
                </a:cubicBezTo>
                <a:cubicBezTo>
                  <a:pt x="392" y="821"/>
                  <a:pt x="394" y="820"/>
                  <a:pt x="397" y="819"/>
                </a:cubicBezTo>
                <a:cubicBezTo>
                  <a:pt x="399" y="818"/>
                  <a:pt x="402" y="817"/>
                  <a:pt x="403" y="816"/>
                </a:cubicBezTo>
                <a:cubicBezTo>
                  <a:pt x="403" y="816"/>
                  <a:pt x="403" y="816"/>
                  <a:pt x="403" y="874"/>
                </a:cubicBezTo>
                <a:cubicBezTo>
                  <a:pt x="403" y="874"/>
                  <a:pt x="403" y="874"/>
                  <a:pt x="415" y="874"/>
                </a:cubicBezTo>
                <a:cubicBezTo>
                  <a:pt x="415" y="874"/>
                  <a:pt x="415" y="874"/>
                  <a:pt x="415" y="801"/>
                </a:cubicBezTo>
                <a:close/>
                <a:moveTo>
                  <a:pt x="622" y="705"/>
                </a:moveTo>
                <a:cubicBezTo>
                  <a:pt x="622" y="705"/>
                  <a:pt x="622" y="705"/>
                  <a:pt x="622" y="705"/>
                </a:cubicBezTo>
                <a:cubicBezTo>
                  <a:pt x="617" y="705"/>
                  <a:pt x="617" y="705"/>
                  <a:pt x="617" y="705"/>
                </a:cubicBezTo>
                <a:cubicBezTo>
                  <a:pt x="615" y="706"/>
                  <a:pt x="613" y="708"/>
                  <a:pt x="611" y="709"/>
                </a:cubicBezTo>
                <a:cubicBezTo>
                  <a:pt x="610" y="710"/>
                  <a:pt x="607" y="711"/>
                  <a:pt x="606" y="712"/>
                </a:cubicBezTo>
                <a:cubicBezTo>
                  <a:pt x="604" y="712"/>
                  <a:pt x="602" y="713"/>
                  <a:pt x="601" y="714"/>
                </a:cubicBezTo>
                <a:cubicBezTo>
                  <a:pt x="599" y="714"/>
                  <a:pt x="597" y="715"/>
                  <a:pt x="595" y="716"/>
                </a:cubicBezTo>
                <a:cubicBezTo>
                  <a:pt x="595" y="716"/>
                  <a:pt x="595" y="716"/>
                  <a:pt x="595" y="726"/>
                </a:cubicBezTo>
                <a:cubicBezTo>
                  <a:pt x="598" y="725"/>
                  <a:pt x="601" y="724"/>
                  <a:pt x="603" y="723"/>
                </a:cubicBezTo>
                <a:cubicBezTo>
                  <a:pt x="606" y="722"/>
                  <a:pt x="608" y="721"/>
                  <a:pt x="610" y="720"/>
                </a:cubicBezTo>
                <a:cubicBezTo>
                  <a:pt x="610" y="720"/>
                  <a:pt x="610" y="720"/>
                  <a:pt x="610" y="778"/>
                </a:cubicBezTo>
                <a:cubicBezTo>
                  <a:pt x="610" y="778"/>
                  <a:pt x="610" y="778"/>
                  <a:pt x="622" y="778"/>
                </a:cubicBezTo>
                <a:cubicBezTo>
                  <a:pt x="622" y="778"/>
                  <a:pt x="622" y="778"/>
                  <a:pt x="622" y="705"/>
                </a:cubicBezTo>
                <a:close/>
                <a:moveTo>
                  <a:pt x="668" y="705"/>
                </a:moveTo>
                <a:cubicBezTo>
                  <a:pt x="668" y="705"/>
                  <a:pt x="668" y="705"/>
                  <a:pt x="668" y="705"/>
                </a:cubicBezTo>
                <a:cubicBezTo>
                  <a:pt x="663" y="705"/>
                  <a:pt x="663" y="705"/>
                  <a:pt x="663" y="705"/>
                </a:cubicBezTo>
                <a:cubicBezTo>
                  <a:pt x="661" y="706"/>
                  <a:pt x="660" y="708"/>
                  <a:pt x="658" y="709"/>
                </a:cubicBezTo>
                <a:cubicBezTo>
                  <a:pt x="656" y="710"/>
                  <a:pt x="654" y="711"/>
                  <a:pt x="653" y="712"/>
                </a:cubicBezTo>
                <a:cubicBezTo>
                  <a:pt x="651" y="713"/>
                  <a:pt x="649" y="714"/>
                  <a:pt x="647" y="714"/>
                </a:cubicBezTo>
                <a:cubicBezTo>
                  <a:pt x="645" y="715"/>
                  <a:pt x="644" y="716"/>
                  <a:pt x="642" y="716"/>
                </a:cubicBezTo>
                <a:cubicBezTo>
                  <a:pt x="642" y="716"/>
                  <a:pt x="642" y="716"/>
                  <a:pt x="642" y="726"/>
                </a:cubicBezTo>
                <a:cubicBezTo>
                  <a:pt x="645" y="725"/>
                  <a:pt x="647" y="725"/>
                  <a:pt x="650" y="723"/>
                </a:cubicBezTo>
                <a:cubicBezTo>
                  <a:pt x="653" y="722"/>
                  <a:pt x="655" y="721"/>
                  <a:pt x="657" y="720"/>
                </a:cubicBezTo>
                <a:cubicBezTo>
                  <a:pt x="657" y="720"/>
                  <a:pt x="657" y="720"/>
                  <a:pt x="657" y="778"/>
                </a:cubicBezTo>
                <a:cubicBezTo>
                  <a:pt x="657" y="778"/>
                  <a:pt x="657" y="778"/>
                  <a:pt x="668" y="778"/>
                </a:cubicBezTo>
                <a:cubicBezTo>
                  <a:pt x="668" y="778"/>
                  <a:pt x="668" y="778"/>
                  <a:pt x="668" y="705"/>
                </a:cubicBezTo>
                <a:close/>
                <a:moveTo>
                  <a:pt x="714" y="705"/>
                </a:moveTo>
                <a:cubicBezTo>
                  <a:pt x="714" y="705"/>
                  <a:pt x="714" y="705"/>
                  <a:pt x="714" y="705"/>
                </a:cubicBezTo>
                <a:cubicBezTo>
                  <a:pt x="710" y="705"/>
                  <a:pt x="710" y="705"/>
                  <a:pt x="710" y="705"/>
                </a:cubicBezTo>
                <a:cubicBezTo>
                  <a:pt x="708" y="706"/>
                  <a:pt x="706" y="708"/>
                  <a:pt x="704" y="709"/>
                </a:cubicBezTo>
                <a:cubicBezTo>
                  <a:pt x="703" y="710"/>
                  <a:pt x="700" y="711"/>
                  <a:pt x="699" y="712"/>
                </a:cubicBezTo>
                <a:cubicBezTo>
                  <a:pt x="697" y="713"/>
                  <a:pt x="695" y="714"/>
                  <a:pt x="693" y="714"/>
                </a:cubicBezTo>
                <a:cubicBezTo>
                  <a:pt x="692" y="715"/>
                  <a:pt x="690" y="716"/>
                  <a:pt x="688" y="716"/>
                </a:cubicBezTo>
                <a:cubicBezTo>
                  <a:pt x="688" y="716"/>
                  <a:pt x="688" y="716"/>
                  <a:pt x="688" y="726"/>
                </a:cubicBezTo>
                <a:cubicBezTo>
                  <a:pt x="691" y="725"/>
                  <a:pt x="694" y="725"/>
                  <a:pt x="696" y="723"/>
                </a:cubicBezTo>
                <a:cubicBezTo>
                  <a:pt x="698" y="722"/>
                  <a:pt x="701" y="721"/>
                  <a:pt x="703" y="720"/>
                </a:cubicBezTo>
                <a:cubicBezTo>
                  <a:pt x="703" y="720"/>
                  <a:pt x="703" y="720"/>
                  <a:pt x="703" y="778"/>
                </a:cubicBezTo>
                <a:cubicBezTo>
                  <a:pt x="703" y="778"/>
                  <a:pt x="703" y="778"/>
                  <a:pt x="714" y="778"/>
                </a:cubicBezTo>
                <a:cubicBezTo>
                  <a:pt x="714" y="778"/>
                  <a:pt x="714" y="778"/>
                  <a:pt x="714" y="705"/>
                </a:cubicBezTo>
                <a:close/>
                <a:moveTo>
                  <a:pt x="761" y="705"/>
                </a:moveTo>
                <a:cubicBezTo>
                  <a:pt x="761" y="705"/>
                  <a:pt x="761" y="705"/>
                  <a:pt x="761" y="705"/>
                </a:cubicBezTo>
                <a:cubicBezTo>
                  <a:pt x="756" y="705"/>
                  <a:pt x="756" y="705"/>
                  <a:pt x="756" y="705"/>
                </a:cubicBezTo>
                <a:cubicBezTo>
                  <a:pt x="754" y="706"/>
                  <a:pt x="752" y="708"/>
                  <a:pt x="750" y="709"/>
                </a:cubicBezTo>
                <a:cubicBezTo>
                  <a:pt x="749" y="710"/>
                  <a:pt x="747" y="711"/>
                  <a:pt x="745" y="712"/>
                </a:cubicBezTo>
                <a:cubicBezTo>
                  <a:pt x="744" y="713"/>
                  <a:pt x="742" y="714"/>
                  <a:pt x="740" y="714"/>
                </a:cubicBezTo>
                <a:cubicBezTo>
                  <a:pt x="738" y="715"/>
                  <a:pt x="736" y="716"/>
                  <a:pt x="734" y="716"/>
                </a:cubicBezTo>
                <a:cubicBezTo>
                  <a:pt x="734" y="716"/>
                  <a:pt x="734" y="716"/>
                  <a:pt x="734" y="726"/>
                </a:cubicBezTo>
                <a:cubicBezTo>
                  <a:pt x="737" y="725"/>
                  <a:pt x="740" y="725"/>
                  <a:pt x="742" y="723"/>
                </a:cubicBezTo>
                <a:cubicBezTo>
                  <a:pt x="745" y="722"/>
                  <a:pt x="747" y="721"/>
                  <a:pt x="750" y="720"/>
                </a:cubicBezTo>
                <a:cubicBezTo>
                  <a:pt x="750" y="720"/>
                  <a:pt x="750" y="720"/>
                  <a:pt x="750" y="778"/>
                </a:cubicBezTo>
                <a:cubicBezTo>
                  <a:pt x="750" y="778"/>
                  <a:pt x="750" y="778"/>
                  <a:pt x="761" y="778"/>
                </a:cubicBezTo>
                <a:cubicBezTo>
                  <a:pt x="761" y="778"/>
                  <a:pt x="761" y="778"/>
                  <a:pt x="761" y="705"/>
                </a:cubicBezTo>
                <a:close/>
                <a:moveTo>
                  <a:pt x="883" y="705"/>
                </a:moveTo>
                <a:cubicBezTo>
                  <a:pt x="883" y="705"/>
                  <a:pt x="883" y="705"/>
                  <a:pt x="883" y="705"/>
                </a:cubicBezTo>
                <a:cubicBezTo>
                  <a:pt x="878" y="705"/>
                  <a:pt x="878" y="705"/>
                  <a:pt x="878" y="705"/>
                </a:cubicBezTo>
                <a:cubicBezTo>
                  <a:pt x="876" y="706"/>
                  <a:pt x="874" y="708"/>
                  <a:pt x="872" y="709"/>
                </a:cubicBezTo>
                <a:cubicBezTo>
                  <a:pt x="870" y="710"/>
                  <a:pt x="869" y="711"/>
                  <a:pt x="867" y="712"/>
                </a:cubicBezTo>
                <a:cubicBezTo>
                  <a:pt x="865" y="713"/>
                  <a:pt x="863" y="714"/>
                  <a:pt x="862" y="714"/>
                </a:cubicBezTo>
                <a:cubicBezTo>
                  <a:pt x="859" y="715"/>
                  <a:pt x="858" y="716"/>
                  <a:pt x="856" y="716"/>
                </a:cubicBezTo>
                <a:cubicBezTo>
                  <a:pt x="856" y="716"/>
                  <a:pt x="856" y="716"/>
                  <a:pt x="856" y="726"/>
                </a:cubicBezTo>
                <a:cubicBezTo>
                  <a:pt x="859" y="725"/>
                  <a:pt x="862" y="725"/>
                  <a:pt x="865" y="723"/>
                </a:cubicBezTo>
                <a:cubicBezTo>
                  <a:pt x="867" y="722"/>
                  <a:pt x="869" y="721"/>
                  <a:pt x="871" y="720"/>
                </a:cubicBezTo>
                <a:cubicBezTo>
                  <a:pt x="871" y="720"/>
                  <a:pt x="871" y="720"/>
                  <a:pt x="871" y="778"/>
                </a:cubicBezTo>
                <a:cubicBezTo>
                  <a:pt x="871" y="778"/>
                  <a:pt x="871" y="778"/>
                  <a:pt x="883" y="778"/>
                </a:cubicBezTo>
                <a:cubicBezTo>
                  <a:pt x="883" y="778"/>
                  <a:pt x="883" y="778"/>
                  <a:pt x="883" y="705"/>
                </a:cubicBezTo>
                <a:close/>
                <a:moveTo>
                  <a:pt x="930" y="705"/>
                </a:moveTo>
                <a:cubicBezTo>
                  <a:pt x="930" y="705"/>
                  <a:pt x="930" y="705"/>
                  <a:pt x="930" y="705"/>
                </a:cubicBezTo>
                <a:cubicBezTo>
                  <a:pt x="925" y="705"/>
                  <a:pt x="925" y="705"/>
                  <a:pt x="925" y="705"/>
                </a:cubicBezTo>
                <a:cubicBezTo>
                  <a:pt x="922" y="706"/>
                  <a:pt x="921" y="708"/>
                  <a:pt x="919" y="709"/>
                </a:cubicBezTo>
                <a:cubicBezTo>
                  <a:pt x="917" y="710"/>
                  <a:pt x="915" y="711"/>
                  <a:pt x="914" y="712"/>
                </a:cubicBezTo>
                <a:cubicBezTo>
                  <a:pt x="912" y="713"/>
                  <a:pt x="910" y="714"/>
                  <a:pt x="909" y="714"/>
                </a:cubicBezTo>
                <a:cubicBezTo>
                  <a:pt x="906" y="715"/>
                  <a:pt x="905" y="716"/>
                  <a:pt x="903" y="716"/>
                </a:cubicBezTo>
                <a:cubicBezTo>
                  <a:pt x="903" y="716"/>
                  <a:pt x="903" y="716"/>
                  <a:pt x="903" y="726"/>
                </a:cubicBezTo>
                <a:cubicBezTo>
                  <a:pt x="906" y="725"/>
                  <a:pt x="909" y="725"/>
                  <a:pt x="911" y="723"/>
                </a:cubicBezTo>
                <a:cubicBezTo>
                  <a:pt x="914" y="722"/>
                  <a:pt x="916" y="721"/>
                  <a:pt x="918" y="720"/>
                </a:cubicBezTo>
                <a:cubicBezTo>
                  <a:pt x="918" y="720"/>
                  <a:pt x="918" y="720"/>
                  <a:pt x="918" y="778"/>
                </a:cubicBezTo>
                <a:cubicBezTo>
                  <a:pt x="918" y="778"/>
                  <a:pt x="918" y="778"/>
                  <a:pt x="930" y="778"/>
                </a:cubicBezTo>
                <a:cubicBezTo>
                  <a:pt x="930" y="778"/>
                  <a:pt x="930" y="778"/>
                  <a:pt x="930" y="705"/>
                </a:cubicBezTo>
                <a:close/>
                <a:moveTo>
                  <a:pt x="781" y="737"/>
                </a:moveTo>
                <a:cubicBezTo>
                  <a:pt x="781" y="737"/>
                  <a:pt x="781" y="737"/>
                  <a:pt x="781" y="737"/>
                </a:cubicBezTo>
                <a:cubicBezTo>
                  <a:pt x="781" y="746"/>
                  <a:pt x="781" y="746"/>
                  <a:pt x="781" y="746"/>
                </a:cubicBezTo>
                <a:cubicBezTo>
                  <a:pt x="787" y="746"/>
                  <a:pt x="788" y="749"/>
                  <a:pt x="788" y="752"/>
                </a:cubicBezTo>
                <a:cubicBezTo>
                  <a:pt x="788" y="754"/>
                  <a:pt x="788" y="756"/>
                  <a:pt x="788" y="759"/>
                </a:cubicBezTo>
                <a:cubicBezTo>
                  <a:pt x="787" y="761"/>
                  <a:pt x="787" y="763"/>
                  <a:pt x="787" y="766"/>
                </a:cubicBezTo>
                <a:cubicBezTo>
                  <a:pt x="787" y="775"/>
                  <a:pt x="793" y="778"/>
                  <a:pt x="802" y="778"/>
                </a:cubicBezTo>
                <a:cubicBezTo>
                  <a:pt x="802" y="778"/>
                  <a:pt x="802" y="778"/>
                  <a:pt x="805" y="778"/>
                </a:cubicBezTo>
                <a:cubicBezTo>
                  <a:pt x="805" y="778"/>
                  <a:pt x="805" y="778"/>
                  <a:pt x="805" y="769"/>
                </a:cubicBezTo>
                <a:cubicBezTo>
                  <a:pt x="805" y="769"/>
                  <a:pt x="805" y="769"/>
                  <a:pt x="804" y="769"/>
                </a:cubicBezTo>
                <a:cubicBezTo>
                  <a:pt x="800" y="769"/>
                  <a:pt x="799" y="767"/>
                  <a:pt x="799" y="763"/>
                </a:cubicBezTo>
                <a:cubicBezTo>
                  <a:pt x="799" y="762"/>
                  <a:pt x="799" y="760"/>
                  <a:pt x="799" y="759"/>
                </a:cubicBezTo>
                <a:cubicBezTo>
                  <a:pt x="799" y="757"/>
                  <a:pt x="800" y="755"/>
                  <a:pt x="800" y="753"/>
                </a:cubicBezTo>
                <a:cubicBezTo>
                  <a:pt x="800" y="745"/>
                  <a:pt x="797" y="743"/>
                  <a:pt x="791" y="741"/>
                </a:cubicBezTo>
                <a:cubicBezTo>
                  <a:pt x="791" y="741"/>
                  <a:pt x="791" y="741"/>
                  <a:pt x="791" y="741"/>
                </a:cubicBezTo>
                <a:cubicBezTo>
                  <a:pt x="797" y="740"/>
                  <a:pt x="800" y="738"/>
                  <a:pt x="800" y="730"/>
                </a:cubicBezTo>
                <a:cubicBezTo>
                  <a:pt x="800" y="728"/>
                  <a:pt x="799" y="726"/>
                  <a:pt x="799" y="724"/>
                </a:cubicBezTo>
                <a:cubicBezTo>
                  <a:pt x="799" y="722"/>
                  <a:pt x="799" y="720"/>
                  <a:pt x="799" y="719"/>
                </a:cubicBezTo>
                <a:cubicBezTo>
                  <a:pt x="799" y="716"/>
                  <a:pt x="800" y="713"/>
                  <a:pt x="804" y="713"/>
                </a:cubicBezTo>
                <a:cubicBezTo>
                  <a:pt x="804" y="713"/>
                  <a:pt x="804" y="713"/>
                  <a:pt x="805" y="713"/>
                </a:cubicBezTo>
                <a:cubicBezTo>
                  <a:pt x="805" y="713"/>
                  <a:pt x="805" y="713"/>
                  <a:pt x="805" y="704"/>
                </a:cubicBezTo>
                <a:cubicBezTo>
                  <a:pt x="805" y="704"/>
                  <a:pt x="805" y="704"/>
                  <a:pt x="802" y="704"/>
                </a:cubicBezTo>
                <a:cubicBezTo>
                  <a:pt x="792" y="704"/>
                  <a:pt x="787" y="708"/>
                  <a:pt x="787" y="717"/>
                </a:cubicBezTo>
                <a:cubicBezTo>
                  <a:pt x="787" y="719"/>
                  <a:pt x="787" y="722"/>
                  <a:pt x="787" y="724"/>
                </a:cubicBezTo>
                <a:cubicBezTo>
                  <a:pt x="788" y="726"/>
                  <a:pt x="788" y="729"/>
                  <a:pt x="788" y="731"/>
                </a:cubicBezTo>
                <a:cubicBezTo>
                  <a:pt x="788" y="734"/>
                  <a:pt x="787" y="737"/>
                  <a:pt x="781" y="737"/>
                </a:cubicBezTo>
                <a:close/>
                <a:moveTo>
                  <a:pt x="836" y="746"/>
                </a:moveTo>
                <a:cubicBezTo>
                  <a:pt x="836" y="746"/>
                  <a:pt x="836" y="746"/>
                  <a:pt x="836" y="746"/>
                </a:cubicBezTo>
                <a:cubicBezTo>
                  <a:pt x="836" y="737"/>
                  <a:pt x="836" y="737"/>
                  <a:pt x="836" y="737"/>
                </a:cubicBezTo>
                <a:cubicBezTo>
                  <a:pt x="830" y="737"/>
                  <a:pt x="829" y="734"/>
                  <a:pt x="829" y="731"/>
                </a:cubicBezTo>
                <a:cubicBezTo>
                  <a:pt x="829" y="729"/>
                  <a:pt x="829" y="726"/>
                  <a:pt x="830" y="724"/>
                </a:cubicBezTo>
                <a:cubicBezTo>
                  <a:pt x="830" y="722"/>
                  <a:pt x="830" y="719"/>
                  <a:pt x="830" y="717"/>
                </a:cubicBezTo>
                <a:cubicBezTo>
                  <a:pt x="830" y="708"/>
                  <a:pt x="825" y="704"/>
                  <a:pt x="816" y="704"/>
                </a:cubicBezTo>
                <a:cubicBezTo>
                  <a:pt x="816" y="704"/>
                  <a:pt x="816" y="704"/>
                  <a:pt x="812" y="704"/>
                </a:cubicBezTo>
                <a:cubicBezTo>
                  <a:pt x="812" y="704"/>
                  <a:pt x="812" y="704"/>
                  <a:pt x="812" y="713"/>
                </a:cubicBezTo>
                <a:cubicBezTo>
                  <a:pt x="812" y="713"/>
                  <a:pt x="812" y="713"/>
                  <a:pt x="813" y="713"/>
                </a:cubicBezTo>
                <a:cubicBezTo>
                  <a:pt x="817" y="713"/>
                  <a:pt x="819" y="716"/>
                  <a:pt x="819" y="719"/>
                </a:cubicBezTo>
                <a:cubicBezTo>
                  <a:pt x="819" y="720"/>
                  <a:pt x="818" y="722"/>
                  <a:pt x="818" y="724"/>
                </a:cubicBezTo>
                <a:cubicBezTo>
                  <a:pt x="818" y="726"/>
                  <a:pt x="818" y="728"/>
                  <a:pt x="818" y="730"/>
                </a:cubicBezTo>
                <a:cubicBezTo>
                  <a:pt x="818" y="738"/>
                  <a:pt x="821" y="740"/>
                  <a:pt x="826" y="741"/>
                </a:cubicBezTo>
                <a:cubicBezTo>
                  <a:pt x="826" y="741"/>
                  <a:pt x="826" y="741"/>
                  <a:pt x="826" y="741"/>
                </a:cubicBezTo>
                <a:cubicBezTo>
                  <a:pt x="821" y="743"/>
                  <a:pt x="818" y="745"/>
                  <a:pt x="818" y="753"/>
                </a:cubicBezTo>
                <a:cubicBezTo>
                  <a:pt x="818" y="755"/>
                  <a:pt x="818" y="757"/>
                  <a:pt x="818" y="759"/>
                </a:cubicBezTo>
                <a:cubicBezTo>
                  <a:pt x="818" y="760"/>
                  <a:pt x="819" y="762"/>
                  <a:pt x="819" y="763"/>
                </a:cubicBezTo>
                <a:cubicBezTo>
                  <a:pt x="819" y="767"/>
                  <a:pt x="818" y="769"/>
                  <a:pt x="813" y="769"/>
                </a:cubicBezTo>
                <a:cubicBezTo>
                  <a:pt x="813" y="769"/>
                  <a:pt x="813" y="769"/>
                  <a:pt x="812" y="769"/>
                </a:cubicBezTo>
                <a:cubicBezTo>
                  <a:pt x="812" y="769"/>
                  <a:pt x="812" y="769"/>
                  <a:pt x="812" y="778"/>
                </a:cubicBezTo>
                <a:cubicBezTo>
                  <a:pt x="812" y="778"/>
                  <a:pt x="812" y="778"/>
                  <a:pt x="816" y="778"/>
                </a:cubicBezTo>
                <a:cubicBezTo>
                  <a:pt x="825" y="778"/>
                  <a:pt x="830" y="775"/>
                  <a:pt x="830" y="766"/>
                </a:cubicBezTo>
                <a:cubicBezTo>
                  <a:pt x="830" y="763"/>
                  <a:pt x="830" y="761"/>
                  <a:pt x="830" y="759"/>
                </a:cubicBezTo>
                <a:cubicBezTo>
                  <a:pt x="829" y="756"/>
                  <a:pt x="829" y="754"/>
                  <a:pt x="829" y="752"/>
                </a:cubicBezTo>
                <a:cubicBezTo>
                  <a:pt x="829" y="749"/>
                  <a:pt x="830" y="746"/>
                  <a:pt x="836" y="746"/>
                </a:cubicBezTo>
                <a:close/>
                <a:moveTo>
                  <a:pt x="222" y="778"/>
                </a:moveTo>
                <a:cubicBezTo>
                  <a:pt x="215" y="778"/>
                  <a:pt x="208" y="776"/>
                  <a:pt x="204" y="770"/>
                </a:cubicBezTo>
                <a:cubicBezTo>
                  <a:pt x="200" y="763"/>
                  <a:pt x="198" y="754"/>
                  <a:pt x="198" y="742"/>
                </a:cubicBezTo>
                <a:cubicBezTo>
                  <a:pt x="198" y="729"/>
                  <a:pt x="200" y="719"/>
                  <a:pt x="204" y="713"/>
                </a:cubicBezTo>
                <a:cubicBezTo>
                  <a:pt x="209" y="706"/>
                  <a:pt x="215" y="703"/>
                  <a:pt x="224" y="703"/>
                </a:cubicBezTo>
                <a:cubicBezTo>
                  <a:pt x="240" y="703"/>
                  <a:pt x="248" y="715"/>
                  <a:pt x="248" y="741"/>
                </a:cubicBezTo>
                <a:cubicBezTo>
                  <a:pt x="248" y="753"/>
                  <a:pt x="246" y="762"/>
                  <a:pt x="241" y="769"/>
                </a:cubicBezTo>
                <a:cubicBezTo>
                  <a:pt x="237" y="776"/>
                  <a:pt x="230" y="778"/>
                  <a:pt x="222" y="778"/>
                </a:cubicBezTo>
                <a:close/>
                <a:moveTo>
                  <a:pt x="223" y="712"/>
                </a:moveTo>
                <a:cubicBezTo>
                  <a:pt x="214" y="712"/>
                  <a:pt x="209" y="722"/>
                  <a:pt x="209" y="742"/>
                </a:cubicBezTo>
                <a:cubicBezTo>
                  <a:pt x="209" y="760"/>
                  <a:pt x="214" y="769"/>
                  <a:pt x="223" y="769"/>
                </a:cubicBezTo>
                <a:cubicBezTo>
                  <a:pt x="232" y="769"/>
                  <a:pt x="236" y="760"/>
                  <a:pt x="236" y="741"/>
                </a:cubicBezTo>
                <a:cubicBezTo>
                  <a:pt x="236" y="722"/>
                  <a:pt x="232" y="712"/>
                  <a:pt x="223" y="712"/>
                </a:cubicBezTo>
                <a:close/>
                <a:moveTo>
                  <a:pt x="292" y="778"/>
                </a:moveTo>
                <a:cubicBezTo>
                  <a:pt x="285" y="778"/>
                  <a:pt x="278" y="776"/>
                  <a:pt x="275" y="770"/>
                </a:cubicBezTo>
                <a:cubicBezTo>
                  <a:pt x="270" y="763"/>
                  <a:pt x="268" y="754"/>
                  <a:pt x="268" y="742"/>
                </a:cubicBezTo>
                <a:cubicBezTo>
                  <a:pt x="268" y="729"/>
                  <a:pt x="270" y="719"/>
                  <a:pt x="275" y="713"/>
                </a:cubicBezTo>
                <a:cubicBezTo>
                  <a:pt x="279" y="706"/>
                  <a:pt x="286" y="703"/>
                  <a:pt x="294" y="703"/>
                </a:cubicBezTo>
                <a:cubicBezTo>
                  <a:pt x="311" y="703"/>
                  <a:pt x="319" y="715"/>
                  <a:pt x="319" y="741"/>
                </a:cubicBezTo>
                <a:cubicBezTo>
                  <a:pt x="319" y="753"/>
                  <a:pt x="316" y="762"/>
                  <a:pt x="312" y="769"/>
                </a:cubicBezTo>
                <a:cubicBezTo>
                  <a:pt x="307" y="776"/>
                  <a:pt x="301" y="778"/>
                  <a:pt x="292" y="778"/>
                </a:cubicBezTo>
                <a:close/>
                <a:moveTo>
                  <a:pt x="294" y="712"/>
                </a:moveTo>
                <a:cubicBezTo>
                  <a:pt x="285" y="712"/>
                  <a:pt x="280" y="722"/>
                  <a:pt x="280" y="742"/>
                </a:cubicBezTo>
                <a:cubicBezTo>
                  <a:pt x="280" y="760"/>
                  <a:pt x="284" y="769"/>
                  <a:pt x="293" y="769"/>
                </a:cubicBezTo>
                <a:cubicBezTo>
                  <a:pt x="302" y="769"/>
                  <a:pt x="306" y="760"/>
                  <a:pt x="306" y="741"/>
                </a:cubicBezTo>
                <a:cubicBezTo>
                  <a:pt x="306" y="722"/>
                  <a:pt x="302" y="712"/>
                  <a:pt x="294" y="712"/>
                </a:cubicBezTo>
                <a:close/>
                <a:moveTo>
                  <a:pt x="502" y="778"/>
                </a:moveTo>
                <a:cubicBezTo>
                  <a:pt x="495" y="778"/>
                  <a:pt x="489" y="776"/>
                  <a:pt x="485" y="769"/>
                </a:cubicBezTo>
                <a:cubicBezTo>
                  <a:pt x="480" y="763"/>
                  <a:pt x="478" y="754"/>
                  <a:pt x="478" y="742"/>
                </a:cubicBezTo>
                <a:cubicBezTo>
                  <a:pt x="478" y="729"/>
                  <a:pt x="480" y="719"/>
                  <a:pt x="485" y="712"/>
                </a:cubicBezTo>
                <a:cubicBezTo>
                  <a:pt x="489" y="706"/>
                  <a:pt x="496" y="703"/>
                  <a:pt x="504" y="703"/>
                </a:cubicBezTo>
                <a:cubicBezTo>
                  <a:pt x="521" y="703"/>
                  <a:pt x="529" y="715"/>
                  <a:pt x="529" y="740"/>
                </a:cubicBezTo>
                <a:cubicBezTo>
                  <a:pt x="529" y="753"/>
                  <a:pt x="527" y="762"/>
                  <a:pt x="522" y="769"/>
                </a:cubicBezTo>
                <a:cubicBezTo>
                  <a:pt x="517" y="776"/>
                  <a:pt x="511" y="778"/>
                  <a:pt x="502" y="778"/>
                </a:cubicBezTo>
                <a:close/>
                <a:moveTo>
                  <a:pt x="504" y="712"/>
                </a:moveTo>
                <a:cubicBezTo>
                  <a:pt x="495" y="712"/>
                  <a:pt x="490" y="722"/>
                  <a:pt x="490" y="741"/>
                </a:cubicBezTo>
                <a:cubicBezTo>
                  <a:pt x="490" y="759"/>
                  <a:pt x="495" y="769"/>
                  <a:pt x="504" y="769"/>
                </a:cubicBezTo>
                <a:cubicBezTo>
                  <a:pt x="512" y="769"/>
                  <a:pt x="516" y="759"/>
                  <a:pt x="516" y="741"/>
                </a:cubicBezTo>
                <a:cubicBezTo>
                  <a:pt x="516" y="722"/>
                  <a:pt x="513" y="712"/>
                  <a:pt x="504" y="712"/>
                </a:cubicBezTo>
                <a:close/>
                <a:moveTo>
                  <a:pt x="575" y="705"/>
                </a:moveTo>
                <a:cubicBezTo>
                  <a:pt x="575" y="705"/>
                  <a:pt x="575" y="705"/>
                  <a:pt x="575" y="705"/>
                </a:cubicBezTo>
                <a:cubicBezTo>
                  <a:pt x="570" y="705"/>
                  <a:pt x="570" y="705"/>
                  <a:pt x="570" y="705"/>
                </a:cubicBezTo>
                <a:cubicBezTo>
                  <a:pt x="568" y="706"/>
                  <a:pt x="566" y="708"/>
                  <a:pt x="564" y="709"/>
                </a:cubicBezTo>
                <a:cubicBezTo>
                  <a:pt x="563" y="710"/>
                  <a:pt x="561" y="711"/>
                  <a:pt x="559" y="712"/>
                </a:cubicBezTo>
                <a:cubicBezTo>
                  <a:pt x="558" y="712"/>
                  <a:pt x="556" y="713"/>
                  <a:pt x="554" y="714"/>
                </a:cubicBezTo>
                <a:cubicBezTo>
                  <a:pt x="552" y="714"/>
                  <a:pt x="551" y="715"/>
                  <a:pt x="548" y="716"/>
                </a:cubicBezTo>
                <a:cubicBezTo>
                  <a:pt x="548" y="716"/>
                  <a:pt x="548" y="716"/>
                  <a:pt x="548" y="726"/>
                </a:cubicBezTo>
                <a:cubicBezTo>
                  <a:pt x="551" y="725"/>
                  <a:pt x="554" y="724"/>
                  <a:pt x="556" y="723"/>
                </a:cubicBezTo>
                <a:cubicBezTo>
                  <a:pt x="559" y="722"/>
                  <a:pt x="561" y="721"/>
                  <a:pt x="563" y="720"/>
                </a:cubicBezTo>
                <a:cubicBezTo>
                  <a:pt x="563" y="720"/>
                  <a:pt x="563" y="720"/>
                  <a:pt x="563" y="778"/>
                </a:cubicBezTo>
                <a:cubicBezTo>
                  <a:pt x="563" y="778"/>
                  <a:pt x="563" y="778"/>
                  <a:pt x="575" y="778"/>
                </a:cubicBezTo>
                <a:cubicBezTo>
                  <a:pt x="575" y="778"/>
                  <a:pt x="575" y="778"/>
                  <a:pt x="575" y="705"/>
                </a:cubicBezTo>
                <a:close/>
                <a:moveTo>
                  <a:pt x="366" y="705"/>
                </a:moveTo>
                <a:cubicBezTo>
                  <a:pt x="366" y="705"/>
                  <a:pt x="366" y="705"/>
                  <a:pt x="366" y="705"/>
                </a:cubicBezTo>
                <a:cubicBezTo>
                  <a:pt x="360" y="705"/>
                  <a:pt x="360" y="705"/>
                  <a:pt x="360" y="705"/>
                </a:cubicBezTo>
                <a:cubicBezTo>
                  <a:pt x="358" y="706"/>
                  <a:pt x="357" y="708"/>
                  <a:pt x="355" y="709"/>
                </a:cubicBezTo>
                <a:cubicBezTo>
                  <a:pt x="353" y="710"/>
                  <a:pt x="352" y="711"/>
                  <a:pt x="349" y="712"/>
                </a:cubicBezTo>
                <a:cubicBezTo>
                  <a:pt x="348" y="713"/>
                  <a:pt x="346" y="714"/>
                  <a:pt x="344" y="714"/>
                </a:cubicBezTo>
                <a:cubicBezTo>
                  <a:pt x="342" y="715"/>
                  <a:pt x="340" y="716"/>
                  <a:pt x="338" y="716"/>
                </a:cubicBezTo>
                <a:cubicBezTo>
                  <a:pt x="338" y="716"/>
                  <a:pt x="338" y="716"/>
                  <a:pt x="338" y="726"/>
                </a:cubicBezTo>
                <a:cubicBezTo>
                  <a:pt x="341" y="725"/>
                  <a:pt x="344" y="725"/>
                  <a:pt x="347" y="723"/>
                </a:cubicBezTo>
                <a:cubicBezTo>
                  <a:pt x="349" y="722"/>
                  <a:pt x="352" y="721"/>
                  <a:pt x="354" y="720"/>
                </a:cubicBezTo>
                <a:cubicBezTo>
                  <a:pt x="354" y="720"/>
                  <a:pt x="354" y="720"/>
                  <a:pt x="354" y="778"/>
                </a:cubicBezTo>
                <a:cubicBezTo>
                  <a:pt x="354" y="778"/>
                  <a:pt x="354" y="778"/>
                  <a:pt x="366" y="778"/>
                </a:cubicBezTo>
                <a:cubicBezTo>
                  <a:pt x="366" y="778"/>
                  <a:pt x="366" y="778"/>
                  <a:pt x="366" y="705"/>
                </a:cubicBezTo>
                <a:close/>
                <a:moveTo>
                  <a:pt x="413" y="705"/>
                </a:moveTo>
                <a:cubicBezTo>
                  <a:pt x="413" y="705"/>
                  <a:pt x="413" y="705"/>
                  <a:pt x="413" y="705"/>
                </a:cubicBezTo>
                <a:cubicBezTo>
                  <a:pt x="407" y="705"/>
                  <a:pt x="407" y="705"/>
                  <a:pt x="407" y="705"/>
                </a:cubicBezTo>
                <a:cubicBezTo>
                  <a:pt x="405" y="706"/>
                  <a:pt x="404" y="708"/>
                  <a:pt x="402" y="709"/>
                </a:cubicBezTo>
                <a:cubicBezTo>
                  <a:pt x="400" y="710"/>
                  <a:pt x="398" y="711"/>
                  <a:pt x="396" y="712"/>
                </a:cubicBezTo>
                <a:cubicBezTo>
                  <a:pt x="395" y="713"/>
                  <a:pt x="393" y="714"/>
                  <a:pt x="391" y="714"/>
                </a:cubicBezTo>
                <a:cubicBezTo>
                  <a:pt x="389" y="715"/>
                  <a:pt x="388" y="716"/>
                  <a:pt x="385" y="716"/>
                </a:cubicBezTo>
                <a:cubicBezTo>
                  <a:pt x="385" y="716"/>
                  <a:pt x="385" y="716"/>
                  <a:pt x="385" y="726"/>
                </a:cubicBezTo>
                <a:cubicBezTo>
                  <a:pt x="388" y="725"/>
                  <a:pt x="391" y="725"/>
                  <a:pt x="393" y="723"/>
                </a:cubicBezTo>
                <a:cubicBezTo>
                  <a:pt x="396" y="722"/>
                  <a:pt x="399" y="721"/>
                  <a:pt x="401" y="720"/>
                </a:cubicBezTo>
                <a:cubicBezTo>
                  <a:pt x="401" y="720"/>
                  <a:pt x="401" y="720"/>
                  <a:pt x="401" y="778"/>
                </a:cubicBezTo>
                <a:cubicBezTo>
                  <a:pt x="401" y="778"/>
                  <a:pt x="401" y="778"/>
                  <a:pt x="413" y="778"/>
                </a:cubicBezTo>
                <a:cubicBezTo>
                  <a:pt x="413" y="778"/>
                  <a:pt x="413" y="778"/>
                  <a:pt x="413" y="705"/>
                </a:cubicBezTo>
                <a:close/>
                <a:moveTo>
                  <a:pt x="458" y="705"/>
                </a:moveTo>
                <a:cubicBezTo>
                  <a:pt x="458" y="705"/>
                  <a:pt x="458" y="705"/>
                  <a:pt x="458" y="705"/>
                </a:cubicBezTo>
                <a:cubicBezTo>
                  <a:pt x="454" y="705"/>
                  <a:pt x="454" y="705"/>
                  <a:pt x="454" y="705"/>
                </a:cubicBezTo>
                <a:cubicBezTo>
                  <a:pt x="452" y="706"/>
                  <a:pt x="450" y="708"/>
                  <a:pt x="448" y="709"/>
                </a:cubicBezTo>
                <a:cubicBezTo>
                  <a:pt x="447" y="710"/>
                  <a:pt x="445" y="711"/>
                  <a:pt x="443" y="712"/>
                </a:cubicBezTo>
                <a:cubicBezTo>
                  <a:pt x="441" y="712"/>
                  <a:pt x="440" y="713"/>
                  <a:pt x="437" y="714"/>
                </a:cubicBezTo>
                <a:cubicBezTo>
                  <a:pt x="436" y="714"/>
                  <a:pt x="434" y="715"/>
                  <a:pt x="432" y="716"/>
                </a:cubicBezTo>
                <a:cubicBezTo>
                  <a:pt x="432" y="716"/>
                  <a:pt x="432" y="716"/>
                  <a:pt x="432" y="726"/>
                </a:cubicBezTo>
                <a:cubicBezTo>
                  <a:pt x="435" y="725"/>
                  <a:pt x="438" y="724"/>
                  <a:pt x="440" y="723"/>
                </a:cubicBezTo>
                <a:cubicBezTo>
                  <a:pt x="442" y="722"/>
                  <a:pt x="445" y="721"/>
                  <a:pt x="447" y="720"/>
                </a:cubicBezTo>
                <a:cubicBezTo>
                  <a:pt x="447" y="720"/>
                  <a:pt x="447" y="720"/>
                  <a:pt x="447" y="778"/>
                </a:cubicBezTo>
                <a:cubicBezTo>
                  <a:pt x="447" y="778"/>
                  <a:pt x="447" y="778"/>
                  <a:pt x="458" y="778"/>
                </a:cubicBezTo>
                <a:cubicBezTo>
                  <a:pt x="458" y="778"/>
                  <a:pt x="458" y="778"/>
                  <a:pt x="458" y="705"/>
                </a:cubicBezTo>
                <a:close/>
                <a:moveTo>
                  <a:pt x="24" y="778"/>
                </a:moveTo>
                <a:cubicBezTo>
                  <a:pt x="17" y="778"/>
                  <a:pt x="10" y="776"/>
                  <a:pt x="6" y="770"/>
                </a:cubicBezTo>
                <a:cubicBezTo>
                  <a:pt x="2" y="763"/>
                  <a:pt x="0" y="754"/>
                  <a:pt x="0" y="742"/>
                </a:cubicBezTo>
                <a:cubicBezTo>
                  <a:pt x="0" y="729"/>
                  <a:pt x="2" y="719"/>
                  <a:pt x="6" y="713"/>
                </a:cubicBezTo>
                <a:cubicBezTo>
                  <a:pt x="11" y="706"/>
                  <a:pt x="17" y="703"/>
                  <a:pt x="26" y="703"/>
                </a:cubicBezTo>
                <a:cubicBezTo>
                  <a:pt x="42" y="703"/>
                  <a:pt x="50" y="715"/>
                  <a:pt x="50" y="741"/>
                </a:cubicBezTo>
                <a:cubicBezTo>
                  <a:pt x="50" y="753"/>
                  <a:pt x="48" y="762"/>
                  <a:pt x="44" y="769"/>
                </a:cubicBezTo>
                <a:cubicBezTo>
                  <a:pt x="39" y="776"/>
                  <a:pt x="33" y="778"/>
                  <a:pt x="24" y="778"/>
                </a:cubicBezTo>
                <a:close/>
                <a:moveTo>
                  <a:pt x="25" y="712"/>
                </a:moveTo>
                <a:cubicBezTo>
                  <a:pt x="17" y="712"/>
                  <a:pt x="12" y="722"/>
                  <a:pt x="12" y="742"/>
                </a:cubicBezTo>
                <a:cubicBezTo>
                  <a:pt x="12" y="760"/>
                  <a:pt x="16" y="769"/>
                  <a:pt x="25" y="769"/>
                </a:cubicBezTo>
                <a:cubicBezTo>
                  <a:pt x="33" y="769"/>
                  <a:pt x="38" y="760"/>
                  <a:pt x="38" y="741"/>
                </a:cubicBezTo>
                <a:cubicBezTo>
                  <a:pt x="38" y="722"/>
                  <a:pt x="33" y="712"/>
                  <a:pt x="25" y="712"/>
                </a:cubicBezTo>
                <a:close/>
                <a:moveTo>
                  <a:pt x="85" y="705"/>
                </a:moveTo>
                <a:cubicBezTo>
                  <a:pt x="85" y="705"/>
                  <a:pt x="85" y="705"/>
                  <a:pt x="85" y="705"/>
                </a:cubicBezTo>
                <a:cubicBezTo>
                  <a:pt x="80" y="705"/>
                  <a:pt x="80" y="705"/>
                  <a:pt x="80" y="705"/>
                </a:cubicBezTo>
                <a:cubicBezTo>
                  <a:pt x="78" y="706"/>
                  <a:pt x="76" y="708"/>
                  <a:pt x="74" y="709"/>
                </a:cubicBezTo>
                <a:cubicBezTo>
                  <a:pt x="73" y="710"/>
                  <a:pt x="71" y="711"/>
                  <a:pt x="69" y="712"/>
                </a:cubicBezTo>
                <a:cubicBezTo>
                  <a:pt x="68" y="713"/>
                  <a:pt x="65" y="714"/>
                  <a:pt x="64" y="714"/>
                </a:cubicBezTo>
                <a:cubicBezTo>
                  <a:pt x="62" y="715"/>
                  <a:pt x="60" y="716"/>
                  <a:pt x="58" y="716"/>
                </a:cubicBezTo>
                <a:cubicBezTo>
                  <a:pt x="58" y="716"/>
                  <a:pt x="58" y="716"/>
                  <a:pt x="58" y="726"/>
                </a:cubicBezTo>
                <a:cubicBezTo>
                  <a:pt x="61" y="725"/>
                  <a:pt x="64" y="725"/>
                  <a:pt x="67" y="723"/>
                </a:cubicBezTo>
                <a:cubicBezTo>
                  <a:pt x="69" y="722"/>
                  <a:pt x="71" y="721"/>
                  <a:pt x="73" y="720"/>
                </a:cubicBezTo>
                <a:cubicBezTo>
                  <a:pt x="73" y="720"/>
                  <a:pt x="73" y="720"/>
                  <a:pt x="73" y="778"/>
                </a:cubicBezTo>
                <a:cubicBezTo>
                  <a:pt x="73" y="778"/>
                  <a:pt x="73" y="778"/>
                  <a:pt x="85" y="778"/>
                </a:cubicBezTo>
                <a:cubicBezTo>
                  <a:pt x="85" y="778"/>
                  <a:pt x="85" y="778"/>
                  <a:pt x="85" y="705"/>
                </a:cubicBezTo>
                <a:close/>
                <a:moveTo>
                  <a:pt x="132" y="705"/>
                </a:moveTo>
                <a:cubicBezTo>
                  <a:pt x="132" y="705"/>
                  <a:pt x="132" y="705"/>
                  <a:pt x="132" y="705"/>
                </a:cubicBezTo>
                <a:cubicBezTo>
                  <a:pt x="127" y="705"/>
                  <a:pt x="127" y="705"/>
                  <a:pt x="127" y="705"/>
                </a:cubicBezTo>
                <a:cubicBezTo>
                  <a:pt x="125" y="706"/>
                  <a:pt x="123" y="708"/>
                  <a:pt x="121" y="709"/>
                </a:cubicBezTo>
                <a:cubicBezTo>
                  <a:pt x="120" y="710"/>
                  <a:pt x="117" y="711"/>
                  <a:pt x="116" y="712"/>
                </a:cubicBezTo>
                <a:cubicBezTo>
                  <a:pt x="114" y="713"/>
                  <a:pt x="112" y="714"/>
                  <a:pt x="111" y="714"/>
                </a:cubicBezTo>
                <a:cubicBezTo>
                  <a:pt x="109" y="715"/>
                  <a:pt x="107" y="716"/>
                  <a:pt x="105" y="716"/>
                </a:cubicBezTo>
                <a:cubicBezTo>
                  <a:pt x="105" y="716"/>
                  <a:pt x="105" y="716"/>
                  <a:pt x="105" y="726"/>
                </a:cubicBezTo>
                <a:cubicBezTo>
                  <a:pt x="108" y="725"/>
                  <a:pt x="111" y="725"/>
                  <a:pt x="113" y="723"/>
                </a:cubicBezTo>
                <a:cubicBezTo>
                  <a:pt x="116" y="722"/>
                  <a:pt x="118" y="721"/>
                  <a:pt x="120" y="720"/>
                </a:cubicBezTo>
                <a:cubicBezTo>
                  <a:pt x="120" y="720"/>
                  <a:pt x="120" y="720"/>
                  <a:pt x="120" y="778"/>
                </a:cubicBezTo>
                <a:cubicBezTo>
                  <a:pt x="120" y="778"/>
                  <a:pt x="120" y="778"/>
                  <a:pt x="132" y="778"/>
                </a:cubicBezTo>
                <a:cubicBezTo>
                  <a:pt x="132" y="778"/>
                  <a:pt x="132" y="778"/>
                  <a:pt x="132" y="705"/>
                </a:cubicBezTo>
                <a:close/>
                <a:moveTo>
                  <a:pt x="178" y="705"/>
                </a:moveTo>
                <a:cubicBezTo>
                  <a:pt x="178" y="705"/>
                  <a:pt x="178" y="705"/>
                  <a:pt x="178" y="705"/>
                </a:cubicBezTo>
                <a:cubicBezTo>
                  <a:pt x="174" y="705"/>
                  <a:pt x="174" y="705"/>
                  <a:pt x="174" y="705"/>
                </a:cubicBezTo>
                <a:cubicBezTo>
                  <a:pt x="171" y="706"/>
                  <a:pt x="170" y="708"/>
                  <a:pt x="168" y="709"/>
                </a:cubicBezTo>
                <a:cubicBezTo>
                  <a:pt x="166" y="710"/>
                  <a:pt x="164" y="711"/>
                  <a:pt x="163" y="712"/>
                </a:cubicBezTo>
                <a:cubicBezTo>
                  <a:pt x="161" y="712"/>
                  <a:pt x="159" y="713"/>
                  <a:pt x="157" y="714"/>
                </a:cubicBezTo>
                <a:cubicBezTo>
                  <a:pt x="156" y="714"/>
                  <a:pt x="153" y="715"/>
                  <a:pt x="152" y="716"/>
                </a:cubicBezTo>
                <a:cubicBezTo>
                  <a:pt x="152" y="716"/>
                  <a:pt x="152" y="716"/>
                  <a:pt x="152" y="726"/>
                </a:cubicBezTo>
                <a:cubicBezTo>
                  <a:pt x="155" y="725"/>
                  <a:pt x="158" y="724"/>
                  <a:pt x="160" y="723"/>
                </a:cubicBezTo>
                <a:cubicBezTo>
                  <a:pt x="162" y="722"/>
                  <a:pt x="165" y="721"/>
                  <a:pt x="166" y="720"/>
                </a:cubicBezTo>
                <a:cubicBezTo>
                  <a:pt x="166" y="720"/>
                  <a:pt x="166" y="720"/>
                  <a:pt x="166" y="778"/>
                </a:cubicBezTo>
                <a:cubicBezTo>
                  <a:pt x="166" y="778"/>
                  <a:pt x="166" y="778"/>
                  <a:pt x="178" y="778"/>
                </a:cubicBezTo>
                <a:cubicBezTo>
                  <a:pt x="178" y="778"/>
                  <a:pt x="178" y="778"/>
                  <a:pt x="178" y="705"/>
                </a:cubicBezTo>
                <a:close/>
                <a:moveTo>
                  <a:pt x="24" y="1078"/>
                </a:moveTo>
                <a:cubicBezTo>
                  <a:pt x="17" y="1078"/>
                  <a:pt x="10" y="1075"/>
                  <a:pt x="6" y="1069"/>
                </a:cubicBezTo>
                <a:cubicBezTo>
                  <a:pt x="2" y="1063"/>
                  <a:pt x="0" y="1054"/>
                  <a:pt x="0" y="1042"/>
                </a:cubicBezTo>
                <a:cubicBezTo>
                  <a:pt x="0" y="1028"/>
                  <a:pt x="2" y="1019"/>
                  <a:pt x="6" y="1012"/>
                </a:cubicBezTo>
                <a:cubicBezTo>
                  <a:pt x="11" y="1006"/>
                  <a:pt x="17" y="1002"/>
                  <a:pt x="26" y="1002"/>
                </a:cubicBezTo>
                <a:cubicBezTo>
                  <a:pt x="42" y="1002"/>
                  <a:pt x="50" y="1015"/>
                  <a:pt x="50" y="1040"/>
                </a:cubicBezTo>
                <a:cubicBezTo>
                  <a:pt x="50" y="1052"/>
                  <a:pt x="48" y="1062"/>
                  <a:pt x="44" y="1068"/>
                </a:cubicBezTo>
                <a:cubicBezTo>
                  <a:pt x="39" y="1075"/>
                  <a:pt x="33" y="1078"/>
                  <a:pt x="24" y="1078"/>
                </a:cubicBezTo>
                <a:close/>
                <a:moveTo>
                  <a:pt x="25" y="1012"/>
                </a:moveTo>
                <a:cubicBezTo>
                  <a:pt x="17" y="1012"/>
                  <a:pt x="12" y="1022"/>
                  <a:pt x="12" y="1042"/>
                </a:cubicBezTo>
                <a:cubicBezTo>
                  <a:pt x="12" y="1060"/>
                  <a:pt x="16" y="1068"/>
                  <a:pt x="25" y="1068"/>
                </a:cubicBezTo>
                <a:cubicBezTo>
                  <a:pt x="33" y="1068"/>
                  <a:pt x="38" y="1060"/>
                  <a:pt x="38" y="1041"/>
                </a:cubicBezTo>
                <a:cubicBezTo>
                  <a:pt x="38" y="1021"/>
                  <a:pt x="33" y="1012"/>
                  <a:pt x="25" y="1012"/>
                </a:cubicBezTo>
                <a:close/>
                <a:moveTo>
                  <a:pt x="26" y="983"/>
                </a:moveTo>
                <a:cubicBezTo>
                  <a:pt x="19" y="983"/>
                  <a:pt x="12" y="980"/>
                  <a:pt x="8" y="974"/>
                </a:cubicBezTo>
                <a:cubicBezTo>
                  <a:pt x="4" y="968"/>
                  <a:pt x="2" y="959"/>
                  <a:pt x="2" y="946"/>
                </a:cubicBezTo>
                <a:cubicBezTo>
                  <a:pt x="2" y="933"/>
                  <a:pt x="4" y="924"/>
                  <a:pt x="8" y="917"/>
                </a:cubicBezTo>
                <a:cubicBezTo>
                  <a:pt x="13" y="911"/>
                  <a:pt x="19" y="907"/>
                  <a:pt x="28" y="907"/>
                </a:cubicBezTo>
                <a:cubicBezTo>
                  <a:pt x="44" y="907"/>
                  <a:pt x="52" y="919"/>
                  <a:pt x="52" y="945"/>
                </a:cubicBezTo>
                <a:cubicBezTo>
                  <a:pt x="52" y="957"/>
                  <a:pt x="50" y="967"/>
                  <a:pt x="46" y="973"/>
                </a:cubicBezTo>
                <a:cubicBezTo>
                  <a:pt x="40" y="980"/>
                  <a:pt x="35" y="983"/>
                  <a:pt x="26" y="983"/>
                </a:cubicBezTo>
                <a:close/>
                <a:moveTo>
                  <a:pt x="27" y="917"/>
                </a:moveTo>
                <a:cubicBezTo>
                  <a:pt x="19" y="917"/>
                  <a:pt x="13" y="927"/>
                  <a:pt x="13" y="946"/>
                </a:cubicBezTo>
                <a:cubicBezTo>
                  <a:pt x="13" y="965"/>
                  <a:pt x="18" y="973"/>
                  <a:pt x="27" y="973"/>
                </a:cubicBezTo>
                <a:cubicBezTo>
                  <a:pt x="35" y="973"/>
                  <a:pt x="40" y="965"/>
                  <a:pt x="40" y="946"/>
                </a:cubicBezTo>
                <a:cubicBezTo>
                  <a:pt x="40" y="926"/>
                  <a:pt x="35" y="917"/>
                  <a:pt x="27" y="917"/>
                </a:cubicBezTo>
                <a:close/>
                <a:moveTo>
                  <a:pt x="93" y="671"/>
                </a:moveTo>
                <a:cubicBezTo>
                  <a:pt x="85" y="671"/>
                  <a:pt x="79" y="668"/>
                  <a:pt x="74" y="662"/>
                </a:cubicBezTo>
                <a:cubicBezTo>
                  <a:pt x="71" y="656"/>
                  <a:pt x="68" y="647"/>
                  <a:pt x="68" y="634"/>
                </a:cubicBezTo>
                <a:cubicBezTo>
                  <a:pt x="68" y="621"/>
                  <a:pt x="71" y="612"/>
                  <a:pt x="75" y="605"/>
                </a:cubicBezTo>
                <a:cubicBezTo>
                  <a:pt x="80" y="599"/>
                  <a:pt x="86" y="595"/>
                  <a:pt x="95" y="595"/>
                </a:cubicBezTo>
                <a:cubicBezTo>
                  <a:pt x="111" y="595"/>
                  <a:pt x="119" y="607"/>
                  <a:pt x="119" y="633"/>
                </a:cubicBezTo>
                <a:cubicBezTo>
                  <a:pt x="119" y="645"/>
                  <a:pt x="117" y="655"/>
                  <a:pt x="112" y="661"/>
                </a:cubicBezTo>
                <a:cubicBezTo>
                  <a:pt x="108" y="668"/>
                  <a:pt x="101" y="671"/>
                  <a:pt x="93" y="671"/>
                </a:cubicBezTo>
                <a:close/>
                <a:moveTo>
                  <a:pt x="94" y="605"/>
                </a:moveTo>
                <a:cubicBezTo>
                  <a:pt x="85" y="605"/>
                  <a:pt x="80" y="615"/>
                  <a:pt x="80" y="634"/>
                </a:cubicBezTo>
                <a:cubicBezTo>
                  <a:pt x="80" y="653"/>
                  <a:pt x="85" y="661"/>
                  <a:pt x="94" y="661"/>
                </a:cubicBezTo>
                <a:cubicBezTo>
                  <a:pt x="102" y="661"/>
                  <a:pt x="107" y="653"/>
                  <a:pt x="107" y="634"/>
                </a:cubicBezTo>
                <a:cubicBezTo>
                  <a:pt x="107" y="614"/>
                  <a:pt x="102" y="605"/>
                  <a:pt x="94" y="605"/>
                </a:cubicBezTo>
                <a:close/>
                <a:moveTo>
                  <a:pt x="167" y="597"/>
                </a:moveTo>
                <a:cubicBezTo>
                  <a:pt x="167" y="597"/>
                  <a:pt x="167" y="597"/>
                  <a:pt x="167" y="597"/>
                </a:cubicBezTo>
                <a:cubicBezTo>
                  <a:pt x="162" y="597"/>
                  <a:pt x="162" y="597"/>
                  <a:pt x="162" y="597"/>
                </a:cubicBezTo>
                <a:cubicBezTo>
                  <a:pt x="159" y="599"/>
                  <a:pt x="158" y="600"/>
                  <a:pt x="156" y="601"/>
                </a:cubicBezTo>
                <a:cubicBezTo>
                  <a:pt x="154" y="603"/>
                  <a:pt x="152" y="603"/>
                  <a:pt x="151" y="604"/>
                </a:cubicBezTo>
                <a:cubicBezTo>
                  <a:pt x="148" y="605"/>
                  <a:pt x="147" y="605"/>
                  <a:pt x="145" y="606"/>
                </a:cubicBezTo>
                <a:cubicBezTo>
                  <a:pt x="143" y="607"/>
                  <a:pt x="142" y="608"/>
                  <a:pt x="140" y="608"/>
                </a:cubicBezTo>
                <a:cubicBezTo>
                  <a:pt x="140" y="608"/>
                  <a:pt x="140" y="608"/>
                  <a:pt x="140" y="619"/>
                </a:cubicBezTo>
                <a:cubicBezTo>
                  <a:pt x="142" y="618"/>
                  <a:pt x="145" y="616"/>
                  <a:pt x="148" y="616"/>
                </a:cubicBezTo>
                <a:cubicBezTo>
                  <a:pt x="151" y="615"/>
                  <a:pt x="153" y="613"/>
                  <a:pt x="155" y="612"/>
                </a:cubicBezTo>
                <a:cubicBezTo>
                  <a:pt x="155" y="612"/>
                  <a:pt x="155" y="612"/>
                  <a:pt x="155" y="671"/>
                </a:cubicBezTo>
                <a:cubicBezTo>
                  <a:pt x="155" y="671"/>
                  <a:pt x="155" y="671"/>
                  <a:pt x="167" y="671"/>
                </a:cubicBezTo>
                <a:cubicBezTo>
                  <a:pt x="167" y="671"/>
                  <a:pt x="167" y="671"/>
                  <a:pt x="167" y="597"/>
                </a:cubicBezTo>
                <a:close/>
                <a:moveTo>
                  <a:pt x="214" y="597"/>
                </a:moveTo>
                <a:cubicBezTo>
                  <a:pt x="214" y="597"/>
                  <a:pt x="214" y="597"/>
                  <a:pt x="214" y="597"/>
                </a:cubicBezTo>
                <a:cubicBezTo>
                  <a:pt x="209" y="597"/>
                  <a:pt x="209" y="597"/>
                  <a:pt x="209" y="597"/>
                </a:cubicBezTo>
                <a:cubicBezTo>
                  <a:pt x="207" y="599"/>
                  <a:pt x="205" y="600"/>
                  <a:pt x="203" y="601"/>
                </a:cubicBezTo>
                <a:cubicBezTo>
                  <a:pt x="202" y="603"/>
                  <a:pt x="199" y="603"/>
                  <a:pt x="198" y="604"/>
                </a:cubicBezTo>
                <a:cubicBezTo>
                  <a:pt x="196" y="605"/>
                  <a:pt x="194" y="606"/>
                  <a:pt x="193" y="607"/>
                </a:cubicBezTo>
                <a:cubicBezTo>
                  <a:pt x="191" y="608"/>
                  <a:pt x="189" y="608"/>
                  <a:pt x="187" y="608"/>
                </a:cubicBezTo>
                <a:cubicBezTo>
                  <a:pt x="187" y="608"/>
                  <a:pt x="187" y="608"/>
                  <a:pt x="187" y="619"/>
                </a:cubicBezTo>
                <a:cubicBezTo>
                  <a:pt x="190" y="618"/>
                  <a:pt x="193" y="617"/>
                  <a:pt x="195" y="616"/>
                </a:cubicBezTo>
                <a:cubicBezTo>
                  <a:pt x="198" y="615"/>
                  <a:pt x="200" y="613"/>
                  <a:pt x="202" y="612"/>
                </a:cubicBezTo>
                <a:cubicBezTo>
                  <a:pt x="202" y="612"/>
                  <a:pt x="202" y="612"/>
                  <a:pt x="202" y="671"/>
                </a:cubicBezTo>
                <a:cubicBezTo>
                  <a:pt x="202" y="671"/>
                  <a:pt x="202" y="671"/>
                  <a:pt x="214" y="671"/>
                </a:cubicBezTo>
                <a:cubicBezTo>
                  <a:pt x="214" y="671"/>
                  <a:pt x="214" y="671"/>
                  <a:pt x="214" y="597"/>
                </a:cubicBezTo>
                <a:close/>
                <a:moveTo>
                  <a:pt x="260" y="597"/>
                </a:moveTo>
                <a:cubicBezTo>
                  <a:pt x="260" y="597"/>
                  <a:pt x="260" y="597"/>
                  <a:pt x="260" y="597"/>
                </a:cubicBezTo>
                <a:cubicBezTo>
                  <a:pt x="256" y="597"/>
                  <a:pt x="256" y="597"/>
                  <a:pt x="256" y="597"/>
                </a:cubicBezTo>
                <a:cubicBezTo>
                  <a:pt x="254" y="599"/>
                  <a:pt x="252" y="600"/>
                  <a:pt x="250" y="601"/>
                </a:cubicBezTo>
                <a:cubicBezTo>
                  <a:pt x="248" y="603"/>
                  <a:pt x="246" y="603"/>
                  <a:pt x="245" y="604"/>
                </a:cubicBezTo>
                <a:cubicBezTo>
                  <a:pt x="243" y="605"/>
                  <a:pt x="241" y="606"/>
                  <a:pt x="239" y="607"/>
                </a:cubicBezTo>
                <a:cubicBezTo>
                  <a:pt x="238" y="608"/>
                  <a:pt x="236" y="608"/>
                  <a:pt x="234" y="608"/>
                </a:cubicBezTo>
                <a:cubicBezTo>
                  <a:pt x="234" y="608"/>
                  <a:pt x="234" y="608"/>
                  <a:pt x="234" y="619"/>
                </a:cubicBezTo>
                <a:cubicBezTo>
                  <a:pt x="237" y="618"/>
                  <a:pt x="240" y="617"/>
                  <a:pt x="242" y="616"/>
                </a:cubicBezTo>
                <a:cubicBezTo>
                  <a:pt x="244" y="615"/>
                  <a:pt x="247" y="613"/>
                  <a:pt x="248" y="612"/>
                </a:cubicBezTo>
                <a:cubicBezTo>
                  <a:pt x="248" y="612"/>
                  <a:pt x="248" y="612"/>
                  <a:pt x="248" y="671"/>
                </a:cubicBezTo>
                <a:cubicBezTo>
                  <a:pt x="248" y="671"/>
                  <a:pt x="248" y="671"/>
                  <a:pt x="260" y="671"/>
                </a:cubicBezTo>
                <a:cubicBezTo>
                  <a:pt x="260" y="671"/>
                  <a:pt x="260" y="671"/>
                  <a:pt x="260" y="597"/>
                </a:cubicBezTo>
                <a:close/>
                <a:moveTo>
                  <a:pt x="308" y="597"/>
                </a:moveTo>
                <a:cubicBezTo>
                  <a:pt x="308" y="597"/>
                  <a:pt x="308" y="597"/>
                  <a:pt x="308" y="597"/>
                </a:cubicBezTo>
                <a:cubicBezTo>
                  <a:pt x="302" y="597"/>
                  <a:pt x="302" y="597"/>
                  <a:pt x="302" y="597"/>
                </a:cubicBezTo>
                <a:cubicBezTo>
                  <a:pt x="300" y="599"/>
                  <a:pt x="299" y="600"/>
                  <a:pt x="297" y="601"/>
                </a:cubicBezTo>
                <a:cubicBezTo>
                  <a:pt x="295" y="603"/>
                  <a:pt x="294" y="603"/>
                  <a:pt x="292" y="604"/>
                </a:cubicBezTo>
                <a:cubicBezTo>
                  <a:pt x="290" y="605"/>
                  <a:pt x="288" y="606"/>
                  <a:pt x="286" y="607"/>
                </a:cubicBezTo>
                <a:cubicBezTo>
                  <a:pt x="284" y="608"/>
                  <a:pt x="283" y="608"/>
                  <a:pt x="281" y="608"/>
                </a:cubicBezTo>
                <a:cubicBezTo>
                  <a:pt x="281" y="608"/>
                  <a:pt x="281" y="608"/>
                  <a:pt x="281" y="619"/>
                </a:cubicBezTo>
                <a:cubicBezTo>
                  <a:pt x="284" y="618"/>
                  <a:pt x="286" y="617"/>
                  <a:pt x="289" y="616"/>
                </a:cubicBezTo>
                <a:cubicBezTo>
                  <a:pt x="292" y="615"/>
                  <a:pt x="294" y="613"/>
                  <a:pt x="296" y="612"/>
                </a:cubicBezTo>
                <a:cubicBezTo>
                  <a:pt x="296" y="612"/>
                  <a:pt x="296" y="612"/>
                  <a:pt x="296" y="671"/>
                </a:cubicBezTo>
                <a:cubicBezTo>
                  <a:pt x="296" y="671"/>
                  <a:pt x="296" y="671"/>
                  <a:pt x="308" y="671"/>
                </a:cubicBezTo>
                <a:cubicBezTo>
                  <a:pt x="308" y="671"/>
                  <a:pt x="308" y="671"/>
                  <a:pt x="308" y="597"/>
                </a:cubicBezTo>
                <a:close/>
                <a:moveTo>
                  <a:pt x="431" y="597"/>
                </a:moveTo>
                <a:cubicBezTo>
                  <a:pt x="431" y="597"/>
                  <a:pt x="431" y="597"/>
                  <a:pt x="431" y="597"/>
                </a:cubicBezTo>
                <a:cubicBezTo>
                  <a:pt x="426" y="597"/>
                  <a:pt x="426" y="597"/>
                  <a:pt x="426" y="597"/>
                </a:cubicBezTo>
                <a:cubicBezTo>
                  <a:pt x="423" y="599"/>
                  <a:pt x="422" y="600"/>
                  <a:pt x="420" y="601"/>
                </a:cubicBezTo>
                <a:cubicBezTo>
                  <a:pt x="418" y="603"/>
                  <a:pt x="417" y="603"/>
                  <a:pt x="415" y="604"/>
                </a:cubicBezTo>
                <a:cubicBezTo>
                  <a:pt x="413" y="605"/>
                  <a:pt x="411" y="606"/>
                  <a:pt x="409" y="607"/>
                </a:cubicBezTo>
                <a:cubicBezTo>
                  <a:pt x="407" y="608"/>
                  <a:pt x="406" y="608"/>
                  <a:pt x="404" y="608"/>
                </a:cubicBezTo>
                <a:cubicBezTo>
                  <a:pt x="404" y="608"/>
                  <a:pt x="404" y="608"/>
                  <a:pt x="404" y="619"/>
                </a:cubicBezTo>
                <a:cubicBezTo>
                  <a:pt x="406" y="618"/>
                  <a:pt x="409" y="617"/>
                  <a:pt x="412" y="616"/>
                </a:cubicBezTo>
                <a:cubicBezTo>
                  <a:pt x="415" y="615"/>
                  <a:pt x="417" y="613"/>
                  <a:pt x="419" y="612"/>
                </a:cubicBezTo>
                <a:cubicBezTo>
                  <a:pt x="419" y="612"/>
                  <a:pt x="419" y="612"/>
                  <a:pt x="419" y="671"/>
                </a:cubicBezTo>
                <a:cubicBezTo>
                  <a:pt x="419" y="671"/>
                  <a:pt x="419" y="671"/>
                  <a:pt x="431" y="671"/>
                </a:cubicBezTo>
                <a:cubicBezTo>
                  <a:pt x="431" y="671"/>
                  <a:pt x="431" y="671"/>
                  <a:pt x="431" y="597"/>
                </a:cubicBezTo>
                <a:close/>
                <a:moveTo>
                  <a:pt x="478" y="597"/>
                </a:moveTo>
                <a:cubicBezTo>
                  <a:pt x="478" y="597"/>
                  <a:pt x="478" y="597"/>
                  <a:pt x="478" y="597"/>
                </a:cubicBezTo>
                <a:cubicBezTo>
                  <a:pt x="473" y="597"/>
                  <a:pt x="473" y="597"/>
                  <a:pt x="473" y="597"/>
                </a:cubicBezTo>
                <a:cubicBezTo>
                  <a:pt x="471" y="599"/>
                  <a:pt x="470" y="600"/>
                  <a:pt x="467" y="601"/>
                </a:cubicBezTo>
                <a:cubicBezTo>
                  <a:pt x="466" y="603"/>
                  <a:pt x="464" y="603"/>
                  <a:pt x="462" y="604"/>
                </a:cubicBezTo>
                <a:cubicBezTo>
                  <a:pt x="461" y="605"/>
                  <a:pt x="458" y="606"/>
                  <a:pt x="457" y="607"/>
                </a:cubicBezTo>
                <a:cubicBezTo>
                  <a:pt x="455" y="608"/>
                  <a:pt x="453" y="608"/>
                  <a:pt x="451" y="608"/>
                </a:cubicBezTo>
                <a:cubicBezTo>
                  <a:pt x="451" y="608"/>
                  <a:pt x="451" y="608"/>
                  <a:pt x="451" y="619"/>
                </a:cubicBezTo>
                <a:cubicBezTo>
                  <a:pt x="454" y="618"/>
                  <a:pt x="457" y="617"/>
                  <a:pt x="459" y="616"/>
                </a:cubicBezTo>
                <a:cubicBezTo>
                  <a:pt x="462" y="615"/>
                  <a:pt x="464" y="613"/>
                  <a:pt x="467" y="612"/>
                </a:cubicBezTo>
                <a:cubicBezTo>
                  <a:pt x="467" y="612"/>
                  <a:pt x="467" y="612"/>
                  <a:pt x="467" y="671"/>
                </a:cubicBezTo>
                <a:cubicBezTo>
                  <a:pt x="467" y="671"/>
                  <a:pt x="467" y="671"/>
                  <a:pt x="478" y="671"/>
                </a:cubicBezTo>
                <a:cubicBezTo>
                  <a:pt x="478" y="671"/>
                  <a:pt x="478" y="671"/>
                  <a:pt x="478" y="597"/>
                </a:cubicBezTo>
                <a:close/>
                <a:moveTo>
                  <a:pt x="526" y="597"/>
                </a:moveTo>
                <a:cubicBezTo>
                  <a:pt x="526" y="597"/>
                  <a:pt x="526" y="597"/>
                  <a:pt x="526" y="597"/>
                </a:cubicBezTo>
                <a:cubicBezTo>
                  <a:pt x="521" y="597"/>
                  <a:pt x="521" y="597"/>
                  <a:pt x="521" y="597"/>
                </a:cubicBezTo>
                <a:cubicBezTo>
                  <a:pt x="519" y="599"/>
                  <a:pt x="517" y="600"/>
                  <a:pt x="516" y="601"/>
                </a:cubicBezTo>
                <a:cubicBezTo>
                  <a:pt x="513" y="603"/>
                  <a:pt x="512" y="603"/>
                  <a:pt x="510" y="604"/>
                </a:cubicBezTo>
                <a:cubicBezTo>
                  <a:pt x="508" y="605"/>
                  <a:pt x="506" y="606"/>
                  <a:pt x="504" y="607"/>
                </a:cubicBezTo>
                <a:cubicBezTo>
                  <a:pt x="502" y="608"/>
                  <a:pt x="501" y="608"/>
                  <a:pt x="499" y="608"/>
                </a:cubicBezTo>
                <a:cubicBezTo>
                  <a:pt x="499" y="608"/>
                  <a:pt x="499" y="608"/>
                  <a:pt x="499" y="619"/>
                </a:cubicBezTo>
                <a:cubicBezTo>
                  <a:pt x="502" y="618"/>
                  <a:pt x="504" y="617"/>
                  <a:pt x="507" y="616"/>
                </a:cubicBezTo>
                <a:cubicBezTo>
                  <a:pt x="510" y="615"/>
                  <a:pt x="512" y="613"/>
                  <a:pt x="514" y="612"/>
                </a:cubicBezTo>
                <a:cubicBezTo>
                  <a:pt x="514" y="612"/>
                  <a:pt x="514" y="612"/>
                  <a:pt x="514" y="671"/>
                </a:cubicBezTo>
                <a:cubicBezTo>
                  <a:pt x="514" y="671"/>
                  <a:pt x="514" y="671"/>
                  <a:pt x="526" y="671"/>
                </a:cubicBezTo>
                <a:cubicBezTo>
                  <a:pt x="526" y="671"/>
                  <a:pt x="526" y="671"/>
                  <a:pt x="526" y="597"/>
                </a:cubicBezTo>
                <a:close/>
                <a:moveTo>
                  <a:pt x="572" y="597"/>
                </a:moveTo>
                <a:cubicBezTo>
                  <a:pt x="572" y="597"/>
                  <a:pt x="572" y="597"/>
                  <a:pt x="572" y="597"/>
                </a:cubicBezTo>
                <a:cubicBezTo>
                  <a:pt x="568" y="597"/>
                  <a:pt x="568" y="597"/>
                  <a:pt x="568" y="597"/>
                </a:cubicBezTo>
                <a:cubicBezTo>
                  <a:pt x="566" y="599"/>
                  <a:pt x="564" y="600"/>
                  <a:pt x="562" y="601"/>
                </a:cubicBezTo>
                <a:cubicBezTo>
                  <a:pt x="561" y="603"/>
                  <a:pt x="559" y="603"/>
                  <a:pt x="557" y="604"/>
                </a:cubicBezTo>
                <a:cubicBezTo>
                  <a:pt x="555" y="605"/>
                  <a:pt x="553" y="605"/>
                  <a:pt x="551" y="606"/>
                </a:cubicBezTo>
                <a:cubicBezTo>
                  <a:pt x="550" y="607"/>
                  <a:pt x="548" y="608"/>
                  <a:pt x="546" y="608"/>
                </a:cubicBezTo>
                <a:cubicBezTo>
                  <a:pt x="546" y="608"/>
                  <a:pt x="546" y="608"/>
                  <a:pt x="546" y="619"/>
                </a:cubicBezTo>
                <a:cubicBezTo>
                  <a:pt x="549" y="618"/>
                  <a:pt x="552" y="616"/>
                  <a:pt x="554" y="616"/>
                </a:cubicBezTo>
                <a:cubicBezTo>
                  <a:pt x="556" y="615"/>
                  <a:pt x="559" y="613"/>
                  <a:pt x="561" y="612"/>
                </a:cubicBezTo>
                <a:cubicBezTo>
                  <a:pt x="561" y="612"/>
                  <a:pt x="561" y="612"/>
                  <a:pt x="561" y="671"/>
                </a:cubicBezTo>
                <a:cubicBezTo>
                  <a:pt x="561" y="671"/>
                  <a:pt x="561" y="671"/>
                  <a:pt x="572" y="671"/>
                </a:cubicBezTo>
                <a:cubicBezTo>
                  <a:pt x="572" y="671"/>
                  <a:pt x="572" y="671"/>
                  <a:pt x="572" y="597"/>
                </a:cubicBezTo>
                <a:close/>
                <a:moveTo>
                  <a:pt x="329" y="630"/>
                </a:moveTo>
                <a:cubicBezTo>
                  <a:pt x="329" y="630"/>
                  <a:pt x="329" y="630"/>
                  <a:pt x="329" y="630"/>
                </a:cubicBezTo>
                <a:cubicBezTo>
                  <a:pt x="328" y="638"/>
                  <a:pt x="328" y="638"/>
                  <a:pt x="328" y="638"/>
                </a:cubicBezTo>
                <a:cubicBezTo>
                  <a:pt x="334" y="638"/>
                  <a:pt x="335" y="641"/>
                  <a:pt x="335" y="644"/>
                </a:cubicBezTo>
                <a:cubicBezTo>
                  <a:pt x="335" y="646"/>
                  <a:pt x="335" y="648"/>
                  <a:pt x="335" y="651"/>
                </a:cubicBezTo>
                <a:cubicBezTo>
                  <a:pt x="334" y="654"/>
                  <a:pt x="334" y="656"/>
                  <a:pt x="334" y="658"/>
                </a:cubicBezTo>
                <a:cubicBezTo>
                  <a:pt x="334" y="668"/>
                  <a:pt x="340" y="671"/>
                  <a:pt x="348" y="671"/>
                </a:cubicBezTo>
                <a:cubicBezTo>
                  <a:pt x="348" y="671"/>
                  <a:pt x="348" y="671"/>
                  <a:pt x="352" y="671"/>
                </a:cubicBezTo>
                <a:cubicBezTo>
                  <a:pt x="352" y="671"/>
                  <a:pt x="352" y="671"/>
                  <a:pt x="352" y="662"/>
                </a:cubicBezTo>
                <a:cubicBezTo>
                  <a:pt x="352" y="662"/>
                  <a:pt x="352" y="662"/>
                  <a:pt x="351" y="662"/>
                </a:cubicBezTo>
                <a:cubicBezTo>
                  <a:pt x="347" y="662"/>
                  <a:pt x="346" y="659"/>
                  <a:pt x="346" y="656"/>
                </a:cubicBezTo>
                <a:cubicBezTo>
                  <a:pt x="346" y="654"/>
                  <a:pt x="346" y="653"/>
                  <a:pt x="346" y="651"/>
                </a:cubicBezTo>
                <a:cubicBezTo>
                  <a:pt x="346" y="650"/>
                  <a:pt x="347" y="647"/>
                  <a:pt x="347" y="645"/>
                </a:cubicBezTo>
                <a:cubicBezTo>
                  <a:pt x="347" y="638"/>
                  <a:pt x="344" y="635"/>
                  <a:pt x="338" y="634"/>
                </a:cubicBezTo>
                <a:cubicBezTo>
                  <a:pt x="338" y="634"/>
                  <a:pt x="338" y="634"/>
                  <a:pt x="338" y="634"/>
                </a:cubicBezTo>
                <a:cubicBezTo>
                  <a:pt x="344" y="632"/>
                  <a:pt x="347" y="630"/>
                  <a:pt x="347" y="623"/>
                </a:cubicBezTo>
                <a:cubicBezTo>
                  <a:pt x="347" y="620"/>
                  <a:pt x="346" y="618"/>
                  <a:pt x="346" y="616"/>
                </a:cubicBezTo>
                <a:cubicBezTo>
                  <a:pt x="346" y="615"/>
                  <a:pt x="346" y="613"/>
                  <a:pt x="346" y="612"/>
                </a:cubicBezTo>
                <a:cubicBezTo>
                  <a:pt x="346" y="608"/>
                  <a:pt x="347" y="606"/>
                  <a:pt x="351" y="606"/>
                </a:cubicBezTo>
                <a:cubicBezTo>
                  <a:pt x="351" y="606"/>
                  <a:pt x="351" y="606"/>
                  <a:pt x="352" y="606"/>
                </a:cubicBezTo>
                <a:cubicBezTo>
                  <a:pt x="352" y="606"/>
                  <a:pt x="352" y="606"/>
                  <a:pt x="352" y="597"/>
                </a:cubicBezTo>
                <a:cubicBezTo>
                  <a:pt x="352" y="597"/>
                  <a:pt x="352" y="597"/>
                  <a:pt x="348" y="597"/>
                </a:cubicBezTo>
                <a:cubicBezTo>
                  <a:pt x="340" y="597"/>
                  <a:pt x="334" y="601"/>
                  <a:pt x="334" y="609"/>
                </a:cubicBezTo>
                <a:cubicBezTo>
                  <a:pt x="334" y="611"/>
                  <a:pt x="334" y="614"/>
                  <a:pt x="334" y="617"/>
                </a:cubicBezTo>
                <a:cubicBezTo>
                  <a:pt x="335" y="619"/>
                  <a:pt x="335" y="622"/>
                  <a:pt x="335" y="623"/>
                </a:cubicBezTo>
                <a:cubicBezTo>
                  <a:pt x="335" y="626"/>
                  <a:pt x="334" y="629"/>
                  <a:pt x="329" y="630"/>
                </a:cubicBezTo>
                <a:close/>
                <a:moveTo>
                  <a:pt x="383" y="638"/>
                </a:moveTo>
                <a:cubicBezTo>
                  <a:pt x="383" y="638"/>
                  <a:pt x="383" y="638"/>
                  <a:pt x="383" y="638"/>
                </a:cubicBezTo>
                <a:cubicBezTo>
                  <a:pt x="383" y="630"/>
                  <a:pt x="383" y="630"/>
                  <a:pt x="383" y="630"/>
                </a:cubicBezTo>
                <a:cubicBezTo>
                  <a:pt x="377" y="629"/>
                  <a:pt x="377" y="626"/>
                  <a:pt x="377" y="623"/>
                </a:cubicBezTo>
                <a:cubicBezTo>
                  <a:pt x="377" y="622"/>
                  <a:pt x="377" y="619"/>
                  <a:pt x="377" y="617"/>
                </a:cubicBezTo>
                <a:cubicBezTo>
                  <a:pt x="377" y="614"/>
                  <a:pt x="377" y="611"/>
                  <a:pt x="377" y="609"/>
                </a:cubicBezTo>
                <a:cubicBezTo>
                  <a:pt x="377" y="601"/>
                  <a:pt x="372" y="597"/>
                  <a:pt x="363" y="597"/>
                </a:cubicBezTo>
                <a:cubicBezTo>
                  <a:pt x="363" y="597"/>
                  <a:pt x="363" y="597"/>
                  <a:pt x="359" y="597"/>
                </a:cubicBezTo>
                <a:cubicBezTo>
                  <a:pt x="359" y="597"/>
                  <a:pt x="359" y="597"/>
                  <a:pt x="359" y="606"/>
                </a:cubicBezTo>
                <a:cubicBezTo>
                  <a:pt x="359" y="606"/>
                  <a:pt x="359" y="606"/>
                  <a:pt x="360" y="606"/>
                </a:cubicBezTo>
                <a:cubicBezTo>
                  <a:pt x="364" y="606"/>
                  <a:pt x="366" y="608"/>
                  <a:pt x="366" y="612"/>
                </a:cubicBezTo>
                <a:cubicBezTo>
                  <a:pt x="366" y="613"/>
                  <a:pt x="365" y="615"/>
                  <a:pt x="365" y="616"/>
                </a:cubicBezTo>
                <a:cubicBezTo>
                  <a:pt x="365" y="618"/>
                  <a:pt x="365" y="620"/>
                  <a:pt x="365" y="623"/>
                </a:cubicBezTo>
                <a:cubicBezTo>
                  <a:pt x="365" y="630"/>
                  <a:pt x="368" y="632"/>
                  <a:pt x="374" y="634"/>
                </a:cubicBezTo>
                <a:cubicBezTo>
                  <a:pt x="374" y="634"/>
                  <a:pt x="374" y="634"/>
                  <a:pt x="374" y="634"/>
                </a:cubicBezTo>
                <a:cubicBezTo>
                  <a:pt x="368" y="635"/>
                  <a:pt x="365" y="638"/>
                  <a:pt x="365" y="645"/>
                </a:cubicBezTo>
                <a:cubicBezTo>
                  <a:pt x="365" y="647"/>
                  <a:pt x="365" y="650"/>
                  <a:pt x="365" y="651"/>
                </a:cubicBezTo>
                <a:cubicBezTo>
                  <a:pt x="365" y="653"/>
                  <a:pt x="366" y="654"/>
                  <a:pt x="366" y="656"/>
                </a:cubicBezTo>
                <a:cubicBezTo>
                  <a:pt x="366" y="659"/>
                  <a:pt x="365" y="662"/>
                  <a:pt x="360" y="662"/>
                </a:cubicBezTo>
                <a:cubicBezTo>
                  <a:pt x="360" y="662"/>
                  <a:pt x="360" y="662"/>
                  <a:pt x="359" y="662"/>
                </a:cubicBezTo>
                <a:cubicBezTo>
                  <a:pt x="359" y="662"/>
                  <a:pt x="359" y="662"/>
                  <a:pt x="359" y="671"/>
                </a:cubicBezTo>
                <a:cubicBezTo>
                  <a:pt x="359" y="671"/>
                  <a:pt x="359" y="671"/>
                  <a:pt x="363" y="671"/>
                </a:cubicBezTo>
                <a:cubicBezTo>
                  <a:pt x="372" y="671"/>
                  <a:pt x="377" y="668"/>
                  <a:pt x="377" y="658"/>
                </a:cubicBezTo>
                <a:cubicBezTo>
                  <a:pt x="377" y="656"/>
                  <a:pt x="377" y="654"/>
                  <a:pt x="377" y="651"/>
                </a:cubicBezTo>
                <a:cubicBezTo>
                  <a:pt x="377" y="648"/>
                  <a:pt x="377" y="646"/>
                  <a:pt x="377" y="644"/>
                </a:cubicBezTo>
                <a:cubicBezTo>
                  <a:pt x="377" y="641"/>
                  <a:pt x="377" y="638"/>
                  <a:pt x="383" y="638"/>
                </a:cubicBezTo>
                <a:close/>
                <a:moveTo>
                  <a:pt x="710" y="630"/>
                </a:moveTo>
                <a:cubicBezTo>
                  <a:pt x="710" y="630"/>
                  <a:pt x="710" y="630"/>
                  <a:pt x="710" y="630"/>
                </a:cubicBezTo>
                <a:cubicBezTo>
                  <a:pt x="710" y="638"/>
                  <a:pt x="710" y="638"/>
                  <a:pt x="710" y="638"/>
                </a:cubicBezTo>
                <a:cubicBezTo>
                  <a:pt x="716" y="638"/>
                  <a:pt x="717" y="641"/>
                  <a:pt x="717" y="644"/>
                </a:cubicBezTo>
                <a:cubicBezTo>
                  <a:pt x="717" y="646"/>
                  <a:pt x="716" y="648"/>
                  <a:pt x="716" y="651"/>
                </a:cubicBezTo>
                <a:cubicBezTo>
                  <a:pt x="716" y="654"/>
                  <a:pt x="716" y="656"/>
                  <a:pt x="716" y="658"/>
                </a:cubicBezTo>
                <a:cubicBezTo>
                  <a:pt x="716" y="668"/>
                  <a:pt x="722" y="671"/>
                  <a:pt x="730" y="671"/>
                </a:cubicBezTo>
                <a:cubicBezTo>
                  <a:pt x="730" y="671"/>
                  <a:pt x="730" y="671"/>
                  <a:pt x="734" y="671"/>
                </a:cubicBezTo>
                <a:cubicBezTo>
                  <a:pt x="734" y="671"/>
                  <a:pt x="734" y="671"/>
                  <a:pt x="734" y="662"/>
                </a:cubicBezTo>
                <a:cubicBezTo>
                  <a:pt x="734" y="662"/>
                  <a:pt x="734" y="662"/>
                  <a:pt x="732" y="662"/>
                </a:cubicBezTo>
                <a:cubicBezTo>
                  <a:pt x="729" y="662"/>
                  <a:pt x="727" y="659"/>
                  <a:pt x="727" y="656"/>
                </a:cubicBezTo>
                <a:cubicBezTo>
                  <a:pt x="727" y="654"/>
                  <a:pt x="727" y="653"/>
                  <a:pt x="728" y="651"/>
                </a:cubicBezTo>
                <a:cubicBezTo>
                  <a:pt x="728" y="650"/>
                  <a:pt x="728" y="647"/>
                  <a:pt x="728" y="645"/>
                </a:cubicBezTo>
                <a:cubicBezTo>
                  <a:pt x="728" y="638"/>
                  <a:pt x="725" y="635"/>
                  <a:pt x="720" y="634"/>
                </a:cubicBezTo>
                <a:cubicBezTo>
                  <a:pt x="720" y="634"/>
                  <a:pt x="720" y="634"/>
                  <a:pt x="720" y="634"/>
                </a:cubicBezTo>
                <a:cubicBezTo>
                  <a:pt x="725" y="632"/>
                  <a:pt x="728" y="630"/>
                  <a:pt x="728" y="623"/>
                </a:cubicBezTo>
                <a:cubicBezTo>
                  <a:pt x="728" y="620"/>
                  <a:pt x="728" y="618"/>
                  <a:pt x="728" y="616"/>
                </a:cubicBezTo>
                <a:cubicBezTo>
                  <a:pt x="727" y="615"/>
                  <a:pt x="727" y="613"/>
                  <a:pt x="727" y="612"/>
                </a:cubicBezTo>
                <a:cubicBezTo>
                  <a:pt x="727" y="608"/>
                  <a:pt x="729" y="606"/>
                  <a:pt x="732" y="606"/>
                </a:cubicBezTo>
                <a:cubicBezTo>
                  <a:pt x="732" y="606"/>
                  <a:pt x="732" y="606"/>
                  <a:pt x="734" y="606"/>
                </a:cubicBezTo>
                <a:cubicBezTo>
                  <a:pt x="734" y="606"/>
                  <a:pt x="734" y="606"/>
                  <a:pt x="734" y="597"/>
                </a:cubicBezTo>
                <a:cubicBezTo>
                  <a:pt x="734" y="597"/>
                  <a:pt x="734" y="597"/>
                  <a:pt x="730" y="597"/>
                </a:cubicBezTo>
                <a:cubicBezTo>
                  <a:pt x="721" y="597"/>
                  <a:pt x="716" y="601"/>
                  <a:pt x="716" y="609"/>
                </a:cubicBezTo>
                <a:cubicBezTo>
                  <a:pt x="716" y="611"/>
                  <a:pt x="716" y="614"/>
                  <a:pt x="716" y="617"/>
                </a:cubicBezTo>
                <a:cubicBezTo>
                  <a:pt x="716" y="619"/>
                  <a:pt x="717" y="622"/>
                  <a:pt x="717" y="623"/>
                </a:cubicBezTo>
                <a:cubicBezTo>
                  <a:pt x="717" y="626"/>
                  <a:pt x="716" y="629"/>
                  <a:pt x="710" y="630"/>
                </a:cubicBezTo>
                <a:close/>
                <a:moveTo>
                  <a:pt x="765" y="638"/>
                </a:moveTo>
                <a:cubicBezTo>
                  <a:pt x="765" y="638"/>
                  <a:pt x="765" y="638"/>
                  <a:pt x="765" y="638"/>
                </a:cubicBezTo>
                <a:cubicBezTo>
                  <a:pt x="765" y="630"/>
                  <a:pt x="765" y="630"/>
                  <a:pt x="765" y="630"/>
                </a:cubicBezTo>
                <a:cubicBezTo>
                  <a:pt x="759" y="629"/>
                  <a:pt x="758" y="626"/>
                  <a:pt x="758" y="623"/>
                </a:cubicBezTo>
                <a:cubicBezTo>
                  <a:pt x="758" y="622"/>
                  <a:pt x="758" y="619"/>
                  <a:pt x="759" y="617"/>
                </a:cubicBezTo>
                <a:cubicBezTo>
                  <a:pt x="759" y="614"/>
                  <a:pt x="759" y="611"/>
                  <a:pt x="759" y="609"/>
                </a:cubicBezTo>
                <a:cubicBezTo>
                  <a:pt x="759" y="601"/>
                  <a:pt x="754" y="597"/>
                  <a:pt x="745" y="597"/>
                </a:cubicBezTo>
                <a:cubicBezTo>
                  <a:pt x="745" y="597"/>
                  <a:pt x="745" y="597"/>
                  <a:pt x="741" y="597"/>
                </a:cubicBezTo>
                <a:cubicBezTo>
                  <a:pt x="741" y="597"/>
                  <a:pt x="741" y="597"/>
                  <a:pt x="741" y="606"/>
                </a:cubicBezTo>
                <a:cubicBezTo>
                  <a:pt x="741" y="606"/>
                  <a:pt x="741" y="606"/>
                  <a:pt x="742" y="606"/>
                </a:cubicBezTo>
                <a:cubicBezTo>
                  <a:pt x="746" y="606"/>
                  <a:pt x="748" y="608"/>
                  <a:pt x="748" y="612"/>
                </a:cubicBezTo>
                <a:cubicBezTo>
                  <a:pt x="748" y="613"/>
                  <a:pt x="747" y="615"/>
                  <a:pt x="747" y="616"/>
                </a:cubicBezTo>
                <a:cubicBezTo>
                  <a:pt x="747" y="618"/>
                  <a:pt x="747" y="620"/>
                  <a:pt x="747" y="623"/>
                </a:cubicBezTo>
                <a:cubicBezTo>
                  <a:pt x="747" y="630"/>
                  <a:pt x="749" y="632"/>
                  <a:pt x="755" y="634"/>
                </a:cubicBezTo>
                <a:cubicBezTo>
                  <a:pt x="755" y="634"/>
                  <a:pt x="755" y="634"/>
                  <a:pt x="755" y="634"/>
                </a:cubicBezTo>
                <a:cubicBezTo>
                  <a:pt x="749" y="635"/>
                  <a:pt x="747" y="638"/>
                  <a:pt x="747" y="645"/>
                </a:cubicBezTo>
                <a:cubicBezTo>
                  <a:pt x="747" y="647"/>
                  <a:pt x="747" y="650"/>
                  <a:pt x="747" y="651"/>
                </a:cubicBezTo>
                <a:cubicBezTo>
                  <a:pt x="747" y="653"/>
                  <a:pt x="748" y="654"/>
                  <a:pt x="748" y="656"/>
                </a:cubicBezTo>
                <a:cubicBezTo>
                  <a:pt x="748" y="659"/>
                  <a:pt x="747" y="662"/>
                  <a:pt x="742" y="662"/>
                </a:cubicBezTo>
                <a:cubicBezTo>
                  <a:pt x="742" y="662"/>
                  <a:pt x="742" y="662"/>
                  <a:pt x="741" y="662"/>
                </a:cubicBezTo>
                <a:cubicBezTo>
                  <a:pt x="741" y="662"/>
                  <a:pt x="741" y="662"/>
                  <a:pt x="741" y="671"/>
                </a:cubicBezTo>
                <a:cubicBezTo>
                  <a:pt x="741" y="671"/>
                  <a:pt x="741" y="671"/>
                  <a:pt x="745" y="671"/>
                </a:cubicBezTo>
                <a:cubicBezTo>
                  <a:pt x="754" y="671"/>
                  <a:pt x="759" y="668"/>
                  <a:pt x="759" y="658"/>
                </a:cubicBezTo>
                <a:cubicBezTo>
                  <a:pt x="759" y="656"/>
                  <a:pt x="759" y="654"/>
                  <a:pt x="759" y="651"/>
                </a:cubicBezTo>
                <a:cubicBezTo>
                  <a:pt x="758" y="648"/>
                  <a:pt x="758" y="646"/>
                  <a:pt x="758" y="644"/>
                </a:cubicBezTo>
                <a:cubicBezTo>
                  <a:pt x="758" y="641"/>
                  <a:pt x="759" y="638"/>
                  <a:pt x="765" y="638"/>
                </a:cubicBezTo>
                <a:close/>
                <a:moveTo>
                  <a:pt x="812" y="597"/>
                </a:moveTo>
                <a:cubicBezTo>
                  <a:pt x="812" y="597"/>
                  <a:pt x="812" y="597"/>
                  <a:pt x="812" y="597"/>
                </a:cubicBezTo>
                <a:cubicBezTo>
                  <a:pt x="807" y="597"/>
                  <a:pt x="807" y="597"/>
                  <a:pt x="807" y="597"/>
                </a:cubicBezTo>
                <a:cubicBezTo>
                  <a:pt x="805" y="599"/>
                  <a:pt x="804" y="600"/>
                  <a:pt x="801" y="601"/>
                </a:cubicBezTo>
                <a:cubicBezTo>
                  <a:pt x="800" y="603"/>
                  <a:pt x="798" y="603"/>
                  <a:pt x="796" y="604"/>
                </a:cubicBezTo>
                <a:cubicBezTo>
                  <a:pt x="794" y="605"/>
                  <a:pt x="793" y="605"/>
                  <a:pt x="791" y="606"/>
                </a:cubicBezTo>
                <a:cubicBezTo>
                  <a:pt x="789" y="607"/>
                  <a:pt x="787" y="608"/>
                  <a:pt x="785" y="608"/>
                </a:cubicBezTo>
                <a:cubicBezTo>
                  <a:pt x="785" y="608"/>
                  <a:pt x="785" y="608"/>
                  <a:pt x="785" y="619"/>
                </a:cubicBezTo>
                <a:cubicBezTo>
                  <a:pt x="788" y="618"/>
                  <a:pt x="791" y="616"/>
                  <a:pt x="793" y="616"/>
                </a:cubicBezTo>
                <a:cubicBezTo>
                  <a:pt x="796" y="615"/>
                  <a:pt x="798" y="613"/>
                  <a:pt x="801" y="612"/>
                </a:cubicBezTo>
                <a:cubicBezTo>
                  <a:pt x="801" y="612"/>
                  <a:pt x="801" y="612"/>
                  <a:pt x="801" y="671"/>
                </a:cubicBezTo>
                <a:cubicBezTo>
                  <a:pt x="801" y="671"/>
                  <a:pt x="801" y="671"/>
                  <a:pt x="812" y="671"/>
                </a:cubicBezTo>
                <a:cubicBezTo>
                  <a:pt x="812" y="671"/>
                  <a:pt x="812" y="671"/>
                  <a:pt x="812" y="597"/>
                </a:cubicBezTo>
                <a:close/>
                <a:moveTo>
                  <a:pt x="860" y="597"/>
                </a:moveTo>
                <a:cubicBezTo>
                  <a:pt x="860" y="597"/>
                  <a:pt x="860" y="597"/>
                  <a:pt x="860" y="597"/>
                </a:cubicBezTo>
                <a:cubicBezTo>
                  <a:pt x="854" y="597"/>
                  <a:pt x="854" y="597"/>
                  <a:pt x="854" y="597"/>
                </a:cubicBezTo>
                <a:cubicBezTo>
                  <a:pt x="852" y="599"/>
                  <a:pt x="851" y="600"/>
                  <a:pt x="849" y="601"/>
                </a:cubicBezTo>
                <a:cubicBezTo>
                  <a:pt x="847" y="603"/>
                  <a:pt x="845" y="603"/>
                  <a:pt x="844" y="604"/>
                </a:cubicBezTo>
                <a:cubicBezTo>
                  <a:pt x="842" y="605"/>
                  <a:pt x="840" y="606"/>
                  <a:pt x="838" y="607"/>
                </a:cubicBezTo>
                <a:cubicBezTo>
                  <a:pt x="836" y="608"/>
                  <a:pt x="835" y="608"/>
                  <a:pt x="833" y="608"/>
                </a:cubicBezTo>
                <a:cubicBezTo>
                  <a:pt x="833" y="608"/>
                  <a:pt x="833" y="608"/>
                  <a:pt x="833" y="619"/>
                </a:cubicBezTo>
                <a:cubicBezTo>
                  <a:pt x="836" y="618"/>
                  <a:pt x="838" y="617"/>
                  <a:pt x="841" y="616"/>
                </a:cubicBezTo>
                <a:cubicBezTo>
                  <a:pt x="844" y="615"/>
                  <a:pt x="846" y="613"/>
                  <a:pt x="848" y="612"/>
                </a:cubicBezTo>
                <a:cubicBezTo>
                  <a:pt x="848" y="612"/>
                  <a:pt x="848" y="612"/>
                  <a:pt x="848" y="671"/>
                </a:cubicBezTo>
                <a:cubicBezTo>
                  <a:pt x="848" y="671"/>
                  <a:pt x="848" y="671"/>
                  <a:pt x="860" y="671"/>
                </a:cubicBezTo>
                <a:cubicBezTo>
                  <a:pt x="860" y="671"/>
                  <a:pt x="860" y="671"/>
                  <a:pt x="860" y="597"/>
                </a:cubicBezTo>
                <a:close/>
                <a:moveTo>
                  <a:pt x="906" y="597"/>
                </a:moveTo>
                <a:cubicBezTo>
                  <a:pt x="906" y="597"/>
                  <a:pt x="906" y="597"/>
                  <a:pt x="906" y="597"/>
                </a:cubicBezTo>
                <a:cubicBezTo>
                  <a:pt x="902" y="597"/>
                  <a:pt x="902" y="597"/>
                  <a:pt x="902" y="597"/>
                </a:cubicBezTo>
                <a:cubicBezTo>
                  <a:pt x="899" y="599"/>
                  <a:pt x="898" y="600"/>
                  <a:pt x="896" y="601"/>
                </a:cubicBezTo>
                <a:cubicBezTo>
                  <a:pt x="894" y="603"/>
                  <a:pt x="892" y="603"/>
                  <a:pt x="891" y="604"/>
                </a:cubicBezTo>
                <a:cubicBezTo>
                  <a:pt x="888" y="605"/>
                  <a:pt x="887" y="606"/>
                  <a:pt x="885" y="607"/>
                </a:cubicBezTo>
                <a:cubicBezTo>
                  <a:pt x="883" y="608"/>
                  <a:pt x="881" y="608"/>
                  <a:pt x="880" y="608"/>
                </a:cubicBezTo>
                <a:cubicBezTo>
                  <a:pt x="880" y="608"/>
                  <a:pt x="880" y="608"/>
                  <a:pt x="880" y="619"/>
                </a:cubicBezTo>
                <a:cubicBezTo>
                  <a:pt x="883" y="618"/>
                  <a:pt x="886" y="617"/>
                  <a:pt x="888" y="616"/>
                </a:cubicBezTo>
                <a:cubicBezTo>
                  <a:pt x="890" y="615"/>
                  <a:pt x="893" y="613"/>
                  <a:pt x="894" y="612"/>
                </a:cubicBezTo>
                <a:cubicBezTo>
                  <a:pt x="894" y="612"/>
                  <a:pt x="894" y="612"/>
                  <a:pt x="894" y="671"/>
                </a:cubicBezTo>
                <a:cubicBezTo>
                  <a:pt x="894" y="671"/>
                  <a:pt x="894" y="671"/>
                  <a:pt x="906" y="671"/>
                </a:cubicBezTo>
                <a:cubicBezTo>
                  <a:pt x="906" y="671"/>
                  <a:pt x="906" y="671"/>
                  <a:pt x="906" y="597"/>
                </a:cubicBezTo>
                <a:close/>
                <a:moveTo>
                  <a:pt x="1029" y="597"/>
                </a:moveTo>
                <a:cubicBezTo>
                  <a:pt x="1029" y="597"/>
                  <a:pt x="1029" y="597"/>
                  <a:pt x="1029" y="597"/>
                </a:cubicBezTo>
                <a:cubicBezTo>
                  <a:pt x="1024" y="597"/>
                  <a:pt x="1024" y="597"/>
                  <a:pt x="1024" y="597"/>
                </a:cubicBezTo>
                <a:cubicBezTo>
                  <a:pt x="1022" y="599"/>
                  <a:pt x="1020" y="600"/>
                  <a:pt x="1018" y="601"/>
                </a:cubicBezTo>
                <a:cubicBezTo>
                  <a:pt x="1016" y="603"/>
                  <a:pt x="1015" y="603"/>
                  <a:pt x="1013" y="604"/>
                </a:cubicBezTo>
                <a:cubicBezTo>
                  <a:pt x="1011" y="605"/>
                  <a:pt x="1009" y="606"/>
                  <a:pt x="1008" y="607"/>
                </a:cubicBezTo>
                <a:cubicBezTo>
                  <a:pt x="1005" y="608"/>
                  <a:pt x="1004" y="608"/>
                  <a:pt x="1002" y="608"/>
                </a:cubicBezTo>
                <a:cubicBezTo>
                  <a:pt x="1002" y="608"/>
                  <a:pt x="1002" y="608"/>
                  <a:pt x="1002" y="619"/>
                </a:cubicBezTo>
                <a:cubicBezTo>
                  <a:pt x="1005" y="618"/>
                  <a:pt x="1008" y="617"/>
                  <a:pt x="1010" y="616"/>
                </a:cubicBezTo>
                <a:cubicBezTo>
                  <a:pt x="1013" y="615"/>
                  <a:pt x="1015" y="613"/>
                  <a:pt x="1017" y="612"/>
                </a:cubicBezTo>
                <a:cubicBezTo>
                  <a:pt x="1017" y="612"/>
                  <a:pt x="1017" y="612"/>
                  <a:pt x="1017" y="671"/>
                </a:cubicBezTo>
                <a:cubicBezTo>
                  <a:pt x="1017" y="671"/>
                  <a:pt x="1017" y="671"/>
                  <a:pt x="1029" y="671"/>
                </a:cubicBezTo>
                <a:cubicBezTo>
                  <a:pt x="1029" y="671"/>
                  <a:pt x="1029" y="671"/>
                  <a:pt x="1029" y="597"/>
                </a:cubicBezTo>
                <a:close/>
                <a:moveTo>
                  <a:pt x="1076" y="597"/>
                </a:moveTo>
                <a:cubicBezTo>
                  <a:pt x="1076" y="597"/>
                  <a:pt x="1076" y="597"/>
                  <a:pt x="1076" y="597"/>
                </a:cubicBezTo>
                <a:cubicBezTo>
                  <a:pt x="1071" y="597"/>
                  <a:pt x="1071" y="597"/>
                  <a:pt x="1071" y="597"/>
                </a:cubicBezTo>
                <a:cubicBezTo>
                  <a:pt x="1069" y="599"/>
                  <a:pt x="1068" y="600"/>
                  <a:pt x="1065" y="601"/>
                </a:cubicBezTo>
                <a:cubicBezTo>
                  <a:pt x="1064" y="603"/>
                  <a:pt x="1062" y="603"/>
                  <a:pt x="1060" y="604"/>
                </a:cubicBezTo>
                <a:cubicBezTo>
                  <a:pt x="1059" y="605"/>
                  <a:pt x="1057" y="606"/>
                  <a:pt x="1055" y="607"/>
                </a:cubicBezTo>
                <a:cubicBezTo>
                  <a:pt x="1053" y="608"/>
                  <a:pt x="1051" y="608"/>
                  <a:pt x="1049" y="608"/>
                </a:cubicBezTo>
                <a:cubicBezTo>
                  <a:pt x="1049" y="608"/>
                  <a:pt x="1049" y="608"/>
                  <a:pt x="1049" y="619"/>
                </a:cubicBezTo>
                <a:cubicBezTo>
                  <a:pt x="1052" y="618"/>
                  <a:pt x="1055" y="617"/>
                  <a:pt x="1057" y="616"/>
                </a:cubicBezTo>
                <a:cubicBezTo>
                  <a:pt x="1060" y="615"/>
                  <a:pt x="1062" y="613"/>
                  <a:pt x="1065" y="612"/>
                </a:cubicBezTo>
                <a:cubicBezTo>
                  <a:pt x="1065" y="612"/>
                  <a:pt x="1065" y="612"/>
                  <a:pt x="1065" y="671"/>
                </a:cubicBezTo>
                <a:cubicBezTo>
                  <a:pt x="1065" y="671"/>
                  <a:pt x="1065" y="671"/>
                  <a:pt x="1076" y="671"/>
                </a:cubicBezTo>
                <a:cubicBezTo>
                  <a:pt x="1076" y="671"/>
                  <a:pt x="1076" y="671"/>
                  <a:pt x="1076" y="597"/>
                </a:cubicBezTo>
                <a:close/>
                <a:moveTo>
                  <a:pt x="1123" y="597"/>
                </a:moveTo>
                <a:cubicBezTo>
                  <a:pt x="1123" y="597"/>
                  <a:pt x="1123" y="597"/>
                  <a:pt x="1123" y="597"/>
                </a:cubicBezTo>
                <a:cubicBezTo>
                  <a:pt x="1119" y="597"/>
                  <a:pt x="1119" y="597"/>
                  <a:pt x="1119" y="597"/>
                </a:cubicBezTo>
                <a:cubicBezTo>
                  <a:pt x="1116" y="599"/>
                  <a:pt x="1115" y="600"/>
                  <a:pt x="1113" y="601"/>
                </a:cubicBezTo>
                <a:cubicBezTo>
                  <a:pt x="1111" y="603"/>
                  <a:pt x="1109" y="603"/>
                  <a:pt x="1108" y="604"/>
                </a:cubicBezTo>
                <a:cubicBezTo>
                  <a:pt x="1105" y="605"/>
                  <a:pt x="1104" y="605"/>
                  <a:pt x="1102" y="606"/>
                </a:cubicBezTo>
                <a:cubicBezTo>
                  <a:pt x="1100" y="607"/>
                  <a:pt x="1098" y="608"/>
                  <a:pt x="1097" y="608"/>
                </a:cubicBezTo>
                <a:cubicBezTo>
                  <a:pt x="1097" y="608"/>
                  <a:pt x="1097" y="608"/>
                  <a:pt x="1097" y="619"/>
                </a:cubicBezTo>
                <a:cubicBezTo>
                  <a:pt x="1100" y="618"/>
                  <a:pt x="1103" y="616"/>
                  <a:pt x="1105" y="616"/>
                </a:cubicBezTo>
                <a:cubicBezTo>
                  <a:pt x="1107" y="615"/>
                  <a:pt x="1110" y="613"/>
                  <a:pt x="1111" y="612"/>
                </a:cubicBezTo>
                <a:cubicBezTo>
                  <a:pt x="1111" y="612"/>
                  <a:pt x="1111" y="612"/>
                  <a:pt x="1111" y="671"/>
                </a:cubicBezTo>
                <a:cubicBezTo>
                  <a:pt x="1111" y="671"/>
                  <a:pt x="1111" y="671"/>
                  <a:pt x="1123" y="671"/>
                </a:cubicBezTo>
                <a:cubicBezTo>
                  <a:pt x="1123" y="671"/>
                  <a:pt x="1123" y="671"/>
                  <a:pt x="1123" y="597"/>
                </a:cubicBezTo>
                <a:close/>
                <a:moveTo>
                  <a:pt x="1168" y="671"/>
                </a:moveTo>
                <a:cubicBezTo>
                  <a:pt x="1160" y="671"/>
                  <a:pt x="1154" y="668"/>
                  <a:pt x="1149" y="662"/>
                </a:cubicBezTo>
                <a:cubicBezTo>
                  <a:pt x="1145" y="656"/>
                  <a:pt x="1143" y="647"/>
                  <a:pt x="1143" y="634"/>
                </a:cubicBezTo>
                <a:cubicBezTo>
                  <a:pt x="1143" y="621"/>
                  <a:pt x="1145" y="612"/>
                  <a:pt x="1150" y="605"/>
                </a:cubicBezTo>
                <a:cubicBezTo>
                  <a:pt x="1154" y="599"/>
                  <a:pt x="1161" y="595"/>
                  <a:pt x="1170" y="595"/>
                </a:cubicBezTo>
                <a:cubicBezTo>
                  <a:pt x="1186" y="595"/>
                  <a:pt x="1194" y="607"/>
                  <a:pt x="1194" y="633"/>
                </a:cubicBezTo>
                <a:cubicBezTo>
                  <a:pt x="1194" y="645"/>
                  <a:pt x="1192" y="655"/>
                  <a:pt x="1187" y="661"/>
                </a:cubicBezTo>
                <a:cubicBezTo>
                  <a:pt x="1182" y="668"/>
                  <a:pt x="1176" y="671"/>
                  <a:pt x="1168" y="671"/>
                </a:cubicBezTo>
                <a:close/>
                <a:moveTo>
                  <a:pt x="1169" y="605"/>
                </a:moveTo>
                <a:cubicBezTo>
                  <a:pt x="1159" y="605"/>
                  <a:pt x="1155" y="615"/>
                  <a:pt x="1155" y="634"/>
                </a:cubicBezTo>
                <a:cubicBezTo>
                  <a:pt x="1155" y="653"/>
                  <a:pt x="1159" y="661"/>
                  <a:pt x="1168" y="661"/>
                </a:cubicBezTo>
                <a:cubicBezTo>
                  <a:pt x="1177" y="661"/>
                  <a:pt x="1182" y="653"/>
                  <a:pt x="1182" y="634"/>
                </a:cubicBezTo>
                <a:cubicBezTo>
                  <a:pt x="1182" y="614"/>
                  <a:pt x="1177" y="605"/>
                  <a:pt x="1169" y="605"/>
                </a:cubicBezTo>
                <a:close/>
                <a:moveTo>
                  <a:pt x="1238" y="671"/>
                </a:moveTo>
                <a:cubicBezTo>
                  <a:pt x="1231" y="671"/>
                  <a:pt x="1224" y="668"/>
                  <a:pt x="1221" y="662"/>
                </a:cubicBezTo>
                <a:cubicBezTo>
                  <a:pt x="1216" y="656"/>
                  <a:pt x="1214" y="647"/>
                  <a:pt x="1214" y="634"/>
                </a:cubicBezTo>
                <a:cubicBezTo>
                  <a:pt x="1214" y="621"/>
                  <a:pt x="1216" y="612"/>
                  <a:pt x="1221" y="605"/>
                </a:cubicBezTo>
                <a:cubicBezTo>
                  <a:pt x="1225" y="599"/>
                  <a:pt x="1232" y="595"/>
                  <a:pt x="1241" y="595"/>
                </a:cubicBezTo>
                <a:cubicBezTo>
                  <a:pt x="1257" y="595"/>
                  <a:pt x="1265" y="607"/>
                  <a:pt x="1265" y="633"/>
                </a:cubicBezTo>
                <a:cubicBezTo>
                  <a:pt x="1265" y="645"/>
                  <a:pt x="1262" y="655"/>
                  <a:pt x="1258" y="661"/>
                </a:cubicBezTo>
                <a:cubicBezTo>
                  <a:pt x="1253" y="668"/>
                  <a:pt x="1247" y="671"/>
                  <a:pt x="1238" y="671"/>
                </a:cubicBezTo>
                <a:close/>
                <a:moveTo>
                  <a:pt x="1240" y="605"/>
                </a:moveTo>
                <a:cubicBezTo>
                  <a:pt x="1231" y="605"/>
                  <a:pt x="1226" y="615"/>
                  <a:pt x="1226" y="634"/>
                </a:cubicBezTo>
                <a:cubicBezTo>
                  <a:pt x="1226" y="653"/>
                  <a:pt x="1230" y="661"/>
                  <a:pt x="1239" y="661"/>
                </a:cubicBezTo>
                <a:cubicBezTo>
                  <a:pt x="1248" y="661"/>
                  <a:pt x="1252" y="653"/>
                  <a:pt x="1252" y="634"/>
                </a:cubicBezTo>
                <a:cubicBezTo>
                  <a:pt x="1252" y="614"/>
                  <a:pt x="1248" y="605"/>
                  <a:pt x="1240" y="605"/>
                </a:cubicBezTo>
                <a:close/>
                <a:moveTo>
                  <a:pt x="927" y="630"/>
                </a:moveTo>
                <a:cubicBezTo>
                  <a:pt x="927" y="630"/>
                  <a:pt x="927" y="630"/>
                  <a:pt x="927" y="630"/>
                </a:cubicBezTo>
                <a:cubicBezTo>
                  <a:pt x="926" y="638"/>
                  <a:pt x="926" y="638"/>
                  <a:pt x="926" y="638"/>
                </a:cubicBezTo>
                <a:cubicBezTo>
                  <a:pt x="933" y="638"/>
                  <a:pt x="933" y="641"/>
                  <a:pt x="933" y="644"/>
                </a:cubicBezTo>
                <a:cubicBezTo>
                  <a:pt x="933" y="646"/>
                  <a:pt x="933" y="648"/>
                  <a:pt x="933" y="651"/>
                </a:cubicBezTo>
                <a:cubicBezTo>
                  <a:pt x="933" y="654"/>
                  <a:pt x="932" y="656"/>
                  <a:pt x="932" y="658"/>
                </a:cubicBezTo>
                <a:cubicBezTo>
                  <a:pt x="932" y="668"/>
                  <a:pt x="938" y="671"/>
                  <a:pt x="947" y="671"/>
                </a:cubicBezTo>
                <a:cubicBezTo>
                  <a:pt x="947" y="671"/>
                  <a:pt x="947" y="671"/>
                  <a:pt x="951" y="671"/>
                </a:cubicBezTo>
                <a:cubicBezTo>
                  <a:pt x="951" y="671"/>
                  <a:pt x="951" y="671"/>
                  <a:pt x="951" y="662"/>
                </a:cubicBezTo>
                <a:cubicBezTo>
                  <a:pt x="951" y="662"/>
                  <a:pt x="951" y="662"/>
                  <a:pt x="949" y="662"/>
                </a:cubicBezTo>
                <a:cubicBezTo>
                  <a:pt x="945" y="662"/>
                  <a:pt x="944" y="659"/>
                  <a:pt x="944" y="656"/>
                </a:cubicBezTo>
                <a:cubicBezTo>
                  <a:pt x="944" y="654"/>
                  <a:pt x="944" y="653"/>
                  <a:pt x="945" y="651"/>
                </a:cubicBezTo>
                <a:cubicBezTo>
                  <a:pt x="945" y="650"/>
                  <a:pt x="945" y="647"/>
                  <a:pt x="945" y="645"/>
                </a:cubicBezTo>
                <a:cubicBezTo>
                  <a:pt x="945" y="638"/>
                  <a:pt x="942" y="635"/>
                  <a:pt x="936" y="634"/>
                </a:cubicBezTo>
                <a:cubicBezTo>
                  <a:pt x="936" y="634"/>
                  <a:pt x="936" y="634"/>
                  <a:pt x="936" y="634"/>
                </a:cubicBezTo>
                <a:cubicBezTo>
                  <a:pt x="942" y="632"/>
                  <a:pt x="945" y="630"/>
                  <a:pt x="945" y="623"/>
                </a:cubicBezTo>
                <a:cubicBezTo>
                  <a:pt x="945" y="620"/>
                  <a:pt x="945" y="618"/>
                  <a:pt x="945" y="616"/>
                </a:cubicBezTo>
                <a:cubicBezTo>
                  <a:pt x="944" y="615"/>
                  <a:pt x="944" y="613"/>
                  <a:pt x="944" y="612"/>
                </a:cubicBezTo>
                <a:cubicBezTo>
                  <a:pt x="944" y="608"/>
                  <a:pt x="945" y="606"/>
                  <a:pt x="949" y="606"/>
                </a:cubicBezTo>
                <a:cubicBezTo>
                  <a:pt x="949" y="606"/>
                  <a:pt x="949" y="606"/>
                  <a:pt x="951" y="606"/>
                </a:cubicBezTo>
                <a:cubicBezTo>
                  <a:pt x="951" y="606"/>
                  <a:pt x="951" y="606"/>
                  <a:pt x="951" y="597"/>
                </a:cubicBezTo>
                <a:cubicBezTo>
                  <a:pt x="951" y="597"/>
                  <a:pt x="951" y="597"/>
                  <a:pt x="947" y="597"/>
                </a:cubicBezTo>
                <a:cubicBezTo>
                  <a:pt x="938" y="597"/>
                  <a:pt x="932" y="601"/>
                  <a:pt x="932" y="609"/>
                </a:cubicBezTo>
                <a:cubicBezTo>
                  <a:pt x="932" y="611"/>
                  <a:pt x="933" y="614"/>
                  <a:pt x="933" y="617"/>
                </a:cubicBezTo>
                <a:cubicBezTo>
                  <a:pt x="933" y="619"/>
                  <a:pt x="933" y="622"/>
                  <a:pt x="933" y="623"/>
                </a:cubicBezTo>
                <a:cubicBezTo>
                  <a:pt x="933" y="626"/>
                  <a:pt x="933" y="629"/>
                  <a:pt x="927" y="630"/>
                </a:cubicBezTo>
                <a:close/>
                <a:moveTo>
                  <a:pt x="981" y="638"/>
                </a:moveTo>
                <a:cubicBezTo>
                  <a:pt x="981" y="638"/>
                  <a:pt x="981" y="638"/>
                  <a:pt x="981" y="638"/>
                </a:cubicBezTo>
                <a:cubicBezTo>
                  <a:pt x="981" y="630"/>
                  <a:pt x="981" y="630"/>
                  <a:pt x="981" y="630"/>
                </a:cubicBezTo>
                <a:cubicBezTo>
                  <a:pt x="975" y="629"/>
                  <a:pt x="975" y="626"/>
                  <a:pt x="975" y="623"/>
                </a:cubicBezTo>
                <a:cubicBezTo>
                  <a:pt x="975" y="622"/>
                  <a:pt x="975" y="619"/>
                  <a:pt x="975" y="617"/>
                </a:cubicBezTo>
                <a:cubicBezTo>
                  <a:pt x="976" y="614"/>
                  <a:pt x="976" y="611"/>
                  <a:pt x="976" y="609"/>
                </a:cubicBezTo>
                <a:cubicBezTo>
                  <a:pt x="976" y="601"/>
                  <a:pt x="970" y="597"/>
                  <a:pt x="961" y="597"/>
                </a:cubicBezTo>
                <a:cubicBezTo>
                  <a:pt x="961" y="597"/>
                  <a:pt x="961" y="597"/>
                  <a:pt x="957" y="597"/>
                </a:cubicBezTo>
                <a:cubicBezTo>
                  <a:pt x="957" y="597"/>
                  <a:pt x="957" y="597"/>
                  <a:pt x="957" y="606"/>
                </a:cubicBezTo>
                <a:cubicBezTo>
                  <a:pt x="957" y="606"/>
                  <a:pt x="957" y="606"/>
                  <a:pt x="959" y="606"/>
                </a:cubicBezTo>
                <a:cubicBezTo>
                  <a:pt x="963" y="606"/>
                  <a:pt x="964" y="608"/>
                  <a:pt x="964" y="612"/>
                </a:cubicBezTo>
                <a:cubicBezTo>
                  <a:pt x="964" y="613"/>
                  <a:pt x="964" y="615"/>
                  <a:pt x="964" y="616"/>
                </a:cubicBezTo>
                <a:cubicBezTo>
                  <a:pt x="963" y="618"/>
                  <a:pt x="963" y="620"/>
                  <a:pt x="963" y="623"/>
                </a:cubicBezTo>
                <a:cubicBezTo>
                  <a:pt x="963" y="630"/>
                  <a:pt x="966" y="632"/>
                  <a:pt x="972" y="634"/>
                </a:cubicBezTo>
                <a:cubicBezTo>
                  <a:pt x="972" y="634"/>
                  <a:pt x="972" y="634"/>
                  <a:pt x="972" y="634"/>
                </a:cubicBezTo>
                <a:cubicBezTo>
                  <a:pt x="966" y="635"/>
                  <a:pt x="963" y="638"/>
                  <a:pt x="963" y="645"/>
                </a:cubicBezTo>
                <a:cubicBezTo>
                  <a:pt x="963" y="647"/>
                  <a:pt x="963" y="650"/>
                  <a:pt x="964" y="651"/>
                </a:cubicBezTo>
                <a:cubicBezTo>
                  <a:pt x="964" y="653"/>
                  <a:pt x="964" y="654"/>
                  <a:pt x="964" y="656"/>
                </a:cubicBezTo>
                <a:cubicBezTo>
                  <a:pt x="964" y="659"/>
                  <a:pt x="963" y="662"/>
                  <a:pt x="959" y="662"/>
                </a:cubicBezTo>
                <a:cubicBezTo>
                  <a:pt x="959" y="662"/>
                  <a:pt x="959" y="662"/>
                  <a:pt x="957" y="662"/>
                </a:cubicBezTo>
                <a:cubicBezTo>
                  <a:pt x="957" y="662"/>
                  <a:pt x="957" y="662"/>
                  <a:pt x="957" y="671"/>
                </a:cubicBezTo>
                <a:cubicBezTo>
                  <a:pt x="957" y="671"/>
                  <a:pt x="957" y="671"/>
                  <a:pt x="961" y="671"/>
                </a:cubicBezTo>
                <a:cubicBezTo>
                  <a:pt x="970" y="671"/>
                  <a:pt x="976" y="668"/>
                  <a:pt x="976" y="658"/>
                </a:cubicBezTo>
                <a:cubicBezTo>
                  <a:pt x="976" y="656"/>
                  <a:pt x="976" y="654"/>
                  <a:pt x="975" y="651"/>
                </a:cubicBezTo>
                <a:cubicBezTo>
                  <a:pt x="975" y="648"/>
                  <a:pt x="975" y="646"/>
                  <a:pt x="975" y="644"/>
                </a:cubicBezTo>
                <a:cubicBezTo>
                  <a:pt x="975" y="641"/>
                  <a:pt x="975" y="638"/>
                  <a:pt x="981" y="638"/>
                </a:cubicBezTo>
                <a:close/>
                <a:moveTo>
                  <a:pt x="1451" y="671"/>
                </a:moveTo>
                <a:cubicBezTo>
                  <a:pt x="1444" y="671"/>
                  <a:pt x="1438" y="668"/>
                  <a:pt x="1433" y="661"/>
                </a:cubicBezTo>
                <a:cubicBezTo>
                  <a:pt x="1429" y="656"/>
                  <a:pt x="1427" y="646"/>
                  <a:pt x="1427" y="634"/>
                </a:cubicBezTo>
                <a:cubicBezTo>
                  <a:pt x="1427" y="621"/>
                  <a:pt x="1429" y="612"/>
                  <a:pt x="1433" y="605"/>
                </a:cubicBezTo>
                <a:cubicBezTo>
                  <a:pt x="1438" y="598"/>
                  <a:pt x="1444" y="595"/>
                  <a:pt x="1453" y="595"/>
                </a:cubicBezTo>
                <a:cubicBezTo>
                  <a:pt x="1469" y="595"/>
                  <a:pt x="1477" y="607"/>
                  <a:pt x="1477" y="632"/>
                </a:cubicBezTo>
                <a:cubicBezTo>
                  <a:pt x="1477" y="645"/>
                  <a:pt x="1475" y="655"/>
                  <a:pt x="1471" y="661"/>
                </a:cubicBezTo>
                <a:cubicBezTo>
                  <a:pt x="1466" y="668"/>
                  <a:pt x="1460" y="671"/>
                  <a:pt x="1451" y="671"/>
                </a:cubicBezTo>
                <a:close/>
                <a:moveTo>
                  <a:pt x="1452" y="605"/>
                </a:moveTo>
                <a:cubicBezTo>
                  <a:pt x="1444" y="605"/>
                  <a:pt x="1439" y="614"/>
                  <a:pt x="1439" y="634"/>
                </a:cubicBezTo>
                <a:cubicBezTo>
                  <a:pt x="1439" y="652"/>
                  <a:pt x="1444" y="661"/>
                  <a:pt x="1452" y="661"/>
                </a:cubicBezTo>
                <a:cubicBezTo>
                  <a:pt x="1460" y="661"/>
                  <a:pt x="1465" y="652"/>
                  <a:pt x="1465" y="634"/>
                </a:cubicBezTo>
                <a:cubicBezTo>
                  <a:pt x="1465" y="614"/>
                  <a:pt x="1461" y="605"/>
                  <a:pt x="1452" y="605"/>
                </a:cubicBezTo>
                <a:close/>
                <a:moveTo>
                  <a:pt x="1569" y="671"/>
                </a:moveTo>
                <a:cubicBezTo>
                  <a:pt x="1562" y="671"/>
                  <a:pt x="1556" y="668"/>
                  <a:pt x="1552" y="661"/>
                </a:cubicBezTo>
                <a:cubicBezTo>
                  <a:pt x="1547" y="656"/>
                  <a:pt x="1545" y="646"/>
                  <a:pt x="1545" y="634"/>
                </a:cubicBezTo>
                <a:cubicBezTo>
                  <a:pt x="1545" y="621"/>
                  <a:pt x="1547" y="612"/>
                  <a:pt x="1552" y="605"/>
                </a:cubicBezTo>
                <a:cubicBezTo>
                  <a:pt x="1556" y="598"/>
                  <a:pt x="1563" y="595"/>
                  <a:pt x="1571" y="595"/>
                </a:cubicBezTo>
                <a:cubicBezTo>
                  <a:pt x="1587" y="595"/>
                  <a:pt x="1595" y="607"/>
                  <a:pt x="1595" y="632"/>
                </a:cubicBezTo>
                <a:cubicBezTo>
                  <a:pt x="1595" y="645"/>
                  <a:pt x="1593" y="655"/>
                  <a:pt x="1589" y="661"/>
                </a:cubicBezTo>
                <a:cubicBezTo>
                  <a:pt x="1584" y="668"/>
                  <a:pt x="1578" y="671"/>
                  <a:pt x="1569" y="671"/>
                </a:cubicBezTo>
                <a:close/>
                <a:moveTo>
                  <a:pt x="1571" y="605"/>
                </a:moveTo>
                <a:cubicBezTo>
                  <a:pt x="1562" y="605"/>
                  <a:pt x="1557" y="614"/>
                  <a:pt x="1557" y="634"/>
                </a:cubicBezTo>
                <a:cubicBezTo>
                  <a:pt x="1557" y="652"/>
                  <a:pt x="1562" y="661"/>
                  <a:pt x="1571" y="661"/>
                </a:cubicBezTo>
                <a:cubicBezTo>
                  <a:pt x="1579" y="661"/>
                  <a:pt x="1583" y="652"/>
                  <a:pt x="1583" y="634"/>
                </a:cubicBezTo>
                <a:cubicBezTo>
                  <a:pt x="1583" y="614"/>
                  <a:pt x="1579" y="605"/>
                  <a:pt x="1571" y="605"/>
                </a:cubicBezTo>
                <a:close/>
                <a:moveTo>
                  <a:pt x="1524" y="597"/>
                </a:moveTo>
                <a:cubicBezTo>
                  <a:pt x="1524" y="597"/>
                  <a:pt x="1524" y="597"/>
                  <a:pt x="1524" y="597"/>
                </a:cubicBezTo>
                <a:cubicBezTo>
                  <a:pt x="1519" y="597"/>
                  <a:pt x="1519" y="597"/>
                  <a:pt x="1519" y="597"/>
                </a:cubicBezTo>
                <a:cubicBezTo>
                  <a:pt x="1517" y="599"/>
                  <a:pt x="1516" y="600"/>
                  <a:pt x="1514" y="601"/>
                </a:cubicBezTo>
                <a:cubicBezTo>
                  <a:pt x="1512" y="603"/>
                  <a:pt x="1510" y="603"/>
                  <a:pt x="1509" y="604"/>
                </a:cubicBezTo>
                <a:cubicBezTo>
                  <a:pt x="1507" y="605"/>
                  <a:pt x="1505" y="605"/>
                  <a:pt x="1504" y="606"/>
                </a:cubicBezTo>
                <a:cubicBezTo>
                  <a:pt x="1502" y="607"/>
                  <a:pt x="1500" y="608"/>
                  <a:pt x="1498" y="608"/>
                </a:cubicBezTo>
                <a:cubicBezTo>
                  <a:pt x="1498" y="608"/>
                  <a:pt x="1498" y="608"/>
                  <a:pt x="1498" y="619"/>
                </a:cubicBezTo>
                <a:cubicBezTo>
                  <a:pt x="1501" y="618"/>
                  <a:pt x="1504" y="616"/>
                  <a:pt x="1506" y="616"/>
                </a:cubicBezTo>
                <a:cubicBezTo>
                  <a:pt x="1509" y="615"/>
                  <a:pt x="1511" y="613"/>
                  <a:pt x="1513" y="612"/>
                </a:cubicBezTo>
                <a:cubicBezTo>
                  <a:pt x="1513" y="612"/>
                  <a:pt x="1513" y="612"/>
                  <a:pt x="1513" y="671"/>
                </a:cubicBezTo>
                <a:cubicBezTo>
                  <a:pt x="1513" y="671"/>
                  <a:pt x="1513" y="671"/>
                  <a:pt x="1524" y="671"/>
                </a:cubicBezTo>
                <a:cubicBezTo>
                  <a:pt x="1524" y="671"/>
                  <a:pt x="1524" y="671"/>
                  <a:pt x="1524" y="597"/>
                </a:cubicBezTo>
                <a:close/>
                <a:moveTo>
                  <a:pt x="1640" y="671"/>
                </a:moveTo>
                <a:cubicBezTo>
                  <a:pt x="1632" y="671"/>
                  <a:pt x="1626" y="668"/>
                  <a:pt x="1622" y="662"/>
                </a:cubicBezTo>
                <a:cubicBezTo>
                  <a:pt x="1618" y="656"/>
                  <a:pt x="1616" y="647"/>
                  <a:pt x="1616" y="634"/>
                </a:cubicBezTo>
                <a:cubicBezTo>
                  <a:pt x="1616" y="621"/>
                  <a:pt x="1618" y="612"/>
                  <a:pt x="1622" y="605"/>
                </a:cubicBezTo>
                <a:cubicBezTo>
                  <a:pt x="1627" y="599"/>
                  <a:pt x="1633" y="595"/>
                  <a:pt x="1642" y="595"/>
                </a:cubicBezTo>
                <a:cubicBezTo>
                  <a:pt x="1658" y="595"/>
                  <a:pt x="1666" y="607"/>
                  <a:pt x="1666" y="633"/>
                </a:cubicBezTo>
                <a:cubicBezTo>
                  <a:pt x="1666" y="645"/>
                  <a:pt x="1664" y="655"/>
                  <a:pt x="1660" y="661"/>
                </a:cubicBezTo>
                <a:cubicBezTo>
                  <a:pt x="1655" y="668"/>
                  <a:pt x="1649" y="671"/>
                  <a:pt x="1640" y="671"/>
                </a:cubicBezTo>
                <a:close/>
                <a:moveTo>
                  <a:pt x="1641" y="605"/>
                </a:moveTo>
                <a:cubicBezTo>
                  <a:pt x="1632" y="605"/>
                  <a:pt x="1627" y="615"/>
                  <a:pt x="1627" y="634"/>
                </a:cubicBezTo>
                <a:cubicBezTo>
                  <a:pt x="1627" y="653"/>
                  <a:pt x="1632" y="661"/>
                  <a:pt x="1641" y="661"/>
                </a:cubicBezTo>
                <a:cubicBezTo>
                  <a:pt x="1649" y="661"/>
                  <a:pt x="1654" y="653"/>
                  <a:pt x="1654" y="634"/>
                </a:cubicBezTo>
                <a:cubicBezTo>
                  <a:pt x="1654" y="614"/>
                  <a:pt x="1649" y="605"/>
                  <a:pt x="1641" y="605"/>
                </a:cubicBezTo>
                <a:close/>
                <a:moveTo>
                  <a:pt x="1687" y="630"/>
                </a:moveTo>
                <a:cubicBezTo>
                  <a:pt x="1687" y="630"/>
                  <a:pt x="1687" y="630"/>
                  <a:pt x="1687" y="630"/>
                </a:cubicBezTo>
                <a:cubicBezTo>
                  <a:pt x="1687" y="638"/>
                  <a:pt x="1687" y="638"/>
                  <a:pt x="1687" y="638"/>
                </a:cubicBezTo>
                <a:cubicBezTo>
                  <a:pt x="1693" y="638"/>
                  <a:pt x="1694" y="641"/>
                  <a:pt x="1694" y="644"/>
                </a:cubicBezTo>
                <a:cubicBezTo>
                  <a:pt x="1694" y="646"/>
                  <a:pt x="1693" y="648"/>
                  <a:pt x="1693" y="651"/>
                </a:cubicBezTo>
                <a:cubicBezTo>
                  <a:pt x="1693" y="654"/>
                  <a:pt x="1692" y="656"/>
                  <a:pt x="1692" y="658"/>
                </a:cubicBezTo>
                <a:cubicBezTo>
                  <a:pt x="1692" y="668"/>
                  <a:pt x="1698" y="671"/>
                  <a:pt x="1707" y="671"/>
                </a:cubicBezTo>
                <a:cubicBezTo>
                  <a:pt x="1707" y="671"/>
                  <a:pt x="1707" y="671"/>
                  <a:pt x="1711" y="671"/>
                </a:cubicBezTo>
                <a:cubicBezTo>
                  <a:pt x="1711" y="671"/>
                  <a:pt x="1711" y="671"/>
                  <a:pt x="1711" y="662"/>
                </a:cubicBezTo>
                <a:cubicBezTo>
                  <a:pt x="1711" y="662"/>
                  <a:pt x="1711" y="662"/>
                  <a:pt x="1709" y="662"/>
                </a:cubicBezTo>
                <a:cubicBezTo>
                  <a:pt x="1705" y="662"/>
                  <a:pt x="1704" y="659"/>
                  <a:pt x="1704" y="656"/>
                </a:cubicBezTo>
                <a:cubicBezTo>
                  <a:pt x="1704" y="654"/>
                  <a:pt x="1704" y="653"/>
                  <a:pt x="1705" y="651"/>
                </a:cubicBezTo>
                <a:cubicBezTo>
                  <a:pt x="1705" y="650"/>
                  <a:pt x="1705" y="647"/>
                  <a:pt x="1705" y="645"/>
                </a:cubicBezTo>
                <a:cubicBezTo>
                  <a:pt x="1705" y="638"/>
                  <a:pt x="1702" y="635"/>
                  <a:pt x="1697" y="634"/>
                </a:cubicBezTo>
                <a:cubicBezTo>
                  <a:pt x="1697" y="634"/>
                  <a:pt x="1697" y="634"/>
                  <a:pt x="1697" y="634"/>
                </a:cubicBezTo>
                <a:cubicBezTo>
                  <a:pt x="1702" y="632"/>
                  <a:pt x="1705" y="630"/>
                  <a:pt x="1705" y="623"/>
                </a:cubicBezTo>
                <a:cubicBezTo>
                  <a:pt x="1705" y="620"/>
                  <a:pt x="1705" y="618"/>
                  <a:pt x="1705" y="616"/>
                </a:cubicBezTo>
                <a:cubicBezTo>
                  <a:pt x="1704" y="615"/>
                  <a:pt x="1704" y="613"/>
                  <a:pt x="1704" y="612"/>
                </a:cubicBezTo>
                <a:cubicBezTo>
                  <a:pt x="1704" y="608"/>
                  <a:pt x="1705" y="606"/>
                  <a:pt x="1709" y="606"/>
                </a:cubicBezTo>
                <a:cubicBezTo>
                  <a:pt x="1709" y="606"/>
                  <a:pt x="1709" y="606"/>
                  <a:pt x="1711" y="606"/>
                </a:cubicBezTo>
                <a:cubicBezTo>
                  <a:pt x="1711" y="606"/>
                  <a:pt x="1711" y="606"/>
                  <a:pt x="1711" y="597"/>
                </a:cubicBezTo>
                <a:cubicBezTo>
                  <a:pt x="1711" y="597"/>
                  <a:pt x="1711" y="597"/>
                  <a:pt x="1707" y="597"/>
                </a:cubicBezTo>
                <a:cubicBezTo>
                  <a:pt x="1698" y="597"/>
                  <a:pt x="1692" y="601"/>
                  <a:pt x="1692" y="609"/>
                </a:cubicBezTo>
                <a:cubicBezTo>
                  <a:pt x="1692" y="611"/>
                  <a:pt x="1693" y="614"/>
                  <a:pt x="1693" y="617"/>
                </a:cubicBezTo>
                <a:cubicBezTo>
                  <a:pt x="1693" y="619"/>
                  <a:pt x="1694" y="622"/>
                  <a:pt x="1694" y="623"/>
                </a:cubicBezTo>
                <a:cubicBezTo>
                  <a:pt x="1694" y="626"/>
                  <a:pt x="1693" y="629"/>
                  <a:pt x="1687" y="630"/>
                </a:cubicBezTo>
                <a:close/>
                <a:moveTo>
                  <a:pt x="1742" y="638"/>
                </a:moveTo>
                <a:cubicBezTo>
                  <a:pt x="1742" y="638"/>
                  <a:pt x="1742" y="638"/>
                  <a:pt x="1742" y="638"/>
                </a:cubicBezTo>
                <a:cubicBezTo>
                  <a:pt x="1742" y="630"/>
                  <a:pt x="1742" y="630"/>
                  <a:pt x="1742" y="630"/>
                </a:cubicBezTo>
                <a:cubicBezTo>
                  <a:pt x="1735" y="629"/>
                  <a:pt x="1735" y="626"/>
                  <a:pt x="1735" y="623"/>
                </a:cubicBezTo>
                <a:cubicBezTo>
                  <a:pt x="1735" y="622"/>
                  <a:pt x="1735" y="619"/>
                  <a:pt x="1735" y="617"/>
                </a:cubicBezTo>
                <a:cubicBezTo>
                  <a:pt x="1736" y="614"/>
                  <a:pt x="1736" y="611"/>
                  <a:pt x="1736" y="609"/>
                </a:cubicBezTo>
                <a:cubicBezTo>
                  <a:pt x="1736" y="601"/>
                  <a:pt x="1731" y="597"/>
                  <a:pt x="1721" y="597"/>
                </a:cubicBezTo>
                <a:cubicBezTo>
                  <a:pt x="1721" y="597"/>
                  <a:pt x="1721" y="597"/>
                  <a:pt x="1718" y="597"/>
                </a:cubicBezTo>
                <a:cubicBezTo>
                  <a:pt x="1718" y="597"/>
                  <a:pt x="1718" y="597"/>
                  <a:pt x="1718" y="606"/>
                </a:cubicBezTo>
                <a:cubicBezTo>
                  <a:pt x="1718" y="606"/>
                  <a:pt x="1718" y="606"/>
                  <a:pt x="1719" y="606"/>
                </a:cubicBezTo>
                <a:cubicBezTo>
                  <a:pt x="1723" y="606"/>
                  <a:pt x="1724" y="608"/>
                  <a:pt x="1724" y="612"/>
                </a:cubicBezTo>
                <a:cubicBezTo>
                  <a:pt x="1724" y="613"/>
                  <a:pt x="1724" y="615"/>
                  <a:pt x="1724" y="616"/>
                </a:cubicBezTo>
                <a:cubicBezTo>
                  <a:pt x="1724" y="618"/>
                  <a:pt x="1724" y="620"/>
                  <a:pt x="1724" y="623"/>
                </a:cubicBezTo>
                <a:cubicBezTo>
                  <a:pt x="1724" y="630"/>
                  <a:pt x="1726" y="632"/>
                  <a:pt x="1732" y="634"/>
                </a:cubicBezTo>
                <a:cubicBezTo>
                  <a:pt x="1732" y="634"/>
                  <a:pt x="1732" y="634"/>
                  <a:pt x="1732" y="634"/>
                </a:cubicBezTo>
                <a:cubicBezTo>
                  <a:pt x="1726" y="635"/>
                  <a:pt x="1724" y="638"/>
                  <a:pt x="1724" y="645"/>
                </a:cubicBezTo>
                <a:cubicBezTo>
                  <a:pt x="1724" y="647"/>
                  <a:pt x="1724" y="650"/>
                  <a:pt x="1724" y="651"/>
                </a:cubicBezTo>
                <a:cubicBezTo>
                  <a:pt x="1724" y="653"/>
                  <a:pt x="1724" y="654"/>
                  <a:pt x="1724" y="656"/>
                </a:cubicBezTo>
                <a:cubicBezTo>
                  <a:pt x="1724" y="659"/>
                  <a:pt x="1723" y="662"/>
                  <a:pt x="1719" y="662"/>
                </a:cubicBezTo>
                <a:cubicBezTo>
                  <a:pt x="1719" y="662"/>
                  <a:pt x="1719" y="662"/>
                  <a:pt x="1718" y="662"/>
                </a:cubicBezTo>
                <a:cubicBezTo>
                  <a:pt x="1718" y="662"/>
                  <a:pt x="1718" y="662"/>
                  <a:pt x="1718" y="671"/>
                </a:cubicBezTo>
                <a:cubicBezTo>
                  <a:pt x="1718" y="671"/>
                  <a:pt x="1718" y="671"/>
                  <a:pt x="1721" y="671"/>
                </a:cubicBezTo>
                <a:cubicBezTo>
                  <a:pt x="1730" y="671"/>
                  <a:pt x="1736" y="668"/>
                  <a:pt x="1736" y="658"/>
                </a:cubicBezTo>
                <a:cubicBezTo>
                  <a:pt x="1736" y="656"/>
                  <a:pt x="1736" y="654"/>
                  <a:pt x="1735" y="651"/>
                </a:cubicBezTo>
                <a:cubicBezTo>
                  <a:pt x="1735" y="648"/>
                  <a:pt x="1735" y="646"/>
                  <a:pt x="1735" y="644"/>
                </a:cubicBezTo>
                <a:cubicBezTo>
                  <a:pt x="1735" y="641"/>
                  <a:pt x="1735" y="638"/>
                  <a:pt x="1742" y="638"/>
                </a:cubicBezTo>
                <a:close/>
                <a:moveTo>
                  <a:pt x="1862" y="671"/>
                </a:moveTo>
                <a:cubicBezTo>
                  <a:pt x="1855" y="671"/>
                  <a:pt x="1848" y="668"/>
                  <a:pt x="1844" y="662"/>
                </a:cubicBezTo>
                <a:cubicBezTo>
                  <a:pt x="1840" y="656"/>
                  <a:pt x="1838" y="647"/>
                  <a:pt x="1838" y="634"/>
                </a:cubicBezTo>
                <a:cubicBezTo>
                  <a:pt x="1838" y="621"/>
                  <a:pt x="1840" y="612"/>
                  <a:pt x="1844" y="605"/>
                </a:cubicBezTo>
                <a:cubicBezTo>
                  <a:pt x="1849" y="599"/>
                  <a:pt x="1855" y="595"/>
                  <a:pt x="1864" y="595"/>
                </a:cubicBezTo>
                <a:cubicBezTo>
                  <a:pt x="1880" y="595"/>
                  <a:pt x="1888" y="607"/>
                  <a:pt x="1888" y="633"/>
                </a:cubicBezTo>
                <a:cubicBezTo>
                  <a:pt x="1888" y="645"/>
                  <a:pt x="1886" y="655"/>
                  <a:pt x="1881" y="661"/>
                </a:cubicBezTo>
                <a:cubicBezTo>
                  <a:pt x="1876" y="668"/>
                  <a:pt x="1870" y="671"/>
                  <a:pt x="1862" y="671"/>
                </a:cubicBezTo>
                <a:close/>
                <a:moveTo>
                  <a:pt x="1863" y="605"/>
                </a:moveTo>
                <a:cubicBezTo>
                  <a:pt x="1854" y="605"/>
                  <a:pt x="1849" y="615"/>
                  <a:pt x="1849" y="634"/>
                </a:cubicBezTo>
                <a:cubicBezTo>
                  <a:pt x="1849" y="653"/>
                  <a:pt x="1854" y="661"/>
                  <a:pt x="1863" y="661"/>
                </a:cubicBezTo>
                <a:cubicBezTo>
                  <a:pt x="1871" y="661"/>
                  <a:pt x="1876" y="653"/>
                  <a:pt x="1876" y="634"/>
                </a:cubicBezTo>
                <a:cubicBezTo>
                  <a:pt x="1876" y="614"/>
                  <a:pt x="1871" y="605"/>
                  <a:pt x="1863" y="605"/>
                </a:cubicBezTo>
                <a:close/>
                <a:moveTo>
                  <a:pt x="1932" y="597"/>
                </a:moveTo>
                <a:cubicBezTo>
                  <a:pt x="1932" y="597"/>
                  <a:pt x="1932" y="597"/>
                  <a:pt x="1932" y="597"/>
                </a:cubicBezTo>
                <a:cubicBezTo>
                  <a:pt x="1927" y="597"/>
                  <a:pt x="1927" y="597"/>
                  <a:pt x="1927" y="597"/>
                </a:cubicBezTo>
                <a:cubicBezTo>
                  <a:pt x="1924" y="599"/>
                  <a:pt x="1923" y="600"/>
                  <a:pt x="1921" y="601"/>
                </a:cubicBezTo>
                <a:cubicBezTo>
                  <a:pt x="1919" y="603"/>
                  <a:pt x="1917" y="603"/>
                  <a:pt x="1916" y="604"/>
                </a:cubicBezTo>
                <a:cubicBezTo>
                  <a:pt x="1913" y="605"/>
                  <a:pt x="1912" y="605"/>
                  <a:pt x="1910" y="606"/>
                </a:cubicBezTo>
                <a:cubicBezTo>
                  <a:pt x="1908" y="607"/>
                  <a:pt x="1907" y="608"/>
                  <a:pt x="1904" y="608"/>
                </a:cubicBezTo>
                <a:cubicBezTo>
                  <a:pt x="1904" y="608"/>
                  <a:pt x="1904" y="608"/>
                  <a:pt x="1904" y="619"/>
                </a:cubicBezTo>
                <a:cubicBezTo>
                  <a:pt x="1907" y="618"/>
                  <a:pt x="1910" y="616"/>
                  <a:pt x="1913" y="616"/>
                </a:cubicBezTo>
                <a:cubicBezTo>
                  <a:pt x="1916" y="615"/>
                  <a:pt x="1918" y="613"/>
                  <a:pt x="1920" y="612"/>
                </a:cubicBezTo>
                <a:cubicBezTo>
                  <a:pt x="1920" y="612"/>
                  <a:pt x="1920" y="612"/>
                  <a:pt x="1920" y="671"/>
                </a:cubicBezTo>
                <a:cubicBezTo>
                  <a:pt x="1920" y="671"/>
                  <a:pt x="1920" y="671"/>
                  <a:pt x="1932" y="671"/>
                </a:cubicBezTo>
                <a:cubicBezTo>
                  <a:pt x="1932" y="671"/>
                  <a:pt x="1932" y="671"/>
                  <a:pt x="1932" y="597"/>
                </a:cubicBezTo>
                <a:close/>
                <a:moveTo>
                  <a:pt x="128" y="540"/>
                </a:moveTo>
                <a:cubicBezTo>
                  <a:pt x="128" y="541"/>
                  <a:pt x="129" y="542"/>
                  <a:pt x="130" y="544"/>
                </a:cubicBezTo>
                <a:cubicBezTo>
                  <a:pt x="130" y="546"/>
                  <a:pt x="130" y="548"/>
                  <a:pt x="131" y="549"/>
                </a:cubicBezTo>
                <a:cubicBezTo>
                  <a:pt x="131" y="551"/>
                  <a:pt x="131" y="552"/>
                  <a:pt x="131" y="554"/>
                </a:cubicBezTo>
                <a:cubicBezTo>
                  <a:pt x="132" y="557"/>
                  <a:pt x="131" y="559"/>
                  <a:pt x="128" y="559"/>
                </a:cubicBezTo>
                <a:cubicBezTo>
                  <a:pt x="125" y="559"/>
                  <a:pt x="122" y="558"/>
                  <a:pt x="119" y="558"/>
                </a:cubicBezTo>
                <a:cubicBezTo>
                  <a:pt x="119" y="558"/>
                  <a:pt x="118" y="558"/>
                  <a:pt x="118" y="559"/>
                </a:cubicBezTo>
                <a:cubicBezTo>
                  <a:pt x="116" y="560"/>
                  <a:pt x="115" y="561"/>
                  <a:pt x="114" y="563"/>
                </a:cubicBezTo>
                <a:cubicBezTo>
                  <a:pt x="112" y="565"/>
                  <a:pt x="108" y="566"/>
                  <a:pt x="106" y="564"/>
                </a:cubicBezTo>
                <a:cubicBezTo>
                  <a:pt x="104" y="561"/>
                  <a:pt x="103" y="559"/>
                  <a:pt x="101" y="556"/>
                </a:cubicBezTo>
                <a:cubicBezTo>
                  <a:pt x="101" y="555"/>
                  <a:pt x="101" y="553"/>
                  <a:pt x="103" y="552"/>
                </a:cubicBezTo>
                <a:cubicBezTo>
                  <a:pt x="101" y="552"/>
                  <a:pt x="99" y="552"/>
                  <a:pt x="97" y="552"/>
                </a:cubicBezTo>
                <a:cubicBezTo>
                  <a:pt x="97" y="554"/>
                  <a:pt x="95" y="556"/>
                  <a:pt x="95" y="557"/>
                </a:cubicBezTo>
                <a:cubicBezTo>
                  <a:pt x="95" y="558"/>
                  <a:pt x="94" y="559"/>
                  <a:pt x="94" y="560"/>
                </a:cubicBezTo>
                <a:cubicBezTo>
                  <a:pt x="94" y="563"/>
                  <a:pt x="93" y="564"/>
                  <a:pt x="90" y="564"/>
                </a:cubicBezTo>
                <a:cubicBezTo>
                  <a:pt x="87" y="563"/>
                  <a:pt x="84" y="563"/>
                  <a:pt x="81" y="561"/>
                </a:cubicBezTo>
                <a:cubicBezTo>
                  <a:pt x="79" y="561"/>
                  <a:pt x="79" y="559"/>
                  <a:pt x="79" y="557"/>
                </a:cubicBezTo>
                <a:cubicBezTo>
                  <a:pt x="79" y="557"/>
                  <a:pt x="79" y="556"/>
                  <a:pt x="80" y="556"/>
                </a:cubicBezTo>
                <a:cubicBezTo>
                  <a:pt x="77" y="555"/>
                  <a:pt x="75" y="554"/>
                  <a:pt x="73" y="552"/>
                </a:cubicBezTo>
                <a:cubicBezTo>
                  <a:pt x="72" y="552"/>
                  <a:pt x="71" y="550"/>
                  <a:pt x="70" y="548"/>
                </a:cubicBezTo>
                <a:cubicBezTo>
                  <a:pt x="69" y="546"/>
                  <a:pt x="69" y="544"/>
                  <a:pt x="71" y="543"/>
                </a:cubicBezTo>
                <a:cubicBezTo>
                  <a:pt x="74" y="540"/>
                  <a:pt x="75" y="538"/>
                  <a:pt x="74" y="534"/>
                </a:cubicBezTo>
                <a:cubicBezTo>
                  <a:pt x="74" y="532"/>
                  <a:pt x="74" y="529"/>
                  <a:pt x="74" y="528"/>
                </a:cubicBezTo>
                <a:cubicBezTo>
                  <a:pt x="73" y="527"/>
                  <a:pt x="71" y="527"/>
                  <a:pt x="70" y="525"/>
                </a:cubicBezTo>
                <a:cubicBezTo>
                  <a:pt x="69" y="524"/>
                  <a:pt x="68" y="522"/>
                  <a:pt x="68" y="520"/>
                </a:cubicBezTo>
                <a:cubicBezTo>
                  <a:pt x="68" y="517"/>
                  <a:pt x="72" y="514"/>
                  <a:pt x="74" y="514"/>
                </a:cubicBezTo>
                <a:cubicBezTo>
                  <a:pt x="75" y="514"/>
                  <a:pt x="75" y="515"/>
                  <a:pt x="75" y="516"/>
                </a:cubicBezTo>
                <a:cubicBezTo>
                  <a:pt x="75" y="517"/>
                  <a:pt x="75" y="518"/>
                  <a:pt x="75" y="519"/>
                </a:cubicBezTo>
                <a:cubicBezTo>
                  <a:pt x="75" y="519"/>
                  <a:pt x="74" y="519"/>
                  <a:pt x="74" y="519"/>
                </a:cubicBezTo>
                <a:cubicBezTo>
                  <a:pt x="74" y="520"/>
                  <a:pt x="73" y="521"/>
                  <a:pt x="72" y="523"/>
                </a:cubicBezTo>
                <a:cubicBezTo>
                  <a:pt x="74" y="523"/>
                  <a:pt x="74" y="523"/>
                  <a:pt x="75" y="522"/>
                </a:cubicBezTo>
                <a:cubicBezTo>
                  <a:pt x="76" y="521"/>
                  <a:pt x="77" y="520"/>
                  <a:pt x="77" y="519"/>
                </a:cubicBezTo>
                <a:cubicBezTo>
                  <a:pt x="82" y="512"/>
                  <a:pt x="88" y="508"/>
                  <a:pt x="95" y="507"/>
                </a:cubicBezTo>
                <a:cubicBezTo>
                  <a:pt x="99" y="506"/>
                  <a:pt x="102" y="505"/>
                  <a:pt x="104" y="502"/>
                </a:cubicBezTo>
                <a:cubicBezTo>
                  <a:pt x="104" y="502"/>
                  <a:pt x="105" y="502"/>
                  <a:pt x="105" y="502"/>
                </a:cubicBezTo>
                <a:cubicBezTo>
                  <a:pt x="108" y="501"/>
                  <a:pt x="110" y="499"/>
                  <a:pt x="112" y="497"/>
                </a:cubicBezTo>
                <a:cubicBezTo>
                  <a:pt x="119" y="489"/>
                  <a:pt x="131" y="489"/>
                  <a:pt x="139" y="496"/>
                </a:cubicBezTo>
                <a:cubicBezTo>
                  <a:pt x="141" y="498"/>
                  <a:pt x="144" y="500"/>
                  <a:pt x="146" y="502"/>
                </a:cubicBezTo>
                <a:cubicBezTo>
                  <a:pt x="148" y="503"/>
                  <a:pt x="149" y="504"/>
                  <a:pt x="150" y="506"/>
                </a:cubicBezTo>
                <a:cubicBezTo>
                  <a:pt x="151" y="508"/>
                  <a:pt x="152" y="508"/>
                  <a:pt x="153" y="507"/>
                </a:cubicBezTo>
                <a:cubicBezTo>
                  <a:pt x="154" y="506"/>
                  <a:pt x="154" y="506"/>
                  <a:pt x="155" y="505"/>
                </a:cubicBezTo>
                <a:cubicBezTo>
                  <a:pt x="157" y="502"/>
                  <a:pt x="160" y="502"/>
                  <a:pt x="161" y="505"/>
                </a:cubicBezTo>
                <a:cubicBezTo>
                  <a:pt x="163" y="508"/>
                  <a:pt x="163" y="511"/>
                  <a:pt x="164" y="514"/>
                </a:cubicBezTo>
                <a:cubicBezTo>
                  <a:pt x="164" y="519"/>
                  <a:pt x="164" y="523"/>
                  <a:pt x="163" y="527"/>
                </a:cubicBezTo>
                <a:cubicBezTo>
                  <a:pt x="160" y="534"/>
                  <a:pt x="155" y="537"/>
                  <a:pt x="149" y="537"/>
                </a:cubicBezTo>
                <a:cubicBezTo>
                  <a:pt x="148" y="537"/>
                  <a:pt x="148" y="537"/>
                  <a:pt x="147" y="537"/>
                </a:cubicBezTo>
                <a:cubicBezTo>
                  <a:pt x="144" y="537"/>
                  <a:pt x="143" y="537"/>
                  <a:pt x="143" y="540"/>
                </a:cubicBezTo>
                <a:cubicBezTo>
                  <a:pt x="141" y="544"/>
                  <a:pt x="135" y="546"/>
                  <a:pt x="132" y="542"/>
                </a:cubicBezTo>
                <a:cubicBezTo>
                  <a:pt x="131" y="541"/>
                  <a:pt x="130" y="540"/>
                  <a:pt x="129" y="539"/>
                </a:cubicBezTo>
                <a:cubicBezTo>
                  <a:pt x="128" y="540"/>
                  <a:pt x="128" y="540"/>
                  <a:pt x="128" y="540"/>
                </a:cubicBezTo>
                <a:close/>
                <a:moveTo>
                  <a:pt x="123" y="535"/>
                </a:moveTo>
                <a:cubicBezTo>
                  <a:pt x="126" y="537"/>
                  <a:pt x="130" y="538"/>
                  <a:pt x="132" y="541"/>
                </a:cubicBezTo>
                <a:cubicBezTo>
                  <a:pt x="134" y="542"/>
                  <a:pt x="136" y="543"/>
                  <a:pt x="138" y="542"/>
                </a:cubicBezTo>
                <a:cubicBezTo>
                  <a:pt x="141" y="542"/>
                  <a:pt x="142" y="540"/>
                  <a:pt x="142" y="537"/>
                </a:cubicBezTo>
                <a:cubicBezTo>
                  <a:pt x="142" y="537"/>
                  <a:pt x="141" y="537"/>
                  <a:pt x="141" y="537"/>
                </a:cubicBezTo>
                <a:cubicBezTo>
                  <a:pt x="141" y="539"/>
                  <a:pt x="139" y="540"/>
                  <a:pt x="139" y="541"/>
                </a:cubicBezTo>
                <a:cubicBezTo>
                  <a:pt x="137" y="542"/>
                  <a:pt x="136" y="542"/>
                  <a:pt x="135" y="541"/>
                </a:cubicBezTo>
                <a:cubicBezTo>
                  <a:pt x="135" y="541"/>
                  <a:pt x="134" y="540"/>
                  <a:pt x="134" y="539"/>
                </a:cubicBezTo>
                <a:cubicBezTo>
                  <a:pt x="134" y="537"/>
                  <a:pt x="135" y="535"/>
                  <a:pt x="135" y="533"/>
                </a:cubicBezTo>
                <a:cubicBezTo>
                  <a:pt x="138" y="534"/>
                  <a:pt x="141" y="535"/>
                  <a:pt x="145" y="535"/>
                </a:cubicBezTo>
                <a:cubicBezTo>
                  <a:pt x="152" y="537"/>
                  <a:pt x="158" y="535"/>
                  <a:pt x="161" y="526"/>
                </a:cubicBezTo>
                <a:cubicBezTo>
                  <a:pt x="163" y="521"/>
                  <a:pt x="163" y="517"/>
                  <a:pt x="162" y="512"/>
                </a:cubicBezTo>
                <a:cubicBezTo>
                  <a:pt x="161" y="510"/>
                  <a:pt x="161" y="508"/>
                  <a:pt x="160" y="506"/>
                </a:cubicBezTo>
                <a:cubicBezTo>
                  <a:pt x="159" y="504"/>
                  <a:pt x="158" y="504"/>
                  <a:pt x="157" y="506"/>
                </a:cubicBezTo>
                <a:cubicBezTo>
                  <a:pt x="155" y="507"/>
                  <a:pt x="154" y="509"/>
                  <a:pt x="152" y="510"/>
                </a:cubicBezTo>
                <a:cubicBezTo>
                  <a:pt x="151" y="510"/>
                  <a:pt x="150" y="511"/>
                  <a:pt x="150" y="512"/>
                </a:cubicBezTo>
                <a:cubicBezTo>
                  <a:pt x="151" y="515"/>
                  <a:pt x="150" y="518"/>
                  <a:pt x="149" y="521"/>
                </a:cubicBezTo>
                <a:cubicBezTo>
                  <a:pt x="149" y="519"/>
                  <a:pt x="150" y="518"/>
                  <a:pt x="150" y="516"/>
                </a:cubicBezTo>
                <a:cubicBezTo>
                  <a:pt x="150" y="515"/>
                  <a:pt x="149" y="515"/>
                  <a:pt x="149" y="514"/>
                </a:cubicBezTo>
                <a:cubicBezTo>
                  <a:pt x="148" y="515"/>
                  <a:pt x="148" y="515"/>
                  <a:pt x="148" y="515"/>
                </a:cubicBezTo>
                <a:cubicBezTo>
                  <a:pt x="147" y="516"/>
                  <a:pt x="146" y="518"/>
                  <a:pt x="145" y="519"/>
                </a:cubicBezTo>
                <a:cubicBezTo>
                  <a:pt x="145" y="519"/>
                  <a:pt x="145" y="519"/>
                  <a:pt x="145" y="519"/>
                </a:cubicBezTo>
                <a:cubicBezTo>
                  <a:pt x="145" y="518"/>
                  <a:pt x="146" y="516"/>
                  <a:pt x="146" y="514"/>
                </a:cubicBezTo>
                <a:cubicBezTo>
                  <a:pt x="145" y="514"/>
                  <a:pt x="144" y="515"/>
                  <a:pt x="144" y="516"/>
                </a:cubicBezTo>
                <a:cubicBezTo>
                  <a:pt x="143" y="516"/>
                  <a:pt x="143" y="517"/>
                  <a:pt x="143" y="518"/>
                </a:cubicBezTo>
                <a:cubicBezTo>
                  <a:pt x="143" y="514"/>
                  <a:pt x="143" y="514"/>
                  <a:pt x="149" y="513"/>
                </a:cubicBezTo>
                <a:cubicBezTo>
                  <a:pt x="149" y="512"/>
                  <a:pt x="148" y="512"/>
                  <a:pt x="148" y="512"/>
                </a:cubicBezTo>
                <a:cubicBezTo>
                  <a:pt x="145" y="512"/>
                  <a:pt x="144" y="511"/>
                  <a:pt x="144" y="508"/>
                </a:cubicBezTo>
                <a:cubicBezTo>
                  <a:pt x="146" y="508"/>
                  <a:pt x="147" y="508"/>
                  <a:pt x="149" y="507"/>
                </a:cubicBezTo>
                <a:cubicBezTo>
                  <a:pt x="147" y="505"/>
                  <a:pt x="146" y="502"/>
                  <a:pt x="143" y="502"/>
                </a:cubicBezTo>
                <a:cubicBezTo>
                  <a:pt x="142" y="502"/>
                  <a:pt x="142" y="501"/>
                  <a:pt x="142" y="501"/>
                </a:cubicBezTo>
                <a:cubicBezTo>
                  <a:pt x="139" y="499"/>
                  <a:pt x="137" y="497"/>
                  <a:pt x="134" y="495"/>
                </a:cubicBezTo>
                <a:cubicBezTo>
                  <a:pt x="132" y="493"/>
                  <a:pt x="129" y="493"/>
                  <a:pt x="127" y="493"/>
                </a:cubicBezTo>
                <a:cubicBezTo>
                  <a:pt x="124" y="493"/>
                  <a:pt x="121" y="494"/>
                  <a:pt x="117" y="495"/>
                </a:cubicBezTo>
                <a:cubicBezTo>
                  <a:pt x="115" y="496"/>
                  <a:pt x="112" y="498"/>
                  <a:pt x="110" y="501"/>
                </a:cubicBezTo>
                <a:cubicBezTo>
                  <a:pt x="112" y="501"/>
                  <a:pt x="113" y="501"/>
                  <a:pt x="114" y="501"/>
                </a:cubicBezTo>
                <a:cubicBezTo>
                  <a:pt x="114" y="501"/>
                  <a:pt x="113" y="502"/>
                  <a:pt x="112" y="502"/>
                </a:cubicBezTo>
                <a:cubicBezTo>
                  <a:pt x="110" y="502"/>
                  <a:pt x="107" y="502"/>
                  <a:pt x="105" y="504"/>
                </a:cubicBezTo>
                <a:cubicBezTo>
                  <a:pt x="102" y="508"/>
                  <a:pt x="98" y="512"/>
                  <a:pt x="94" y="516"/>
                </a:cubicBezTo>
                <a:cubicBezTo>
                  <a:pt x="93" y="518"/>
                  <a:pt x="92" y="520"/>
                  <a:pt x="91" y="523"/>
                </a:cubicBezTo>
                <a:cubicBezTo>
                  <a:pt x="91" y="523"/>
                  <a:pt x="91" y="524"/>
                  <a:pt x="91" y="524"/>
                </a:cubicBezTo>
                <a:cubicBezTo>
                  <a:pt x="92" y="526"/>
                  <a:pt x="94" y="528"/>
                  <a:pt x="95" y="530"/>
                </a:cubicBezTo>
                <a:cubicBezTo>
                  <a:pt x="96" y="529"/>
                  <a:pt x="97" y="527"/>
                  <a:pt x="99" y="526"/>
                </a:cubicBezTo>
                <a:cubicBezTo>
                  <a:pt x="98" y="527"/>
                  <a:pt x="98" y="528"/>
                  <a:pt x="97" y="530"/>
                </a:cubicBezTo>
                <a:cubicBezTo>
                  <a:pt x="96" y="531"/>
                  <a:pt x="95" y="532"/>
                  <a:pt x="95" y="534"/>
                </a:cubicBezTo>
                <a:cubicBezTo>
                  <a:pt x="95" y="535"/>
                  <a:pt x="95" y="536"/>
                  <a:pt x="95" y="537"/>
                </a:cubicBezTo>
                <a:cubicBezTo>
                  <a:pt x="98" y="540"/>
                  <a:pt x="101" y="540"/>
                  <a:pt x="105" y="538"/>
                </a:cubicBezTo>
                <a:cubicBezTo>
                  <a:pt x="107" y="537"/>
                  <a:pt x="110" y="535"/>
                  <a:pt x="113" y="535"/>
                </a:cubicBezTo>
                <a:cubicBezTo>
                  <a:pt x="114" y="534"/>
                  <a:pt x="115" y="533"/>
                  <a:pt x="115" y="532"/>
                </a:cubicBezTo>
                <a:cubicBezTo>
                  <a:pt x="115" y="529"/>
                  <a:pt x="115" y="525"/>
                  <a:pt x="115" y="522"/>
                </a:cubicBezTo>
                <a:cubicBezTo>
                  <a:pt x="115" y="519"/>
                  <a:pt x="115" y="516"/>
                  <a:pt x="115" y="513"/>
                </a:cubicBezTo>
                <a:cubicBezTo>
                  <a:pt x="116" y="516"/>
                  <a:pt x="117" y="518"/>
                  <a:pt x="117" y="521"/>
                </a:cubicBezTo>
                <a:cubicBezTo>
                  <a:pt x="118" y="525"/>
                  <a:pt x="118" y="530"/>
                  <a:pt x="117" y="534"/>
                </a:cubicBezTo>
                <a:cubicBezTo>
                  <a:pt x="116" y="535"/>
                  <a:pt x="115" y="536"/>
                  <a:pt x="115" y="536"/>
                </a:cubicBezTo>
                <a:cubicBezTo>
                  <a:pt x="112" y="536"/>
                  <a:pt x="108" y="538"/>
                  <a:pt x="105" y="540"/>
                </a:cubicBezTo>
                <a:cubicBezTo>
                  <a:pt x="100" y="543"/>
                  <a:pt x="97" y="541"/>
                  <a:pt x="93" y="537"/>
                </a:cubicBezTo>
                <a:cubicBezTo>
                  <a:pt x="93" y="537"/>
                  <a:pt x="93" y="535"/>
                  <a:pt x="93" y="535"/>
                </a:cubicBezTo>
                <a:cubicBezTo>
                  <a:pt x="94" y="533"/>
                  <a:pt x="93" y="531"/>
                  <a:pt x="92" y="529"/>
                </a:cubicBezTo>
                <a:cubicBezTo>
                  <a:pt x="90" y="527"/>
                  <a:pt x="88" y="524"/>
                  <a:pt x="90" y="521"/>
                </a:cubicBezTo>
                <a:cubicBezTo>
                  <a:pt x="90" y="519"/>
                  <a:pt x="91" y="518"/>
                  <a:pt x="92" y="516"/>
                </a:cubicBezTo>
                <a:cubicBezTo>
                  <a:pt x="94" y="514"/>
                  <a:pt x="96" y="511"/>
                  <a:pt x="98" y="508"/>
                </a:cubicBezTo>
                <a:cubicBezTo>
                  <a:pt x="98" y="508"/>
                  <a:pt x="97" y="508"/>
                  <a:pt x="97" y="508"/>
                </a:cubicBezTo>
                <a:cubicBezTo>
                  <a:pt x="92" y="510"/>
                  <a:pt x="88" y="511"/>
                  <a:pt x="84" y="514"/>
                </a:cubicBezTo>
                <a:cubicBezTo>
                  <a:pt x="79" y="519"/>
                  <a:pt x="76" y="524"/>
                  <a:pt x="76" y="531"/>
                </a:cubicBezTo>
                <a:cubicBezTo>
                  <a:pt x="75" y="537"/>
                  <a:pt x="78" y="543"/>
                  <a:pt x="81" y="549"/>
                </a:cubicBezTo>
                <a:cubicBezTo>
                  <a:pt x="82" y="550"/>
                  <a:pt x="83" y="552"/>
                  <a:pt x="82" y="553"/>
                </a:cubicBezTo>
                <a:cubicBezTo>
                  <a:pt x="82" y="554"/>
                  <a:pt x="82" y="556"/>
                  <a:pt x="81" y="557"/>
                </a:cubicBezTo>
                <a:cubicBezTo>
                  <a:pt x="81" y="559"/>
                  <a:pt x="81" y="560"/>
                  <a:pt x="82" y="560"/>
                </a:cubicBezTo>
                <a:cubicBezTo>
                  <a:pt x="85" y="561"/>
                  <a:pt x="88" y="561"/>
                  <a:pt x="91" y="562"/>
                </a:cubicBezTo>
                <a:cubicBezTo>
                  <a:pt x="92" y="562"/>
                  <a:pt x="92" y="561"/>
                  <a:pt x="92" y="561"/>
                </a:cubicBezTo>
                <a:cubicBezTo>
                  <a:pt x="93" y="559"/>
                  <a:pt x="93" y="558"/>
                  <a:pt x="94" y="557"/>
                </a:cubicBezTo>
                <a:cubicBezTo>
                  <a:pt x="95" y="555"/>
                  <a:pt x="95" y="552"/>
                  <a:pt x="95" y="549"/>
                </a:cubicBezTo>
                <a:cubicBezTo>
                  <a:pt x="95" y="549"/>
                  <a:pt x="95" y="548"/>
                  <a:pt x="95" y="548"/>
                </a:cubicBezTo>
                <a:cubicBezTo>
                  <a:pt x="95" y="548"/>
                  <a:pt x="95" y="548"/>
                  <a:pt x="95" y="547"/>
                </a:cubicBezTo>
                <a:cubicBezTo>
                  <a:pt x="96" y="550"/>
                  <a:pt x="97" y="550"/>
                  <a:pt x="99" y="550"/>
                </a:cubicBezTo>
                <a:cubicBezTo>
                  <a:pt x="100" y="550"/>
                  <a:pt x="101" y="550"/>
                  <a:pt x="102" y="550"/>
                </a:cubicBezTo>
                <a:cubicBezTo>
                  <a:pt x="104" y="550"/>
                  <a:pt x="108" y="551"/>
                  <a:pt x="108" y="546"/>
                </a:cubicBezTo>
                <a:cubicBezTo>
                  <a:pt x="108" y="549"/>
                  <a:pt x="108" y="550"/>
                  <a:pt x="108" y="551"/>
                </a:cubicBezTo>
                <a:cubicBezTo>
                  <a:pt x="107" y="552"/>
                  <a:pt x="106" y="553"/>
                  <a:pt x="104" y="553"/>
                </a:cubicBezTo>
                <a:cubicBezTo>
                  <a:pt x="103" y="554"/>
                  <a:pt x="103" y="556"/>
                  <a:pt x="103" y="556"/>
                </a:cubicBezTo>
                <a:cubicBezTo>
                  <a:pt x="104" y="559"/>
                  <a:pt x="106" y="561"/>
                  <a:pt x="107" y="563"/>
                </a:cubicBezTo>
                <a:cubicBezTo>
                  <a:pt x="109" y="564"/>
                  <a:pt x="111" y="563"/>
                  <a:pt x="112" y="562"/>
                </a:cubicBezTo>
                <a:cubicBezTo>
                  <a:pt x="113" y="561"/>
                  <a:pt x="114" y="560"/>
                  <a:pt x="114" y="560"/>
                </a:cubicBezTo>
                <a:cubicBezTo>
                  <a:pt x="116" y="558"/>
                  <a:pt x="117" y="557"/>
                  <a:pt x="119" y="556"/>
                </a:cubicBezTo>
                <a:cubicBezTo>
                  <a:pt x="123" y="552"/>
                  <a:pt x="125" y="546"/>
                  <a:pt x="127" y="540"/>
                </a:cubicBezTo>
                <a:cubicBezTo>
                  <a:pt x="127" y="539"/>
                  <a:pt x="126" y="538"/>
                  <a:pt x="126" y="538"/>
                </a:cubicBezTo>
                <a:cubicBezTo>
                  <a:pt x="125" y="537"/>
                  <a:pt x="124" y="536"/>
                  <a:pt x="123" y="535"/>
                </a:cubicBezTo>
                <a:close/>
                <a:moveTo>
                  <a:pt x="75" y="542"/>
                </a:moveTo>
                <a:cubicBezTo>
                  <a:pt x="75" y="542"/>
                  <a:pt x="73" y="543"/>
                  <a:pt x="72" y="544"/>
                </a:cubicBezTo>
                <a:cubicBezTo>
                  <a:pt x="72" y="545"/>
                  <a:pt x="71" y="546"/>
                  <a:pt x="71" y="546"/>
                </a:cubicBezTo>
                <a:cubicBezTo>
                  <a:pt x="71" y="549"/>
                  <a:pt x="75" y="554"/>
                  <a:pt x="79" y="553"/>
                </a:cubicBezTo>
                <a:cubicBezTo>
                  <a:pt x="80" y="553"/>
                  <a:pt x="81" y="552"/>
                  <a:pt x="80" y="550"/>
                </a:cubicBezTo>
                <a:cubicBezTo>
                  <a:pt x="79" y="547"/>
                  <a:pt x="77" y="544"/>
                  <a:pt x="75" y="542"/>
                </a:cubicBezTo>
                <a:close/>
                <a:moveTo>
                  <a:pt x="128" y="544"/>
                </a:moveTo>
                <a:cubicBezTo>
                  <a:pt x="126" y="548"/>
                  <a:pt x="123" y="553"/>
                  <a:pt x="121" y="557"/>
                </a:cubicBezTo>
                <a:cubicBezTo>
                  <a:pt x="124" y="557"/>
                  <a:pt x="126" y="557"/>
                  <a:pt x="129" y="557"/>
                </a:cubicBezTo>
                <a:cubicBezTo>
                  <a:pt x="129" y="557"/>
                  <a:pt x="130" y="556"/>
                  <a:pt x="130" y="556"/>
                </a:cubicBezTo>
                <a:cubicBezTo>
                  <a:pt x="130" y="553"/>
                  <a:pt x="130" y="550"/>
                  <a:pt x="129" y="548"/>
                </a:cubicBezTo>
                <a:cubicBezTo>
                  <a:pt x="129" y="546"/>
                  <a:pt x="128" y="545"/>
                  <a:pt x="128" y="544"/>
                </a:cubicBezTo>
                <a:close/>
                <a:moveTo>
                  <a:pt x="75" y="523"/>
                </a:moveTo>
                <a:cubicBezTo>
                  <a:pt x="75" y="524"/>
                  <a:pt x="74" y="524"/>
                  <a:pt x="74" y="524"/>
                </a:cubicBezTo>
                <a:cubicBezTo>
                  <a:pt x="73" y="524"/>
                  <a:pt x="72" y="524"/>
                  <a:pt x="72" y="524"/>
                </a:cubicBezTo>
                <a:cubicBezTo>
                  <a:pt x="72" y="523"/>
                  <a:pt x="71" y="523"/>
                  <a:pt x="71" y="522"/>
                </a:cubicBezTo>
                <a:cubicBezTo>
                  <a:pt x="72" y="520"/>
                  <a:pt x="72" y="518"/>
                  <a:pt x="73" y="516"/>
                </a:cubicBezTo>
                <a:cubicBezTo>
                  <a:pt x="73" y="516"/>
                  <a:pt x="73" y="516"/>
                  <a:pt x="72" y="516"/>
                </a:cubicBezTo>
                <a:cubicBezTo>
                  <a:pt x="72" y="517"/>
                  <a:pt x="70" y="518"/>
                  <a:pt x="70" y="519"/>
                </a:cubicBezTo>
                <a:cubicBezTo>
                  <a:pt x="69" y="520"/>
                  <a:pt x="70" y="525"/>
                  <a:pt x="72" y="526"/>
                </a:cubicBezTo>
                <a:cubicBezTo>
                  <a:pt x="74" y="527"/>
                  <a:pt x="75" y="525"/>
                  <a:pt x="75" y="523"/>
                </a:cubicBezTo>
                <a:close/>
                <a:moveTo>
                  <a:pt x="76" y="542"/>
                </a:moveTo>
                <a:cubicBezTo>
                  <a:pt x="75" y="543"/>
                  <a:pt x="73" y="543"/>
                  <a:pt x="72" y="544"/>
                </a:cubicBezTo>
                <a:cubicBezTo>
                  <a:pt x="72" y="545"/>
                  <a:pt x="71" y="546"/>
                  <a:pt x="71" y="546"/>
                </a:cubicBezTo>
                <a:cubicBezTo>
                  <a:pt x="71" y="549"/>
                  <a:pt x="76" y="553"/>
                  <a:pt x="79" y="553"/>
                </a:cubicBezTo>
                <a:cubicBezTo>
                  <a:pt x="80" y="553"/>
                  <a:pt x="81" y="552"/>
                  <a:pt x="80" y="550"/>
                </a:cubicBezTo>
                <a:cubicBezTo>
                  <a:pt x="79" y="547"/>
                  <a:pt x="77" y="544"/>
                  <a:pt x="76" y="542"/>
                </a:cubicBezTo>
                <a:close/>
                <a:moveTo>
                  <a:pt x="128" y="544"/>
                </a:moveTo>
                <a:cubicBezTo>
                  <a:pt x="126" y="548"/>
                  <a:pt x="124" y="553"/>
                  <a:pt x="121" y="557"/>
                </a:cubicBezTo>
                <a:cubicBezTo>
                  <a:pt x="124" y="557"/>
                  <a:pt x="126" y="558"/>
                  <a:pt x="129" y="557"/>
                </a:cubicBezTo>
                <a:cubicBezTo>
                  <a:pt x="129" y="557"/>
                  <a:pt x="129" y="556"/>
                  <a:pt x="129" y="556"/>
                </a:cubicBezTo>
                <a:cubicBezTo>
                  <a:pt x="129" y="553"/>
                  <a:pt x="129" y="550"/>
                  <a:pt x="129" y="548"/>
                </a:cubicBezTo>
                <a:cubicBezTo>
                  <a:pt x="129" y="547"/>
                  <a:pt x="128" y="545"/>
                  <a:pt x="128" y="544"/>
                </a:cubicBezTo>
                <a:close/>
                <a:moveTo>
                  <a:pt x="76" y="523"/>
                </a:moveTo>
                <a:cubicBezTo>
                  <a:pt x="75" y="524"/>
                  <a:pt x="74" y="524"/>
                  <a:pt x="74" y="524"/>
                </a:cubicBezTo>
                <a:cubicBezTo>
                  <a:pt x="73" y="524"/>
                  <a:pt x="72" y="524"/>
                  <a:pt x="72" y="524"/>
                </a:cubicBezTo>
                <a:cubicBezTo>
                  <a:pt x="72" y="523"/>
                  <a:pt x="71" y="523"/>
                  <a:pt x="71" y="522"/>
                </a:cubicBezTo>
                <a:cubicBezTo>
                  <a:pt x="72" y="520"/>
                  <a:pt x="73" y="518"/>
                  <a:pt x="73" y="516"/>
                </a:cubicBezTo>
                <a:cubicBezTo>
                  <a:pt x="73" y="516"/>
                  <a:pt x="73" y="516"/>
                  <a:pt x="73" y="516"/>
                </a:cubicBezTo>
                <a:cubicBezTo>
                  <a:pt x="72" y="517"/>
                  <a:pt x="71" y="517"/>
                  <a:pt x="70" y="519"/>
                </a:cubicBezTo>
                <a:cubicBezTo>
                  <a:pt x="69" y="520"/>
                  <a:pt x="71" y="525"/>
                  <a:pt x="72" y="526"/>
                </a:cubicBezTo>
                <a:cubicBezTo>
                  <a:pt x="74" y="526"/>
                  <a:pt x="76" y="525"/>
                  <a:pt x="76" y="523"/>
                </a:cubicBezTo>
                <a:close/>
                <a:moveTo>
                  <a:pt x="128" y="515"/>
                </a:moveTo>
                <a:cubicBezTo>
                  <a:pt x="131" y="512"/>
                  <a:pt x="131" y="512"/>
                  <a:pt x="135" y="511"/>
                </a:cubicBezTo>
                <a:cubicBezTo>
                  <a:pt x="135" y="512"/>
                  <a:pt x="136" y="514"/>
                  <a:pt x="138" y="514"/>
                </a:cubicBezTo>
                <a:cubicBezTo>
                  <a:pt x="135" y="515"/>
                  <a:pt x="133" y="516"/>
                  <a:pt x="131" y="517"/>
                </a:cubicBezTo>
                <a:cubicBezTo>
                  <a:pt x="130" y="517"/>
                  <a:pt x="130" y="516"/>
                  <a:pt x="129" y="515"/>
                </a:cubicBezTo>
                <a:cubicBezTo>
                  <a:pt x="129" y="515"/>
                  <a:pt x="128" y="515"/>
                  <a:pt x="128" y="515"/>
                </a:cubicBezTo>
                <a:close/>
                <a:moveTo>
                  <a:pt x="134" y="515"/>
                </a:moveTo>
                <a:cubicBezTo>
                  <a:pt x="133" y="514"/>
                  <a:pt x="132" y="514"/>
                  <a:pt x="132" y="514"/>
                </a:cubicBezTo>
                <a:cubicBezTo>
                  <a:pt x="131" y="514"/>
                  <a:pt x="130" y="515"/>
                  <a:pt x="130" y="515"/>
                </a:cubicBezTo>
                <a:cubicBezTo>
                  <a:pt x="130" y="515"/>
                  <a:pt x="131" y="516"/>
                  <a:pt x="131" y="516"/>
                </a:cubicBezTo>
                <a:cubicBezTo>
                  <a:pt x="132" y="516"/>
                  <a:pt x="132" y="515"/>
                  <a:pt x="134" y="515"/>
                </a:cubicBezTo>
                <a:close/>
                <a:moveTo>
                  <a:pt x="115" y="505"/>
                </a:moveTo>
                <a:cubicBezTo>
                  <a:pt x="108" y="504"/>
                  <a:pt x="105" y="507"/>
                  <a:pt x="104" y="515"/>
                </a:cubicBezTo>
                <a:cubicBezTo>
                  <a:pt x="105" y="513"/>
                  <a:pt x="106" y="510"/>
                  <a:pt x="108" y="508"/>
                </a:cubicBezTo>
                <a:cubicBezTo>
                  <a:pt x="108" y="508"/>
                  <a:pt x="108" y="508"/>
                  <a:pt x="108" y="508"/>
                </a:cubicBezTo>
                <a:cubicBezTo>
                  <a:pt x="108" y="509"/>
                  <a:pt x="108" y="510"/>
                  <a:pt x="108" y="511"/>
                </a:cubicBezTo>
                <a:cubicBezTo>
                  <a:pt x="109" y="508"/>
                  <a:pt x="111" y="506"/>
                  <a:pt x="115" y="505"/>
                </a:cubicBezTo>
                <a:close/>
                <a:moveTo>
                  <a:pt x="158" y="507"/>
                </a:moveTo>
                <a:cubicBezTo>
                  <a:pt x="156" y="508"/>
                  <a:pt x="154" y="510"/>
                  <a:pt x="153" y="511"/>
                </a:cubicBezTo>
                <a:cubicBezTo>
                  <a:pt x="155" y="511"/>
                  <a:pt x="157" y="510"/>
                  <a:pt x="158" y="507"/>
                </a:cubicBezTo>
                <a:close/>
                <a:moveTo>
                  <a:pt x="125" y="509"/>
                </a:moveTo>
                <a:cubicBezTo>
                  <a:pt x="126" y="508"/>
                  <a:pt x="127" y="506"/>
                  <a:pt x="128" y="505"/>
                </a:cubicBezTo>
                <a:cubicBezTo>
                  <a:pt x="125" y="506"/>
                  <a:pt x="125" y="507"/>
                  <a:pt x="125" y="509"/>
                </a:cubicBezTo>
                <a:close/>
                <a:moveTo>
                  <a:pt x="135" y="530"/>
                </a:moveTo>
                <a:cubicBezTo>
                  <a:pt x="133" y="531"/>
                  <a:pt x="132" y="531"/>
                  <a:pt x="132" y="532"/>
                </a:cubicBezTo>
                <a:cubicBezTo>
                  <a:pt x="133" y="532"/>
                  <a:pt x="134" y="531"/>
                  <a:pt x="135" y="530"/>
                </a:cubicBezTo>
                <a:close/>
                <a:moveTo>
                  <a:pt x="134" y="515"/>
                </a:moveTo>
                <a:cubicBezTo>
                  <a:pt x="133" y="514"/>
                  <a:pt x="132" y="514"/>
                  <a:pt x="132" y="514"/>
                </a:cubicBezTo>
                <a:cubicBezTo>
                  <a:pt x="131" y="514"/>
                  <a:pt x="130" y="515"/>
                  <a:pt x="130" y="515"/>
                </a:cubicBezTo>
                <a:cubicBezTo>
                  <a:pt x="130" y="516"/>
                  <a:pt x="131" y="516"/>
                  <a:pt x="131" y="516"/>
                </a:cubicBezTo>
                <a:cubicBezTo>
                  <a:pt x="132" y="516"/>
                  <a:pt x="133" y="516"/>
                  <a:pt x="134" y="515"/>
                </a:cubicBezTo>
                <a:close/>
                <a:moveTo>
                  <a:pt x="1768" y="671"/>
                </a:moveTo>
                <a:cubicBezTo>
                  <a:pt x="1771" y="652"/>
                  <a:pt x="1771" y="652"/>
                  <a:pt x="1771" y="652"/>
                </a:cubicBezTo>
                <a:cubicBezTo>
                  <a:pt x="1762" y="652"/>
                  <a:pt x="1762" y="652"/>
                  <a:pt x="1762" y="652"/>
                </a:cubicBezTo>
                <a:cubicBezTo>
                  <a:pt x="1762" y="640"/>
                  <a:pt x="1762" y="640"/>
                  <a:pt x="1762" y="640"/>
                </a:cubicBezTo>
                <a:cubicBezTo>
                  <a:pt x="1773" y="640"/>
                  <a:pt x="1773" y="640"/>
                  <a:pt x="1773" y="640"/>
                </a:cubicBezTo>
                <a:cubicBezTo>
                  <a:pt x="1774" y="629"/>
                  <a:pt x="1774" y="629"/>
                  <a:pt x="1774" y="629"/>
                </a:cubicBezTo>
                <a:cubicBezTo>
                  <a:pt x="1765" y="629"/>
                  <a:pt x="1765" y="629"/>
                  <a:pt x="1765" y="629"/>
                </a:cubicBezTo>
                <a:cubicBezTo>
                  <a:pt x="1765" y="617"/>
                  <a:pt x="1765" y="617"/>
                  <a:pt x="1765" y="617"/>
                </a:cubicBezTo>
                <a:cubicBezTo>
                  <a:pt x="1776" y="617"/>
                  <a:pt x="1776" y="617"/>
                  <a:pt x="1776" y="617"/>
                </a:cubicBezTo>
                <a:cubicBezTo>
                  <a:pt x="1779" y="598"/>
                  <a:pt x="1779" y="598"/>
                  <a:pt x="1779" y="598"/>
                </a:cubicBezTo>
                <a:cubicBezTo>
                  <a:pt x="1790" y="598"/>
                  <a:pt x="1790" y="598"/>
                  <a:pt x="1790" y="598"/>
                </a:cubicBezTo>
                <a:cubicBezTo>
                  <a:pt x="1787" y="617"/>
                  <a:pt x="1787" y="617"/>
                  <a:pt x="1787" y="617"/>
                </a:cubicBezTo>
                <a:cubicBezTo>
                  <a:pt x="1797" y="617"/>
                  <a:pt x="1797" y="617"/>
                  <a:pt x="1797" y="617"/>
                </a:cubicBezTo>
                <a:cubicBezTo>
                  <a:pt x="1800" y="598"/>
                  <a:pt x="1800" y="598"/>
                  <a:pt x="1800" y="598"/>
                </a:cubicBezTo>
                <a:cubicBezTo>
                  <a:pt x="1811" y="598"/>
                  <a:pt x="1811" y="598"/>
                  <a:pt x="1811" y="598"/>
                </a:cubicBezTo>
                <a:cubicBezTo>
                  <a:pt x="1808" y="617"/>
                  <a:pt x="1808" y="617"/>
                  <a:pt x="1808" y="617"/>
                </a:cubicBezTo>
                <a:cubicBezTo>
                  <a:pt x="1817" y="617"/>
                  <a:pt x="1817" y="617"/>
                  <a:pt x="1817" y="617"/>
                </a:cubicBezTo>
                <a:cubicBezTo>
                  <a:pt x="1817" y="629"/>
                  <a:pt x="1817" y="629"/>
                  <a:pt x="1817" y="629"/>
                </a:cubicBezTo>
                <a:cubicBezTo>
                  <a:pt x="1806" y="629"/>
                  <a:pt x="1806" y="629"/>
                  <a:pt x="1806" y="629"/>
                </a:cubicBezTo>
                <a:cubicBezTo>
                  <a:pt x="1805" y="640"/>
                  <a:pt x="1805" y="640"/>
                  <a:pt x="1805" y="640"/>
                </a:cubicBezTo>
                <a:cubicBezTo>
                  <a:pt x="1814" y="640"/>
                  <a:pt x="1814" y="640"/>
                  <a:pt x="1814" y="640"/>
                </a:cubicBezTo>
                <a:cubicBezTo>
                  <a:pt x="1814" y="652"/>
                  <a:pt x="1814" y="652"/>
                  <a:pt x="1814" y="652"/>
                </a:cubicBezTo>
                <a:cubicBezTo>
                  <a:pt x="1803" y="652"/>
                  <a:pt x="1803" y="652"/>
                  <a:pt x="1803" y="652"/>
                </a:cubicBezTo>
                <a:cubicBezTo>
                  <a:pt x="1800" y="671"/>
                  <a:pt x="1800" y="671"/>
                  <a:pt x="1800" y="671"/>
                </a:cubicBezTo>
                <a:cubicBezTo>
                  <a:pt x="1789" y="671"/>
                  <a:pt x="1789" y="671"/>
                  <a:pt x="1789" y="671"/>
                </a:cubicBezTo>
                <a:cubicBezTo>
                  <a:pt x="1792" y="652"/>
                  <a:pt x="1792" y="652"/>
                  <a:pt x="1792" y="652"/>
                </a:cubicBezTo>
                <a:cubicBezTo>
                  <a:pt x="1782" y="652"/>
                  <a:pt x="1782" y="652"/>
                  <a:pt x="1782" y="652"/>
                </a:cubicBezTo>
                <a:cubicBezTo>
                  <a:pt x="1779" y="671"/>
                  <a:pt x="1779" y="671"/>
                  <a:pt x="1779" y="671"/>
                </a:cubicBezTo>
                <a:cubicBezTo>
                  <a:pt x="1768" y="671"/>
                  <a:pt x="1768" y="671"/>
                  <a:pt x="1768" y="671"/>
                </a:cubicBezTo>
                <a:cubicBezTo>
                  <a:pt x="1768" y="671"/>
                  <a:pt x="1768" y="671"/>
                  <a:pt x="1768" y="671"/>
                </a:cubicBezTo>
                <a:close/>
                <a:moveTo>
                  <a:pt x="1793" y="640"/>
                </a:moveTo>
                <a:cubicBezTo>
                  <a:pt x="1795" y="629"/>
                  <a:pt x="1795" y="629"/>
                  <a:pt x="1795" y="629"/>
                </a:cubicBezTo>
                <a:cubicBezTo>
                  <a:pt x="1785" y="629"/>
                  <a:pt x="1785" y="629"/>
                  <a:pt x="1785" y="629"/>
                </a:cubicBezTo>
                <a:cubicBezTo>
                  <a:pt x="1784" y="640"/>
                  <a:pt x="1784" y="640"/>
                  <a:pt x="1784" y="640"/>
                </a:cubicBezTo>
                <a:cubicBezTo>
                  <a:pt x="1793" y="640"/>
                  <a:pt x="1793" y="640"/>
                  <a:pt x="1793" y="640"/>
                </a:cubicBezTo>
                <a:cubicBezTo>
                  <a:pt x="1793" y="640"/>
                  <a:pt x="1793" y="640"/>
                  <a:pt x="1793" y="640"/>
                </a:cubicBezTo>
                <a:close/>
                <a:moveTo>
                  <a:pt x="653" y="645"/>
                </a:moveTo>
                <a:cubicBezTo>
                  <a:pt x="653" y="646"/>
                  <a:pt x="654" y="648"/>
                  <a:pt x="655" y="649"/>
                </a:cubicBezTo>
                <a:cubicBezTo>
                  <a:pt x="655" y="651"/>
                  <a:pt x="655" y="653"/>
                  <a:pt x="656" y="654"/>
                </a:cubicBezTo>
                <a:cubicBezTo>
                  <a:pt x="656" y="656"/>
                  <a:pt x="656" y="657"/>
                  <a:pt x="656" y="659"/>
                </a:cubicBezTo>
                <a:cubicBezTo>
                  <a:pt x="657" y="662"/>
                  <a:pt x="656" y="664"/>
                  <a:pt x="653" y="664"/>
                </a:cubicBezTo>
                <a:cubicBezTo>
                  <a:pt x="650" y="664"/>
                  <a:pt x="647" y="663"/>
                  <a:pt x="644" y="663"/>
                </a:cubicBezTo>
                <a:cubicBezTo>
                  <a:pt x="644" y="663"/>
                  <a:pt x="643" y="663"/>
                  <a:pt x="643" y="664"/>
                </a:cubicBezTo>
                <a:cubicBezTo>
                  <a:pt x="641" y="665"/>
                  <a:pt x="640" y="667"/>
                  <a:pt x="638" y="668"/>
                </a:cubicBezTo>
                <a:cubicBezTo>
                  <a:pt x="636" y="671"/>
                  <a:pt x="633" y="671"/>
                  <a:pt x="631" y="669"/>
                </a:cubicBezTo>
                <a:cubicBezTo>
                  <a:pt x="629" y="667"/>
                  <a:pt x="628" y="664"/>
                  <a:pt x="626" y="661"/>
                </a:cubicBezTo>
                <a:cubicBezTo>
                  <a:pt x="625" y="660"/>
                  <a:pt x="626" y="658"/>
                  <a:pt x="628" y="657"/>
                </a:cubicBezTo>
                <a:cubicBezTo>
                  <a:pt x="625" y="657"/>
                  <a:pt x="624" y="657"/>
                  <a:pt x="622" y="657"/>
                </a:cubicBezTo>
                <a:cubicBezTo>
                  <a:pt x="621" y="659"/>
                  <a:pt x="620" y="661"/>
                  <a:pt x="619" y="663"/>
                </a:cubicBezTo>
                <a:cubicBezTo>
                  <a:pt x="619" y="663"/>
                  <a:pt x="619" y="664"/>
                  <a:pt x="619" y="665"/>
                </a:cubicBezTo>
                <a:cubicBezTo>
                  <a:pt x="619" y="668"/>
                  <a:pt x="618" y="669"/>
                  <a:pt x="615" y="669"/>
                </a:cubicBezTo>
                <a:cubicBezTo>
                  <a:pt x="612" y="669"/>
                  <a:pt x="609" y="668"/>
                  <a:pt x="606" y="667"/>
                </a:cubicBezTo>
                <a:cubicBezTo>
                  <a:pt x="604" y="666"/>
                  <a:pt x="603" y="665"/>
                  <a:pt x="604" y="663"/>
                </a:cubicBezTo>
                <a:cubicBezTo>
                  <a:pt x="604" y="662"/>
                  <a:pt x="604" y="661"/>
                  <a:pt x="604" y="661"/>
                </a:cubicBezTo>
                <a:cubicBezTo>
                  <a:pt x="602" y="660"/>
                  <a:pt x="600" y="659"/>
                  <a:pt x="598" y="657"/>
                </a:cubicBezTo>
                <a:cubicBezTo>
                  <a:pt x="597" y="657"/>
                  <a:pt x="595" y="655"/>
                  <a:pt x="595" y="653"/>
                </a:cubicBezTo>
                <a:cubicBezTo>
                  <a:pt x="594" y="651"/>
                  <a:pt x="594" y="650"/>
                  <a:pt x="596" y="648"/>
                </a:cubicBezTo>
                <a:cubicBezTo>
                  <a:pt x="599" y="646"/>
                  <a:pt x="600" y="643"/>
                  <a:pt x="599" y="639"/>
                </a:cubicBezTo>
                <a:cubicBezTo>
                  <a:pt x="599" y="637"/>
                  <a:pt x="599" y="635"/>
                  <a:pt x="599" y="633"/>
                </a:cubicBezTo>
                <a:cubicBezTo>
                  <a:pt x="598" y="632"/>
                  <a:pt x="596" y="632"/>
                  <a:pt x="595" y="631"/>
                </a:cubicBezTo>
                <a:cubicBezTo>
                  <a:pt x="594" y="629"/>
                  <a:pt x="593" y="627"/>
                  <a:pt x="593" y="625"/>
                </a:cubicBezTo>
                <a:cubicBezTo>
                  <a:pt x="593" y="622"/>
                  <a:pt x="596" y="619"/>
                  <a:pt x="599" y="619"/>
                </a:cubicBezTo>
                <a:cubicBezTo>
                  <a:pt x="599" y="619"/>
                  <a:pt x="599" y="620"/>
                  <a:pt x="600" y="621"/>
                </a:cubicBezTo>
                <a:cubicBezTo>
                  <a:pt x="600" y="622"/>
                  <a:pt x="600" y="623"/>
                  <a:pt x="600" y="624"/>
                </a:cubicBezTo>
                <a:cubicBezTo>
                  <a:pt x="599" y="624"/>
                  <a:pt x="599" y="624"/>
                  <a:pt x="599" y="624"/>
                </a:cubicBezTo>
                <a:cubicBezTo>
                  <a:pt x="598" y="625"/>
                  <a:pt x="598" y="626"/>
                  <a:pt x="597" y="628"/>
                </a:cubicBezTo>
                <a:cubicBezTo>
                  <a:pt x="598" y="628"/>
                  <a:pt x="599" y="628"/>
                  <a:pt x="599" y="627"/>
                </a:cubicBezTo>
                <a:cubicBezTo>
                  <a:pt x="601" y="626"/>
                  <a:pt x="601" y="625"/>
                  <a:pt x="602" y="624"/>
                </a:cubicBezTo>
                <a:cubicBezTo>
                  <a:pt x="606" y="617"/>
                  <a:pt x="612" y="614"/>
                  <a:pt x="620" y="612"/>
                </a:cubicBezTo>
                <a:cubicBezTo>
                  <a:pt x="623" y="612"/>
                  <a:pt x="627" y="610"/>
                  <a:pt x="629" y="608"/>
                </a:cubicBezTo>
                <a:cubicBezTo>
                  <a:pt x="629" y="607"/>
                  <a:pt x="630" y="607"/>
                  <a:pt x="630" y="607"/>
                </a:cubicBezTo>
                <a:cubicBezTo>
                  <a:pt x="633" y="606"/>
                  <a:pt x="634" y="604"/>
                  <a:pt x="636" y="602"/>
                </a:cubicBezTo>
                <a:cubicBezTo>
                  <a:pt x="644" y="595"/>
                  <a:pt x="656" y="594"/>
                  <a:pt x="664" y="601"/>
                </a:cubicBezTo>
                <a:cubicBezTo>
                  <a:pt x="666" y="603"/>
                  <a:pt x="669" y="605"/>
                  <a:pt x="671" y="607"/>
                </a:cubicBezTo>
                <a:cubicBezTo>
                  <a:pt x="673" y="608"/>
                  <a:pt x="674" y="610"/>
                  <a:pt x="675" y="612"/>
                </a:cubicBezTo>
                <a:cubicBezTo>
                  <a:pt x="676" y="613"/>
                  <a:pt x="677" y="613"/>
                  <a:pt x="678" y="612"/>
                </a:cubicBezTo>
                <a:cubicBezTo>
                  <a:pt x="679" y="612"/>
                  <a:pt x="679" y="611"/>
                  <a:pt x="680" y="610"/>
                </a:cubicBezTo>
                <a:cubicBezTo>
                  <a:pt x="682" y="607"/>
                  <a:pt x="685" y="607"/>
                  <a:pt x="686" y="610"/>
                </a:cubicBezTo>
                <a:cubicBezTo>
                  <a:pt x="688" y="614"/>
                  <a:pt x="688" y="616"/>
                  <a:pt x="689" y="619"/>
                </a:cubicBezTo>
                <a:cubicBezTo>
                  <a:pt x="690" y="624"/>
                  <a:pt x="689" y="628"/>
                  <a:pt x="688" y="633"/>
                </a:cubicBezTo>
                <a:cubicBezTo>
                  <a:pt x="685" y="639"/>
                  <a:pt x="681" y="642"/>
                  <a:pt x="674" y="642"/>
                </a:cubicBezTo>
                <a:cubicBezTo>
                  <a:pt x="673" y="642"/>
                  <a:pt x="673" y="642"/>
                  <a:pt x="672" y="642"/>
                </a:cubicBezTo>
                <a:cubicBezTo>
                  <a:pt x="670" y="642"/>
                  <a:pt x="668" y="642"/>
                  <a:pt x="668" y="645"/>
                </a:cubicBezTo>
                <a:cubicBezTo>
                  <a:pt x="666" y="649"/>
                  <a:pt x="660" y="651"/>
                  <a:pt x="657" y="648"/>
                </a:cubicBezTo>
                <a:cubicBezTo>
                  <a:pt x="656" y="646"/>
                  <a:pt x="655" y="646"/>
                  <a:pt x="654" y="644"/>
                </a:cubicBezTo>
                <a:cubicBezTo>
                  <a:pt x="653" y="645"/>
                  <a:pt x="653" y="645"/>
                  <a:pt x="653" y="645"/>
                </a:cubicBezTo>
                <a:close/>
                <a:moveTo>
                  <a:pt x="647" y="640"/>
                </a:moveTo>
                <a:cubicBezTo>
                  <a:pt x="651" y="642"/>
                  <a:pt x="655" y="643"/>
                  <a:pt x="657" y="646"/>
                </a:cubicBezTo>
                <a:cubicBezTo>
                  <a:pt x="659" y="648"/>
                  <a:pt x="661" y="648"/>
                  <a:pt x="663" y="648"/>
                </a:cubicBezTo>
                <a:cubicBezTo>
                  <a:pt x="666" y="647"/>
                  <a:pt x="667" y="645"/>
                  <a:pt x="667" y="642"/>
                </a:cubicBezTo>
                <a:cubicBezTo>
                  <a:pt x="667" y="642"/>
                  <a:pt x="666" y="642"/>
                  <a:pt x="666" y="642"/>
                </a:cubicBezTo>
                <a:cubicBezTo>
                  <a:pt x="666" y="644"/>
                  <a:pt x="664" y="645"/>
                  <a:pt x="664" y="646"/>
                </a:cubicBezTo>
                <a:cubicBezTo>
                  <a:pt x="662" y="647"/>
                  <a:pt x="661" y="647"/>
                  <a:pt x="660" y="646"/>
                </a:cubicBezTo>
                <a:cubicBezTo>
                  <a:pt x="660" y="646"/>
                  <a:pt x="659" y="645"/>
                  <a:pt x="659" y="644"/>
                </a:cubicBezTo>
                <a:cubicBezTo>
                  <a:pt x="659" y="642"/>
                  <a:pt x="660" y="640"/>
                  <a:pt x="660" y="638"/>
                </a:cubicBezTo>
                <a:cubicBezTo>
                  <a:pt x="663" y="639"/>
                  <a:pt x="666" y="640"/>
                  <a:pt x="670" y="640"/>
                </a:cubicBezTo>
                <a:cubicBezTo>
                  <a:pt x="677" y="642"/>
                  <a:pt x="683" y="640"/>
                  <a:pt x="686" y="631"/>
                </a:cubicBezTo>
                <a:cubicBezTo>
                  <a:pt x="688" y="627"/>
                  <a:pt x="688" y="622"/>
                  <a:pt x="687" y="617"/>
                </a:cubicBezTo>
                <a:cubicBezTo>
                  <a:pt x="686" y="615"/>
                  <a:pt x="686" y="613"/>
                  <a:pt x="685" y="611"/>
                </a:cubicBezTo>
                <a:cubicBezTo>
                  <a:pt x="684" y="610"/>
                  <a:pt x="683" y="609"/>
                  <a:pt x="682" y="611"/>
                </a:cubicBezTo>
                <a:cubicBezTo>
                  <a:pt x="680" y="612"/>
                  <a:pt x="679" y="614"/>
                  <a:pt x="677" y="615"/>
                </a:cubicBezTo>
                <a:cubicBezTo>
                  <a:pt x="676" y="615"/>
                  <a:pt x="675" y="616"/>
                  <a:pt x="675" y="617"/>
                </a:cubicBezTo>
                <a:cubicBezTo>
                  <a:pt x="676" y="620"/>
                  <a:pt x="675" y="623"/>
                  <a:pt x="674" y="627"/>
                </a:cubicBezTo>
                <a:cubicBezTo>
                  <a:pt x="674" y="625"/>
                  <a:pt x="675" y="623"/>
                  <a:pt x="675" y="621"/>
                </a:cubicBezTo>
                <a:cubicBezTo>
                  <a:pt x="675" y="620"/>
                  <a:pt x="674" y="620"/>
                  <a:pt x="674" y="619"/>
                </a:cubicBezTo>
                <a:cubicBezTo>
                  <a:pt x="673" y="620"/>
                  <a:pt x="673" y="620"/>
                  <a:pt x="673" y="620"/>
                </a:cubicBezTo>
                <a:cubicBezTo>
                  <a:pt x="672" y="621"/>
                  <a:pt x="671" y="623"/>
                  <a:pt x="670" y="624"/>
                </a:cubicBezTo>
                <a:cubicBezTo>
                  <a:pt x="670" y="624"/>
                  <a:pt x="670" y="624"/>
                  <a:pt x="670" y="624"/>
                </a:cubicBezTo>
                <a:cubicBezTo>
                  <a:pt x="670" y="623"/>
                  <a:pt x="671" y="621"/>
                  <a:pt x="671" y="619"/>
                </a:cubicBezTo>
                <a:cubicBezTo>
                  <a:pt x="670" y="619"/>
                  <a:pt x="670" y="620"/>
                  <a:pt x="669" y="621"/>
                </a:cubicBezTo>
                <a:cubicBezTo>
                  <a:pt x="668" y="621"/>
                  <a:pt x="668" y="622"/>
                  <a:pt x="668" y="623"/>
                </a:cubicBezTo>
                <a:cubicBezTo>
                  <a:pt x="668" y="619"/>
                  <a:pt x="668" y="619"/>
                  <a:pt x="674" y="618"/>
                </a:cubicBezTo>
                <a:cubicBezTo>
                  <a:pt x="674" y="617"/>
                  <a:pt x="673" y="617"/>
                  <a:pt x="673" y="617"/>
                </a:cubicBezTo>
                <a:cubicBezTo>
                  <a:pt x="670" y="617"/>
                  <a:pt x="670" y="616"/>
                  <a:pt x="669" y="614"/>
                </a:cubicBezTo>
                <a:cubicBezTo>
                  <a:pt x="671" y="613"/>
                  <a:pt x="672" y="613"/>
                  <a:pt x="674" y="612"/>
                </a:cubicBezTo>
                <a:cubicBezTo>
                  <a:pt x="672" y="610"/>
                  <a:pt x="671" y="607"/>
                  <a:pt x="668" y="607"/>
                </a:cubicBezTo>
                <a:cubicBezTo>
                  <a:pt x="667" y="607"/>
                  <a:pt x="667" y="606"/>
                  <a:pt x="667" y="606"/>
                </a:cubicBezTo>
                <a:cubicBezTo>
                  <a:pt x="664" y="604"/>
                  <a:pt x="662" y="602"/>
                  <a:pt x="659" y="600"/>
                </a:cubicBezTo>
                <a:cubicBezTo>
                  <a:pt x="657" y="598"/>
                  <a:pt x="654" y="598"/>
                  <a:pt x="652" y="598"/>
                </a:cubicBezTo>
                <a:cubicBezTo>
                  <a:pt x="649" y="598"/>
                  <a:pt x="645" y="599"/>
                  <a:pt x="642" y="600"/>
                </a:cubicBezTo>
                <a:cubicBezTo>
                  <a:pt x="640" y="601"/>
                  <a:pt x="637" y="603"/>
                  <a:pt x="635" y="606"/>
                </a:cubicBezTo>
                <a:cubicBezTo>
                  <a:pt x="637" y="606"/>
                  <a:pt x="638" y="606"/>
                  <a:pt x="639" y="606"/>
                </a:cubicBezTo>
                <a:cubicBezTo>
                  <a:pt x="639" y="606"/>
                  <a:pt x="638" y="607"/>
                  <a:pt x="637" y="607"/>
                </a:cubicBezTo>
                <a:cubicBezTo>
                  <a:pt x="635" y="608"/>
                  <a:pt x="632" y="607"/>
                  <a:pt x="630" y="609"/>
                </a:cubicBezTo>
                <a:cubicBezTo>
                  <a:pt x="627" y="613"/>
                  <a:pt x="623" y="617"/>
                  <a:pt x="619" y="621"/>
                </a:cubicBezTo>
                <a:cubicBezTo>
                  <a:pt x="617" y="623"/>
                  <a:pt x="617" y="625"/>
                  <a:pt x="616" y="628"/>
                </a:cubicBezTo>
                <a:cubicBezTo>
                  <a:pt x="616" y="628"/>
                  <a:pt x="616" y="629"/>
                  <a:pt x="616" y="629"/>
                </a:cubicBezTo>
                <a:cubicBezTo>
                  <a:pt x="617" y="631"/>
                  <a:pt x="618" y="633"/>
                  <a:pt x="620" y="635"/>
                </a:cubicBezTo>
                <a:cubicBezTo>
                  <a:pt x="621" y="634"/>
                  <a:pt x="622" y="632"/>
                  <a:pt x="623" y="631"/>
                </a:cubicBezTo>
                <a:cubicBezTo>
                  <a:pt x="623" y="632"/>
                  <a:pt x="623" y="633"/>
                  <a:pt x="622" y="635"/>
                </a:cubicBezTo>
                <a:cubicBezTo>
                  <a:pt x="621" y="636"/>
                  <a:pt x="620" y="637"/>
                  <a:pt x="620" y="639"/>
                </a:cubicBezTo>
                <a:cubicBezTo>
                  <a:pt x="619" y="640"/>
                  <a:pt x="620" y="641"/>
                  <a:pt x="620" y="642"/>
                </a:cubicBezTo>
                <a:cubicBezTo>
                  <a:pt x="623" y="645"/>
                  <a:pt x="626" y="645"/>
                  <a:pt x="630" y="643"/>
                </a:cubicBezTo>
                <a:cubicBezTo>
                  <a:pt x="632" y="642"/>
                  <a:pt x="635" y="640"/>
                  <a:pt x="638" y="640"/>
                </a:cubicBezTo>
                <a:cubicBezTo>
                  <a:pt x="639" y="639"/>
                  <a:pt x="640" y="638"/>
                  <a:pt x="640" y="637"/>
                </a:cubicBezTo>
                <a:cubicBezTo>
                  <a:pt x="640" y="634"/>
                  <a:pt x="640" y="630"/>
                  <a:pt x="640" y="627"/>
                </a:cubicBezTo>
                <a:cubicBezTo>
                  <a:pt x="640" y="624"/>
                  <a:pt x="640" y="621"/>
                  <a:pt x="640" y="618"/>
                </a:cubicBezTo>
                <a:cubicBezTo>
                  <a:pt x="641" y="621"/>
                  <a:pt x="642" y="623"/>
                  <a:pt x="642" y="626"/>
                </a:cubicBezTo>
                <a:cubicBezTo>
                  <a:pt x="643" y="631"/>
                  <a:pt x="643" y="635"/>
                  <a:pt x="642" y="639"/>
                </a:cubicBezTo>
                <a:cubicBezTo>
                  <a:pt x="641" y="640"/>
                  <a:pt x="640" y="641"/>
                  <a:pt x="640" y="641"/>
                </a:cubicBezTo>
                <a:cubicBezTo>
                  <a:pt x="636" y="641"/>
                  <a:pt x="633" y="643"/>
                  <a:pt x="630" y="645"/>
                </a:cubicBezTo>
                <a:cubicBezTo>
                  <a:pt x="625" y="648"/>
                  <a:pt x="621" y="646"/>
                  <a:pt x="618" y="642"/>
                </a:cubicBezTo>
                <a:cubicBezTo>
                  <a:pt x="617" y="642"/>
                  <a:pt x="617" y="640"/>
                  <a:pt x="618" y="640"/>
                </a:cubicBezTo>
                <a:cubicBezTo>
                  <a:pt x="619" y="638"/>
                  <a:pt x="618" y="636"/>
                  <a:pt x="616" y="634"/>
                </a:cubicBezTo>
                <a:cubicBezTo>
                  <a:pt x="615" y="632"/>
                  <a:pt x="613" y="629"/>
                  <a:pt x="614" y="627"/>
                </a:cubicBezTo>
                <a:cubicBezTo>
                  <a:pt x="615" y="625"/>
                  <a:pt x="616" y="623"/>
                  <a:pt x="617" y="621"/>
                </a:cubicBezTo>
                <a:cubicBezTo>
                  <a:pt x="619" y="619"/>
                  <a:pt x="621" y="616"/>
                  <a:pt x="623" y="614"/>
                </a:cubicBezTo>
                <a:cubicBezTo>
                  <a:pt x="623" y="614"/>
                  <a:pt x="622" y="614"/>
                  <a:pt x="622" y="614"/>
                </a:cubicBezTo>
                <a:cubicBezTo>
                  <a:pt x="617" y="615"/>
                  <a:pt x="612" y="616"/>
                  <a:pt x="608" y="619"/>
                </a:cubicBezTo>
                <a:cubicBezTo>
                  <a:pt x="604" y="624"/>
                  <a:pt x="601" y="629"/>
                  <a:pt x="601" y="636"/>
                </a:cubicBezTo>
                <a:cubicBezTo>
                  <a:pt x="600" y="642"/>
                  <a:pt x="603" y="648"/>
                  <a:pt x="606" y="654"/>
                </a:cubicBezTo>
                <a:cubicBezTo>
                  <a:pt x="606" y="655"/>
                  <a:pt x="607" y="657"/>
                  <a:pt x="607" y="658"/>
                </a:cubicBezTo>
                <a:cubicBezTo>
                  <a:pt x="607" y="659"/>
                  <a:pt x="606" y="661"/>
                  <a:pt x="606" y="662"/>
                </a:cubicBezTo>
                <a:cubicBezTo>
                  <a:pt x="605" y="664"/>
                  <a:pt x="606" y="665"/>
                  <a:pt x="607" y="665"/>
                </a:cubicBezTo>
                <a:cubicBezTo>
                  <a:pt x="610" y="666"/>
                  <a:pt x="613" y="667"/>
                  <a:pt x="616" y="667"/>
                </a:cubicBezTo>
                <a:cubicBezTo>
                  <a:pt x="616" y="667"/>
                  <a:pt x="617" y="666"/>
                  <a:pt x="617" y="666"/>
                </a:cubicBezTo>
                <a:cubicBezTo>
                  <a:pt x="617" y="665"/>
                  <a:pt x="617" y="663"/>
                  <a:pt x="618" y="662"/>
                </a:cubicBezTo>
                <a:cubicBezTo>
                  <a:pt x="620" y="660"/>
                  <a:pt x="620" y="657"/>
                  <a:pt x="620" y="654"/>
                </a:cubicBezTo>
                <a:cubicBezTo>
                  <a:pt x="620" y="654"/>
                  <a:pt x="620" y="654"/>
                  <a:pt x="620" y="653"/>
                </a:cubicBezTo>
                <a:cubicBezTo>
                  <a:pt x="620" y="653"/>
                  <a:pt x="620" y="653"/>
                  <a:pt x="620" y="652"/>
                </a:cubicBezTo>
                <a:cubicBezTo>
                  <a:pt x="621" y="655"/>
                  <a:pt x="622" y="655"/>
                  <a:pt x="624" y="655"/>
                </a:cubicBezTo>
                <a:cubicBezTo>
                  <a:pt x="625" y="655"/>
                  <a:pt x="626" y="655"/>
                  <a:pt x="627" y="655"/>
                </a:cubicBezTo>
                <a:cubicBezTo>
                  <a:pt x="629" y="655"/>
                  <a:pt x="632" y="656"/>
                  <a:pt x="633" y="652"/>
                </a:cubicBezTo>
                <a:cubicBezTo>
                  <a:pt x="633" y="654"/>
                  <a:pt x="633" y="655"/>
                  <a:pt x="633" y="656"/>
                </a:cubicBezTo>
                <a:cubicBezTo>
                  <a:pt x="632" y="657"/>
                  <a:pt x="630" y="658"/>
                  <a:pt x="629" y="658"/>
                </a:cubicBezTo>
                <a:cubicBezTo>
                  <a:pt x="628" y="659"/>
                  <a:pt x="627" y="661"/>
                  <a:pt x="628" y="661"/>
                </a:cubicBezTo>
                <a:cubicBezTo>
                  <a:pt x="629" y="664"/>
                  <a:pt x="630" y="666"/>
                  <a:pt x="632" y="668"/>
                </a:cubicBezTo>
                <a:cubicBezTo>
                  <a:pt x="634" y="669"/>
                  <a:pt x="636" y="669"/>
                  <a:pt x="637" y="667"/>
                </a:cubicBezTo>
                <a:cubicBezTo>
                  <a:pt x="638" y="666"/>
                  <a:pt x="638" y="665"/>
                  <a:pt x="639" y="665"/>
                </a:cubicBezTo>
                <a:cubicBezTo>
                  <a:pt x="641" y="663"/>
                  <a:pt x="642" y="662"/>
                  <a:pt x="644" y="661"/>
                </a:cubicBezTo>
                <a:cubicBezTo>
                  <a:pt x="648" y="657"/>
                  <a:pt x="650" y="651"/>
                  <a:pt x="652" y="645"/>
                </a:cubicBezTo>
                <a:cubicBezTo>
                  <a:pt x="652" y="644"/>
                  <a:pt x="651" y="644"/>
                  <a:pt x="651" y="643"/>
                </a:cubicBezTo>
                <a:cubicBezTo>
                  <a:pt x="650" y="642"/>
                  <a:pt x="649" y="641"/>
                  <a:pt x="647" y="640"/>
                </a:cubicBezTo>
                <a:close/>
                <a:moveTo>
                  <a:pt x="600" y="647"/>
                </a:moveTo>
                <a:cubicBezTo>
                  <a:pt x="599" y="648"/>
                  <a:pt x="598" y="648"/>
                  <a:pt x="597" y="650"/>
                </a:cubicBezTo>
                <a:cubicBezTo>
                  <a:pt x="596" y="650"/>
                  <a:pt x="596" y="651"/>
                  <a:pt x="596" y="652"/>
                </a:cubicBezTo>
                <a:cubicBezTo>
                  <a:pt x="596" y="654"/>
                  <a:pt x="600" y="659"/>
                  <a:pt x="603" y="658"/>
                </a:cubicBezTo>
                <a:cubicBezTo>
                  <a:pt x="605" y="658"/>
                  <a:pt x="606" y="657"/>
                  <a:pt x="605" y="655"/>
                </a:cubicBezTo>
                <a:cubicBezTo>
                  <a:pt x="603" y="652"/>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5"/>
                  <a:pt x="654" y="653"/>
                </a:cubicBezTo>
                <a:cubicBezTo>
                  <a:pt x="654" y="652"/>
                  <a:pt x="653" y="650"/>
                  <a:pt x="653" y="649"/>
                </a:cubicBezTo>
                <a:close/>
                <a:moveTo>
                  <a:pt x="600" y="629"/>
                </a:moveTo>
                <a:cubicBezTo>
                  <a:pt x="599" y="629"/>
                  <a:pt x="599" y="629"/>
                  <a:pt x="598" y="629"/>
                </a:cubicBezTo>
                <a:cubicBezTo>
                  <a:pt x="597" y="629"/>
                  <a:pt x="597" y="629"/>
                  <a:pt x="597" y="629"/>
                </a:cubicBezTo>
                <a:cubicBezTo>
                  <a:pt x="596" y="629"/>
                  <a:pt x="596" y="628"/>
                  <a:pt x="596" y="627"/>
                </a:cubicBezTo>
                <a:cubicBezTo>
                  <a:pt x="597" y="625"/>
                  <a:pt x="597" y="623"/>
                  <a:pt x="598" y="621"/>
                </a:cubicBezTo>
                <a:cubicBezTo>
                  <a:pt x="597" y="621"/>
                  <a:pt x="597" y="621"/>
                  <a:pt x="597" y="621"/>
                </a:cubicBezTo>
                <a:cubicBezTo>
                  <a:pt x="596" y="622"/>
                  <a:pt x="595" y="623"/>
                  <a:pt x="594" y="624"/>
                </a:cubicBezTo>
                <a:cubicBezTo>
                  <a:pt x="593" y="625"/>
                  <a:pt x="595" y="630"/>
                  <a:pt x="597" y="631"/>
                </a:cubicBezTo>
                <a:cubicBezTo>
                  <a:pt x="598" y="632"/>
                  <a:pt x="600" y="631"/>
                  <a:pt x="600" y="629"/>
                </a:cubicBezTo>
                <a:close/>
                <a:moveTo>
                  <a:pt x="600" y="647"/>
                </a:moveTo>
                <a:cubicBezTo>
                  <a:pt x="599" y="648"/>
                  <a:pt x="598" y="649"/>
                  <a:pt x="597" y="650"/>
                </a:cubicBezTo>
                <a:cubicBezTo>
                  <a:pt x="596" y="650"/>
                  <a:pt x="596" y="651"/>
                  <a:pt x="596" y="652"/>
                </a:cubicBezTo>
                <a:cubicBezTo>
                  <a:pt x="596" y="655"/>
                  <a:pt x="600" y="659"/>
                  <a:pt x="603" y="659"/>
                </a:cubicBezTo>
                <a:cubicBezTo>
                  <a:pt x="605" y="659"/>
                  <a:pt x="606" y="657"/>
                  <a:pt x="605" y="656"/>
                </a:cubicBezTo>
                <a:cubicBezTo>
                  <a:pt x="603" y="653"/>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6"/>
                  <a:pt x="654" y="653"/>
                </a:cubicBezTo>
                <a:cubicBezTo>
                  <a:pt x="654" y="652"/>
                  <a:pt x="653" y="650"/>
                  <a:pt x="653" y="649"/>
                </a:cubicBezTo>
                <a:close/>
                <a:moveTo>
                  <a:pt x="600" y="629"/>
                </a:moveTo>
                <a:cubicBezTo>
                  <a:pt x="600" y="629"/>
                  <a:pt x="599" y="630"/>
                  <a:pt x="598" y="630"/>
                </a:cubicBezTo>
                <a:cubicBezTo>
                  <a:pt x="598" y="630"/>
                  <a:pt x="597" y="630"/>
                  <a:pt x="597" y="629"/>
                </a:cubicBezTo>
                <a:cubicBezTo>
                  <a:pt x="596" y="629"/>
                  <a:pt x="596" y="628"/>
                  <a:pt x="596" y="627"/>
                </a:cubicBezTo>
                <a:cubicBezTo>
                  <a:pt x="597" y="625"/>
                  <a:pt x="597" y="623"/>
                  <a:pt x="598" y="621"/>
                </a:cubicBezTo>
                <a:cubicBezTo>
                  <a:pt x="598" y="621"/>
                  <a:pt x="598" y="621"/>
                  <a:pt x="597" y="621"/>
                </a:cubicBezTo>
                <a:cubicBezTo>
                  <a:pt x="596" y="622"/>
                  <a:pt x="595" y="623"/>
                  <a:pt x="594" y="624"/>
                </a:cubicBezTo>
                <a:cubicBezTo>
                  <a:pt x="594" y="625"/>
                  <a:pt x="595" y="630"/>
                  <a:pt x="597" y="631"/>
                </a:cubicBezTo>
                <a:cubicBezTo>
                  <a:pt x="598" y="632"/>
                  <a:pt x="600" y="631"/>
                  <a:pt x="600" y="629"/>
                </a:cubicBezTo>
                <a:close/>
                <a:moveTo>
                  <a:pt x="653" y="621"/>
                </a:moveTo>
                <a:cubicBezTo>
                  <a:pt x="656" y="617"/>
                  <a:pt x="656" y="617"/>
                  <a:pt x="660" y="616"/>
                </a:cubicBezTo>
                <a:cubicBezTo>
                  <a:pt x="660" y="618"/>
                  <a:pt x="661" y="619"/>
                  <a:pt x="662" y="619"/>
                </a:cubicBezTo>
                <a:cubicBezTo>
                  <a:pt x="660" y="620"/>
                  <a:pt x="658" y="622"/>
                  <a:pt x="656" y="623"/>
                </a:cubicBezTo>
                <a:cubicBezTo>
                  <a:pt x="655" y="622"/>
                  <a:pt x="655" y="621"/>
                  <a:pt x="654" y="620"/>
                </a:cubicBezTo>
                <a:cubicBezTo>
                  <a:pt x="654" y="620"/>
                  <a:pt x="653" y="620"/>
                  <a:pt x="653" y="621"/>
                </a:cubicBezTo>
                <a:close/>
                <a:moveTo>
                  <a:pt x="658" y="620"/>
                </a:moveTo>
                <a:cubicBezTo>
                  <a:pt x="658" y="620"/>
                  <a:pt x="657" y="619"/>
                  <a:pt x="656" y="619"/>
                </a:cubicBezTo>
                <a:cubicBezTo>
                  <a:pt x="656" y="619"/>
                  <a:pt x="655" y="620"/>
                  <a:pt x="655" y="621"/>
                </a:cubicBezTo>
                <a:cubicBezTo>
                  <a:pt x="655" y="621"/>
                  <a:pt x="656" y="621"/>
                  <a:pt x="656" y="622"/>
                </a:cubicBezTo>
                <a:cubicBezTo>
                  <a:pt x="657" y="621"/>
                  <a:pt x="657" y="621"/>
                  <a:pt x="658" y="620"/>
                </a:cubicBezTo>
                <a:close/>
                <a:moveTo>
                  <a:pt x="640" y="610"/>
                </a:moveTo>
                <a:cubicBezTo>
                  <a:pt x="633" y="609"/>
                  <a:pt x="630" y="612"/>
                  <a:pt x="629" y="620"/>
                </a:cubicBezTo>
                <a:cubicBezTo>
                  <a:pt x="630" y="618"/>
                  <a:pt x="631" y="616"/>
                  <a:pt x="632" y="613"/>
                </a:cubicBezTo>
                <a:cubicBezTo>
                  <a:pt x="633" y="613"/>
                  <a:pt x="633" y="613"/>
                  <a:pt x="633" y="613"/>
                </a:cubicBezTo>
                <a:cubicBezTo>
                  <a:pt x="633" y="614"/>
                  <a:pt x="633" y="615"/>
                  <a:pt x="633" y="616"/>
                </a:cubicBezTo>
                <a:cubicBezTo>
                  <a:pt x="634" y="613"/>
                  <a:pt x="636" y="611"/>
                  <a:pt x="640" y="610"/>
                </a:cubicBezTo>
                <a:close/>
                <a:moveTo>
                  <a:pt x="683" y="612"/>
                </a:moveTo>
                <a:cubicBezTo>
                  <a:pt x="681" y="613"/>
                  <a:pt x="679" y="615"/>
                  <a:pt x="678" y="616"/>
                </a:cubicBezTo>
                <a:cubicBezTo>
                  <a:pt x="679" y="617"/>
                  <a:pt x="682" y="615"/>
                  <a:pt x="683" y="612"/>
                </a:cubicBezTo>
                <a:close/>
                <a:moveTo>
                  <a:pt x="650" y="614"/>
                </a:moveTo>
                <a:cubicBezTo>
                  <a:pt x="651" y="613"/>
                  <a:pt x="652" y="611"/>
                  <a:pt x="653" y="610"/>
                </a:cubicBezTo>
                <a:cubicBezTo>
                  <a:pt x="650" y="611"/>
                  <a:pt x="649" y="612"/>
                  <a:pt x="650" y="614"/>
                </a:cubicBezTo>
                <a:close/>
                <a:moveTo>
                  <a:pt x="659" y="635"/>
                </a:moveTo>
                <a:cubicBezTo>
                  <a:pt x="658" y="636"/>
                  <a:pt x="657" y="637"/>
                  <a:pt x="657" y="637"/>
                </a:cubicBezTo>
                <a:cubicBezTo>
                  <a:pt x="657" y="637"/>
                  <a:pt x="659" y="636"/>
                  <a:pt x="659" y="635"/>
                </a:cubicBezTo>
                <a:close/>
                <a:moveTo>
                  <a:pt x="658" y="620"/>
                </a:moveTo>
                <a:cubicBezTo>
                  <a:pt x="658" y="619"/>
                  <a:pt x="657" y="619"/>
                  <a:pt x="656" y="619"/>
                </a:cubicBezTo>
                <a:cubicBezTo>
                  <a:pt x="656" y="619"/>
                  <a:pt x="655" y="620"/>
                  <a:pt x="655" y="620"/>
                </a:cubicBezTo>
                <a:cubicBezTo>
                  <a:pt x="655" y="621"/>
                  <a:pt x="655" y="621"/>
                  <a:pt x="656" y="621"/>
                </a:cubicBezTo>
                <a:cubicBezTo>
                  <a:pt x="657" y="621"/>
                  <a:pt x="657" y="621"/>
                  <a:pt x="658" y="620"/>
                </a:cubicBezTo>
                <a:close/>
                <a:moveTo>
                  <a:pt x="1312" y="597"/>
                </a:moveTo>
                <a:cubicBezTo>
                  <a:pt x="1312" y="597"/>
                  <a:pt x="1312" y="597"/>
                  <a:pt x="1312" y="597"/>
                </a:cubicBezTo>
                <a:cubicBezTo>
                  <a:pt x="1307" y="597"/>
                  <a:pt x="1307" y="597"/>
                  <a:pt x="1307" y="597"/>
                </a:cubicBezTo>
                <a:cubicBezTo>
                  <a:pt x="1305" y="599"/>
                  <a:pt x="1303" y="600"/>
                  <a:pt x="1301" y="601"/>
                </a:cubicBezTo>
                <a:cubicBezTo>
                  <a:pt x="1300" y="603"/>
                  <a:pt x="1298" y="603"/>
                  <a:pt x="1296" y="604"/>
                </a:cubicBezTo>
                <a:cubicBezTo>
                  <a:pt x="1295" y="605"/>
                  <a:pt x="1293" y="606"/>
                  <a:pt x="1291" y="607"/>
                </a:cubicBezTo>
                <a:cubicBezTo>
                  <a:pt x="1289" y="608"/>
                  <a:pt x="1287" y="608"/>
                  <a:pt x="1285" y="608"/>
                </a:cubicBezTo>
                <a:cubicBezTo>
                  <a:pt x="1285" y="608"/>
                  <a:pt x="1285" y="608"/>
                  <a:pt x="1285" y="619"/>
                </a:cubicBezTo>
                <a:cubicBezTo>
                  <a:pt x="1288" y="618"/>
                  <a:pt x="1291" y="617"/>
                  <a:pt x="1294" y="616"/>
                </a:cubicBezTo>
                <a:cubicBezTo>
                  <a:pt x="1296" y="615"/>
                  <a:pt x="1298" y="613"/>
                  <a:pt x="1301" y="612"/>
                </a:cubicBezTo>
                <a:cubicBezTo>
                  <a:pt x="1301" y="612"/>
                  <a:pt x="1301" y="612"/>
                  <a:pt x="1301" y="671"/>
                </a:cubicBezTo>
                <a:cubicBezTo>
                  <a:pt x="1301" y="671"/>
                  <a:pt x="1301" y="671"/>
                  <a:pt x="1312" y="671"/>
                </a:cubicBezTo>
                <a:cubicBezTo>
                  <a:pt x="1312" y="671"/>
                  <a:pt x="1312" y="671"/>
                  <a:pt x="1312" y="597"/>
                </a:cubicBezTo>
                <a:close/>
                <a:moveTo>
                  <a:pt x="1360" y="597"/>
                </a:moveTo>
                <a:cubicBezTo>
                  <a:pt x="1360" y="597"/>
                  <a:pt x="1360" y="597"/>
                  <a:pt x="1360" y="597"/>
                </a:cubicBezTo>
                <a:cubicBezTo>
                  <a:pt x="1355" y="597"/>
                  <a:pt x="1355" y="597"/>
                  <a:pt x="1355" y="597"/>
                </a:cubicBezTo>
                <a:cubicBezTo>
                  <a:pt x="1352" y="599"/>
                  <a:pt x="1351" y="600"/>
                  <a:pt x="1349" y="601"/>
                </a:cubicBezTo>
                <a:cubicBezTo>
                  <a:pt x="1347" y="603"/>
                  <a:pt x="1345" y="603"/>
                  <a:pt x="1344" y="604"/>
                </a:cubicBezTo>
                <a:cubicBezTo>
                  <a:pt x="1342" y="605"/>
                  <a:pt x="1340" y="606"/>
                  <a:pt x="1339" y="607"/>
                </a:cubicBezTo>
                <a:cubicBezTo>
                  <a:pt x="1336" y="608"/>
                  <a:pt x="1335" y="608"/>
                  <a:pt x="1333" y="608"/>
                </a:cubicBezTo>
                <a:cubicBezTo>
                  <a:pt x="1333" y="608"/>
                  <a:pt x="1333" y="608"/>
                  <a:pt x="1333" y="619"/>
                </a:cubicBezTo>
                <a:cubicBezTo>
                  <a:pt x="1336" y="618"/>
                  <a:pt x="1339" y="617"/>
                  <a:pt x="1341" y="616"/>
                </a:cubicBezTo>
                <a:cubicBezTo>
                  <a:pt x="1344" y="615"/>
                  <a:pt x="1346" y="613"/>
                  <a:pt x="1348" y="612"/>
                </a:cubicBezTo>
                <a:cubicBezTo>
                  <a:pt x="1348" y="612"/>
                  <a:pt x="1348" y="612"/>
                  <a:pt x="1348" y="671"/>
                </a:cubicBezTo>
                <a:cubicBezTo>
                  <a:pt x="1348" y="671"/>
                  <a:pt x="1348" y="671"/>
                  <a:pt x="1360" y="671"/>
                </a:cubicBezTo>
                <a:cubicBezTo>
                  <a:pt x="1360" y="671"/>
                  <a:pt x="1360" y="671"/>
                  <a:pt x="1360" y="597"/>
                </a:cubicBezTo>
                <a:close/>
                <a:moveTo>
                  <a:pt x="1406" y="597"/>
                </a:moveTo>
                <a:cubicBezTo>
                  <a:pt x="1406" y="597"/>
                  <a:pt x="1406" y="597"/>
                  <a:pt x="1406" y="597"/>
                </a:cubicBezTo>
                <a:cubicBezTo>
                  <a:pt x="1402" y="597"/>
                  <a:pt x="1402" y="597"/>
                  <a:pt x="1402" y="597"/>
                </a:cubicBezTo>
                <a:cubicBezTo>
                  <a:pt x="1400" y="599"/>
                  <a:pt x="1398" y="600"/>
                  <a:pt x="1396" y="601"/>
                </a:cubicBezTo>
                <a:cubicBezTo>
                  <a:pt x="1395" y="603"/>
                  <a:pt x="1393" y="603"/>
                  <a:pt x="1391" y="604"/>
                </a:cubicBezTo>
                <a:cubicBezTo>
                  <a:pt x="1389" y="605"/>
                  <a:pt x="1388" y="605"/>
                  <a:pt x="1385" y="606"/>
                </a:cubicBezTo>
                <a:cubicBezTo>
                  <a:pt x="1384" y="607"/>
                  <a:pt x="1382" y="608"/>
                  <a:pt x="1380" y="608"/>
                </a:cubicBezTo>
                <a:cubicBezTo>
                  <a:pt x="1380" y="608"/>
                  <a:pt x="1380" y="608"/>
                  <a:pt x="1380" y="619"/>
                </a:cubicBezTo>
                <a:cubicBezTo>
                  <a:pt x="1383" y="618"/>
                  <a:pt x="1386" y="616"/>
                  <a:pt x="1388" y="616"/>
                </a:cubicBezTo>
                <a:cubicBezTo>
                  <a:pt x="1390" y="615"/>
                  <a:pt x="1393" y="613"/>
                  <a:pt x="1395" y="612"/>
                </a:cubicBezTo>
                <a:cubicBezTo>
                  <a:pt x="1395" y="612"/>
                  <a:pt x="1395" y="612"/>
                  <a:pt x="1395" y="671"/>
                </a:cubicBezTo>
                <a:cubicBezTo>
                  <a:pt x="1395" y="671"/>
                  <a:pt x="1395" y="671"/>
                  <a:pt x="1406" y="671"/>
                </a:cubicBezTo>
                <a:cubicBezTo>
                  <a:pt x="1406" y="671"/>
                  <a:pt x="1406" y="671"/>
                  <a:pt x="1406" y="597"/>
                </a:cubicBezTo>
                <a:close/>
                <a:moveTo>
                  <a:pt x="1617" y="492"/>
                </a:moveTo>
                <a:cubicBezTo>
                  <a:pt x="1617" y="492"/>
                  <a:pt x="1617" y="492"/>
                  <a:pt x="1617" y="492"/>
                </a:cubicBezTo>
                <a:cubicBezTo>
                  <a:pt x="1612" y="492"/>
                  <a:pt x="1612" y="492"/>
                  <a:pt x="1612" y="492"/>
                </a:cubicBezTo>
                <a:cubicBezTo>
                  <a:pt x="1610" y="494"/>
                  <a:pt x="1609" y="495"/>
                  <a:pt x="1606" y="496"/>
                </a:cubicBezTo>
                <a:cubicBezTo>
                  <a:pt x="1605" y="497"/>
                  <a:pt x="1603" y="498"/>
                  <a:pt x="1601" y="499"/>
                </a:cubicBezTo>
                <a:cubicBezTo>
                  <a:pt x="1599" y="500"/>
                  <a:pt x="1597" y="500"/>
                  <a:pt x="1596" y="501"/>
                </a:cubicBezTo>
                <a:cubicBezTo>
                  <a:pt x="1594" y="502"/>
                  <a:pt x="1592" y="503"/>
                  <a:pt x="1590" y="503"/>
                </a:cubicBezTo>
                <a:cubicBezTo>
                  <a:pt x="1590" y="503"/>
                  <a:pt x="1590" y="503"/>
                  <a:pt x="1590" y="513"/>
                </a:cubicBezTo>
                <a:cubicBezTo>
                  <a:pt x="1593" y="513"/>
                  <a:pt x="1596" y="511"/>
                  <a:pt x="1598" y="511"/>
                </a:cubicBezTo>
                <a:cubicBezTo>
                  <a:pt x="1601" y="510"/>
                  <a:pt x="1603" y="508"/>
                  <a:pt x="1606" y="507"/>
                </a:cubicBezTo>
                <a:cubicBezTo>
                  <a:pt x="1606" y="507"/>
                  <a:pt x="1606" y="507"/>
                  <a:pt x="1606" y="566"/>
                </a:cubicBezTo>
                <a:cubicBezTo>
                  <a:pt x="1606" y="566"/>
                  <a:pt x="1606" y="566"/>
                  <a:pt x="1617" y="566"/>
                </a:cubicBezTo>
                <a:cubicBezTo>
                  <a:pt x="1617" y="566"/>
                  <a:pt x="1617" y="566"/>
                  <a:pt x="1617" y="492"/>
                </a:cubicBezTo>
                <a:close/>
                <a:moveTo>
                  <a:pt x="1664" y="492"/>
                </a:moveTo>
                <a:cubicBezTo>
                  <a:pt x="1664" y="492"/>
                  <a:pt x="1664" y="492"/>
                  <a:pt x="1664" y="492"/>
                </a:cubicBezTo>
                <a:cubicBezTo>
                  <a:pt x="1659" y="492"/>
                  <a:pt x="1659" y="492"/>
                  <a:pt x="1659" y="492"/>
                </a:cubicBezTo>
                <a:cubicBezTo>
                  <a:pt x="1656" y="494"/>
                  <a:pt x="1655" y="495"/>
                  <a:pt x="1653" y="496"/>
                </a:cubicBezTo>
                <a:cubicBezTo>
                  <a:pt x="1651" y="497"/>
                  <a:pt x="1649" y="498"/>
                  <a:pt x="1648" y="499"/>
                </a:cubicBezTo>
                <a:cubicBezTo>
                  <a:pt x="1646" y="500"/>
                  <a:pt x="1644" y="501"/>
                  <a:pt x="1643" y="502"/>
                </a:cubicBezTo>
                <a:cubicBezTo>
                  <a:pt x="1641" y="503"/>
                  <a:pt x="1639" y="503"/>
                  <a:pt x="1637" y="503"/>
                </a:cubicBezTo>
                <a:cubicBezTo>
                  <a:pt x="1637" y="503"/>
                  <a:pt x="1637" y="503"/>
                  <a:pt x="1637" y="513"/>
                </a:cubicBezTo>
                <a:cubicBezTo>
                  <a:pt x="1640" y="513"/>
                  <a:pt x="1643" y="512"/>
                  <a:pt x="1645" y="511"/>
                </a:cubicBezTo>
                <a:cubicBezTo>
                  <a:pt x="1648" y="510"/>
                  <a:pt x="1650" y="508"/>
                  <a:pt x="1652" y="507"/>
                </a:cubicBezTo>
                <a:cubicBezTo>
                  <a:pt x="1652" y="507"/>
                  <a:pt x="1652" y="507"/>
                  <a:pt x="1652" y="566"/>
                </a:cubicBezTo>
                <a:cubicBezTo>
                  <a:pt x="1652" y="566"/>
                  <a:pt x="1652" y="566"/>
                  <a:pt x="1664" y="566"/>
                </a:cubicBezTo>
                <a:cubicBezTo>
                  <a:pt x="1664" y="566"/>
                  <a:pt x="1664" y="566"/>
                  <a:pt x="1664" y="492"/>
                </a:cubicBezTo>
                <a:close/>
                <a:moveTo>
                  <a:pt x="1709" y="492"/>
                </a:moveTo>
                <a:cubicBezTo>
                  <a:pt x="1709" y="492"/>
                  <a:pt x="1709" y="492"/>
                  <a:pt x="1709" y="492"/>
                </a:cubicBezTo>
                <a:cubicBezTo>
                  <a:pt x="1705" y="492"/>
                  <a:pt x="1705" y="492"/>
                  <a:pt x="1705" y="492"/>
                </a:cubicBezTo>
                <a:cubicBezTo>
                  <a:pt x="1703" y="494"/>
                  <a:pt x="1701" y="495"/>
                  <a:pt x="1699" y="496"/>
                </a:cubicBezTo>
                <a:cubicBezTo>
                  <a:pt x="1698" y="497"/>
                  <a:pt x="1695" y="498"/>
                  <a:pt x="1694" y="499"/>
                </a:cubicBezTo>
                <a:cubicBezTo>
                  <a:pt x="1692" y="500"/>
                  <a:pt x="1690" y="501"/>
                  <a:pt x="1688" y="502"/>
                </a:cubicBezTo>
                <a:cubicBezTo>
                  <a:pt x="1687" y="503"/>
                  <a:pt x="1685" y="503"/>
                  <a:pt x="1683" y="503"/>
                </a:cubicBezTo>
                <a:cubicBezTo>
                  <a:pt x="1683" y="503"/>
                  <a:pt x="1683" y="503"/>
                  <a:pt x="1683" y="513"/>
                </a:cubicBezTo>
                <a:cubicBezTo>
                  <a:pt x="1686" y="513"/>
                  <a:pt x="1689" y="512"/>
                  <a:pt x="1691" y="511"/>
                </a:cubicBezTo>
                <a:cubicBezTo>
                  <a:pt x="1693" y="510"/>
                  <a:pt x="1696" y="508"/>
                  <a:pt x="1698" y="507"/>
                </a:cubicBezTo>
                <a:cubicBezTo>
                  <a:pt x="1698" y="507"/>
                  <a:pt x="1698" y="507"/>
                  <a:pt x="1698" y="566"/>
                </a:cubicBezTo>
                <a:cubicBezTo>
                  <a:pt x="1698" y="566"/>
                  <a:pt x="1698" y="566"/>
                  <a:pt x="1709" y="566"/>
                </a:cubicBezTo>
                <a:cubicBezTo>
                  <a:pt x="1709" y="566"/>
                  <a:pt x="1709" y="566"/>
                  <a:pt x="1709" y="492"/>
                </a:cubicBezTo>
                <a:close/>
                <a:moveTo>
                  <a:pt x="1756" y="492"/>
                </a:moveTo>
                <a:cubicBezTo>
                  <a:pt x="1756" y="492"/>
                  <a:pt x="1756" y="492"/>
                  <a:pt x="1756" y="492"/>
                </a:cubicBezTo>
                <a:cubicBezTo>
                  <a:pt x="1751" y="492"/>
                  <a:pt x="1751" y="492"/>
                  <a:pt x="1751" y="492"/>
                </a:cubicBezTo>
                <a:cubicBezTo>
                  <a:pt x="1749" y="494"/>
                  <a:pt x="1747" y="495"/>
                  <a:pt x="1745" y="496"/>
                </a:cubicBezTo>
                <a:cubicBezTo>
                  <a:pt x="1744" y="497"/>
                  <a:pt x="1742" y="498"/>
                  <a:pt x="1740" y="499"/>
                </a:cubicBezTo>
                <a:cubicBezTo>
                  <a:pt x="1738" y="500"/>
                  <a:pt x="1736" y="501"/>
                  <a:pt x="1735" y="502"/>
                </a:cubicBezTo>
                <a:cubicBezTo>
                  <a:pt x="1733" y="503"/>
                  <a:pt x="1731" y="503"/>
                  <a:pt x="1729" y="503"/>
                </a:cubicBezTo>
                <a:cubicBezTo>
                  <a:pt x="1729" y="503"/>
                  <a:pt x="1729" y="503"/>
                  <a:pt x="1729" y="513"/>
                </a:cubicBezTo>
                <a:cubicBezTo>
                  <a:pt x="1732" y="513"/>
                  <a:pt x="1735" y="512"/>
                  <a:pt x="1737" y="511"/>
                </a:cubicBezTo>
                <a:cubicBezTo>
                  <a:pt x="1740" y="510"/>
                  <a:pt x="1742" y="508"/>
                  <a:pt x="1744" y="507"/>
                </a:cubicBezTo>
                <a:cubicBezTo>
                  <a:pt x="1744" y="507"/>
                  <a:pt x="1744" y="507"/>
                  <a:pt x="1744" y="566"/>
                </a:cubicBezTo>
                <a:cubicBezTo>
                  <a:pt x="1744" y="566"/>
                  <a:pt x="1744" y="566"/>
                  <a:pt x="1756" y="566"/>
                </a:cubicBezTo>
                <a:cubicBezTo>
                  <a:pt x="1756" y="566"/>
                  <a:pt x="1756" y="566"/>
                  <a:pt x="1756" y="492"/>
                </a:cubicBezTo>
                <a:close/>
                <a:moveTo>
                  <a:pt x="1878" y="492"/>
                </a:moveTo>
                <a:cubicBezTo>
                  <a:pt x="1878" y="492"/>
                  <a:pt x="1878" y="492"/>
                  <a:pt x="1878" y="492"/>
                </a:cubicBezTo>
                <a:cubicBezTo>
                  <a:pt x="1873" y="492"/>
                  <a:pt x="1873" y="492"/>
                  <a:pt x="1873" y="492"/>
                </a:cubicBezTo>
                <a:cubicBezTo>
                  <a:pt x="1870" y="494"/>
                  <a:pt x="1869" y="495"/>
                  <a:pt x="1867" y="496"/>
                </a:cubicBezTo>
                <a:cubicBezTo>
                  <a:pt x="1865" y="497"/>
                  <a:pt x="1864" y="498"/>
                  <a:pt x="1862" y="499"/>
                </a:cubicBezTo>
                <a:cubicBezTo>
                  <a:pt x="1860" y="500"/>
                  <a:pt x="1858" y="501"/>
                  <a:pt x="1857" y="502"/>
                </a:cubicBezTo>
                <a:cubicBezTo>
                  <a:pt x="1854" y="503"/>
                  <a:pt x="1853" y="503"/>
                  <a:pt x="1851" y="503"/>
                </a:cubicBezTo>
                <a:cubicBezTo>
                  <a:pt x="1851" y="503"/>
                  <a:pt x="1851" y="503"/>
                  <a:pt x="1851" y="513"/>
                </a:cubicBezTo>
                <a:cubicBezTo>
                  <a:pt x="1854" y="513"/>
                  <a:pt x="1857" y="512"/>
                  <a:pt x="1859" y="511"/>
                </a:cubicBezTo>
                <a:cubicBezTo>
                  <a:pt x="1862" y="510"/>
                  <a:pt x="1864" y="508"/>
                  <a:pt x="1866" y="507"/>
                </a:cubicBezTo>
                <a:cubicBezTo>
                  <a:pt x="1866" y="507"/>
                  <a:pt x="1866" y="507"/>
                  <a:pt x="1866" y="566"/>
                </a:cubicBezTo>
                <a:cubicBezTo>
                  <a:pt x="1866" y="566"/>
                  <a:pt x="1866" y="566"/>
                  <a:pt x="1878" y="566"/>
                </a:cubicBezTo>
                <a:cubicBezTo>
                  <a:pt x="1878" y="566"/>
                  <a:pt x="1878" y="566"/>
                  <a:pt x="1878" y="492"/>
                </a:cubicBezTo>
                <a:close/>
                <a:moveTo>
                  <a:pt x="1925" y="492"/>
                </a:moveTo>
                <a:cubicBezTo>
                  <a:pt x="1925" y="492"/>
                  <a:pt x="1925" y="492"/>
                  <a:pt x="1925" y="492"/>
                </a:cubicBezTo>
                <a:cubicBezTo>
                  <a:pt x="1919" y="492"/>
                  <a:pt x="1919" y="492"/>
                  <a:pt x="1919" y="492"/>
                </a:cubicBezTo>
                <a:cubicBezTo>
                  <a:pt x="1917" y="494"/>
                  <a:pt x="1916" y="495"/>
                  <a:pt x="1914" y="496"/>
                </a:cubicBezTo>
                <a:cubicBezTo>
                  <a:pt x="1912" y="497"/>
                  <a:pt x="1910" y="498"/>
                  <a:pt x="1908" y="499"/>
                </a:cubicBezTo>
                <a:cubicBezTo>
                  <a:pt x="1907" y="500"/>
                  <a:pt x="1905" y="501"/>
                  <a:pt x="1903" y="502"/>
                </a:cubicBezTo>
                <a:cubicBezTo>
                  <a:pt x="1901" y="503"/>
                  <a:pt x="1900" y="503"/>
                  <a:pt x="1897" y="503"/>
                </a:cubicBezTo>
                <a:cubicBezTo>
                  <a:pt x="1897" y="503"/>
                  <a:pt x="1897" y="503"/>
                  <a:pt x="1897" y="513"/>
                </a:cubicBezTo>
                <a:cubicBezTo>
                  <a:pt x="1900" y="513"/>
                  <a:pt x="1903" y="512"/>
                  <a:pt x="1905" y="511"/>
                </a:cubicBezTo>
                <a:cubicBezTo>
                  <a:pt x="1908" y="510"/>
                  <a:pt x="1911" y="508"/>
                  <a:pt x="1913" y="507"/>
                </a:cubicBezTo>
                <a:cubicBezTo>
                  <a:pt x="1913" y="507"/>
                  <a:pt x="1913" y="507"/>
                  <a:pt x="1913" y="566"/>
                </a:cubicBezTo>
                <a:cubicBezTo>
                  <a:pt x="1913" y="566"/>
                  <a:pt x="1913" y="566"/>
                  <a:pt x="1925" y="566"/>
                </a:cubicBezTo>
                <a:cubicBezTo>
                  <a:pt x="1925" y="566"/>
                  <a:pt x="1925" y="566"/>
                  <a:pt x="1925" y="492"/>
                </a:cubicBezTo>
                <a:close/>
                <a:moveTo>
                  <a:pt x="1776" y="525"/>
                </a:moveTo>
                <a:cubicBezTo>
                  <a:pt x="1776" y="525"/>
                  <a:pt x="1776" y="525"/>
                  <a:pt x="1776" y="525"/>
                </a:cubicBezTo>
                <a:cubicBezTo>
                  <a:pt x="1776" y="533"/>
                  <a:pt x="1776" y="533"/>
                  <a:pt x="1776" y="533"/>
                </a:cubicBezTo>
                <a:cubicBezTo>
                  <a:pt x="1782" y="533"/>
                  <a:pt x="1783" y="536"/>
                  <a:pt x="1783" y="539"/>
                </a:cubicBezTo>
                <a:cubicBezTo>
                  <a:pt x="1783" y="541"/>
                  <a:pt x="1782" y="543"/>
                  <a:pt x="1782" y="546"/>
                </a:cubicBezTo>
                <a:cubicBezTo>
                  <a:pt x="1782" y="549"/>
                  <a:pt x="1782" y="551"/>
                  <a:pt x="1782" y="553"/>
                </a:cubicBezTo>
                <a:cubicBezTo>
                  <a:pt x="1782" y="562"/>
                  <a:pt x="1788" y="566"/>
                  <a:pt x="1796" y="566"/>
                </a:cubicBezTo>
                <a:cubicBezTo>
                  <a:pt x="1796" y="566"/>
                  <a:pt x="1796" y="566"/>
                  <a:pt x="1800" y="566"/>
                </a:cubicBezTo>
                <a:cubicBezTo>
                  <a:pt x="1800" y="566"/>
                  <a:pt x="1800" y="566"/>
                  <a:pt x="1800" y="557"/>
                </a:cubicBezTo>
                <a:cubicBezTo>
                  <a:pt x="1800" y="557"/>
                  <a:pt x="1800" y="557"/>
                  <a:pt x="1798" y="557"/>
                </a:cubicBezTo>
                <a:cubicBezTo>
                  <a:pt x="1795" y="557"/>
                  <a:pt x="1794" y="554"/>
                  <a:pt x="1794" y="551"/>
                </a:cubicBezTo>
                <a:cubicBezTo>
                  <a:pt x="1794" y="549"/>
                  <a:pt x="1794" y="548"/>
                  <a:pt x="1794" y="546"/>
                </a:cubicBezTo>
                <a:cubicBezTo>
                  <a:pt x="1794" y="544"/>
                  <a:pt x="1794" y="542"/>
                  <a:pt x="1794" y="540"/>
                </a:cubicBezTo>
                <a:cubicBezTo>
                  <a:pt x="1794" y="533"/>
                  <a:pt x="1791" y="530"/>
                  <a:pt x="1786" y="529"/>
                </a:cubicBezTo>
                <a:cubicBezTo>
                  <a:pt x="1786" y="529"/>
                  <a:pt x="1786" y="529"/>
                  <a:pt x="1786" y="528"/>
                </a:cubicBezTo>
                <a:cubicBezTo>
                  <a:pt x="1791" y="527"/>
                  <a:pt x="1794" y="525"/>
                  <a:pt x="1794" y="518"/>
                </a:cubicBezTo>
                <a:cubicBezTo>
                  <a:pt x="1794" y="515"/>
                  <a:pt x="1794" y="513"/>
                  <a:pt x="1794" y="511"/>
                </a:cubicBezTo>
                <a:cubicBezTo>
                  <a:pt x="1794" y="510"/>
                  <a:pt x="1794" y="508"/>
                  <a:pt x="1794" y="507"/>
                </a:cubicBezTo>
                <a:cubicBezTo>
                  <a:pt x="1794" y="503"/>
                  <a:pt x="1795" y="501"/>
                  <a:pt x="1798" y="501"/>
                </a:cubicBezTo>
                <a:cubicBezTo>
                  <a:pt x="1798" y="501"/>
                  <a:pt x="1798" y="501"/>
                  <a:pt x="1800" y="501"/>
                </a:cubicBezTo>
                <a:cubicBezTo>
                  <a:pt x="1800" y="501"/>
                  <a:pt x="1800" y="501"/>
                  <a:pt x="1800" y="491"/>
                </a:cubicBezTo>
                <a:cubicBezTo>
                  <a:pt x="1800" y="491"/>
                  <a:pt x="1800" y="491"/>
                  <a:pt x="1796" y="491"/>
                </a:cubicBezTo>
                <a:cubicBezTo>
                  <a:pt x="1787" y="491"/>
                  <a:pt x="1782" y="496"/>
                  <a:pt x="1782" y="504"/>
                </a:cubicBezTo>
                <a:cubicBezTo>
                  <a:pt x="1782" y="506"/>
                  <a:pt x="1782" y="509"/>
                  <a:pt x="1782" y="512"/>
                </a:cubicBezTo>
                <a:cubicBezTo>
                  <a:pt x="1782" y="514"/>
                  <a:pt x="1783" y="516"/>
                  <a:pt x="1783" y="518"/>
                </a:cubicBezTo>
                <a:cubicBezTo>
                  <a:pt x="1783" y="521"/>
                  <a:pt x="1782" y="524"/>
                  <a:pt x="1776" y="525"/>
                </a:cubicBezTo>
                <a:close/>
                <a:moveTo>
                  <a:pt x="1831" y="533"/>
                </a:moveTo>
                <a:cubicBezTo>
                  <a:pt x="1831" y="533"/>
                  <a:pt x="1831" y="533"/>
                  <a:pt x="1831" y="533"/>
                </a:cubicBezTo>
                <a:cubicBezTo>
                  <a:pt x="1831" y="525"/>
                  <a:pt x="1831" y="525"/>
                  <a:pt x="1831" y="525"/>
                </a:cubicBezTo>
                <a:cubicBezTo>
                  <a:pt x="1825" y="524"/>
                  <a:pt x="1824" y="521"/>
                  <a:pt x="1824" y="518"/>
                </a:cubicBezTo>
                <a:cubicBezTo>
                  <a:pt x="1824" y="516"/>
                  <a:pt x="1824" y="514"/>
                  <a:pt x="1825" y="512"/>
                </a:cubicBezTo>
                <a:cubicBezTo>
                  <a:pt x="1825" y="509"/>
                  <a:pt x="1825" y="506"/>
                  <a:pt x="1825" y="504"/>
                </a:cubicBezTo>
                <a:cubicBezTo>
                  <a:pt x="1825" y="496"/>
                  <a:pt x="1820" y="491"/>
                  <a:pt x="1810" y="491"/>
                </a:cubicBezTo>
                <a:cubicBezTo>
                  <a:pt x="1810" y="491"/>
                  <a:pt x="1810" y="491"/>
                  <a:pt x="1807" y="491"/>
                </a:cubicBezTo>
                <a:cubicBezTo>
                  <a:pt x="1807" y="491"/>
                  <a:pt x="1807" y="491"/>
                  <a:pt x="1807" y="501"/>
                </a:cubicBezTo>
                <a:cubicBezTo>
                  <a:pt x="1807" y="501"/>
                  <a:pt x="1807" y="501"/>
                  <a:pt x="1808" y="501"/>
                </a:cubicBezTo>
                <a:cubicBezTo>
                  <a:pt x="1812" y="501"/>
                  <a:pt x="1813" y="503"/>
                  <a:pt x="1813" y="507"/>
                </a:cubicBezTo>
                <a:cubicBezTo>
                  <a:pt x="1813" y="508"/>
                  <a:pt x="1813" y="510"/>
                  <a:pt x="1813" y="511"/>
                </a:cubicBezTo>
                <a:cubicBezTo>
                  <a:pt x="1813" y="513"/>
                  <a:pt x="1813" y="515"/>
                  <a:pt x="1813" y="518"/>
                </a:cubicBezTo>
                <a:cubicBezTo>
                  <a:pt x="1813" y="525"/>
                  <a:pt x="1815" y="527"/>
                  <a:pt x="1821" y="528"/>
                </a:cubicBezTo>
                <a:cubicBezTo>
                  <a:pt x="1821" y="528"/>
                  <a:pt x="1821" y="528"/>
                  <a:pt x="1821" y="529"/>
                </a:cubicBezTo>
                <a:cubicBezTo>
                  <a:pt x="1815" y="530"/>
                  <a:pt x="1813" y="533"/>
                  <a:pt x="1813" y="540"/>
                </a:cubicBezTo>
                <a:cubicBezTo>
                  <a:pt x="1813" y="542"/>
                  <a:pt x="1813" y="544"/>
                  <a:pt x="1813" y="546"/>
                </a:cubicBezTo>
                <a:cubicBezTo>
                  <a:pt x="1813" y="548"/>
                  <a:pt x="1813" y="549"/>
                  <a:pt x="1813" y="551"/>
                </a:cubicBezTo>
                <a:cubicBezTo>
                  <a:pt x="1813" y="554"/>
                  <a:pt x="1812" y="557"/>
                  <a:pt x="1808" y="557"/>
                </a:cubicBezTo>
                <a:cubicBezTo>
                  <a:pt x="1808" y="557"/>
                  <a:pt x="1808" y="557"/>
                  <a:pt x="1807" y="557"/>
                </a:cubicBezTo>
                <a:cubicBezTo>
                  <a:pt x="1807" y="557"/>
                  <a:pt x="1807" y="557"/>
                  <a:pt x="1807" y="566"/>
                </a:cubicBezTo>
                <a:cubicBezTo>
                  <a:pt x="1807" y="566"/>
                  <a:pt x="1807" y="566"/>
                  <a:pt x="1810" y="566"/>
                </a:cubicBezTo>
                <a:cubicBezTo>
                  <a:pt x="1819" y="566"/>
                  <a:pt x="1825" y="562"/>
                  <a:pt x="1825" y="553"/>
                </a:cubicBezTo>
                <a:cubicBezTo>
                  <a:pt x="1825" y="551"/>
                  <a:pt x="1825" y="549"/>
                  <a:pt x="1825" y="546"/>
                </a:cubicBezTo>
                <a:cubicBezTo>
                  <a:pt x="1824" y="543"/>
                  <a:pt x="1824" y="541"/>
                  <a:pt x="1824" y="539"/>
                </a:cubicBezTo>
                <a:cubicBezTo>
                  <a:pt x="1824" y="536"/>
                  <a:pt x="1825" y="533"/>
                  <a:pt x="1831" y="533"/>
                </a:cubicBezTo>
                <a:close/>
                <a:moveTo>
                  <a:pt x="1218" y="566"/>
                </a:moveTo>
                <a:cubicBezTo>
                  <a:pt x="1210" y="566"/>
                  <a:pt x="1204" y="563"/>
                  <a:pt x="1199" y="557"/>
                </a:cubicBezTo>
                <a:cubicBezTo>
                  <a:pt x="1196" y="550"/>
                  <a:pt x="1194" y="542"/>
                  <a:pt x="1194" y="529"/>
                </a:cubicBezTo>
                <a:cubicBezTo>
                  <a:pt x="1194" y="516"/>
                  <a:pt x="1196" y="507"/>
                  <a:pt x="1200" y="500"/>
                </a:cubicBezTo>
                <a:cubicBezTo>
                  <a:pt x="1205" y="494"/>
                  <a:pt x="1211" y="490"/>
                  <a:pt x="1220" y="490"/>
                </a:cubicBezTo>
                <a:cubicBezTo>
                  <a:pt x="1236" y="490"/>
                  <a:pt x="1244" y="502"/>
                  <a:pt x="1244" y="528"/>
                </a:cubicBezTo>
                <a:cubicBezTo>
                  <a:pt x="1244" y="540"/>
                  <a:pt x="1242" y="550"/>
                  <a:pt x="1237" y="556"/>
                </a:cubicBezTo>
                <a:cubicBezTo>
                  <a:pt x="1232" y="563"/>
                  <a:pt x="1226" y="566"/>
                  <a:pt x="1218" y="566"/>
                </a:cubicBezTo>
                <a:close/>
                <a:moveTo>
                  <a:pt x="1219" y="499"/>
                </a:moveTo>
                <a:cubicBezTo>
                  <a:pt x="1210" y="499"/>
                  <a:pt x="1205" y="510"/>
                  <a:pt x="1205" y="529"/>
                </a:cubicBezTo>
                <a:cubicBezTo>
                  <a:pt x="1205" y="548"/>
                  <a:pt x="1210" y="556"/>
                  <a:pt x="1218" y="556"/>
                </a:cubicBezTo>
                <a:cubicBezTo>
                  <a:pt x="1227" y="556"/>
                  <a:pt x="1232" y="548"/>
                  <a:pt x="1232" y="529"/>
                </a:cubicBezTo>
                <a:cubicBezTo>
                  <a:pt x="1232" y="509"/>
                  <a:pt x="1227" y="499"/>
                  <a:pt x="1219" y="499"/>
                </a:cubicBezTo>
                <a:close/>
                <a:moveTo>
                  <a:pt x="1288" y="566"/>
                </a:moveTo>
                <a:cubicBezTo>
                  <a:pt x="1281" y="566"/>
                  <a:pt x="1274" y="563"/>
                  <a:pt x="1271" y="557"/>
                </a:cubicBezTo>
                <a:cubicBezTo>
                  <a:pt x="1266" y="550"/>
                  <a:pt x="1264" y="542"/>
                  <a:pt x="1264" y="529"/>
                </a:cubicBezTo>
                <a:cubicBezTo>
                  <a:pt x="1264" y="516"/>
                  <a:pt x="1266" y="507"/>
                  <a:pt x="1271" y="500"/>
                </a:cubicBezTo>
                <a:cubicBezTo>
                  <a:pt x="1275" y="494"/>
                  <a:pt x="1282" y="490"/>
                  <a:pt x="1290" y="490"/>
                </a:cubicBezTo>
                <a:cubicBezTo>
                  <a:pt x="1307" y="490"/>
                  <a:pt x="1315" y="502"/>
                  <a:pt x="1315" y="528"/>
                </a:cubicBezTo>
                <a:cubicBezTo>
                  <a:pt x="1315" y="540"/>
                  <a:pt x="1312" y="550"/>
                  <a:pt x="1308" y="556"/>
                </a:cubicBezTo>
                <a:cubicBezTo>
                  <a:pt x="1303" y="563"/>
                  <a:pt x="1297" y="566"/>
                  <a:pt x="1288" y="566"/>
                </a:cubicBezTo>
                <a:close/>
                <a:moveTo>
                  <a:pt x="1290" y="499"/>
                </a:moveTo>
                <a:cubicBezTo>
                  <a:pt x="1281" y="499"/>
                  <a:pt x="1276" y="510"/>
                  <a:pt x="1276" y="529"/>
                </a:cubicBezTo>
                <a:cubicBezTo>
                  <a:pt x="1276" y="548"/>
                  <a:pt x="1280" y="556"/>
                  <a:pt x="1289" y="556"/>
                </a:cubicBezTo>
                <a:cubicBezTo>
                  <a:pt x="1298" y="556"/>
                  <a:pt x="1302" y="548"/>
                  <a:pt x="1302" y="529"/>
                </a:cubicBezTo>
                <a:cubicBezTo>
                  <a:pt x="1302" y="509"/>
                  <a:pt x="1298" y="499"/>
                  <a:pt x="1290" y="499"/>
                </a:cubicBezTo>
                <a:close/>
                <a:moveTo>
                  <a:pt x="1498" y="576"/>
                </a:moveTo>
                <a:cubicBezTo>
                  <a:pt x="1490" y="576"/>
                  <a:pt x="1485" y="573"/>
                  <a:pt x="1480" y="566"/>
                </a:cubicBezTo>
                <a:cubicBezTo>
                  <a:pt x="1476" y="561"/>
                  <a:pt x="1473" y="551"/>
                  <a:pt x="1473" y="539"/>
                </a:cubicBezTo>
                <a:cubicBezTo>
                  <a:pt x="1473" y="526"/>
                  <a:pt x="1476" y="517"/>
                  <a:pt x="1480" y="510"/>
                </a:cubicBezTo>
                <a:cubicBezTo>
                  <a:pt x="1485" y="503"/>
                  <a:pt x="1491" y="500"/>
                  <a:pt x="1500" y="500"/>
                </a:cubicBezTo>
                <a:cubicBezTo>
                  <a:pt x="1516" y="500"/>
                  <a:pt x="1524" y="512"/>
                  <a:pt x="1524" y="537"/>
                </a:cubicBezTo>
                <a:cubicBezTo>
                  <a:pt x="1524" y="550"/>
                  <a:pt x="1522" y="560"/>
                  <a:pt x="1518" y="566"/>
                </a:cubicBezTo>
                <a:cubicBezTo>
                  <a:pt x="1513" y="573"/>
                  <a:pt x="1507" y="576"/>
                  <a:pt x="1498" y="576"/>
                </a:cubicBezTo>
                <a:close/>
                <a:moveTo>
                  <a:pt x="1499" y="510"/>
                </a:moveTo>
                <a:cubicBezTo>
                  <a:pt x="1490" y="510"/>
                  <a:pt x="1486" y="519"/>
                  <a:pt x="1486" y="539"/>
                </a:cubicBezTo>
                <a:cubicBezTo>
                  <a:pt x="1486" y="557"/>
                  <a:pt x="1490" y="566"/>
                  <a:pt x="1499" y="566"/>
                </a:cubicBezTo>
                <a:cubicBezTo>
                  <a:pt x="1507" y="566"/>
                  <a:pt x="1512" y="557"/>
                  <a:pt x="1512" y="539"/>
                </a:cubicBezTo>
                <a:cubicBezTo>
                  <a:pt x="1512" y="519"/>
                  <a:pt x="1508" y="510"/>
                  <a:pt x="1499" y="510"/>
                </a:cubicBezTo>
                <a:close/>
                <a:moveTo>
                  <a:pt x="1570" y="492"/>
                </a:moveTo>
                <a:cubicBezTo>
                  <a:pt x="1570" y="492"/>
                  <a:pt x="1570" y="492"/>
                  <a:pt x="1570" y="492"/>
                </a:cubicBezTo>
                <a:cubicBezTo>
                  <a:pt x="1565" y="492"/>
                  <a:pt x="1565" y="492"/>
                  <a:pt x="1565" y="492"/>
                </a:cubicBezTo>
                <a:cubicBezTo>
                  <a:pt x="1563" y="494"/>
                  <a:pt x="1562" y="495"/>
                  <a:pt x="1560" y="496"/>
                </a:cubicBezTo>
                <a:cubicBezTo>
                  <a:pt x="1558" y="497"/>
                  <a:pt x="1556" y="498"/>
                  <a:pt x="1555" y="499"/>
                </a:cubicBezTo>
                <a:cubicBezTo>
                  <a:pt x="1553" y="500"/>
                  <a:pt x="1551" y="500"/>
                  <a:pt x="1550" y="501"/>
                </a:cubicBezTo>
                <a:cubicBezTo>
                  <a:pt x="1548" y="502"/>
                  <a:pt x="1546" y="503"/>
                  <a:pt x="1544" y="503"/>
                </a:cubicBezTo>
                <a:cubicBezTo>
                  <a:pt x="1544" y="503"/>
                  <a:pt x="1544" y="503"/>
                  <a:pt x="1544" y="513"/>
                </a:cubicBezTo>
                <a:cubicBezTo>
                  <a:pt x="1547" y="513"/>
                  <a:pt x="1550" y="511"/>
                  <a:pt x="1552" y="511"/>
                </a:cubicBezTo>
                <a:cubicBezTo>
                  <a:pt x="1555" y="510"/>
                  <a:pt x="1557" y="508"/>
                  <a:pt x="1559" y="507"/>
                </a:cubicBezTo>
                <a:cubicBezTo>
                  <a:pt x="1559" y="507"/>
                  <a:pt x="1559" y="507"/>
                  <a:pt x="1559" y="566"/>
                </a:cubicBezTo>
                <a:cubicBezTo>
                  <a:pt x="1559" y="566"/>
                  <a:pt x="1559" y="566"/>
                  <a:pt x="1570" y="566"/>
                </a:cubicBezTo>
                <a:cubicBezTo>
                  <a:pt x="1570" y="566"/>
                  <a:pt x="1570" y="566"/>
                  <a:pt x="1570" y="492"/>
                </a:cubicBezTo>
                <a:close/>
                <a:moveTo>
                  <a:pt x="1361" y="492"/>
                </a:moveTo>
                <a:cubicBezTo>
                  <a:pt x="1361" y="492"/>
                  <a:pt x="1361" y="492"/>
                  <a:pt x="1361" y="492"/>
                </a:cubicBezTo>
                <a:cubicBezTo>
                  <a:pt x="1356" y="492"/>
                  <a:pt x="1356" y="492"/>
                  <a:pt x="1356" y="492"/>
                </a:cubicBezTo>
                <a:cubicBezTo>
                  <a:pt x="1354" y="494"/>
                  <a:pt x="1352" y="495"/>
                  <a:pt x="1350" y="496"/>
                </a:cubicBezTo>
                <a:cubicBezTo>
                  <a:pt x="1349" y="497"/>
                  <a:pt x="1347" y="498"/>
                  <a:pt x="1345" y="499"/>
                </a:cubicBezTo>
                <a:cubicBezTo>
                  <a:pt x="1344" y="500"/>
                  <a:pt x="1342" y="501"/>
                  <a:pt x="1340" y="502"/>
                </a:cubicBezTo>
                <a:cubicBezTo>
                  <a:pt x="1338" y="503"/>
                  <a:pt x="1336" y="503"/>
                  <a:pt x="1334" y="503"/>
                </a:cubicBezTo>
                <a:cubicBezTo>
                  <a:pt x="1334" y="503"/>
                  <a:pt x="1334" y="503"/>
                  <a:pt x="1334" y="513"/>
                </a:cubicBezTo>
                <a:cubicBezTo>
                  <a:pt x="1337" y="513"/>
                  <a:pt x="1340" y="512"/>
                  <a:pt x="1343" y="511"/>
                </a:cubicBezTo>
                <a:cubicBezTo>
                  <a:pt x="1345" y="510"/>
                  <a:pt x="1347" y="508"/>
                  <a:pt x="1350" y="507"/>
                </a:cubicBezTo>
                <a:cubicBezTo>
                  <a:pt x="1350" y="507"/>
                  <a:pt x="1350" y="507"/>
                  <a:pt x="1350" y="566"/>
                </a:cubicBezTo>
                <a:cubicBezTo>
                  <a:pt x="1350" y="566"/>
                  <a:pt x="1350" y="566"/>
                  <a:pt x="1361" y="566"/>
                </a:cubicBezTo>
                <a:cubicBezTo>
                  <a:pt x="1361" y="566"/>
                  <a:pt x="1361" y="566"/>
                  <a:pt x="1361" y="492"/>
                </a:cubicBezTo>
                <a:close/>
                <a:moveTo>
                  <a:pt x="1408" y="492"/>
                </a:moveTo>
                <a:cubicBezTo>
                  <a:pt x="1408" y="492"/>
                  <a:pt x="1408" y="492"/>
                  <a:pt x="1408" y="492"/>
                </a:cubicBezTo>
                <a:cubicBezTo>
                  <a:pt x="1403" y="492"/>
                  <a:pt x="1403" y="492"/>
                  <a:pt x="1403" y="492"/>
                </a:cubicBezTo>
                <a:cubicBezTo>
                  <a:pt x="1401" y="494"/>
                  <a:pt x="1399" y="495"/>
                  <a:pt x="1397" y="496"/>
                </a:cubicBezTo>
                <a:cubicBezTo>
                  <a:pt x="1396" y="497"/>
                  <a:pt x="1393" y="498"/>
                  <a:pt x="1392" y="499"/>
                </a:cubicBezTo>
                <a:cubicBezTo>
                  <a:pt x="1390" y="500"/>
                  <a:pt x="1388" y="501"/>
                  <a:pt x="1387" y="502"/>
                </a:cubicBezTo>
                <a:cubicBezTo>
                  <a:pt x="1385" y="503"/>
                  <a:pt x="1383" y="503"/>
                  <a:pt x="1381" y="503"/>
                </a:cubicBezTo>
                <a:cubicBezTo>
                  <a:pt x="1381" y="503"/>
                  <a:pt x="1381" y="503"/>
                  <a:pt x="1381" y="513"/>
                </a:cubicBezTo>
                <a:cubicBezTo>
                  <a:pt x="1384" y="513"/>
                  <a:pt x="1387" y="512"/>
                  <a:pt x="1389" y="511"/>
                </a:cubicBezTo>
                <a:cubicBezTo>
                  <a:pt x="1392" y="510"/>
                  <a:pt x="1394" y="508"/>
                  <a:pt x="1396" y="507"/>
                </a:cubicBezTo>
                <a:cubicBezTo>
                  <a:pt x="1396" y="507"/>
                  <a:pt x="1396" y="507"/>
                  <a:pt x="1396" y="566"/>
                </a:cubicBezTo>
                <a:cubicBezTo>
                  <a:pt x="1396" y="566"/>
                  <a:pt x="1396" y="566"/>
                  <a:pt x="1408" y="566"/>
                </a:cubicBezTo>
                <a:cubicBezTo>
                  <a:pt x="1408" y="566"/>
                  <a:pt x="1408" y="566"/>
                  <a:pt x="1408" y="492"/>
                </a:cubicBezTo>
                <a:close/>
                <a:moveTo>
                  <a:pt x="1454" y="492"/>
                </a:moveTo>
                <a:cubicBezTo>
                  <a:pt x="1454" y="492"/>
                  <a:pt x="1454" y="492"/>
                  <a:pt x="1454" y="492"/>
                </a:cubicBezTo>
                <a:cubicBezTo>
                  <a:pt x="1449" y="492"/>
                  <a:pt x="1449" y="492"/>
                  <a:pt x="1449" y="492"/>
                </a:cubicBezTo>
                <a:cubicBezTo>
                  <a:pt x="1447" y="494"/>
                  <a:pt x="1446" y="495"/>
                  <a:pt x="1444" y="496"/>
                </a:cubicBezTo>
                <a:cubicBezTo>
                  <a:pt x="1442" y="497"/>
                  <a:pt x="1440" y="498"/>
                  <a:pt x="1439" y="499"/>
                </a:cubicBezTo>
                <a:cubicBezTo>
                  <a:pt x="1436" y="500"/>
                  <a:pt x="1435" y="500"/>
                  <a:pt x="1433" y="501"/>
                </a:cubicBezTo>
                <a:cubicBezTo>
                  <a:pt x="1431" y="502"/>
                  <a:pt x="1429" y="503"/>
                  <a:pt x="1428" y="503"/>
                </a:cubicBezTo>
                <a:cubicBezTo>
                  <a:pt x="1428" y="503"/>
                  <a:pt x="1428" y="503"/>
                  <a:pt x="1428" y="513"/>
                </a:cubicBezTo>
                <a:cubicBezTo>
                  <a:pt x="1431" y="513"/>
                  <a:pt x="1434" y="511"/>
                  <a:pt x="1436" y="511"/>
                </a:cubicBezTo>
                <a:cubicBezTo>
                  <a:pt x="1438" y="510"/>
                  <a:pt x="1441" y="508"/>
                  <a:pt x="1442" y="507"/>
                </a:cubicBezTo>
                <a:cubicBezTo>
                  <a:pt x="1442" y="507"/>
                  <a:pt x="1442" y="507"/>
                  <a:pt x="1442" y="566"/>
                </a:cubicBezTo>
                <a:cubicBezTo>
                  <a:pt x="1442" y="566"/>
                  <a:pt x="1442" y="566"/>
                  <a:pt x="1454" y="566"/>
                </a:cubicBezTo>
                <a:cubicBezTo>
                  <a:pt x="1454" y="566"/>
                  <a:pt x="1454" y="566"/>
                  <a:pt x="1454" y="492"/>
                </a:cubicBezTo>
                <a:close/>
                <a:moveTo>
                  <a:pt x="212" y="492"/>
                </a:moveTo>
                <a:cubicBezTo>
                  <a:pt x="212" y="492"/>
                  <a:pt x="212" y="492"/>
                  <a:pt x="212" y="492"/>
                </a:cubicBezTo>
                <a:cubicBezTo>
                  <a:pt x="206" y="492"/>
                  <a:pt x="206" y="492"/>
                  <a:pt x="206" y="492"/>
                </a:cubicBezTo>
                <a:cubicBezTo>
                  <a:pt x="204" y="494"/>
                  <a:pt x="203" y="495"/>
                  <a:pt x="201" y="496"/>
                </a:cubicBezTo>
                <a:cubicBezTo>
                  <a:pt x="199" y="497"/>
                  <a:pt x="197" y="498"/>
                  <a:pt x="196" y="499"/>
                </a:cubicBezTo>
                <a:cubicBezTo>
                  <a:pt x="194" y="500"/>
                  <a:pt x="192" y="501"/>
                  <a:pt x="190" y="502"/>
                </a:cubicBezTo>
                <a:cubicBezTo>
                  <a:pt x="188" y="503"/>
                  <a:pt x="187" y="503"/>
                  <a:pt x="185" y="503"/>
                </a:cubicBezTo>
                <a:cubicBezTo>
                  <a:pt x="185" y="503"/>
                  <a:pt x="185" y="503"/>
                  <a:pt x="185" y="513"/>
                </a:cubicBezTo>
                <a:cubicBezTo>
                  <a:pt x="188" y="513"/>
                  <a:pt x="190" y="512"/>
                  <a:pt x="193" y="511"/>
                </a:cubicBezTo>
                <a:cubicBezTo>
                  <a:pt x="196" y="510"/>
                  <a:pt x="198" y="508"/>
                  <a:pt x="200" y="507"/>
                </a:cubicBezTo>
                <a:cubicBezTo>
                  <a:pt x="200" y="507"/>
                  <a:pt x="200" y="507"/>
                  <a:pt x="200" y="566"/>
                </a:cubicBezTo>
                <a:cubicBezTo>
                  <a:pt x="200" y="566"/>
                  <a:pt x="200" y="566"/>
                  <a:pt x="212" y="566"/>
                </a:cubicBezTo>
                <a:cubicBezTo>
                  <a:pt x="212" y="566"/>
                  <a:pt x="212" y="566"/>
                  <a:pt x="212" y="492"/>
                </a:cubicBezTo>
                <a:close/>
                <a:moveTo>
                  <a:pt x="258" y="492"/>
                </a:moveTo>
                <a:cubicBezTo>
                  <a:pt x="258" y="492"/>
                  <a:pt x="258" y="492"/>
                  <a:pt x="258" y="492"/>
                </a:cubicBezTo>
                <a:cubicBezTo>
                  <a:pt x="253" y="492"/>
                  <a:pt x="253" y="492"/>
                  <a:pt x="253" y="492"/>
                </a:cubicBezTo>
                <a:cubicBezTo>
                  <a:pt x="252" y="494"/>
                  <a:pt x="249" y="495"/>
                  <a:pt x="248" y="496"/>
                </a:cubicBezTo>
                <a:cubicBezTo>
                  <a:pt x="246" y="497"/>
                  <a:pt x="244" y="498"/>
                  <a:pt x="242" y="499"/>
                </a:cubicBezTo>
                <a:cubicBezTo>
                  <a:pt x="241" y="500"/>
                  <a:pt x="238" y="501"/>
                  <a:pt x="237" y="502"/>
                </a:cubicBezTo>
                <a:cubicBezTo>
                  <a:pt x="235" y="503"/>
                  <a:pt x="233" y="503"/>
                  <a:pt x="231" y="503"/>
                </a:cubicBezTo>
                <a:cubicBezTo>
                  <a:pt x="231" y="503"/>
                  <a:pt x="231" y="503"/>
                  <a:pt x="231" y="513"/>
                </a:cubicBezTo>
                <a:cubicBezTo>
                  <a:pt x="234" y="513"/>
                  <a:pt x="237" y="512"/>
                  <a:pt x="240" y="511"/>
                </a:cubicBezTo>
                <a:cubicBezTo>
                  <a:pt x="242" y="510"/>
                  <a:pt x="244" y="508"/>
                  <a:pt x="246" y="507"/>
                </a:cubicBezTo>
                <a:cubicBezTo>
                  <a:pt x="246" y="507"/>
                  <a:pt x="246" y="507"/>
                  <a:pt x="246" y="566"/>
                </a:cubicBezTo>
                <a:cubicBezTo>
                  <a:pt x="246" y="566"/>
                  <a:pt x="246" y="566"/>
                  <a:pt x="258" y="566"/>
                </a:cubicBezTo>
                <a:cubicBezTo>
                  <a:pt x="258" y="566"/>
                  <a:pt x="258" y="566"/>
                  <a:pt x="258" y="492"/>
                </a:cubicBezTo>
                <a:close/>
                <a:moveTo>
                  <a:pt x="304" y="492"/>
                </a:moveTo>
                <a:cubicBezTo>
                  <a:pt x="304" y="492"/>
                  <a:pt x="304" y="492"/>
                  <a:pt x="304" y="492"/>
                </a:cubicBezTo>
                <a:cubicBezTo>
                  <a:pt x="300" y="492"/>
                  <a:pt x="300" y="492"/>
                  <a:pt x="300" y="492"/>
                </a:cubicBezTo>
                <a:cubicBezTo>
                  <a:pt x="298" y="494"/>
                  <a:pt x="296" y="495"/>
                  <a:pt x="294" y="496"/>
                </a:cubicBezTo>
                <a:cubicBezTo>
                  <a:pt x="293" y="497"/>
                  <a:pt x="290" y="498"/>
                  <a:pt x="289" y="499"/>
                </a:cubicBezTo>
                <a:cubicBezTo>
                  <a:pt x="287" y="500"/>
                  <a:pt x="285" y="500"/>
                  <a:pt x="283" y="501"/>
                </a:cubicBezTo>
                <a:cubicBezTo>
                  <a:pt x="282" y="502"/>
                  <a:pt x="280" y="503"/>
                  <a:pt x="278" y="503"/>
                </a:cubicBezTo>
                <a:cubicBezTo>
                  <a:pt x="278" y="503"/>
                  <a:pt x="278" y="503"/>
                  <a:pt x="278" y="513"/>
                </a:cubicBezTo>
                <a:cubicBezTo>
                  <a:pt x="281" y="513"/>
                  <a:pt x="284" y="511"/>
                  <a:pt x="286" y="511"/>
                </a:cubicBezTo>
                <a:cubicBezTo>
                  <a:pt x="288" y="510"/>
                  <a:pt x="291" y="508"/>
                  <a:pt x="293" y="507"/>
                </a:cubicBezTo>
                <a:cubicBezTo>
                  <a:pt x="293" y="507"/>
                  <a:pt x="293" y="507"/>
                  <a:pt x="293" y="566"/>
                </a:cubicBezTo>
                <a:cubicBezTo>
                  <a:pt x="293" y="566"/>
                  <a:pt x="293" y="566"/>
                  <a:pt x="304" y="566"/>
                </a:cubicBezTo>
                <a:cubicBezTo>
                  <a:pt x="304" y="566"/>
                  <a:pt x="304" y="566"/>
                  <a:pt x="304" y="492"/>
                </a:cubicBezTo>
                <a:close/>
                <a:moveTo>
                  <a:pt x="440" y="525"/>
                </a:moveTo>
                <a:cubicBezTo>
                  <a:pt x="440" y="525"/>
                  <a:pt x="440" y="525"/>
                  <a:pt x="440" y="525"/>
                </a:cubicBezTo>
                <a:cubicBezTo>
                  <a:pt x="440" y="533"/>
                  <a:pt x="440" y="533"/>
                  <a:pt x="440" y="533"/>
                </a:cubicBezTo>
                <a:cubicBezTo>
                  <a:pt x="446" y="533"/>
                  <a:pt x="447" y="536"/>
                  <a:pt x="447" y="539"/>
                </a:cubicBezTo>
                <a:cubicBezTo>
                  <a:pt x="447" y="541"/>
                  <a:pt x="447" y="543"/>
                  <a:pt x="447" y="546"/>
                </a:cubicBezTo>
                <a:cubicBezTo>
                  <a:pt x="446" y="549"/>
                  <a:pt x="446" y="551"/>
                  <a:pt x="446" y="553"/>
                </a:cubicBezTo>
                <a:cubicBezTo>
                  <a:pt x="446" y="562"/>
                  <a:pt x="452" y="566"/>
                  <a:pt x="461" y="566"/>
                </a:cubicBezTo>
                <a:cubicBezTo>
                  <a:pt x="461" y="566"/>
                  <a:pt x="461" y="566"/>
                  <a:pt x="464" y="566"/>
                </a:cubicBezTo>
                <a:cubicBezTo>
                  <a:pt x="464" y="566"/>
                  <a:pt x="464" y="566"/>
                  <a:pt x="464" y="557"/>
                </a:cubicBezTo>
                <a:cubicBezTo>
                  <a:pt x="464" y="557"/>
                  <a:pt x="464" y="557"/>
                  <a:pt x="463" y="557"/>
                </a:cubicBezTo>
                <a:cubicBezTo>
                  <a:pt x="459" y="557"/>
                  <a:pt x="458" y="554"/>
                  <a:pt x="458" y="551"/>
                </a:cubicBezTo>
                <a:cubicBezTo>
                  <a:pt x="458" y="549"/>
                  <a:pt x="458" y="548"/>
                  <a:pt x="458" y="546"/>
                </a:cubicBezTo>
                <a:cubicBezTo>
                  <a:pt x="458" y="544"/>
                  <a:pt x="459" y="542"/>
                  <a:pt x="459" y="540"/>
                </a:cubicBezTo>
                <a:cubicBezTo>
                  <a:pt x="459" y="533"/>
                  <a:pt x="456" y="530"/>
                  <a:pt x="450" y="529"/>
                </a:cubicBezTo>
                <a:cubicBezTo>
                  <a:pt x="450" y="529"/>
                  <a:pt x="450" y="529"/>
                  <a:pt x="450" y="528"/>
                </a:cubicBezTo>
                <a:cubicBezTo>
                  <a:pt x="456" y="527"/>
                  <a:pt x="459" y="525"/>
                  <a:pt x="459" y="518"/>
                </a:cubicBezTo>
                <a:cubicBezTo>
                  <a:pt x="459" y="515"/>
                  <a:pt x="458" y="513"/>
                  <a:pt x="458" y="511"/>
                </a:cubicBezTo>
                <a:cubicBezTo>
                  <a:pt x="458" y="510"/>
                  <a:pt x="458" y="508"/>
                  <a:pt x="458" y="507"/>
                </a:cubicBezTo>
                <a:cubicBezTo>
                  <a:pt x="458" y="503"/>
                  <a:pt x="459" y="501"/>
                  <a:pt x="463" y="501"/>
                </a:cubicBezTo>
                <a:cubicBezTo>
                  <a:pt x="463" y="501"/>
                  <a:pt x="463" y="501"/>
                  <a:pt x="464" y="501"/>
                </a:cubicBezTo>
                <a:cubicBezTo>
                  <a:pt x="464" y="501"/>
                  <a:pt x="464" y="501"/>
                  <a:pt x="464" y="491"/>
                </a:cubicBezTo>
                <a:cubicBezTo>
                  <a:pt x="464" y="491"/>
                  <a:pt x="464" y="491"/>
                  <a:pt x="461" y="491"/>
                </a:cubicBezTo>
                <a:cubicBezTo>
                  <a:pt x="452" y="491"/>
                  <a:pt x="446" y="496"/>
                  <a:pt x="446" y="504"/>
                </a:cubicBezTo>
                <a:cubicBezTo>
                  <a:pt x="446" y="506"/>
                  <a:pt x="446" y="509"/>
                  <a:pt x="446" y="512"/>
                </a:cubicBezTo>
                <a:cubicBezTo>
                  <a:pt x="447" y="514"/>
                  <a:pt x="447" y="516"/>
                  <a:pt x="447" y="518"/>
                </a:cubicBezTo>
                <a:cubicBezTo>
                  <a:pt x="447" y="521"/>
                  <a:pt x="446" y="524"/>
                  <a:pt x="440" y="525"/>
                </a:cubicBezTo>
                <a:close/>
                <a:moveTo>
                  <a:pt x="495" y="533"/>
                </a:moveTo>
                <a:cubicBezTo>
                  <a:pt x="495" y="533"/>
                  <a:pt x="495" y="533"/>
                  <a:pt x="495" y="533"/>
                </a:cubicBezTo>
                <a:cubicBezTo>
                  <a:pt x="495" y="525"/>
                  <a:pt x="495" y="525"/>
                  <a:pt x="495" y="525"/>
                </a:cubicBezTo>
                <a:cubicBezTo>
                  <a:pt x="489" y="524"/>
                  <a:pt x="489" y="521"/>
                  <a:pt x="489" y="518"/>
                </a:cubicBezTo>
                <a:cubicBezTo>
                  <a:pt x="489" y="516"/>
                  <a:pt x="489" y="514"/>
                  <a:pt x="489" y="512"/>
                </a:cubicBezTo>
                <a:cubicBezTo>
                  <a:pt x="489" y="509"/>
                  <a:pt x="489" y="506"/>
                  <a:pt x="489" y="504"/>
                </a:cubicBezTo>
                <a:cubicBezTo>
                  <a:pt x="489" y="496"/>
                  <a:pt x="484" y="491"/>
                  <a:pt x="475" y="491"/>
                </a:cubicBezTo>
                <a:cubicBezTo>
                  <a:pt x="475" y="491"/>
                  <a:pt x="475" y="491"/>
                  <a:pt x="471" y="491"/>
                </a:cubicBezTo>
                <a:cubicBezTo>
                  <a:pt x="471" y="491"/>
                  <a:pt x="471" y="491"/>
                  <a:pt x="471" y="501"/>
                </a:cubicBezTo>
                <a:cubicBezTo>
                  <a:pt x="471" y="501"/>
                  <a:pt x="471" y="501"/>
                  <a:pt x="473" y="501"/>
                </a:cubicBezTo>
                <a:cubicBezTo>
                  <a:pt x="476" y="501"/>
                  <a:pt x="478" y="503"/>
                  <a:pt x="478" y="507"/>
                </a:cubicBezTo>
                <a:cubicBezTo>
                  <a:pt x="478" y="508"/>
                  <a:pt x="477" y="510"/>
                  <a:pt x="477" y="511"/>
                </a:cubicBezTo>
                <a:cubicBezTo>
                  <a:pt x="477" y="513"/>
                  <a:pt x="477" y="515"/>
                  <a:pt x="477" y="518"/>
                </a:cubicBezTo>
                <a:cubicBezTo>
                  <a:pt x="477" y="525"/>
                  <a:pt x="480" y="527"/>
                  <a:pt x="486" y="528"/>
                </a:cubicBezTo>
                <a:cubicBezTo>
                  <a:pt x="486" y="528"/>
                  <a:pt x="486" y="528"/>
                  <a:pt x="486" y="529"/>
                </a:cubicBezTo>
                <a:cubicBezTo>
                  <a:pt x="480" y="530"/>
                  <a:pt x="477" y="533"/>
                  <a:pt x="477" y="540"/>
                </a:cubicBezTo>
                <a:cubicBezTo>
                  <a:pt x="477" y="542"/>
                  <a:pt x="477" y="544"/>
                  <a:pt x="477" y="546"/>
                </a:cubicBezTo>
                <a:cubicBezTo>
                  <a:pt x="477" y="548"/>
                  <a:pt x="478" y="549"/>
                  <a:pt x="478" y="551"/>
                </a:cubicBezTo>
                <a:cubicBezTo>
                  <a:pt x="478" y="554"/>
                  <a:pt x="477" y="557"/>
                  <a:pt x="473" y="557"/>
                </a:cubicBezTo>
                <a:cubicBezTo>
                  <a:pt x="473" y="557"/>
                  <a:pt x="473" y="557"/>
                  <a:pt x="471" y="557"/>
                </a:cubicBezTo>
                <a:cubicBezTo>
                  <a:pt x="471" y="557"/>
                  <a:pt x="471" y="557"/>
                  <a:pt x="471" y="566"/>
                </a:cubicBezTo>
                <a:cubicBezTo>
                  <a:pt x="471" y="566"/>
                  <a:pt x="471" y="566"/>
                  <a:pt x="475" y="566"/>
                </a:cubicBezTo>
                <a:cubicBezTo>
                  <a:pt x="484" y="566"/>
                  <a:pt x="489" y="562"/>
                  <a:pt x="489" y="553"/>
                </a:cubicBezTo>
                <a:cubicBezTo>
                  <a:pt x="489" y="551"/>
                  <a:pt x="489" y="549"/>
                  <a:pt x="489" y="546"/>
                </a:cubicBezTo>
                <a:cubicBezTo>
                  <a:pt x="489" y="543"/>
                  <a:pt x="489" y="541"/>
                  <a:pt x="489" y="539"/>
                </a:cubicBezTo>
                <a:cubicBezTo>
                  <a:pt x="489" y="536"/>
                  <a:pt x="489" y="533"/>
                  <a:pt x="495" y="533"/>
                </a:cubicBezTo>
                <a:close/>
                <a:moveTo>
                  <a:pt x="542" y="492"/>
                </a:moveTo>
                <a:cubicBezTo>
                  <a:pt x="542" y="492"/>
                  <a:pt x="542" y="492"/>
                  <a:pt x="542" y="492"/>
                </a:cubicBezTo>
                <a:cubicBezTo>
                  <a:pt x="537" y="492"/>
                  <a:pt x="537" y="492"/>
                  <a:pt x="537" y="492"/>
                </a:cubicBezTo>
                <a:cubicBezTo>
                  <a:pt x="535" y="494"/>
                  <a:pt x="533" y="495"/>
                  <a:pt x="531" y="496"/>
                </a:cubicBezTo>
                <a:cubicBezTo>
                  <a:pt x="530" y="497"/>
                  <a:pt x="527" y="498"/>
                  <a:pt x="526" y="499"/>
                </a:cubicBezTo>
                <a:cubicBezTo>
                  <a:pt x="524" y="500"/>
                  <a:pt x="522" y="500"/>
                  <a:pt x="521" y="501"/>
                </a:cubicBezTo>
                <a:cubicBezTo>
                  <a:pt x="519" y="502"/>
                  <a:pt x="517" y="503"/>
                  <a:pt x="515" y="503"/>
                </a:cubicBezTo>
                <a:cubicBezTo>
                  <a:pt x="515" y="503"/>
                  <a:pt x="515" y="503"/>
                  <a:pt x="515" y="513"/>
                </a:cubicBezTo>
                <a:cubicBezTo>
                  <a:pt x="518" y="513"/>
                  <a:pt x="521" y="511"/>
                  <a:pt x="523" y="511"/>
                </a:cubicBezTo>
                <a:cubicBezTo>
                  <a:pt x="526" y="510"/>
                  <a:pt x="528" y="508"/>
                  <a:pt x="530" y="507"/>
                </a:cubicBezTo>
                <a:cubicBezTo>
                  <a:pt x="530" y="507"/>
                  <a:pt x="530" y="507"/>
                  <a:pt x="530" y="566"/>
                </a:cubicBezTo>
                <a:cubicBezTo>
                  <a:pt x="530" y="566"/>
                  <a:pt x="530" y="566"/>
                  <a:pt x="542" y="566"/>
                </a:cubicBezTo>
                <a:cubicBezTo>
                  <a:pt x="542" y="566"/>
                  <a:pt x="542" y="566"/>
                  <a:pt x="542" y="492"/>
                </a:cubicBezTo>
                <a:close/>
                <a:moveTo>
                  <a:pt x="588" y="492"/>
                </a:moveTo>
                <a:cubicBezTo>
                  <a:pt x="588" y="492"/>
                  <a:pt x="588" y="492"/>
                  <a:pt x="588" y="492"/>
                </a:cubicBezTo>
                <a:cubicBezTo>
                  <a:pt x="583" y="492"/>
                  <a:pt x="583" y="492"/>
                  <a:pt x="583" y="492"/>
                </a:cubicBezTo>
                <a:cubicBezTo>
                  <a:pt x="581" y="494"/>
                  <a:pt x="580" y="495"/>
                  <a:pt x="578" y="496"/>
                </a:cubicBezTo>
                <a:cubicBezTo>
                  <a:pt x="576" y="497"/>
                  <a:pt x="574" y="498"/>
                  <a:pt x="573" y="499"/>
                </a:cubicBezTo>
                <a:cubicBezTo>
                  <a:pt x="571" y="500"/>
                  <a:pt x="569" y="501"/>
                  <a:pt x="568" y="502"/>
                </a:cubicBezTo>
                <a:cubicBezTo>
                  <a:pt x="566" y="503"/>
                  <a:pt x="564" y="503"/>
                  <a:pt x="562" y="503"/>
                </a:cubicBezTo>
                <a:cubicBezTo>
                  <a:pt x="562" y="503"/>
                  <a:pt x="562" y="503"/>
                  <a:pt x="562" y="513"/>
                </a:cubicBezTo>
                <a:cubicBezTo>
                  <a:pt x="565" y="513"/>
                  <a:pt x="568" y="512"/>
                  <a:pt x="570" y="511"/>
                </a:cubicBezTo>
                <a:cubicBezTo>
                  <a:pt x="573" y="510"/>
                  <a:pt x="575" y="508"/>
                  <a:pt x="577" y="507"/>
                </a:cubicBezTo>
                <a:cubicBezTo>
                  <a:pt x="577" y="507"/>
                  <a:pt x="577" y="507"/>
                  <a:pt x="577" y="566"/>
                </a:cubicBezTo>
                <a:cubicBezTo>
                  <a:pt x="577" y="566"/>
                  <a:pt x="577" y="566"/>
                  <a:pt x="588" y="566"/>
                </a:cubicBezTo>
                <a:cubicBezTo>
                  <a:pt x="588" y="566"/>
                  <a:pt x="588" y="566"/>
                  <a:pt x="588" y="492"/>
                </a:cubicBezTo>
                <a:close/>
                <a:moveTo>
                  <a:pt x="634" y="492"/>
                </a:moveTo>
                <a:cubicBezTo>
                  <a:pt x="634" y="492"/>
                  <a:pt x="634" y="492"/>
                  <a:pt x="634" y="492"/>
                </a:cubicBezTo>
                <a:cubicBezTo>
                  <a:pt x="630" y="492"/>
                  <a:pt x="630" y="492"/>
                  <a:pt x="630" y="492"/>
                </a:cubicBezTo>
                <a:cubicBezTo>
                  <a:pt x="627" y="494"/>
                  <a:pt x="626" y="495"/>
                  <a:pt x="624" y="496"/>
                </a:cubicBezTo>
                <a:cubicBezTo>
                  <a:pt x="622" y="497"/>
                  <a:pt x="620" y="498"/>
                  <a:pt x="619" y="499"/>
                </a:cubicBezTo>
                <a:cubicBezTo>
                  <a:pt x="617" y="500"/>
                  <a:pt x="615" y="501"/>
                  <a:pt x="613" y="502"/>
                </a:cubicBezTo>
                <a:cubicBezTo>
                  <a:pt x="612" y="503"/>
                  <a:pt x="609" y="503"/>
                  <a:pt x="608" y="503"/>
                </a:cubicBezTo>
                <a:cubicBezTo>
                  <a:pt x="608" y="503"/>
                  <a:pt x="608" y="503"/>
                  <a:pt x="608" y="513"/>
                </a:cubicBezTo>
                <a:cubicBezTo>
                  <a:pt x="611" y="513"/>
                  <a:pt x="614" y="512"/>
                  <a:pt x="616" y="511"/>
                </a:cubicBezTo>
                <a:cubicBezTo>
                  <a:pt x="618" y="510"/>
                  <a:pt x="621" y="508"/>
                  <a:pt x="622" y="507"/>
                </a:cubicBezTo>
                <a:cubicBezTo>
                  <a:pt x="622" y="507"/>
                  <a:pt x="622" y="507"/>
                  <a:pt x="622" y="566"/>
                </a:cubicBezTo>
                <a:cubicBezTo>
                  <a:pt x="622" y="566"/>
                  <a:pt x="622" y="566"/>
                  <a:pt x="634" y="566"/>
                </a:cubicBezTo>
                <a:cubicBezTo>
                  <a:pt x="634" y="566"/>
                  <a:pt x="634" y="566"/>
                  <a:pt x="634" y="492"/>
                </a:cubicBezTo>
                <a:close/>
                <a:moveTo>
                  <a:pt x="384" y="540"/>
                </a:moveTo>
                <a:cubicBezTo>
                  <a:pt x="384" y="541"/>
                  <a:pt x="385" y="542"/>
                  <a:pt x="385" y="544"/>
                </a:cubicBezTo>
                <a:cubicBezTo>
                  <a:pt x="386" y="546"/>
                  <a:pt x="386" y="548"/>
                  <a:pt x="387" y="549"/>
                </a:cubicBezTo>
                <a:cubicBezTo>
                  <a:pt x="387" y="551"/>
                  <a:pt x="387" y="552"/>
                  <a:pt x="387" y="554"/>
                </a:cubicBezTo>
                <a:cubicBezTo>
                  <a:pt x="388" y="557"/>
                  <a:pt x="387" y="559"/>
                  <a:pt x="383" y="559"/>
                </a:cubicBezTo>
                <a:cubicBezTo>
                  <a:pt x="381" y="559"/>
                  <a:pt x="378" y="558"/>
                  <a:pt x="375" y="558"/>
                </a:cubicBezTo>
                <a:cubicBezTo>
                  <a:pt x="375" y="558"/>
                  <a:pt x="374" y="558"/>
                  <a:pt x="374" y="559"/>
                </a:cubicBezTo>
                <a:cubicBezTo>
                  <a:pt x="372" y="560"/>
                  <a:pt x="371" y="561"/>
                  <a:pt x="369" y="563"/>
                </a:cubicBezTo>
                <a:cubicBezTo>
                  <a:pt x="367" y="565"/>
                  <a:pt x="364" y="566"/>
                  <a:pt x="362" y="564"/>
                </a:cubicBezTo>
                <a:cubicBezTo>
                  <a:pt x="360" y="561"/>
                  <a:pt x="359" y="559"/>
                  <a:pt x="357" y="556"/>
                </a:cubicBezTo>
                <a:cubicBezTo>
                  <a:pt x="356" y="555"/>
                  <a:pt x="357" y="553"/>
                  <a:pt x="359" y="552"/>
                </a:cubicBezTo>
                <a:cubicBezTo>
                  <a:pt x="356" y="552"/>
                  <a:pt x="355" y="552"/>
                  <a:pt x="353" y="552"/>
                </a:cubicBezTo>
                <a:cubicBezTo>
                  <a:pt x="352" y="554"/>
                  <a:pt x="351" y="556"/>
                  <a:pt x="351" y="557"/>
                </a:cubicBezTo>
                <a:cubicBezTo>
                  <a:pt x="351" y="558"/>
                  <a:pt x="350" y="559"/>
                  <a:pt x="350" y="560"/>
                </a:cubicBezTo>
                <a:cubicBezTo>
                  <a:pt x="350" y="563"/>
                  <a:pt x="349" y="564"/>
                  <a:pt x="346" y="564"/>
                </a:cubicBezTo>
                <a:cubicBezTo>
                  <a:pt x="343" y="563"/>
                  <a:pt x="340" y="563"/>
                  <a:pt x="337" y="561"/>
                </a:cubicBezTo>
                <a:cubicBezTo>
                  <a:pt x="335" y="561"/>
                  <a:pt x="334" y="559"/>
                  <a:pt x="335" y="557"/>
                </a:cubicBezTo>
                <a:cubicBezTo>
                  <a:pt x="335" y="557"/>
                  <a:pt x="335" y="556"/>
                  <a:pt x="336" y="556"/>
                </a:cubicBezTo>
                <a:cubicBezTo>
                  <a:pt x="333" y="555"/>
                  <a:pt x="331" y="554"/>
                  <a:pt x="329" y="552"/>
                </a:cubicBezTo>
                <a:cubicBezTo>
                  <a:pt x="328" y="552"/>
                  <a:pt x="327" y="550"/>
                  <a:pt x="326" y="548"/>
                </a:cubicBezTo>
                <a:cubicBezTo>
                  <a:pt x="325" y="546"/>
                  <a:pt x="325" y="544"/>
                  <a:pt x="327" y="543"/>
                </a:cubicBezTo>
                <a:cubicBezTo>
                  <a:pt x="330" y="540"/>
                  <a:pt x="331" y="538"/>
                  <a:pt x="330" y="534"/>
                </a:cubicBezTo>
                <a:cubicBezTo>
                  <a:pt x="330" y="532"/>
                  <a:pt x="330" y="529"/>
                  <a:pt x="330" y="528"/>
                </a:cubicBezTo>
                <a:cubicBezTo>
                  <a:pt x="329" y="527"/>
                  <a:pt x="327" y="527"/>
                  <a:pt x="326" y="525"/>
                </a:cubicBezTo>
                <a:cubicBezTo>
                  <a:pt x="325" y="524"/>
                  <a:pt x="324" y="522"/>
                  <a:pt x="324" y="520"/>
                </a:cubicBezTo>
                <a:cubicBezTo>
                  <a:pt x="324" y="517"/>
                  <a:pt x="327" y="514"/>
                  <a:pt x="330" y="514"/>
                </a:cubicBezTo>
                <a:cubicBezTo>
                  <a:pt x="331" y="514"/>
                  <a:pt x="331" y="515"/>
                  <a:pt x="331" y="516"/>
                </a:cubicBezTo>
                <a:cubicBezTo>
                  <a:pt x="331" y="517"/>
                  <a:pt x="331" y="518"/>
                  <a:pt x="331" y="519"/>
                </a:cubicBezTo>
                <a:cubicBezTo>
                  <a:pt x="331" y="519"/>
                  <a:pt x="330" y="519"/>
                  <a:pt x="330" y="519"/>
                </a:cubicBezTo>
                <a:cubicBezTo>
                  <a:pt x="329" y="520"/>
                  <a:pt x="329" y="521"/>
                  <a:pt x="328" y="523"/>
                </a:cubicBezTo>
                <a:cubicBezTo>
                  <a:pt x="329" y="523"/>
                  <a:pt x="330" y="523"/>
                  <a:pt x="331" y="522"/>
                </a:cubicBezTo>
                <a:cubicBezTo>
                  <a:pt x="332" y="521"/>
                  <a:pt x="332" y="520"/>
                  <a:pt x="333" y="519"/>
                </a:cubicBezTo>
                <a:cubicBezTo>
                  <a:pt x="338" y="512"/>
                  <a:pt x="343" y="508"/>
                  <a:pt x="351" y="507"/>
                </a:cubicBezTo>
                <a:cubicBezTo>
                  <a:pt x="354" y="506"/>
                  <a:pt x="358" y="505"/>
                  <a:pt x="360" y="502"/>
                </a:cubicBezTo>
                <a:cubicBezTo>
                  <a:pt x="360" y="502"/>
                  <a:pt x="361" y="502"/>
                  <a:pt x="361" y="502"/>
                </a:cubicBezTo>
                <a:cubicBezTo>
                  <a:pt x="364" y="501"/>
                  <a:pt x="365" y="499"/>
                  <a:pt x="367" y="497"/>
                </a:cubicBezTo>
                <a:cubicBezTo>
                  <a:pt x="375" y="489"/>
                  <a:pt x="387" y="489"/>
                  <a:pt x="394" y="496"/>
                </a:cubicBezTo>
                <a:cubicBezTo>
                  <a:pt x="397" y="498"/>
                  <a:pt x="400" y="500"/>
                  <a:pt x="402" y="502"/>
                </a:cubicBezTo>
                <a:cubicBezTo>
                  <a:pt x="403" y="503"/>
                  <a:pt x="405" y="504"/>
                  <a:pt x="406" y="506"/>
                </a:cubicBezTo>
                <a:cubicBezTo>
                  <a:pt x="407" y="508"/>
                  <a:pt x="407" y="508"/>
                  <a:pt x="409" y="507"/>
                </a:cubicBezTo>
                <a:cubicBezTo>
                  <a:pt x="409" y="506"/>
                  <a:pt x="410" y="506"/>
                  <a:pt x="411" y="505"/>
                </a:cubicBezTo>
                <a:cubicBezTo>
                  <a:pt x="413" y="502"/>
                  <a:pt x="416" y="502"/>
                  <a:pt x="417" y="505"/>
                </a:cubicBezTo>
                <a:cubicBezTo>
                  <a:pt x="418" y="508"/>
                  <a:pt x="419" y="511"/>
                  <a:pt x="420" y="514"/>
                </a:cubicBezTo>
                <a:cubicBezTo>
                  <a:pt x="420" y="519"/>
                  <a:pt x="420" y="523"/>
                  <a:pt x="418" y="527"/>
                </a:cubicBezTo>
                <a:cubicBezTo>
                  <a:pt x="416" y="534"/>
                  <a:pt x="411" y="537"/>
                  <a:pt x="405" y="537"/>
                </a:cubicBezTo>
                <a:cubicBezTo>
                  <a:pt x="404" y="537"/>
                  <a:pt x="403" y="537"/>
                  <a:pt x="403" y="537"/>
                </a:cubicBezTo>
                <a:cubicBezTo>
                  <a:pt x="400" y="537"/>
                  <a:pt x="399" y="537"/>
                  <a:pt x="398" y="540"/>
                </a:cubicBezTo>
                <a:cubicBezTo>
                  <a:pt x="397" y="544"/>
                  <a:pt x="391" y="546"/>
                  <a:pt x="388" y="542"/>
                </a:cubicBezTo>
                <a:cubicBezTo>
                  <a:pt x="387" y="541"/>
                  <a:pt x="386" y="540"/>
                  <a:pt x="385" y="539"/>
                </a:cubicBezTo>
                <a:cubicBezTo>
                  <a:pt x="384" y="540"/>
                  <a:pt x="384" y="540"/>
                  <a:pt x="384" y="540"/>
                </a:cubicBezTo>
                <a:close/>
                <a:moveTo>
                  <a:pt x="378" y="535"/>
                </a:moveTo>
                <a:cubicBezTo>
                  <a:pt x="382" y="537"/>
                  <a:pt x="385" y="538"/>
                  <a:pt x="388" y="541"/>
                </a:cubicBezTo>
                <a:cubicBezTo>
                  <a:pt x="390" y="542"/>
                  <a:pt x="392" y="543"/>
                  <a:pt x="394" y="542"/>
                </a:cubicBezTo>
                <a:cubicBezTo>
                  <a:pt x="396" y="542"/>
                  <a:pt x="398" y="540"/>
                  <a:pt x="398" y="537"/>
                </a:cubicBezTo>
                <a:cubicBezTo>
                  <a:pt x="398" y="537"/>
                  <a:pt x="397" y="537"/>
                  <a:pt x="397" y="537"/>
                </a:cubicBezTo>
                <a:cubicBezTo>
                  <a:pt x="396" y="539"/>
                  <a:pt x="395" y="540"/>
                  <a:pt x="394" y="541"/>
                </a:cubicBezTo>
                <a:cubicBezTo>
                  <a:pt x="393" y="542"/>
                  <a:pt x="392" y="542"/>
                  <a:pt x="391" y="541"/>
                </a:cubicBezTo>
                <a:cubicBezTo>
                  <a:pt x="391" y="541"/>
                  <a:pt x="390" y="540"/>
                  <a:pt x="390" y="539"/>
                </a:cubicBezTo>
                <a:cubicBezTo>
                  <a:pt x="390" y="537"/>
                  <a:pt x="391" y="535"/>
                  <a:pt x="391" y="533"/>
                </a:cubicBezTo>
                <a:cubicBezTo>
                  <a:pt x="394" y="534"/>
                  <a:pt x="397" y="535"/>
                  <a:pt x="401" y="535"/>
                </a:cubicBezTo>
                <a:cubicBezTo>
                  <a:pt x="408" y="537"/>
                  <a:pt x="414" y="535"/>
                  <a:pt x="417" y="526"/>
                </a:cubicBezTo>
                <a:cubicBezTo>
                  <a:pt x="419" y="521"/>
                  <a:pt x="418" y="517"/>
                  <a:pt x="418" y="512"/>
                </a:cubicBezTo>
                <a:cubicBezTo>
                  <a:pt x="417" y="510"/>
                  <a:pt x="416" y="508"/>
                  <a:pt x="416" y="506"/>
                </a:cubicBezTo>
                <a:cubicBezTo>
                  <a:pt x="415" y="504"/>
                  <a:pt x="414" y="504"/>
                  <a:pt x="412" y="506"/>
                </a:cubicBezTo>
                <a:cubicBezTo>
                  <a:pt x="411" y="507"/>
                  <a:pt x="409" y="509"/>
                  <a:pt x="407" y="510"/>
                </a:cubicBezTo>
                <a:cubicBezTo>
                  <a:pt x="407" y="510"/>
                  <a:pt x="406" y="511"/>
                  <a:pt x="406" y="512"/>
                </a:cubicBezTo>
                <a:cubicBezTo>
                  <a:pt x="407" y="515"/>
                  <a:pt x="406" y="518"/>
                  <a:pt x="405" y="521"/>
                </a:cubicBezTo>
                <a:cubicBezTo>
                  <a:pt x="405" y="519"/>
                  <a:pt x="405" y="518"/>
                  <a:pt x="405" y="516"/>
                </a:cubicBezTo>
                <a:cubicBezTo>
                  <a:pt x="405" y="515"/>
                  <a:pt x="405" y="515"/>
                  <a:pt x="405" y="514"/>
                </a:cubicBezTo>
                <a:cubicBezTo>
                  <a:pt x="404" y="515"/>
                  <a:pt x="403" y="515"/>
                  <a:pt x="403" y="515"/>
                </a:cubicBezTo>
                <a:cubicBezTo>
                  <a:pt x="403" y="516"/>
                  <a:pt x="402" y="518"/>
                  <a:pt x="401" y="519"/>
                </a:cubicBezTo>
                <a:cubicBezTo>
                  <a:pt x="401" y="519"/>
                  <a:pt x="401" y="519"/>
                  <a:pt x="401" y="519"/>
                </a:cubicBezTo>
                <a:cubicBezTo>
                  <a:pt x="401" y="518"/>
                  <a:pt x="402" y="516"/>
                  <a:pt x="402" y="514"/>
                </a:cubicBezTo>
                <a:cubicBezTo>
                  <a:pt x="401" y="514"/>
                  <a:pt x="400" y="515"/>
                  <a:pt x="400" y="516"/>
                </a:cubicBezTo>
                <a:cubicBezTo>
                  <a:pt x="399" y="516"/>
                  <a:pt x="399" y="517"/>
                  <a:pt x="398" y="518"/>
                </a:cubicBezTo>
                <a:cubicBezTo>
                  <a:pt x="399" y="514"/>
                  <a:pt x="399" y="514"/>
                  <a:pt x="405" y="513"/>
                </a:cubicBezTo>
                <a:cubicBezTo>
                  <a:pt x="405" y="512"/>
                  <a:pt x="404" y="512"/>
                  <a:pt x="404" y="512"/>
                </a:cubicBezTo>
                <a:cubicBezTo>
                  <a:pt x="401" y="512"/>
                  <a:pt x="400" y="511"/>
                  <a:pt x="400" y="508"/>
                </a:cubicBezTo>
                <a:cubicBezTo>
                  <a:pt x="402" y="508"/>
                  <a:pt x="403" y="508"/>
                  <a:pt x="405" y="507"/>
                </a:cubicBezTo>
                <a:cubicBezTo>
                  <a:pt x="403" y="505"/>
                  <a:pt x="402" y="502"/>
                  <a:pt x="398" y="502"/>
                </a:cubicBezTo>
                <a:cubicBezTo>
                  <a:pt x="398" y="502"/>
                  <a:pt x="398" y="501"/>
                  <a:pt x="398" y="501"/>
                </a:cubicBezTo>
                <a:cubicBezTo>
                  <a:pt x="395" y="499"/>
                  <a:pt x="393" y="497"/>
                  <a:pt x="390" y="495"/>
                </a:cubicBezTo>
                <a:cubicBezTo>
                  <a:pt x="388" y="493"/>
                  <a:pt x="385" y="493"/>
                  <a:pt x="383" y="493"/>
                </a:cubicBezTo>
                <a:cubicBezTo>
                  <a:pt x="380" y="493"/>
                  <a:pt x="376" y="494"/>
                  <a:pt x="373" y="495"/>
                </a:cubicBezTo>
                <a:cubicBezTo>
                  <a:pt x="371" y="496"/>
                  <a:pt x="368" y="498"/>
                  <a:pt x="366" y="501"/>
                </a:cubicBezTo>
                <a:cubicBezTo>
                  <a:pt x="368" y="501"/>
                  <a:pt x="369" y="501"/>
                  <a:pt x="370" y="501"/>
                </a:cubicBezTo>
                <a:cubicBezTo>
                  <a:pt x="370" y="501"/>
                  <a:pt x="369" y="502"/>
                  <a:pt x="368" y="502"/>
                </a:cubicBezTo>
                <a:cubicBezTo>
                  <a:pt x="366" y="502"/>
                  <a:pt x="363" y="502"/>
                  <a:pt x="361" y="504"/>
                </a:cubicBezTo>
                <a:cubicBezTo>
                  <a:pt x="358" y="508"/>
                  <a:pt x="354" y="512"/>
                  <a:pt x="350" y="516"/>
                </a:cubicBezTo>
                <a:cubicBezTo>
                  <a:pt x="349" y="518"/>
                  <a:pt x="348" y="520"/>
                  <a:pt x="347" y="523"/>
                </a:cubicBezTo>
                <a:cubicBezTo>
                  <a:pt x="347" y="523"/>
                  <a:pt x="347" y="524"/>
                  <a:pt x="347" y="524"/>
                </a:cubicBezTo>
                <a:cubicBezTo>
                  <a:pt x="348" y="526"/>
                  <a:pt x="349" y="528"/>
                  <a:pt x="351" y="530"/>
                </a:cubicBezTo>
                <a:cubicBezTo>
                  <a:pt x="352" y="529"/>
                  <a:pt x="353" y="527"/>
                  <a:pt x="354" y="526"/>
                </a:cubicBezTo>
                <a:cubicBezTo>
                  <a:pt x="354" y="527"/>
                  <a:pt x="354" y="528"/>
                  <a:pt x="353" y="530"/>
                </a:cubicBezTo>
                <a:cubicBezTo>
                  <a:pt x="352" y="531"/>
                  <a:pt x="351" y="532"/>
                  <a:pt x="351" y="534"/>
                </a:cubicBezTo>
                <a:cubicBezTo>
                  <a:pt x="351" y="535"/>
                  <a:pt x="351" y="536"/>
                  <a:pt x="351" y="537"/>
                </a:cubicBezTo>
                <a:cubicBezTo>
                  <a:pt x="354" y="540"/>
                  <a:pt x="357" y="540"/>
                  <a:pt x="361" y="538"/>
                </a:cubicBezTo>
                <a:cubicBezTo>
                  <a:pt x="363" y="537"/>
                  <a:pt x="366" y="535"/>
                  <a:pt x="369" y="535"/>
                </a:cubicBezTo>
                <a:cubicBezTo>
                  <a:pt x="370" y="534"/>
                  <a:pt x="371" y="533"/>
                  <a:pt x="371" y="532"/>
                </a:cubicBezTo>
                <a:cubicBezTo>
                  <a:pt x="371" y="529"/>
                  <a:pt x="371" y="525"/>
                  <a:pt x="371" y="522"/>
                </a:cubicBezTo>
                <a:cubicBezTo>
                  <a:pt x="371" y="519"/>
                  <a:pt x="371" y="516"/>
                  <a:pt x="371" y="513"/>
                </a:cubicBezTo>
                <a:cubicBezTo>
                  <a:pt x="372" y="516"/>
                  <a:pt x="372" y="518"/>
                  <a:pt x="373" y="521"/>
                </a:cubicBezTo>
                <a:cubicBezTo>
                  <a:pt x="374" y="525"/>
                  <a:pt x="374" y="530"/>
                  <a:pt x="372" y="534"/>
                </a:cubicBezTo>
                <a:cubicBezTo>
                  <a:pt x="372" y="535"/>
                  <a:pt x="371" y="536"/>
                  <a:pt x="371" y="536"/>
                </a:cubicBezTo>
                <a:cubicBezTo>
                  <a:pt x="367" y="536"/>
                  <a:pt x="364" y="538"/>
                  <a:pt x="361" y="540"/>
                </a:cubicBezTo>
                <a:cubicBezTo>
                  <a:pt x="356" y="543"/>
                  <a:pt x="352" y="541"/>
                  <a:pt x="349" y="537"/>
                </a:cubicBezTo>
                <a:cubicBezTo>
                  <a:pt x="349" y="537"/>
                  <a:pt x="349" y="535"/>
                  <a:pt x="349" y="535"/>
                </a:cubicBezTo>
                <a:cubicBezTo>
                  <a:pt x="350" y="533"/>
                  <a:pt x="349" y="531"/>
                  <a:pt x="347" y="529"/>
                </a:cubicBezTo>
                <a:cubicBezTo>
                  <a:pt x="346" y="527"/>
                  <a:pt x="344" y="524"/>
                  <a:pt x="345" y="521"/>
                </a:cubicBezTo>
                <a:cubicBezTo>
                  <a:pt x="346" y="519"/>
                  <a:pt x="347" y="518"/>
                  <a:pt x="348" y="516"/>
                </a:cubicBezTo>
                <a:cubicBezTo>
                  <a:pt x="350" y="514"/>
                  <a:pt x="352" y="511"/>
                  <a:pt x="354" y="508"/>
                </a:cubicBezTo>
                <a:cubicBezTo>
                  <a:pt x="354" y="508"/>
                  <a:pt x="353" y="508"/>
                  <a:pt x="353" y="508"/>
                </a:cubicBezTo>
                <a:cubicBezTo>
                  <a:pt x="348" y="510"/>
                  <a:pt x="343" y="511"/>
                  <a:pt x="340" y="514"/>
                </a:cubicBezTo>
                <a:cubicBezTo>
                  <a:pt x="335" y="519"/>
                  <a:pt x="332" y="524"/>
                  <a:pt x="332" y="531"/>
                </a:cubicBezTo>
                <a:cubicBezTo>
                  <a:pt x="331" y="537"/>
                  <a:pt x="334" y="543"/>
                  <a:pt x="337" y="549"/>
                </a:cubicBezTo>
                <a:cubicBezTo>
                  <a:pt x="338" y="550"/>
                  <a:pt x="338" y="552"/>
                  <a:pt x="338" y="553"/>
                </a:cubicBezTo>
                <a:cubicBezTo>
                  <a:pt x="338" y="554"/>
                  <a:pt x="338" y="556"/>
                  <a:pt x="337" y="557"/>
                </a:cubicBezTo>
                <a:cubicBezTo>
                  <a:pt x="336" y="559"/>
                  <a:pt x="337" y="560"/>
                  <a:pt x="338" y="560"/>
                </a:cubicBezTo>
                <a:cubicBezTo>
                  <a:pt x="341" y="561"/>
                  <a:pt x="344" y="561"/>
                  <a:pt x="347" y="562"/>
                </a:cubicBezTo>
                <a:cubicBezTo>
                  <a:pt x="347" y="562"/>
                  <a:pt x="348" y="561"/>
                  <a:pt x="348" y="561"/>
                </a:cubicBezTo>
                <a:cubicBezTo>
                  <a:pt x="349" y="559"/>
                  <a:pt x="349" y="558"/>
                  <a:pt x="349" y="557"/>
                </a:cubicBezTo>
                <a:cubicBezTo>
                  <a:pt x="351" y="555"/>
                  <a:pt x="351" y="552"/>
                  <a:pt x="351" y="549"/>
                </a:cubicBezTo>
                <a:cubicBezTo>
                  <a:pt x="351" y="549"/>
                  <a:pt x="351" y="548"/>
                  <a:pt x="351" y="548"/>
                </a:cubicBezTo>
                <a:cubicBezTo>
                  <a:pt x="351" y="548"/>
                  <a:pt x="351" y="548"/>
                  <a:pt x="351" y="547"/>
                </a:cubicBezTo>
                <a:cubicBezTo>
                  <a:pt x="352" y="550"/>
                  <a:pt x="353" y="550"/>
                  <a:pt x="355" y="550"/>
                </a:cubicBezTo>
                <a:cubicBezTo>
                  <a:pt x="356" y="550"/>
                  <a:pt x="357" y="550"/>
                  <a:pt x="358" y="550"/>
                </a:cubicBezTo>
                <a:cubicBezTo>
                  <a:pt x="360" y="550"/>
                  <a:pt x="363" y="551"/>
                  <a:pt x="364" y="546"/>
                </a:cubicBezTo>
                <a:cubicBezTo>
                  <a:pt x="364" y="549"/>
                  <a:pt x="364" y="550"/>
                  <a:pt x="364" y="551"/>
                </a:cubicBezTo>
                <a:cubicBezTo>
                  <a:pt x="363" y="552"/>
                  <a:pt x="362" y="553"/>
                  <a:pt x="360" y="553"/>
                </a:cubicBezTo>
                <a:cubicBezTo>
                  <a:pt x="359" y="554"/>
                  <a:pt x="358" y="556"/>
                  <a:pt x="359" y="556"/>
                </a:cubicBezTo>
                <a:cubicBezTo>
                  <a:pt x="360" y="559"/>
                  <a:pt x="362" y="561"/>
                  <a:pt x="363" y="563"/>
                </a:cubicBezTo>
                <a:cubicBezTo>
                  <a:pt x="365" y="564"/>
                  <a:pt x="367" y="563"/>
                  <a:pt x="368" y="562"/>
                </a:cubicBezTo>
                <a:cubicBezTo>
                  <a:pt x="369" y="561"/>
                  <a:pt x="369" y="560"/>
                  <a:pt x="370" y="560"/>
                </a:cubicBezTo>
                <a:cubicBezTo>
                  <a:pt x="372" y="558"/>
                  <a:pt x="373" y="557"/>
                  <a:pt x="375" y="556"/>
                </a:cubicBezTo>
                <a:cubicBezTo>
                  <a:pt x="379" y="552"/>
                  <a:pt x="381" y="546"/>
                  <a:pt x="383" y="540"/>
                </a:cubicBezTo>
                <a:cubicBezTo>
                  <a:pt x="383" y="539"/>
                  <a:pt x="382" y="538"/>
                  <a:pt x="382" y="538"/>
                </a:cubicBezTo>
                <a:cubicBezTo>
                  <a:pt x="381" y="537"/>
                  <a:pt x="380" y="536"/>
                  <a:pt x="378" y="535"/>
                </a:cubicBezTo>
                <a:close/>
                <a:moveTo>
                  <a:pt x="331" y="542"/>
                </a:moveTo>
                <a:cubicBezTo>
                  <a:pt x="331" y="542"/>
                  <a:pt x="329" y="543"/>
                  <a:pt x="328" y="544"/>
                </a:cubicBezTo>
                <a:cubicBezTo>
                  <a:pt x="327" y="545"/>
                  <a:pt x="327" y="546"/>
                  <a:pt x="327" y="546"/>
                </a:cubicBezTo>
                <a:cubicBezTo>
                  <a:pt x="327" y="549"/>
                  <a:pt x="331" y="554"/>
                  <a:pt x="334" y="553"/>
                </a:cubicBezTo>
                <a:cubicBezTo>
                  <a:pt x="336" y="553"/>
                  <a:pt x="337" y="552"/>
                  <a:pt x="336" y="550"/>
                </a:cubicBezTo>
                <a:cubicBezTo>
                  <a:pt x="334" y="547"/>
                  <a:pt x="333" y="544"/>
                  <a:pt x="331" y="542"/>
                </a:cubicBezTo>
                <a:close/>
                <a:moveTo>
                  <a:pt x="384" y="544"/>
                </a:moveTo>
                <a:cubicBezTo>
                  <a:pt x="382" y="548"/>
                  <a:pt x="379" y="553"/>
                  <a:pt x="377" y="557"/>
                </a:cubicBezTo>
                <a:cubicBezTo>
                  <a:pt x="380" y="557"/>
                  <a:pt x="382" y="557"/>
                  <a:pt x="385" y="557"/>
                </a:cubicBezTo>
                <a:cubicBezTo>
                  <a:pt x="385" y="557"/>
                  <a:pt x="385" y="556"/>
                  <a:pt x="385" y="556"/>
                </a:cubicBezTo>
                <a:cubicBezTo>
                  <a:pt x="385" y="553"/>
                  <a:pt x="385" y="550"/>
                  <a:pt x="385" y="548"/>
                </a:cubicBezTo>
                <a:cubicBezTo>
                  <a:pt x="385" y="546"/>
                  <a:pt x="384" y="545"/>
                  <a:pt x="384" y="544"/>
                </a:cubicBezTo>
                <a:close/>
                <a:moveTo>
                  <a:pt x="331" y="523"/>
                </a:moveTo>
                <a:cubicBezTo>
                  <a:pt x="331" y="524"/>
                  <a:pt x="330" y="524"/>
                  <a:pt x="329" y="524"/>
                </a:cubicBezTo>
                <a:cubicBezTo>
                  <a:pt x="329" y="524"/>
                  <a:pt x="328" y="524"/>
                  <a:pt x="328" y="524"/>
                </a:cubicBezTo>
                <a:cubicBezTo>
                  <a:pt x="327" y="523"/>
                  <a:pt x="327" y="523"/>
                  <a:pt x="327" y="522"/>
                </a:cubicBezTo>
                <a:cubicBezTo>
                  <a:pt x="328" y="520"/>
                  <a:pt x="328" y="518"/>
                  <a:pt x="329" y="516"/>
                </a:cubicBezTo>
                <a:cubicBezTo>
                  <a:pt x="329" y="516"/>
                  <a:pt x="329" y="516"/>
                  <a:pt x="328" y="516"/>
                </a:cubicBezTo>
                <a:cubicBezTo>
                  <a:pt x="327" y="517"/>
                  <a:pt x="326" y="518"/>
                  <a:pt x="325" y="519"/>
                </a:cubicBezTo>
                <a:cubicBezTo>
                  <a:pt x="325" y="520"/>
                  <a:pt x="326" y="525"/>
                  <a:pt x="328" y="526"/>
                </a:cubicBezTo>
                <a:cubicBezTo>
                  <a:pt x="329" y="527"/>
                  <a:pt x="331" y="525"/>
                  <a:pt x="331" y="523"/>
                </a:cubicBezTo>
                <a:close/>
                <a:moveTo>
                  <a:pt x="331" y="542"/>
                </a:moveTo>
                <a:cubicBezTo>
                  <a:pt x="330" y="543"/>
                  <a:pt x="329" y="543"/>
                  <a:pt x="328" y="544"/>
                </a:cubicBezTo>
                <a:cubicBezTo>
                  <a:pt x="327" y="545"/>
                  <a:pt x="327" y="546"/>
                  <a:pt x="327" y="546"/>
                </a:cubicBezTo>
                <a:cubicBezTo>
                  <a:pt x="327" y="549"/>
                  <a:pt x="331" y="553"/>
                  <a:pt x="334" y="553"/>
                </a:cubicBezTo>
                <a:cubicBezTo>
                  <a:pt x="336" y="553"/>
                  <a:pt x="337" y="552"/>
                  <a:pt x="336" y="550"/>
                </a:cubicBezTo>
                <a:cubicBezTo>
                  <a:pt x="334" y="547"/>
                  <a:pt x="333" y="544"/>
                  <a:pt x="331" y="542"/>
                </a:cubicBezTo>
                <a:close/>
                <a:moveTo>
                  <a:pt x="384" y="544"/>
                </a:moveTo>
                <a:cubicBezTo>
                  <a:pt x="381" y="548"/>
                  <a:pt x="379" y="553"/>
                  <a:pt x="377" y="557"/>
                </a:cubicBezTo>
                <a:cubicBezTo>
                  <a:pt x="379" y="557"/>
                  <a:pt x="382" y="558"/>
                  <a:pt x="385" y="557"/>
                </a:cubicBezTo>
                <a:cubicBezTo>
                  <a:pt x="385" y="557"/>
                  <a:pt x="385" y="556"/>
                  <a:pt x="385" y="556"/>
                </a:cubicBezTo>
                <a:cubicBezTo>
                  <a:pt x="385" y="553"/>
                  <a:pt x="385" y="550"/>
                  <a:pt x="385" y="548"/>
                </a:cubicBezTo>
                <a:cubicBezTo>
                  <a:pt x="385" y="547"/>
                  <a:pt x="384" y="545"/>
                  <a:pt x="384" y="544"/>
                </a:cubicBezTo>
                <a:close/>
                <a:moveTo>
                  <a:pt x="331" y="523"/>
                </a:moveTo>
                <a:cubicBezTo>
                  <a:pt x="330" y="524"/>
                  <a:pt x="330" y="524"/>
                  <a:pt x="329" y="524"/>
                </a:cubicBezTo>
                <a:cubicBezTo>
                  <a:pt x="328" y="524"/>
                  <a:pt x="328" y="524"/>
                  <a:pt x="328" y="524"/>
                </a:cubicBezTo>
                <a:cubicBezTo>
                  <a:pt x="327" y="523"/>
                  <a:pt x="327" y="523"/>
                  <a:pt x="327" y="522"/>
                </a:cubicBezTo>
                <a:cubicBezTo>
                  <a:pt x="328" y="520"/>
                  <a:pt x="328" y="518"/>
                  <a:pt x="329" y="516"/>
                </a:cubicBezTo>
                <a:cubicBezTo>
                  <a:pt x="328" y="516"/>
                  <a:pt x="328" y="516"/>
                  <a:pt x="328" y="516"/>
                </a:cubicBezTo>
                <a:cubicBezTo>
                  <a:pt x="327" y="517"/>
                  <a:pt x="326" y="517"/>
                  <a:pt x="326" y="519"/>
                </a:cubicBezTo>
                <a:cubicBezTo>
                  <a:pt x="325" y="520"/>
                  <a:pt x="326" y="525"/>
                  <a:pt x="328" y="526"/>
                </a:cubicBezTo>
                <a:cubicBezTo>
                  <a:pt x="329" y="526"/>
                  <a:pt x="331" y="525"/>
                  <a:pt x="331" y="523"/>
                </a:cubicBezTo>
                <a:close/>
                <a:moveTo>
                  <a:pt x="383" y="515"/>
                </a:moveTo>
                <a:cubicBezTo>
                  <a:pt x="387" y="512"/>
                  <a:pt x="387" y="512"/>
                  <a:pt x="391" y="511"/>
                </a:cubicBezTo>
                <a:cubicBezTo>
                  <a:pt x="391" y="512"/>
                  <a:pt x="392" y="514"/>
                  <a:pt x="393" y="514"/>
                </a:cubicBezTo>
                <a:cubicBezTo>
                  <a:pt x="391" y="515"/>
                  <a:pt x="389" y="516"/>
                  <a:pt x="387" y="517"/>
                </a:cubicBezTo>
                <a:cubicBezTo>
                  <a:pt x="386" y="517"/>
                  <a:pt x="386" y="516"/>
                  <a:pt x="385" y="515"/>
                </a:cubicBezTo>
                <a:cubicBezTo>
                  <a:pt x="385" y="515"/>
                  <a:pt x="384" y="515"/>
                  <a:pt x="383" y="515"/>
                </a:cubicBezTo>
                <a:close/>
                <a:moveTo>
                  <a:pt x="389" y="515"/>
                </a:moveTo>
                <a:cubicBezTo>
                  <a:pt x="389" y="514"/>
                  <a:pt x="388" y="514"/>
                  <a:pt x="387" y="514"/>
                </a:cubicBezTo>
                <a:cubicBezTo>
                  <a:pt x="387" y="514"/>
                  <a:pt x="386" y="515"/>
                  <a:pt x="386" y="515"/>
                </a:cubicBezTo>
                <a:cubicBezTo>
                  <a:pt x="386" y="515"/>
                  <a:pt x="387" y="516"/>
                  <a:pt x="387" y="516"/>
                </a:cubicBezTo>
                <a:cubicBezTo>
                  <a:pt x="388" y="516"/>
                  <a:pt x="388" y="515"/>
                  <a:pt x="389" y="515"/>
                </a:cubicBezTo>
                <a:close/>
                <a:moveTo>
                  <a:pt x="370" y="505"/>
                </a:moveTo>
                <a:cubicBezTo>
                  <a:pt x="364" y="504"/>
                  <a:pt x="361" y="507"/>
                  <a:pt x="360" y="515"/>
                </a:cubicBezTo>
                <a:cubicBezTo>
                  <a:pt x="361" y="513"/>
                  <a:pt x="362" y="510"/>
                  <a:pt x="363" y="508"/>
                </a:cubicBezTo>
                <a:cubicBezTo>
                  <a:pt x="364" y="508"/>
                  <a:pt x="364" y="508"/>
                  <a:pt x="364" y="508"/>
                </a:cubicBezTo>
                <a:cubicBezTo>
                  <a:pt x="364" y="509"/>
                  <a:pt x="364" y="510"/>
                  <a:pt x="364" y="511"/>
                </a:cubicBezTo>
                <a:cubicBezTo>
                  <a:pt x="365" y="508"/>
                  <a:pt x="367" y="506"/>
                  <a:pt x="370" y="505"/>
                </a:cubicBezTo>
                <a:close/>
                <a:moveTo>
                  <a:pt x="414" y="507"/>
                </a:moveTo>
                <a:cubicBezTo>
                  <a:pt x="412" y="508"/>
                  <a:pt x="410" y="510"/>
                  <a:pt x="409" y="511"/>
                </a:cubicBezTo>
                <a:cubicBezTo>
                  <a:pt x="411" y="511"/>
                  <a:pt x="413" y="510"/>
                  <a:pt x="414" y="507"/>
                </a:cubicBezTo>
                <a:close/>
                <a:moveTo>
                  <a:pt x="381" y="509"/>
                </a:moveTo>
                <a:cubicBezTo>
                  <a:pt x="382" y="508"/>
                  <a:pt x="383" y="506"/>
                  <a:pt x="384" y="505"/>
                </a:cubicBezTo>
                <a:cubicBezTo>
                  <a:pt x="381" y="506"/>
                  <a:pt x="380" y="507"/>
                  <a:pt x="381" y="509"/>
                </a:cubicBezTo>
                <a:close/>
                <a:moveTo>
                  <a:pt x="391" y="530"/>
                </a:moveTo>
                <a:cubicBezTo>
                  <a:pt x="389" y="531"/>
                  <a:pt x="388" y="531"/>
                  <a:pt x="388" y="532"/>
                </a:cubicBezTo>
                <a:cubicBezTo>
                  <a:pt x="389" y="532"/>
                  <a:pt x="390" y="531"/>
                  <a:pt x="391" y="530"/>
                </a:cubicBezTo>
                <a:close/>
                <a:moveTo>
                  <a:pt x="390" y="515"/>
                </a:moveTo>
                <a:cubicBezTo>
                  <a:pt x="389" y="514"/>
                  <a:pt x="388" y="514"/>
                  <a:pt x="388" y="514"/>
                </a:cubicBezTo>
                <a:cubicBezTo>
                  <a:pt x="387" y="514"/>
                  <a:pt x="386" y="515"/>
                  <a:pt x="386" y="515"/>
                </a:cubicBezTo>
                <a:cubicBezTo>
                  <a:pt x="386" y="516"/>
                  <a:pt x="387" y="516"/>
                  <a:pt x="387" y="516"/>
                </a:cubicBezTo>
                <a:cubicBezTo>
                  <a:pt x="388" y="516"/>
                  <a:pt x="388" y="516"/>
                  <a:pt x="390" y="515"/>
                </a:cubicBezTo>
                <a:close/>
                <a:moveTo>
                  <a:pt x="680" y="492"/>
                </a:moveTo>
                <a:cubicBezTo>
                  <a:pt x="680" y="492"/>
                  <a:pt x="680" y="492"/>
                  <a:pt x="680" y="492"/>
                </a:cubicBezTo>
                <a:cubicBezTo>
                  <a:pt x="676" y="492"/>
                  <a:pt x="676" y="492"/>
                  <a:pt x="676" y="492"/>
                </a:cubicBezTo>
                <a:cubicBezTo>
                  <a:pt x="674" y="494"/>
                  <a:pt x="672" y="495"/>
                  <a:pt x="670" y="496"/>
                </a:cubicBezTo>
                <a:cubicBezTo>
                  <a:pt x="668" y="497"/>
                  <a:pt x="666" y="498"/>
                  <a:pt x="665" y="499"/>
                </a:cubicBezTo>
                <a:cubicBezTo>
                  <a:pt x="663" y="500"/>
                  <a:pt x="661" y="501"/>
                  <a:pt x="659" y="502"/>
                </a:cubicBezTo>
                <a:cubicBezTo>
                  <a:pt x="658" y="503"/>
                  <a:pt x="656" y="503"/>
                  <a:pt x="654" y="503"/>
                </a:cubicBezTo>
                <a:cubicBezTo>
                  <a:pt x="654" y="503"/>
                  <a:pt x="654" y="503"/>
                  <a:pt x="654" y="513"/>
                </a:cubicBezTo>
                <a:cubicBezTo>
                  <a:pt x="657" y="513"/>
                  <a:pt x="660" y="512"/>
                  <a:pt x="662" y="511"/>
                </a:cubicBezTo>
                <a:cubicBezTo>
                  <a:pt x="664" y="510"/>
                  <a:pt x="667" y="508"/>
                  <a:pt x="668" y="507"/>
                </a:cubicBezTo>
                <a:cubicBezTo>
                  <a:pt x="668" y="507"/>
                  <a:pt x="668" y="507"/>
                  <a:pt x="668" y="566"/>
                </a:cubicBezTo>
                <a:cubicBezTo>
                  <a:pt x="668" y="566"/>
                  <a:pt x="668" y="566"/>
                  <a:pt x="680" y="566"/>
                </a:cubicBezTo>
                <a:cubicBezTo>
                  <a:pt x="680" y="566"/>
                  <a:pt x="680" y="566"/>
                  <a:pt x="680" y="492"/>
                </a:cubicBezTo>
                <a:close/>
                <a:moveTo>
                  <a:pt x="801" y="492"/>
                </a:moveTo>
                <a:cubicBezTo>
                  <a:pt x="801" y="492"/>
                  <a:pt x="801" y="492"/>
                  <a:pt x="801" y="492"/>
                </a:cubicBezTo>
                <a:cubicBezTo>
                  <a:pt x="796" y="492"/>
                  <a:pt x="796" y="492"/>
                  <a:pt x="796" y="492"/>
                </a:cubicBezTo>
                <a:cubicBezTo>
                  <a:pt x="794" y="494"/>
                  <a:pt x="793" y="495"/>
                  <a:pt x="791" y="496"/>
                </a:cubicBezTo>
                <a:cubicBezTo>
                  <a:pt x="789" y="497"/>
                  <a:pt x="788" y="498"/>
                  <a:pt x="785" y="499"/>
                </a:cubicBezTo>
                <a:cubicBezTo>
                  <a:pt x="784" y="500"/>
                  <a:pt x="782" y="501"/>
                  <a:pt x="780" y="502"/>
                </a:cubicBezTo>
                <a:cubicBezTo>
                  <a:pt x="778" y="503"/>
                  <a:pt x="777" y="503"/>
                  <a:pt x="775" y="503"/>
                </a:cubicBezTo>
                <a:cubicBezTo>
                  <a:pt x="775" y="503"/>
                  <a:pt x="775" y="503"/>
                  <a:pt x="775" y="513"/>
                </a:cubicBezTo>
                <a:cubicBezTo>
                  <a:pt x="777" y="513"/>
                  <a:pt x="780" y="512"/>
                  <a:pt x="783" y="511"/>
                </a:cubicBezTo>
                <a:cubicBezTo>
                  <a:pt x="785" y="510"/>
                  <a:pt x="788" y="508"/>
                  <a:pt x="790" y="507"/>
                </a:cubicBezTo>
                <a:cubicBezTo>
                  <a:pt x="790" y="507"/>
                  <a:pt x="790" y="507"/>
                  <a:pt x="790" y="566"/>
                </a:cubicBezTo>
                <a:cubicBezTo>
                  <a:pt x="790" y="566"/>
                  <a:pt x="790" y="566"/>
                  <a:pt x="801" y="566"/>
                </a:cubicBezTo>
                <a:cubicBezTo>
                  <a:pt x="801" y="566"/>
                  <a:pt x="801" y="566"/>
                  <a:pt x="801" y="492"/>
                </a:cubicBezTo>
                <a:close/>
                <a:moveTo>
                  <a:pt x="848" y="492"/>
                </a:moveTo>
                <a:cubicBezTo>
                  <a:pt x="848" y="492"/>
                  <a:pt x="848" y="492"/>
                  <a:pt x="848" y="492"/>
                </a:cubicBezTo>
                <a:cubicBezTo>
                  <a:pt x="843" y="492"/>
                  <a:pt x="843" y="492"/>
                  <a:pt x="843" y="492"/>
                </a:cubicBezTo>
                <a:cubicBezTo>
                  <a:pt x="841" y="494"/>
                  <a:pt x="840" y="495"/>
                  <a:pt x="837" y="496"/>
                </a:cubicBezTo>
                <a:cubicBezTo>
                  <a:pt x="836" y="497"/>
                  <a:pt x="834" y="498"/>
                  <a:pt x="832" y="499"/>
                </a:cubicBezTo>
                <a:cubicBezTo>
                  <a:pt x="831" y="500"/>
                  <a:pt x="829" y="501"/>
                  <a:pt x="827" y="502"/>
                </a:cubicBezTo>
                <a:cubicBezTo>
                  <a:pt x="825" y="503"/>
                  <a:pt x="823" y="503"/>
                  <a:pt x="821" y="503"/>
                </a:cubicBezTo>
                <a:cubicBezTo>
                  <a:pt x="821" y="503"/>
                  <a:pt x="821" y="503"/>
                  <a:pt x="821" y="513"/>
                </a:cubicBezTo>
                <a:cubicBezTo>
                  <a:pt x="824" y="513"/>
                  <a:pt x="827" y="512"/>
                  <a:pt x="829" y="511"/>
                </a:cubicBezTo>
                <a:cubicBezTo>
                  <a:pt x="832" y="510"/>
                  <a:pt x="834" y="508"/>
                  <a:pt x="837" y="507"/>
                </a:cubicBezTo>
                <a:cubicBezTo>
                  <a:pt x="837" y="507"/>
                  <a:pt x="837" y="507"/>
                  <a:pt x="837" y="566"/>
                </a:cubicBezTo>
                <a:cubicBezTo>
                  <a:pt x="837" y="566"/>
                  <a:pt x="837" y="566"/>
                  <a:pt x="848" y="566"/>
                </a:cubicBezTo>
                <a:cubicBezTo>
                  <a:pt x="848" y="566"/>
                  <a:pt x="848" y="566"/>
                  <a:pt x="848" y="492"/>
                </a:cubicBezTo>
                <a:close/>
                <a:moveTo>
                  <a:pt x="894" y="492"/>
                </a:moveTo>
                <a:cubicBezTo>
                  <a:pt x="894" y="492"/>
                  <a:pt x="894" y="492"/>
                  <a:pt x="894" y="492"/>
                </a:cubicBezTo>
                <a:cubicBezTo>
                  <a:pt x="890" y="492"/>
                  <a:pt x="890" y="492"/>
                  <a:pt x="890" y="492"/>
                </a:cubicBezTo>
                <a:cubicBezTo>
                  <a:pt x="888" y="494"/>
                  <a:pt x="886" y="495"/>
                  <a:pt x="884" y="496"/>
                </a:cubicBezTo>
                <a:cubicBezTo>
                  <a:pt x="883" y="497"/>
                  <a:pt x="880" y="498"/>
                  <a:pt x="879" y="499"/>
                </a:cubicBezTo>
                <a:cubicBezTo>
                  <a:pt x="877" y="500"/>
                  <a:pt x="875" y="500"/>
                  <a:pt x="873" y="501"/>
                </a:cubicBezTo>
                <a:cubicBezTo>
                  <a:pt x="872" y="502"/>
                  <a:pt x="870" y="503"/>
                  <a:pt x="868" y="503"/>
                </a:cubicBezTo>
                <a:cubicBezTo>
                  <a:pt x="868" y="503"/>
                  <a:pt x="868" y="503"/>
                  <a:pt x="868" y="513"/>
                </a:cubicBezTo>
                <a:cubicBezTo>
                  <a:pt x="871" y="513"/>
                  <a:pt x="874" y="511"/>
                  <a:pt x="876" y="511"/>
                </a:cubicBezTo>
                <a:cubicBezTo>
                  <a:pt x="878" y="510"/>
                  <a:pt x="881" y="508"/>
                  <a:pt x="883" y="507"/>
                </a:cubicBezTo>
                <a:cubicBezTo>
                  <a:pt x="883" y="507"/>
                  <a:pt x="883" y="507"/>
                  <a:pt x="883" y="566"/>
                </a:cubicBezTo>
                <a:cubicBezTo>
                  <a:pt x="883" y="566"/>
                  <a:pt x="883" y="566"/>
                  <a:pt x="894" y="566"/>
                </a:cubicBezTo>
                <a:cubicBezTo>
                  <a:pt x="894" y="566"/>
                  <a:pt x="894" y="566"/>
                  <a:pt x="894" y="492"/>
                </a:cubicBezTo>
                <a:close/>
                <a:moveTo>
                  <a:pt x="700" y="525"/>
                </a:moveTo>
                <a:cubicBezTo>
                  <a:pt x="700" y="525"/>
                  <a:pt x="700" y="525"/>
                  <a:pt x="700" y="525"/>
                </a:cubicBezTo>
                <a:cubicBezTo>
                  <a:pt x="700" y="533"/>
                  <a:pt x="700" y="533"/>
                  <a:pt x="700" y="533"/>
                </a:cubicBezTo>
                <a:cubicBezTo>
                  <a:pt x="706" y="533"/>
                  <a:pt x="707" y="536"/>
                  <a:pt x="707" y="539"/>
                </a:cubicBezTo>
                <a:cubicBezTo>
                  <a:pt x="707" y="541"/>
                  <a:pt x="706" y="543"/>
                  <a:pt x="706" y="546"/>
                </a:cubicBezTo>
                <a:cubicBezTo>
                  <a:pt x="706" y="549"/>
                  <a:pt x="706" y="551"/>
                  <a:pt x="706" y="553"/>
                </a:cubicBezTo>
                <a:cubicBezTo>
                  <a:pt x="706" y="562"/>
                  <a:pt x="712" y="566"/>
                  <a:pt x="720" y="566"/>
                </a:cubicBezTo>
                <a:cubicBezTo>
                  <a:pt x="720" y="566"/>
                  <a:pt x="720" y="566"/>
                  <a:pt x="724" y="566"/>
                </a:cubicBezTo>
                <a:cubicBezTo>
                  <a:pt x="724" y="566"/>
                  <a:pt x="724" y="566"/>
                  <a:pt x="724" y="557"/>
                </a:cubicBezTo>
                <a:cubicBezTo>
                  <a:pt x="724" y="557"/>
                  <a:pt x="724" y="557"/>
                  <a:pt x="722" y="557"/>
                </a:cubicBezTo>
                <a:cubicBezTo>
                  <a:pt x="719" y="557"/>
                  <a:pt x="717" y="554"/>
                  <a:pt x="717" y="551"/>
                </a:cubicBezTo>
                <a:cubicBezTo>
                  <a:pt x="717" y="549"/>
                  <a:pt x="717" y="548"/>
                  <a:pt x="718" y="546"/>
                </a:cubicBezTo>
                <a:cubicBezTo>
                  <a:pt x="718" y="544"/>
                  <a:pt x="718" y="542"/>
                  <a:pt x="718" y="540"/>
                </a:cubicBezTo>
                <a:cubicBezTo>
                  <a:pt x="718" y="533"/>
                  <a:pt x="715" y="530"/>
                  <a:pt x="710" y="529"/>
                </a:cubicBezTo>
                <a:cubicBezTo>
                  <a:pt x="710" y="529"/>
                  <a:pt x="710" y="529"/>
                  <a:pt x="710" y="528"/>
                </a:cubicBezTo>
                <a:cubicBezTo>
                  <a:pt x="715" y="527"/>
                  <a:pt x="718" y="525"/>
                  <a:pt x="718" y="518"/>
                </a:cubicBezTo>
                <a:cubicBezTo>
                  <a:pt x="718" y="515"/>
                  <a:pt x="718" y="513"/>
                  <a:pt x="718" y="511"/>
                </a:cubicBezTo>
                <a:cubicBezTo>
                  <a:pt x="717" y="510"/>
                  <a:pt x="717" y="508"/>
                  <a:pt x="717" y="507"/>
                </a:cubicBezTo>
                <a:cubicBezTo>
                  <a:pt x="717" y="503"/>
                  <a:pt x="719" y="501"/>
                  <a:pt x="722" y="501"/>
                </a:cubicBezTo>
                <a:cubicBezTo>
                  <a:pt x="722" y="501"/>
                  <a:pt x="722" y="501"/>
                  <a:pt x="724" y="501"/>
                </a:cubicBezTo>
                <a:cubicBezTo>
                  <a:pt x="724" y="501"/>
                  <a:pt x="724" y="501"/>
                  <a:pt x="724" y="491"/>
                </a:cubicBezTo>
                <a:cubicBezTo>
                  <a:pt x="724" y="491"/>
                  <a:pt x="724" y="491"/>
                  <a:pt x="720" y="491"/>
                </a:cubicBezTo>
                <a:cubicBezTo>
                  <a:pt x="711" y="491"/>
                  <a:pt x="706" y="496"/>
                  <a:pt x="706" y="504"/>
                </a:cubicBezTo>
                <a:cubicBezTo>
                  <a:pt x="706" y="506"/>
                  <a:pt x="706" y="509"/>
                  <a:pt x="706" y="512"/>
                </a:cubicBezTo>
                <a:cubicBezTo>
                  <a:pt x="706" y="514"/>
                  <a:pt x="707" y="516"/>
                  <a:pt x="707" y="518"/>
                </a:cubicBezTo>
                <a:cubicBezTo>
                  <a:pt x="707" y="521"/>
                  <a:pt x="706" y="524"/>
                  <a:pt x="700" y="525"/>
                </a:cubicBezTo>
                <a:close/>
                <a:moveTo>
                  <a:pt x="755" y="533"/>
                </a:moveTo>
                <a:cubicBezTo>
                  <a:pt x="755" y="533"/>
                  <a:pt x="755" y="533"/>
                  <a:pt x="755" y="533"/>
                </a:cubicBezTo>
                <a:cubicBezTo>
                  <a:pt x="755" y="525"/>
                  <a:pt x="755" y="525"/>
                  <a:pt x="755" y="525"/>
                </a:cubicBezTo>
                <a:cubicBezTo>
                  <a:pt x="748" y="524"/>
                  <a:pt x="748" y="521"/>
                  <a:pt x="748" y="518"/>
                </a:cubicBezTo>
                <a:cubicBezTo>
                  <a:pt x="748" y="516"/>
                  <a:pt x="748" y="514"/>
                  <a:pt x="748" y="512"/>
                </a:cubicBezTo>
                <a:cubicBezTo>
                  <a:pt x="749" y="509"/>
                  <a:pt x="749" y="506"/>
                  <a:pt x="749" y="504"/>
                </a:cubicBezTo>
                <a:cubicBezTo>
                  <a:pt x="749" y="496"/>
                  <a:pt x="744" y="491"/>
                  <a:pt x="734" y="491"/>
                </a:cubicBezTo>
                <a:cubicBezTo>
                  <a:pt x="734" y="491"/>
                  <a:pt x="734" y="491"/>
                  <a:pt x="730" y="491"/>
                </a:cubicBezTo>
                <a:cubicBezTo>
                  <a:pt x="730" y="491"/>
                  <a:pt x="730" y="491"/>
                  <a:pt x="730" y="501"/>
                </a:cubicBezTo>
                <a:cubicBezTo>
                  <a:pt x="730" y="501"/>
                  <a:pt x="730" y="501"/>
                  <a:pt x="732" y="501"/>
                </a:cubicBezTo>
                <a:cubicBezTo>
                  <a:pt x="736" y="501"/>
                  <a:pt x="737" y="503"/>
                  <a:pt x="737" y="507"/>
                </a:cubicBezTo>
                <a:cubicBezTo>
                  <a:pt x="737" y="508"/>
                  <a:pt x="737" y="510"/>
                  <a:pt x="737" y="511"/>
                </a:cubicBezTo>
                <a:cubicBezTo>
                  <a:pt x="736" y="513"/>
                  <a:pt x="736" y="515"/>
                  <a:pt x="736" y="518"/>
                </a:cubicBezTo>
                <a:cubicBezTo>
                  <a:pt x="736" y="525"/>
                  <a:pt x="739" y="527"/>
                  <a:pt x="745" y="528"/>
                </a:cubicBezTo>
                <a:cubicBezTo>
                  <a:pt x="745" y="528"/>
                  <a:pt x="745" y="528"/>
                  <a:pt x="745" y="529"/>
                </a:cubicBezTo>
                <a:cubicBezTo>
                  <a:pt x="739" y="530"/>
                  <a:pt x="736" y="533"/>
                  <a:pt x="736" y="540"/>
                </a:cubicBezTo>
                <a:cubicBezTo>
                  <a:pt x="736" y="542"/>
                  <a:pt x="736" y="544"/>
                  <a:pt x="737" y="546"/>
                </a:cubicBezTo>
                <a:cubicBezTo>
                  <a:pt x="737" y="548"/>
                  <a:pt x="737" y="549"/>
                  <a:pt x="737" y="551"/>
                </a:cubicBezTo>
                <a:cubicBezTo>
                  <a:pt x="737" y="554"/>
                  <a:pt x="736" y="557"/>
                  <a:pt x="732" y="557"/>
                </a:cubicBezTo>
                <a:cubicBezTo>
                  <a:pt x="732" y="557"/>
                  <a:pt x="732" y="557"/>
                  <a:pt x="730" y="557"/>
                </a:cubicBezTo>
                <a:cubicBezTo>
                  <a:pt x="730" y="557"/>
                  <a:pt x="730" y="557"/>
                  <a:pt x="730" y="566"/>
                </a:cubicBezTo>
                <a:cubicBezTo>
                  <a:pt x="730" y="566"/>
                  <a:pt x="730" y="566"/>
                  <a:pt x="734" y="566"/>
                </a:cubicBezTo>
                <a:cubicBezTo>
                  <a:pt x="743" y="566"/>
                  <a:pt x="749" y="562"/>
                  <a:pt x="749" y="553"/>
                </a:cubicBezTo>
                <a:cubicBezTo>
                  <a:pt x="749" y="551"/>
                  <a:pt x="749" y="549"/>
                  <a:pt x="748" y="546"/>
                </a:cubicBezTo>
                <a:cubicBezTo>
                  <a:pt x="748" y="543"/>
                  <a:pt x="748" y="541"/>
                  <a:pt x="748" y="539"/>
                </a:cubicBezTo>
                <a:cubicBezTo>
                  <a:pt x="748" y="536"/>
                  <a:pt x="748" y="533"/>
                  <a:pt x="755" y="533"/>
                </a:cubicBezTo>
                <a:close/>
                <a:moveTo>
                  <a:pt x="938" y="566"/>
                </a:moveTo>
                <a:cubicBezTo>
                  <a:pt x="931" y="566"/>
                  <a:pt x="924" y="563"/>
                  <a:pt x="920" y="557"/>
                </a:cubicBezTo>
                <a:cubicBezTo>
                  <a:pt x="916" y="550"/>
                  <a:pt x="914" y="542"/>
                  <a:pt x="914" y="529"/>
                </a:cubicBezTo>
                <a:cubicBezTo>
                  <a:pt x="914" y="516"/>
                  <a:pt x="916" y="507"/>
                  <a:pt x="920" y="500"/>
                </a:cubicBezTo>
                <a:cubicBezTo>
                  <a:pt x="925" y="494"/>
                  <a:pt x="931" y="490"/>
                  <a:pt x="940" y="490"/>
                </a:cubicBezTo>
                <a:cubicBezTo>
                  <a:pt x="956" y="490"/>
                  <a:pt x="964" y="502"/>
                  <a:pt x="964" y="528"/>
                </a:cubicBezTo>
                <a:cubicBezTo>
                  <a:pt x="964" y="540"/>
                  <a:pt x="962" y="550"/>
                  <a:pt x="957" y="556"/>
                </a:cubicBezTo>
                <a:cubicBezTo>
                  <a:pt x="952" y="563"/>
                  <a:pt x="946" y="566"/>
                  <a:pt x="938" y="566"/>
                </a:cubicBezTo>
                <a:close/>
                <a:moveTo>
                  <a:pt x="939" y="499"/>
                </a:moveTo>
                <a:cubicBezTo>
                  <a:pt x="930" y="499"/>
                  <a:pt x="925" y="510"/>
                  <a:pt x="925" y="529"/>
                </a:cubicBezTo>
                <a:cubicBezTo>
                  <a:pt x="925" y="548"/>
                  <a:pt x="930" y="556"/>
                  <a:pt x="939" y="556"/>
                </a:cubicBezTo>
                <a:cubicBezTo>
                  <a:pt x="947" y="556"/>
                  <a:pt x="952" y="548"/>
                  <a:pt x="952" y="529"/>
                </a:cubicBezTo>
                <a:cubicBezTo>
                  <a:pt x="952" y="509"/>
                  <a:pt x="947" y="499"/>
                  <a:pt x="939" y="499"/>
                </a:cubicBezTo>
                <a:close/>
                <a:moveTo>
                  <a:pt x="1008" y="566"/>
                </a:moveTo>
                <a:cubicBezTo>
                  <a:pt x="1001" y="566"/>
                  <a:pt x="994" y="563"/>
                  <a:pt x="990" y="557"/>
                </a:cubicBezTo>
                <a:cubicBezTo>
                  <a:pt x="986" y="550"/>
                  <a:pt x="984" y="542"/>
                  <a:pt x="984" y="529"/>
                </a:cubicBezTo>
                <a:cubicBezTo>
                  <a:pt x="984" y="516"/>
                  <a:pt x="986" y="507"/>
                  <a:pt x="990" y="500"/>
                </a:cubicBezTo>
                <a:cubicBezTo>
                  <a:pt x="995" y="494"/>
                  <a:pt x="1002" y="490"/>
                  <a:pt x="1010" y="490"/>
                </a:cubicBezTo>
                <a:cubicBezTo>
                  <a:pt x="1027" y="490"/>
                  <a:pt x="1035" y="502"/>
                  <a:pt x="1035" y="528"/>
                </a:cubicBezTo>
                <a:cubicBezTo>
                  <a:pt x="1035" y="540"/>
                  <a:pt x="1033" y="550"/>
                  <a:pt x="1028" y="556"/>
                </a:cubicBezTo>
                <a:cubicBezTo>
                  <a:pt x="1023" y="563"/>
                  <a:pt x="1017" y="566"/>
                  <a:pt x="1008" y="566"/>
                </a:cubicBezTo>
                <a:close/>
                <a:moveTo>
                  <a:pt x="1010" y="499"/>
                </a:moveTo>
                <a:cubicBezTo>
                  <a:pt x="1001" y="499"/>
                  <a:pt x="996" y="510"/>
                  <a:pt x="996" y="529"/>
                </a:cubicBezTo>
                <a:cubicBezTo>
                  <a:pt x="996" y="548"/>
                  <a:pt x="1000" y="556"/>
                  <a:pt x="1009" y="556"/>
                </a:cubicBezTo>
                <a:cubicBezTo>
                  <a:pt x="1018" y="556"/>
                  <a:pt x="1022" y="548"/>
                  <a:pt x="1022" y="529"/>
                </a:cubicBezTo>
                <a:cubicBezTo>
                  <a:pt x="1022" y="509"/>
                  <a:pt x="1018" y="499"/>
                  <a:pt x="1010" y="499"/>
                </a:cubicBezTo>
                <a:close/>
                <a:moveTo>
                  <a:pt x="1081" y="492"/>
                </a:moveTo>
                <a:cubicBezTo>
                  <a:pt x="1081" y="492"/>
                  <a:pt x="1081" y="492"/>
                  <a:pt x="1081" y="492"/>
                </a:cubicBezTo>
                <a:cubicBezTo>
                  <a:pt x="1076" y="492"/>
                  <a:pt x="1076" y="492"/>
                  <a:pt x="1076" y="492"/>
                </a:cubicBezTo>
                <a:cubicBezTo>
                  <a:pt x="1074" y="494"/>
                  <a:pt x="1073" y="495"/>
                  <a:pt x="1070" y="496"/>
                </a:cubicBezTo>
                <a:cubicBezTo>
                  <a:pt x="1069" y="497"/>
                  <a:pt x="1067" y="498"/>
                  <a:pt x="1065" y="499"/>
                </a:cubicBezTo>
                <a:cubicBezTo>
                  <a:pt x="1064" y="500"/>
                  <a:pt x="1062" y="501"/>
                  <a:pt x="1060" y="502"/>
                </a:cubicBezTo>
                <a:cubicBezTo>
                  <a:pt x="1058" y="503"/>
                  <a:pt x="1057" y="503"/>
                  <a:pt x="1054" y="503"/>
                </a:cubicBezTo>
                <a:cubicBezTo>
                  <a:pt x="1054" y="503"/>
                  <a:pt x="1054" y="503"/>
                  <a:pt x="1054" y="513"/>
                </a:cubicBezTo>
                <a:cubicBezTo>
                  <a:pt x="1057" y="513"/>
                  <a:pt x="1060" y="512"/>
                  <a:pt x="1063" y="511"/>
                </a:cubicBezTo>
                <a:cubicBezTo>
                  <a:pt x="1065" y="510"/>
                  <a:pt x="1067" y="508"/>
                  <a:pt x="1070" y="507"/>
                </a:cubicBezTo>
                <a:cubicBezTo>
                  <a:pt x="1070" y="507"/>
                  <a:pt x="1070" y="507"/>
                  <a:pt x="1070" y="566"/>
                </a:cubicBezTo>
                <a:cubicBezTo>
                  <a:pt x="1070" y="566"/>
                  <a:pt x="1070" y="566"/>
                  <a:pt x="1081" y="566"/>
                </a:cubicBezTo>
                <a:cubicBezTo>
                  <a:pt x="1081" y="566"/>
                  <a:pt x="1081" y="566"/>
                  <a:pt x="1081" y="492"/>
                </a:cubicBezTo>
                <a:close/>
                <a:moveTo>
                  <a:pt x="1128" y="492"/>
                </a:moveTo>
                <a:cubicBezTo>
                  <a:pt x="1128" y="492"/>
                  <a:pt x="1128" y="492"/>
                  <a:pt x="1128" y="492"/>
                </a:cubicBezTo>
                <a:cubicBezTo>
                  <a:pt x="1123" y="492"/>
                  <a:pt x="1123" y="492"/>
                  <a:pt x="1123" y="492"/>
                </a:cubicBezTo>
                <a:cubicBezTo>
                  <a:pt x="1121" y="494"/>
                  <a:pt x="1119" y="495"/>
                  <a:pt x="1117" y="496"/>
                </a:cubicBezTo>
                <a:cubicBezTo>
                  <a:pt x="1116" y="497"/>
                  <a:pt x="1114" y="498"/>
                  <a:pt x="1112" y="499"/>
                </a:cubicBezTo>
                <a:cubicBezTo>
                  <a:pt x="1111" y="500"/>
                  <a:pt x="1108" y="501"/>
                  <a:pt x="1107" y="502"/>
                </a:cubicBezTo>
                <a:cubicBezTo>
                  <a:pt x="1105" y="503"/>
                  <a:pt x="1103" y="503"/>
                  <a:pt x="1101" y="503"/>
                </a:cubicBezTo>
                <a:cubicBezTo>
                  <a:pt x="1101" y="503"/>
                  <a:pt x="1101" y="503"/>
                  <a:pt x="1101" y="513"/>
                </a:cubicBezTo>
                <a:cubicBezTo>
                  <a:pt x="1104" y="513"/>
                  <a:pt x="1107" y="512"/>
                  <a:pt x="1109" y="511"/>
                </a:cubicBezTo>
                <a:cubicBezTo>
                  <a:pt x="1112" y="510"/>
                  <a:pt x="1114" y="508"/>
                  <a:pt x="1117" y="507"/>
                </a:cubicBezTo>
                <a:cubicBezTo>
                  <a:pt x="1117" y="507"/>
                  <a:pt x="1117" y="507"/>
                  <a:pt x="1117" y="566"/>
                </a:cubicBezTo>
                <a:cubicBezTo>
                  <a:pt x="1117" y="566"/>
                  <a:pt x="1117" y="566"/>
                  <a:pt x="1128" y="566"/>
                </a:cubicBezTo>
                <a:cubicBezTo>
                  <a:pt x="1128" y="566"/>
                  <a:pt x="1128" y="566"/>
                  <a:pt x="1128" y="492"/>
                </a:cubicBezTo>
                <a:close/>
                <a:moveTo>
                  <a:pt x="1174" y="492"/>
                </a:moveTo>
                <a:cubicBezTo>
                  <a:pt x="1174" y="492"/>
                  <a:pt x="1174" y="492"/>
                  <a:pt x="1174" y="492"/>
                </a:cubicBezTo>
                <a:cubicBezTo>
                  <a:pt x="1170" y="492"/>
                  <a:pt x="1170" y="492"/>
                  <a:pt x="1170" y="492"/>
                </a:cubicBezTo>
                <a:cubicBezTo>
                  <a:pt x="1167" y="494"/>
                  <a:pt x="1166" y="495"/>
                  <a:pt x="1164" y="496"/>
                </a:cubicBezTo>
                <a:cubicBezTo>
                  <a:pt x="1162" y="497"/>
                  <a:pt x="1160" y="498"/>
                  <a:pt x="1159" y="499"/>
                </a:cubicBezTo>
                <a:cubicBezTo>
                  <a:pt x="1157" y="500"/>
                  <a:pt x="1155" y="500"/>
                  <a:pt x="1153" y="501"/>
                </a:cubicBezTo>
                <a:cubicBezTo>
                  <a:pt x="1152" y="502"/>
                  <a:pt x="1149" y="503"/>
                  <a:pt x="1148" y="503"/>
                </a:cubicBezTo>
                <a:cubicBezTo>
                  <a:pt x="1148" y="503"/>
                  <a:pt x="1148" y="503"/>
                  <a:pt x="1148" y="513"/>
                </a:cubicBezTo>
                <a:cubicBezTo>
                  <a:pt x="1151" y="513"/>
                  <a:pt x="1154" y="511"/>
                  <a:pt x="1156" y="511"/>
                </a:cubicBezTo>
                <a:cubicBezTo>
                  <a:pt x="1158" y="510"/>
                  <a:pt x="1161" y="508"/>
                  <a:pt x="1162" y="507"/>
                </a:cubicBezTo>
                <a:cubicBezTo>
                  <a:pt x="1162" y="507"/>
                  <a:pt x="1162" y="507"/>
                  <a:pt x="1162" y="566"/>
                </a:cubicBezTo>
                <a:cubicBezTo>
                  <a:pt x="1162" y="566"/>
                  <a:pt x="1162" y="566"/>
                  <a:pt x="1174" y="566"/>
                </a:cubicBezTo>
                <a:cubicBezTo>
                  <a:pt x="1174" y="566"/>
                  <a:pt x="1174" y="566"/>
                  <a:pt x="1174" y="492"/>
                </a:cubicBezTo>
                <a:close/>
                <a:moveTo>
                  <a:pt x="983" y="467"/>
                </a:moveTo>
                <a:cubicBezTo>
                  <a:pt x="976" y="467"/>
                  <a:pt x="969" y="464"/>
                  <a:pt x="965" y="459"/>
                </a:cubicBezTo>
                <a:cubicBezTo>
                  <a:pt x="961" y="452"/>
                  <a:pt x="959" y="443"/>
                  <a:pt x="959" y="431"/>
                </a:cubicBezTo>
                <a:cubicBezTo>
                  <a:pt x="959" y="417"/>
                  <a:pt x="961" y="408"/>
                  <a:pt x="965" y="401"/>
                </a:cubicBezTo>
                <a:cubicBezTo>
                  <a:pt x="970" y="395"/>
                  <a:pt x="976" y="391"/>
                  <a:pt x="985" y="391"/>
                </a:cubicBezTo>
                <a:cubicBezTo>
                  <a:pt x="1001" y="391"/>
                  <a:pt x="1009" y="404"/>
                  <a:pt x="1009" y="429"/>
                </a:cubicBezTo>
                <a:cubicBezTo>
                  <a:pt x="1009" y="442"/>
                  <a:pt x="1007" y="451"/>
                  <a:pt x="1002" y="458"/>
                </a:cubicBezTo>
                <a:cubicBezTo>
                  <a:pt x="998" y="464"/>
                  <a:pt x="991" y="467"/>
                  <a:pt x="983" y="467"/>
                </a:cubicBezTo>
                <a:close/>
                <a:moveTo>
                  <a:pt x="984" y="401"/>
                </a:moveTo>
                <a:cubicBezTo>
                  <a:pt x="975" y="401"/>
                  <a:pt x="971" y="411"/>
                  <a:pt x="971" y="431"/>
                </a:cubicBezTo>
                <a:cubicBezTo>
                  <a:pt x="971" y="449"/>
                  <a:pt x="975" y="458"/>
                  <a:pt x="984" y="458"/>
                </a:cubicBezTo>
                <a:cubicBezTo>
                  <a:pt x="992" y="458"/>
                  <a:pt x="997" y="449"/>
                  <a:pt x="997" y="430"/>
                </a:cubicBezTo>
                <a:cubicBezTo>
                  <a:pt x="997" y="410"/>
                  <a:pt x="992" y="401"/>
                  <a:pt x="984" y="401"/>
                </a:cubicBezTo>
                <a:close/>
                <a:moveTo>
                  <a:pt x="1057" y="394"/>
                </a:moveTo>
                <a:cubicBezTo>
                  <a:pt x="1057" y="394"/>
                  <a:pt x="1057" y="394"/>
                  <a:pt x="1057" y="394"/>
                </a:cubicBezTo>
                <a:cubicBezTo>
                  <a:pt x="1052" y="394"/>
                  <a:pt x="1052" y="394"/>
                  <a:pt x="1052" y="394"/>
                </a:cubicBezTo>
                <a:cubicBezTo>
                  <a:pt x="1050" y="395"/>
                  <a:pt x="1048" y="397"/>
                  <a:pt x="1046" y="398"/>
                </a:cubicBezTo>
                <a:cubicBezTo>
                  <a:pt x="1044" y="399"/>
                  <a:pt x="1042" y="400"/>
                  <a:pt x="1041" y="401"/>
                </a:cubicBezTo>
                <a:cubicBezTo>
                  <a:pt x="1039" y="401"/>
                  <a:pt x="1037" y="402"/>
                  <a:pt x="1036" y="403"/>
                </a:cubicBezTo>
                <a:cubicBezTo>
                  <a:pt x="1034" y="403"/>
                  <a:pt x="1032" y="404"/>
                  <a:pt x="1030" y="405"/>
                </a:cubicBezTo>
                <a:cubicBezTo>
                  <a:pt x="1030" y="405"/>
                  <a:pt x="1030" y="405"/>
                  <a:pt x="1030" y="415"/>
                </a:cubicBezTo>
                <a:cubicBezTo>
                  <a:pt x="1033" y="414"/>
                  <a:pt x="1036" y="413"/>
                  <a:pt x="1038" y="412"/>
                </a:cubicBezTo>
                <a:cubicBezTo>
                  <a:pt x="1041" y="411"/>
                  <a:pt x="1043" y="410"/>
                  <a:pt x="1045" y="409"/>
                </a:cubicBezTo>
                <a:cubicBezTo>
                  <a:pt x="1045" y="409"/>
                  <a:pt x="1045" y="409"/>
                  <a:pt x="1045" y="467"/>
                </a:cubicBezTo>
                <a:cubicBezTo>
                  <a:pt x="1045" y="467"/>
                  <a:pt x="1045" y="467"/>
                  <a:pt x="1057" y="467"/>
                </a:cubicBezTo>
                <a:cubicBezTo>
                  <a:pt x="1057" y="467"/>
                  <a:pt x="1057" y="467"/>
                  <a:pt x="1057" y="394"/>
                </a:cubicBezTo>
                <a:close/>
                <a:moveTo>
                  <a:pt x="1104" y="394"/>
                </a:moveTo>
                <a:cubicBezTo>
                  <a:pt x="1104" y="394"/>
                  <a:pt x="1104" y="394"/>
                  <a:pt x="1104" y="394"/>
                </a:cubicBezTo>
                <a:cubicBezTo>
                  <a:pt x="1099" y="394"/>
                  <a:pt x="1099" y="394"/>
                  <a:pt x="1099" y="394"/>
                </a:cubicBezTo>
                <a:cubicBezTo>
                  <a:pt x="1097" y="395"/>
                  <a:pt x="1095" y="397"/>
                  <a:pt x="1093" y="398"/>
                </a:cubicBezTo>
                <a:cubicBezTo>
                  <a:pt x="1092" y="399"/>
                  <a:pt x="1090" y="400"/>
                  <a:pt x="1088" y="401"/>
                </a:cubicBezTo>
                <a:cubicBezTo>
                  <a:pt x="1087" y="402"/>
                  <a:pt x="1085" y="403"/>
                  <a:pt x="1083" y="403"/>
                </a:cubicBezTo>
                <a:cubicBezTo>
                  <a:pt x="1081" y="404"/>
                  <a:pt x="1080" y="405"/>
                  <a:pt x="1077" y="405"/>
                </a:cubicBezTo>
                <a:cubicBezTo>
                  <a:pt x="1077" y="405"/>
                  <a:pt x="1077" y="405"/>
                  <a:pt x="1077" y="415"/>
                </a:cubicBezTo>
                <a:cubicBezTo>
                  <a:pt x="1080" y="414"/>
                  <a:pt x="1083" y="414"/>
                  <a:pt x="1085" y="412"/>
                </a:cubicBezTo>
                <a:cubicBezTo>
                  <a:pt x="1088" y="411"/>
                  <a:pt x="1090" y="410"/>
                  <a:pt x="1092" y="409"/>
                </a:cubicBezTo>
                <a:cubicBezTo>
                  <a:pt x="1092" y="409"/>
                  <a:pt x="1092" y="409"/>
                  <a:pt x="1092" y="467"/>
                </a:cubicBezTo>
                <a:cubicBezTo>
                  <a:pt x="1092" y="467"/>
                  <a:pt x="1092" y="467"/>
                  <a:pt x="1104" y="467"/>
                </a:cubicBezTo>
                <a:cubicBezTo>
                  <a:pt x="1104" y="467"/>
                  <a:pt x="1104" y="467"/>
                  <a:pt x="1104" y="394"/>
                </a:cubicBezTo>
                <a:close/>
                <a:moveTo>
                  <a:pt x="1150" y="394"/>
                </a:moveTo>
                <a:cubicBezTo>
                  <a:pt x="1150" y="394"/>
                  <a:pt x="1150" y="394"/>
                  <a:pt x="1150" y="394"/>
                </a:cubicBezTo>
                <a:cubicBezTo>
                  <a:pt x="1146" y="394"/>
                  <a:pt x="1146" y="394"/>
                  <a:pt x="1146" y="394"/>
                </a:cubicBezTo>
                <a:cubicBezTo>
                  <a:pt x="1144" y="395"/>
                  <a:pt x="1142" y="397"/>
                  <a:pt x="1140" y="398"/>
                </a:cubicBezTo>
                <a:cubicBezTo>
                  <a:pt x="1139" y="399"/>
                  <a:pt x="1137" y="400"/>
                  <a:pt x="1135" y="401"/>
                </a:cubicBezTo>
                <a:cubicBezTo>
                  <a:pt x="1133" y="402"/>
                  <a:pt x="1132" y="403"/>
                  <a:pt x="1130" y="403"/>
                </a:cubicBezTo>
                <a:cubicBezTo>
                  <a:pt x="1128" y="404"/>
                  <a:pt x="1126" y="405"/>
                  <a:pt x="1124" y="405"/>
                </a:cubicBezTo>
                <a:cubicBezTo>
                  <a:pt x="1124" y="405"/>
                  <a:pt x="1124" y="405"/>
                  <a:pt x="1124" y="415"/>
                </a:cubicBezTo>
                <a:cubicBezTo>
                  <a:pt x="1127" y="414"/>
                  <a:pt x="1130" y="414"/>
                  <a:pt x="1132" y="412"/>
                </a:cubicBezTo>
                <a:cubicBezTo>
                  <a:pt x="1135" y="411"/>
                  <a:pt x="1137" y="410"/>
                  <a:pt x="1139" y="409"/>
                </a:cubicBezTo>
                <a:cubicBezTo>
                  <a:pt x="1139" y="409"/>
                  <a:pt x="1139" y="409"/>
                  <a:pt x="1139" y="467"/>
                </a:cubicBezTo>
                <a:cubicBezTo>
                  <a:pt x="1139" y="467"/>
                  <a:pt x="1139" y="467"/>
                  <a:pt x="1150" y="467"/>
                </a:cubicBezTo>
                <a:cubicBezTo>
                  <a:pt x="1150" y="467"/>
                  <a:pt x="1150" y="467"/>
                  <a:pt x="1150" y="394"/>
                </a:cubicBezTo>
                <a:close/>
                <a:moveTo>
                  <a:pt x="1198" y="394"/>
                </a:moveTo>
                <a:cubicBezTo>
                  <a:pt x="1198" y="394"/>
                  <a:pt x="1198" y="394"/>
                  <a:pt x="1198" y="394"/>
                </a:cubicBezTo>
                <a:cubicBezTo>
                  <a:pt x="1193" y="394"/>
                  <a:pt x="1193" y="394"/>
                  <a:pt x="1193" y="394"/>
                </a:cubicBezTo>
                <a:cubicBezTo>
                  <a:pt x="1191" y="395"/>
                  <a:pt x="1190" y="397"/>
                  <a:pt x="1187" y="398"/>
                </a:cubicBezTo>
                <a:cubicBezTo>
                  <a:pt x="1186" y="399"/>
                  <a:pt x="1184" y="400"/>
                  <a:pt x="1182" y="401"/>
                </a:cubicBezTo>
                <a:cubicBezTo>
                  <a:pt x="1181" y="402"/>
                  <a:pt x="1178" y="403"/>
                  <a:pt x="1177" y="403"/>
                </a:cubicBezTo>
                <a:cubicBezTo>
                  <a:pt x="1175" y="404"/>
                  <a:pt x="1173" y="405"/>
                  <a:pt x="1171" y="405"/>
                </a:cubicBezTo>
                <a:cubicBezTo>
                  <a:pt x="1171" y="405"/>
                  <a:pt x="1171" y="405"/>
                  <a:pt x="1171" y="415"/>
                </a:cubicBezTo>
                <a:cubicBezTo>
                  <a:pt x="1174" y="414"/>
                  <a:pt x="1177" y="414"/>
                  <a:pt x="1179" y="412"/>
                </a:cubicBezTo>
                <a:cubicBezTo>
                  <a:pt x="1182" y="411"/>
                  <a:pt x="1184" y="410"/>
                  <a:pt x="1187" y="409"/>
                </a:cubicBezTo>
                <a:cubicBezTo>
                  <a:pt x="1187" y="409"/>
                  <a:pt x="1187" y="409"/>
                  <a:pt x="1187" y="467"/>
                </a:cubicBezTo>
                <a:cubicBezTo>
                  <a:pt x="1187" y="467"/>
                  <a:pt x="1187" y="467"/>
                  <a:pt x="1198" y="467"/>
                </a:cubicBezTo>
                <a:cubicBezTo>
                  <a:pt x="1198" y="467"/>
                  <a:pt x="1198" y="467"/>
                  <a:pt x="1198" y="394"/>
                </a:cubicBezTo>
                <a:close/>
                <a:moveTo>
                  <a:pt x="1321" y="394"/>
                </a:moveTo>
                <a:cubicBezTo>
                  <a:pt x="1321" y="394"/>
                  <a:pt x="1321" y="394"/>
                  <a:pt x="1321" y="394"/>
                </a:cubicBezTo>
                <a:cubicBezTo>
                  <a:pt x="1316" y="394"/>
                  <a:pt x="1316" y="394"/>
                  <a:pt x="1316" y="394"/>
                </a:cubicBezTo>
                <a:cubicBezTo>
                  <a:pt x="1314" y="395"/>
                  <a:pt x="1313" y="397"/>
                  <a:pt x="1310" y="398"/>
                </a:cubicBezTo>
                <a:cubicBezTo>
                  <a:pt x="1309" y="399"/>
                  <a:pt x="1307" y="400"/>
                  <a:pt x="1305" y="401"/>
                </a:cubicBezTo>
                <a:cubicBezTo>
                  <a:pt x="1304" y="402"/>
                  <a:pt x="1302" y="403"/>
                  <a:pt x="1300" y="403"/>
                </a:cubicBezTo>
                <a:cubicBezTo>
                  <a:pt x="1298" y="404"/>
                  <a:pt x="1297" y="405"/>
                  <a:pt x="1294" y="405"/>
                </a:cubicBezTo>
                <a:cubicBezTo>
                  <a:pt x="1294" y="405"/>
                  <a:pt x="1294" y="405"/>
                  <a:pt x="1294" y="415"/>
                </a:cubicBezTo>
                <a:cubicBezTo>
                  <a:pt x="1297" y="414"/>
                  <a:pt x="1300" y="414"/>
                  <a:pt x="1303" y="412"/>
                </a:cubicBezTo>
                <a:cubicBezTo>
                  <a:pt x="1305" y="411"/>
                  <a:pt x="1307" y="410"/>
                  <a:pt x="1310" y="409"/>
                </a:cubicBezTo>
                <a:cubicBezTo>
                  <a:pt x="1310" y="409"/>
                  <a:pt x="1310" y="409"/>
                  <a:pt x="1310" y="467"/>
                </a:cubicBezTo>
                <a:cubicBezTo>
                  <a:pt x="1310" y="467"/>
                  <a:pt x="1310" y="467"/>
                  <a:pt x="1321" y="467"/>
                </a:cubicBezTo>
                <a:cubicBezTo>
                  <a:pt x="1321" y="467"/>
                  <a:pt x="1321" y="467"/>
                  <a:pt x="1321" y="394"/>
                </a:cubicBezTo>
                <a:close/>
                <a:moveTo>
                  <a:pt x="1369" y="394"/>
                </a:moveTo>
                <a:cubicBezTo>
                  <a:pt x="1369" y="394"/>
                  <a:pt x="1369" y="394"/>
                  <a:pt x="1369" y="394"/>
                </a:cubicBezTo>
                <a:cubicBezTo>
                  <a:pt x="1364" y="394"/>
                  <a:pt x="1364" y="394"/>
                  <a:pt x="1364" y="394"/>
                </a:cubicBezTo>
                <a:cubicBezTo>
                  <a:pt x="1362" y="395"/>
                  <a:pt x="1360" y="397"/>
                  <a:pt x="1358" y="398"/>
                </a:cubicBezTo>
                <a:cubicBezTo>
                  <a:pt x="1356" y="399"/>
                  <a:pt x="1354" y="400"/>
                  <a:pt x="1353" y="401"/>
                </a:cubicBezTo>
                <a:cubicBezTo>
                  <a:pt x="1351" y="402"/>
                  <a:pt x="1349" y="403"/>
                  <a:pt x="1348" y="403"/>
                </a:cubicBezTo>
                <a:cubicBezTo>
                  <a:pt x="1346" y="404"/>
                  <a:pt x="1344" y="405"/>
                  <a:pt x="1342" y="405"/>
                </a:cubicBezTo>
                <a:cubicBezTo>
                  <a:pt x="1342" y="405"/>
                  <a:pt x="1342" y="405"/>
                  <a:pt x="1342" y="415"/>
                </a:cubicBezTo>
                <a:cubicBezTo>
                  <a:pt x="1345" y="414"/>
                  <a:pt x="1348" y="414"/>
                  <a:pt x="1350" y="412"/>
                </a:cubicBezTo>
                <a:cubicBezTo>
                  <a:pt x="1353" y="411"/>
                  <a:pt x="1355" y="410"/>
                  <a:pt x="1357" y="409"/>
                </a:cubicBezTo>
                <a:cubicBezTo>
                  <a:pt x="1357" y="409"/>
                  <a:pt x="1357" y="409"/>
                  <a:pt x="1357" y="467"/>
                </a:cubicBezTo>
                <a:cubicBezTo>
                  <a:pt x="1357" y="467"/>
                  <a:pt x="1357" y="467"/>
                  <a:pt x="1369" y="467"/>
                </a:cubicBezTo>
                <a:cubicBezTo>
                  <a:pt x="1369" y="467"/>
                  <a:pt x="1369" y="467"/>
                  <a:pt x="1369" y="394"/>
                </a:cubicBezTo>
                <a:close/>
                <a:moveTo>
                  <a:pt x="1416" y="394"/>
                </a:moveTo>
                <a:cubicBezTo>
                  <a:pt x="1416" y="394"/>
                  <a:pt x="1416" y="394"/>
                  <a:pt x="1416" y="394"/>
                </a:cubicBezTo>
                <a:cubicBezTo>
                  <a:pt x="1411" y="394"/>
                  <a:pt x="1411" y="394"/>
                  <a:pt x="1411" y="394"/>
                </a:cubicBezTo>
                <a:cubicBezTo>
                  <a:pt x="1410" y="395"/>
                  <a:pt x="1408" y="397"/>
                  <a:pt x="1406" y="398"/>
                </a:cubicBezTo>
                <a:cubicBezTo>
                  <a:pt x="1404" y="399"/>
                  <a:pt x="1403" y="400"/>
                  <a:pt x="1400" y="401"/>
                </a:cubicBezTo>
                <a:cubicBezTo>
                  <a:pt x="1399" y="402"/>
                  <a:pt x="1397" y="403"/>
                  <a:pt x="1395" y="403"/>
                </a:cubicBezTo>
                <a:cubicBezTo>
                  <a:pt x="1393" y="404"/>
                  <a:pt x="1392" y="405"/>
                  <a:pt x="1389" y="405"/>
                </a:cubicBezTo>
                <a:cubicBezTo>
                  <a:pt x="1389" y="405"/>
                  <a:pt x="1389" y="405"/>
                  <a:pt x="1389" y="415"/>
                </a:cubicBezTo>
                <a:cubicBezTo>
                  <a:pt x="1392" y="414"/>
                  <a:pt x="1395" y="414"/>
                  <a:pt x="1398" y="412"/>
                </a:cubicBezTo>
                <a:cubicBezTo>
                  <a:pt x="1400" y="411"/>
                  <a:pt x="1403" y="410"/>
                  <a:pt x="1405" y="409"/>
                </a:cubicBezTo>
                <a:cubicBezTo>
                  <a:pt x="1405" y="409"/>
                  <a:pt x="1405" y="409"/>
                  <a:pt x="1405" y="467"/>
                </a:cubicBezTo>
                <a:cubicBezTo>
                  <a:pt x="1405" y="467"/>
                  <a:pt x="1405" y="467"/>
                  <a:pt x="1416" y="467"/>
                </a:cubicBezTo>
                <a:cubicBezTo>
                  <a:pt x="1416" y="467"/>
                  <a:pt x="1416" y="467"/>
                  <a:pt x="1416" y="394"/>
                </a:cubicBezTo>
                <a:close/>
                <a:moveTo>
                  <a:pt x="1463" y="394"/>
                </a:moveTo>
                <a:cubicBezTo>
                  <a:pt x="1463" y="394"/>
                  <a:pt x="1463" y="394"/>
                  <a:pt x="1463" y="394"/>
                </a:cubicBezTo>
                <a:cubicBezTo>
                  <a:pt x="1459" y="394"/>
                  <a:pt x="1459" y="394"/>
                  <a:pt x="1459" y="394"/>
                </a:cubicBezTo>
                <a:cubicBezTo>
                  <a:pt x="1456" y="395"/>
                  <a:pt x="1455" y="397"/>
                  <a:pt x="1453" y="398"/>
                </a:cubicBezTo>
                <a:cubicBezTo>
                  <a:pt x="1451" y="399"/>
                  <a:pt x="1449" y="400"/>
                  <a:pt x="1448" y="401"/>
                </a:cubicBezTo>
                <a:cubicBezTo>
                  <a:pt x="1446" y="401"/>
                  <a:pt x="1444" y="402"/>
                  <a:pt x="1442" y="403"/>
                </a:cubicBezTo>
                <a:cubicBezTo>
                  <a:pt x="1441" y="403"/>
                  <a:pt x="1438" y="404"/>
                  <a:pt x="1437" y="405"/>
                </a:cubicBezTo>
                <a:cubicBezTo>
                  <a:pt x="1437" y="405"/>
                  <a:pt x="1437" y="405"/>
                  <a:pt x="1437" y="415"/>
                </a:cubicBezTo>
                <a:cubicBezTo>
                  <a:pt x="1440" y="414"/>
                  <a:pt x="1443" y="413"/>
                  <a:pt x="1445" y="412"/>
                </a:cubicBezTo>
                <a:cubicBezTo>
                  <a:pt x="1447" y="411"/>
                  <a:pt x="1450" y="410"/>
                  <a:pt x="1451" y="409"/>
                </a:cubicBezTo>
                <a:cubicBezTo>
                  <a:pt x="1451" y="409"/>
                  <a:pt x="1451" y="409"/>
                  <a:pt x="1451" y="467"/>
                </a:cubicBezTo>
                <a:cubicBezTo>
                  <a:pt x="1451" y="467"/>
                  <a:pt x="1451" y="467"/>
                  <a:pt x="1463" y="467"/>
                </a:cubicBezTo>
                <a:cubicBezTo>
                  <a:pt x="1463" y="467"/>
                  <a:pt x="1463" y="467"/>
                  <a:pt x="1463" y="394"/>
                </a:cubicBezTo>
                <a:close/>
                <a:moveTo>
                  <a:pt x="1219" y="426"/>
                </a:moveTo>
                <a:cubicBezTo>
                  <a:pt x="1219" y="426"/>
                  <a:pt x="1219" y="426"/>
                  <a:pt x="1219" y="426"/>
                </a:cubicBezTo>
                <a:cubicBezTo>
                  <a:pt x="1219" y="435"/>
                  <a:pt x="1219" y="435"/>
                  <a:pt x="1219" y="435"/>
                </a:cubicBezTo>
                <a:cubicBezTo>
                  <a:pt x="1225" y="435"/>
                  <a:pt x="1226" y="438"/>
                  <a:pt x="1226" y="440"/>
                </a:cubicBezTo>
                <a:cubicBezTo>
                  <a:pt x="1226" y="443"/>
                  <a:pt x="1225" y="445"/>
                  <a:pt x="1225" y="448"/>
                </a:cubicBezTo>
                <a:cubicBezTo>
                  <a:pt x="1225" y="450"/>
                  <a:pt x="1225" y="452"/>
                  <a:pt x="1225" y="455"/>
                </a:cubicBezTo>
                <a:cubicBezTo>
                  <a:pt x="1225" y="464"/>
                  <a:pt x="1231" y="467"/>
                  <a:pt x="1239" y="467"/>
                </a:cubicBezTo>
                <a:cubicBezTo>
                  <a:pt x="1239" y="467"/>
                  <a:pt x="1239" y="467"/>
                  <a:pt x="1243" y="467"/>
                </a:cubicBezTo>
                <a:cubicBezTo>
                  <a:pt x="1243" y="467"/>
                  <a:pt x="1243" y="467"/>
                  <a:pt x="1243" y="458"/>
                </a:cubicBezTo>
                <a:cubicBezTo>
                  <a:pt x="1243" y="458"/>
                  <a:pt x="1243" y="458"/>
                  <a:pt x="1242" y="458"/>
                </a:cubicBezTo>
                <a:cubicBezTo>
                  <a:pt x="1238" y="458"/>
                  <a:pt x="1237" y="456"/>
                  <a:pt x="1237" y="452"/>
                </a:cubicBezTo>
                <a:cubicBezTo>
                  <a:pt x="1237" y="451"/>
                  <a:pt x="1237" y="449"/>
                  <a:pt x="1237" y="448"/>
                </a:cubicBezTo>
                <a:cubicBezTo>
                  <a:pt x="1237" y="446"/>
                  <a:pt x="1237" y="444"/>
                  <a:pt x="1237" y="442"/>
                </a:cubicBezTo>
                <a:cubicBezTo>
                  <a:pt x="1237" y="434"/>
                  <a:pt x="1234" y="432"/>
                  <a:pt x="1229" y="430"/>
                </a:cubicBezTo>
                <a:cubicBezTo>
                  <a:pt x="1229" y="430"/>
                  <a:pt x="1229" y="430"/>
                  <a:pt x="1229" y="430"/>
                </a:cubicBezTo>
                <a:cubicBezTo>
                  <a:pt x="1234" y="429"/>
                  <a:pt x="1237" y="427"/>
                  <a:pt x="1237" y="419"/>
                </a:cubicBezTo>
                <a:cubicBezTo>
                  <a:pt x="1237" y="417"/>
                  <a:pt x="1237" y="415"/>
                  <a:pt x="1237" y="413"/>
                </a:cubicBezTo>
                <a:cubicBezTo>
                  <a:pt x="1237" y="411"/>
                  <a:pt x="1237" y="409"/>
                  <a:pt x="1237" y="408"/>
                </a:cubicBezTo>
                <a:cubicBezTo>
                  <a:pt x="1237" y="405"/>
                  <a:pt x="1238" y="402"/>
                  <a:pt x="1242" y="402"/>
                </a:cubicBezTo>
                <a:cubicBezTo>
                  <a:pt x="1242" y="402"/>
                  <a:pt x="1242" y="402"/>
                  <a:pt x="1243" y="402"/>
                </a:cubicBezTo>
                <a:cubicBezTo>
                  <a:pt x="1243" y="402"/>
                  <a:pt x="1243" y="402"/>
                  <a:pt x="1243" y="393"/>
                </a:cubicBezTo>
                <a:cubicBezTo>
                  <a:pt x="1243" y="393"/>
                  <a:pt x="1243" y="393"/>
                  <a:pt x="1239" y="393"/>
                </a:cubicBezTo>
                <a:cubicBezTo>
                  <a:pt x="1230" y="393"/>
                  <a:pt x="1225" y="397"/>
                  <a:pt x="1225" y="406"/>
                </a:cubicBezTo>
                <a:cubicBezTo>
                  <a:pt x="1225" y="408"/>
                  <a:pt x="1225" y="411"/>
                  <a:pt x="1225" y="413"/>
                </a:cubicBezTo>
                <a:cubicBezTo>
                  <a:pt x="1225" y="415"/>
                  <a:pt x="1226" y="418"/>
                  <a:pt x="1226" y="420"/>
                </a:cubicBezTo>
                <a:cubicBezTo>
                  <a:pt x="1226" y="423"/>
                  <a:pt x="1225" y="426"/>
                  <a:pt x="1219" y="426"/>
                </a:cubicBezTo>
                <a:close/>
                <a:moveTo>
                  <a:pt x="1274" y="435"/>
                </a:moveTo>
                <a:cubicBezTo>
                  <a:pt x="1274" y="435"/>
                  <a:pt x="1274" y="435"/>
                  <a:pt x="1274" y="435"/>
                </a:cubicBezTo>
                <a:cubicBezTo>
                  <a:pt x="1274" y="426"/>
                  <a:pt x="1274" y="426"/>
                  <a:pt x="1274" y="426"/>
                </a:cubicBezTo>
                <a:cubicBezTo>
                  <a:pt x="1267" y="426"/>
                  <a:pt x="1267" y="423"/>
                  <a:pt x="1267" y="420"/>
                </a:cubicBezTo>
                <a:cubicBezTo>
                  <a:pt x="1267" y="418"/>
                  <a:pt x="1267" y="415"/>
                  <a:pt x="1267" y="413"/>
                </a:cubicBezTo>
                <a:cubicBezTo>
                  <a:pt x="1268" y="411"/>
                  <a:pt x="1268" y="408"/>
                  <a:pt x="1268" y="406"/>
                </a:cubicBezTo>
                <a:cubicBezTo>
                  <a:pt x="1268" y="397"/>
                  <a:pt x="1263" y="393"/>
                  <a:pt x="1253" y="393"/>
                </a:cubicBezTo>
                <a:cubicBezTo>
                  <a:pt x="1253" y="393"/>
                  <a:pt x="1253" y="393"/>
                  <a:pt x="1250" y="393"/>
                </a:cubicBezTo>
                <a:cubicBezTo>
                  <a:pt x="1250" y="393"/>
                  <a:pt x="1250" y="393"/>
                  <a:pt x="1250" y="402"/>
                </a:cubicBezTo>
                <a:cubicBezTo>
                  <a:pt x="1250" y="402"/>
                  <a:pt x="1250" y="402"/>
                  <a:pt x="1251" y="402"/>
                </a:cubicBezTo>
                <a:cubicBezTo>
                  <a:pt x="1255" y="402"/>
                  <a:pt x="1256" y="405"/>
                  <a:pt x="1256" y="408"/>
                </a:cubicBezTo>
                <a:cubicBezTo>
                  <a:pt x="1256" y="409"/>
                  <a:pt x="1256" y="411"/>
                  <a:pt x="1256" y="413"/>
                </a:cubicBezTo>
                <a:cubicBezTo>
                  <a:pt x="1256" y="415"/>
                  <a:pt x="1256" y="417"/>
                  <a:pt x="1256" y="419"/>
                </a:cubicBezTo>
                <a:cubicBezTo>
                  <a:pt x="1256" y="427"/>
                  <a:pt x="1258" y="429"/>
                  <a:pt x="1264" y="430"/>
                </a:cubicBezTo>
                <a:cubicBezTo>
                  <a:pt x="1264" y="430"/>
                  <a:pt x="1264" y="430"/>
                  <a:pt x="1264" y="430"/>
                </a:cubicBezTo>
                <a:cubicBezTo>
                  <a:pt x="1258" y="432"/>
                  <a:pt x="1256" y="434"/>
                  <a:pt x="1256" y="442"/>
                </a:cubicBezTo>
                <a:cubicBezTo>
                  <a:pt x="1256" y="444"/>
                  <a:pt x="1256" y="446"/>
                  <a:pt x="1256" y="448"/>
                </a:cubicBezTo>
                <a:cubicBezTo>
                  <a:pt x="1256" y="449"/>
                  <a:pt x="1256" y="451"/>
                  <a:pt x="1256" y="452"/>
                </a:cubicBezTo>
                <a:cubicBezTo>
                  <a:pt x="1256" y="456"/>
                  <a:pt x="1255" y="458"/>
                  <a:pt x="1251" y="458"/>
                </a:cubicBezTo>
                <a:cubicBezTo>
                  <a:pt x="1251" y="458"/>
                  <a:pt x="1251" y="458"/>
                  <a:pt x="1250" y="458"/>
                </a:cubicBezTo>
                <a:cubicBezTo>
                  <a:pt x="1250" y="458"/>
                  <a:pt x="1250" y="458"/>
                  <a:pt x="1250" y="467"/>
                </a:cubicBezTo>
                <a:cubicBezTo>
                  <a:pt x="1250" y="467"/>
                  <a:pt x="1250" y="467"/>
                  <a:pt x="1253" y="467"/>
                </a:cubicBezTo>
                <a:cubicBezTo>
                  <a:pt x="1262" y="467"/>
                  <a:pt x="1268" y="464"/>
                  <a:pt x="1268" y="455"/>
                </a:cubicBezTo>
                <a:cubicBezTo>
                  <a:pt x="1268" y="452"/>
                  <a:pt x="1268" y="450"/>
                  <a:pt x="1267" y="448"/>
                </a:cubicBezTo>
                <a:cubicBezTo>
                  <a:pt x="1267" y="445"/>
                  <a:pt x="1267" y="443"/>
                  <a:pt x="1267" y="440"/>
                </a:cubicBezTo>
                <a:cubicBezTo>
                  <a:pt x="1267" y="438"/>
                  <a:pt x="1267" y="435"/>
                  <a:pt x="1274" y="435"/>
                </a:cubicBezTo>
                <a:close/>
                <a:moveTo>
                  <a:pt x="1601" y="426"/>
                </a:moveTo>
                <a:cubicBezTo>
                  <a:pt x="1601" y="426"/>
                  <a:pt x="1601" y="426"/>
                  <a:pt x="1601" y="426"/>
                </a:cubicBezTo>
                <a:cubicBezTo>
                  <a:pt x="1601" y="435"/>
                  <a:pt x="1601" y="435"/>
                  <a:pt x="1601" y="435"/>
                </a:cubicBezTo>
                <a:cubicBezTo>
                  <a:pt x="1607" y="435"/>
                  <a:pt x="1608" y="438"/>
                  <a:pt x="1608" y="440"/>
                </a:cubicBezTo>
                <a:cubicBezTo>
                  <a:pt x="1608" y="443"/>
                  <a:pt x="1607" y="445"/>
                  <a:pt x="1607" y="448"/>
                </a:cubicBezTo>
                <a:cubicBezTo>
                  <a:pt x="1607" y="450"/>
                  <a:pt x="1607" y="452"/>
                  <a:pt x="1607" y="455"/>
                </a:cubicBezTo>
                <a:cubicBezTo>
                  <a:pt x="1607" y="464"/>
                  <a:pt x="1613" y="467"/>
                  <a:pt x="1621" y="467"/>
                </a:cubicBezTo>
                <a:cubicBezTo>
                  <a:pt x="1621" y="467"/>
                  <a:pt x="1621" y="467"/>
                  <a:pt x="1625" y="467"/>
                </a:cubicBezTo>
                <a:cubicBezTo>
                  <a:pt x="1625" y="467"/>
                  <a:pt x="1625" y="467"/>
                  <a:pt x="1625" y="458"/>
                </a:cubicBezTo>
                <a:cubicBezTo>
                  <a:pt x="1625" y="458"/>
                  <a:pt x="1625" y="458"/>
                  <a:pt x="1624" y="458"/>
                </a:cubicBezTo>
                <a:cubicBezTo>
                  <a:pt x="1620" y="458"/>
                  <a:pt x="1619" y="456"/>
                  <a:pt x="1619" y="452"/>
                </a:cubicBezTo>
                <a:cubicBezTo>
                  <a:pt x="1619" y="451"/>
                  <a:pt x="1619" y="449"/>
                  <a:pt x="1619" y="448"/>
                </a:cubicBezTo>
                <a:cubicBezTo>
                  <a:pt x="1619" y="446"/>
                  <a:pt x="1619" y="444"/>
                  <a:pt x="1619" y="442"/>
                </a:cubicBezTo>
                <a:cubicBezTo>
                  <a:pt x="1619" y="434"/>
                  <a:pt x="1616" y="432"/>
                  <a:pt x="1611" y="430"/>
                </a:cubicBezTo>
                <a:cubicBezTo>
                  <a:pt x="1611" y="430"/>
                  <a:pt x="1611" y="430"/>
                  <a:pt x="1611" y="430"/>
                </a:cubicBezTo>
                <a:cubicBezTo>
                  <a:pt x="1616" y="429"/>
                  <a:pt x="1619" y="427"/>
                  <a:pt x="1619" y="419"/>
                </a:cubicBezTo>
                <a:cubicBezTo>
                  <a:pt x="1619" y="417"/>
                  <a:pt x="1619" y="415"/>
                  <a:pt x="1619" y="413"/>
                </a:cubicBezTo>
                <a:cubicBezTo>
                  <a:pt x="1619" y="411"/>
                  <a:pt x="1619" y="409"/>
                  <a:pt x="1619" y="408"/>
                </a:cubicBezTo>
                <a:cubicBezTo>
                  <a:pt x="1619" y="405"/>
                  <a:pt x="1620" y="402"/>
                  <a:pt x="1624" y="402"/>
                </a:cubicBezTo>
                <a:cubicBezTo>
                  <a:pt x="1624" y="402"/>
                  <a:pt x="1624" y="402"/>
                  <a:pt x="1625" y="402"/>
                </a:cubicBezTo>
                <a:cubicBezTo>
                  <a:pt x="1625" y="402"/>
                  <a:pt x="1625" y="402"/>
                  <a:pt x="1625" y="393"/>
                </a:cubicBezTo>
                <a:cubicBezTo>
                  <a:pt x="1625" y="393"/>
                  <a:pt x="1625" y="393"/>
                  <a:pt x="1621" y="393"/>
                </a:cubicBezTo>
                <a:cubicBezTo>
                  <a:pt x="1612" y="393"/>
                  <a:pt x="1607" y="397"/>
                  <a:pt x="1607" y="406"/>
                </a:cubicBezTo>
                <a:cubicBezTo>
                  <a:pt x="1607" y="408"/>
                  <a:pt x="1607" y="411"/>
                  <a:pt x="1607" y="413"/>
                </a:cubicBezTo>
                <a:cubicBezTo>
                  <a:pt x="1607" y="415"/>
                  <a:pt x="1608" y="418"/>
                  <a:pt x="1608" y="420"/>
                </a:cubicBezTo>
                <a:cubicBezTo>
                  <a:pt x="1608" y="423"/>
                  <a:pt x="1607" y="426"/>
                  <a:pt x="1601" y="426"/>
                </a:cubicBezTo>
                <a:close/>
                <a:moveTo>
                  <a:pt x="1656" y="435"/>
                </a:moveTo>
                <a:cubicBezTo>
                  <a:pt x="1656" y="435"/>
                  <a:pt x="1656" y="435"/>
                  <a:pt x="1656" y="435"/>
                </a:cubicBezTo>
                <a:cubicBezTo>
                  <a:pt x="1656" y="426"/>
                  <a:pt x="1656" y="426"/>
                  <a:pt x="1656" y="426"/>
                </a:cubicBezTo>
                <a:cubicBezTo>
                  <a:pt x="1650" y="426"/>
                  <a:pt x="1649" y="423"/>
                  <a:pt x="1649" y="420"/>
                </a:cubicBezTo>
                <a:cubicBezTo>
                  <a:pt x="1649" y="418"/>
                  <a:pt x="1649" y="415"/>
                  <a:pt x="1650" y="413"/>
                </a:cubicBezTo>
                <a:cubicBezTo>
                  <a:pt x="1650" y="411"/>
                  <a:pt x="1650" y="408"/>
                  <a:pt x="1650" y="406"/>
                </a:cubicBezTo>
                <a:cubicBezTo>
                  <a:pt x="1650" y="397"/>
                  <a:pt x="1645" y="393"/>
                  <a:pt x="1636" y="393"/>
                </a:cubicBezTo>
                <a:cubicBezTo>
                  <a:pt x="1636" y="393"/>
                  <a:pt x="1636" y="393"/>
                  <a:pt x="1632" y="393"/>
                </a:cubicBezTo>
                <a:cubicBezTo>
                  <a:pt x="1632" y="393"/>
                  <a:pt x="1632" y="393"/>
                  <a:pt x="1632" y="402"/>
                </a:cubicBezTo>
                <a:cubicBezTo>
                  <a:pt x="1632" y="402"/>
                  <a:pt x="1632" y="402"/>
                  <a:pt x="1633" y="402"/>
                </a:cubicBezTo>
                <a:cubicBezTo>
                  <a:pt x="1637" y="402"/>
                  <a:pt x="1638" y="405"/>
                  <a:pt x="1638" y="408"/>
                </a:cubicBezTo>
                <a:cubicBezTo>
                  <a:pt x="1638" y="409"/>
                  <a:pt x="1638" y="411"/>
                  <a:pt x="1638" y="413"/>
                </a:cubicBezTo>
                <a:cubicBezTo>
                  <a:pt x="1638" y="415"/>
                  <a:pt x="1638" y="417"/>
                  <a:pt x="1638" y="419"/>
                </a:cubicBezTo>
                <a:cubicBezTo>
                  <a:pt x="1638" y="427"/>
                  <a:pt x="1640" y="429"/>
                  <a:pt x="1646" y="430"/>
                </a:cubicBezTo>
                <a:cubicBezTo>
                  <a:pt x="1646" y="430"/>
                  <a:pt x="1646" y="430"/>
                  <a:pt x="1646" y="430"/>
                </a:cubicBezTo>
                <a:cubicBezTo>
                  <a:pt x="1640" y="432"/>
                  <a:pt x="1638" y="434"/>
                  <a:pt x="1638" y="442"/>
                </a:cubicBezTo>
                <a:cubicBezTo>
                  <a:pt x="1638" y="444"/>
                  <a:pt x="1638" y="446"/>
                  <a:pt x="1638" y="448"/>
                </a:cubicBezTo>
                <a:cubicBezTo>
                  <a:pt x="1638" y="449"/>
                  <a:pt x="1638" y="451"/>
                  <a:pt x="1638" y="452"/>
                </a:cubicBezTo>
                <a:cubicBezTo>
                  <a:pt x="1638" y="456"/>
                  <a:pt x="1637" y="458"/>
                  <a:pt x="1633" y="458"/>
                </a:cubicBezTo>
                <a:cubicBezTo>
                  <a:pt x="1633" y="458"/>
                  <a:pt x="1633" y="458"/>
                  <a:pt x="1632" y="458"/>
                </a:cubicBezTo>
                <a:cubicBezTo>
                  <a:pt x="1632" y="458"/>
                  <a:pt x="1632" y="458"/>
                  <a:pt x="1632" y="467"/>
                </a:cubicBezTo>
                <a:cubicBezTo>
                  <a:pt x="1632" y="467"/>
                  <a:pt x="1632" y="467"/>
                  <a:pt x="1636" y="467"/>
                </a:cubicBezTo>
                <a:cubicBezTo>
                  <a:pt x="1644" y="467"/>
                  <a:pt x="1650" y="464"/>
                  <a:pt x="1650" y="455"/>
                </a:cubicBezTo>
                <a:cubicBezTo>
                  <a:pt x="1650" y="452"/>
                  <a:pt x="1650" y="450"/>
                  <a:pt x="1650" y="448"/>
                </a:cubicBezTo>
                <a:cubicBezTo>
                  <a:pt x="1649" y="445"/>
                  <a:pt x="1649" y="443"/>
                  <a:pt x="1649" y="440"/>
                </a:cubicBezTo>
                <a:cubicBezTo>
                  <a:pt x="1649" y="438"/>
                  <a:pt x="1650" y="435"/>
                  <a:pt x="1656" y="435"/>
                </a:cubicBezTo>
                <a:close/>
                <a:moveTo>
                  <a:pt x="1703" y="394"/>
                </a:moveTo>
                <a:cubicBezTo>
                  <a:pt x="1703" y="394"/>
                  <a:pt x="1703" y="394"/>
                  <a:pt x="1703" y="394"/>
                </a:cubicBezTo>
                <a:cubicBezTo>
                  <a:pt x="1698" y="394"/>
                  <a:pt x="1698" y="394"/>
                  <a:pt x="1698" y="394"/>
                </a:cubicBezTo>
                <a:cubicBezTo>
                  <a:pt x="1696" y="395"/>
                  <a:pt x="1695" y="397"/>
                  <a:pt x="1692" y="398"/>
                </a:cubicBezTo>
                <a:cubicBezTo>
                  <a:pt x="1691" y="399"/>
                  <a:pt x="1689" y="400"/>
                  <a:pt x="1687" y="401"/>
                </a:cubicBezTo>
                <a:cubicBezTo>
                  <a:pt x="1685" y="401"/>
                  <a:pt x="1684" y="402"/>
                  <a:pt x="1682" y="403"/>
                </a:cubicBezTo>
                <a:cubicBezTo>
                  <a:pt x="1680" y="403"/>
                  <a:pt x="1679" y="404"/>
                  <a:pt x="1676" y="405"/>
                </a:cubicBezTo>
                <a:cubicBezTo>
                  <a:pt x="1676" y="405"/>
                  <a:pt x="1676" y="405"/>
                  <a:pt x="1676" y="415"/>
                </a:cubicBezTo>
                <a:cubicBezTo>
                  <a:pt x="1679" y="414"/>
                  <a:pt x="1682" y="413"/>
                  <a:pt x="1684" y="412"/>
                </a:cubicBezTo>
                <a:cubicBezTo>
                  <a:pt x="1687" y="411"/>
                  <a:pt x="1690" y="410"/>
                  <a:pt x="1692" y="409"/>
                </a:cubicBezTo>
                <a:cubicBezTo>
                  <a:pt x="1692" y="409"/>
                  <a:pt x="1692" y="409"/>
                  <a:pt x="1692" y="467"/>
                </a:cubicBezTo>
                <a:cubicBezTo>
                  <a:pt x="1692" y="467"/>
                  <a:pt x="1692" y="467"/>
                  <a:pt x="1703" y="467"/>
                </a:cubicBezTo>
                <a:cubicBezTo>
                  <a:pt x="1703" y="467"/>
                  <a:pt x="1703" y="467"/>
                  <a:pt x="1703" y="394"/>
                </a:cubicBezTo>
                <a:close/>
                <a:moveTo>
                  <a:pt x="1750" y="394"/>
                </a:moveTo>
                <a:cubicBezTo>
                  <a:pt x="1750" y="394"/>
                  <a:pt x="1750" y="394"/>
                  <a:pt x="1750" y="394"/>
                </a:cubicBezTo>
                <a:cubicBezTo>
                  <a:pt x="1745" y="394"/>
                  <a:pt x="1745" y="394"/>
                  <a:pt x="1745" y="394"/>
                </a:cubicBezTo>
                <a:cubicBezTo>
                  <a:pt x="1743" y="395"/>
                  <a:pt x="1742" y="397"/>
                  <a:pt x="1740" y="398"/>
                </a:cubicBezTo>
                <a:cubicBezTo>
                  <a:pt x="1738" y="399"/>
                  <a:pt x="1736" y="400"/>
                  <a:pt x="1735" y="401"/>
                </a:cubicBezTo>
                <a:cubicBezTo>
                  <a:pt x="1733" y="402"/>
                  <a:pt x="1731" y="403"/>
                  <a:pt x="1730" y="403"/>
                </a:cubicBezTo>
                <a:cubicBezTo>
                  <a:pt x="1728" y="404"/>
                  <a:pt x="1726" y="405"/>
                  <a:pt x="1724" y="405"/>
                </a:cubicBezTo>
                <a:cubicBezTo>
                  <a:pt x="1724" y="405"/>
                  <a:pt x="1724" y="405"/>
                  <a:pt x="1724" y="415"/>
                </a:cubicBezTo>
                <a:cubicBezTo>
                  <a:pt x="1727" y="414"/>
                  <a:pt x="1730" y="414"/>
                  <a:pt x="1732" y="412"/>
                </a:cubicBezTo>
                <a:cubicBezTo>
                  <a:pt x="1735" y="411"/>
                  <a:pt x="1737" y="410"/>
                  <a:pt x="1739" y="409"/>
                </a:cubicBezTo>
                <a:cubicBezTo>
                  <a:pt x="1739" y="409"/>
                  <a:pt x="1739" y="409"/>
                  <a:pt x="1739" y="467"/>
                </a:cubicBezTo>
                <a:cubicBezTo>
                  <a:pt x="1739" y="467"/>
                  <a:pt x="1739" y="467"/>
                  <a:pt x="1750" y="467"/>
                </a:cubicBezTo>
                <a:cubicBezTo>
                  <a:pt x="1750" y="467"/>
                  <a:pt x="1750" y="467"/>
                  <a:pt x="1750" y="394"/>
                </a:cubicBezTo>
                <a:close/>
                <a:moveTo>
                  <a:pt x="1797" y="394"/>
                </a:moveTo>
                <a:cubicBezTo>
                  <a:pt x="1797" y="394"/>
                  <a:pt x="1797" y="394"/>
                  <a:pt x="1797" y="394"/>
                </a:cubicBezTo>
                <a:cubicBezTo>
                  <a:pt x="1793" y="394"/>
                  <a:pt x="1793" y="394"/>
                  <a:pt x="1793" y="394"/>
                </a:cubicBezTo>
                <a:cubicBezTo>
                  <a:pt x="1790" y="395"/>
                  <a:pt x="1789" y="397"/>
                  <a:pt x="1787" y="398"/>
                </a:cubicBezTo>
                <a:cubicBezTo>
                  <a:pt x="1785" y="399"/>
                  <a:pt x="1783" y="400"/>
                  <a:pt x="1782" y="401"/>
                </a:cubicBezTo>
                <a:cubicBezTo>
                  <a:pt x="1780" y="402"/>
                  <a:pt x="1778" y="403"/>
                  <a:pt x="1776" y="403"/>
                </a:cubicBezTo>
                <a:cubicBezTo>
                  <a:pt x="1775" y="404"/>
                  <a:pt x="1772" y="405"/>
                  <a:pt x="1771" y="405"/>
                </a:cubicBezTo>
                <a:cubicBezTo>
                  <a:pt x="1771" y="405"/>
                  <a:pt x="1771" y="405"/>
                  <a:pt x="1771" y="415"/>
                </a:cubicBezTo>
                <a:cubicBezTo>
                  <a:pt x="1774" y="414"/>
                  <a:pt x="1777" y="414"/>
                  <a:pt x="1779" y="412"/>
                </a:cubicBezTo>
                <a:cubicBezTo>
                  <a:pt x="1781" y="411"/>
                  <a:pt x="1784" y="410"/>
                  <a:pt x="1785" y="409"/>
                </a:cubicBezTo>
                <a:cubicBezTo>
                  <a:pt x="1785" y="409"/>
                  <a:pt x="1785" y="409"/>
                  <a:pt x="1785" y="467"/>
                </a:cubicBezTo>
                <a:cubicBezTo>
                  <a:pt x="1785" y="467"/>
                  <a:pt x="1785" y="467"/>
                  <a:pt x="1797" y="467"/>
                </a:cubicBezTo>
                <a:cubicBezTo>
                  <a:pt x="1797" y="467"/>
                  <a:pt x="1797" y="467"/>
                  <a:pt x="1797" y="394"/>
                </a:cubicBezTo>
                <a:close/>
                <a:moveTo>
                  <a:pt x="1920" y="394"/>
                </a:moveTo>
                <a:cubicBezTo>
                  <a:pt x="1920" y="394"/>
                  <a:pt x="1920" y="394"/>
                  <a:pt x="1920" y="394"/>
                </a:cubicBezTo>
                <a:cubicBezTo>
                  <a:pt x="1915" y="394"/>
                  <a:pt x="1915" y="394"/>
                  <a:pt x="1915" y="394"/>
                </a:cubicBezTo>
                <a:cubicBezTo>
                  <a:pt x="1913" y="395"/>
                  <a:pt x="1911" y="397"/>
                  <a:pt x="1909" y="398"/>
                </a:cubicBezTo>
                <a:cubicBezTo>
                  <a:pt x="1908" y="399"/>
                  <a:pt x="1906" y="400"/>
                  <a:pt x="1904" y="401"/>
                </a:cubicBezTo>
                <a:cubicBezTo>
                  <a:pt x="1903" y="402"/>
                  <a:pt x="1900" y="403"/>
                  <a:pt x="1899" y="403"/>
                </a:cubicBezTo>
                <a:cubicBezTo>
                  <a:pt x="1897" y="404"/>
                  <a:pt x="1895" y="405"/>
                  <a:pt x="1893" y="405"/>
                </a:cubicBezTo>
                <a:cubicBezTo>
                  <a:pt x="1893" y="405"/>
                  <a:pt x="1893" y="405"/>
                  <a:pt x="1893" y="415"/>
                </a:cubicBezTo>
                <a:cubicBezTo>
                  <a:pt x="1896" y="414"/>
                  <a:pt x="1899" y="414"/>
                  <a:pt x="1902" y="412"/>
                </a:cubicBezTo>
                <a:cubicBezTo>
                  <a:pt x="1904" y="411"/>
                  <a:pt x="1906" y="410"/>
                  <a:pt x="1909" y="409"/>
                </a:cubicBezTo>
                <a:cubicBezTo>
                  <a:pt x="1909" y="409"/>
                  <a:pt x="1909" y="409"/>
                  <a:pt x="1909" y="467"/>
                </a:cubicBezTo>
                <a:cubicBezTo>
                  <a:pt x="1909" y="467"/>
                  <a:pt x="1909" y="467"/>
                  <a:pt x="1920" y="467"/>
                </a:cubicBezTo>
                <a:cubicBezTo>
                  <a:pt x="1920" y="467"/>
                  <a:pt x="1920" y="467"/>
                  <a:pt x="1920" y="394"/>
                </a:cubicBezTo>
                <a:close/>
                <a:moveTo>
                  <a:pt x="1818" y="426"/>
                </a:moveTo>
                <a:cubicBezTo>
                  <a:pt x="1818" y="426"/>
                  <a:pt x="1818" y="426"/>
                  <a:pt x="1818" y="426"/>
                </a:cubicBezTo>
                <a:cubicBezTo>
                  <a:pt x="1818" y="435"/>
                  <a:pt x="1818" y="435"/>
                  <a:pt x="1818" y="435"/>
                </a:cubicBezTo>
                <a:cubicBezTo>
                  <a:pt x="1824" y="435"/>
                  <a:pt x="1825" y="438"/>
                  <a:pt x="1825" y="440"/>
                </a:cubicBezTo>
                <a:cubicBezTo>
                  <a:pt x="1825" y="443"/>
                  <a:pt x="1824" y="445"/>
                  <a:pt x="1824" y="448"/>
                </a:cubicBezTo>
                <a:cubicBezTo>
                  <a:pt x="1824" y="450"/>
                  <a:pt x="1824" y="452"/>
                  <a:pt x="1824" y="455"/>
                </a:cubicBezTo>
                <a:cubicBezTo>
                  <a:pt x="1824" y="464"/>
                  <a:pt x="1829" y="467"/>
                  <a:pt x="1838" y="467"/>
                </a:cubicBezTo>
                <a:cubicBezTo>
                  <a:pt x="1838" y="467"/>
                  <a:pt x="1838" y="467"/>
                  <a:pt x="1842" y="467"/>
                </a:cubicBezTo>
                <a:cubicBezTo>
                  <a:pt x="1842" y="467"/>
                  <a:pt x="1842" y="467"/>
                  <a:pt x="1842" y="458"/>
                </a:cubicBezTo>
                <a:cubicBezTo>
                  <a:pt x="1842" y="458"/>
                  <a:pt x="1842" y="458"/>
                  <a:pt x="1840" y="458"/>
                </a:cubicBezTo>
                <a:cubicBezTo>
                  <a:pt x="1836" y="458"/>
                  <a:pt x="1835" y="456"/>
                  <a:pt x="1835" y="452"/>
                </a:cubicBezTo>
                <a:cubicBezTo>
                  <a:pt x="1835" y="451"/>
                  <a:pt x="1835" y="449"/>
                  <a:pt x="1836" y="448"/>
                </a:cubicBezTo>
                <a:cubicBezTo>
                  <a:pt x="1836" y="446"/>
                  <a:pt x="1836" y="444"/>
                  <a:pt x="1836" y="442"/>
                </a:cubicBezTo>
                <a:cubicBezTo>
                  <a:pt x="1836" y="434"/>
                  <a:pt x="1833" y="432"/>
                  <a:pt x="1828" y="430"/>
                </a:cubicBezTo>
                <a:cubicBezTo>
                  <a:pt x="1828" y="430"/>
                  <a:pt x="1828" y="430"/>
                  <a:pt x="1828" y="430"/>
                </a:cubicBezTo>
                <a:cubicBezTo>
                  <a:pt x="1833" y="429"/>
                  <a:pt x="1836" y="427"/>
                  <a:pt x="1836" y="419"/>
                </a:cubicBezTo>
                <a:cubicBezTo>
                  <a:pt x="1836" y="417"/>
                  <a:pt x="1836" y="415"/>
                  <a:pt x="1836" y="413"/>
                </a:cubicBezTo>
                <a:cubicBezTo>
                  <a:pt x="1835" y="411"/>
                  <a:pt x="1835" y="409"/>
                  <a:pt x="1835" y="408"/>
                </a:cubicBezTo>
                <a:cubicBezTo>
                  <a:pt x="1835" y="405"/>
                  <a:pt x="1836" y="402"/>
                  <a:pt x="1840" y="402"/>
                </a:cubicBezTo>
                <a:cubicBezTo>
                  <a:pt x="1840" y="402"/>
                  <a:pt x="1840" y="402"/>
                  <a:pt x="1842" y="402"/>
                </a:cubicBezTo>
                <a:cubicBezTo>
                  <a:pt x="1842" y="402"/>
                  <a:pt x="1842" y="402"/>
                  <a:pt x="1842" y="393"/>
                </a:cubicBezTo>
                <a:cubicBezTo>
                  <a:pt x="1842" y="393"/>
                  <a:pt x="1842" y="393"/>
                  <a:pt x="1838" y="393"/>
                </a:cubicBezTo>
                <a:cubicBezTo>
                  <a:pt x="1829" y="393"/>
                  <a:pt x="1824" y="397"/>
                  <a:pt x="1824" y="406"/>
                </a:cubicBezTo>
                <a:cubicBezTo>
                  <a:pt x="1824" y="408"/>
                  <a:pt x="1824" y="411"/>
                  <a:pt x="1824" y="413"/>
                </a:cubicBezTo>
                <a:cubicBezTo>
                  <a:pt x="1824" y="415"/>
                  <a:pt x="1825" y="418"/>
                  <a:pt x="1825" y="420"/>
                </a:cubicBezTo>
                <a:cubicBezTo>
                  <a:pt x="1825" y="423"/>
                  <a:pt x="1824" y="426"/>
                  <a:pt x="1818" y="426"/>
                </a:cubicBezTo>
                <a:close/>
                <a:moveTo>
                  <a:pt x="1873" y="435"/>
                </a:moveTo>
                <a:cubicBezTo>
                  <a:pt x="1873" y="435"/>
                  <a:pt x="1873" y="435"/>
                  <a:pt x="1873" y="435"/>
                </a:cubicBezTo>
                <a:cubicBezTo>
                  <a:pt x="1873" y="426"/>
                  <a:pt x="1873" y="426"/>
                  <a:pt x="1873" y="426"/>
                </a:cubicBezTo>
                <a:cubicBezTo>
                  <a:pt x="1866" y="426"/>
                  <a:pt x="1866" y="423"/>
                  <a:pt x="1866" y="420"/>
                </a:cubicBezTo>
                <a:cubicBezTo>
                  <a:pt x="1866" y="418"/>
                  <a:pt x="1866" y="415"/>
                  <a:pt x="1866" y="413"/>
                </a:cubicBezTo>
                <a:cubicBezTo>
                  <a:pt x="1867" y="411"/>
                  <a:pt x="1867" y="408"/>
                  <a:pt x="1867" y="406"/>
                </a:cubicBezTo>
                <a:cubicBezTo>
                  <a:pt x="1867" y="397"/>
                  <a:pt x="1862" y="393"/>
                  <a:pt x="1852" y="393"/>
                </a:cubicBezTo>
                <a:cubicBezTo>
                  <a:pt x="1852" y="393"/>
                  <a:pt x="1852" y="393"/>
                  <a:pt x="1848" y="393"/>
                </a:cubicBezTo>
                <a:cubicBezTo>
                  <a:pt x="1848" y="393"/>
                  <a:pt x="1848" y="393"/>
                  <a:pt x="1848" y="402"/>
                </a:cubicBezTo>
                <a:cubicBezTo>
                  <a:pt x="1848" y="402"/>
                  <a:pt x="1848" y="402"/>
                  <a:pt x="1850" y="402"/>
                </a:cubicBezTo>
                <a:cubicBezTo>
                  <a:pt x="1854" y="402"/>
                  <a:pt x="1855" y="405"/>
                  <a:pt x="1855" y="408"/>
                </a:cubicBezTo>
                <a:cubicBezTo>
                  <a:pt x="1855" y="409"/>
                  <a:pt x="1855" y="411"/>
                  <a:pt x="1855" y="413"/>
                </a:cubicBezTo>
                <a:cubicBezTo>
                  <a:pt x="1854" y="415"/>
                  <a:pt x="1854" y="417"/>
                  <a:pt x="1854" y="419"/>
                </a:cubicBezTo>
                <a:cubicBezTo>
                  <a:pt x="1854" y="427"/>
                  <a:pt x="1857" y="429"/>
                  <a:pt x="1863" y="430"/>
                </a:cubicBezTo>
                <a:cubicBezTo>
                  <a:pt x="1863" y="430"/>
                  <a:pt x="1863" y="430"/>
                  <a:pt x="1863" y="430"/>
                </a:cubicBezTo>
                <a:cubicBezTo>
                  <a:pt x="1857" y="432"/>
                  <a:pt x="1854" y="434"/>
                  <a:pt x="1854" y="442"/>
                </a:cubicBezTo>
                <a:cubicBezTo>
                  <a:pt x="1854" y="444"/>
                  <a:pt x="1854" y="446"/>
                  <a:pt x="1855" y="448"/>
                </a:cubicBezTo>
                <a:cubicBezTo>
                  <a:pt x="1855" y="449"/>
                  <a:pt x="1855" y="451"/>
                  <a:pt x="1855" y="452"/>
                </a:cubicBezTo>
                <a:cubicBezTo>
                  <a:pt x="1855" y="456"/>
                  <a:pt x="1854" y="458"/>
                  <a:pt x="1850" y="458"/>
                </a:cubicBezTo>
                <a:cubicBezTo>
                  <a:pt x="1850" y="458"/>
                  <a:pt x="1850" y="458"/>
                  <a:pt x="1848" y="458"/>
                </a:cubicBezTo>
                <a:cubicBezTo>
                  <a:pt x="1848" y="458"/>
                  <a:pt x="1848" y="458"/>
                  <a:pt x="1848" y="467"/>
                </a:cubicBezTo>
                <a:cubicBezTo>
                  <a:pt x="1848" y="467"/>
                  <a:pt x="1848" y="467"/>
                  <a:pt x="1852" y="467"/>
                </a:cubicBezTo>
                <a:cubicBezTo>
                  <a:pt x="1861" y="467"/>
                  <a:pt x="1867" y="464"/>
                  <a:pt x="1867" y="455"/>
                </a:cubicBezTo>
                <a:cubicBezTo>
                  <a:pt x="1867" y="452"/>
                  <a:pt x="1867" y="450"/>
                  <a:pt x="1866" y="448"/>
                </a:cubicBezTo>
                <a:cubicBezTo>
                  <a:pt x="1866" y="445"/>
                  <a:pt x="1866" y="443"/>
                  <a:pt x="1866" y="440"/>
                </a:cubicBezTo>
                <a:cubicBezTo>
                  <a:pt x="1866" y="438"/>
                  <a:pt x="1866" y="435"/>
                  <a:pt x="1873" y="435"/>
                </a:cubicBezTo>
                <a:close/>
                <a:moveTo>
                  <a:pt x="1014" y="345"/>
                </a:moveTo>
                <a:cubicBezTo>
                  <a:pt x="1014" y="347"/>
                  <a:pt x="1015" y="348"/>
                  <a:pt x="1015" y="350"/>
                </a:cubicBezTo>
                <a:cubicBezTo>
                  <a:pt x="1016" y="351"/>
                  <a:pt x="1016" y="353"/>
                  <a:pt x="1017" y="355"/>
                </a:cubicBezTo>
                <a:cubicBezTo>
                  <a:pt x="1017" y="356"/>
                  <a:pt x="1017" y="358"/>
                  <a:pt x="1017" y="360"/>
                </a:cubicBezTo>
                <a:cubicBezTo>
                  <a:pt x="1018" y="363"/>
                  <a:pt x="1017" y="364"/>
                  <a:pt x="1014" y="364"/>
                </a:cubicBezTo>
                <a:cubicBezTo>
                  <a:pt x="1011" y="364"/>
                  <a:pt x="1008" y="364"/>
                  <a:pt x="1005" y="364"/>
                </a:cubicBezTo>
                <a:cubicBezTo>
                  <a:pt x="1005" y="364"/>
                  <a:pt x="1004" y="364"/>
                  <a:pt x="1004" y="364"/>
                </a:cubicBezTo>
                <a:cubicBezTo>
                  <a:pt x="1002" y="366"/>
                  <a:pt x="1001" y="367"/>
                  <a:pt x="999" y="369"/>
                </a:cubicBezTo>
                <a:cubicBezTo>
                  <a:pt x="997" y="371"/>
                  <a:pt x="994" y="371"/>
                  <a:pt x="992" y="369"/>
                </a:cubicBezTo>
                <a:cubicBezTo>
                  <a:pt x="990" y="367"/>
                  <a:pt x="989" y="365"/>
                  <a:pt x="987" y="362"/>
                </a:cubicBezTo>
                <a:cubicBezTo>
                  <a:pt x="986" y="360"/>
                  <a:pt x="987" y="359"/>
                  <a:pt x="989" y="357"/>
                </a:cubicBezTo>
                <a:cubicBezTo>
                  <a:pt x="986" y="357"/>
                  <a:pt x="985" y="357"/>
                  <a:pt x="983" y="357"/>
                </a:cubicBezTo>
                <a:cubicBezTo>
                  <a:pt x="982" y="359"/>
                  <a:pt x="981" y="361"/>
                  <a:pt x="980" y="363"/>
                </a:cubicBezTo>
                <a:cubicBezTo>
                  <a:pt x="980" y="364"/>
                  <a:pt x="980" y="365"/>
                  <a:pt x="980" y="365"/>
                </a:cubicBezTo>
                <a:cubicBezTo>
                  <a:pt x="980" y="369"/>
                  <a:pt x="979" y="370"/>
                  <a:pt x="976" y="369"/>
                </a:cubicBezTo>
                <a:cubicBezTo>
                  <a:pt x="973" y="369"/>
                  <a:pt x="970" y="368"/>
                  <a:pt x="967" y="367"/>
                </a:cubicBezTo>
                <a:cubicBezTo>
                  <a:pt x="965" y="367"/>
                  <a:pt x="964" y="365"/>
                  <a:pt x="965" y="363"/>
                </a:cubicBezTo>
                <a:cubicBezTo>
                  <a:pt x="965" y="362"/>
                  <a:pt x="965" y="362"/>
                  <a:pt x="965" y="362"/>
                </a:cubicBezTo>
                <a:cubicBezTo>
                  <a:pt x="963" y="360"/>
                  <a:pt x="961" y="360"/>
                  <a:pt x="959" y="358"/>
                </a:cubicBezTo>
                <a:cubicBezTo>
                  <a:pt x="958" y="357"/>
                  <a:pt x="956" y="355"/>
                  <a:pt x="956" y="354"/>
                </a:cubicBezTo>
                <a:cubicBezTo>
                  <a:pt x="955" y="352"/>
                  <a:pt x="955" y="350"/>
                  <a:pt x="957" y="348"/>
                </a:cubicBezTo>
                <a:cubicBezTo>
                  <a:pt x="960" y="346"/>
                  <a:pt x="961" y="343"/>
                  <a:pt x="960" y="339"/>
                </a:cubicBezTo>
                <a:cubicBezTo>
                  <a:pt x="960" y="337"/>
                  <a:pt x="960" y="335"/>
                  <a:pt x="960" y="333"/>
                </a:cubicBezTo>
                <a:cubicBezTo>
                  <a:pt x="959" y="333"/>
                  <a:pt x="957" y="332"/>
                  <a:pt x="956" y="331"/>
                </a:cubicBezTo>
                <a:cubicBezTo>
                  <a:pt x="955" y="329"/>
                  <a:pt x="954" y="327"/>
                  <a:pt x="954" y="325"/>
                </a:cubicBezTo>
                <a:cubicBezTo>
                  <a:pt x="954" y="323"/>
                  <a:pt x="957" y="320"/>
                  <a:pt x="960" y="319"/>
                </a:cubicBezTo>
                <a:cubicBezTo>
                  <a:pt x="960" y="320"/>
                  <a:pt x="960" y="321"/>
                  <a:pt x="961" y="322"/>
                </a:cubicBezTo>
                <a:cubicBezTo>
                  <a:pt x="961" y="323"/>
                  <a:pt x="961" y="323"/>
                  <a:pt x="961" y="325"/>
                </a:cubicBezTo>
                <a:cubicBezTo>
                  <a:pt x="960" y="324"/>
                  <a:pt x="960" y="324"/>
                  <a:pt x="960" y="324"/>
                </a:cubicBezTo>
                <a:cubicBezTo>
                  <a:pt x="959" y="325"/>
                  <a:pt x="959" y="327"/>
                  <a:pt x="958" y="329"/>
                </a:cubicBezTo>
                <a:cubicBezTo>
                  <a:pt x="959" y="328"/>
                  <a:pt x="960" y="328"/>
                  <a:pt x="960" y="328"/>
                </a:cubicBezTo>
                <a:cubicBezTo>
                  <a:pt x="961" y="327"/>
                  <a:pt x="962" y="326"/>
                  <a:pt x="963" y="325"/>
                </a:cubicBezTo>
                <a:cubicBezTo>
                  <a:pt x="967" y="318"/>
                  <a:pt x="973" y="314"/>
                  <a:pt x="981" y="312"/>
                </a:cubicBezTo>
                <a:cubicBezTo>
                  <a:pt x="984" y="312"/>
                  <a:pt x="988" y="311"/>
                  <a:pt x="990" y="308"/>
                </a:cubicBezTo>
                <a:cubicBezTo>
                  <a:pt x="990" y="308"/>
                  <a:pt x="991" y="307"/>
                  <a:pt x="991" y="307"/>
                </a:cubicBezTo>
                <a:cubicBezTo>
                  <a:pt x="994" y="307"/>
                  <a:pt x="995" y="304"/>
                  <a:pt x="997" y="303"/>
                </a:cubicBezTo>
                <a:cubicBezTo>
                  <a:pt x="1005" y="295"/>
                  <a:pt x="1017" y="295"/>
                  <a:pt x="1025" y="301"/>
                </a:cubicBezTo>
                <a:cubicBezTo>
                  <a:pt x="1027" y="303"/>
                  <a:pt x="1030" y="305"/>
                  <a:pt x="1032" y="307"/>
                </a:cubicBezTo>
                <a:cubicBezTo>
                  <a:pt x="1034" y="308"/>
                  <a:pt x="1035" y="310"/>
                  <a:pt x="1036" y="312"/>
                </a:cubicBezTo>
                <a:cubicBezTo>
                  <a:pt x="1037" y="314"/>
                  <a:pt x="1038" y="314"/>
                  <a:pt x="1039" y="312"/>
                </a:cubicBezTo>
                <a:cubicBezTo>
                  <a:pt x="1040" y="312"/>
                  <a:pt x="1040" y="311"/>
                  <a:pt x="1041" y="310"/>
                </a:cubicBezTo>
                <a:cubicBezTo>
                  <a:pt x="1043" y="308"/>
                  <a:pt x="1046" y="308"/>
                  <a:pt x="1047" y="311"/>
                </a:cubicBezTo>
                <a:cubicBezTo>
                  <a:pt x="1049" y="314"/>
                  <a:pt x="1049" y="317"/>
                  <a:pt x="1050" y="320"/>
                </a:cubicBezTo>
                <a:cubicBezTo>
                  <a:pt x="1051" y="324"/>
                  <a:pt x="1050" y="329"/>
                  <a:pt x="1049" y="333"/>
                </a:cubicBezTo>
                <a:cubicBezTo>
                  <a:pt x="1046" y="339"/>
                  <a:pt x="1042" y="343"/>
                  <a:pt x="1035" y="343"/>
                </a:cubicBezTo>
                <a:cubicBezTo>
                  <a:pt x="1034" y="343"/>
                  <a:pt x="1034" y="343"/>
                  <a:pt x="1033" y="343"/>
                </a:cubicBezTo>
                <a:cubicBezTo>
                  <a:pt x="1030" y="343"/>
                  <a:pt x="1029" y="343"/>
                  <a:pt x="1029" y="345"/>
                </a:cubicBezTo>
                <a:cubicBezTo>
                  <a:pt x="1027" y="350"/>
                  <a:pt x="1021" y="351"/>
                  <a:pt x="1018" y="348"/>
                </a:cubicBezTo>
                <a:cubicBezTo>
                  <a:pt x="1017" y="347"/>
                  <a:pt x="1016" y="346"/>
                  <a:pt x="1015" y="345"/>
                </a:cubicBezTo>
                <a:cubicBezTo>
                  <a:pt x="1014" y="345"/>
                  <a:pt x="1014" y="345"/>
                  <a:pt x="1014" y="345"/>
                </a:cubicBezTo>
                <a:close/>
                <a:moveTo>
                  <a:pt x="1008" y="341"/>
                </a:moveTo>
                <a:cubicBezTo>
                  <a:pt x="1012" y="343"/>
                  <a:pt x="1015" y="344"/>
                  <a:pt x="1018" y="346"/>
                </a:cubicBezTo>
                <a:cubicBezTo>
                  <a:pt x="1020" y="348"/>
                  <a:pt x="1022" y="349"/>
                  <a:pt x="1024" y="348"/>
                </a:cubicBezTo>
                <a:cubicBezTo>
                  <a:pt x="1027" y="347"/>
                  <a:pt x="1028" y="345"/>
                  <a:pt x="1028" y="342"/>
                </a:cubicBezTo>
                <a:cubicBezTo>
                  <a:pt x="1028" y="343"/>
                  <a:pt x="1027" y="343"/>
                  <a:pt x="1027" y="343"/>
                </a:cubicBezTo>
                <a:cubicBezTo>
                  <a:pt x="1027" y="344"/>
                  <a:pt x="1025" y="345"/>
                  <a:pt x="1025" y="346"/>
                </a:cubicBezTo>
                <a:cubicBezTo>
                  <a:pt x="1023" y="348"/>
                  <a:pt x="1022" y="347"/>
                  <a:pt x="1021" y="347"/>
                </a:cubicBezTo>
                <a:cubicBezTo>
                  <a:pt x="1021" y="347"/>
                  <a:pt x="1020" y="346"/>
                  <a:pt x="1020" y="345"/>
                </a:cubicBezTo>
                <a:cubicBezTo>
                  <a:pt x="1020" y="343"/>
                  <a:pt x="1021" y="341"/>
                  <a:pt x="1021" y="339"/>
                </a:cubicBezTo>
                <a:cubicBezTo>
                  <a:pt x="1024" y="339"/>
                  <a:pt x="1027" y="341"/>
                  <a:pt x="1031" y="341"/>
                </a:cubicBezTo>
                <a:cubicBezTo>
                  <a:pt x="1038" y="342"/>
                  <a:pt x="1044" y="341"/>
                  <a:pt x="1047" y="332"/>
                </a:cubicBezTo>
                <a:cubicBezTo>
                  <a:pt x="1049" y="327"/>
                  <a:pt x="1049" y="322"/>
                  <a:pt x="1048" y="317"/>
                </a:cubicBezTo>
                <a:cubicBezTo>
                  <a:pt x="1047" y="315"/>
                  <a:pt x="1047" y="314"/>
                  <a:pt x="1046" y="312"/>
                </a:cubicBezTo>
                <a:cubicBezTo>
                  <a:pt x="1045" y="310"/>
                  <a:pt x="1044" y="310"/>
                  <a:pt x="1043" y="311"/>
                </a:cubicBezTo>
                <a:cubicBezTo>
                  <a:pt x="1041" y="313"/>
                  <a:pt x="1040" y="314"/>
                  <a:pt x="1038" y="315"/>
                </a:cubicBezTo>
                <a:cubicBezTo>
                  <a:pt x="1037" y="316"/>
                  <a:pt x="1036" y="316"/>
                  <a:pt x="1036" y="318"/>
                </a:cubicBezTo>
                <a:cubicBezTo>
                  <a:pt x="1037" y="321"/>
                  <a:pt x="1036" y="324"/>
                  <a:pt x="1035" y="327"/>
                </a:cubicBezTo>
                <a:cubicBezTo>
                  <a:pt x="1035" y="325"/>
                  <a:pt x="1036" y="323"/>
                  <a:pt x="1036" y="322"/>
                </a:cubicBezTo>
                <a:cubicBezTo>
                  <a:pt x="1036" y="321"/>
                  <a:pt x="1035" y="320"/>
                  <a:pt x="1035" y="320"/>
                </a:cubicBezTo>
                <a:cubicBezTo>
                  <a:pt x="1034" y="320"/>
                  <a:pt x="1034" y="320"/>
                  <a:pt x="1034" y="321"/>
                </a:cubicBezTo>
                <a:cubicBezTo>
                  <a:pt x="1033" y="322"/>
                  <a:pt x="1032" y="323"/>
                  <a:pt x="1031" y="325"/>
                </a:cubicBezTo>
                <a:cubicBezTo>
                  <a:pt x="1031" y="325"/>
                  <a:pt x="1031" y="325"/>
                  <a:pt x="1031" y="325"/>
                </a:cubicBezTo>
                <a:cubicBezTo>
                  <a:pt x="1031" y="323"/>
                  <a:pt x="1032" y="322"/>
                  <a:pt x="1032" y="319"/>
                </a:cubicBezTo>
                <a:cubicBezTo>
                  <a:pt x="1031" y="320"/>
                  <a:pt x="1030" y="320"/>
                  <a:pt x="1030" y="321"/>
                </a:cubicBezTo>
                <a:cubicBezTo>
                  <a:pt x="1029" y="322"/>
                  <a:pt x="1029" y="322"/>
                  <a:pt x="1029" y="323"/>
                </a:cubicBezTo>
                <a:cubicBezTo>
                  <a:pt x="1029" y="320"/>
                  <a:pt x="1029" y="320"/>
                  <a:pt x="1035" y="318"/>
                </a:cubicBezTo>
                <a:cubicBezTo>
                  <a:pt x="1035" y="318"/>
                  <a:pt x="1034" y="317"/>
                  <a:pt x="1034" y="317"/>
                </a:cubicBezTo>
                <a:cubicBezTo>
                  <a:pt x="1031" y="318"/>
                  <a:pt x="1030" y="316"/>
                  <a:pt x="1030" y="314"/>
                </a:cubicBezTo>
                <a:cubicBezTo>
                  <a:pt x="1032" y="314"/>
                  <a:pt x="1033" y="313"/>
                  <a:pt x="1035" y="313"/>
                </a:cubicBezTo>
                <a:cubicBezTo>
                  <a:pt x="1033" y="310"/>
                  <a:pt x="1032" y="308"/>
                  <a:pt x="1029" y="307"/>
                </a:cubicBezTo>
                <a:cubicBezTo>
                  <a:pt x="1028" y="307"/>
                  <a:pt x="1028" y="307"/>
                  <a:pt x="1028" y="306"/>
                </a:cubicBezTo>
                <a:cubicBezTo>
                  <a:pt x="1025" y="304"/>
                  <a:pt x="1023" y="302"/>
                  <a:pt x="1020" y="300"/>
                </a:cubicBezTo>
                <a:cubicBezTo>
                  <a:pt x="1018" y="299"/>
                  <a:pt x="1015" y="298"/>
                  <a:pt x="1013" y="298"/>
                </a:cubicBezTo>
                <a:cubicBezTo>
                  <a:pt x="1010" y="299"/>
                  <a:pt x="1006" y="300"/>
                  <a:pt x="1003" y="301"/>
                </a:cubicBezTo>
                <a:cubicBezTo>
                  <a:pt x="1001" y="302"/>
                  <a:pt x="998" y="303"/>
                  <a:pt x="996" y="306"/>
                </a:cubicBezTo>
                <a:cubicBezTo>
                  <a:pt x="998" y="306"/>
                  <a:pt x="999" y="306"/>
                  <a:pt x="1000" y="306"/>
                </a:cubicBezTo>
                <a:cubicBezTo>
                  <a:pt x="1000" y="307"/>
                  <a:pt x="999" y="307"/>
                  <a:pt x="998" y="307"/>
                </a:cubicBezTo>
                <a:cubicBezTo>
                  <a:pt x="996" y="308"/>
                  <a:pt x="993" y="307"/>
                  <a:pt x="991" y="310"/>
                </a:cubicBezTo>
                <a:cubicBezTo>
                  <a:pt x="988" y="314"/>
                  <a:pt x="984" y="317"/>
                  <a:pt x="980" y="322"/>
                </a:cubicBezTo>
                <a:cubicBezTo>
                  <a:pt x="978" y="323"/>
                  <a:pt x="978" y="326"/>
                  <a:pt x="976" y="328"/>
                </a:cubicBezTo>
                <a:cubicBezTo>
                  <a:pt x="976" y="329"/>
                  <a:pt x="976" y="329"/>
                  <a:pt x="977" y="330"/>
                </a:cubicBezTo>
                <a:cubicBezTo>
                  <a:pt x="978" y="332"/>
                  <a:pt x="979" y="334"/>
                  <a:pt x="981" y="336"/>
                </a:cubicBezTo>
                <a:cubicBezTo>
                  <a:pt x="982" y="334"/>
                  <a:pt x="983" y="333"/>
                  <a:pt x="984" y="331"/>
                </a:cubicBezTo>
                <a:cubicBezTo>
                  <a:pt x="984" y="333"/>
                  <a:pt x="984" y="334"/>
                  <a:pt x="983" y="335"/>
                </a:cubicBezTo>
                <a:cubicBezTo>
                  <a:pt x="982" y="337"/>
                  <a:pt x="981" y="338"/>
                  <a:pt x="981" y="339"/>
                </a:cubicBezTo>
                <a:cubicBezTo>
                  <a:pt x="980" y="340"/>
                  <a:pt x="981" y="341"/>
                  <a:pt x="981" y="342"/>
                </a:cubicBezTo>
                <a:cubicBezTo>
                  <a:pt x="984" y="346"/>
                  <a:pt x="987" y="346"/>
                  <a:pt x="991" y="344"/>
                </a:cubicBezTo>
                <a:cubicBezTo>
                  <a:pt x="993" y="342"/>
                  <a:pt x="996" y="341"/>
                  <a:pt x="999" y="340"/>
                </a:cubicBezTo>
                <a:cubicBezTo>
                  <a:pt x="1000" y="340"/>
                  <a:pt x="1001" y="339"/>
                  <a:pt x="1001" y="337"/>
                </a:cubicBezTo>
                <a:cubicBezTo>
                  <a:pt x="1001" y="334"/>
                  <a:pt x="1001" y="331"/>
                  <a:pt x="1001" y="327"/>
                </a:cubicBezTo>
                <a:cubicBezTo>
                  <a:pt x="1001" y="324"/>
                  <a:pt x="1001" y="322"/>
                  <a:pt x="1001" y="318"/>
                </a:cubicBezTo>
                <a:cubicBezTo>
                  <a:pt x="1002" y="321"/>
                  <a:pt x="1002" y="324"/>
                  <a:pt x="1003" y="326"/>
                </a:cubicBezTo>
                <a:cubicBezTo>
                  <a:pt x="1004" y="331"/>
                  <a:pt x="1004" y="335"/>
                  <a:pt x="1002" y="340"/>
                </a:cubicBezTo>
                <a:cubicBezTo>
                  <a:pt x="1002" y="341"/>
                  <a:pt x="1001" y="341"/>
                  <a:pt x="1001" y="341"/>
                </a:cubicBezTo>
                <a:cubicBezTo>
                  <a:pt x="997" y="342"/>
                  <a:pt x="994" y="344"/>
                  <a:pt x="991" y="345"/>
                </a:cubicBezTo>
                <a:cubicBezTo>
                  <a:pt x="986" y="348"/>
                  <a:pt x="982" y="346"/>
                  <a:pt x="979" y="343"/>
                </a:cubicBezTo>
                <a:cubicBezTo>
                  <a:pt x="978" y="342"/>
                  <a:pt x="978" y="341"/>
                  <a:pt x="979" y="341"/>
                </a:cubicBezTo>
                <a:cubicBezTo>
                  <a:pt x="980" y="338"/>
                  <a:pt x="979" y="336"/>
                  <a:pt x="977" y="334"/>
                </a:cubicBezTo>
                <a:cubicBezTo>
                  <a:pt x="976" y="332"/>
                  <a:pt x="974" y="330"/>
                  <a:pt x="975" y="327"/>
                </a:cubicBezTo>
                <a:cubicBezTo>
                  <a:pt x="976" y="325"/>
                  <a:pt x="977" y="323"/>
                  <a:pt x="978" y="322"/>
                </a:cubicBezTo>
                <a:cubicBezTo>
                  <a:pt x="980" y="319"/>
                  <a:pt x="982" y="317"/>
                  <a:pt x="984" y="314"/>
                </a:cubicBezTo>
                <a:cubicBezTo>
                  <a:pt x="984" y="314"/>
                  <a:pt x="983" y="314"/>
                  <a:pt x="983" y="314"/>
                </a:cubicBezTo>
                <a:cubicBezTo>
                  <a:pt x="978" y="315"/>
                  <a:pt x="973" y="317"/>
                  <a:pt x="969" y="320"/>
                </a:cubicBezTo>
                <a:cubicBezTo>
                  <a:pt x="965" y="324"/>
                  <a:pt x="962" y="329"/>
                  <a:pt x="961" y="336"/>
                </a:cubicBezTo>
                <a:cubicBezTo>
                  <a:pt x="961" y="343"/>
                  <a:pt x="963" y="349"/>
                  <a:pt x="967" y="355"/>
                </a:cubicBezTo>
                <a:cubicBezTo>
                  <a:pt x="967" y="356"/>
                  <a:pt x="968" y="357"/>
                  <a:pt x="968" y="358"/>
                </a:cubicBezTo>
                <a:cubicBezTo>
                  <a:pt x="968" y="360"/>
                  <a:pt x="967" y="362"/>
                  <a:pt x="967" y="363"/>
                </a:cubicBezTo>
                <a:cubicBezTo>
                  <a:pt x="966" y="365"/>
                  <a:pt x="967" y="365"/>
                  <a:pt x="968" y="366"/>
                </a:cubicBezTo>
                <a:cubicBezTo>
                  <a:pt x="971" y="367"/>
                  <a:pt x="974" y="367"/>
                  <a:pt x="976" y="367"/>
                </a:cubicBezTo>
                <a:cubicBezTo>
                  <a:pt x="977" y="367"/>
                  <a:pt x="978" y="367"/>
                  <a:pt x="978" y="366"/>
                </a:cubicBezTo>
                <a:cubicBezTo>
                  <a:pt x="978" y="365"/>
                  <a:pt x="978" y="363"/>
                  <a:pt x="979" y="363"/>
                </a:cubicBezTo>
                <a:cubicBezTo>
                  <a:pt x="981" y="360"/>
                  <a:pt x="981" y="358"/>
                  <a:pt x="981" y="355"/>
                </a:cubicBezTo>
                <a:cubicBezTo>
                  <a:pt x="981" y="354"/>
                  <a:pt x="981" y="354"/>
                  <a:pt x="981" y="354"/>
                </a:cubicBezTo>
                <a:cubicBezTo>
                  <a:pt x="981" y="353"/>
                  <a:pt x="981" y="353"/>
                  <a:pt x="981" y="353"/>
                </a:cubicBezTo>
                <a:cubicBezTo>
                  <a:pt x="982" y="356"/>
                  <a:pt x="983" y="356"/>
                  <a:pt x="985" y="356"/>
                </a:cubicBezTo>
                <a:cubicBezTo>
                  <a:pt x="986" y="356"/>
                  <a:pt x="987" y="356"/>
                  <a:pt x="988" y="356"/>
                </a:cubicBezTo>
                <a:cubicBezTo>
                  <a:pt x="990" y="356"/>
                  <a:pt x="993" y="356"/>
                  <a:pt x="994" y="352"/>
                </a:cubicBezTo>
                <a:cubicBezTo>
                  <a:pt x="994" y="354"/>
                  <a:pt x="994" y="356"/>
                  <a:pt x="994" y="357"/>
                </a:cubicBezTo>
                <a:cubicBezTo>
                  <a:pt x="993" y="358"/>
                  <a:pt x="991" y="358"/>
                  <a:pt x="990" y="359"/>
                </a:cubicBezTo>
                <a:cubicBezTo>
                  <a:pt x="989" y="360"/>
                  <a:pt x="988" y="361"/>
                  <a:pt x="989" y="362"/>
                </a:cubicBezTo>
                <a:cubicBezTo>
                  <a:pt x="990" y="364"/>
                  <a:pt x="991" y="366"/>
                  <a:pt x="993" y="368"/>
                </a:cubicBezTo>
                <a:cubicBezTo>
                  <a:pt x="995" y="369"/>
                  <a:pt x="997" y="369"/>
                  <a:pt x="998" y="367"/>
                </a:cubicBezTo>
                <a:cubicBezTo>
                  <a:pt x="999" y="367"/>
                  <a:pt x="999" y="366"/>
                  <a:pt x="1000" y="365"/>
                </a:cubicBezTo>
                <a:cubicBezTo>
                  <a:pt x="1002" y="364"/>
                  <a:pt x="1003" y="363"/>
                  <a:pt x="1005" y="362"/>
                </a:cubicBezTo>
                <a:cubicBezTo>
                  <a:pt x="1009" y="357"/>
                  <a:pt x="1011" y="351"/>
                  <a:pt x="1013" y="345"/>
                </a:cubicBezTo>
                <a:cubicBezTo>
                  <a:pt x="1013" y="345"/>
                  <a:pt x="1012" y="344"/>
                  <a:pt x="1012" y="344"/>
                </a:cubicBezTo>
                <a:cubicBezTo>
                  <a:pt x="1011" y="343"/>
                  <a:pt x="1010" y="342"/>
                  <a:pt x="1008" y="341"/>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8"/>
                  <a:pt x="966" y="356"/>
                </a:cubicBezTo>
                <a:cubicBezTo>
                  <a:pt x="964" y="353"/>
                  <a:pt x="963" y="350"/>
                  <a:pt x="961" y="347"/>
                </a:cubicBezTo>
                <a:close/>
                <a:moveTo>
                  <a:pt x="1014" y="349"/>
                </a:moveTo>
                <a:cubicBezTo>
                  <a:pt x="1012" y="354"/>
                  <a:pt x="1009" y="358"/>
                  <a:pt x="1007" y="363"/>
                </a:cubicBezTo>
                <a:cubicBezTo>
                  <a:pt x="1010" y="363"/>
                  <a:pt x="1012" y="363"/>
                  <a:pt x="1015" y="363"/>
                </a:cubicBezTo>
                <a:cubicBezTo>
                  <a:pt x="1015" y="363"/>
                  <a:pt x="1015" y="362"/>
                  <a:pt x="1015" y="361"/>
                </a:cubicBezTo>
                <a:cubicBezTo>
                  <a:pt x="1015" y="358"/>
                  <a:pt x="1015" y="356"/>
                  <a:pt x="1015" y="354"/>
                </a:cubicBezTo>
                <a:cubicBezTo>
                  <a:pt x="1015" y="352"/>
                  <a:pt x="1014" y="351"/>
                  <a:pt x="1014" y="349"/>
                </a:cubicBezTo>
                <a:close/>
                <a:moveTo>
                  <a:pt x="961" y="329"/>
                </a:moveTo>
                <a:cubicBezTo>
                  <a:pt x="960" y="329"/>
                  <a:pt x="960" y="330"/>
                  <a:pt x="959" y="330"/>
                </a:cubicBezTo>
                <a:cubicBezTo>
                  <a:pt x="958" y="330"/>
                  <a:pt x="958" y="330"/>
                  <a:pt x="958" y="329"/>
                </a:cubicBezTo>
                <a:cubicBezTo>
                  <a:pt x="957" y="329"/>
                  <a:pt x="957" y="328"/>
                  <a:pt x="957" y="327"/>
                </a:cubicBezTo>
                <a:cubicBezTo>
                  <a:pt x="958" y="325"/>
                  <a:pt x="958" y="323"/>
                  <a:pt x="959" y="322"/>
                </a:cubicBezTo>
                <a:cubicBezTo>
                  <a:pt x="958" y="322"/>
                  <a:pt x="958" y="322"/>
                  <a:pt x="958" y="322"/>
                </a:cubicBezTo>
                <a:cubicBezTo>
                  <a:pt x="957" y="322"/>
                  <a:pt x="956" y="323"/>
                  <a:pt x="955" y="324"/>
                </a:cubicBezTo>
                <a:cubicBezTo>
                  <a:pt x="954" y="325"/>
                  <a:pt x="956" y="331"/>
                  <a:pt x="958" y="331"/>
                </a:cubicBezTo>
                <a:cubicBezTo>
                  <a:pt x="959" y="332"/>
                  <a:pt x="961" y="331"/>
                  <a:pt x="961" y="329"/>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7"/>
                  <a:pt x="966" y="356"/>
                </a:cubicBezTo>
                <a:cubicBezTo>
                  <a:pt x="964" y="353"/>
                  <a:pt x="963" y="350"/>
                  <a:pt x="961" y="347"/>
                </a:cubicBezTo>
                <a:close/>
                <a:moveTo>
                  <a:pt x="1014" y="349"/>
                </a:moveTo>
                <a:cubicBezTo>
                  <a:pt x="1012" y="354"/>
                  <a:pt x="1009" y="358"/>
                  <a:pt x="1007" y="362"/>
                </a:cubicBezTo>
                <a:cubicBezTo>
                  <a:pt x="1010" y="362"/>
                  <a:pt x="1012" y="363"/>
                  <a:pt x="1015" y="362"/>
                </a:cubicBezTo>
                <a:cubicBezTo>
                  <a:pt x="1015" y="362"/>
                  <a:pt x="1016" y="361"/>
                  <a:pt x="1016" y="361"/>
                </a:cubicBezTo>
                <a:cubicBezTo>
                  <a:pt x="1016" y="358"/>
                  <a:pt x="1016" y="356"/>
                  <a:pt x="1015" y="353"/>
                </a:cubicBezTo>
                <a:cubicBezTo>
                  <a:pt x="1015" y="352"/>
                  <a:pt x="1014" y="350"/>
                  <a:pt x="1014" y="349"/>
                </a:cubicBezTo>
                <a:close/>
                <a:moveTo>
                  <a:pt x="961" y="329"/>
                </a:moveTo>
                <a:cubicBezTo>
                  <a:pt x="961" y="329"/>
                  <a:pt x="960" y="330"/>
                  <a:pt x="959" y="330"/>
                </a:cubicBezTo>
                <a:cubicBezTo>
                  <a:pt x="959" y="330"/>
                  <a:pt x="958" y="330"/>
                  <a:pt x="958" y="329"/>
                </a:cubicBezTo>
                <a:cubicBezTo>
                  <a:pt x="957" y="329"/>
                  <a:pt x="957" y="328"/>
                  <a:pt x="957" y="327"/>
                </a:cubicBezTo>
                <a:cubicBezTo>
                  <a:pt x="958" y="325"/>
                  <a:pt x="958" y="323"/>
                  <a:pt x="959" y="321"/>
                </a:cubicBezTo>
                <a:cubicBezTo>
                  <a:pt x="959" y="321"/>
                  <a:pt x="959" y="321"/>
                  <a:pt x="958" y="321"/>
                </a:cubicBezTo>
                <a:cubicBezTo>
                  <a:pt x="957" y="322"/>
                  <a:pt x="956" y="323"/>
                  <a:pt x="955" y="324"/>
                </a:cubicBezTo>
                <a:cubicBezTo>
                  <a:pt x="955" y="325"/>
                  <a:pt x="956" y="330"/>
                  <a:pt x="958" y="331"/>
                </a:cubicBezTo>
                <a:cubicBezTo>
                  <a:pt x="959" y="332"/>
                  <a:pt x="961" y="331"/>
                  <a:pt x="961" y="329"/>
                </a:cubicBezTo>
                <a:close/>
                <a:moveTo>
                  <a:pt x="1014" y="321"/>
                </a:moveTo>
                <a:cubicBezTo>
                  <a:pt x="1017" y="317"/>
                  <a:pt x="1017" y="317"/>
                  <a:pt x="1021" y="316"/>
                </a:cubicBezTo>
                <a:cubicBezTo>
                  <a:pt x="1021" y="318"/>
                  <a:pt x="1022" y="319"/>
                  <a:pt x="1023" y="319"/>
                </a:cubicBezTo>
                <a:cubicBezTo>
                  <a:pt x="1021" y="320"/>
                  <a:pt x="1019" y="322"/>
                  <a:pt x="1017" y="323"/>
                </a:cubicBezTo>
                <a:cubicBezTo>
                  <a:pt x="1016" y="322"/>
                  <a:pt x="1016" y="321"/>
                  <a:pt x="1015" y="320"/>
                </a:cubicBezTo>
                <a:cubicBezTo>
                  <a:pt x="1015" y="320"/>
                  <a:pt x="1014" y="320"/>
                  <a:pt x="1014" y="321"/>
                </a:cubicBezTo>
                <a:close/>
                <a:moveTo>
                  <a:pt x="1019" y="320"/>
                </a:moveTo>
                <a:cubicBezTo>
                  <a:pt x="1019" y="320"/>
                  <a:pt x="1018" y="319"/>
                  <a:pt x="1017" y="319"/>
                </a:cubicBezTo>
                <a:cubicBezTo>
                  <a:pt x="1017" y="319"/>
                  <a:pt x="1016" y="320"/>
                  <a:pt x="1016" y="321"/>
                </a:cubicBezTo>
                <a:cubicBezTo>
                  <a:pt x="1016" y="321"/>
                  <a:pt x="1017" y="321"/>
                  <a:pt x="1017" y="322"/>
                </a:cubicBezTo>
                <a:cubicBezTo>
                  <a:pt x="1018" y="321"/>
                  <a:pt x="1018" y="321"/>
                  <a:pt x="1019" y="320"/>
                </a:cubicBezTo>
                <a:close/>
                <a:moveTo>
                  <a:pt x="1001" y="311"/>
                </a:moveTo>
                <a:cubicBezTo>
                  <a:pt x="994" y="310"/>
                  <a:pt x="991" y="312"/>
                  <a:pt x="990" y="320"/>
                </a:cubicBezTo>
                <a:cubicBezTo>
                  <a:pt x="991" y="318"/>
                  <a:pt x="992" y="316"/>
                  <a:pt x="993" y="313"/>
                </a:cubicBezTo>
                <a:cubicBezTo>
                  <a:pt x="994" y="313"/>
                  <a:pt x="994" y="313"/>
                  <a:pt x="994" y="313"/>
                </a:cubicBezTo>
                <a:cubicBezTo>
                  <a:pt x="994" y="315"/>
                  <a:pt x="994" y="315"/>
                  <a:pt x="994" y="316"/>
                </a:cubicBezTo>
                <a:cubicBezTo>
                  <a:pt x="995" y="313"/>
                  <a:pt x="997" y="311"/>
                  <a:pt x="1001" y="311"/>
                </a:cubicBezTo>
                <a:close/>
                <a:moveTo>
                  <a:pt x="1044" y="312"/>
                </a:moveTo>
                <a:cubicBezTo>
                  <a:pt x="1042" y="314"/>
                  <a:pt x="1040" y="315"/>
                  <a:pt x="1039" y="316"/>
                </a:cubicBezTo>
                <a:cubicBezTo>
                  <a:pt x="1040" y="317"/>
                  <a:pt x="1043" y="315"/>
                  <a:pt x="1044" y="312"/>
                </a:cubicBezTo>
                <a:close/>
                <a:moveTo>
                  <a:pt x="1011" y="314"/>
                </a:moveTo>
                <a:cubicBezTo>
                  <a:pt x="1012" y="313"/>
                  <a:pt x="1013" y="312"/>
                  <a:pt x="1014" y="310"/>
                </a:cubicBezTo>
                <a:cubicBezTo>
                  <a:pt x="1011" y="312"/>
                  <a:pt x="1010" y="312"/>
                  <a:pt x="1011" y="314"/>
                </a:cubicBezTo>
                <a:close/>
                <a:moveTo>
                  <a:pt x="1020" y="335"/>
                </a:moveTo>
                <a:cubicBezTo>
                  <a:pt x="1019" y="336"/>
                  <a:pt x="1018" y="337"/>
                  <a:pt x="1018" y="338"/>
                </a:cubicBezTo>
                <a:cubicBezTo>
                  <a:pt x="1018" y="337"/>
                  <a:pt x="1020" y="336"/>
                  <a:pt x="1020" y="335"/>
                </a:cubicBezTo>
                <a:close/>
                <a:moveTo>
                  <a:pt x="1019" y="320"/>
                </a:moveTo>
                <a:cubicBezTo>
                  <a:pt x="1019" y="320"/>
                  <a:pt x="1018" y="320"/>
                  <a:pt x="1017" y="320"/>
                </a:cubicBezTo>
                <a:cubicBezTo>
                  <a:pt x="1017" y="320"/>
                  <a:pt x="1016" y="320"/>
                  <a:pt x="1016" y="321"/>
                </a:cubicBezTo>
                <a:cubicBezTo>
                  <a:pt x="1016" y="321"/>
                  <a:pt x="1016" y="322"/>
                  <a:pt x="1017" y="322"/>
                </a:cubicBezTo>
                <a:cubicBezTo>
                  <a:pt x="1018" y="322"/>
                  <a:pt x="1018" y="321"/>
                  <a:pt x="1019" y="320"/>
                </a:cubicBezTo>
                <a:close/>
                <a:moveTo>
                  <a:pt x="1544" y="441"/>
                </a:moveTo>
                <a:cubicBezTo>
                  <a:pt x="1544" y="443"/>
                  <a:pt x="1545" y="444"/>
                  <a:pt x="1545" y="446"/>
                </a:cubicBezTo>
                <a:cubicBezTo>
                  <a:pt x="1546" y="447"/>
                  <a:pt x="1546" y="449"/>
                  <a:pt x="1547" y="451"/>
                </a:cubicBezTo>
                <a:cubicBezTo>
                  <a:pt x="1547" y="452"/>
                  <a:pt x="1547" y="454"/>
                  <a:pt x="1547" y="456"/>
                </a:cubicBezTo>
                <a:cubicBezTo>
                  <a:pt x="1548" y="459"/>
                  <a:pt x="1547" y="460"/>
                  <a:pt x="1543" y="460"/>
                </a:cubicBezTo>
                <a:cubicBezTo>
                  <a:pt x="1541" y="460"/>
                  <a:pt x="1538" y="460"/>
                  <a:pt x="1535" y="460"/>
                </a:cubicBezTo>
                <a:cubicBezTo>
                  <a:pt x="1535" y="460"/>
                  <a:pt x="1534" y="460"/>
                  <a:pt x="1534" y="460"/>
                </a:cubicBezTo>
                <a:cubicBezTo>
                  <a:pt x="1532" y="462"/>
                  <a:pt x="1530" y="463"/>
                  <a:pt x="1529" y="465"/>
                </a:cubicBezTo>
                <a:cubicBezTo>
                  <a:pt x="1527" y="467"/>
                  <a:pt x="1524" y="467"/>
                  <a:pt x="1522" y="465"/>
                </a:cubicBezTo>
                <a:cubicBezTo>
                  <a:pt x="1520" y="463"/>
                  <a:pt x="1519" y="461"/>
                  <a:pt x="1517" y="458"/>
                </a:cubicBezTo>
                <a:cubicBezTo>
                  <a:pt x="1516" y="456"/>
                  <a:pt x="1517" y="455"/>
                  <a:pt x="1519" y="453"/>
                </a:cubicBezTo>
                <a:cubicBezTo>
                  <a:pt x="1516" y="453"/>
                  <a:pt x="1515" y="453"/>
                  <a:pt x="1513" y="453"/>
                </a:cubicBezTo>
                <a:cubicBezTo>
                  <a:pt x="1512" y="455"/>
                  <a:pt x="1511" y="457"/>
                  <a:pt x="1510" y="459"/>
                </a:cubicBezTo>
                <a:cubicBezTo>
                  <a:pt x="1510" y="460"/>
                  <a:pt x="1510" y="461"/>
                  <a:pt x="1510" y="461"/>
                </a:cubicBezTo>
                <a:cubicBezTo>
                  <a:pt x="1510" y="465"/>
                  <a:pt x="1509" y="466"/>
                  <a:pt x="1506" y="465"/>
                </a:cubicBezTo>
                <a:cubicBezTo>
                  <a:pt x="1502" y="465"/>
                  <a:pt x="1500" y="464"/>
                  <a:pt x="1497" y="463"/>
                </a:cubicBezTo>
                <a:cubicBezTo>
                  <a:pt x="1495" y="463"/>
                  <a:pt x="1494" y="461"/>
                  <a:pt x="1495" y="459"/>
                </a:cubicBezTo>
                <a:cubicBezTo>
                  <a:pt x="1495" y="458"/>
                  <a:pt x="1495" y="458"/>
                  <a:pt x="1495" y="458"/>
                </a:cubicBezTo>
                <a:cubicBezTo>
                  <a:pt x="1493" y="456"/>
                  <a:pt x="1491" y="456"/>
                  <a:pt x="1489" y="454"/>
                </a:cubicBezTo>
                <a:cubicBezTo>
                  <a:pt x="1487" y="453"/>
                  <a:pt x="1486" y="451"/>
                  <a:pt x="1486" y="450"/>
                </a:cubicBezTo>
                <a:cubicBezTo>
                  <a:pt x="1485" y="448"/>
                  <a:pt x="1485" y="446"/>
                  <a:pt x="1487" y="444"/>
                </a:cubicBezTo>
                <a:cubicBezTo>
                  <a:pt x="1490" y="442"/>
                  <a:pt x="1491" y="439"/>
                  <a:pt x="1490" y="435"/>
                </a:cubicBezTo>
                <a:cubicBezTo>
                  <a:pt x="1490" y="433"/>
                  <a:pt x="1490" y="431"/>
                  <a:pt x="1490" y="429"/>
                </a:cubicBezTo>
                <a:cubicBezTo>
                  <a:pt x="1489" y="429"/>
                  <a:pt x="1487" y="428"/>
                  <a:pt x="1486" y="427"/>
                </a:cubicBezTo>
                <a:cubicBezTo>
                  <a:pt x="1485" y="425"/>
                  <a:pt x="1484" y="423"/>
                  <a:pt x="1484" y="421"/>
                </a:cubicBezTo>
                <a:cubicBezTo>
                  <a:pt x="1484" y="419"/>
                  <a:pt x="1487" y="416"/>
                  <a:pt x="1490" y="415"/>
                </a:cubicBezTo>
                <a:cubicBezTo>
                  <a:pt x="1490" y="416"/>
                  <a:pt x="1490" y="417"/>
                  <a:pt x="1491" y="418"/>
                </a:cubicBezTo>
                <a:cubicBezTo>
                  <a:pt x="1491" y="419"/>
                  <a:pt x="1491" y="419"/>
                  <a:pt x="1491" y="421"/>
                </a:cubicBezTo>
                <a:cubicBezTo>
                  <a:pt x="1490" y="420"/>
                  <a:pt x="1490" y="420"/>
                  <a:pt x="1489" y="420"/>
                </a:cubicBezTo>
                <a:cubicBezTo>
                  <a:pt x="1489" y="421"/>
                  <a:pt x="1489" y="423"/>
                  <a:pt x="1488" y="425"/>
                </a:cubicBezTo>
                <a:cubicBezTo>
                  <a:pt x="1489" y="424"/>
                  <a:pt x="1490" y="424"/>
                  <a:pt x="1490" y="424"/>
                </a:cubicBezTo>
                <a:cubicBezTo>
                  <a:pt x="1491" y="423"/>
                  <a:pt x="1492" y="422"/>
                  <a:pt x="1493" y="421"/>
                </a:cubicBezTo>
                <a:cubicBezTo>
                  <a:pt x="1497" y="414"/>
                  <a:pt x="1503" y="410"/>
                  <a:pt x="1511" y="408"/>
                </a:cubicBezTo>
                <a:cubicBezTo>
                  <a:pt x="1514" y="408"/>
                  <a:pt x="1517" y="407"/>
                  <a:pt x="1520" y="404"/>
                </a:cubicBezTo>
                <a:cubicBezTo>
                  <a:pt x="1520" y="404"/>
                  <a:pt x="1521" y="403"/>
                  <a:pt x="1521" y="403"/>
                </a:cubicBezTo>
                <a:cubicBezTo>
                  <a:pt x="1524" y="403"/>
                  <a:pt x="1525" y="400"/>
                  <a:pt x="1527" y="399"/>
                </a:cubicBezTo>
                <a:cubicBezTo>
                  <a:pt x="1535" y="391"/>
                  <a:pt x="1547" y="391"/>
                  <a:pt x="1554" y="397"/>
                </a:cubicBezTo>
                <a:cubicBezTo>
                  <a:pt x="1557" y="399"/>
                  <a:pt x="1560" y="401"/>
                  <a:pt x="1562" y="403"/>
                </a:cubicBezTo>
                <a:cubicBezTo>
                  <a:pt x="1564" y="404"/>
                  <a:pt x="1565" y="406"/>
                  <a:pt x="1566" y="408"/>
                </a:cubicBezTo>
                <a:cubicBezTo>
                  <a:pt x="1567" y="410"/>
                  <a:pt x="1567" y="410"/>
                  <a:pt x="1569" y="408"/>
                </a:cubicBezTo>
                <a:cubicBezTo>
                  <a:pt x="1569" y="408"/>
                  <a:pt x="1570" y="407"/>
                  <a:pt x="1571" y="406"/>
                </a:cubicBezTo>
                <a:cubicBezTo>
                  <a:pt x="1573" y="404"/>
                  <a:pt x="1576" y="404"/>
                  <a:pt x="1577" y="407"/>
                </a:cubicBezTo>
                <a:cubicBezTo>
                  <a:pt x="1579" y="410"/>
                  <a:pt x="1579" y="413"/>
                  <a:pt x="1580" y="416"/>
                </a:cubicBezTo>
                <a:cubicBezTo>
                  <a:pt x="1580" y="420"/>
                  <a:pt x="1580" y="425"/>
                  <a:pt x="1579" y="429"/>
                </a:cubicBezTo>
                <a:cubicBezTo>
                  <a:pt x="1576" y="435"/>
                  <a:pt x="1571" y="439"/>
                  <a:pt x="1565" y="439"/>
                </a:cubicBezTo>
                <a:cubicBezTo>
                  <a:pt x="1564" y="439"/>
                  <a:pt x="1564" y="439"/>
                  <a:pt x="1563" y="439"/>
                </a:cubicBezTo>
                <a:cubicBezTo>
                  <a:pt x="1560" y="439"/>
                  <a:pt x="1559" y="439"/>
                  <a:pt x="1558" y="441"/>
                </a:cubicBezTo>
                <a:cubicBezTo>
                  <a:pt x="1557" y="446"/>
                  <a:pt x="1551" y="447"/>
                  <a:pt x="1548" y="444"/>
                </a:cubicBezTo>
                <a:cubicBezTo>
                  <a:pt x="1547" y="443"/>
                  <a:pt x="1546" y="442"/>
                  <a:pt x="1545" y="441"/>
                </a:cubicBezTo>
                <a:cubicBezTo>
                  <a:pt x="1544" y="441"/>
                  <a:pt x="1544" y="441"/>
                  <a:pt x="1544" y="441"/>
                </a:cubicBezTo>
                <a:close/>
                <a:moveTo>
                  <a:pt x="1538" y="437"/>
                </a:moveTo>
                <a:cubicBezTo>
                  <a:pt x="1542" y="439"/>
                  <a:pt x="1545" y="440"/>
                  <a:pt x="1548" y="442"/>
                </a:cubicBezTo>
                <a:cubicBezTo>
                  <a:pt x="1550" y="444"/>
                  <a:pt x="1552" y="445"/>
                  <a:pt x="1554" y="444"/>
                </a:cubicBezTo>
                <a:cubicBezTo>
                  <a:pt x="1556" y="443"/>
                  <a:pt x="1558" y="441"/>
                  <a:pt x="1558" y="438"/>
                </a:cubicBezTo>
                <a:cubicBezTo>
                  <a:pt x="1558" y="439"/>
                  <a:pt x="1557" y="439"/>
                  <a:pt x="1557" y="439"/>
                </a:cubicBezTo>
                <a:cubicBezTo>
                  <a:pt x="1556" y="440"/>
                  <a:pt x="1555" y="441"/>
                  <a:pt x="1554" y="442"/>
                </a:cubicBezTo>
                <a:cubicBezTo>
                  <a:pt x="1553" y="444"/>
                  <a:pt x="1552" y="443"/>
                  <a:pt x="1551" y="443"/>
                </a:cubicBezTo>
                <a:cubicBezTo>
                  <a:pt x="1551" y="443"/>
                  <a:pt x="1550" y="442"/>
                  <a:pt x="1550" y="441"/>
                </a:cubicBezTo>
                <a:cubicBezTo>
                  <a:pt x="1550" y="439"/>
                  <a:pt x="1551" y="437"/>
                  <a:pt x="1551" y="435"/>
                </a:cubicBezTo>
                <a:cubicBezTo>
                  <a:pt x="1554" y="435"/>
                  <a:pt x="1557" y="437"/>
                  <a:pt x="1561" y="437"/>
                </a:cubicBezTo>
                <a:cubicBezTo>
                  <a:pt x="1568" y="438"/>
                  <a:pt x="1574" y="437"/>
                  <a:pt x="1577" y="428"/>
                </a:cubicBezTo>
                <a:cubicBezTo>
                  <a:pt x="1579" y="423"/>
                  <a:pt x="1579" y="418"/>
                  <a:pt x="1578" y="413"/>
                </a:cubicBezTo>
                <a:cubicBezTo>
                  <a:pt x="1577" y="411"/>
                  <a:pt x="1577" y="410"/>
                  <a:pt x="1576" y="408"/>
                </a:cubicBezTo>
                <a:cubicBezTo>
                  <a:pt x="1575" y="406"/>
                  <a:pt x="1574" y="406"/>
                  <a:pt x="1573" y="407"/>
                </a:cubicBezTo>
                <a:cubicBezTo>
                  <a:pt x="1571" y="409"/>
                  <a:pt x="1569" y="410"/>
                  <a:pt x="1567" y="411"/>
                </a:cubicBezTo>
                <a:cubicBezTo>
                  <a:pt x="1567" y="412"/>
                  <a:pt x="1566" y="412"/>
                  <a:pt x="1566" y="414"/>
                </a:cubicBezTo>
                <a:cubicBezTo>
                  <a:pt x="1567" y="417"/>
                  <a:pt x="1566" y="420"/>
                  <a:pt x="1565" y="423"/>
                </a:cubicBezTo>
                <a:cubicBezTo>
                  <a:pt x="1565" y="421"/>
                  <a:pt x="1566" y="419"/>
                  <a:pt x="1566" y="418"/>
                </a:cubicBezTo>
                <a:cubicBezTo>
                  <a:pt x="1566" y="417"/>
                  <a:pt x="1565" y="416"/>
                  <a:pt x="1565" y="416"/>
                </a:cubicBezTo>
                <a:cubicBezTo>
                  <a:pt x="1564" y="416"/>
                  <a:pt x="1564" y="416"/>
                  <a:pt x="1564" y="417"/>
                </a:cubicBezTo>
                <a:cubicBezTo>
                  <a:pt x="1563" y="418"/>
                  <a:pt x="1562" y="419"/>
                  <a:pt x="1561" y="421"/>
                </a:cubicBezTo>
                <a:cubicBezTo>
                  <a:pt x="1561" y="421"/>
                  <a:pt x="1561" y="421"/>
                  <a:pt x="1561" y="421"/>
                </a:cubicBezTo>
                <a:cubicBezTo>
                  <a:pt x="1561" y="419"/>
                  <a:pt x="1562" y="418"/>
                  <a:pt x="1562" y="415"/>
                </a:cubicBezTo>
                <a:cubicBezTo>
                  <a:pt x="1561" y="416"/>
                  <a:pt x="1560" y="416"/>
                  <a:pt x="1560" y="417"/>
                </a:cubicBezTo>
                <a:cubicBezTo>
                  <a:pt x="1559" y="418"/>
                  <a:pt x="1559" y="418"/>
                  <a:pt x="1558" y="419"/>
                </a:cubicBezTo>
                <a:cubicBezTo>
                  <a:pt x="1559" y="416"/>
                  <a:pt x="1559" y="416"/>
                  <a:pt x="1565" y="414"/>
                </a:cubicBezTo>
                <a:cubicBezTo>
                  <a:pt x="1565" y="414"/>
                  <a:pt x="1564" y="413"/>
                  <a:pt x="1564" y="413"/>
                </a:cubicBezTo>
                <a:cubicBezTo>
                  <a:pt x="1561" y="414"/>
                  <a:pt x="1560" y="412"/>
                  <a:pt x="1560" y="410"/>
                </a:cubicBezTo>
                <a:cubicBezTo>
                  <a:pt x="1562" y="410"/>
                  <a:pt x="1563" y="409"/>
                  <a:pt x="1565" y="409"/>
                </a:cubicBezTo>
                <a:cubicBezTo>
                  <a:pt x="1563" y="406"/>
                  <a:pt x="1562" y="404"/>
                  <a:pt x="1558" y="403"/>
                </a:cubicBezTo>
                <a:cubicBezTo>
                  <a:pt x="1558" y="403"/>
                  <a:pt x="1558" y="403"/>
                  <a:pt x="1558" y="402"/>
                </a:cubicBezTo>
                <a:cubicBezTo>
                  <a:pt x="1555" y="400"/>
                  <a:pt x="1553" y="398"/>
                  <a:pt x="1550" y="396"/>
                </a:cubicBezTo>
                <a:cubicBezTo>
                  <a:pt x="1548" y="395"/>
                  <a:pt x="1545" y="394"/>
                  <a:pt x="1543" y="394"/>
                </a:cubicBezTo>
                <a:cubicBezTo>
                  <a:pt x="1540" y="395"/>
                  <a:pt x="1536" y="396"/>
                  <a:pt x="1533" y="397"/>
                </a:cubicBezTo>
                <a:cubicBezTo>
                  <a:pt x="1530" y="398"/>
                  <a:pt x="1528" y="399"/>
                  <a:pt x="1526" y="402"/>
                </a:cubicBezTo>
                <a:cubicBezTo>
                  <a:pt x="1528" y="402"/>
                  <a:pt x="1529" y="402"/>
                  <a:pt x="1530" y="402"/>
                </a:cubicBezTo>
                <a:cubicBezTo>
                  <a:pt x="1530" y="403"/>
                  <a:pt x="1529" y="403"/>
                  <a:pt x="1528" y="403"/>
                </a:cubicBezTo>
                <a:cubicBezTo>
                  <a:pt x="1526" y="404"/>
                  <a:pt x="1523" y="403"/>
                  <a:pt x="1521" y="406"/>
                </a:cubicBezTo>
                <a:cubicBezTo>
                  <a:pt x="1517" y="410"/>
                  <a:pt x="1513" y="413"/>
                  <a:pt x="1510" y="418"/>
                </a:cubicBezTo>
                <a:cubicBezTo>
                  <a:pt x="1508" y="419"/>
                  <a:pt x="1508" y="422"/>
                  <a:pt x="1506" y="424"/>
                </a:cubicBezTo>
                <a:cubicBezTo>
                  <a:pt x="1506" y="425"/>
                  <a:pt x="1506" y="425"/>
                  <a:pt x="1507" y="426"/>
                </a:cubicBezTo>
                <a:cubicBezTo>
                  <a:pt x="1508" y="428"/>
                  <a:pt x="1509" y="430"/>
                  <a:pt x="1511" y="432"/>
                </a:cubicBezTo>
                <a:cubicBezTo>
                  <a:pt x="1512" y="430"/>
                  <a:pt x="1513" y="429"/>
                  <a:pt x="1514" y="427"/>
                </a:cubicBezTo>
                <a:cubicBezTo>
                  <a:pt x="1514" y="429"/>
                  <a:pt x="1513" y="430"/>
                  <a:pt x="1513" y="431"/>
                </a:cubicBezTo>
                <a:cubicBezTo>
                  <a:pt x="1512" y="433"/>
                  <a:pt x="1511" y="434"/>
                  <a:pt x="1511" y="435"/>
                </a:cubicBezTo>
                <a:cubicBezTo>
                  <a:pt x="1510" y="436"/>
                  <a:pt x="1511" y="437"/>
                  <a:pt x="1511" y="438"/>
                </a:cubicBezTo>
                <a:cubicBezTo>
                  <a:pt x="1513" y="442"/>
                  <a:pt x="1517" y="442"/>
                  <a:pt x="1521" y="440"/>
                </a:cubicBezTo>
                <a:cubicBezTo>
                  <a:pt x="1523" y="438"/>
                  <a:pt x="1526" y="437"/>
                  <a:pt x="1528" y="436"/>
                </a:cubicBezTo>
                <a:cubicBezTo>
                  <a:pt x="1530" y="436"/>
                  <a:pt x="1531" y="435"/>
                  <a:pt x="1531" y="433"/>
                </a:cubicBezTo>
                <a:cubicBezTo>
                  <a:pt x="1531" y="430"/>
                  <a:pt x="1531" y="427"/>
                  <a:pt x="1531" y="423"/>
                </a:cubicBezTo>
                <a:cubicBezTo>
                  <a:pt x="1531" y="420"/>
                  <a:pt x="1531" y="418"/>
                  <a:pt x="1531" y="414"/>
                </a:cubicBezTo>
                <a:cubicBezTo>
                  <a:pt x="1532" y="417"/>
                  <a:pt x="1532" y="420"/>
                  <a:pt x="1533" y="422"/>
                </a:cubicBezTo>
                <a:cubicBezTo>
                  <a:pt x="1534" y="427"/>
                  <a:pt x="1534" y="431"/>
                  <a:pt x="1532" y="436"/>
                </a:cubicBezTo>
                <a:cubicBezTo>
                  <a:pt x="1532" y="437"/>
                  <a:pt x="1531" y="437"/>
                  <a:pt x="1531" y="437"/>
                </a:cubicBezTo>
                <a:cubicBezTo>
                  <a:pt x="1527" y="438"/>
                  <a:pt x="1524" y="440"/>
                  <a:pt x="1521" y="441"/>
                </a:cubicBezTo>
                <a:cubicBezTo>
                  <a:pt x="1516" y="444"/>
                  <a:pt x="1512" y="442"/>
                  <a:pt x="1509" y="439"/>
                </a:cubicBezTo>
                <a:cubicBezTo>
                  <a:pt x="1508" y="438"/>
                  <a:pt x="1508" y="437"/>
                  <a:pt x="1509" y="437"/>
                </a:cubicBezTo>
                <a:cubicBezTo>
                  <a:pt x="1510" y="434"/>
                  <a:pt x="1509" y="432"/>
                  <a:pt x="1507" y="430"/>
                </a:cubicBezTo>
                <a:cubicBezTo>
                  <a:pt x="1506" y="428"/>
                  <a:pt x="1504" y="426"/>
                  <a:pt x="1505" y="423"/>
                </a:cubicBezTo>
                <a:cubicBezTo>
                  <a:pt x="1506" y="421"/>
                  <a:pt x="1507" y="419"/>
                  <a:pt x="1508" y="418"/>
                </a:cubicBezTo>
                <a:cubicBezTo>
                  <a:pt x="1510" y="415"/>
                  <a:pt x="1512" y="413"/>
                  <a:pt x="1514" y="410"/>
                </a:cubicBezTo>
                <a:cubicBezTo>
                  <a:pt x="1513" y="410"/>
                  <a:pt x="1513" y="410"/>
                  <a:pt x="1513" y="410"/>
                </a:cubicBezTo>
                <a:cubicBezTo>
                  <a:pt x="1508" y="411"/>
                  <a:pt x="1503" y="413"/>
                  <a:pt x="1499" y="416"/>
                </a:cubicBezTo>
                <a:cubicBezTo>
                  <a:pt x="1495" y="420"/>
                  <a:pt x="1492" y="425"/>
                  <a:pt x="1491" y="432"/>
                </a:cubicBezTo>
                <a:cubicBezTo>
                  <a:pt x="1491" y="439"/>
                  <a:pt x="1493" y="445"/>
                  <a:pt x="1497" y="451"/>
                </a:cubicBezTo>
                <a:cubicBezTo>
                  <a:pt x="1497" y="452"/>
                  <a:pt x="1498" y="453"/>
                  <a:pt x="1498" y="454"/>
                </a:cubicBezTo>
                <a:cubicBezTo>
                  <a:pt x="1498" y="456"/>
                  <a:pt x="1497" y="458"/>
                  <a:pt x="1497" y="459"/>
                </a:cubicBezTo>
                <a:cubicBezTo>
                  <a:pt x="1496" y="461"/>
                  <a:pt x="1497" y="461"/>
                  <a:pt x="1498" y="462"/>
                </a:cubicBezTo>
                <a:cubicBezTo>
                  <a:pt x="1501" y="463"/>
                  <a:pt x="1504" y="463"/>
                  <a:pt x="1506" y="463"/>
                </a:cubicBezTo>
                <a:cubicBezTo>
                  <a:pt x="1507" y="463"/>
                  <a:pt x="1508" y="463"/>
                  <a:pt x="1508" y="462"/>
                </a:cubicBezTo>
                <a:cubicBezTo>
                  <a:pt x="1508" y="461"/>
                  <a:pt x="1508" y="459"/>
                  <a:pt x="1509" y="459"/>
                </a:cubicBezTo>
                <a:cubicBezTo>
                  <a:pt x="1511" y="456"/>
                  <a:pt x="1511" y="454"/>
                  <a:pt x="1511" y="451"/>
                </a:cubicBezTo>
                <a:cubicBezTo>
                  <a:pt x="1511" y="450"/>
                  <a:pt x="1511" y="450"/>
                  <a:pt x="1511" y="450"/>
                </a:cubicBezTo>
                <a:cubicBezTo>
                  <a:pt x="1511" y="449"/>
                  <a:pt x="1511" y="449"/>
                  <a:pt x="1511" y="449"/>
                </a:cubicBezTo>
                <a:cubicBezTo>
                  <a:pt x="1512" y="452"/>
                  <a:pt x="1513" y="452"/>
                  <a:pt x="1515" y="452"/>
                </a:cubicBezTo>
                <a:cubicBezTo>
                  <a:pt x="1516" y="452"/>
                  <a:pt x="1517" y="452"/>
                  <a:pt x="1518" y="452"/>
                </a:cubicBezTo>
                <a:cubicBezTo>
                  <a:pt x="1520" y="452"/>
                  <a:pt x="1523" y="452"/>
                  <a:pt x="1524" y="448"/>
                </a:cubicBezTo>
                <a:cubicBezTo>
                  <a:pt x="1524" y="450"/>
                  <a:pt x="1524" y="452"/>
                  <a:pt x="1524" y="453"/>
                </a:cubicBezTo>
                <a:cubicBezTo>
                  <a:pt x="1523" y="454"/>
                  <a:pt x="1521" y="454"/>
                  <a:pt x="1520" y="455"/>
                </a:cubicBezTo>
                <a:cubicBezTo>
                  <a:pt x="1519" y="456"/>
                  <a:pt x="1518" y="457"/>
                  <a:pt x="1519" y="458"/>
                </a:cubicBezTo>
                <a:cubicBezTo>
                  <a:pt x="1520" y="460"/>
                  <a:pt x="1521" y="462"/>
                  <a:pt x="1523" y="464"/>
                </a:cubicBezTo>
                <a:cubicBezTo>
                  <a:pt x="1525" y="465"/>
                  <a:pt x="1526" y="465"/>
                  <a:pt x="1528" y="463"/>
                </a:cubicBezTo>
                <a:cubicBezTo>
                  <a:pt x="1528" y="463"/>
                  <a:pt x="1529" y="462"/>
                  <a:pt x="1530" y="461"/>
                </a:cubicBezTo>
                <a:cubicBezTo>
                  <a:pt x="1532" y="460"/>
                  <a:pt x="1533" y="459"/>
                  <a:pt x="1535" y="458"/>
                </a:cubicBezTo>
                <a:cubicBezTo>
                  <a:pt x="1539" y="453"/>
                  <a:pt x="1541" y="447"/>
                  <a:pt x="1543" y="441"/>
                </a:cubicBezTo>
                <a:cubicBezTo>
                  <a:pt x="1543" y="441"/>
                  <a:pt x="1542" y="440"/>
                  <a:pt x="1541" y="440"/>
                </a:cubicBezTo>
                <a:cubicBezTo>
                  <a:pt x="1541" y="439"/>
                  <a:pt x="1540" y="438"/>
                  <a:pt x="1538" y="437"/>
                </a:cubicBezTo>
                <a:close/>
                <a:moveTo>
                  <a:pt x="1491" y="443"/>
                </a:moveTo>
                <a:cubicBezTo>
                  <a:pt x="1490" y="444"/>
                  <a:pt x="1489" y="445"/>
                  <a:pt x="1487" y="446"/>
                </a:cubicBezTo>
                <a:cubicBezTo>
                  <a:pt x="1487" y="446"/>
                  <a:pt x="1487" y="447"/>
                  <a:pt x="1487" y="448"/>
                </a:cubicBezTo>
                <a:cubicBezTo>
                  <a:pt x="1487" y="451"/>
                  <a:pt x="1491" y="455"/>
                  <a:pt x="1494" y="455"/>
                </a:cubicBezTo>
                <a:cubicBezTo>
                  <a:pt x="1496" y="455"/>
                  <a:pt x="1497" y="454"/>
                  <a:pt x="1496" y="452"/>
                </a:cubicBezTo>
                <a:cubicBezTo>
                  <a:pt x="1494" y="449"/>
                  <a:pt x="1493" y="446"/>
                  <a:pt x="1491" y="443"/>
                </a:cubicBezTo>
                <a:close/>
                <a:moveTo>
                  <a:pt x="1544" y="445"/>
                </a:moveTo>
                <a:cubicBezTo>
                  <a:pt x="1541" y="450"/>
                  <a:pt x="1539" y="454"/>
                  <a:pt x="1537" y="459"/>
                </a:cubicBezTo>
                <a:cubicBezTo>
                  <a:pt x="1540" y="459"/>
                  <a:pt x="1542" y="459"/>
                  <a:pt x="1545" y="459"/>
                </a:cubicBezTo>
                <a:cubicBezTo>
                  <a:pt x="1545" y="459"/>
                  <a:pt x="1545" y="458"/>
                  <a:pt x="1545" y="457"/>
                </a:cubicBezTo>
                <a:cubicBezTo>
                  <a:pt x="1545" y="454"/>
                  <a:pt x="1545" y="452"/>
                  <a:pt x="1545" y="450"/>
                </a:cubicBezTo>
                <a:cubicBezTo>
                  <a:pt x="1545" y="448"/>
                  <a:pt x="1544" y="447"/>
                  <a:pt x="1544" y="445"/>
                </a:cubicBezTo>
                <a:close/>
                <a:moveTo>
                  <a:pt x="1491" y="425"/>
                </a:moveTo>
                <a:cubicBezTo>
                  <a:pt x="1490" y="425"/>
                  <a:pt x="1489" y="426"/>
                  <a:pt x="1489" y="426"/>
                </a:cubicBezTo>
                <a:cubicBezTo>
                  <a:pt x="1488" y="426"/>
                  <a:pt x="1487" y="426"/>
                  <a:pt x="1487" y="425"/>
                </a:cubicBezTo>
                <a:cubicBezTo>
                  <a:pt x="1487" y="425"/>
                  <a:pt x="1487" y="424"/>
                  <a:pt x="1487" y="423"/>
                </a:cubicBezTo>
                <a:cubicBezTo>
                  <a:pt x="1487" y="421"/>
                  <a:pt x="1488" y="419"/>
                  <a:pt x="1489" y="418"/>
                </a:cubicBezTo>
                <a:cubicBezTo>
                  <a:pt x="1488" y="418"/>
                  <a:pt x="1488" y="418"/>
                  <a:pt x="1488" y="418"/>
                </a:cubicBezTo>
                <a:cubicBezTo>
                  <a:pt x="1487" y="418"/>
                  <a:pt x="1486" y="419"/>
                  <a:pt x="1485" y="420"/>
                </a:cubicBezTo>
                <a:cubicBezTo>
                  <a:pt x="1484" y="421"/>
                  <a:pt x="1486" y="427"/>
                  <a:pt x="1487" y="427"/>
                </a:cubicBezTo>
                <a:cubicBezTo>
                  <a:pt x="1489" y="428"/>
                  <a:pt x="1491" y="427"/>
                  <a:pt x="1491" y="425"/>
                </a:cubicBezTo>
                <a:close/>
                <a:moveTo>
                  <a:pt x="1491" y="443"/>
                </a:moveTo>
                <a:cubicBezTo>
                  <a:pt x="1490" y="444"/>
                  <a:pt x="1489" y="445"/>
                  <a:pt x="1488" y="446"/>
                </a:cubicBezTo>
                <a:cubicBezTo>
                  <a:pt x="1487" y="446"/>
                  <a:pt x="1487" y="447"/>
                  <a:pt x="1487" y="448"/>
                </a:cubicBezTo>
                <a:cubicBezTo>
                  <a:pt x="1487" y="451"/>
                  <a:pt x="1491" y="455"/>
                  <a:pt x="1494" y="455"/>
                </a:cubicBezTo>
                <a:cubicBezTo>
                  <a:pt x="1496" y="455"/>
                  <a:pt x="1496" y="453"/>
                  <a:pt x="1496" y="452"/>
                </a:cubicBezTo>
                <a:cubicBezTo>
                  <a:pt x="1494" y="449"/>
                  <a:pt x="1493" y="446"/>
                  <a:pt x="1491" y="443"/>
                </a:cubicBezTo>
                <a:close/>
                <a:moveTo>
                  <a:pt x="1544" y="445"/>
                </a:moveTo>
                <a:cubicBezTo>
                  <a:pt x="1542" y="450"/>
                  <a:pt x="1539" y="454"/>
                  <a:pt x="1537" y="458"/>
                </a:cubicBezTo>
                <a:cubicBezTo>
                  <a:pt x="1540" y="458"/>
                  <a:pt x="1542" y="459"/>
                  <a:pt x="1545" y="458"/>
                </a:cubicBezTo>
                <a:cubicBezTo>
                  <a:pt x="1545" y="458"/>
                  <a:pt x="1545" y="457"/>
                  <a:pt x="1545" y="457"/>
                </a:cubicBezTo>
                <a:cubicBezTo>
                  <a:pt x="1545" y="454"/>
                  <a:pt x="1545" y="452"/>
                  <a:pt x="1545" y="449"/>
                </a:cubicBezTo>
                <a:cubicBezTo>
                  <a:pt x="1545" y="448"/>
                  <a:pt x="1544" y="446"/>
                  <a:pt x="1544" y="445"/>
                </a:cubicBezTo>
                <a:close/>
                <a:moveTo>
                  <a:pt x="1491" y="425"/>
                </a:moveTo>
                <a:cubicBezTo>
                  <a:pt x="1490" y="425"/>
                  <a:pt x="1490" y="426"/>
                  <a:pt x="1489" y="426"/>
                </a:cubicBezTo>
                <a:cubicBezTo>
                  <a:pt x="1488" y="426"/>
                  <a:pt x="1488" y="426"/>
                  <a:pt x="1488" y="425"/>
                </a:cubicBezTo>
                <a:cubicBezTo>
                  <a:pt x="1487" y="425"/>
                  <a:pt x="1487" y="424"/>
                  <a:pt x="1487" y="423"/>
                </a:cubicBezTo>
                <a:cubicBezTo>
                  <a:pt x="1488" y="421"/>
                  <a:pt x="1488" y="419"/>
                  <a:pt x="1489" y="417"/>
                </a:cubicBezTo>
                <a:cubicBezTo>
                  <a:pt x="1488" y="417"/>
                  <a:pt x="1488" y="417"/>
                  <a:pt x="1488" y="417"/>
                </a:cubicBezTo>
                <a:cubicBezTo>
                  <a:pt x="1487" y="418"/>
                  <a:pt x="1486" y="419"/>
                  <a:pt x="1485" y="420"/>
                </a:cubicBezTo>
                <a:cubicBezTo>
                  <a:pt x="1484" y="421"/>
                  <a:pt x="1486" y="426"/>
                  <a:pt x="1488" y="427"/>
                </a:cubicBezTo>
                <a:cubicBezTo>
                  <a:pt x="1489" y="428"/>
                  <a:pt x="1491" y="427"/>
                  <a:pt x="1491" y="425"/>
                </a:cubicBezTo>
                <a:close/>
                <a:moveTo>
                  <a:pt x="1544" y="417"/>
                </a:moveTo>
                <a:cubicBezTo>
                  <a:pt x="1547" y="413"/>
                  <a:pt x="1547" y="413"/>
                  <a:pt x="1550" y="412"/>
                </a:cubicBezTo>
                <a:cubicBezTo>
                  <a:pt x="1550" y="414"/>
                  <a:pt x="1552" y="415"/>
                  <a:pt x="1553" y="415"/>
                </a:cubicBezTo>
                <a:cubicBezTo>
                  <a:pt x="1551" y="416"/>
                  <a:pt x="1549" y="418"/>
                  <a:pt x="1547" y="419"/>
                </a:cubicBezTo>
                <a:cubicBezTo>
                  <a:pt x="1546" y="418"/>
                  <a:pt x="1546" y="417"/>
                  <a:pt x="1545" y="416"/>
                </a:cubicBezTo>
                <a:cubicBezTo>
                  <a:pt x="1545" y="416"/>
                  <a:pt x="1544" y="416"/>
                  <a:pt x="1544" y="417"/>
                </a:cubicBezTo>
                <a:close/>
                <a:moveTo>
                  <a:pt x="1549" y="416"/>
                </a:moveTo>
                <a:cubicBezTo>
                  <a:pt x="1549" y="416"/>
                  <a:pt x="1548" y="415"/>
                  <a:pt x="1547" y="415"/>
                </a:cubicBezTo>
                <a:cubicBezTo>
                  <a:pt x="1547" y="415"/>
                  <a:pt x="1546" y="416"/>
                  <a:pt x="1546" y="417"/>
                </a:cubicBezTo>
                <a:cubicBezTo>
                  <a:pt x="1546" y="417"/>
                  <a:pt x="1547" y="417"/>
                  <a:pt x="1547" y="418"/>
                </a:cubicBezTo>
                <a:cubicBezTo>
                  <a:pt x="1548" y="417"/>
                  <a:pt x="1548" y="417"/>
                  <a:pt x="1549" y="416"/>
                </a:cubicBezTo>
                <a:close/>
                <a:moveTo>
                  <a:pt x="1531" y="407"/>
                </a:moveTo>
                <a:cubicBezTo>
                  <a:pt x="1524" y="406"/>
                  <a:pt x="1521" y="408"/>
                  <a:pt x="1520" y="416"/>
                </a:cubicBezTo>
                <a:cubicBezTo>
                  <a:pt x="1521" y="414"/>
                  <a:pt x="1522" y="412"/>
                  <a:pt x="1524" y="409"/>
                </a:cubicBezTo>
                <a:cubicBezTo>
                  <a:pt x="1524" y="409"/>
                  <a:pt x="1524" y="409"/>
                  <a:pt x="1524" y="409"/>
                </a:cubicBezTo>
                <a:cubicBezTo>
                  <a:pt x="1524" y="411"/>
                  <a:pt x="1524" y="411"/>
                  <a:pt x="1524" y="412"/>
                </a:cubicBezTo>
                <a:cubicBezTo>
                  <a:pt x="1525" y="409"/>
                  <a:pt x="1527" y="407"/>
                  <a:pt x="1531" y="407"/>
                </a:cubicBezTo>
                <a:close/>
                <a:moveTo>
                  <a:pt x="1574" y="408"/>
                </a:moveTo>
                <a:cubicBezTo>
                  <a:pt x="1572" y="410"/>
                  <a:pt x="1570" y="411"/>
                  <a:pt x="1568" y="412"/>
                </a:cubicBezTo>
                <a:cubicBezTo>
                  <a:pt x="1570" y="413"/>
                  <a:pt x="1573" y="411"/>
                  <a:pt x="1574" y="408"/>
                </a:cubicBezTo>
                <a:close/>
                <a:moveTo>
                  <a:pt x="1541" y="410"/>
                </a:moveTo>
                <a:cubicBezTo>
                  <a:pt x="1542" y="409"/>
                  <a:pt x="1543" y="408"/>
                  <a:pt x="1544" y="406"/>
                </a:cubicBezTo>
                <a:cubicBezTo>
                  <a:pt x="1541" y="408"/>
                  <a:pt x="1540" y="408"/>
                  <a:pt x="1541" y="410"/>
                </a:cubicBezTo>
                <a:close/>
                <a:moveTo>
                  <a:pt x="1550" y="431"/>
                </a:moveTo>
                <a:cubicBezTo>
                  <a:pt x="1549" y="432"/>
                  <a:pt x="1548" y="433"/>
                  <a:pt x="1548" y="433"/>
                </a:cubicBezTo>
                <a:cubicBezTo>
                  <a:pt x="1548" y="433"/>
                  <a:pt x="1549" y="432"/>
                  <a:pt x="1550" y="431"/>
                </a:cubicBezTo>
                <a:close/>
                <a:moveTo>
                  <a:pt x="1549" y="416"/>
                </a:moveTo>
                <a:cubicBezTo>
                  <a:pt x="1548" y="416"/>
                  <a:pt x="1548" y="415"/>
                  <a:pt x="1547" y="415"/>
                </a:cubicBezTo>
                <a:cubicBezTo>
                  <a:pt x="1547" y="415"/>
                  <a:pt x="1546" y="416"/>
                  <a:pt x="1546" y="417"/>
                </a:cubicBezTo>
                <a:cubicBezTo>
                  <a:pt x="1546" y="417"/>
                  <a:pt x="1546" y="417"/>
                  <a:pt x="1547" y="418"/>
                </a:cubicBezTo>
                <a:cubicBezTo>
                  <a:pt x="1548" y="417"/>
                  <a:pt x="1548" y="417"/>
                  <a:pt x="1549" y="416"/>
                </a:cubicBezTo>
                <a:close/>
                <a:moveTo>
                  <a:pt x="1097" y="298"/>
                </a:moveTo>
                <a:cubicBezTo>
                  <a:pt x="1097" y="298"/>
                  <a:pt x="1097" y="298"/>
                  <a:pt x="1097" y="298"/>
                </a:cubicBezTo>
                <a:cubicBezTo>
                  <a:pt x="1092" y="298"/>
                  <a:pt x="1092" y="298"/>
                  <a:pt x="1092" y="298"/>
                </a:cubicBezTo>
                <a:cubicBezTo>
                  <a:pt x="1090" y="299"/>
                  <a:pt x="1088" y="301"/>
                  <a:pt x="1086" y="302"/>
                </a:cubicBezTo>
                <a:cubicBezTo>
                  <a:pt x="1085" y="303"/>
                  <a:pt x="1083" y="304"/>
                  <a:pt x="1081" y="305"/>
                </a:cubicBezTo>
                <a:cubicBezTo>
                  <a:pt x="1080" y="306"/>
                  <a:pt x="1078" y="307"/>
                  <a:pt x="1076" y="307"/>
                </a:cubicBezTo>
                <a:cubicBezTo>
                  <a:pt x="1074" y="308"/>
                  <a:pt x="1072" y="309"/>
                  <a:pt x="1070" y="309"/>
                </a:cubicBezTo>
                <a:cubicBezTo>
                  <a:pt x="1070" y="309"/>
                  <a:pt x="1070" y="309"/>
                  <a:pt x="1070" y="319"/>
                </a:cubicBezTo>
                <a:cubicBezTo>
                  <a:pt x="1073" y="318"/>
                  <a:pt x="1076" y="318"/>
                  <a:pt x="1078" y="316"/>
                </a:cubicBezTo>
                <a:cubicBezTo>
                  <a:pt x="1081" y="315"/>
                  <a:pt x="1083" y="314"/>
                  <a:pt x="1086" y="313"/>
                </a:cubicBezTo>
                <a:cubicBezTo>
                  <a:pt x="1086" y="313"/>
                  <a:pt x="1086" y="313"/>
                  <a:pt x="1086" y="371"/>
                </a:cubicBezTo>
                <a:cubicBezTo>
                  <a:pt x="1086" y="371"/>
                  <a:pt x="1086" y="371"/>
                  <a:pt x="1097" y="371"/>
                </a:cubicBezTo>
                <a:cubicBezTo>
                  <a:pt x="1097" y="371"/>
                  <a:pt x="1097" y="371"/>
                  <a:pt x="1097" y="298"/>
                </a:cubicBezTo>
                <a:close/>
                <a:moveTo>
                  <a:pt x="1144" y="298"/>
                </a:moveTo>
                <a:cubicBezTo>
                  <a:pt x="1144" y="298"/>
                  <a:pt x="1144" y="298"/>
                  <a:pt x="1144" y="298"/>
                </a:cubicBezTo>
                <a:cubicBezTo>
                  <a:pt x="1139" y="298"/>
                  <a:pt x="1139" y="298"/>
                  <a:pt x="1139" y="298"/>
                </a:cubicBezTo>
                <a:cubicBezTo>
                  <a:pt x="1138" y="299"/>
                  <a:pt x="1135" y="301"/>
                  <a:pt x="1134" y="302"/>
                </a:cubicBezTo>
                <a:cubicBezTo>
                  <a:pt x="1132" y="303"/>
                  <a:pt x="1130" y="304"/>
                  <a:pt x="1128" y="305"/>
                </a:cubicBezTo>
                <a:cubicBezTo>
                  <a:pt x="1127" y="306"/>
                  <a:pt x="1125" y="307"/>
                  <a:pt x="1123" y="307"/>
                </a:cubicBezTo>
                <a:cubicBezTo>
                  <a:pt x="1121" y="308"/>
                  <a:pt x="1119" y="309"/>
                  <a:pt x="1117" y="309"/>
                </a:cubicBezTo>
                <a:cubicBezTo>
                  <a:pt x="1117" y="309"/>
                  <a:pt x="1117" y="309"/>
                  <a:pt x="1117" y="319"/>
                </a:cubicBezTo>
                <a:cubicBezTo>
                  <a:pt x="1120" y="318"/>
                  <a:pt x="1123" y="318"/>
                  <a:pt x="1126" y="316"/>
                </a:cubicBezTo>
                <a:cubicBezTo>
                  <a:pt x="1128" y="315"/>
                  <a:pt x="1130" y="314"/>
                  <a:pt x="1133" y="313"/>
                </a:cubicBezTo>
                <a:cubicBezTo>
                  <a:pt x="1133" y="313"/>
                  <a:pt x="1133" y="313"/>
                  <a:pt x="1133" y="371"/>
                </a:cubicBezTo>
                <a:cubicBezTo>
                  <a:pt x="1133" y="371"/>
                  <a:pt x="1133" y="371"/>
                  <a:pt x="1144" y="371"/>
                </a:cubicBezTo>
                <a:cubicBezTo>
                  <a:pt x="1144" y="371"/>
                  <a:pt x="1144" y="371"/>
                  <a:pt x="1144" y="298"/>
                </a:cubicBezTo>
                <a:close/>
                <a:moveTo>
                  <a:pt x="1190" y="298"/>
                </a:moveTo>
                <a:cubicBezTo>
                  <a:pt x="1190" y="298"/>
                  <a:pt x="1190" y="298"/>
                  <a:pt x="1190" y="298"/>
                </a:cubicBezTo>
                <a:cubicBezTo>
                  <a:pt x="1186" y="298"/>
                  <a:pt x="1186" y="298"/>
                  <a:pt x="1186" y="298"/>
                </a:cubicBezTo>
                <a:cubicBezTo>
                  <a:pt x="1184" y="299"/>
                  <a:pt x="1182" y="301"/>
                  <a:pt x="1180" y="302"/>
                </a:cubicBezTo>
                <a:cubicBezTo>
                  <a:pt x="1179" y="303"/>
                  <a:pt x="1176" y="304"/>
                  <a:pt x="1175" y="305"/>
                </a:cubicBezTo>
                <a:cubicBezTo>
                  <a:pt x="1173" y="305"/>
                  <a:pt x="1171" y="306"/>
                  <a:pt x="1169" y="307"/>
                </a:cubicBezTo>
                <a:cubicBezTo>
                  <a:pt x="1168" y="307"/>
                  <a:pt x="1165" y="308"/>
                  <a:pt x="1164" y="309"/>
                </a:cubicBezTo>
                <a:cubicBezTo>
                  <a:pt x="1164" y="309"/>
                  <a:pt x="1164" y="309"/>
                  <a:pt x="1164" y="319"/>
                </a:cubicBezTo>
                <a:cubicBezTo>
                  <a:pt x="1167" y="318"/>
                  <a:pt x="1170" y="317"/>
                  <a:pt x="1172" y="316"/>
                </a:cubicBezTo>
                <a:cubicBezTo>
                  <a:pt x="1174" y="315"/>
                  <a:pt x="1177" y="314"/>
                  <a:pt x="1179" y="313"/>
                </a:cubicBezTo>
                <a:cubicBezTo>
                  <a:pt x="1179" y="313"/>
                  <a:pt x="1179" y="313"/>
                  <a:pt x="1179" y="371"/>
                </a:cubicBezTo>
                <a:cubicBezTo>
                  <a:pt x="1179" y="371"/>
                  <a:pt x="1179" y="371"/>
                  <a:pt x="1190" y="371"/>
                </a:cubicBezTo>
                <a:cubicBezTo>
                  <a:pt x="1190" y="371"/>
                  <a:pt x="1190" y="371"/>
                  <a:pt x="1190" y="298"/>
                </a:cubicBezTo>
                <a:close/>
                <a:moveTo>
                  <a:pt x="1327" y="330"/>
                </a:moveTo>
                <a:cubicBezTo>
                  <a:pt x="1327" y="330"/>
                  <a:pt x="1327" y="330"/>
                  <a:pt x="1327" y="330"/>
                </a:cubicBezTo>
                <a:cubicBezTo>
                  <a:pt x="1327" y="339"/>
                  <a:pt x="1327" y="339"/>
                  <a:pt x="1327" y="339"/>
                </a:cubicBezTo>
                <a:cubicBezTo>
                  <a:pt x="1333" y="339"/>
                  <a:pt x="1334" y="342"/>
                  <a:pt x="1334" y="344"/>
                </a:cubicBezTo>
                <a:cubicBezTo>
                  <a:pt x="1334" y="347"/>
                  <a:pt x="1333" y="349"/>
                  <a:pt x="1333" y="352"/>
                </a:cubicBezTo>
                <a:cubicBezTo>
                  <a:pt x="1333" y="354"/>
                  <a:pt x="1332" y="356"/>
                  <a:pt x="1332" y="359"/>
                </a:cubicBezTo>
                <a:cubicBezTo>
                  <a:pt x="1332" y="368"/>
                  <a:pt x="1338" y="371"/>
                  <a:pt x="1347" y="371"/>
                </a:cubicBezTo>
                <a:cubicBezTo>
                  <a:pt x="1347" y="371"/>
                  <a:pt x="1347" y="371"/>
                  <a:pt x="1351" y="371"/>
                </a:cubicBezTo>
                <a:cubicBezTo>
                  <a:pt x="1351" y="371"/>
                  <a:pt x="1351" y="371"/>
                  <a:pt x="1351" y="362"/>
                </a:cubicBezTo>
                <a:cubicBezTo>
                  <a:pt x="1351" y="362"/>
                  <a:pt x="1351" y="362"/>
                  <a:pt x="1349" y="362"/>
                </a:cubicBezTo>
                <a:cubicBezTo>
                  <a:pt x="1345" y="362"/>
                  <a:pt x="1344" y="360"/>
                  <a:pt x="1344" y="356"/>
                </a:cubicBezTo>
                <a:cubicBezTo>
                  <a:pt x="1344" y="355"/>
                  <a:pt x="1344" y="353"/>
                  <a:pt x="1345" y="352"/>
                </a:cubicBezTo>
                <a:cubicBezTo>
                  <a:pt x="1345" y="350"/>
                  <a:pt x="1345" y="348"/>
                  <a:pt x="1345" y="346"/>
                </a:cubicBezTo>
                <a:cubicBezTo>
                  <a:pt x="1345" y="338"/>
                  <a:pt x="1342" y="336"/>
                  <a:pt x="1337" y="334"/>
                </a:cubicBezTo>
                <a:cubicBezTo>
                  <a:pt x="1337" y="334"/>
                  <a:pt x="1337" y="334"/>
                  <a:pt x="1337" y="334"/>
                </a:cubicBezTo>
                <a:cubicBezTo>
                  <a:pt x="1342" y="333"/>
                  <a:pt x="1345" y="331"/>
                  <a:pt x="1345" y="323"/>
                </a:cubicBezTo>
                <a:cubicBezTo>
                  <a:pt x="1345" y="321"/>
                  <a:pt x="1345" y="319"/>
                  <a:pt x="1345" y="317"/>
                </a:cubicBezTo>
                <a:cubicBezTo>
                  <a:pt x="1344" y="315"/>
                  <a:pt x="1344" y="313"/>
                  <a:pt x="1344" y="312"/>
                </a:cubicBezTo>
                <a:cubicBezTo>
                  <a:pt x="1344" y="309"/>
                  <a:pt x="1345" y="306"/>
                  <a:pt x="1349" y="306"/>
                </a:cubicBezTo>
                <a:cubicBezTo>
                  <a:pt x="1349" y="306"/>
                  <a:pt x="1349" y="306"/>
                  <a:pt x="1351" y="306"/>
                </a:cubicBezTo>
                <a:cubicBezTo>
                  <a:pt x="1351" y="306"/>
                  <a:pt x="1351" y="306"/>
                  <a:pt x="1351" y="297"/>
                </a:cubicBezTo>
                <a:cubicBezTo>
                  <a:pt x="1351" y="297"/>
                  <a:pt x="1351" y="297"/>
                  <a:pt x="1347" y="297"/>
                </a:cubicBezTo>
                <a:cubicBezTo>
                  <a:pt x="1338" y="297"/>
                  <a:pt x="1332" y="301"/>
                  <a:pt x="1332" y="310"/>
                </a:cubicBezTo>
                <a:cubicBezTo>
                  <a:pt x="1332" y="312"/>
                  <a:pt x="1333" y="315"/>
                  <a:pt x="1333" y="317"/>
                </a:cubicBezTo>
                <a:cubicBezTo>
                  <a:pt x="1333" y="319"/>
                  <a:pt x="1334" y="322"/>
                  <a:pt x="1334" y="324"/>
                </a:cubicBezTo>
                <a:cubicBezTo>
                  <a:pt x="1334" y="327"/>
                  <a:pt x="1333" y="330"/>
                  <a:pt x="1327" y="330"/>
                </a:cubicBezTo>
                <a:close/>
                <a:moveTo>
                  <a:pt x="1381" y="339"/>
                </a:moveTo>
                <a:cubicBezTo>
                  <a:pt x="1381" y="339"/>
                  <a:pt x="1381" y="339"/>
                  <a:pt x="1381" y="339"/>
                </a:cubicBezTo>
                <a:cubicBezTo>
                  <a:pt x="1381" y="330"/>
                  <a:pt x="1381" y="330"/>
                  <a:pt x="1381" y="330"/>
                </a:cubicBezTo>
                <a:cubicBezTo>
                  <a:pt x="1375" y="330"/>
                  <a:pt x="1375" y="327"/>
                  <a:pt x="1375" y="324"/>
                </a:cubicBezTo>
                <a:cubicBezTo>
                  <a:pt x="1375" y="322"/>
                  <a:pt x="1375" y="319"/>
                  <a:pt x="1375" y="317"/>
                </a:cubicBezTo>
                <a:cubicBezTo>
                  <a:pt x="1375" y="315"/>
                  <a:pt x="1375" y="312"/>
                  <a:pt x="1375" y="310"/>
                </a:cubicBezTo>
                <a:cubicBezTo>
                  <a:pt x="1375" y="301"/>
                  <a:pt x="1370" y="297"/>
                  <a:pt x="1361" y="297"/>
                </a:cubicBezTo>
                <a:cubicBezTo>
                  <a:pt x="1361" y="297"/>
                  <a:pt x="1361" y="297"/>
                  <a:pt x="1357" y="297"/>
                </a:cubicBezTo>
                <a:cubicBezTo>
                  <a:pt x="1357" y="297"/>
                  <a:pt x="1357" y="297"/>
                  <a:pt x="1357" y="306"/>
                </a:cubicBezTo>
                <a:cubicBezTo>
                  <a:pt x="1357" y="306"/>
                  <a:pt x="1357" y="306"/>
                  <a:pt x="1359" y="306"/>
                </a:cubicBezTo>
                <a:cubicBezTo>
                  <a:pt x="1362" y="306"/>
                  <a:pt x="1364" y="309"/>
                  <a:pt x="1364" y="312"/>
                </a:cubicBezTo>
                <a:cubicBezTo>
                  <a:pt x="1364" y="313"/>
                  <a:pt x="1364" y="315"/>
                  <a:pt x="1364" y="317"/>
                </a:cubicBezTo>
                <a:cubicBezTo>
                  <a:pt x="1363" y="319"/>
                  <a:pt x="1363" y="321"/>
                  <a:pt x="1363" y="323"/>
                </a:cubicBezTo>
                <a:cubicBezTo>
                  <a:pt x="1363" y="331"/>
                  <a:pt x="1366" y="333"/>
                  <a:pt x="1372" y="334"/>
                </a:cubicBezTo>
                <a:cubicBezTo>
                  <a:pt x="1372" y="334"/>
                  <a:pt x="1372" y="334"/>
                  <a:pt x="1372" y="334"/>
                </a:cubicBezTo>
                <a:cubicBezTo>
                  <a:pt x="1366" y="336"/>
                  <a:pt x="1363" y="338"/>
                  <a:pt x="1363" y="346"/>
                </a:cubicBezTo>
                <a:cubicBezTo>
                  <a:pt x="1363" y="348"/>
                  <a:pt x="1363" y="350"/>
                  <a:pt x="1364" y="352"/>
                </a:cubicBezTo>
                <a:cubicBezTo>
                  <a:pt x="1364" y="353"/>
                  <a:pt x="1364" y="355"/>
                  <a:pt x="1364" y="356"/>
                </a:cubicBezTo>
                <a:cubicBezTo>
                  <a:pt x="1364" y="360"/>
                  <a:pt x="1363" y="362"/>
                  <a:pt x="1359" y="362"/>
                </a:cubicBezTo>
                <a:cubicBezTo>
                  <a:pt x="1359" y="362"/>
                  <a:pt x="1359" y="362"/>
                  <a:pt x="1357" y="362"/>
                </a:cubicBezTo>
                <a:cubicBezTo>
                  <a:pt x="1357" y="362"/>
                  <a:pt x="1357" y="362"/>
                  <a:pt x="1357" y="371"/>
                </a:cubicBezTo>
                <a:cubicBezTo>
                  <a:pt x="1357" y="371"/>
                  <a:pt x="1357" y="371"/>
                  <a:pt x="1361" y="371"/>
                </a:cubicBezTo>
                <a:cubicBezTo>
                  <a:pt x="1370" y="371"/>
                  <a:pt x="1375" y="368"/>
                  <a:pt x="1375" y="359"/>
                </a:cubicBezTo>
                <a:cubicBezTo>
                  <a:pt x="1375" y="356"/>
                  <a:pt x="1375" y="354"/>
                  <a:pt x="1375" y="352"/>
                </a:cubicBezTo>
                <a:cubicBezTo>
                  <a:pt x="1375" y="349"/>
                  <a:pt x="1375" y="347"/>
                  <a:pt x="1375" y="344"/>
                </a:cubicBezTo>
                <a:cubicBezTo>
                  <a:pt x="1375" y="342"/>
                  <a:pt x="1375" y="339"/>
                  <a:pt x="1381" y="339"/>
                </a:cubicBezTo>
                <a:close/>
                <a:moveTo>
                  <a:pt x="1428" y="298"/>
                </a:moveTo>
                <a:cubicBezTo>
                  <a:pt x="1428" y="298"/>
                  <a:pt x="1428" y="298"/>
                  <a:pt x="1428" y="298"/>
                </a:cubicBezTo>
                <a:cubicBezTo>
                  <a:pt x="1423" y="298"/>
                  <a:pt x="1423" y="298"/>
                  <a:pt x="1423" y="298"/>
                </a:cubicBezTo>
                <a:cubicBezTo>
                  <a:pt x="1421" y="299"/>
                  <a:pt x="1420" y="301"/>
                  <a:pt x="1417" y="302"/>
                </a:cubicBezTo>
                <a:cubicBezTo>
                  <a:pt x="1416" y="303"/>
                  <a:pt x="1414" y="304"/>
                  <a:pt x="1412" y="305"/>
                </a:cubicBezTo>
                <a:cubicBezTo>
                  <a:pt x="1410" y="305"/>
                  <a:pt x="1409" y="306"/>
                  <a:pt x="1407" y="307"/>
                </a:cubicBezTo>
                <a:cubicBezTo>
                  <a:pt x="1405" y="307"/>
                  <a:pt x="1404" y="308"/>
                  <a:pt x="1401" y="309"/>
                </a:cubicBezTo>
                <a:cubicBezTo>
                  <a:pt x="1401" y="309"/>
                  <a:pt x="1401" y="309"/>
                  <a:pt x="1401" y="319"/>
                </a:cubicBezTo>
                <a:cubicBezTo>
                  <a:pt x="1404" y="318"/>
                  <a:pt x="1407" y="317"/>
                  <a:pt x="1409" y="316"/>
                </a:cubicBezTo>
                <a:cubicBezTo>
                  <a:pt x="1412" y="315"/>
                  <a:pt x="1415" y="314"/>
                  <a:pt x="1417" y="313"/>
                </a:cubicBezTo>
                <a:cubicBezTo>
                  <a:pt x="1417" y="313"/>
                  <a:pt x="1417" y="313"/>
                  <a:pt x="1417" y="371"/>
                </a:cubicBezTo>
                <a:cubicBezTo>
                  <a:pt x="1417" y="371"/>
                  <a:pt x="1417" y="371"/>
                  <a:pt x="1428" y="371"/>
                </a:cubicBezTo>
                <a:cubicBezTo>
                  <a:pt x="1428" y="371"/>
                  <a:pt x="1428" y="371"/>
                  <a:pt x="1428" y="298"/>
                </a:cubicBezTo>
                <a:close/>
                <a:moveTo>
                  <a:pt x="1475" y="298"/>
                </a:moveTo>
                <a:cubicBezTo>
                  <a:pt x="1475" y="298"/>
                  <a:pt x="1475" y="298"/>
                  <a:pt x="1475" y="298"/>
                </a:cubicBezTo>
                <a:cubicBezTo>
                  <a:pt x="1470" y="298"/>
                  <a:pt x="1470" y="298"/>
                  <a:pt x="1470" y="298"/>
                </a:cubicBezTo>
                <a:cubicBezTo>
                  <a:pt x="1468" y="299"/>
                  <a:pt x="1466" y="301"/>
                  <a:pt x="1464" y="302"/>
                </a:cubicBezTo>
                <a:cubicBezTo>
                  <a:pt x="1463" y="303"/>
                  <a:pt x="1460" y="304"/>
                  <a:pt x="1459" y="305"/>
                </a:cubicBezTo>
                <a:cubicBezTo>
                  <a:pt x="1457" y="306"/>
                  <a:pt x="1455" y="307"/>
                  <a:pt x="1454" y="307"/>
                </a:cubicBezTo>
                <a:cubicBezTo>
                  <a:pt x="1452" y="308"/>
                  <a:pt x="1450" y="309"/>
                  <a:pt x="1448" y="309"/>
                </a:cubicBezTo>
                <a:cubicBezTo>
                  <a:pt x="1448" y="309"/>
                  <a:pt x="1448" y="309"/>
                  <a:pt x="1448" y="319"/>
                </a:cubicBezTo>
                <a:cubicBezTo>
                  <a:pt x="1451" y="318"/>
                  <a:pt x="1454" y="318"/>
                  <a:pt x="1456" y="316"/>
                </a:cubicBezTo>
                <a:cubicBezTo>
                  <a:pt x="1459" y="315"/>
                  <a:pt x="1461" y="314"/>
                  <a:pt x="1463" y="313"/>
                </a:cubicBezTo>
                <a:cubicBezTo>
                  <a:pt x="1463" y="313"/>
                  <a:pt x="1463" y="313"/>
                  <a:pt x="1463" y="371"/>
                </a:cubicBezTo>
                <a:cubicBezTo>
                  <a:pt x="1463" y="371"/>
                  <a:pt x="1463" y="371"/>
                  <a:pt x="1475" y="371"/>
                </a:cubicBezTo>
                <a:cubicBezTo>
                  <a:pt x="1475" y="371"/>
                  <a:pt x="1475" y="371"/>
                  <a:pt x="1475" y="298"/>
                </a:cubicBezTo>
                <a:close/>
                <a:moveTo>
                  <a:pt x="1520" y="298"/>
                </a:moveTo>
                <a:cubicBezTo>
                  <a:pt x="1520" y="298"/>
                  <a:pt x="1520" y="298"/>
                  <a:pt x="1520" y="298"/>
                </a:cubicBezTo>
                <a:cubicBezTo>
                  <a:pt x="1516" y="298"/>
                  <a:pt x="1516" y="298"/>
                  <a:pt x="1516" y="298"/>
                </a:cubicBezTo>
                <a:cubicBezTo>
                  <a:pt x="1514" y="299"/>
                  <a:pt x="1513" y="301"/>
                  <a:pt x="1510" y="302"/>
                </a:cubicBezTo>
                <a:cubicBezTo>
                  <a:pt x="1509" y="303"/>
                  <a:pt x="1507" y="304"/>
                  <a:pt x="1505" y="305"/>
                </a:cubicBezTo>
                <a:cubicBezTo>
                  <a:pt x="1503" y="306"/>
                  <a:pt x="1502" y="307"/>
                  <a:pt x="1500" y="307"/>
                </a:cubicBezTo>
                <a:cubicBezTo>
                  <a:pt x="1498" y="308"/>
                  <a:pt x="1496" y="309"/>
                  <a:pt x="1495" y="309"/>
                </a:cubicBezTo>
                <a:cubicBezTo>
                  <a:pt x="1495" y="309"/>
                  <a:pt x="1495" y="309"/>
                  <a:pt x="1495" y="319"/>
                </a:cubicBezTo>
                <a:cubicBezTo>
                  <a:pt x="1497" y="318"/>
                  <a:pt x="1500" y="318"/>
                  <a:pt x="1502" y="316"/>
                </a:cubicBezTo>
                <a:cubicBezTo>
                  <a:pt x="1505" y="315"/>
                  <a:pt x="1508" y="314"/>
                  <a:pt x="1509" y="313"/>
                </a:cubicBezTo>
                <a:cubicBezTo>
                  <a:pt x="1509" y="313"/>
                  <a:pt x="1509" y="313"/>
                  <a:pt x="1509" y="371"/>
                </a:cubicBezTo>
                <a:cubicBezTo>
                  <a:pt x="1509" y="371"/>
                  <a:pt x="1509" y="371"/>
                  <a:pt x="1520" y="371"/>
                </a:cubicBezTo>
                <a:cubicBezTo>
                  <a:pt x="1520" y="371"/>
                  <a:pt x="1520" y="371"/>
                  <a:pt x="1520" y="298"/>
                </a:cubicBezTo>
                <a:close/>
                <a:moveTo>
                  <a:pt x="1270" y="345"/>
                </a:moveTo>
                <a:cubicBezTo>
                  <a:pt x="1270" y="347"/>
                  <a:pt x="1271" y="348"/>
                  <a:pt x="1272" y="350"/>
                </a:cubicBezTo>
                <a:cubicBezTo>
                  <a:pt x="1272" y="351"/>
                  <a:pt x="1272" y="353"/>
                  <a:pt x="1273" y="355"/>
                </a:cubicBezTo>
                <a:cubicBezTo>
                  <a:pt x="1273" y="356"/>
                  <a:pt x="1273" y="358"/>
                  <a:pt x="1273" y="360"/>
                </a:cubicBezTo>
                <a:cubicBezTo>
                  <a:pt x="1274" y="363"/>
                  <a:pt x="1273" y="364"/>
                  <a:pt x="1270" y="364"/>
                </a:cubicBezTo>
                <a:cubicBezTo>
                  <a:pt x="1267" y="364"/>
                  <a:pt x="1264" y="364"/>
                  <a:pt x="1261" y="364"/>
                </a:cubicBezTo>
                <a:cubicBezTo>
                  <a:pt x="1261" y="364"/>
                  <a:pt x="1260" y="364"/>
                  <a:pt x="1260" y="364"/>
                </a:cubicBezTo>
                <a:cubicBezTo>
                  <a:pt x="1258" y="366"/>
                  <a:pt x="1257" y="367"/>
                  <a:pt x="1255" y="369"/>
                </a:cubicBezTo>
                <a:cubicBezTo>
                  <a:pt x="1253" y="371"/>
                  <a:pt x="1250" y="371"/>
                  <a:pt x="1248" y="369"/>
                </a:cubicBezTo>
                <a:cubicBezTo>
                  <a:pt x="1246" y="367"/>
                  <a:pt x="1245" y="365"/>
                  <a:pt x="1243" y="362"/>
                </a:cubicBezTo>
                <a:cubicBezTo>
                  <a:pt x="1242" y="360"/>
                  <a:pt x="1243" y="359"/>
                  <a:pt x="1245" y="357"/>
                </a:cubicBezTo>
                <a:cubicBezTo>
                  <a:pt x="1242" y="357"/>
                  <a:pt x="1241" y="357"/>
                  <a:pt x="1239" y="357"/>
                </a:cubicBezTo>
                <a:cubicBezTo>
                  <a:pt x="1239" y="359"/>
                  <a:pt x="1237" y="361"/>
                  <a:pt x="1237" y="363"/>
                </a:cubicBezTo>
                <a:cubicBezTo>
                  <a:pt x="1237" y="364"/>
                  <a:pt x="1236" y="365"/>
                  <a:pt x="1236" y="365"/>
                </a:cubicBezTo>
                <a:cubicBezTo>
                  <a:pt x="1236" y="369"/>
                  <a:pt x="1235" y="370"/>
                  <a:pt x="1232" y="369"/>
                </a:cubicBezTo>
                <a:cubicBezTo>
                  <a:pt x="1229" y="369"/>
                  <a:pt x="1226" y="368"/>
                  <a:pt x="1223" y="367"/>
                </a:cubicBezTo>
                <a:cubicBezTo>
                  <a:pt x="1221" y="367"/>
                  <a:pt x="1221" y="365"/>
                  <a:pt x="1221" y="363"/>
                </a:cubicBezTo>
                <a:cubicBezTo>
                  <a:pt x="1221" y="362"/>
                  <a:pt x="1221" y="362"/>
                  <a:pt x="1222" y="362"/>
                </a:cubicBezTo>
                <a:cubicBezTo>
                  <a:pt x="1219" y="360"/>
                  <a:pt x="1217" y="360"/>
                  <a:pt x="1215" y="358"/>
                </a:cubicBezTo>
                <a:cubicBezTo>
                  <a:pt x="1214" y="357"/>
                  <a:pt x="1213" y="355"/>
                  <a:pt x="1212" y="354"/>
                </a:cubicBezTo>
                <a:cubicBezTo>
                  <a:pt x="1211" y="352"/>
                  <a:pt x="1211" y="350"/>
                  <a:pt x="1213" y="348"/>
                </a:cubicBezTo>
                <a:cubicBezTo>
                  <a:pt x="1216" y="346"/>
                  <a:pt x="1217" y="343"/>
                  <a:pt x="1216" y="339"/>
                </a:cubicBezTo>
                <a:cubicBezTo>
                  <a:pt x="1216" y="337"/>
                  <a:pt x="1216" y="335"/>
                  <a:pt x="1216" y="333"/>
                </a:cubicBezTo>
                <a:cubicBezTo>
                  <a:pt x="1215" y="333"/>
                  <a:pt x="1213" y="332"/>
                  <a:pt x="1212" y="331"/>
                </a:cubicBezTo>
                <a:cubicBezTo>
                  <a:pt x="1211" y="329"/>
                  <a:pt x="1210" y="327"/>
                  <a:pt x="1210" y="325"/>
                </a:cubicBezTo>
                <a:cubicBezTo>
                  <a:pt x="1210" y="323"/>
                  <a:pt x="1213" y="320"/>
                  <a:pt x="1216" y="319"/>
                </a:cubicBezTo>
                <a:cubicBezTo>
                  <a:pt x="1217" y="320"/>
                  <a:pt x="1217" y="321"/>
                  <a:pt x="1217" y="322"/>
                </a:cubicBezTo>
                <a:cubicBezTo>
                  <a:pt x="1217" y="323"/>
                  <a:pt x="1217" y="323"/>
                  <a:pt x="1217" y="325"/>
                </a:cubicBezTo>
                <a:cubicBezTo>
                  <a:pt x="1217" y="324"/>
                  <a:pt x="1216" y="324"/>
                  <a:pt x="1216" y="324"/>
                </a:cubicBezTo>
                <a:cubicBezTo>
                  <a:pt x="1215" y="325"/>
                  <a:pt x="1215" y="327"/>
                  <a:pt x="1214" y="329"/>
                </a:cubicBezTo>
                <a:cubicBezTo>
                  <a:pt x="1215" y="328"/>
                  <a:pt x="1216" y="328"/>
                  <a:pt x="1217" y="328"/>
                </a:cubicBezTo>
                <a:cubicBezTo>
                  <a:pt x="1218" y="327"/>
                  <a:pt x="1219" y="326"/>
                  <a:pt x="1219" y="325"/>
                </a:cubicBezTo>
                <a:cubicBezTo>
                  <a:pt x="1224" y="318"/>
                  <a:pt x="1230" y="314"/>
                  <a:pt x="1237" y="312"/>
                </a:cubicBezTo>
                <a:cubicBezTo>
                  <a:pt x="1241" y="312"/>
                  <a:pt x="1244" y="311"/>
                  <a:pt x="1246" y="308"/>
                </a:cubicBezTo>
                <a:cubicBezTo>
                  <a:pt x="1246" y="308"/>
                  <a:pt x="1247" y="307"/>
                  <a:pt x="1247" y="307"/>
                </a:cubicBezTo>
                <a:cubicBezTo>
                  <a:pt x="1250" y="307"/>
                  <a:pt x="1252" y="304"/>
                  <a:pt x="1253" y="303"/>
                </a:cubicBezTo>
                <a:cubicBezTo>
                  <a:pt x="1261" y="295"/>
                  <a:pt x="1273" y="295"/>
                  <a:pt x="1281" y="301"/>
                </a:cubicBezTo>
                <a:cubicBezTo>
                  <a:pt x="1283" y="303"/>
                  <a:pt x="1286" y="305"/>
                  <a:pt x="1288" y="307"/>
                </a:cubicBezTo>
                <a:cubicBezTo>
                  <a:pt x="1290" y="308"/>
                  <a:pt x="1291" y="310"/>
                  <a:pt x="1292" y="312"/>
                </a:cubicBezTo>
                <a:cubicBezTo>
                  <a:pt x="1293" y="314"/>
                  <a:pt x="1293" y="314"/>
                  <a:pt x="1295" y="312"/>
                </a:cubicBezTo>
                <a:cubicBezTo>
                  <a:pt x="1295" y="312"/>
                  <a:pt x="1296" y="311"/>
                  <a:pt x="1297" y="310"/>
                </a:cubicBezTo>
                <a:cubicBezTo>
                  <a:pt x="1299" y="308"/>
                  <a:pt x="1302" y="308"/>
                  <a:pt x="1303" y="311"/>
                </a:cubicBezTo>
                <a:cubicBezTo>
                  <a:pt x="1304" y="314"/>
                  <a:pt x="1305" y="317"/>
                  <a:pt x="1306" y="320"/>
                </a:cubicBezTo>
                <a:cubicBezTo>
                  <a:pt x="1306" y="324"/>
                  <a:pt x="1306" y="329"/>
                  <a:pt x="1304" y="333"/>
                </a:cubicBezTo>
                <a:cubicBezTo>
                  <a:pt x="1302" y="339"/>
                  <a:pt x="1297" y="343"/>
                  <a:pt x="1291" y="343"/>
                </a:cubicBezTo>
                <a:cubicBezTo>
                  <a:pt x="1290" y="343"/>
                  <a:pt x="1290" y="343"/>
                  <a:pt x="1289" y="343"/>
                </a:cubicBezTo>
                <a:cubicBezTo>
                  <a:pt x="1286" y="343"/>
                  <a:pt x="1285" y="343"/>
                  <a:pt x="1284" y="345"/>
                </a:cubicBezTo>
                <a:cubicBezTo>
                  <a:pt x="1283" y="350"/>
                  <a:pt x="1277" y="351"/>
                  <a:pt x="1274" y="348"/>
                </a:cubicBezTo>
                <a:cubicBezTo>
                  <a:pt x="1273" y="347"/>
                  <a:pt x="1272" y="346"/>
                  <a:pt x="1271" y="345"/>
                </a:cubicBezTo>
                <a:cubicBezTo>
                  <a:pt x="1270" y="345"/>
                  <a:pt x="1270" y="345"/>
                  <a:pt x="1270" y="345"/>
                </a:cubicBezTo>
                <a:close/>
                <a:moveTo>
                  <a:pt x="1264" y="341"/>
                </a:moveTo>
                <a:cubicBezTo>
                  <a:pt x="1268" y="343"/>
                  <a:pt x="1272" y="344"/>
                  <a:pt x="1274" y="346"/>
                </a:cubicBezTo>
                <a:cubicBezTo>
                  <a:pt x="1276" y="348"/>
                  <a:pt x="1278" y="349"/>
                  <a:pt x="1280" y="348"/>
                </a:cubicBezTo>
                <a:cubicBezTo>
                  <a:pt x="1282" y="347"/>
                  <a:pt x="1284" y="345"/>
                  <a:pt x="1284" y="342"/>
                </a:cubicBezTo>
                <a:cubicBezTo>
                  <a:pt x="1284" y="343"/>
                  <a:pt x="1283" y="343"/>
                  <a:pt x="1283" y="343"/>
                </a:cubicBezTo>
                <a:cubicBezTo>
                  <a:pt x="1282" y="344"/>
                  <a:pt x="1281" y="345"/>
                  <a:pt x="1281" y="346"/>
                </a:cubicBezTo>
                <a:cubicBezTo>
                  <a:pt x="1279" y="348"/>
                  <a:pt x="1278" y="347"/>
                  <a:pt x="1277" y="347"/>
                </a:cubicBezTo>
                <a:cubicBezTo>
                  <a:pt x="1277" y="347"/>
                  <a:pt x="1276" y="346"/>
                  <a:pt x="1276" y="345"/>
                </a:cubicBezTo>
                <a:cubicBezTo>
                  <a:pt x="1276" y="343"/>
                  <a:pt x="1277" y="341"/>
                  <a:pt x="1277" y="339"/>
                </a:cubicBezTo>
                <a:cubicBezTo>
                  <a:pt x="1280" y="339"/>
                  <a:pt x="1283" y="341"/>
                  <a:pt x="1287" y="341"/>
                </a:cubicBezTo>
                <a:cubicBezTo>
                  <a:pt x="1294" y="342"/>
                  <a:pt x="1300" y="341"/>
                  <a:pt x="1303" y="332"/>
                </a:cubicBezTo>
                <a:cubicBezTo>
                  <a:pt x="1305" y="327"/>
                  <a:pt x="1304" y="322"/>
                  <a:pt x="1304" y="317"/>
                </a:cubicBezTo>
                <a:cubicBezTo>
                  <a:pt x="1303" y="315"/>
                  <a:pt x="1302" y="314"/>
                  <a:pt x="1302" y="312"/>
                </a:cubicBezTo>
                <a:cubicBezTo>
                  <a:pt x="1301" y="310"/>
                  <a:pt x="1300" y="310"/>
                  <a:pt x="1299" y="311"/>
                </a:cubicBezTo>
                <a:cubicBezTo>
                  <a:pt x="1297" y="313"/>
                  <a:pt x="1295" y="314"/>
                  <a:pt x="1293" y="315"/>
                </a:cubicBezTo>
                <a:cubicBezTo>
                  <a:pt x="1293" y="316"/>
                  <a:pt x="1292" y="316"/>
                  <a:pt x="1292" y="318"/>
                </a:cubicBezTo>
                <a:cubicBezTo>
                  <a:pt x="1293" y="321"/>
                  <a:pt x="1292" y="324"/>
                  <a:pt x="1291" y="327"/>
                </a:cubicBezTo>
                <a:cubicBezTo>
                  <a:pt x="1291" y="325"/>
                  <a:pt x="1292" y="323"/>
                  <a:pt x="1292" y="322"/>
                </a:cubicBezTo>
                <a:cubicBezTo>
                  <a:pt x="1292" y="321"/>
                  <a:pt x="1291" y="320"/>
                  <a:pt x="1291" y="320"/>
                </a:cubicBezTo>
                <a:cubicBezTo>
                  <a:pt x="1290" y="320"/>
                  <a:pt x="1290" y="320"/>
                  <a:pt x="1290" y="321"/>
                </a:cubicBezTo>
                <a:cubicBezTo>
                  <a:pt x="1289" y="322"/>
                  <a:pt x="1288" y="323"/>
                  <a:pt x="1287" y="325"/>
                </a:cubicBezTo>
                <a:cubicBezTo>
                  <a:pt x="1287" y="325"/>
                  <a:pt x="1287" y="325"/>
                  <a:pt x="1287" y="325"/>
                </a:cubicBezTo>
                <a:cubicBezTo>
                  <a:pt x="1287" y="323"/>
                  <a:pt x="1288" y="322"/>
                  <a:pt x="1288" y="319"/>
                </a:cubicBezTo>
                <a:cubicBezTo>
                  <a:pt x="1287" y="320"/>
                  <a:pt x="1286" y="320"/>
                  <a:pt x="1286" y="321"/>
                </a:cubicBezTo>
                <a:cubicBezTo>
                  <a:pt x="1285" y="322"/>
                  <a:pt x="1285" y="322"/>
                  <a:pt x="1284" y="323"/>
                </a:cubicBezTo>
                <a:cubicBezTo>
                  <a:pt x="1285" y="320"/>
                  <a:pt x="1285" y="320"/>
                  <a:pt x="1291" y="318"/>
                </a:cubicBezTo>
                <a:cubicBezTo>
                  <a:pt x="1291" y="318"/>
                  <a:pt x="1290" y="317"/>
                  <a:pt x="1290" y="317"/>
                </a:cubicBezTo>
                <a:cubicBezTo>
                  <a:pt x="1287" y="318"/>
                  <a:pt x="1286" y="316"/>
                  <a:pt x="1286" y="314"/>
                </a:cubicBezTo>
                <a:cubicBezTo>
                  <a:pt x="1288" y="314"/>
                  <a:pt x="1289" y="313"/>
                  <a:pt x="1291" y="313"/>
                </a:cubicBezTo>
                <a:cubicBezTo>
                  <a:pt x="1289" y="310"/>
                  <a:pt x="1288" y="308"/>
                  <a:pt x="1284" y="307"/>
                </a:cubicBezTo>
                <a:cubicBezTo>
                  <a:pt x="1284" y="307"/>
                  <a:pt x="1284" y="307"/>
                  <a:pt x="1284" y="306"/>
                </a:cubicBezTo>
                <a:cubicBezTo>
                  <a:pt x="1281" y="304"/>
                  <a:pt x="1279" y="302"/>
                  <a:pt x="1276" y="300"/>
                </a:cubicBezTo>
                <a:cubicBezTo>
                  <a:pt x="1274" y="299"/>
                  <a:pt x="1271" y="298"/>
                  <a:pt x="1269" y="298"/>
                </a:cubicBezTo>
                <a:cubicBezTo>
                  <a:pt x="1266" y="299"/>
                  <a:pt x="1262" y="300"/>
                  <a:pt x="1259" y="301"/>
                </a:cubicBezTo>
                <a:cubicBezTo>
                  <a:pt x="1257" y="302"/>
                  <a:pt x="1254" y="303"/>
                  <a:pt x="1252" y="306"/>
                </a:cubicBezTo>
                <a:cubicBezTo>
                  <a:pt x="1254" y="306"/>
                  <a:pt x="1255" y="306"/>
                  <a:pt x="1256" y="306"/>
                </a:cubicBezTo>
                <a:cubicBezTo>
                  <a:pt x="1256" y="307"/>
                  <a:pt x="1255" y="307"/>
                  <a:pt x="1254" y="307"/>
                </a:cubicBezTo>
                <a:cubicBezTo>
                  <a:pt x="1252" y="308"/>
                  <a:pt x="1249" y="307"/>
                  <a:pt x="1247" y="310"/>
                </a:cubicBezTo>
                <a:cubicBezTo>
                  <a:pt x="1244" y="314"/>
                  <a:pt x="1240" y="317"/>
                  <a:pt x="1236" y="322"/>
                </a:cubicBezTo>
                <a:cubicBezTo>
                  <a:pt x="1235" y="323"/>
                  <a:pt x="1234" y="326"/>
                  <a:pt x="1233" y="328"/>
                </a:cubicBezTo>
                <a:cubicBezTo>
                  <a:pt x="1233" y="329"/>
                  <a:pt x="1233" y="329"/>
                  <a:pt x="1233" y="330"/>
                </a:cubicBezTo>
                <a:cubicBezTo>
                  <a:pt x="1234" y="332"/>
                  <a:pt x="1235" y="334"/>
                  <a:pt x="1237" y="336"/>
                </a:cubicBezTo>
                <a:cubicBezTo>
                  <a:pt x="1238" y="334"/>
                  <a:pt x="1239" y="333"/>
                  <a:pt x="1241" y="331"/>
                </a:cubicBezTo>
                <a:cubicBezTo>
                  <a:pt x="1240" y="333"/>
                  <a:pt x="1240" y="334"/>
                  <a:pt x="1239" y="335"/>
                </a:cubicBezTo>
                <a:cubicBezTo>
                  <a:pt x="1238" y="337"/>
                  <a:pt x="1237" y="338"/>
                  <a:pt x="1237" y="339"/>
                </a:cubicBezTo>
                <a:cubicBezTo>
                  <a:pt x="1237" y="340"/>
                  <a:pt x="1237" y="341"/>
                  <a:pt x="1237" y="342"/>
                </a:cubicBezTo>
                <a:cubicBezTo>
                  <a:pt x="1240" y="346"/>
                  <a:pt x="1243" y="346"/>
                  <a:pt x="1247" y="344"/>
                </a:cubicBezTo>
                <a:cubicBezTo>
                  <a:pt x="1249" y="342"/>
                  <a:pt x="1252" y="341"/>
                  <a:pt x="1255" y="340"/>
                </a:cubicBezTo>
                <a:cubicBezTo>
                  <a:pt x="1256" y="340"/>
                  <a:pt x="1257" y="339"/>
                  <a:pt x="1257" y="337"/>
                </a:cubicBezTo>
                <a:cubicBezTo>
                  <a:pt x="1257" y="334"/>
                  <a:pt x="1257" y="331"/>
                  <a:pt x="1257" y="327"/>
                </a:cubicBezTo>
                <a:cubicBezTo>
                  <a:pt x="1257" y="324"/>
                  <a:pt x="1257" y="322"/>
                  <a:pt x="1257" y="318"/>
                </a:cubicBezTo>
                <a:cubicBezTo>
                  <a:pt x="1258" y="321"/>
                  <a:pt x="1259" y="324"/>
                  <a:pt x="1259" y="326"/>
                </a:cubicBezTo>
                <a:cubicBezTo>
                  <a:pt x="1260" y="331"/>
                  <a:pt x="1260" y="335"/>
                  <a:pt x="1259" y="340"/>
                </a:cubicBezTo>
                <a:cubicBezTo>
                  <a:pt x="1258" y="341"/>
                  <a:pt x="1257" y="341"/>
                  <a:pt x="1257" y="341"/>
                </a:cubicBezTo>
                <a:cubicBezTo>
                  <a:pt x="1253" y="342"/>
                  <a:pt x="1250" y="344"/>
                  <a:pt x="1247" y="345"/>
                </a:cubicBezTo>
                <a:cubicBezTo>
                  <a:pt x="1242" y="348"/>
                  <a:pt x="1239" y="346"/>
                  <a:pt x="1235" y="343"/>
                </a:cubicBezTo>
                <a:cubicBezTo>
                  <a:pt x="1235" y="342"/>
                  <a:pt x="1235" y="341"/>
                  <a:pt x="1235" y="341"/>
                </a:cubicBezTo>
                <a:cubicBezTo>
                  <a:pt x="1236" y="338"/>
                  <a:pt x="1235" y="336"/>
                  <a:pt x="1233" y="334"/>
                </a:cubicBezTo>
                <a:cubicBezTo>
                  <a:pt x="1232" y="332"/>
                  <a:pt x="1230" y="330"/>
                  <a:pt x="1232" y="327"/>
                </a:cubicBezTo>
                <a:cubicBezTo>
                  <a:pt x="1232" y="325"/>
                  <a:pt x="1233" y="323"/>
                  <a:pt x="1234" y="322"/>
                </a:cubicBezTo>
                <a:cubicBezTo>
                  <a:pt x="1236" y="319"/>
                  <a:pt x="1238" y="317"/>
                  <a:pt x="1240" y="314"/>
                </a:cubicBezTo>
                <a:cubicBezTo>
                  <a:pt x="1240" y="314"/>
                  <a:pt x="1239" y="314"/>
                  <a:pt x="1239" y="314"/>
                </a:cubicBezTo>
                <a:cubicBezTo>
                  <a:pt x="1234" y="315"/>
                  <a:pt x="1230" y="317"/>
                  <a:pt x="1226" y="320"/>
                </a:cubicBezTo>
                <a:cubicBezTo>
                  <a:pt x="1221" y="324"/>
                  <a:pt x="1218" y="329"/>
                  <a:pt x="1218" y="336"/>
                </a:cubicBezTo>
                <a:cubicBezTo>
                  <a:pt x="1217" y="343"/>
                  <a:pt x="1220" y="349"/>
                  <a:pt x="1223" y="355"/>
                </a:cubicBezTo>
                <a:cubicBezTo>
                  <a:pt x="1224" y="356"/>
                  <a:pt x="1224" y="357"/>
                  <a:pt x="1224" y="358"/>
                </a:cubicBezTo>
                <a:cubicBezTo>
                  <a:pt x="1224" y="360"/>
                  <a:pt x="1224" y="362"/>
                  <a:pt x="1223" y="363"/>
                </a:cubicBezTo>
                <a:cubicBezTo>
                  <a:pt x="1222" y="365"/>
                  <a:pt x="1223" y="365"/>
                  <a:pt x="1224" y="366"/>
                </a:cubicBezTo>
                <a:cubicBezTo>
                  <a:pt x="1227" y="367"/>
                  <a:pt x="1230" y="367"/>
                  <a:pt x="1233" y="367"/>
                </a:cubicBezTo>
                <a:cubicBezTo>
                  <a:pt x="1233" y="367"/>
                  <a:pt x="1234" y="367"/>
                  <a:pt x="1234" y="366"/>
                </a:cubicBezTo>
                <a:cubicBezTo>
                  <a:pt x="1235" y="365"/>
                  <a:pt x="1235" y="363"/>
                  <a:pt x="1235" y="363"/>
                </a:cubicBezTo>
                <a:cubicBezTo>
                  <a:pt x="1237" y="360"/>
                  <a:pt x="1237" y="358"/>
                  <a:pt x="1237" y="355"/>
                </a:cubicBezTo>
                <a:cubicBezTo>
                  <a:pt x="1237" y="354"/>
                  <a:pt x="1237" y="354"/>
                  <a:pt x="1237" y="354"/>
                </a:cubicBezTo>
                <a:cubicBezTo>
                  <a:pt x="1237" y="353"/>
                  <a:pt x="1237" y="353"/>
                  <a:pt x="1237" y="353"/>
                </a:cubicBezTo>
                <a:cubicBezTo>
                  <a:pt x="1238" y="356"/>
                  <a:pt x="1239" y="356"/>
                  <a:pt x="1241" y="356"/>
                </a:cubicBezTo>
                <a:cubicBezTo>
                  <a:pt x="1242" y="356"/>
                  <a:pt x="1243" y="356"/>
                  <a:pt x="1244" y="356"/>
                </a:cubicBezTo>
                <a:cubicBezTo>
                  <a:pt x="1246" y="356"/>
                  <a:pt x="1250" y="356"/>
                  <a:pt x="1250" y="352"/>
                </a:cubicBezTo>
                <a:cubicBezTo>
                  <a:pt x="1250" y="354"/>
                  <a:pt x="1250" y="356"/>
                  <a:pt x="1250" y="357"/>
                </a:cubicBezTo>
                <a:cubicBezTo>
                  <a:pt x="1249" y="358"/>
                  <a:pt x="1248" y="358"/>
                  <a:pt x="1246" y="359"/>
                </a:cubicBezTo>
                <a:cubicBezTo>
                  <a:pt x="1245" y="360"/>
                  <a:pt x="1244" y="361"/>
                  <a:pt x="1245" y="362"/>
                </a:cubicBezTo>
                <a:cubicBezTo>
                  <a:pt x="1246" y="364"/>
                  <a:pt x="1248" y="366"/>
                  <a:pt x="1249" y="368"/>
                </a:cubicBezTo>
                <a:cubicBezTo>
                  <a:pt x="1251" y="369"/>
                  <a:pt x="1253" y="369"/>
                  <a:pt x="1254" y="367"/>
                </a:cubicBezTo>
                <a:cubicBezTo>
                  <a:pt x="1255" y="367"/>
                  <a:pt x="1255" y="366"/>
                  <a:pt x="1256" y="365"/>
                </a:cubicBezTo>
                <a:cubicBezTo>
                  <a:pt x="1258" y="364"/>
                  <a:pt x="1259" y="363"/>
                  <a:pt x="1261" y="362"/>
                </a:cubicBezTo>
                <a:cubicBezTo>
                  <a:pt x="1265" y="357"/>
                  <a:pt x="1267" y="351"/>
                  <a:pt x="1269" y="345"/>
                </a:cubicBezTo>
                <a:cubicBezTo>
                  <a:pt x="1269" y="345"/>
                  <a:pt x="1268" y="344"/>
                  <a:pt x="1268" y="344"/>
                </a:cubicBezTo>
                <a:cubicBezTo>
                  <a:pt x="1267" y="343"/>
                  <a:pt x="1266" y="342"/>
                  <a:pt x="1264" y="341"/>
                </a:cubicBezTo>
                <a:close/>
                <a:moveTo>
                  <a:pt x="1217" y="347"/>
                </a:moveTo>
                <a:cubicBezTo>
                  <a:pt x="1217" y="348"/>
                  <a:pt x="1215" y="349"/>
                  <a:pt x="1214" y="350"/>
                </a:cubicBezTo>
                <a:cubicBezTo>
                  <a:pt x="1213" y="350"/>
                  <a:pt x="1213" y="351"/>
                  <a:pt x="1213" y="352"/>
                </a:cubicBezTo>
                <a:cubicBezTo>
                  <a:pt x="1213" y="355"/>
                  <a:pt x="1217" y="359"/>
                  <a:pt x="1221" y="359"/>
                </a:cubicBezTo>
                <a:cubicBezTo>
                  <a:pt x="1222" y="359"/>
                  <a:pt x="1223" y="358"/>
                  <a:pt x="1222" y="356"/>
                </a:cubicBezTo>
                <a:cubicBezTo>
                  <a:pt x="1221" y="353"/>
                  <a:pt x="1219" y="350"/>
                  <a:pt x="1217" y="347"/>
                </a:cubicBezTo>
                <a:close/>
                <a:moveTo>
                  <a:pt x="1270" y="349"/>
                </a:moveTo>
                <a:cubicBezTo>
                  <a:pt x="1268" y="354"/>
                  <a:pt x="1265" y="358"/>
                  <a:pt x="1263" y="363"/>
                </a:cubicBezTo>
                <a:cubicBezTo>
                  <a:pt x="1266" y="363"/>
                  <a:pt x="1268" y="363"/>
                  <a:pt x="1271" y="363"/>
                </a:cubicBezTo>
                <a:cubicBezTo>
                  <a:pt x="1271" y="363"/>
                  <a:pt x="1272" y="362"/>
                  <a:pt x="1272" y="361"/>
                </a:cubicBezTo>
                <a:cubicBezTo>
                  <a:pt x="1272" y="358"/>
                  <a:pt x="1272" y="356"/>
                  <a:pt x="1271" y="354"/>
                </a:cubicBezTo>
                <a:cubicBezTo>
                  <a:pt x="1271" y="352"/>
                  <a:pt x="1270" y="351"/>
                  <a:pt x="1270" y="349"/>
                </a:cubicBezTo>
                <a:close/>
                <a:moveTo>
                  <a:pt x="1217" y="329"/>
                </a:moveTo>
                <a:cubicBezTo>
                  <a:pt x="1217" y="329"/>
                  <a:pt x="1216" y="330"/>
                  <a:pt x="1215" y="330"/>
                </a:cubicBezTo>
                <a:cubicBezTo>
                  <a:pt x="1215" y="330"/>
                  <a:pt x="1214" y="330"/>
                  <a:pt x="1214" y="329"/>
                </a:cubicBezTo>
                <a:cubicBezTo>
                  <a:pt x="1213" y="329"/>
                  <a:pt x="1213" y="328"/>
                  <a:pt x="1213" y="327"/>
                </a:cubicBezTo>
                <a:cubicBezTo>
                  <a:pt x="1214" y="325"/>
                  <a:pt x="1214" y="323"/>
                  <a:pt x="1215" y="322"/>
                </a:cubicBezTo>
                <a:cubicBezTo>
                  <a:pt x="1215" y="322"/>
                  <a:pt x="1215" y="322"/>
                  <a:pt x="1214" y="322"/>
                </a:cubicBezTo>
                <a:cubicBezTo>
                  <a:pt x="1213" y="322"/>
                  <a:pt x="1212" y="323"/>
                  <a:pt x="1212" y="324"/>
                </a:cubicBezTo>
                <a:cubicBezTo>
                  <a:pt x="1211" y="325"/>
                  <a:pt x="1212" y="331"/>
                  <a:pt x="1214" y="331"/>
                </a:cubicBezTo>
                <a:cubicBezTo>
                  <a:pt x="1215" y="332"/>
                  <a:pt x="1217" y="331"/>
                  <a:pt x="1217" y="329"/>
                </a:cubicBezTo>
                <a:close/>
                <a:moveTo>
                  <a:pt x="1218" y="347"/>
                </a:moveTo>
                <a:cubicBezTo>
                  <a:pt x="1217" y="348"/>
                  <a:pt x="1215" y="349"/>
                  <a:pt x="1214" y="350"/>
                </a:cubicBezTo>
                <a:cubicBezTo>
                  <a:pt x="1214" y="350"/>
                  <a:pt x="1213" y="351"/>
                  <a:pt x="1213" y="352"/>
                </a:cubicBezTo>
                <a:cubicBezTo>
                  <a:pt x="1213" y="355"/>
                  <a:pt x="1218" y="359"/>
                  <a:pt x="1221" y="359"/>
                </a:cubicBezTo>
                <a:cubicBezTo>
                  <a:pt x="1222" y="359"/>
                  <a:pt x="1223" y="357"/>
                  <a:pt x="1222" y="356"/>
                </a:cubicBezTo>
                <a:cubicBezTo>
                  <a:pt x="1221" y="353"/>
                  <a:pt x="1219" y="350"/>
                  <a:pt x="1218" y="347"/>
                </a:cubicBezTo>
                <a:close/>
                <a:moveTo>
                  <a:pt x="1270" y="349"/>
                </a:moveTo>
                <a:cubicBezTo>
                  <a:pt x="1267" y="354"/>
                  <a:pt x="1265" y="358"/>
                  <a:pt x="1263" y="362"/>
                </a:cubicBezTo>
                <a:cubicBezTo>
                  <a:pt x="1265" y="362"/>
                  <a:pt x="1268" y="363"/>
                  <a:pt x="1271" y="362"/>
                </a:cubicBezTo>
                <a:cubicBezTo>
                  <a:pt x="1271" y="362"/>
                  <a:pt x="1271" y="361"/>
                  <a:pt x="1271" y="361"/>
                </a:cubicBezTo>
                <a:cubicBezTo>
                  <a:pt x="1271" y="358"/>
                  <a:pt x="1271" y="356"/>
                  <a:pt x="1271" y="353"/>
                </a:cubicBezTo>
                <a:cubicBezTo>
                  <a:pt x="1271" y="352"/>
                  <a:pt x="1270" y="350"/>
                  <a:pt x="1270" y="349"/>
                </a:cubicBezTo>
                <a:close/>
                <a:moveTo>
                  <a:pt x="1217" y="329"/>
                </a:moveTo>
                <a:cubicBezTo>
                  <a:pt x="1216" y="329"/>
                  <a:pt x="1216" y="330"/>
                  <a:pt x="1215" y="330"/>
                </a:cubicBezTo>
                <a:cubicBezTo>
                  <a:pt x="1215" y="330"/>
                  <a:pt x="1214" y="330"/>
                  <a:pt x="1214" y="329"/>
                </a:cubicBezTo>
                <a:cubicBezTo>
                  <a:pt x="1213" y="329"/>
                  <a:pt x="1213" y="328"/>
                  <a:pt x="1213" y="327"/>
                </a:cubicBezTo>
                <a:cubicBezTo>
                  <a:pt x="1214" y="325"/>
                  <a:pt x="1214" y="323"/>
                  <a:pt x="1215" y="321"/>
                </a:cubicBezTo>
                <a:cubicBezTo>
                  <a:pt x="1215" y="321"/>
                  <a:pt x="1215" y="321"/>
                  <a:pt x="1214" y="321"/>
                </a:cubicBezTo>
                <a:cubicBezTo>
                  <a:pt x="1213" y="322"/>
                  <a:pt x="1212" y="323"/>
                  <a:pt x="1212" y="324"/>
                </a:cubicBezTo>
                <a:cubicBezTo>
                  <a:pt x="1211" y="325"/>
                  <a:pt x="1212" y="330"/>
                  <a:pt x="1214" y="331"/>
                </a:cubicBezTo>
                <a:cubicBezTo>
                  <a:pt x="1215" y="332"/>
                  <a:pt x="1217" y="331"/>
                  <a:pt x="1217" y="329"/>
                </a:cubicBezTo>
                <a:close/>
                <a:moveTo>
                  <a:pt x="1269" y="321"/>
                </a:moveTo>
                <a:cubicBezTo>
                  <a:pt x="1273" y="317"/>
                  <a:pt x="1273" y="317"/>
                  <a:pt x="1277" y="316"/>
                </a:cubicBezTo>
                <a:cubicBezTo>
                  <a:pt x="1277" y="318"/>
                  <a:pt x="1278" y="319"/>
                  <a:pt x="1280" y="319"/>
                </a:cubicBezTo>
                <a:cubicBezTo>
                  <a:pt x="1277" y="320"/>
                  <a:pt x="1275" y="322"/>
                  <a:pt x="1273" y="323"/>
                </a:cubicBezTo>
                <a:cubicBezTo>
                  <a:pt x="1272" y="322"/>
                  <a:pt x="1272" y="321"/>
                  <a:pt x="1271" y="320"/>
                </a:cubicBezTo>
                <a:cubicBezTo>
                  <a:pt x="1271" y="320"/>
                  <a:pt x="1270" y="320"/>
                  <a:pt x="1269" y="321"/>
                </a:cubicBezTo>
                <a:close/>
                <a:moveTo>
                  <a:pt x="1276" y="320"/>
                </a:moveTo>
                <a:cubicBezTo>
                  <a:pt x="1275" y="320"/>
                  <a:pt x="1274" y="319"/>
                  <a:pt x="1273" y="319"/>
                </a:cubicBezTo>
                <a:cubicBezTo>
                  <a:pt x="1273" y="319"/>
                  <a:pt x="1272" y="320"/>
                  <a:pt x="1272" y="321"/>
                </a:cubicBezTo>
                <a:cubicBezTo>
                  <a:pt x="1272" y="321"/>
                  <a:pt x="1273" y="321"/>
                  <a:pt x="1273" y="322"/>
                </a:cubicBezTo>
                <a:cubicBezTo>
                  <a:pt x="1274" y="321"/>
                  <a:pt x="1274" y="321"/>
                  <a:pt x="1276" y="320"/>
                </a:cubicBezTo>
                <a:close/>
                <a:moveTo>
                  <a:pt x="1256" y="311"/>
                </a:moveTo>
                <a:cubicBezTo>
                  <a:pt x="1250" y="310"/>
                  <a:pt x="1247" y="312"/>
                  <a:pt x="1246" y="320"/>
                </a:cubicBezTo>
                <a:cubicBezTo>
                  <a:pt x="1247" y="318"/>
                  <a:pt x="1248" y="316"/>
                  <a:pt x="1249" y="313"/>
                </a:cubicBezTo>
                <a:cubicBezTo>
                  <a:pt x="1250" y="313"/>
                  <a:pt x="1250" y="313"/>
                  <a:pt x="1250" y="313"/>
                </a:cubicBezTo>
                <a:cubicBezTo>
                  <a:pt x="1250" y="315"/>
                  <a:pt x="1250" y="315"/>
                  <a:pt x="1250" y="316"/>
                </a:cubicBezTo>
                <a:cubicBezTo>
                  <a:pt x="1251" y="313"/>
                  <a:pt x="1253" y="311"/>
                  <a:pt x="1256" y="311"/>
                </a:cubicBezTo>
                <a:close/>
                <a:moveTo>
                  <a:pt x="1300" y="312"/>
                </a:moveTo>
                <a:cubicBezTo>
                  <a:pt x="1298" y="314"/>
                  <a:pt x="1296" y="315"/>
                  <a:pt x="1295" y="316"/>
                </a:cubicBezTo>
                <a:cubicBezTo>
                  <a:pt x="1297" y="317"/>
                  <a:pt x="1299" y="315"/>
                  <a:pt x="1300" y="312"/>
                </a:cubicBezTo>
                <a:close/>
                <a:moveTo>
                  <a:pt x="1267" y="314"/>
                </a:moveTo>
                <a:cubicBezTo>
                  <a:pt x="1268" y="313"/>
                  <a:pt x="1269" y="312"/>
                  <a:pt x="1270" y="310"/>
                </a:cubicBezTo>
                <a:cubicBezTo>
                  <a:pt x="1267" y="312"/>
                  <a:pt x="1267" y="312"/>
                  <a:pt x="1267" y="314"/>
                </a:cubicBezTo>
                <a:close/>
                <a:moveTo>
                  <a:pt x="1277" y="335"/>
                </a:moveTo>
                <a:cubicBezTo>
                  <a:pt x="1275" y="336"/>
                  <a:pt x="1274" y="337"/>
                  <a:pt x="1274" y="338"/>
                </a:cubicBezTo>
                <a:cubicBezTo>
                  <a:pt x="1275" y="337"/>
                  <a:pt x="1276" y="336"/>
                  <a:pt x="1277" y="335"/>
                </a:cubicBezTo>
                <a:close/>
                <a:moveTo>
                  <a:pt x="1276" y="320"/>
                </a:moveTo>
                <a:cubicBezTo>
                  <a:pt x="1275" y="320"/>
                  <a:pt x="1274" y="320"/>
                  <a:pt x="1274" y="320"/>
                </a:cubicBezTo>
                <a:cubicBezTo>
                  <a:pt x="1273" y="320"/>
                  <a:pt x="1272" y="320"/>
                  <a:pt x="1272" y="321"/>
                </a:cubicBezTo>
                <a:cubicBezTo>
                  <a:pt x="1272" y="321"/>
                  <a:pt x="1273" y="322"/>
                  <a:pt x="1273" y="322"/>
                </a:cubicBezTo>
                <a:cubicBezTo>
                  <a:pt x="1274" y="322"/>
                  <a:pt x="1274" y="321"/>
                  <a:pt x="1276" y="320"/>
                </a:cubicBezTo>
                <a:close/>
                <a:moveTo>
                  <a:pt x="1567" y="298"/>
                </a:moveTo>
                <a:cubicBezTo>
                  <a:pt x="1567" y="298"/>
                  <a:pt x="1567" y="298"/>
                  <a:pt x="1567" y="298"/>
                </a:cubicBezTo>
                <a:cubicBezTo>
                  <a:pt x="1562" y="298"/>
                  <a:pt x="1562" y="298"/>
                  <a:pt x="1562" y="298"/>
                </a:cubicBezTo>
                <a:cubicBezTo>
                  <a:pt x="1560" y="299"/>
                  <a:pt x="1559" y="301"/>
                  <a:pt x="1556" y="302"/>
                </a:cubicBezTo>
                <a:cubicBezTo>
                  <a:pt x="1555" y="303"/>
                  <a:pt x="1553" y="304"/>
                  <a:pt x="1551" y="305"/>
                </a:cubicBezTo>
                <a:cubicBezTo>
                  <a:pt x="1549" y="306"/>
                  <a:pt x="1548" y="307"/>
                  <a:pt x="1546" y="307"/>
                </a:cubicBezTo>
                <a:cubicBezTo>
                  <a:pt x="1544" y="308"/>
                  <a:pt x="1542" y="309"/>
                  <a:pt x="1541" y="309"/>
                </a:cubicBezTo>
                <a:cubicBezTo>
                  <a:pt x="1541" y="309"/>
                  <a:pt x="1541" y="309"/>
                  <a:pt x="1541" y="319"/>
                </a:cubicBezTo>
                <a:cubicBezTo>
                  <a:pt x="1544" y="318"/>
                  <a:pt x="1546" y="318"/>
                  <a:pt x="1549" y="316"/>
                </a:cubicBezTo>
                <a:cubicBezTo>
                  <a:pt x="1551" y="315"/>
                  <a:pt x="1554" y="314"/>
                  <a:pt x="1555" y="313"/>
                </a:cubicBezTo>
                <a:cubicBezTo>
                  <a:pt x="1555" y="313"/>
                  <a:pt x="1555" y="313"/>
                  <a:pt x="1555" y="371"/>
                </a:cubicBezTo>
                <a:cubicBezTo>
                  <a:pt x="1555" y="371"/>
                  <a:pt x="1555" y="371"/>
                  <a:pt x="1567" y="371"/>
                </a:cubicBezTo>
                <a:cubicBezTo>
                  <a:pt x="1567" y="371"/>
                  <a:pt x="1567" y="371"/>
                  <a:pt x="1567" y="298"/>
                </a:cubicBezTo>
                <a:close/>
                <a:moveTo>
                  <a:pt x="1688" y="298"/>
                </a:moveTo>
                <a:cubicBezTo>
                  <a:pt x="1688" y="298"/>
                  <a:pt x="1688" y="298"/>
                  <a:pt x="1688" y="298"/>
                </a:cubicBezTo>
                <a:cubicBezTo>
                  <a:pt x="1683" y="298"/>
                  <a:pt x="1683" y="298"/>
                  <a:pt x="1683" y="298"/>
                </a:cubicBezTo>
                <a:cubicBezTo>
                  <a:pt x="1681" y="299"/>
                  <a:pt x="1680" y="301"/>
                  <a:pt x="1677" y="302"/>
                </a:cubicBezTo>
                <a:cubicBezTo>
                  <a:pt x="1676" y="303"/>
                  <a:pt x="1674" y="304"/>
                  <a:pt x="1672" y="305"/>
                </a:cubicBezTo>
                <a:cubicBezTo>
                  <a:pt x="1671" y="306"/>
                  <a:pt x="1669" y="307"/>
                  <a:pt x="1667" y="307"/>
                </a:cubicBezTo>
                <a:cubicBezTo>
                  <a:pt x="1665" y="308"/>
                  <a:pt x="1663" y="309"/>
                  <a:pt x="1661" y="309"/>
                </a:cubicBezTo>
                <a:cubicBezTo>
                  <a:pt x="1661" y="309"/>
                  <a:pt x="1661" y="309"/>
                  <a:pt x="1661" y="319"/>
                </a:cubicBezTo>
                <a:cubicBezTo>
                  <a:pt x="1664" y="318"/>
                  <a:pt x="1667" y="318"/>
                  <a:pt x="1670" y="316"/>
                </a:cubicBezTo>
                <a:cubicBezTo>
                  <a:pt x="1672" y="315"/>
                  <a:pt x="1674" y="314"/>
                  <a:pt x="1677" y="313"/>
                </a:cubicBezTo>
                <a:cubicBezTo>
                  <a:pt x="1677" y="313"/>
                  <a:pt x="1677" y="313"/>
                  <a:pt x="1677" y="371"/>
                </a:cubicBezTo>
                <a:cubicBezTo>
                  <a:pt x="1677" y="371"/>
                  <a:pt x="1677" y="371"/>
                  <a:pt x="1688" y="371"/>
                </a:cubicBezTo>
                <a:cubicBezTo>
                  <a:pt x="1688" y="371"/>
                  <a:pt x="1688" y="371"/>
                  <a:pt x="1688" y="298"/>
                </a:cubicBezTo>
                <a:close/>
                <a:moveTo>
                  <a:pt x="1735" y="298"/>
                </a:moveTo>
                <a:cubicBezTo>
                  <a:pt x="1735" y="298"/>
                  <a:pt x="1735" y="298"/>
                  <a:pt x="1735" y="298"/>
                </a:cubicBezTo>
                <a:cubicBezTo>
                  <a:pt x="1730" y="298"/>
                  <a:pt x="1730" y="298"/>
                  <a:pt x="1730" y="298"/>
                </a:cubicBezTo>
                <a:cubicBezTo>
                  <a:pt x="1728" y="299"/>
                  <a:pt x="1726" y="301"/>
                  <a:pt x="1724" y="302"/>
                </a:cubicBezTo>
                <a:cubicBezTo>
                  <a:pt x="1723" y="303"/>
                  <a:pt x="1721" y="304"/>
                  <a:pt x="1719" y="305"/>
                </a:cubicBezTo>
                <a:cubicBezTo>
                  <a:pt x="1718" y="306"/>
                  <a:pt x="1715" y="307"/>
                  <a:pt x="1714" y="307"/>
                </a:cubicBezTo>
                <a:cubicBezTo>
                  <a:pt x="1712" y="308"/>
                  <a:pt x="1710" y="309"/>
                  <a:pt x="1708" y="309"/>
                </a:cubicBezTo>
                <a:cubicBezTo>
                  <a:pt x="1708" y="309"/>
                  <a:pt x="1708" y="309"/>
                  <a:pt x="1708" y="319"/>
                </a:cubicBezTo>
                <a:cubicBezTo>
                  <a:pt x="1711" y="318"/>
                  <a:pt x="1714" y="318"/>
                  <a:pt x="1716" y="316"/>
                </a:cubicBezTo>
                <a:cubicBezTo>
                  <a:pt x="1719" y="315"/>
                  <a:pt x="1721" y="314"/>
                  <a:pt x="1723" y="313"/>
                </a:cubicBezTo>
                <a:cubicBezTo>
                  <a:pt x="1723" y="313"/>
                  <a:pt x="1723" y="313"/>
                  <a:pt x="1723" y="371"/>
                </a:cubicBezTo>
                <a:cubicBezTo>
                  <a:pt x="1723" y="371"/>
                  <a:pt x="1723" y="371"/>
                  <a:pt x="1735" y="371"/>
                </a:cubicBezTo>
                <a:cubicBezTo>
                  <a:pt x="1735" y="371"/>
                  <a:pt x="1735" y="371"/>
                  <a:pt x="1735" y="298"/>
                </a:cubicBezTo>
                <a:close/>
                <a:moveTo>
                  <a:pt x="1781" y="298"/>
                </a:moveTo>
                <a:cubicBezTo>
                  <a:pt x="1781" y="298"/>
                  <a:pt x="1781" y="298"/>
                  <a:pt x="1781" y="298"/>
                </a:cubicBezTo>
                <a:cubicBezTo>
                  <a:pt x="1777" y="298"/>
                  <a:pt x="1777" y="298"/>
                  <a:pt x="1777" y="298"/>
                </a:cubicBezTo>
                <a:cubicBezTo>
                  <a:pt x="1775" y="299"/>
                  <a:pt x="1773" y="301"/>
                  <a:pt x="1771" y="302"/>
                </a:cubicBezTo>
                <a:cubicBezTo>
                  <a:pt x="1770" y="303"/>
                  <a:pt x="1767" y="304"/>
                  <a:pt x="1766" y="305"/>
                </a:cubicBezTo>
                <a:cubicBezTo>
                  <a:pt x="1764" y="305"/>
                  <a:pt x="1762" y="306"/>
                  <a:pt x="1760" y="307"/>
                </a:cubicBezTo>
                <a:cubicBezTo>
                  <a:pt x="1759" y="307"/>
                  <a:pt x="1757" y="308"/>
                  <a:pt x="1755" y="309"/>
                </a:cubicBezTo>
                <a:cubicBezTo>
                  <a:pt x="1755" y="309"/>
                  <a:pt x="1755" y="309"/>
                  <a:pt x="1755" y="319"/>
                </a:cubicBezTo>
                <a:cubicBezTo>
                  <a:pt x="1758" y="318"/>
                  <a:pt x="1761" y="317"/>
                  <a:pt x="1763" y="316"/>
                </a:cubicBezTo>
                <a:cubicBezTo>
                  <a:pt x="1765" y="315"/>
                  <a:pt x="1768" y="314"/>
                  <a:pt x="1770" y="313"/>
                </a:cubicBezTo>
                <a:cubicBezTo>
                  <a:pt x="1770" y="313"/>
                  <a:pt x="1770" y="313"/>
                  <a:pt x="1770" y="371"/>
                </a:cubicBezTo>
                <a:cubicBezTo>
                  <a:pt x="1770" y="371"/>
                  <a:pt x="1770" y="371"/>
                  <a:pt x="1781" y="371"/>
                </a:cubicBezTo>
                <a:cubicBezTo>
                  <a:pt x="1781" y="371"/>
                  <a:pt x="1781" y="371"/>
                  <a:pt x="1781" y="298"/>
                </a:cubicBezTo>
                <a:close/>
                <a:moveTo>
                  <a:pt x="1587" y="330"/>
                </a:moveTo>
                <a:cubicBezTo>
                  <a:pt x="1587" y="330"/>
                  <a:pt x="1587" y="330"/>
                  <a:pt x="1587" y="330"/>
                </a:cubicBezTo>
                <a:cubicBezTo>
                  <a:pt x="1586" y="339"/>
                  <a:pt x="1586" y="339"/>
                  <a:pt x="1586" y="339"/>
                </a:cubicBezTo>
                <a:cubicBezTo>
                  <a:pt x="1593" y="339"/>
                  <a:pt x="1593" y="342"/>
                  <a:pt x="1593" y="344"/>
                </a:cubicBezTo>
                <a:cubicBezTo>
                  <a:pt x="1593" y="347"/>
                  <a:pt x="1593" y="349"/>
                  <a:pt x="1593" y="352"/>
                </a:cubicBezTo>
                <a:cubicBezTo>
                  <a:pt x="1593" y="354"/>
                  <a:pt x="1592" y="356"/>
                  <a:pt x="1592" y="359"/>
                </a:cubicBezTo>
                <a:cubicBezTo>
                  <a:pt x="1592" y="368"/>
                  <a:pt x="1598" y="371"/>
                  <a:pt x="1607" y="371"/>
                </a:cubicBezTo>
                <a:cubicBezTo>
                  <a:pt x="1607" y="371"/>
                  <a:pt x="1607" y="371"/>
                  <a:pt x="1610" y="371"/>
                </a:cubicBezTo>
                <a:cubicBezTo>
                  <a:pt x="1610" y="371"/>
                  <a:pt x="1610" y="371"/>
                  <a:pt x="1610" y="362"/>
                </a:cubicBezTo>
                <a:cubicBezTo>
                  <a:pt x="1610" y="362"/>
                  <a:pt x="1610" y="362"/>
                  <a:pt x="1609" y="362"/>
                </a:cubicBezTo>
                <a:cubicBezTo>
                  <a:pt x="1605" y="362"/>
                  <a:pt x="1604" y="360"/>
                  <a:pt x="1604" y="356"/>
                </a:cubicBezTo>
                <a:cubicBezTo>
                  <a:pt x="1604" y="355"/>
                  <a:pt x="1604" y="353"/>
                  <a:pt x="1604" y="352"/>
                </a:cubicBezTo>
                <a:cubicBezTo>
                  <a:pt x="1604" y="350"/>
                  <a:pt x="1605" y="348"/>
                  <a:pt x="1605" y="346"/>
                </a:cubicBezTo>
                <a:cubicBezTo>
                  <a:pt x="1605" y="338"/>
                  <a:pt x="1602" y="336"/>
                  <a:pt x="1596" y="334"/>
                </a:cubicBezTo>
                <a:cubicBezTo>
                  <a:pt x="1596" y="334"/>
                  <a:pt x="1596" y="334"/>
                  <a:pt x="1596" y="334"/>
                </a:cubicBezTo>
                <a:cubicBezTo>
                  <a:pt x="1602" y="333"/>
                  <a:pt x="1605" y="331"/>
                  <a:pt x="1605" y="323"/>
                </a:cubicBezTo>
                <a:cubicBezTo>
                  <a:pt x="1605" y="321"/>
                  <a:pt x="1604" y="319"/>
                  <a:pt x="1604" y="317"/>
                </a:cubicBezTo>
                <a:cubicBezTo>
                  <a:pt x="1604" y="315"/>
                  <a:pt x="1604" y="313"/>
                  <a:pt x="1604" y="312"/>
                </a:cubicBezTo>
                <a:cubicBezTo>
                  <a:pt x="1604" y="309"/>
                  <a:pt x="1605" y="306"/>
                  <a:pt x="1609" y="306"/>
                </a:cubicBezTo>
                <a:cubicBezTo>
                  <a:pt x="1609" y="306"/>
                  <a:pt x="1609" y="306"/>
                  <a:pt x="1610" y="306"/>
                </a:cubicBezTo>
                <a:cubicBezTo>
                  <a:pt x="1610" y="306"/>
                  <a:pt x="1610" y="306"/>
                  <a:pt x="1610" y="297"/>
                </a:cubicBezTo>
                <a:cubicBezTo>
                  <a:pt x="1610" y="297"/>
                  <a:pt x="1610" y="297"/>
                  <a:pt x="1607" y="297"/>
                </a:cubicBezTo>
                <a:cubicBezTo>
                  <a:pt x="1598" y="297"/>
                  <a:pt x="1592" y="301"/>
                  <a:pt x="1592" y="310"/>
                </a:cubicBezTo>
                <a:cubicBezTo>
                  <a:pt x="1592" y="312"/>
                  <a:pt x="1593" y="315"/>
                  <a:pt x="1593" y="317"/>
                </a:cubicBezTo>
                <a:cubicBezTo>
                  <a:pt x="1593" y="319"/>
                  <a:pt x="1593" y="322"/>
                  <a:pt x="1593" y="324"/>
                </a:cubicBezTo>
                <a:cubicBezTo>
                  <a:pt x="1593" y="327"/>
                  <a:pt x="1593" y="330"/>
                  <a:pt x="1587" y="330"/>
                </a:cubicBezTo>
                <a:close/>
                <a:moveTo>
                  <a:pt x="1641" y="339"/>
                </a:moveTo>
                <a:cubicBezTo>
                  <a:pt x="1641" y="339"/>
                  <a:pt x="1641" y="339"/>
                  <a:pt x="1641" y="339"/>
                </a:cubicBezTo>
                <a:cubicBezTo>
                  <a:pt x="1641" y="330"/>
                  <a:pt x="1641" y="330"/>
                  <a:pt x="1641" y="330"/>
                </a:cubicBezTo>
                <a:cubicBezTo>
                  <a:pt x="1635" y="330"/>
                  <a:pt x="1635" y="327"/>
                  <a:pt x="1635" y="324"/>
                </a:cubicBezTo>
                <a:cubicBezTo>
                  <a:pt x="1635" y="322"/>
                  <a:pt x="1635" y="319"/>
                  <a:pt x="1635" y="317"/>
                </a:cubicBezTo>
                <a:cubicBezTo>
                  <a:pt x="1636" y="315"/>
                  <a:pt x="1636" y="312"/>
                  <a:pt x="1636" y="310"/>
                </a:cubicBezTo>
                <a:cubicBezTo>
                  <a:pt x="1636" y="301"/>
                  <a:pt x="1630" y="297"/>
                  <a:pt x="1621" y="297"/>
                </a:cubicBezTo>
                <a:cubicBezTo>
                  <a:pt x="1621" y="297"/>
                  <a:pt x="1621" y="297"/>
                  <a:pt x="1617" y="297"/>
                </a:cubicBezTo>
                <a:cubicBezTo>
                  <a:pt x="1617" y="297"/>
                  <a:pt x="1617" y="297"/>
                  <a:pt x="1617" y="306"/>
                </a:cubicBezTo>
                <a:cubicBezTo>
                  <a:pt x="1617" y="306"/>
                  <a:pt x="1617" y="306"/>
                  <a:pt x="1619" y="306"/>
                </a:cubicBezTo>
                <a:cubicBezTo>
                  <a:pt x="1623" y="306"/>
                  <a:pt x="1624" y="309"/>
                  <a:pt x="1624" y="312"/>
                </a:cubicBezTo>
                <a:cubicBezTo>
                  <a:pt x="1624" y="313"/>
                  <a:pt x="1624" y="315"/>
                  <a:pt x="1624" y="317"/>
                </a:cubicBezTo>
                <a:cubicBezTo>
                  <a:pt x="1623" y="319"/>
                  <a:pt x="1623" y="321"/>
                  <a:pt x="1623" y="323"/>
                </a:cubicBezTo>
                <a:cubicBezTo>
                  <a:pt x="1623" y="331"/>
                  <a:pt x="1626" y="333"/>
                  <a:pt x="1632" y="334"/>
                </a:cubicBezTo>
                <a:cubicBezTo>
                  <a:pt x="1632" y="334"/>
                  <a:pt x="1632" y="334"/>
                  <a:pt x="1632" y="334"/>
                </a:cubicBezTo>
                <a:cubicBezTo>
                  <a:pt x="1626" y="336"/>
                  <a:pt x="1623" y="338"/>
                  <a:pt x="1623" y="346"/>
                </a:cubicBezTo>
                <a:cubicBezTo>
                  <a:pt x="1623" y="348"/>
                  <a:pt x="1623" y="350"/>
                  <a:pt x="1624" y="352"/>
                </a:cubicBezTo>
                <a:cubicBezTo>
                  <a:pt x="1624" y="353"/>
                  <a:pt x="1624" y="355"/>
                  <a:pt x="1624" y="356"/>
                </a:cubicBezTo>
                <a:cubicBezTo>
                  <a:pt x="1624" y="360"/>
                  <a:pt x="1623" y="362"/>
                  <a:pt x="1619" y="362"/>
                </a:cubicBezTo>
                <a:cubicBezTo>
                  <a:pt x="1619" y="362"/>
                  <a:pt x="1619" y="362"/>
                  <a:pt x="1617" y="362"/>
                </a:cubicBezTo>
                <a:cubicBezTo>
                  <a:pt x="1617" y="362"/>
                  <a:pt x="1617" y="362"/>
                  <a:pt x="1617" y="371"/>
                </a:cubicBezTo>
                <a:cubicBezTo>
                  <a:pt x="1617" y="371"/>
                  <a:pt x="1617" y="371"/>
                  <a:pt x="1621" y="371"/>
                </a:cubicBezTo>
                <a:cubicBezTo>
                  <a:pt x="1630" y="371"/>
                  <a:pt x="1636" y="368"/>
                  <a:pt x="1636" y="359"/>
                </a:cubicBezTo>
                <a:cubicBezTo>
                  <a:pt x="1636" y="356"/>
                  <a:pt x="1636" y="354"/>
                  <a:pt x="1635" y="352"/>
                </a:cubicBezTo>
                <a:cubicBezTo>
                  <a:pt x="1635" y="349"/>
                  <a:pt x="1635" y="347"/>
                  <a:pt x="1635" y="344"/>
                </a:cubicBezTo>
                <a:cubicBezTo>
                  <a:pt x="1635" y="342"/>
                  <a:pt x="1635" y="339"/>
                  <a:pt x="1641" y="339"/>
                </a:cubicBezTo>
                <a:close/>
                <a:moveTo>
                  <a:pt x="1825" y="371"/>
                </a:moveTo>
                <a:cubicBezTo>
                  <a:pt x="1818" y="371"/>
                  <a:pt x="1811" y="368"/>
                  <a:pt x="1807" y="363"/>
                </a:cubicBezTo>
                <a:cubicBezTo>
                  <a:pt x="1803" y="356"/>
                  <a:pt x="1801" y="347"/>
                  <a:pt x="1801" y="335"/>
                </a:cubicBezTo>
                <a:cubicBezTo>
                  <a:pt x="1801" y="321"/>
                  <a:pt x="1803" y="312"/>
                  <a:pt x="1807" y="305"/>
                </a:cubicBezTo>
                <a:cubicBezTo>
                  <a:pt x="1812" y="299"/>
                  <a:pt x="1818" y="295"/>
                  <a:pt x="1827" y="295"/>
                </a:cubicBezTo>
                <a:cubicBezTo>
                  <a:pt x="1843" y="295"/>
                  <a:pt x="1851" y="308"/>
                  <a:pt x="1851" y="333"/>
                </a:cubicBezTo>
                <a:cubicBezTo>
                  <a:pt x="1851" y="346"/>
                  <a:pt x="1849" y="355"/>
                  <a:pt x="1844" y="362"/>
                </a:cubicBezTo>
                <a:cubicBezTo>
                  <a:pt x="1840" y="368"/>
                  <a:pt x="1833" y="371"/>
                  <a:pt x="1825" y="371"/>
                </a:cubicBezTo>
                <a:close/>
                <a:moveTo>
                  <a:pt x="1826" y="305"/>
                </a:moveTo>
                <a:cubicBezTo>
                  <a:pt x="1817" y="305"/>
                  <a:pt x="1813" y="315"/>
                  <a:pt x="1813" y="335"/>
                </a:cubicBezTo>
                <a:cubicBezTo>
                  <a:pt x="1813" y="353"/>
                  <a:pt x="1817" y="362"/>
                  <a:pt x="1826" y="362"/>
                </a:cubicBezTo>
                <a:cubicBezTo>
                  <a:pt x="1834" y="362"/>
                  <a:pt x="1839" y="353"/>
                  <a:pt x="1839" y="334"/>
                </a:cubicBezTo>
                <a:cubicBezTo>
                  <a:pt x="1839" y="314"/>
                  <a:pt x="1834" y="305"/>
                  <a:pt x="1826" y="305"/>
                </a:cubicBezTo>
                <a:close/>
                <a:moveTo>
                  <a:pt x="1895" y="371"/>
                </a:moveTo>
                <a:cubicBezTo>
                  <a:pt x="1888" y="371"/>
                  <a:pt x="1882" y="368"/>
                  <a:pt x="1878" y="363"/>
                </a:cubicBezTo>
                <a:cubicBezTo>
                  <a:pt x="1874" y="356"/>
                  <a:pt x="1871" y="347"/>
                  <a:pt x="1871" y="335"/>
                </a:cubicBezTo>
                <a:cubicBezTo>
                  <a:pt x="1871" y="321"/>
                  <a:pt x="1874" y="312"/>
                  <a:pt x="1878" y="305"/>
                </a:cubicBezTo>
                <a:cubicBezTo>
                  <a:pt x="1882" y="299"/>
                  <a:pt x="1889" y="295"/>
                  <a:pt x="1898" y="295"/>
                </a:cubicBezTo>
                <a:cubicBezTo>
                  <a:pt x="1914" y="295"/>
                  <a:pt x="1922" y="308"/>
                  <a:pt x="1922" y="333"/>
                </a:cubicBezTo>
                <a:cubicBezTo>
                  <a:pt x="1922" y="346"/>
                  <a:pt x="1920" y="355"/>
                  <a:pt x="1915" y="362"/>
                </a:cubicBezTo>
                <a:cubicBezTo>
                  <a:pt x="1910" y="368"/>
                  <a:pt x="1904" y="371"/>
                  <a:pt x="1895" y="371"/>
                </a:cubicBezTo>
                <a:close/>
                <a:moveTo>
                  <a:pt x="1897" y="305"/>
                </a:moveTo>
                <a:cubicBezTo>
                  <a:pt x="1888" y="305"/>
                  <a:pt x="1883" y="315"/>
                  <a:pt x="1883" y="335"/>
                </a:cubicBezTo>
                <a:cubicBezTo>
                  <a:pt x="1883" y="353"/>
                  <a:pt x="1887" y="362"/>
                  <a:pt x="1896" y="362"/>
                </a:cubicBezTo>
                <a:cubicBezTo>
                  <a:pt x="1905" y="362"/>
                  <a:pt x="1909" y="353"/>
                  <a:pt x="1909" y="334"/>
                </a:cubicBezTo>
                <a:cubicBezTo>
                  <a:pt x="1909" y="314"/>
                  <a:pt x="1905" y="305"/>
                  <a:pt x="1897" y="305"/>
                </a:cubicBezTo>
                <a:close/>
                <a:moveTo>
                  <a:pt x="41" y="394"/>
                </a:moveTo>
                <a:cubicBezTo>
                  <a:pt x="41" y="394"/>
                  <a:pt x="41" y="394"/>
                  <a:pt x="41" y="394"/>
                </a:cubicBezTo>
                <a:cubicBezTo>
                  <a:pt x="36" y="394"/>
                  <a:pt x="36" y="394"/>
                  <a:pt x="36" y="394"/>
                </a:cubicBezTo>
                <a:cubicBezTo>
                  <a:pt x="33" y="395"/>
                  <a:pt x="32" y="397"/>
                  <a:pt x="30" y="398"/>
                </a:cubicBezTo>
                <a:cubicBezTo>
                  <a:pt x="28" y="399"/>
                  <a:pt x="27" y="400"/>
                  <a:pt x="25" y="401"/>
                </a:cubicBezTo>
                <a:cubicBezTo>
                  <a:pt x="23" y="402"/>
                  <a:pt x="21" y="403"/>
                  <a:pt x="20" y="403"/>
                </a:cubicBezTo>
                <a:cubicBezTo>
                  <a:pt x="17" y="404"/>
                  <a:pt x="16" y="405"/>
                  <a:pt x="14" y="405"/>
                </a:cubicBezTo>
                <a:cubicBezTo>
                  <a:pt x="14" y="405"/>
                  <a:pt x="14" y="405"/>
                  <a:pt x="14" y="415"/>
                </a:cubicBezTo>
                <a:cubicBezTo>
                  <a:pt x="17" y="414"/>
                  <a:pt x="20" y="414"/>
                  <a:pt x="22" y="412"/>
                </a:cubicBezTo>
                <a:cubicBezTo>
                  <a:pt x="25" y="411"/>
                  <a:pt x="27" y="410"/>
                  <a:pt x="29" y="409"/>
                </a:cubicBezTo>
                <a:cubicBezTo>
                  <a:pt x="29" y="409"/>
                  <a:pt x="29" y="409"/>
                  <a:pt x="29" y="467"/>
                </a:cubicBezTo>
                <a:cubicBezTo>
                  <a:pt x="29" y="467"/>
                  <a:pt x="29" y="467"/>
                  <a:pt x="41" y="467"/>
                </a:cubicBezTo>
                <a:cubicBezTo>
                  <a:pt x="41" y="467"/>
                  <a:pt x="41" y="467"/>
                  <a:pt x="41" y="394"/>
                </a:cubicBezTo>
                <a:close/>
                <a:moveTo>
                  <a:pt x="88" y="394"/>
                </a:moveTo>
                <a:cubicBezTo>
                  <a:pt x="88" y="394"/>
                  <a:pt x="88" y="394"/>
                  <a:pt x="88" y="394"/>
                </a:cubicBezTo>
                <a:cubicBezTo>
                  <a:pt x="83" y="394"/>
                  <a:pt x="83" y="394"/>
                  <a:pt x="83" y="394"/>
                </a:cubicBezTo>
                <a:cubicBezTo>
                  <a:pt x="81" y="395"/>
                  <a:pt x="79" y="397"/>
                  <a:pt x="77" y="398"/>
                </a:cubicBezTo>
                <a:cubicBezTo>
                  <a:pt x="76" y="399"/>
                  <a:pt x="74" y="400"/>
                  <a:pt x="72" y="401"/>
                </a:cubicBezTo>
                <a:cubicBezTo>
                  <a:pt x="71" y="402"/>
                  <a:pt x="69" y="403"/>
                  <a:pt x="67" y="403"/>
                </a:cubicBezTo>
                <a:cubicBezTo>
                  <a:pt x="65" y="404"/>
                  <a:pt x="63" y="405"/>
                  <a:pt x="61" y="405"/>
                </a:cubicBezTo>
                <a:cubicBezTo>
                  <a:pt x="61" y="405"/>
                  <a:pt x="61" y="405"/>
                  <a:pt x="61" y="415"/>
                </a:cubicBezTo>
                <a:cubicBezTo>
                  <a:pt x="64" y="414"/>
                  <a:pt x="67" y="414"/>
                  <a:pt x="69" y="412"/>
                </a:cubicBezTo>
                <a:cubicBezTo>
                  <a:pt x="72" y="411"/>
                  <a:pt x="74" y="410"/>
                  <a:pt x="77" y="409"/>
                </a:cubicBezTo>
                <a:cubicBezTo>
                  <a:pt x="77" y="409"/>
                  <a:pt x="77" y="409"/>
                  <a:pt x="77" y="467"/>
                </a:cubicBezTo>
                <a:cubicBezTo>
                  <a:pt x="77" y="467"/>
                  <a:pt x="77" y="467"/>
                  <a:pt x="88" y="467"/>
                </a:cubicBezTo>
                <a:cubicBezTo>
                  <a:pt x="88" y="467"/>
                  <a:pt x="88" y="467"/>
                  <a:pt x="88" y="394"/>
                </a:cubicBezTo>
                <a:close/>
                <a:moveTo>
                  <a:pt x="135" y="394"/>
                </a:moveTo>
                <a:cubicBezTo>
                  <a:pt x="135" y="394"/>
                  <a:pt x="135" y="394"/>
                  <a:pt x="135" y="394"/>
                </a:cubicBezTo>
                <a:cubicBezTo>
                  <a:pt x="130" y="394"/>
                  <a:pt x="130" y="394"/>
                  <a:pt x="130" y="394"/>
                </a:cubicBezTo>
                <a:cubicBezTo>
                  <a:pt x="128" y="395"/>
                  <a:pt x="127" y="397"/>
                  <a:pt x="125" y="398"/>
                </a:cubicBezTo>
                <a:cubicBezTo>
                  <a:pt x="123" y="399"/>
                  <a:pt x="121" y="400"/>
                  <a:pt x="120" y="401"/>
                </a:cubicBezTo>
                <a:cubicBezTo>
                  <a:pt x="117" y="401"/>
                  <a:pt x="116" y="402"/>
                  <a:pt x="114" y="403"/>
                </a:cubicBezTo>
                <a:cubicBezTo>
                  <a:pt x="112" y="403"/>
                  <a:pt x="110" y="404"/>
                  <a:pt x="109" y="405"/>
                </a:cubicBezTo>
                <a:cubicBezTo>
                  <a:pt x="109" y="405"/>
                  <a:pt x="109" y="405"/>
                  <a:pt x="109" y="415"/>
                </a:cubicBezTo>
                <a:cubicBezTo>
                  <a:pt x="112" y="414"/>
                  <a:pt x="115" y="413"/>
                  <a:pt x="117" y="412"/>
                </a:cubicBezTo>
                <a:cubicBezTo>
                  <a:pt x="119" y="411"/>
                  <a:pt x="122" y="410"/>
                  <a:pt x="123" y="409"/>
                </a:cubicBezTo>
                <a:cubicBezTo>
                  <a:pt x="123" y="409"/>
                  <a:pt x="123" y="409"/>
                  <a:pt x="123" y="467"/>
                </a:cubicBezTo>
                <a:cubicBezTo>
                  <a:pt x="123" y="467"/>
                  <a:pt x="123" y="467"/>
                  <a:pt x="135" y="467"/>
                </a:cubicBezTo>
                <a:cubicBezTo>
                  <a:pt x="135" y="467"/>
                  <a:pt x="135" y="467"/>
                  <a:pt x="135" y="394"/>
                </a:cubicBezTo>
                <a:close/>
                <a:moveTo>
                  <a:pt x="179" y="467"/>
                </a:moveTo>
                <a:cubicBezTo>
                  <a:pt x="172" y="467"/>
                  <a:pt x="166" y="464"/>
                  <a:pt x="161" y="459"/>
                </a:cubicBezTo>
                <a:cubicBezTo>
                  <a:pt x="158" y="452"/>
                  <a:pt x="155" y="443"/>
                  <a:pt x="155" y="431"/>
                </a:cubicBezTo>
                <a:cubicBezTo>
                  <a:pt x="155" y="417"/>
                  <a:pt x="158" y="408"/>
                  <a:pt x="162" y="401"/>
                </a:cubicBezTo>
                <a:cubicBezTo>
                  <a:pt x="166" y="395"/>
                  <a:pt x="173" y="391"/>
                  <a:pt x="182" y="391"/>
                </a:cubicBezTo>
                <a:cubicBezTo>
                  <a:pt x="198" y="391"/>
                  <a:pt x="206" y="404"/>
                  <a:pt x="206" y="429"/>
                </a:cubicBezTo>
                <a:cubicBezTo>
                  <a:pt x="206" y="442"/>
                  <a:pt x="204" y="451"/>
                  <a:pt x="198" y="458"/>
                </a:cubicBezTo>
                <a:cubicBezTo>
                  <a:pt x="194" y="464"/>
                  <a:pt x="188" y="467"/>
                  <a:pt x="179" y="467"/>
                </a:cubicBezTo>
                <a:close/>
                <a:moveTo>
                  <a:pt x="181" y="401"/>
                </a:moveTo>
                <a:cubicBezTo>
                  <a:pt x="171" y="401"/>
                  <a:pt x="167" y="411"/>
                  <a:pt x="167" y="431"/>
                </a:cubicBezTo>
                <a:cubicBezTo>
                  <a:pt x="167" y="449"/>
                  <a:pt x="171" y="458"/>
                  <a:pt x="180" y="458"/>
                </a:cubicBezTo>
                <a:cubicBezTo>
                  <a:pt x="189" y="458"/>
                  <a:pt x="193" y="449"/>
                  <a:pt x="193" y="430"/>
                </a:cubicBezTo>
                <a:cubicBezTo>
                  <a:pt x="193" y="410"/>
                  <a:pt x="189" y="401"/>
                  <a:pt x="181" y="401"/>
                </a:cubicBezTo>
                <a:close/>
                <a:moveTo>
                  <a:pt x="251" y="467"/>
                </a:moveTo>
                <a:cubicBezTo>
                  <a:pt x="243" y="467"/>
                  <a:pt x="237" y="464"/>
                  <a:pt x="233" y="459"/>
                </a:cubicBezTo>
                <a:cubicBezTo>
                  <a:pt x="229" y="452"/>
                  <a:pt x="226" y="443"/>
                  <a:pt x="226" y="431"/>
                </a:cubicBezTo>
                <a:cubicBezTo>
                  <a:pt x="226" y="417"/>
                  <a:pt x="229" y="408"/>
                  <a:pt x="233" y="401"/>
                </a:cubicBezTo>
                <a:cubicBezTo>
                  <a:pt x="237" y="395"/>
                  <a:pt x="244" y="391"/>
                  <a:pt x="253" y="391"/>
                </a:cubicBezTo>
                <a:cubicBezTo>
                  <a:pt x="269" y="391"/>
                  <a:pt x="277" y="404"/>
                  <a:pt x="277" y="429"/>
                </a:cubicBezTo>
                <a:cubicBezTo>
                  <a:pt x="277" y="442"/>
                  <a:pt x="275" y="451"/>
                  <a:pt x="270" y="458"/>
                </a:cubicBezTo>
                <a:cubicBezTo>
                  <a:pt x="265" y="464"/>
                  <a:pt x="259" y="467"/>
                  <a:pt x="251" y="467"/>
                </a:cubicBezTo>
                <a:close/>
                <a:moveTo>
                  <a:pt x="252" y="401"/>
                </a:moveTo>
                <a:cubicBezTo>
                  <a:pt x="243" y="401"/>
                  <a:pt x="238" y="411"/>
                  <a:pt x="238" y="431"/>
                </a:cubicBezTo>
                <a:cubicBezTo>
                  <a:pt x="238" y="449"/>
                  <a:pt x="242" y="458"/>
                  <a:pt x="251" y="458"/>
                </a:cubicBezTo>
                <a:cubicBezTo>
                  <a:pt x="260" y="458"/>
                  <a:pt x="264" y="449"/>
                  <a:pt x="264" y="430"/>
                </a:cubicBezTo>
                <a:cubicBezTo>
                  <a:pt x="264" y="410"/>
                  <a:pt x="260" y="401"/>
                  <a:pt x="252" y="401"/>
                </a:cubicBezTo>
                <a:close/>
                <a:moveTo>
                  <a:pt x="463" y="467"/>
                </a:moveTo>
                <a:cubicBezTo>
                  <a:pt x="456" y="467"/>
                  <a:pt x="450" y="464"/>
                  <a:pt x="446" y="458"/>
                </a:cubicBezTo>
                <a:cubicBezTo>
                  <a:pt x="441" y="452"/>
                  <a:pt x="439" y="442"/>
                  <a:pt x="439" y="431"/>
                </a:cubicBezTo>
                <a:cubicBezTo>
                  <a:pt x="439" y="417"/>
                  <a:pt x="441" y="408"/>
                  <a:pt x="446" y="401"/>
                </a:cubicBezTo>
                <a:cubicBezTo>
                  <a:pt x="450" y="394"/>
                  <a:pt x="457" y="391"/>
                  <a:pt x="466" y="391"/>
                </a:cubicBezTo>
                <a:cubicBezTo>
                  <a:pt x="482" y="391"/>
                  <a:pt x="490" y="404"/>
                  <a:pt x="490" y="429"/>
                </a:cubicBezTo>
                <a:cubicBezTo>
                  <a:pt x="490" y="442"/>
                  <a:pt x="488" y="451"/>
                  <a:pt x="483" y="458"/>
                </a:cubicBezTo>
                <a:cubicBezTo>
                  <a:pt x="478" y="464"/>
                  <a:pt x="472" y="467"/>
                  <a:pt x="463" y="467"/>
                </a:cubicBezTo>
                <a:close/>
                <a:moveTo>
                  <a:pt x="465" y="401"/>
                </a:moveTo>
                <a:cubicBezTo>
                  <a:pt x="456" y="401"/>
                  <a:pt x="452" y="410"/>
                  <a:pt x="452" y="430"/>
                </a:cubicBezTo>
                <a:cubicBezTo>
                  <a:pt x="452" y="448"/>
                  <a:pt x="456" y="458"/>
                  <a:pt x="465" y="458"/>
                </a:cubicBezTo>
                <a:cubicBezTo>
                  <a:pt x="473" y="458"/>
                  <a:pt x="477" y="448"/>
                  <a:pt x="477" y="430"/>
                </a:cubicBezTo>
                <a:cubicBezTo>
                  <a:pt x="477" y="410"/>
                  <a:pt x="474" y="401"/>
                  <a:pt x="465" y="401"/>
                </a:cubicBezTo>
                <a:close/>
                <a:moveTo>
                  <a:pt x="582" y="467"/>
                </a:moveTo>
                <a:cubicBezTo>
                  <a:pt x="574" y="467"/>
                  <a:pt x="569" y="464"/>
                  <a:pt x="564" y="458"/>
                </a:cubicBezTo>
                <a:cubicBezTo>
                  <a:pt x="560" y="452"/>
                  <a:pt x="558" y="442"/>
                  <a:pt x="558" y="431"/>
                </a:cubicBezTo>
                <a:cubicBezTo>
                  <a:pt x="558" y="417"/>
                  <a:pt x="560" y="408"/>
                  <a:pt x="564" y="401"/>
                </a:cubicBezTo>
                <a:cubicBezTo>
                  <a:pt x="569" y="394"/>
                  <a:pt x="575" y="391"/>
                  <a:pt x="584" y="391"/>
                </a:cubicBezTo>
                <a:cubicBezTo>
                  <a:pt x="600" y="391"/>
                  <a:pt x="608" y="404"/>
                  <a:pt x="608" y="429"/>
                </a:cubicBezTo>
                <a:cubicBezTo>
                  <a:pt x="608" y="442"/>
                  <a:pt x="606" y="451"/>
                  <a:pt x="601" y="458"/>
                </a:cubicBezTo>
                <a:cubicBezTo>
                  <a:pt x="596" y="464"/>
                  <a:pt x="590" y="467"/>
                  <a:pt x="582" y="467"/>
                </a:cubicBezTo>
                <a:close/>
                <a:moveTo>
                  <a:pt x="583" y="401"/>
                </a:moveTo>
                <a:cubicBezTo>
                  <a:pt x="574" y="401"/>
                  <a:pt x="570" y="410"/>
                  <a:pt x="570" y="430"/>
                </a:cubicBezTo>
                <a:cubicBezTo>
                  <a:pt x="570" y="448"/>
                  <a:pt x="574" y="458"/>
                  <a:pt x="583" y="458"/>
                </a:cubicBezTo>
                <a:cubicBezTo>
                  <a:pt x="591" y="458"/>
                  <a:pt x="596" y="448"/>
                  <a:pt x="596" y="430"/>
                </a:cubicBezTo>
                <a:cubicBezTo>
                  <a:pt x="596" y="410"/>
                  <a:pt x="592" y="401"/>
                  <a:pt x="583" y="401"/>
                </a:cubicBezTo>
                <a:close/>
                <a:moveTo>
                  <a:pt x="537" y="394"/>
                </a:moveTo>
                <a:cubicBezTo>
                  <a:pt x="537" y="394"/>
                  <a:pt x="537" y="394"/>
                  <a:pt x="537" y="394"/>
                </a:cubicBezTo>
                <a:cubicBezTo>
                  <a:pt x="532" y="394"/>
                  <a:pt x="532" y="394"/>
                  <a:pt x="532" y="394"/>
                </a:cubicBezTo>
                <a:cubicBezTo>
                  <a:pt x="530" y="395"/>
                  <a:pt x="528" y="397"/>
                  <a:pt x="526" y="398"/>
                </a:cubicBezTo>
                <a:cubicBezTo>
                  <a:pt x="525" y="399"/>
                  <a:pt x="522" y="400"/>
                  <a:pt x="521" y="401"/>
                </a:cubicBezTo>
                <a:cubicBezTo>
                  <a:pt x="520" y="401"/>
                  <a:pt x="517" y="402"/>
                  <a:pt x="516" y="403"/>
                </a:cubicBezTo>
                <a:cubicBezTo>
                  <a:pt x="514" y="403"/>
                  <a:pt x="512" y="404"/>
                  <a:pt x="510" y="405"/>
                </a:cubicBezTo>
                <a:cubicBezTo>
                  <a:pt x="510" y="405"/>
                  <a:pt x="510" y="405"/>
                  <a:pt x="510" y="415"/>
                </a:cubicBezTo>
                <a:cubicBezTo>
                  <a:pt x="513" y="414"/>
                  <a:pt x="516" y="413"/>
                  <a:pt x="518" y="412"/>
                </a:cubicBezTo>
                <a:cubicBezTo>
                  <a:pt x="521" y="411"/>
                  <a:pt x="523" y="410"/>
                  <a:pt x="525" y="409"/>
                </a:cubicBezTo>
                <a:cubicBezTo>
                  <a:pt x="525" y="409"/>
                  <a:pt x="525" y="409"/>
                  <a:pt x="525" y="467"/>
                </a:cubicBezTo>
                <a:cubicBezTo>
                  <a:pt x="525" y="467"/>
                  <a:pt x="525" y="467"/>
                  <a:pt x="537" y="467"/>
                </a:cubicBezTo>
                <a:cubicBezTo>
                  <a:pt x="537" y="467"/>
                  <a:pt x="537" y="467"/>
                  <a:pt x="537" y="394"/>
                </a:cubicBezTo>
                <a:close/>
                <a:moveTo>
                  <a:pt x="653" y="467"/>
                </a:moveTo>
                <a:cubicBezTo>
                  <a:pt x="645" y="467"/>
                  <a:pt x="638" y="464"/>
                  <a:pt x="635" y="459"/>
                </a:cubicBezTo>
                <a:cubicBezTo>
                  <a:pt x="630" y="452"/>
                  <a:pt x="628" y="443"/>
                  <a:pt x="628" y="431"/>
                </a:cubicBezTo>
                <a:cubicBezTo>
                  <a:pt x="628" y="417"/>
                  <a:pt x="630" y="408"/>
                  <a:pt x="635" y="401"/>
                </a:cubicBezTo>
                <a:cubicBezTo>
                  <a:pt x="639" y="395"/>
                  <a:pt x="646" y="391"/>
                  <a:pt x="655" y="391"/>
                </a:cubicBezTo>
                <a:cubicBezTo>
                  <a:pt x="671" y="391"/>
                  <a:pt x="679" y="404"/>
                  <a:pt x="679" y="429"/>
                </a:cubicBezTo>
                <a:cubicBezTo>
                  <a:pt x="679" y="442"/>
                  <a:pt x="677" y="451"/>
                  <a:pt x="672" y="458"/>
                </a:cubicBezTo>
                <a:cubicBezTo>
                  <a:pt x="667" y="464"/>
                  <a:pt x="661" y="467"/>
                  <a:pt x="653" y="467"/>
                </a:cubicBezTo>
                <a:close/>
                <a:moveTo>
                  <a:pt x="654" y="401"/>
                </a:moveTo>
                <a:cubicBezTo>
                  <a:pt x="645" y="401"/>
                  <a:pt x="640" y="411"/>
                  <a:pt x="640" y="431"/>
                </a:cubicBezTo>
                <a:cubicBezTo>
                  <a:pt x="640" y="449"/>
                  <a:pt x="644" y="458"/>
                  <a:pt x="653" y="458"/>
                </a:cubicBezTo>
                <a:cubicBezTo>
                  <a:pt x="662" y="458"/>
                  <a:pt x="667" y="449"/>
                  <a:pt x="667" y="430"/>
                </a:cubicBezTo>
                <a:cubicBezTo>
                  <a:pt x="667" y="410"/>
                  <a:pt x="662" y="401"/>
                  <a:pt x="654" y="401"/>
                </a:cubicBezTo>
                <a:close/>
                <a:moveTo>
                  <a:pt x="700" y="426"/>
                </a:moveTo>
                <a:cubicBezTo>
                  <a:pt x="700" y="426"/>
                  <a:pt x="700" y="426"/>
                  <a:pt x="700" y="426"/>
                </a:cubicBezTo>
                <a:cubicBezTo>
                  <a:pt x="699" y="435"/>
                  <a:pt x="699" y="435"/>
                  <a:pt x="699" y="435"/>
                </a:cubicBezTo>
                <a:cubicBezTo>
                  <a:pt x="706" y="435"/>
                  <a:pt x="706" y="438"/>
                  <a:pt x="706" y="440"/>
                </a:cubicBezTo>
                <a:cubicBezTo>
                  <a:pt x="706" y="443"/>
                  <a:pt x="706" y="445"/>
                  <a:pt x="706" y="448"/>
                </a:cubicBezTo>
                <a:cubicBezTo>
                  <a:pt x="706" y="450"/>
                  <a:pt x="705" y="452"/>
                  <a:pt x="705" y="455"/>
                </a:cubicBezTo>
                <a:cubicBezTo>
                  <a:pt x="705" y="464"/>
                  <a:pt x="711" y="467"/>
                  <a:pt x="720" y="467"/>
                </a:cubicBezTo>
                <a:cubicBezTo>
                  <a:pt x="720" y="467"/>
                  <a:pt x="720" y="467"/>
                  <a:pt x="724" y="467"/>
                </a:cubicBezTo>
                <a:cubicBezTo>
                  <a:pt x="724" y="467"/>
                  <a:pt x="724" y="467"/>
                  <a:pt x="724" y="458"/>
                </a:cubicBezTo>
                <a:cubicBezTo>
                  <a:pt x="724" y="458"/>
                  <a:pt x="724" y="458"/>
                  <a:pt x="722" y="458"/>
                </a:cubicBezTo>
                <a:cubicBezTo>
                  <a:pt x="718" y="458"/>
                  <a:pt x="717" y="456"/>
                  <a:pt x="717" y="452"/>
                </a:cubicBezTo>
                <a:cubicBezTo>
                  <a:pt x="717" y="451"/>
                  <a:pt x="717" y="449"/>
                  <a:pt x="718" y="448"/>
                </a:cubicBezTo>
                <a:cubicBezTo>
                  <a:pt x="718" y="446"/>
                  <a:pt x="718" y="444"/>
                  <a:pt x="718" y="442"/>
                </a:cubicBezTo>
                <a:cubicBezTo>
                  <a:pt x="718" y="434"/>
                  <a:pt x="715" y="432"/>
                  <a:pt x="709" y="430"/>
                </a:cubicBezTo>
                <a:cubicBezTo>
                  <a:pt x="709" y="430"/>
                  <a:pt x="709" y="430"/>
                  <a:pt x="709" y="430"/>
                </a:cubicBezTo>
                <a:cubicBezTo>
                  <a:pt x="715" y="429"/>
                  <a:pt x="718" y="427"/>
                  <a:pt x="718" y="419"/>
                </a:cubicBezTo>
                <a:cubicBezTo>
                  <a:pt x="718" y="417"/>
                  <a:pt x="718" y="415"/>
                  <a:pt x="718" y="413"/>
                </a:cubicBezTo>
                <a:cubicBezTo>
                  <a:pt x="717" y="411"/>
                  <a:pt x="717" y="409"/>
                  <a:pt x="717" y="408"/>
                </a:cubicBezTo>
                <a:cubicBezTo>
                  <a:pt x="717" y="405"/>
                  <a:pt x="718" y="402"/>
                  <a:pt x="722" y="402"/>
                </a:cubicBezTo>
                <a:cubicBezTo>
                  <a:pt x="722" y="402"/>
                  <a:pt x="722" y="402"/>
                  <a:pt x="724" y="402"/>
                </a:cubicBezTo>
                <a:cubicBezTo>
                  <a:pt x="724" y="402"/>
                  <a:pt x="724" y="402"/>
                  <a:pt x="724" y="393"/>
                </a:cubicBezTo>
                <a:cubicBezTo>
                  <a:pt x="724" y="393"/>
                  <a:pt x="724" y="393"/>
                  <a:pt x="720" y="393"/>
                </a:cubicBezTo>
                <a:cubicBezTo>
                  <a:pt x="711" y="393"/>
                  <a:pt x="705" y="397"/>
                  <a:pt x="705" y="406"/>
                </a:cubicBezTo>
                <a:cubicBezTo>
                  <a:pt x="705" y="408"/>
                  <a:pt x="706" y="411"/>
                  <a:pt x="706" y="413"/>
                </a:cubicBezTo>
                <a:cubicBezTo>
                  <a:pt x="706" y="415"/>
                  <a:pt x="706" y="418"/>
                  <a:pt x="706" y="420"/>
                </a:cubicBezTo>
                <a:cubicBezTo>
                  <a:pt x="706" y="423"/>
                  <a:pt x="706" y="426"/>
                  <a:pt x="700" y="426"/>
                </a:cubicBezTo>
                <a:close/>
                <a:moveTo>
                  <a:pt x="754" y="435"/>
                </a:moveTo>
                <a:cubicBezTo>
                  <a:pt x="754" y="435"/>
                  <a:pt x="754" y="435"/>
                  <a:pt x="754" y="435"/>
                </a:cubicBezTo>
                <a:cubicBezTo>
                  <a:pt x="754" y="426"/>
                  <a:pt x="754" y="426"/>
                  <a:pt x="754" y="426"/>
                </a:cubicBezTo>
                <a:cubicBezTo>
                  <a:pt x="748" y="426"/>
                  <a:pt x="748" y="423"/>
                  <a:pt x="748" y="420"/>
                </a:cubicBezTo>
                <a:cubicBezTo>
                  <a:pt x="748" y="418"/>
                  <a:pt x="748" y="415"/>
                  <a:pt x="748" y="413"/>
                </a:cubicBezTo>
                <a:cubicBezTo>
                  <a:pt x="749" y="411"/>
                  <a:pt x="749" y="408"/>
                  <a:pt x="749" y="406"/>
                </a:cubicBezTo>
                <a:cubicBezTo>
                  <a:pt x="749" y="397"/>
                  <a:pt x="743" y="393"/>
                  <a:pt x="734" y="393"/>
                </a:cubicBezTo>
                <a:cubicBezTo>
                  <a:pt x="734" y="393"/>
                  <a:pt x="734" y="393"/>
                  <a:pt x="730" y="393"/>
                </a:cubicBezTo>
                <a:cubicBezTo>
                  <a:pt x="730" y="393"/>
                  <a:pt x="730" y="393"/>
                  <a:pt x="730" y="402"/>
                </a:cubicBezTo>
                <a:cubicBezTo>
                  <a:pt x="730" y="402"/>
                  <a:pt x="730" y="402"/>
                  <a:pt x="732" y="402"/>
                </a:cubicBezTo>
                <a:cubicBezTo>
                  <a:pt x="736" y="402"/>
                  <a:pt x="737" y="405"/>
                  <a:pt x="737" y="408"/>
                </a:cubicBezTo>
                <a:cubicBezTo>
                  <a:pt x="737" y="409"/>
                  <a:pt x="737" y="411"/>
                  <a:pt x="737" y="413"/>
                </a:cubicBezTo>
                <a:cubicBezTo>
                  <a:pt x="736" y="415"/>
                  <a:pt x="736" y="417"/>
                  <a:pt x="736" y="419"/>
                </a:cubicBezTo>
                <a:cubicBezTo>
                  <a:pt x="736" y="427"/>
                  <a:pt x="739" y="429"/>
                  <a:pt x="745" y="430"/>
                </a:cubicBezTo>
                <a:cubicBezTo>
                  <a:pt x="745" y="430"/>
                  <a:pt x="745" y="430"/>
                  <a:pt x="745" y="430"/>
                </a:cubicBezTo>
                <a:cubicBezTo>
                  <a:pt x="739" y="432"/>
                  <a:pt x="736" y="434"/>
                  <a:pt x="736" y="442"/>
                </a:cubicBezTo>
                <a:cubicBezTo>
                  <a:pt x="736" y="444"/>
                  <a:pt x="736" y="446"/>
                  <a:pt x="737" y="448"/>
                </a:cubicBezTo>
                <a:cubicBezTo>
                  <a:pt x="737" y="449"/>
                  <a:pt x="737" y="451"/>
                  <a:pt x="737" y="452"/>
                </a:cubicBezTo>
                <a:cubicBezTo>
                  <a:pt x="737" y="456"/>
                  <a:pt x="736" y="458"/>
                  <a:pt x="732" y="458"/>
                </a:cubicBezTo>
                <a:cubicBezTo>
                  <a:pt x="732" y="458"/>
                  <a:pt x="732" y="458"/>
                  <a:pt x="730" y="458"/>
                </a:cubicBezTo>
                <a:cubicBezTo>
                  <a:pt x="730" y="458"/>
                  <a:pt x="730" y="458"/>
                  <a:pt x="730" y="467"/>
                </a:cubicBezTo>
                <a:cubicBezTo>
                  <a:pt x="730" y="467"/>
                  <a:pt x="730" y="467"/>
                  <a:pt x="734" y="467"/>
                </a:cubicBezTo>
                <a:cubicBezTo>
                  <a:pt x="743" y="467"/>
                  <a:pt x="749" y="464"/>
                  <a:pt x="749" y="455"/>
                </a:cubicBezTo>
                <a:cubicBezTo>
                  <a:pt x="749" y="452"/>
                  <a:pt x="749" y="450"/>
                  <a:pt x="748" y="448"/>
                </a:cubicBezTo>
                <a:cubicBezTo>
                  <a:pt x="748" y="445"/>
                  <a:pt x="748" y="443"/>
                  <a:pt x="748" y="440"/>
                </a:cubicBezTo>
                <a:cubicBezTo>
                  <a:pt x="748" y="438"/>
                  <a:pt x="748" y="435"/>
                  <a:pt x="754" y="435"/>
                </a:cubicBezTo>
                <a:close/>
                <a:moveTo>
                  <a:pt x="875" y="467"/>
                </a:moveTo>
                <a:cubicBezTo>
                  <a:pt x="867" y="467"/>
                  <a:pt x="861" y="464"/>
                  <a:pt x="856" y="459"/>
                </a:cubicBezTo>
                <a:cubicBezTo>
                  <a:pt x="853" y="452"/>
                  <a:pt x="850" y="443"/>
                  <a:pt x="850" y="431"/>
                </a:cubicBezTo>
                <a:cubicBezTo>
                  <a:pt x="850" y="417"/>
                  <a:pt x="853" y="408"/>
                  <a:pt x="857" y="401"/>
                </a:cubicBezTo>
                <a:cubicBezTo>
                  <a:pt x="861" y="395"/>
                  <a:pt x="868" y="391"/>
                  <a:pt x="877" y="391"/>
                </a:cubicBezTo>
                <a:cubicBezTo>
                  <a:pt x="893" y="391"/>
                  <a:pt x="901" y="404"/>
                  <a:pt x="901" y="429"/>
                </a:cubicBezTo>
                <a:cubicBezTo>
                  <a:pt x="901" y="442"/>
                  <a:pt x="899" y="451"/>
                  <a:pt x="894" y="458"/>
                </a:cubicBezTo>
                <a:cubicBezTo>
                  <a:pt x="889" y="464"/>
                  <a:pt x="883" y="467"/>
                  <a:pt x="875" y="467"/>
                </a:cubicBezTo>
                <a:close/>
                <a:moveTo>
                  <a:pt x="876" y="401"/>
                </a:moveTo>
                <a:cubicBezTo>
                  <a:pt x="867" y="401"/>
                  <a:pt x="862" y="411"/>
                  <a:pt x="862" y="431"/>
                </a:cubicBezTo>
                <a:cubicBezTo>
                  <a:pt x="862" y="449"/>
                  <a:pt x="867" y="458"/>
                  <a:pt x="875" y="458"/>
                </a:cubicBezTo>
                <a:cubicBezTo>
                  <a:pt x="884" y="458"/>
                  <a:pt x="889" y="449"/>
                  <a:pt x="889" y="430"/>
                </a:cubicBezTo>
                <a:cubicBezTo>
                  <a:pt x="889" y="410"/>
                  <a:pt x="884" y="401"/>
                  <a:pt x="876" y="401"/>
                </a:cubicBezTo>
                <a:close/>
                <a:moveTo>
                  <a:pt x="949" y="394"/>
                </a:moveTo>
                <a:cubicBezTo>
                  <a:pt x="949" y="394"/>
                  <a:pt x="949" y="394"/>
                  <a:pt x="949" y="394"/>
                </a:cubicBezTo>
                <a:cubicBezTo>
                  <a:pt x="944" y="394"/>
                  <a:pt x="944" y="394"/>
                  <a:pt x="944" y="394"/>
                </a:cubicBezTo>
                <a:cubicBezTo>
                  <a:pt x="941" y="395"/>
                  <a:pt x="940" y="397"/>
                  <a:pt x="938" y="398"/>
                </a:cubicBezTo>
                <a:cubicBezTo>
                  <a:pt x="936" y="399"/>
                  <a:pt x="934" y="400"/>
                  <a:pt x="933" y="401"/>
                </a:cubicBezTo>
                <a:cubicBezTo>
                  <a:pt x="930" y="401"/>
                  <a:pt x="929" y="402"/>
                  <a:pt x="927" y="403"/>
                </a:cubicBezTo>
                <a:cubicBezTo>
                  <a:pt x="925" y="403"/>
                  <a:pt x="924" y="404"/>
                  <a:pt x="921" y="405"/>
                </a:cubicBezTo>
                <a:cubicBezTo>
                  <a:pt x="921" y="405"/>
                  <a:pt x="921" y="405"/>
                  <a:pt x="921" y="415"/>
                </a:cubicBezTo>
                <a:cubicBezTo>
                  <a:pt x="924" y="414"/>
                  <a:pt x="927" y="413"/>
                  <a:pt x="930" y="412"/>
                </a:cubicBezTo>
                <a:cubicBezTo>
                  <a:pt x="933" y="411"/>
                  <a:pt x="935" y="410"/>
                  <a:pt x="937" y="409"/>
                </a:cubicBezTo>
                <a:cubicBezTo>
                  <a:pt x="937" y="409"/>
                  <a:pt x="937" y="409"/>
                  <a:pt x="937" y="467"/>
                </a:cubicBezTo>
                <a:cubicBezTo>
                  <a:pt x="937" y="467"/>
                  <a:pt x="937" y="467"/>
                  <a:pt x="949" y="467"/>
                </a:cubicBezTo>
                <a:cubicBezTo>
                  <a:pt x="949" y="467"/>
                  <a:pt x="949" y="467"/>
                  <a:pt x="949" y="394"/>
                </a:cubicBezTo>
                <a:close/>
                <a:moveTo>
                  <a:pt x="781" y="467"/>
                </a:moveTo>
                <a:cubicBezTo>
                  <a:pt x="784" y="448"/>
                  <a:pt x="784" y="448"/>
                  <a:pt x="784" y="448"/>
                </a:cubicBezTo>
                <a:cubicBezTo>
                  <a:pt x="775" y="448"/>
                  <a:pt x="775" y="448"/>
                  <a:pt x="775" y="448"/>
                </a:cubicBezTo>
                <a:cubicBezTo>
                  <a:pt x="775" y="436"/>
                  <a:pt x="775" y="436"/>
                  <a:pt x="775" y="436"/>
                </a:cubicBezTo>
                <a:cubicBezTo>
                  <a:pt x="786" y="436"/>
                  <a:pt x="786" y="436"/>
                  <a:pt x="786" y="436"/>
                </a:cubicBezTo>
                <a:cubicBezTo>
                  <a:pt x="787" y="425"/>
                  <a:pt x="787" y="425"/>
                  <a:pt x="787" y="425"/>
                </a:cubicBezTo>
                <a:cubicBezTo>
                  <a:pt x="778" y="425"/>
                  <a:pt x="778" y="425"/>
                  <a:pt x="778" y="425"/>
                </a:cubicBezTo>
                <a:cubicBezTo>
                  <a:pt x="778" y="413"/>
                  <a:pt x="778" y="413"/>
                  <a:pt x="778" y="413"/>
                </a:cubicBezTo>
                <a:cubicBezTo>
                  <a:pt x="789" y="413"/>
                  <a:pt x="789" y="413"/>
                  <a:pt x="789" y="413"/>
                </a:cubicBezTo>
                <a:cubicBezTo>
                  <a:pt x="792" y="395"/>
                  <a:pt x="792" y="395"/>
                  <a:pt x="792" y="395"/>
                </a:cubicBezTo>
                <a:cubicBezTo>
                  <a:pt x="803" y="395"/>
                  <a:pt x="803" y="395"/>
                  <a:pt x="803" y="395"/>
                </a:cubicBezTo>
                <a:cubicBezTo>
                  <a:pt x="800" y="413"/>
                  <a:pt x="800" y="413"/>
                  <a:pt x="800" y="413"/>
                </a:cubicBezTo>
                <a:cubicBezTo>
                  <a:pt x="810" y="413"/>
                  <a:pt x="810" y="413"/>
                  <a:pt x="810" y="413"/>
                </a:cubicBezTo>
                <a:cubicBezTo>
                  <a:pt x="813" y="395"/>
                  <a:pt x="813" y="395"/>
                  <a:pt x="813" y="395"/>
                </a:cubicBezTo>
                <a:cubicBezTo>
                  <a:pt x="824" y="395"/>
                  <a:pt x="824" y="395"/>
                  <a:pt x="824" y="395"/>
                </a:cubicBezTo>
                <a:cubicBezTo>
                  <a:pt x="821" y="413"/>
                  <a:pt x="821" y="413"/>
                  <a:pt x="821" y="413"/>
                </a:cubicBezTo>
                <a:cubicBezTo>
                  <a:pt x="830" y="413"/>
                  <a:pt x="830" y="413"/>
                  <a:pt x="830" y="413"/>
                </a:cubicBezTo>
                <a:cubicBezTo>
                  <a:pt x="830" y="425"/>
                  <a:pt x="830" y="425"/>
                  <a:pt x="830" y="425"/>
                </a:cubicBezTo>
                <a:cubicBezTo>
                  <a:pt x="820" y="425"/>
                  <a:pt x="820" y="425"/>
                  <a:pt x="820" y="425"/>
                </a:cubicBezTo>
                <a:cubicBezTo>
                  <a:pt x="818" y="436"/>
                  <a:pt x="818" y="436"/>
                  <a:pt x="818" y="436"/>
                </a:cubicBezTo>
                <a:cubicBezTo>
                  <a:pt x="827" y="436"/>
                  <a:pt x="827" y="436"/>
                  <a:pt x="827" y="436"/>
                </a:cubicBezTo>
                <a:cubicBezTo>
                  <a:pt x="827" y="448"/>
                  <a:pt x="827" y="448"/>
                  <a:pt x="827" y="448"/>
                </a:cubicBezTo>
                <a:cubicBezTo>
                  <a:pt x="816" y="448"/>
                  <a:pt x="816" y="448"/>
                  <a:pt x="816" y="448"/>
                </a:cubicBezTo>
                <a:cubicBezTo>
                  <a:pt x="813" y="467"/>
                  <a:pt x="813" y="467"/>
                  <a:pt x="813" y="467"/>
                </a:cubicBezTo>
                <a:cubicBezTo>
                  <a:pt x="802" y="467"/>
                  <a:pt x="802" y="467"/>
                  <a:pt x="802" y="467"/>
                </a:cubicBezTo>
                <a:cubicBezTo>
                  <a:pt x="805" y="448"/>
                  <a:pt x="805" y="448"/>
                  <a:pt x="805" y="448"/>
                </a:cubicBezTo>
                <a:cubicBezTo>
                  <a:pt x="795" y="448"/>
                  <a:pt x="795" y="448"/>
                  <a:pt x="795" y="448"/>
                </a:cubicBezTo>
                <a:cubicBezTo>
                  <a:pt x="792" y="467"/>
                  <a:pt x="792" y="467"/>
                  <a:pt x="792" y="467"/>
                </a:cubicBezTo>
                <a:cubicBezTo>
                  <a:pt x="781" y="467"/>
                  <a:pt x="781" y="467"/>
                  <a:pt x="781" y="467"/>
                </a:cubicBezTo>
                <a:cubicBezTo>
                  <a:pt x="781" y="467"/>
                  <a:pt x="781" y="467"/>
                  <a:pt x="781" y="467"/>
                </a:cubicBezTo>
                <a:close/>
                <a:moveTo>
                  <a:pt x="807" y="436"/>
                </a:moveTo>
                <a:cubicBezTo>
                  <a:pt x="808" y="425"/>
                  <a:pt x="808" y="425"/>
                  <a:pt x="808" y="425"/>
                </a:cubicBezTo>
                <a:cubicBezTo>
                  <a:pt x="799" y="425"/>
                  <a:pt x="799" y="425"/>
                  <a:pt x="799" y="425"/>
                </a:cubicBezTo>
                <a:cubicBezTo>
                  <a:pt x="797" y="436"/>
                  <a:pt x="797" y="436"/>
                  <a:pt x="797" y="436"/>
                </a:cubicBezTo>
                <a:cubicBezTo>
                  <a:pt x="807" y="436"/>
                  <a:pt x="807" y="436"/>
                  <a:pt x="807" y="436"/>
                </a:cubicBezTo>
                <a:cubicBezTo>
                  <a:pt x="807" y="436"/>
                  <a:pt x="807" y="436"/>
                  <a:pt x="807" y="436"/>
                </a:cubicBezTo>
                <a:close/>
                <a:moveTo>
                  <a:pt x="325" y="394"/>
                </a:moveTo>
                <a:cubicBezTo>
                  <a:pt x="325" y="394"/>
                  <a:pt x="325" y="394"/>
                  <a:pt x="325" y="394"/>
                </a:cubicBezTo>
                <a:cubicBezTo>
                  <a:pt x="320" y="394"/>
                  <a:pt x="320" y="394"/>
                  <a:pt x="320" y="394"/>
                </a:cubicBezTo>
                <a:cubicBezTo>
                  <a:pt x="317" y="395"/>
                  <a:pt x="316" y="397"/>
                  <a:pt x="314" y="398"/>
                </a:cubicBezTo>
                <a:cubicBezTo>
                  <a:pt x="312" y="399"/>
                  <a:pt x="311" y="400"/>
                  <a:pt x="309" y="401"/>
                </a:cubicBezTo>
                <a:cubicBezTo>
                  <a:pt x="307" y="402"/>
                  <a:pt x="305" y="403"/>
                  <a:pt x="303" y="403"/>
                </a:cubicBezTo>
                <a:cubicBezTo>
                  <a:pt x="301" y="404"/>
                  <a:pt x="300" y="405"/>
                  <a:pt x="297" y="405"/>
                </a:cubicBezTo>
                <a:cubicBezTo>
                  <a:pt x="297" y="405"/>
                  <a:pt x="297" y="405"/>
                  <a:pt x="297" y="415"/>
                </a:cubicBezTo>
                <a:cubicBezTo>
                  <a:pt x="300" y="414"/>
                  <a:pt x="303" y="414"/>
                  <a:pt x="306" y="412"/>
                </a:cubicBezTo>
                <a:cubicBezTo>
                  <a:pt x="309" y="411"/>
                  <a:pt x="311" y="410"/>
                  <a:pt x="313" y="409"/>
                </a:cubicBezTo>
                <a:cubicBezTo>
                  <a:pt x="313" y="409"/>
                  <a:pt x="313" y="409"/>
                  <a:pt x="313" y="467"/>
                </a:cubicBezTo>
                <a:cubicBezTo>
                  <a:pt x="313" y="467"/>
                  <a:pt x="313" y="467"/>
                  <a:pt x="325" y="467"/>
                </a:cubicBezTo>
                <a:cubicBezTo>
                  <a:pt x="325" y="467"/>
                  <a:pt x="325" y="467"/>
                  <a:pt x="325" y="394"/>
                </a:cubicBezTo>
                <a:close/>
                <a:moveTo>
                  <a:pt x="372" y="394"/>
                </a:moveTo>
                <a:cubicBezTo>
                  <a:pt x="372" y="394"/>
                  <a:pt x="372" y="394"/>
                  <a:pt x="372" y="394"/>
                </a:cubicBezTo>
                <a:cubicBezTo>
                  <a:pt x="367" y="394"/>
                  <a:pt x="367" y="394"/>
                  <a:pt x="367" y="394"/>
                </a:cubicBezTo>
                <a:cubicBezTo>
                  <a:pt x="365" y="395"/>
                  <a:pt x="363" y="397"/>
                  <a:pt x="361" y="398"/>
                </a:cubicBezTo>
                <a:cubicBezTo>
                  <a:pt x="360" y="399"/>
                  <a:pt x="358" y="400"/>
                  <a:pt x="356" y="401"/>
                </a:cubicBezTo>
                <a:cubicBezTo>
                  <a:pt x="355" y="402"/>
                  <a:pt x="352" y="403"/>
                  <a:pt x="351" y="403"/>
                </a:cubicBezTo>
                <a:cubicBezTo>
                  <a:pt x="349" y="404"/>
                  <a:pt x="347" y="405"/>
                  <a:pt x="345" y="405"/>
                </a:cubicBezTo>
                <a:cubicBezTo>
                  <a:pt x="345" y="405"/>
                  <a:pt x="345" y="405"/>
                  <a:pt x="345" y="415"/>
                </a:cubicBezTo>
                <a:cubicBezTo>
                  <a:pt x="348" y="414"/>
                  <a:pt x="351" y="414"/>
                  <a:pt x="353" y="412"/>
                </a:cubicBezTo>
                <a:cubicBezTo>
                  <a:pt x="356" y="411"/>
                  <a:pt x="358" y="410"/>
                  <a:pt x="361" y="409"/>
                </a:cubicBezTo>
                <a:cubicBezTo>
                  <a:pt x="361" y="409"/>
                  <a:pt x="361" y="409"/>
                  <a:pt x="361" y="467"/>
                </a:cubicBezTo>
                <a:cubicBezTo>
                  <a:pt x="361" y="467"/>
                  <a:pt x="361" y="467"/>
                  <a:pt x="372" y="467"/>
                </a:cubicBezTo>
                <a:cubicBezTo>
                  <a:pt x="372" y="467"/>
                  <a:pt x="372" y="467"/>
                  <a:pt x="372" y="394"/>
                </a:cubicBezTo>
                <a:close/>
                <a:moveTo>
                  <a:pt x="419" y="394"/>
                </a:moveTo>
                <a:cubicBezTo>
                  <a:pt x="419" y="394"/>
                  <a:pt x="419" y="394"/>
                  <a:pt x="419" y="394"/>
                </a:cubicBezTo>
                <a:cubicBezTo>
                  <a:pt x="414" y="394"/>
                  <a:pt x="414" y="394"/>
                  <a:pt x="414" y="394"/>
                </a:cubicBezTo>
                <a:cubicBezTo>
                  <a:pt x="412" y="395"/>
                  <a:pt x="411" y="397"/>
                  <a:pt x="409" y="398"/>
                </a:cubicBezTo>
                <a:cubicBezTo>
                  <a:pt x="407" y="399"/>
                  <a:pt x="405" y="400"/>
                  <a:pt x="403" y="401"/>
                </a:cubicBezTo>
                <a:cubicBezTo>
                  <a:pt x="401" y="401"/>
                  <a:pt x="400" y="402"/>
                  <a:pt x="398" y="403"/>
                </a:cubicBezTo>
                <a:cubicBezTo>
                  <a:pt x="396" y="403"/>
                  <a:pt x="394" y="404"/>
                  <a:pt x="392" y="405"/>
                </a:cubicBezTo>
                <a:cubicBezTo>
                  <a:pt x="392" y="405"/>
                  <a:pt x="392" y="405"/>
                  <a:pt x="392" y="415"/>
                </a:cubicBezTo>
                <a:cubicBezTo>
                  <a:pt x="395" y="414"/>
                  <a:pt x="398" y="413"/>
                  <a:pt x="401" y="412"/>
                </a:cubicBezTo>
                <a:cubicBezTo>
                  <a:pt x="403" y="411"/>
                  <a:pt x="406" y="410"/>
                  <a:pt x="407" y="409"/>
                </a:cubicBezTo>
                <a:cubicBezTo>
                  <a:pt x="407" y="409"/>
                  <a:pt x="407" y="409"/>
                  <a:pt x="407" y="467"/>
                </a:cubicBezTo>
                <a:cubicBezTo>
                  <a:pt x="407" y="467"/>
                  <a:pt x="407" y="467"/>
                  <a:pt x="419" y="467"/>
                </a:cubicBezTo>
                <a:cubicBezTo>
                  <a:pt x="419" y="467"/>
                  <a:pt x="419" y="467"/>
                  <a:pt x="419" y="394"/>
                </a:cubicBezTo>
                <a:close/>
                <a:moveTo>
                  <a:pt x="626" y="298"/>
                </a:moveTo>
                <a:cubicBezTo>
                  <a:pt x="626" y="298"/>
                  <a:pt x="626" y="298"/>
                  <a:pt x="626" y="298"/>
                </a:cubicBezTo>
                <a:cubicBezTo>
                  <a:pt x="621" y="298"/>
                  <a:pt x="621" y="298"/>
                  <a:pt x="621" y="298"/>
                </a:cubicBezTo>
                <a:cubicBezTo>
                  <a:pt x="619" y="299"/>
                  <a:pt x="617" y="301"/>
                  <a:pt x="615" y="302"/>
                </a:cubicBezTo>
                <a:cubicBezTo>
                  <a:pt x="613" y="303"/>
                  <a:pt x="611" y="304"/>
                  <a:pt x="610" y="305"/>
                </a:cubicBezTo>
                <a:cubicBezTo>
                  <a:pt x="608" y="305"/>
                  <a:pt x="606" y="306"/>
                  <a:pt x="605" y="307"/>
                </a:cubicBezTo>
                <a:cubicBezTo>
                  <a:pt x="603" y="307"/>
                  <a:pt x="601" y="308"/>
                  <a:pt x="599" y="309"/>
                </a:cubicBezTo>
                <a:cubicBezTo>
                  <a:pt x="599" y="309"/>
                  <a:pt x="599" y="309"/>
                  <a:pt x="599" y="319"/>
                </a:cubicBezTo>
                <a:cubicBezTo>
                  <a:pt x="602" y="318"/>
                  <a:pt x="605" y="317"/>
                  <a:pt x="607" y="316"/>
                </a:cubicBezTo>
                <a:cubicBezTo>
                  <a:pt x="610" y="315"/>
                  <a:pt x="612" y="314"/>
                  <a:pt x="614" y="313"/>
                </a:cubicBezTo>
                <a:cubicBezTo>
                  <a:pt x="614" y="313"/>
                  <a:pt x="614" y="313"/>
                  <a:pt x="614" y="371"/>
                </a:cubicBezTo>
                <a:cubicBezTo>
                  <a:pt x="614" y="371"/>
                  <a:pt x="614" y="371"/>
                  <a:pt x="626" y="371"/>
                </a:cubicBezTo>
                <a:cubicBezTo>
                  <a:pt x="626" y="371"/>
                  <a:pt x="626" y="371"/>
                  <a:pt x="626" y="298"/>
                </a:cubicBezTo>
                <a:close/>
                <a:moveTo>
                  <a:pt x="672" y="298"/>
                </a:moveTo>
                <a:cubicBezTo>
                  <a:pt x="672" y="298"/>
                  <a:pt x="672" y="298"/>
                  <a:pt x="672" y="298"/>
                </a:cubicBezTo>
                <a:cubicBezTo>
                  <a:pt x="667" y="298"/>
                  <a:pt x="667" y="298"/>
                  <a:pt x="667" y="298"/>
                </a:cubicBezTo>
                <a:cubicBezTo>
                  <a:pt x="665" y="299"/>
                  <a:pt x="664" y="301"/>
                  <a:pt x="662" y="302"/>
                </a:cubicBezTo>
                <a:cubicBezTo>
                  <a:pt x="660" y="303"/>
                  <a:pt x="658" y="304"/>
                  <a:pt x="657" y="305"/>
                </a:cubicBezTo>
                <a:cubicBezTo>
                  <a:pt x="655" y="306"/>
                  <a:pt x="653" y="307"/>
                  <a:pt x="652" y="307"/>
                </a:cubicBezTo>
                <a:cubicBezTo>
                  <a:pt x="650" y="308"/>
                  <a:pt x="648" y="309"/>
                  <a:pt x="646" y="309"/>
                </a:cubicBezTo>
                <a:cubicBezTo>
                  <a:pt x="646" y="309"/>
                  <a:pt x="646" y="309"/>
                  <a:pt x="646" y="319"/>
                </a:cubicBezTo>
                <a:cubicBezTo>
                  <a:pt x="649" y="318"/>
                  <a:pt x="652" y="318"/>
                  <a:pt x="654" y="316"/>
                </a:cubicBezTo>
                <a:cubicBezTo>
                  <a:pt x="657" y="315"/>
                  <a:pt x="659" y="314"/>
                  <a:pt x="661" y="313"/>
                </a:cubicBezTo>
                <a:cubicBezTo>
                  <a:pt x="661" y="313"/>
                  <a:pt x="661" y="313"/>
                  <a:pt x="661" y="371"/>
                </a:cubicBezTo>
                <a:cubicBezTo>
                  <a:pt x="661" y="371"/>
                  <a:pt x="661" y="371"/>
                  <a:pt x="672" y="371"/>
                </a:cubicBezTo>
                <a:cubicBezTo>
                  <a:pt x="672" y="371"/>
                  <a:pt x="672" y="371"/>
                  <a:pt x="672" y="298"/>
                </a:cubicBezTo>
                <a:close/>
                <a:moveTo>
                  <a:pt x="718" y="298"/>
                </a:moveTo>
                <a:cubicBezTo>
                  <a:pt x="718" y="298"/>
                  <a:pt x="718" y="298"/>
                  <a:pt x="718" y="298"/>
                </a:cubicBezTo>
                <a:cubicBezTo>
                  <a:pt x="714" y="298"/>
                  <a:pt x="714" y="298"/>
                  <a:pt x="714" y="298"/>
                </a:cubicBezTo>
                <a:cubicBezTo>
                  <a:pt x="712" y="299"/>
                  <a:pt x="710" y="301"/>
                  <a:pt x="708" y="302"/>
                </a:cubicBezTo>
                <a:cubicBezTo>
                  <a:pt x="707" y="303"/>
                  <a:pt x="704" y="304"/>
                  <a:pt x="703" y="305"/>
                </a:cubicBezTo>
                <a:cubicBezTo>
                  <a:pt x="701" y="306"/>
                  <a:pt x="699" y="307"/>
                  <a:pt x="697" y="307"/>
                </a:cubicBezTo>
                <a:cubicBezTo>
                  <a:pt x="696" y="308"/>
                  <a:pt x="693" y="309"/>
                  <a:pt x="692" y="309"/>
                </a:cubicBezTo>
                <a:cubicBezTo>
                  <a:pt x="692" y="309"/>
                  <a:pt x="692" y="309"/>
                  <a:pt x="692" y="319"/>
                </a:cubicBezTo>
                <a:cubicBezTo>
                  <a:pt x="695" y="318"/>
                  <a:pt x="698" y="318"/>
                  <a:pt x="700" y="316"/>
                </a:cubicBezTo>
                <a:cubicBezTo>
                  <a:pt x="702" y="315"/>
                  <a:pt x="705" y="314"/>
                  <a:pt x="707" y="313"/>
                </a:cubicBezTo>
                <a:cubicBezTo>
                  <a:pt x="707" y="313"/>
                  <a:pt x="707" y="313"/>
                  <a:pt x="707" y="371"/>
                </a:cubicBezTo>
                <a:cubicBezTo>
                  <a:pt x="707" y="371"/>
                  <a:pt x="707" y="371"/>
                  <a:pt x="718" y="371"/>
                </a:cubicBezTo>
                <a:cubicBezTo>
                  <a:pt x="718" y="371"/>
                  <a:pt x="718" y="371"/>
                  <a:pt x="718" y="298"/>
                </a:cubicBezTo>
                <a:close/>
                <a:moveTo>
                  <a:pt x="765" y="298"/>
                </a:moveTo>
                <a:cubicBezTo>
                  <a:pt x="765" y="298"/>
                  <a:pt x="765" y="298"/>
                  <a:pt x="765" y="298"/>
                </a:cubicBezTo>
                <a:cubicBezTo>
                  <a:pt x="760" y="298"/>
                  <a:pt x="760" y="298"/>
                  <a:pt x="760" y="298"/>
                </a:cubicBezTo>
                <a:cubicBezTo>
                  <a:pt x="758" y="299"/>
                  <a:pt x="756" y="301"/>
                  <a:pt x="754" y="302"/>
                </a:cubicBezTo>
                <a:cubicBezTo>
                  <a:pt x="753" y="303"/>
                  <a:pt x="751" y="304"/>
                  <a:pt x="749" y="305"/>
                </a:cubicBezTo>
                <a:cubicBezTo>
                  <a:pt x="748" y="306"/>
                  <a:pt x="745" y="307"/>
                  <a:pt x="744" y="307"/>
                </a:cubicBezTo>
                <a:cubicBezTo>
                  <a:pt x="742" y="308"/>
                  <a:pt x="740" y="309"/>
                  <a:pt x="738" y="309"/>
                </a:cubicBezTo>
                <a:cubicBezTo>
                  <a:pt x="738" y="309"/>
                  <a:pt x="738" y="309"/>
                  <a:pt x="738" y="319"/>
                </a:cubicBezTo>
                <a:cubicBezTo>
                  <a:pt x="741" y="318"/>
                  <a:pt x="744" y="318"/>
                  <a:pt x="746" y="316"/>
                </a:cubicBezTo>
                <a:cubicBezTo>
                  <a:pt x="749" y="315"/>
                  <a:pt x="751" y="314"/>
                  <a:pt x="753" y="313"/>
                </a:cubicBezTo>
                <a:cubicBezTo>
                  <a:pt x="753" y="313"/>
                  <a:pt x="753" y="313"/>
                  <a:pt x="753" y="371"/>
                </a:cubicBezTo>
                <a:cubicBezTo>
                  <a:pt x="753" y="371"/>
                  <a:pt x="753" y="371"/>
                  <a:pt x="765" y="371"/>
                </a:cubicBezTo>
                <a:cubicBezTo>
                  <a:pt x="765" y="371"/>
                  <a:pt x="765" y="371"/>
                  <a:pt x="765" y="298"/>
                </a:cubicBezTo>
                <a:close/>
                <a:moveTo>
                  <a:pt x="887" y="298"/>
                </a:moveTo>
                <a:cubicBezTo>
                  <a:pt x="887" y="298"/>
                  <a:pt x="887" y="298"/>
                  <a:pt x="887" y="298"/>
                </a:cubicBezTo>
                <a:cubicBezTo>
                  <a:pt x="882" y="298"/>
                  <a:pt x="882" y="298"/>
                  <a:pt x="882" y="298"/>
                </a:cubicBezTo>
                <a:cubicBezTo>
                  <a:pt x="880" y="299"/>
                  <a:pt x="878" y="301"/>
                  <a:pt x="876" y="302"/>
                </a:cubicBezTo>
                <a:cubicBezTo>
                  <a:pt x="875" y="303"/>
                  <a:pt x="873" y="304"/>
                  <a:pt x="871" y="305"/>
                </a:cubicBezTo>
                <a:cubicBezTo>
                  <a:pt x="869" y="306"/>
                  <a:pt x="867" y="307"/>
                  <a:pt x="866" y="307"/>
                </a:cubicBezTo>
                <a:cubicBezTo>
                  <a:pt x="864" y="308"/>
                  <a:pt x="862" y="309"/>
                  <a:pt x="860" y="309"/>
                </a:cubicBezTo>
                <a:cubicBezTo>
                  <a:pt x="860" y="309"/>
                  <a:pt x="860" y="309"/>
                  <a:pt x="860" y="319"/>
                </a:cubicBezTo>
                <a:cubicBezTo>
                  <a:pt x="863" y="318"/>
                  <a:pt x="866" y="318"/>
                  <a:pt x="869" y="316"/>
                </a:cubicBezTo>
                <a:cubicBezTo>
                  <a:pt x="871" y="315"/>
                  <a:pt x="873" y="314"/>
                  <a:pt x="875" y="313"/>
                </a:cubicBezTo>
                <a:cubicBezTo>
                  <a:pt x="875" y="313"/>
                  <a:pt x="875" y="313"/>
                  <a:pt x="875" y="371"/>
                </a:cubicBezTo>
                <a:cubicBezTo>
                  <a:pt x="875" y="371"/>
                  <a:pt x="875" y="371"/>
                  <a:pt x="887" y="371"/>
                </a:cubicBezTo>
                <a:cubicBezTo>
                  <a:pt x="887" y="371"/>
                  <a:pt x="887" y="371"/>
                  <a:pt x="887" y="298"/>
                </a:cubicBezTo>
                <a:close/>
                <a:moveTo>
                  <a:pt x="934" y="298"/>
                </a:moveTo>
                <a:cubicBezTo>
                  <a:pt x="934" y="298"/>
                  <a:pt x="934" y="298"/>
                  <a:pt x="934" y="298"/>
                </a:cubicBezTo>
                <a:cubicBezTo>
                  <a:pt x="929" y="298"/>
                  <a:pt x="929" y="298"/>
                  <a:pt x="929" y="298"/>
                </a:cubicBezTo>
                <a:cubicBezTo>
                  <a:pt x="927" y="299"/>
                  <a:pt x="925" y="301"/>
                  <a:pt x="923" y="302"/>
                </a:cubicBezTo>
                <a:cubicBezTo>
                  <a:pt x="921" y="303"/>
                  <a:pt x="919" y="304"/>
                  <a:pt x="918" y="305"/>
                </a:cubicBezTo>
                <a:cubicBezTo>
                  <a:pt x="916" y="306"/>
                  <a:pt x="914" y="307"/>
                  <a:pt x="912" y="307"/>
                </a:cubicBezTo>
                <a:cubicBezTo>
                  <a:pt x="910" y="308"/>
                  <a:pt x="909" y="309"/>
                  <a:pt x="907" y="309"/>
                </a:cubicBezTo>
                <a:cubicBezTo>
                  <a:pt x="907" y="309"/>
                  <a:pt x="907" y="309"/>
                  <a:pt x="907" y="319"/>
                </a:cubicBezTo>
                <a:cubicBezTo>
                  <a:pt x="910" y="318"/>
                  <a:pt x="912" y="318"/>
                  <a:pt x="915" y="316"/>
                </a:cubicBezTo>
                <a:cubicBezTo>
                  <a:pt x="918" y="315"/>
                  <a:pt x="920" y="314"/>
                  <a:pt x="922" y="313"/>
                </a:cubicBezTo>
                <a:cubicBezTo>
                  <a:pt x="922" y="313"/>
                  <a:pt x="922" y="313"/>
                  <a:pt x="922" y="371"/>
                </a:cubicBezTo>
                <a:cubicBezTo>
                  <a:pt x="922" y="371"/>
                  <a:pt x="922" y="371"/>
                  <a:pt x="934" y="371"/>
                </a:cubicBezTo>
                <a:cubicBezTo>
                  <a:pt x="934" y="371"/>
                  <a:pt x="934" y="371"/>
                  <a:pt x="934" y="298"/>
                </a:cubicBezTo>
                <a:close/>
                <a:moveTo>
                  <a:pt x="786" y="330"/>
                </a:moveTo>
                <a:cubicBezTo>
                  <a:pt x="786" y="330"/>
                  <a:pt x="786" y="330"/>
                  <a:pt x="786" y="330"/>
                </a:cubicBezTo>
                <a:cubicBezTo>
                  <a:pt x="785" y="339"/>
                  <a:pt x="785" y="339"/>
                  <a:pt x="785" y="339"/>
                </a:cubicBezTo>
                <a:cubicBezTo>
                  <a:pt x="791" y="339"/>
                  <a:pt x="792" y="342"/>
                  <a:pt x="792" y="344"/>
                </a:cubicBezTo>
                <a:cubicBezTo>
                  <a:pt x="792" y="347"/>
                  <a:pt x="792" y="349"/>
                  <a:pt x="792" y="352"/>
                </a:cubicBezTo>
                <a:cubicBezTo>
                  <a:pt x="791" y="354"/>
                  <a:pt x="791" y="356"/>
                  <a:pt x="791" y="359"/>
                </a:cubicBezTo>
                <a:cubicBezTo>
                  <a:pt x="791" y="368"/>
                  <a:pt x="797" y="371"/>
                  <a:pt x="805" y="371"/>
                </a:cubicBezTo>
                <a:cubicBezTo>
                  <a:pt x="805" y="371"/>
                  <a:pt x="805" y="371"/>
                  <a:pt x="809" y="371"/>
                </a:cubicBezTo>
                <a:cubicBezTo>
                  <a:pt x="809" y="371"/>
                  <a:pt x="809" y="371"/>
                  <a:pt x="809" y="362"/>
                </a:cubicBezTo>
                <a:cubicBezTo>
                  <a:pt x="809" y="362"/>
                  <a:pt x="809" y="362"/>
                  <a:pt x="808" y="362"/>
                </a:cubicBezTo>
                <a:cubicBezTo>
                  <a:pt x="804" y="362"/>
                  <a:pt x="803" y="360"/>
                  <a:pt x="803" y="356"/>
                </a:cubicBezTo>
                <a:cubicBezTo>
                  <a:pt x="803" y="355"/>
                  <a:pt x="803" y="353"/>
                  <a:pt x="803" y="352"/>
                </a:cubicBezTo>
                <a:cubicBezTo>
                  <a:pt x="803" y="350"/>
                  <a:pt x="804" y="348"/>
                  <a:pt x="804" y="346"/>
                </a:cubicBezTo>
                <a:cubicBezTo>
                  <a:pt x="804" y="338"/>
                  <a:pt x="801" y="336"/>
                  <a:pt x="795" y="334"/>
                </a:cubicBezTo>
                <a:cubicBezTo>
                  <a:pt x="795" y="334"/>
                  <a:pt x="795" y="334"/>
                  <a:pt x="795" y="334"/>
                </a:cubicBezTo>
                <a:cubicBezTo>
                  <a:pt x="801" y="333"/>
                  <a:pt x="804" y="331"/>
                  <a:pt x="804" y="323"/>
                </a:cubicBezTo>
                <a:cubicBezTo>
                  <a:pt x="804" y="321"/>
                  <a:pt x="803" y="319"/>
                  <a:pt x="803" y="317"/>
                </a:cubicBezTo>
                <a:cubicBezTo>
                  <a:pt x="803" y="315"/>
                  <a:pt x="803" y="313"/>
                  <a:pt x="803" y="312"/>
                </a:cubicBezTo>
                <a:cubicBezTo>
                  <a:pt x="803" y="309"/>
                  <a:pt x="804" y="306"/>
                  <a:pt x="808" y="306"/>
                </a:cubicBezTo>
                <a:cubicBezTo>
                  <a:pt x="808" y="306"/>
                  <a:pt x="808" y="306"/>
                  <a:pt x="809" y="306"/>
                </a:cubicBezTo>
                <a:cubicBezTo>
                  <a:pt x="809" y="306"/>
                  <a:pt x="809" y="306"/>
                  <a:pt x="809" y="297"/>
                </a:cubicBezTo>
                <a:cubicBezTo>
                  <a:pt x="809" y="297"/>
                  <a:pt x="809" y="297"/>
                  <a:pt x="805" y="297"/>
                </a:cubicBezTo>
                <a:cubicBezTo>
                  <a:pt x="797" y="297"/>
                  <a:pt x="791" y="301"/>
                  <a:pt x="791" y="310"/>
                </a:cubicBezTo>
                <a:cubicBezTo>
                  <a:pt x="791" y="312"/>
                  <a:pt x="791" y="315"/>
                  <a:pt x="791" y="317"/>
                </a:cubicBezTo>
                <a:cubicBezTo>
                  <a:pt x="792" y="319"/>
                  <a:pt x="792" y="322"/>
                  <a:pt x="792" y="324"/>
                </a:cubicBezTo>
                <a:cubicBezTo>
                  <a:pt x="792" y="327"/>
                  <a:pt x="791" y="330"/>
                  <a:pt x="786" y="330"/>
                </a:cubicBezTo>
                <a:close/>
                <a:moveTo>
                  <a:pt x="840" y="339"/>
                </a:moveTo>
                <a:cubicBezTo>
                  <a:pt x="840" y="339"/>
                  <a:pt x="840" y="339"/>
                  <a:pt x="840" y="339"/>
                </a:cubicBezTo>
                <a:cubicBezTo>
                  <a:pt x="840" y="330"/>
                  <a:pt x="840" y="330"/>
                  <a:pt x="840" y="330"/>
                </a:cubicBezTo>
                <a:cubicBezTo>
                  <a:pt x="834" y="330"/>
                  <a:pt x="833" y="327"/>
                  <a:pt x="833" y="324"/>
                </a:cubicBezTo>
                <a:cubicBezTo>
                  <a:pt x="833" y="322"/>
                  <a:pt x="833" y="319"/>
                  <a:pt x="834" y="317"/>
                </a:cubicBezTo>
                <a:cubicBezTo>
                  <a:pt x="834" y="315"/>
                  <a:pt x="834" y="312"/>
                  <a:pt x="834" y="310"/>
                </a:cubicBezTo>
                <a:cubicBezTo>
                  <a:pt x="834" y="301"/>
                  <a:pt x="829" y="297"/>
                  <a:pt x="820" y="297"/>
                </a:cubicBezTo>
                <a:cubicBezTo>
                  <a:pt x="820" y="297"/>
                  <a:pt x="820" y="297"/>
                  <a:pt x="816" y="297"/>
                </a:cubicBezTo>
                <a:cubicBezTo>
                  <a:pt x="816" y="297"/>
                  <a:pt x="816" y="297"/>
                  <a:pt x="816" y="306"/>
                </a:cubicBezTo>
                <a:cubicBezTo>
                  <a:pt x="816" y="306"/>
                  <a:pt x="816" y="306"/>
                  <a:pt x="817" y="306"/>
                </a:cubicBezTo>
                <a:cubicBezTo>
                  <a:pt x="821" y="306"/>
                  <a:pt x="822" y="309"/>
                  <a:pt x="822" y="312"/>
                </a:cubicBezTo>
                <a:cubicBezTo>
                  <a:pt x="822" y="313"/>
                  <a:pt x="822" y="315"/>
                  <a:pt x="822" y="317"/>
                </a:cubicBezTo>
                <a:cubicBezTo>
                  <a:pt x="822" y="319"/>
                  <a:pt x="822" y="321"/>
                  <a:pt x="822" y="323"/>
                </a:cubicBezTo>
                <a:cubicBezTo>
                  <a:pt x="822" y="331"/>
                  <a:pt x="824" y="333"/>
                  <a:pt x="830" y="334"/>
                </a:cubicBezTo>
                <a:cubicBezTo>
                  <a:pt x="830" y="334"/>
                  <a:pt x="830" y="334"/>
                  <a:pt x="830" y="334"/>
                </a:cubicBezTo>
                <a:cubicBezTo>
                  <a:pt x="824" y="336"/>
                  <a:pt x="822" y="338"/>
                  <a:pt x="822" y="346"/>
                </a:cubicBezTo>
                <a:cubicBezTo>
                  <a:pt x="822" y="348"/>
                  <a:pt x="822" y="350"/>
                  <a:pt x="822" y="352"/>
                </a:cubicBezTo>
                <a:cubicBezTo>
                  <a:pt x="822" y="353"/>
                  <a:pt x="822" y="355"/>
                  <a:pt x="822" y="356"/>
                </a:cubicBezTo>
                <a:cubicBezTo>
                  <a:pt x="822" y="360"/>
                  <a:pt x="821" y="362"/>
                  <a:pt x="817" y="362"/>
                </a:cubicBezTo>
                <a:cubicBezTo>
                  <a:pt x="817" y="362"/>
                  <a:pt x="817" y="362"/>
                  <a:pt x="816" y="362"/>
                </a:cubicBezTo>
                <a:cubicBezTo>
                  <a:pt x="816" y="362"/>
                  <a:pt x="816" y="362"/>
                  <a:pt x="816" y="371"/>
                </a:cubicBezTo>
                <a:cubicBezTo>
                  <a:pt x="816" y="371"/>
                  <a:pt x="816" y="371"/>
                  <a:pt x="820" y="371"/>
                </a:cubicBezTo>
                <a:cubicBezTo>
                  <a:pt x="828" y="371"/>
                  <a:pt x="834" y="368"/>
                  <a:pt x="834" y="359"/>
                </a:cubicBezTo>
                <a:cubicBezTo>
                  <a:pt x="834" y="356"/>
                  <a:pt x="834" y="354"/>
                  <a:pt x="834" y="352"/>
                </a:cubicBezTo>
                <a:cubicBezTo>
                  <a:pt x="833" y="349"/>
                  <a:pt x="833" y="347"/>
                  <a:pt x="833" y="344"/>
                </a:cubicBezTo>
                <a:cubicBezTo>
                  <a:pt x="833" y="342"/>
                  <a:pt x="834" y="339"/>
                  <a:pt x="840" y="339"/>
                </a:cubicBezTo>
                <a:close/>
                <a:moveTo>
                  <a:pt x="226" y="371"/>
                </a:moveTo>
                <a:cubicBezTo>
                  <a:pt x="219" y="371"/>
                  <a:pt x="212" y="368"/>
                  <a:pt x="208" y="363"/>
                </a:cubicBezTo>
                <a:cubicBezTo>
                  <a:pt x="204" y="356"/>
                  <a:pt x="202" y="347"/>
                  <a:pt x="202" y="335"/>
                </a:cubicBezTo>
                <a:cubicBezTo>
                  <a:pt x="202" y="321"/>
                  <a:pt x="204" y="312"/>
                  <a:pt x="209" y="305"/>
                </a:cubicBezTo>
                <a:cubicBezTo>
                  <a:pt x="213" y="299"/>
                  <a:pt x="219" y="295"/>
                  <a:pt x="228" y="295"/>
                </a:cubicBezTo>
                <a:cubicBezTo>
                  <a:pt x="244" y="295"/>
                  <a:pt x="252" y="308"/>
                  <a:pt x="252" y="333"/>
                </a:cubicBezTo>
                <a:cubicBezTo>
                  <a:pt x="252" y="346"/>
                  <a:pt x="250" y="355"/>
                  <a:pt x="245" y="362"/>
                </a:cubicBezTo>
                <a:cubicBezTo>
                  <a:pt x="241" y="368"/>
                  <a:pt x="234" y="371"/>
                  <a:pt x="226" y="371"/>
                </a:cubicBezTo>
                <a:close/>
                <a:moveTo>
                  <a:pt x="227" y="305"/>
                </a:moveTo>
                <a:cubicBezTo>
                  <a:pt x="218" y="305"/>
                  <a:pt x="214" y="315"/>
                  <a:pt x="214" y="335"/>
                </a:cubicBezTo>
                <a:cubicBezTo>
                  <a:pt x="214" y="353"/>
                  <a:pt x="218" y="362"/>
                  <a:pt x="227" y="362"/>
                </a:cubicBezTo>
                <a:cubicBezTo>
                  <a:pt x="236" y="362"/>
                  <a:pt x="240" y="353"/>
                  <a:pt x="240" y="334"/>
                </a:cubicBezTo>
                <a:cubicBezTo>
                  <a:pt x="240" y="314"/>
                  <a:pt x="236" y="305"/>
                  <a:pt x="227" y="305"/>
                </a:cubicBezTo>
                <a:close/>
                <a:moveTo>
                  <a:pt x="296" y="371"/>
                </a:moveTo>
                <a:cubicBezTo>
                  <a:pt x="289" y="371"/>
                  <a:pt x="282" y="368"/>
                  <a:pt x="279" y="363"/>
                </a:cubicBezTo>
                <a:cubicBezTo>
                  <a:pt x="274" y="356"/>
                  <a:pt x="272" y="347"/>
                  <a:pt x="272" y="335"/>
                </a:cubicBezTo>
                <a:cubicBezTo>
                  <a:pt x="272" y="321"/>
                  <a:pt x="274" y="312"/>
                  <a:pt x="279" y="305"/>
                </a:cubicBezTo>
                <a:cubicBezTo>
                  <a:pt x="283" y="299"/>
                  <a:pt x="290" y="295"/>
                  <a:pt x="298" y="295"/>
                </a:cubicBezTo>
                <a:cubicBezTo>
                  <a:pt x="314" y="295"/>
                  <a:pt x="322" y="308"/>
                  <a:pt x="322" y="333"/>
                </a:cubicBezTo>
                <a:cubicBezTo>
                  <a:pt x="322" y="346"/>
                  <a:pt x="320" y="355"/>
                  <a:pt x="316" y="362"/>
                </a:cubicBezTo>
                <a:cubicBezTo>
                  <a:pt x="311" y="368"/>
                  <a:pt x="305" y="371"/>
                  <a:pt x="296" y="371"/>
                </a:cubicBezTo>
                <a:close/>
                <a:moveTo>
                  <a:pt x="298" y="305"/>
                </a:moveTo>
                <a:cubicBezTo>
                  <a:pt x="289" y="305"/>
                  <a:pt x="284" y="315"/>
                  <a:pt x="284" y="335"/>
                </a:cubicBezTo>
                <a:cubicBezTo>
                  <a:pt x="284" y="353"/>
                  <a:pt x="288" y="362"/>
                  <a:pt x="297" y="362"/>
                </a:cubicBezTo>
                <a:cubicBezTo>
                  <a:pt x="306" y="362"/>
                  <a:pt x="310" y="353"/>
                  <a:pt x="310" y="334"/>
                </a:cubicBezTo>
                <a:cubicBezTo>
                  <a:pt x="310" y="314"/>
                  <a:pt x="306" y="305"/>
                  <a:pt x="298" y="305"/>
                </a:cubicBezTo>
                <a:close/>
                <a:moveTo>
                  <a:pt x="506" y="371"/>
                </a:moveTo>
                <a:cubicBezTo>
                  <a:pt x="499" y="371"/>
                  <a:pt x="493" y="368"/>
                  <a:pt x="489" y="362"/>
                </a:cubicBezTo>
                <a:cubicBezTo>
                  <a:pt x="484" y="356"/>
                  <a:pt x="482" y="346"/>
                  <a:pt x="482" y="335"/>
                </a:cubicBezTo>
                <a:cubicBezTo>
                  <a:pt x="482" y="321"/>
                  <a:pt x="484" y="312"/>
                  <a:pt x="489" y="305"/>
                </a:cubicBezTo>
                <a:cubicBezTo>
                  <a:pt x="493" y="298"/>
                  <a:pt x="500" y="295"/>
                  <a:pt x="509" y="295"/>
                </a:cubicBezTo>
                <a:cubicBezTo>
                  <a:pt x="525" y="295"/>
                  <a:pt x="533" y="308"/>
                  <a:pt x="533" y="333"/>
                </a:cubicBezTo>
                <a:cubicBezTo>
                  <a:pt x="533" y="346"/>
                  <a:pt x="530" y="355"/>
                  <a:pt x="526" y="362"/>
                </a:cubicBezTo>
                <a:cubicBezTo>
                  <a:pt x="521" y="368"/>
                  <a:pt x="515" y="371"/>
                  <a:pt x="506" y="371"/>
                </a:cubicBezTo>
                <a:close/>
                <a:moveTo>
                  <a:pt x="508" y="305"/>
                </a:moveTo>
                <a:cubicBezTo>
                  <a:pt x="499" y="305"/>
                  <a:pt x="495" y="314"/>
                  <a:pt x="495" y="334"/>
                </a:cubicBezTo>
                <a:cubicBezTo>
                  <a:pt x="495" y="352"/>
                  <a:pt x="499" y="362"/>
                  <a:pt x="508" y="362"/>
                </a:cubicBezTo>
                <a:cubicBezTo>
                  <a:pt x="516" y="362"/>
                  <a:pt x="520" y="352"/>
                  <a:pt x="520" y="334"/>
                </a:cubicBezTo>
                <a:cubicBezTo>
                  <a:pt x="520" y="314"/>
                  <a:pt x="517" y="305"/>
                  <a:pt x="508" y="305"/>
                </a:cubicBezTo>
                <a:close/>
                <a:moveTo>
                  <a:pt x="579" y="298"/>
                </a:moveTo>
                <a:cubicBezTo>
                  <a:pt x="579" y="298"/>
                  <a:pt x="579" y="298"/>
                  <a:pt x="579" y="298"/>
                </a:cubicBezTo>
                <a:cubicBezTo>
                  <a:pt x="574" y="298"/>
                  <a:pt x="574" y="298"/>
                  <a:pt x="574" y="298"/>
                </a:cubicBezTo>
                <a:cubicBezTo>
                  <a:pt x="572" y="299"/>
                  <a:pt x="570" y="301"/>
                  <a:pt x="568" y="302"/>
                </a:cubicBezTo>
                <a:cubicBezTo>
                  <a:pt x="567" y="303"/>
                  <a:pt x="565" y="304"/>
                  <a:pt x="563" y="305"/>
                </a:cubicBezTo>
                <a:cubicBezTo>
                  <a:pt x="562" y="305"/>
                  <a:pt x="560" y="306"/>
                  <a:pt x="558" y="307"/>
                </a:cubicBezTo>
                <a:cubicBezTo>
                  <a:pt x="556" y="307"/>
                  <a:pt x="555" y="308"/>
                  <a:pt x="552" y="309"/>
                </a:cubicBezTo>
                <a:cubicBezTo>
                  <a:pt x="552" y="309"/>
                  <a:pt x="552" y="309"/>
                  <a:pt x="552" y="319"/>
                </a:cubicBezTo>
                <a:cubicBezTo>
                  <a:pt x="555" y="318"/>
                  <a:pt x="558" y="317"/>
                  <a:pt x="560" y="316"/>
                </a:cubicBezTo>
                <a:cubicBezTo>
                  <a:pt x="563" y="315"/>
                  <a:pt x="565" y="314"/>
                  <a:pt x="568" y="313"/>
                </a:cubicBezTo>
                <a:cubicBezTo>
                  <a:pt x="568" y="313"/>
                  <a:pt x="568" y="313"/>
                  <a:pt x="568" y="371"/>
                </a:cubicBezTo>
                <a:cubicBezTo>
                  <a:pt x="568" y="371"/>
                  <a:pt x="568" y="371"/>
                  <a:pt x="579" y="371"/>
                </a:cubicBezTo>
                <a:cubicBezTo>
                  <a:pt x="579" y="371"/>
                  <a:pt x="579" y="371"/>
                  <a:pt x="579" y="298"/>
                </a:cubicBezTo>
                <a:close/>
                <a:moveTo>
                  <a:pt x="369" y="298"/>
                </a:moveTo>
                <a:cubicBezTo>
                  <a:pt x="369" y="298"/>
                  <a:pt x="369" y="298"/>
                  <a:pt x="369" y="298"/>
                </a:cubicBezTo>
                <a:cubicBezTo>
                  <a:pt x="364" y="298"/>
                  <a:pt x="364" y="298"/>
                  <a:pt x="364" y="298"/>
                </a:cubicBezTo>
                <a:cubicBezTo>
                  <a:pt x="362" y="299"/>
                  <a:pt x="361" y="301"/>
                  <a:pt x="359" y="302"/>
                </a:cubicBezTo>
                <a:cubicBezTo>
                  <a:pt x="357" y="303"/>
                  <a:pt x="356" y="304"/>
                  <a:pt x="353" y="305"/>
                </a:cubicBezTo>
                <a:cubicBezTo>
                  <a:pt x="352" y="306"/>
                  <a:pt x="350" y="307"/>
                  <a:pt x="348" y="307"/>
                </a:cubicBezTo>
                <a:cubicBezTo>
                  <a:pt x="346" y="308"/>
                  <a:pt x="345" y="309"/>
                  <a:pt x="343" y="309"/>
                </a:cubicBezTo>
                <a:cubicBezTo>
                  <a:pt x="343" y="309"/>
                  <a:pt x="343" y="309"/>
                  <a:pt x="343" y="319"/>
                </a:cubicBezTo>
                <a:cubicBezTo>
                  <a:pt x="345" y="318"/>
                  <a:pt x="348" y="318"/>
                  <a:pt x="351" y="316"/>
                </a:cubicBezTo>
                <a:cubicBezTo>
                  <a:pt x="353" y="315"/>
                  <a:pt x="356" y="314"/>
                  <a:pt x="358" y="313"/>
                </a:cubicBezTo>
                <a:cubicBezTo>
                  <a:pt x="358" y="313"/>
                  <a:pt x="358" y="313"/>
                  <a:pt x="358" y="371"/>
                </a:cubicBezTo>
                <a:cubicBezTo>
                  <a:pt x="358" y="371"/>
                  <a:pt x="358" y="371"/>
                  <a:pt x="369" y="371"/>
                </a:cubicBezTo>
                <a:cubicBezTo>
                  <a:pt x="369" y="371"/>
                  <a:pt x="369" y="371"/>
                  <a:pt x="369" y="298"/>
                </a:cubicBezTo>
                <a:close/>
                <a:moveTo>
                  <a:pt x="416" y="298"/>
                </a:moveTo>
                <a:cubicBezTo>
                  <a:pt x="416" y="298"/>
                  <a:pt x="416" y="298"/>
                  <a:pt x="416" y="298"/>
                </a:cubicBezTo>
                <a:cubicBezTo>
                  <a:pt x="411" y="298"/>
                  <a:pt x="411" y="298"/>
                  <a:pt x="411" y="298"/>
                </a:cubicBezTo>
                <a:cubicBezTo>
                  <a:pt x="409" y="299"/>
                  <a:pt x="408" y="301"/>
                  <a:pt x="406" y="302"/>
                </a:cubicBezTo>
                <a:cubicBezTo>
                  <a:pt x="404" y="303"/>
                  <a:pt x="402" y="304"/>
                  <a:pt x="401" y="305"/>
                </a:cubicBezTo>
                <a:cubicBezTo>
                  <a:pt x="399" y="306"/>
                  <a:pt x="397" y="307"/>
                  <a:pt x="395" y="307"/>
                </a:cubicBezTo>
                <a:cubicBezTo>
                  <a:pt x="393" y="308"/>
                  <a:pt x="392" y="309"/>
                  <a:pt x="390" y="309"/>
                </a:cubicBezTo>
                <a:cubicBezTo>
                  <a:pt x="390" y="309"/>
                  <a:pt x="390" y="309"/>
                  <a:pt x="390" y="319"/>
                </a:cubicBezTo>
                <a:cubicBezTo>
                  <a:pt x="393" y="318"/>
                  <a:pt x="395" y="318"/>
                  <a:pt x="398" y="316"/>
                </a:cubicBezTo>
                <a:cubicBezTo>
                  <a:pt x="401" y="315"/>
                  <a:pt x="403" y="314"/>
                  <a:pt x="405" y="313"/>
                </a:cubicBezTo>
                <a:cubicBezTo>
                  <a:pt x="405" y="313"/>
                  <a:pt x="405" y="313"/>
                  <a:pt x="405" y="371"/>
                </a:cubicBezTo>
                <a:cubicBezTo>
                  <a:pt x="405" y="371"/>
                  <a:pt x="405" y="371"/>
                  <a:pt x="416" y="371"/>
                </a:cubicBezTo>
                <a:cubicBezTo>
                  <a:pt x="416" y="371"/>
                  <a:pt x="416" y="371"/>
                  <a:pt x="416" y="298"/>
                </a:cubicBezTo>
                <a:close/>
                <a:moveTo>
                  <a:pt x="462" y="298"/>
                </a:moveTo>
                <a:cubicBezTo>
                  <a:pt x="462" y="298"/>
                  <a:pt x="462" y="298"/>
                  <a:pt x="462" y="298"/>
                </a:cubicBezTo>
                <a:cubicBezTo>
                  <a:pt x="458" y="298"/>
                  <a:pt x="458" y="298"/>
                  <a:pt x="458" y="298"/>
                </a:cubicBezTo>
                <a:cubicBezTo>
                  <a:pt x="456" y="299"/>
                  <a:pt x="454" y="301"/>
                  <a:pt x="452" y="302"/>
                </a:cubicBezTo>
                <a:cubicBezTo>
                  <a:pt x="451" y="303"/>
                  <a:pt x="448" y="304"/>
                  <a:pt x="447" y="305"/>
                </a:cubicBezTo>
                <a:cubicBezTo>
                  <a:pt x="445" y="305"/>
                  <a:pt x="443" y="306"/>
                  <a:pt x="441" y="307"/>
                </a:cubicBezTo>
                <a:cubicBezTo>
                  <a:pt x="440" y="307"/>
                  <a:pt x="438" y="308"/>
                  <a:pt x="436" y="309"/>
                </a:cubicBezTo>
                <a:cubicBezTo>
                  <a:pt x="436" y="309"/>
                  <a:pt x="436" y="309"/>
                  <a:pt x="436" y="319"/>
                </a:cubicBezTo>
                <a:cubicBezTo>
                  <a:pt x="439" y="318"/>
                  <a:pt x="442" y="317"/>
                  <a:pt x="444" y="316"/>
                </a:cubicBezTo>
                <a:cubicBezTo>
                  <a:pt x="446" y="315"/>
                  <a:pt x="449" y="314"/>
                  <a:pt x="451" y="313"/>
                </a:cubicBezTo>
                <a:cubicBezTo>
                  <a:pt x="451" y="313"/>
                  <a:pt x="451" y="313"/>
                  <a:pt x="451" y="371"/>
                </a:cubicBezTo>
                <a:cubicBezTo>
                  <a:pt x="451" y="371"/>
                  <a:pt x="451" y="371"/>
                  <a:pt x="462" y="371"/>
                </a:cubicBezTo>
                <a:cubicBezTo>
                  <a:pt x="462" y="371"/>
                  <a:pt x="462" y="371"/>
                  <a:pt x="462" y="298"/>
                </a:cubicBezTo>
                <a:close/>
                <a:moveTo>
                  <a:pt x="28" y="371"/>
                </a:moveTo>
                <a:cubicBezTo>
                  <a:pt x="20" y="371"/>
                  <a:pt x="14" y="368"/>
                  <a:pt x="10" y="363"/>
                </a:cubicBezTo>
                <a:cubicBezTo>
                  <a:pt x="6" y="356"/>
                  <a:pt x="4" y="347"/>
                  <a:pt x="4" y="335"/>
                </a:cubicBezTo>
                <a:cubicBezTo>
                  <a:pt x="4" y="321"/>
                  <a:pt x="6" y="312"/>
                  <a:pt x="10" y="305"/>
                </a:cubicBezTo>
                <a:cubicBezTo>
                  <a:pt x="15" y="299"/>
                  <a:pt x="21" y="295"/>
                  <a:pt x="30" y="295"/>
                </a:cubicBezTo>
                <a:cubicBezTo>
                  <a:pt x="46" y="295"/>
                  <a:pt x="54" y="308"/>
                  <a:pt x="54" y="333"/>
                </a:cubicBezTo>
                <a:cubicBezTo>
                  <a:pt x="54" y="346"/>
                  <a:pt x="52" y="355"/>
                  <a:pt x="48" y="362"/>
                </a:cubicBezTo>
                <a:cubicBezTo>
                  <a:pt x="42" y="368"/>
                  <a:pt x="37" y="371"/>
                  <a:pt x="28" y="371"/>
                </a:cubicBezTo>
                <a:close/>
                <a:moveTo>
                  <a:pt x="29" y="305"/>
                </a:moveTo>
                <a:cubicBezTo>
                  <a:pt x="20" y="305"/>
                  <a:pt x="15" y="315"/>
                  <a:pt x="15" y="335"/>
                </a:cubicBezTo>
                <a:cubicBezTo>
                  <a:pt x="15" y="353"/>
                  <a:pt x="20" y="362"/>
                  <a:pt x="29" y="362"/>
                </a:cubicBezTo>
                <a:cubicBezTo>
                  <a:pt x="37" y="362"/>
                  <a:pt x="42" y="353"/>
                  <a:pt x="42" y="334"/>
                </a:cubicBezTo>
                <a:cubicBezTo>
                  <a:pt x="42" y="314"/>
                  <a:pt x="37" y="305"/>
                  <a:pt x="29" y="305"/>
                </a:cubicBezTo>
                <a:close/>
                <a:moveTo>
                  <a:pt x="89" y="298"/>
                </a:moveTo>
                <a:cubicBezTo>
                  <a:pt x="89" y="298"/>
                  <a:pt x="89" y="298"/>
                  <a:pt x="89" y="298"/>
                </a:cubicBezTo>
                <a:cubicBezTo>
                  <a:pt x="84" y="298"/>
                  <a:pt x="84" y="298"/>
                  <a:pt x="84" y="298"/>
                </a:cubicBezTo>
                <a:cubicBezTo>
                  <a:pt x="82" y="299"/>
                  <a:pt x="80" y="301"/>
                  <a:pt x="78" y="302"/>
                </a:cubicBezTo>
                <a:cubicBezTo>
                  <a:pt x="77" y="303"/>
                  <a:pt x="75" y="304"/>
                  <a:pt x="73" y="305"/>
                </a:cubicBezTo>
                <a:cubicBezTo>
                  <a:pt x="72" y="306"/>
                  <a:pt x="70" y="307"/>
                  <a:pt x="68" y="307"/>
                </a:cubicBezTo>
                <a:cubicBezTo>
                  <a:pt x="66" y="308"/>
                  <a:pt x="64" y="309"/>
                  <a:pt x="62" y="309"/>
                </a:cubicBezTo>
                <a:cubicBezTo>
                  <a:pt x="62" y="309"/>
                  <a:pt x="62" y="309"/>
                  <a:pt x="62" y="319"/>
                </a:cubicBezTo>
                <a:cubicBezTo>
                  <a:pt x="65" y="318"/>
                  <a:pt x="68" y="318"/>
                  <a:pt x="71" y="316"/>
                </a:cubicBezTo>
                <a:cubicBezTo>
                  <a:pt x="73" y="315"/>
                  <a:pt x="75" y="314"/>
                  <a:pt x="78" y="313"/>
                </a:cubicBezTo>
                <a:cubicBezTo>
                  <a:pt x="78" y="313"/>
                  <a:pt x="78" y="313"/>
                  <a:pt x="78" y="371"/>
                </a:cubicBezTo>
                <a:cubicBezTo>
                  <a:pt x="78" y="371"/>
                  <a:pt x="78" y="371"/>
                  <a:pt x="89" y="371"/>
                </a:cubicBezTo>
                <a:cubicBezTo>
                  <a:pt x="89" y="371"/>
                  <a:pt x="89" y="371"/>
                  <a:pt x="89" y="298"/>
                </a:cubicBezTo>
                <a:close/>
                <a:moveTo>
                  <a:pt x="136" y="298"/>
                </a:moveTo>
                <a:cubicBezTo>
                  <a:pt x="136" y="298"/>
                  <a:pt x="136" y="298"/>
                  <a:pt x="136" y="298"/>
                </a:cubicBezTo>
                <a:cubicBezTo>
                  <a:pt x="131" y="298"/>
                  <a:pt x="131" y="298"/>
                  <a:pt x="131" y="298"/>
                </a:cubicBezTo>
                <a:cubicBezTo>
                  <a:pt x="129" y="299"/>
                  <a:pt x="127" y="301"/>
                  <a:pt x="125" y="302"/>
                </a:cubicBezTo>
                <a:cubicBezTo>
                  <a:pt x="124" y="303"/>
                  <a:pt x="121" y="304"/>
                  <a:pt x="120" y="305"/>
                </a:cubicBezTo>
                <a:cubicBezTo>
                  <a:pt x="118" y="306"/>
                  <a:pt x="116" y="307"/>
                  <a:pt x="115" y="307"/>
                </a:cubicBezTo>
                <a:cubicBezTo>
                  <a:pt x="113" y="308"/>
                  <a:pt x="111" y="309"/>
                  <a:pt x="109" y="309"/>
                </a:cubicBezTo>
                <a:cubicBezTo>
                  <a:pt x="109" y="309"/>
                  <a:pt x="109" y="309"/>
                  <a:pt x="109" y="319"/>
                </a:cubicBezTo>
                <a:cubicBezTo>
                  <a:pt x="112" y="318"/>
                  <a:pt x="115" y="318"/>
                  <a:pt x="117" y="316"/>
                </a:cubicBezTo>
                <a:cubicBezTo>
                  <a:pt x="120" y="315"/>
                  <a:pt x="122" y="314"/>
                  <a:pt x="124" y="313"/>
                </a:cubicBezTo>
                <a:cubicBezTo>
                  <a:pt x="124" y="313"/>
                  <a:pt x="124" y="313"/>
                  <a:pt x="124" y="371"/>
                </a:cubicBezTo>
                <a:cubicBezTo>
                  <a:pt x="124" y="371"/>
                  <a:pt x="124" y="371"/>
                  <a:pt x="136" y="371"/>
                </a:cubicBezTo>
                <a:cubicBezTo>
                  <a:pt x="136" y="371"/>
                  <a:pt x="136" y="371"/>
                  <a:pt x="136" y="298"/>
                </a:cubicBezTo>
                <a:close/>
                <a:moveTo>
                  <a:pt x="182" y="298"/>
                </a:moveTo>
                <a:cubicBezTo>
                  <a:pt x="182" y="298"/>
                  <a:pt x="182" y="298"/>
                  <a:pt x="182" y="298"/>
                </a:cubicBezTo>
                <a:cubicBezTo>
                  <a:pt x="177" y="298"/>
                  <a:pt x="177" y="298"/>
                  <a:pt x="177" y="298"/>
                </a:cubicBezTo>
                <a:cubicBezTo>
                  <a:pt x="175" y="299"/>
                  <a:pt x="174" y="301"/>
                  <a:pt x="172" y="302"/>
                </a:cubicBezTo>
                <a:cubicBezTo>
                  <a:pt x="170" y="303"/>
                  <a:pt x="168" y="304"/>
                  <a:pt x="167" y="305"/>
                </a:cubicBezTo>
                <a:cubicBezTo>
                  <a:pt x="164" y="305"/>
                  <a:pt x="163" y="306"/>
                  <a:pt x="161" y="307"/>
                </a:cubicBezTo>
                <a:cubicBezTo>
                  <a:pt x="159" y="307"/>
                  <a:pt x="157" y="308"/>
                  <a:pt x="156" y="309"/>
                </a:cubicBezTo>
                <a:cubicBezTo>
                  <a:pt x="156" y="309"/>
                  <a:pt x="156" y="309"/>
                  <a:pt x="156" y="319"/>
                </a:cubicBezTo>
                <a:cubicBezTo>
                  <a:pt x="159" y="318"/>
                  <a:pt x="162" y="317"/>
                  <a:pt x="164" y="316"/>
                </a:cubicBezTo>
                <a:cubicBezTo>
                  <a:pt x="166" y="315"/>
                  <a:pt x="169" y="314"/>
                  <a:pt x="170" y="313"/>
                </a:cubicBezTo>
                <a:cubicBezTo>
                  <a:pt x="170" y="313"/>
                  <a:pt x="170" y="313"/>
                  <a:pt x="170" y="371"/>
                </a:cubicBezTo>
                <a:cubicBezTo>
                  <a:pt x="170" y="371"/>
                  <a:pt x="170" y="371"/>
                  <a:pt x="182" y="371"/>
                </a:cubicBezTo>
                <a:cubicBezTo>
                  <a:pt x="182" y="371"/>
                  <a:pt x="182" y="371"/>
                  <a:pt x="182" y="298"/>
                </a:cubicBezTo>
                <a:close/>
                <a:moveTo>
                  <a:pt x="41" y="597"/>
                </a:moveTo>
                <a:cubicBezTo>
                  <a:pt x="41" y="597"/>
                  <a:pt x="41" y="597"/>
                  <a:pt x="41" y="597"/>
                </a:cubicBezTo>
                <a:cubicBezTo>
                  <a:pt x="36" y="597"/>
                  <a:pt x="36" y="597"/>
                  <a:pt x="36" y="597"/>
                </a:cubicBezTo>
                <a:cubicBezTo>
                  <a:pt x="34" y="598"/>
                  <a:pt x="32" y="599"/>
                  <a:pt x="30" y="600"/>
                </a:cubicBezTo>
                <a:cubicBezTo>
                  <a:pt x="29" y="602"/>
                  <a:pt x="26" y="602"/>
                  <a:pt x="25" y="603"/>
                </a:cubicBezTo>
                <a:cubicBezTo>
                  <a:pt x="23" y="605"/>
                  <a:pt x="21" y="605"/>
                  <a:pt x="20" y="606"/>
                </a:cubicBezTo>
                <a:cubicBezTo>
                  <a:pt x="17" y="607"/>
                  <a:pt x="16" y="607"/>
                  <a:pt x="14" y="607"/>
                </a:cubicBezTo>
                <a:cubicBezTo>
                  <a:pt x="14" y="607"/>
                  <a:pt x="14" y="607"/>
                  <a:pt x="14" y="618"/>
                </a:cubicBezTo>
                <a:cubicBezTo>
                  <a:pt x="17" y="617"/>
                  <a:pt x="20" y="616"/>
                  <a:pt x="22" y="615"/>
                </a:cubicBezTo>
                <a:cubicBezTo>
                  <a:pt x="25" y="614"/>
                  <a:pt x="27" y="613"/>
                  <a:pt x="29" y="611"/>
                </a:cubicBezTo>
                <a:cubicBezTo>
                  <a:pt x="29" y="611"/>
                  <a:pt x="29" y="611"/>
                  <a:pt x="29" y="670"/>
                </a:cubicBezTo>
                <a:cubicBezTo>
                  <a:pt x="29" y="670"/>
                  <a:pt x="29" y="670"/>
                  <a:pt x="41" y="670"/>
                </a:cubicBezTo>
                <a:cubicBezTo>
                  <a:pt x="41" y="670"/>
                  <a:pt x="41" y="670"/>
                  <a:pt x="41" y="597"/>
                </a:cubicBezTo>
                <a:close/>
                <a:moveTo>
                  <a:pt x="41" y="492"/>
                </a:moveTo>
                <a:cubicBezTo>
                  <a:pt x="41" y="492"/>
                  <a:pt x="41" y="492"/>
                  <a:pt x="41" y="492"/>
                </a:cubicBezTo>
                <a:cubicBezTo>
                  <a:pt x="37" y="492"/>
                  <a:pt x="37" y="492"/>
                  <a:pt x="37" y="492"/>
                </a:cubicBezTo>
                <a:cubicBezTo>
                  <a:pt x="35" y="494"/>
                  <a:pt x="33" y="495"/>
                  <a:pt x="31" y="496"/>
                </a:cubicBezTo>
                <a:cubicBezTo>
                  <a:pt x="30" y="497"/>
                  <a:pt x="27" y="498"/>
                  <a:pt x="26" y="499"/>
                </a:cubicBezTo>
                <a:cubicBezTo>
                  <a:pt x="24" y="500"/>
                  <a:pt x="22" y="500"/>
                  <a:pt x="20" y="501"/>
                </a:cubicBezTo>
                <a:cubicBezTo>
                  <a:pt x="19" y="502"/>
                  <a:pt x="17" y="503"/>
                  <a:pt x="15" y="503"/>
                </a:cubicBezTo>
                <a:cubicBezTo>
                  <a:pt x="15" y="503"/>
                  <a:pt x="15" y="503"/>
                  <a:pt x="15" y="513"/>
                </a:cubicBezTo>
                <a:cubicBezTo>
                  <a:pt x="18" y="513"/>
                  <a:pt x="21" y="511"/>
                  <a:pt x="23" y="511"/>
                </a:cubicBezTo>
                <a:cubicBezTo>
                  <a:pt x="25" y="510"/>
                  <a:pt x="28" y="508"/>
                  <a:pt x="30" y="507"/>
                </a:cubicBezTo>
                <a:cubicBezTo>
                  <a:pt x="30" y="507"/>
                  <a:pt x="30" y="507"/>
                  <a:pt x="30" y="566"/>
                </a:cubicBezTo>
                <a:cubicBezTo>
                  <a:pt x="30" y="566"/>
                  <a:pt x="30" y="566"/>
                  <a:pt x="41" y="566"/>
                </a:cubicBezTo>
                <a:cubicBezTo>
                  <a:pt x="41" y="566"/>
                  <a:pt x="41" y="566"/>
                  <a:pt x="41" y="492"/>
                </a:cubicBezTo>
                <a:close/>
                <a:moveTo>
                  <a:pt x="985" y="281"/>
                </a:moveTo>
                <a:cubicBezTo>
                  <a:pt x="978" y="281"/>
                  <a:pt x="971" y="278"/>
                  <a:pt x="967" y="272"/>
                </a:cubicBezTo>
                <a:cubicBezTo>
                  <a:pt x="963" y="265"/>
                  <a:pt x="961" y="257"/>
                  <a:pt x="961" y="244"/>
                </a:cubicBezTo>
                <a:cubicBezTo>
                  <a:pt x="961" y="231"/>
                  <a:pt x="963" y="222"/>
                  <a:pt x="967" y="215"/>
                </a:cubicBezTo>
                <a:cubicBezTo>
                  <a:pt x="972" y="208"/>
                  <a:pt x="978" y="205"/>
                  <a:pt x="987" y="205"/>
                </a:cubicBezTo>
                <a:cubicBezTo>
                  <a:pt x="1003" y="205"/>
                  <a:pt x="1011" y="217"/>
                  <a:pt x="1011" y="243"/>
                </a:cubicBezTo>
                <a:cubicBezTo>
                  <a:pt x="1011" y="255"/>
                  <a:pt x="1009" y="265"/>
                  <a:pt x="1004" y="271"/>
                </a:cubicBezTo>
                <a:cubicBezTo>
                  <a:pt x="1000" y="278"/>
                  <a:pt x="993" y="281"/>
                  <a:pt x="985" y="281"/>
                </a:cubicBezTo>
                <a:close/>
                <a:moveTo>
                  <a:pt x="986" y="214"/>
                </a:moveTo>
                <a:cubicBezTo>
                  <a:pt x="977" y="214"/>
                  <a:pt x="973" y="225"/>
                  <a:pt x="973" y="244"/>
                </a:cubicBezTo>
                <a:cubicBezTo>
                  <a:pt x="973" y="262"/>
                  <a:pt x="977" y="271"/>
                  <a:pt x="986" y="271"/>
                </a:cubicBezTo>
                <a:cubicBezTo>
                  <a:pt x="994" y="271"/>
                  <a:pt x="999" y="262"/>
                  <a:pt x="999" y="243"/>
                </a:cubicBezTo>
                <a:cubicBezTo>
                  <a:pt x="999" y="224"/>
                  <a:pt x="994" y="214"/>
                  <a:pt x="986" y="214"/>
                </a:cubicBezTo>
                <a:close/>
                <a:moveTo>
                  <a:pt x="1059" y="207"/>
                </a:moveTo>
                <a:cubicBezTo>
                  <a:pt x="1059" y="207"/>
                  <a:pt x="1059" y="207"/>
                  <a:pt x="1059" y="207"/>
                </a:cubicBezTo>
                <a:cubicBezTo>
                  <a:pt x="1054" y="207"/>
                  <a:pt x="1054" y="207"/>
                  <a:pt x="1054" y="207"/>
                </a:cubicBezTo>
                <a:cubicBezTo>
                  <a:pt x="1051" y="209"/>
                  <a:pt x="1050" y="210"/>
                  <a:pt x="1048" y="211"/>
                </a:cubicBezTo>
                <a:cubicBezTo>
                  <a:pt x="1046" y="212"/>
                  <a:pt x="1044" y="213"/>
                  <a:pt x="1043" y="214"/>
                </a:cubicBezTo>
                <a:cubicBezTo>
                  <a:pt x="1041" y="215"/>
                  <a:pt x="1039" y="215"/>
                  <a:pt x="1038" y="216"/>
                </a:cubicBezTo>
                <a:cubicBezTo>
                  <a:pt x="1035" y="217"/>
                  <a:pt x="1034" y="217"/>
                  <a:pt x="1032" y="218"/>
                </a:cubicBezTo>
                <a:cubicBezTo>
                  <a:pt x="1032" y="218"/>
                  <a:pt x="1032" y="218"/>
                  <a:pt x="1032" y="228"/>
                </a:cubicBezTo>
                <a:cubicBezTo>
                  <a:pt x="1035" y="228"/>
                  <a:pt x="1038" y="226"/>
                  <a:pt x="1040" y="225"/>
                </a:cubicBezTo>
                <a:cubicBezTo>
                  <a:pt x="1043" y="225"/>
                  <a:pt x="1045" y="223"/>
                  <a:pt x="1047" y="222"/>
                </a:cubicBezTo>
                <a:cubicBezTo>
                  <a:pt x="1047" y="222"/>
                  <a:pt x="1047" y="222"/>
                  <a:pt x="1047" y="281"/>
                </a:cubicBezTo>
                <a:cubicBezTo>
                  <a:pt x="1047" y="281"/>
                  <a:pt x="1047" y="281"/>
                  <a:pt x="1059" y="281"/>
                </a:cubicBezTo>
                <a:cubicBezTo>
                  <a:pt x="1059" y="281"/>
                  <a:pt x="1059" y="281"/>
                  <a:pt x="1059" y="207"/>
                </a:cubicBezTo>
                <a:close/>
                <a:moveTo>
                  <a:pt x="1106" y="207"/>
                </a:moveTo>
                <a:cubicBezTo>
                  <a:pt x="1106" y="207"/>
                  <a:pt x="1106" y="207"/>
                  <a:pt x="1106" y="207"/>
                </a:cubicBezTo>
                <a:cubicBezTo>
                  <a:pt x="1101" y="207"/>
                  <a:pt x="1101" y="207"/>
                  <a:pt x="1101" y="207"/>
                </a:cubicBezTo>
                <a:cubicBezTo>
                  <a:pt x="1099" y="209"/>
                  <a:pt x="1098" y="210"/>
                  <a:pt x="1095" y="211"/>
                </a:cubicBezTo>
                <a:cubicBezTo>
                  <a:pt x="1094" y="212"/>
                  <a:pt x="1092" y="213"/>
                  <a:pt x="1090" y="214"/>
                </a:cubicBezTo>
                <a:cubicBezTo>
                  <a:pt x="1089" y="215"/>
                  <a:pt x="1087" y="216"/>
                  <a:pt x="1085" y="217"/>
                </a:cubicBezTo>
                <a:cubicBezTo>
                  <a:pt x="1083" y="217"/>
                  <a:pt x="1082" y="218"/>
                  <a:pt x="1079" y="218"/>
                </a:cubicBezTo>
                <a:cubicBezTo>
                  <a:pt x="1079" y="218"/>
                  <a:pt x="1079" y="218"/>
                  <a:pt x="1079" y="228"/>
                </a:cubicBezTo>
                <a:cubicBezTo>
                  <a:pt x="1082" y="228"/>
                  <a:pt x="1085" y="227"/>
                  <a:pt x="1087" y="225"/>
                </a:cubicBezTo>
                <a:cubicBezTo>
                  <a:pt x="1090" y="225"/>
                  <a:pt x="1092" y="223"/>
                  <a:pt x="1095" y="222"/>
                </a:cubicBezTo>
                <a:cubicBezTo>
                  <a:pt x="1095" y="222"/>
                  <a:pt x="1095" y="222"/>
                  <a:pt x="1095" y="281"/>
                </a:cubicBezTo>
                <a:cubicBezTo>
                  <a:pt x="1095" y="281"/>
                  <a:pt x="1095" y="281"/>
                  <a:pt x="1106" y="281"/>
                </a:cubicBezTo>
                <a:cubicBezTo>
                  <a:pt x="1106" y="281"/>
                  <a:pt x="1106" y="281"/>
                  <a:pt x="1106" y="207"/>
                </a:cubicBezTo>
                <a:close/>
                <a:moveTo>
                  <a:pt x="1153" y="207"/>
                </a:moveTo>
                <a:cubicBezTo>
                  <a:pt x="1153" y="207"/>
                  <a:pt x="1153" y="207"/>
                  <a:pt x="1153" y="207"/>
                </a:cubicBezTo>
                <a:cubicBezTo>
                  <a:pt x="1148" y="207"/>
                  <a:pt x="1148" y="207"/>
                  <a:pt x="1148" y="207"/>
                </a:cubicBezTo>
                <a:cubicBezTo>
                  <a:pt x="1146" y="209"/>
                  <a:pt x="1145" y="210"/>
                  <a:pt x="1143" y="211"/>
                </a:cubicBezTo>
                <a:cubicBezTo>
                  <a:pt x="1141" y="212"/>
                  <a:pt x="1139" y="213"/>
                  <a:pt x="1137" y="214"/>
                </a:cubicBezTo>
                <a:cubicBezTo>
                  <a:pt x="1135" y="215"/>
                  <a:pt x="1134" y="216"/>
                  <a:pt x="1132" y="217"/>
                </a:cubicBezTo>
                <a:cubicBezTo>
                  <a:pt x="1130" y="217"/>
                  <a:pt x="1128" y="218"/>
                  <a:pt x="1126" y="218"/>
                </a:cubicBezTo>
                <a:cubicBezTo>
                  <a:pt x="1126" y="218"/>
                  <a:pt x="1126" y="218"/>
                  <a:pt x="1126" y="228"/>
                </a:cubicBezTo>
                <a:cubicBezTo>
                  <a:pt x="1129" y="228"/>
                  <a:pt x="1132" y="227"/>
                  <a:pt x="1134" y="225"/>
                </a:cubicBezTo>
                <a:cubicBezTo>
                  <a:pt x="1137" y="225"/>
                  <a:pt x="1140" y="223"/>
                  <a:pt x="1141" y="222"/>
                </a:cubicBezTo>
                <a:cubicBezTo>
                  <a:pt x="1141" y="222"/>
                  <a:pt x="1141" y="222"/>
                  <a:pt x="1141" y="281"/>
                </a:cubicBezTo>
                <a:cubicBezTo>
                  <a:pt x="1141" y="281"/>
                  <a:pt x="1141" y="281"/>
                  <a:pt x="1153" y="281"/>
                </a:cubicBezTo>
                <a:cubicBezTo>
                  <a:pt x="1153" y="281"/>
                  <a:pt x="1153" y="281"/>
                  <a:pt x="1153" y="207"/>
                </a:cubicBezTo>
                <a:close/>
                <a:moveTo>
                  <a:pt x="1200" y="207"/>
                </a:moveTo>
                <a:cubicBezTo>
                  <a:pt x="1200" y="207"/>
                  <a:pt x="1200" y="207"/>
                  <a:pt x="1200" y="207"/>
                </a:cubicBezTo>
                <a:cubicBezTo>
                  <a:pt x="1195" y="207"/>
                  <a:pt x="1195" y="207"/>
                  <a:pt x="1195" y="207"/>
                </a:cubicBezTo>
                <a:cubicBezTo>
                  <a:pt x="1193" y="209"/>
                  <a:pt x="1191" y="210"/>
                  <a:pt x="1189" y="211"/>
                </a:cubicBezTo>
                <a:cubicBezTo>
                  <a:pt x="1188" y="212"/>
                  <a:pt x="1186" y="213"/>
                  <a:pt x="1184" y="214"/>
                </a:cubicBezTo>
                <a:cubicBezTo>
                  <a:pt x="1183" y="215"/>
                  <a:pt x="1180" y="216"/>
                  <a:pt x="1179" y="217"/>
                </a:cubicBezTo>
                <a:cubicBezTo>
                  <a:pt x="1177" y="217"/>
                  <a:pt x="1175" y="218"/>
                  <a:pt x="1173" y="218"/>
                </a:cubicBezTo>
                <a:cubicBezTo>
                  <a:pt x="1173" y="218"/>
                  <a:pt x="1173" y="218"/>
                  <a:pt x="1173" y="228"/>
                </a:cubicBezTo>
                <a:cubicBezTo>
                  <a:pt x="1176" y="228"/>
                  <a:pt x="1179" y="227"/>
                  <a:pt x="1181" y="225"/>
                </a:cubicBezTo>
                <a:cubicBezTo>
                  <a:pt x="1184" y="225"/>
                  <a:pt x="1186" y="223"/>
                  <a:pt x="1189" y="222"/>
                </a:cubicBezTo>
                <a:cubicBezTo>
                  <a:pt x="1189" y="222"/>
                  <a:pt x="1189" y="222"/>
                  <a:pt x="1189" y="281"/>
                </a:cubicBezTo>
                <a:cubicBezTo>
                  <a:pt x="1189" y="281"/>
                  <a:pt x="1189" y="281"/>
                  <a:pt x="1200" y="281"/>
                </a:cubicBezTo>
                <a:cubicBezTo>
                  <a:pt x="1200" y="281"/>
                  <a:pt x="1200" y="281"/>
                  <a:pt x="1200" y="207"/>
                </a:cubicBezTo>
                <a:close/>
                <a:moveTo>
                  <a:pt x="1323" y="207"/>
                </a:moveTo>
                <a:cubicBezTo>
                  <a:pt x="1323" y="207"/>
                  <a:pt x="1323" y="207"/>
                  <a:pt x="1323" y="207"/>
                </a:cubicBezTo>
                <a:cubicBezTo>
                  <a:pt x="1318" y="207"/>
                  <a:pt x="1318" y="207"/>
                  <a:pt x="1318" y="207"/>
                </a:cubicBezTo>
                <a:cubicBezTo>
                  <a:pt x="1316" y="209"/>
                  <a:pt x="1314" y="210"/>
                  <a:pt x="1312" y="211"/>
                </a:cubicBezTo>
                <a:cubicBezTo>
                  <a:pt x="1311" y="212"/>
                  <a:pt x="1309" y="213"/>
                  <a:pt x="1307" y="214"/>
                </a:cubicBezTo>
                <a:cubicBezTo>
                  <a:pt x="1306" y="215"/>
                  <a:pt x="1304" y="216"/>
                  <a:pt x="1302" y="217"/>
                </a:cubicBezTo>
                <a:cubicBezTo>
                  <a:pt x="1300" y="217"/>
                  <a:pt x="1299" y="218"/>
                  <a:pt x="1296" y="218"/>
                </a:cubicBezTo>
                <a:cubicBezTo>
                  <a:pt x="1296" y="218"/>
                  <a:pt x="1296" y="218"/>
                  <a:pt x="1296" y="228"/>
                </a:cubicBezTo>
                <a:cubicBezTo>
                  <a:pt x="1299" y="228"/>
                  <a:pt x="1302" y="227"/>
                  <a:pt x="1305" y="225"/>
                </a:cubicBezTo>
                <a:cubicBezTo>
                  <a:pt x="1307" y="225"/>
                  <a:pt x="1309" y="223"/>
                  <a:pt x="1312" y="222"/>
                </a:cubicBezTo>
                <a:cubicBezTo>
                  <a:pt x="1312" y="222"/>
                  <a:pt x="1312" y="222"/>
                  <a:pt x="1312" y="281"/>
                </a:cubicBezTo>
                <a:cubicBezTo>
                  <a:pt x="1312" y="281"/>
                  <a:pt x="1312" y="281"/>
                  <a:pt x="1323" y="281"/>
                </a:cubicBezTo>
                <a:cubicBezTo>
                  <a:pt x="1323" y="281"/>
                  <a:pt x="1323" y="281"/>
                  <a:pt x="1323" y="207"/>
                </a:cubicBezTo>
                <a:close/>
                <a:moveTo>
                  <a:pt x="1371" y="207"/>
                </a:moveTo>
                <a:cubicBezTo>
                  <a:pt x="1371" y="207"/>
                  <a:pt x="1371" y="207"/>
                  <a:pt x="1371" y="207"/>
                </a:cubicBezTo>
                <a:cubicBezTo>
                  <a:pt x="1366" y="207"/>
                  <a:pt x="1366" y="207"/>
                  <a:pt x="1366" y="207"/>
                </a:cubicBezTo>
                <a:cubicBezTo>
                  <a:pt x="1363" y="209"/>
                  <a:pt x="1362" y="210"/>
                  <a:pt x="1360" y="211"/>
                </a:cubicBezTo>
                <a:cubicBezTo>
                  <a:pt x="1358" y="212"/>
                  <a:pt x="1356" y="213"/>
                  <a:pt x="1355" y="214"/>
                </a:cubicBezTo>
                <a:cubicBezTo>
                  <a:pt x="1353" y="215"/>
                  <a:pt x="1351" y="216"/>
                  <a:pt x="1350" y="217"/>
                </a:cubicBezTo>
                <a:cubicBezTo>
                  <a:pt x="1347" y="217"/>
                  <a:pt x="1346" y="218"/>
                  <a:pt x="1344" y="218"/>
                </a:cubicBezTo>
                <a:cubicBezTo>
                  <a:pt x="1344" y="218"/>
                  <a:pt x="1344" y="218"/>
                  <a:pt x="1344" y="228"/>
                </a:cubicBezTo>
                <a:cubicBezTo>
                  <a:pt x="1347" y="228"/>
                  <a:pt x="1350" y="227"/>
                  <a:pt x="1352" y="225"/>
                </a:cubicBezTo>
                <a:cubicBezTo>
                  <a:pt x="1355" y="225"/>
                  <a:pt x="1357" y="223"/>
                  <a:pt x="1359" y="222"/>
                </a:cubicBezTo>
                <a:cubicBezTo>
                  <a:pt x="1359" y="222"/>
                  <a:pt x="1359" y="222"/>
                  <a:pt x="1359" y="281"/>
                </a:cubicBezTo>
                <a:cubicBezTo>
                  <a:pt x="1359" y="281"/>
                  <a:pt x="1359" y="281"/>
                  <a:pt x="1371" y="281"/>
                </a:cubicBezTo>
                <a:cubicBezTo>
                  <a:pt x="1371" y="281"/>
                  <a:pt x="1371" y="281"/>
                  <a:pt x="1371" y="207"/>
                </a:cubicBezTo>
                <a:close/>
                <a:moveTo>
                  <a:pt x="1419" y="207"/>
                </a:moveTo>
                <a:cubicBezTo>
                  <a:pt x="1419" y="207"/>
                  <a:pt x="1419" y="207"/>
                  <a:pt x="1419" y="207"/>
                </a:cubicBezTo>
                <a:cubicBezTo>
                  <a:pt x="1414" y="207"/>
                  <a:pt x="1414" y="207"/>
                  <a:pt x="1414" y="207"/>
                </a:cubicBezTo>
                <a:cubicBezTo>
                  <a:pt x="1412" y="209"/>
                  <a:pt x="1410" y="210"/>
                  <a:pt x="1408" y="211"/>
                </a:cubicBezTo>
                <a:cubicBezTo>
                  <a:pt x="1406" y="212"/>
                  <a:pt x="1405" y="213"/>
                  <a:pt x="1402" y="214"/>
                </a:cubicBezTo>
                <a:cubicBezTo>
                  <a:pt x="1401" y="215"/>
                  <a:pt x="1399" y="216"/>
                  <a:pt x="1397" y="217"/>
                </a:cubicBezTo>
                <a:cubicBezTo>
                  <a:pt x="1395" y="217"/>
                  <a:pt x="1394" y="218"/>
                  <a:pt x="1391" y="218"/>
                </a:cubicBezTo>
                <a:cubicBezTo>
                  <a:pt x="1391" y="218"/>
                  <a:pt x="1391" y="218"/>
                  <a:pt x="1391" y="228"/>
                </a:cubicBezTo>
                <a:cubicBezTo>
                  <a:pt x="1394" y="228"/>
                  <a:pt x="1397" y="227"/>
                  <a:pt x="1400" y="225"/>
                </a:cubicBezTo>
                <a:cubicBezTo>
                  <a:pt x="1402" y="225"/>
                  <a:pt x="1405" y="223"/>
                  <a:pt x="1407" y="222"/>
                </a:cubicBezTo>
                <a:cubicBezTo>
                  <a:pt x="1407" y="222"/>
                  <a:pt x="1407" y="222"/>
                  <a:pt x="1407" y="281"/>
                </a:cubicBezTo>
                <a:cubicBezTo>
                  <a:pt x="1407" y="281"/>
                  <a:pt x="1407" y="281"/>
                  <a:pt x="1419" y="281"/>
                </a:cubicBezTo>
                <a:cubicBezTo>
                  <a:pt x="1419" y="281"/>
                  <a:pt x="1419" y="281"/>
                  <a:pt x="1419" y="207"/>
                </a:cubicBezTo>
                <a:close/>
                <a:moveTo>
                  <a:pt x="1465" y="207"/>
                </a:moveTo>
                <a:cubicBezTo>
                  <a:pt x="1465" y="207"/>
                  <a:pt x="1465" y="207"/>
                  <a:pt x="1465" y="207"/>
                </a:cubicBezTo>
                <a:cubicBezTo>
                  <a:pt x="1461" y="207"/>
                  <a:pt x="1461" y="207"/>
                  <a:pt x="1461" y="207"/>
                </a:cubicBezTo>
                <a:cubicBezTo>
                  <a:pt x="1459" y="209"/>
                  <a:pt x="1457" y="210"/>
                  <a:pt x="1455" y="211"/>
                </a:cubicBezTo>
                <a:cubicBezTo>
                  <a:pt x="1454" y="212"/>
                  <a:pt x="1451" y="213"/>
                  <a:pt x="1450" y="214"/>
                </a:cubicBezTo>
                <a:cubicBezTo>
                  <a:pt x="1448" y="215"/>
                  <a:pt x="1446" y="215"/>
                  <a:pt x="1444" y="216"/>
                </a:cubicBezTo>
                <a:cubicBezTo>
                  <a:pt x="1443" y="217"/>
                  <a:pt x="1440" y="217"/>
                  <a:pt x="1439" y="218"/>
                </a:cubicBezTo>
                <a:cubicBezTo>
                  <a:pt x="1439" y="218"/>
                  <a:pt x="1439" y="218"/>
                  <a:pt x="1439" y="228"/>
                </a:cubicBezTo>
                <a:cubicBezTo>
                  <a:pt x="1442" y="228"/>
                  <a:pt x="1445" y="226"/>
                  <a:pt x="1447" y="225"/>
                </a:cubicBezTo>
                <a:cubicBezTo>
                  <a:pt x="1449" y="225"/>
                  <a:pt x="1452" y="223"/>
                  <a:pt x="1454" y="222"/>
                </a:cubicBezTo>
                <a:cubicBezTo>
                  <a:pt x="1454" y="222"/>
                  <a:pt x="1454" y="222"/>
                  <a:pt x="1454" y="281"/>
                </a:cubicBezTo>
                <a:cubicBezTo>
                  <a:pt x="1454" y="281"/>
                  <a:pt x="1454" y="281"/>
                  <a:pt x="1465" y="281"/>
                </a:cubicBezTo>
                <a:cubicBezTo>
                  <a:pt x="1465" y="281"/>
                  <a:pt x="1465" y="281"/>
                  <a:pt x="1465" y="207"/>
                </a:cubicBezTo>
                <a:close/>
                <a:moveTo>
                  <a:pt x="1221" y="240"/>
                </a:moveTo>
                <a:cubicBezTo>
                  <a:pt x="1221" y="240"/>
                  <a:pt x="1221" y="240"/>
                  <a:pt x="1221" y="240"/>
                </a:cubicBezTo>
                <a:cubicBezTo>
                  <a:pt x="1220" y="248"/>
                  <a:pt x="1220" y="248"/>
                  <a:pt x="1220" y="248"/>
                </a:cubicBezTo>
                <a:cubicBezTo>
                  <a:pt x="1227" y="248"/>
                  <a:pt x="1228" y="251"/>
                  <a:pt x="1228" y="254"/>
                </a:cubicBezTo>
                <a:cubicBezTo>
                  <a:pt x="1228" y="256"/>
                  <a:pt x="1227" y="258"/>
                  <a:pt x="1227" y="261"/>
                </a:cubicBezTo>
                <a:cubicBezTo>
                  <a:pt x="1227" y="263"/>
                  <a:pt x="1227" y="266"/>
                  <a:pt x="1227" y="268"/>
                </a:cubicBezTo>
                <a:cubicBezTo>
                  <a:pt x="1227" y="277"/>
                  <a:pt x="1233" y="281"/>
                  <a:pt x="1241" y="281"/>
                </a:cubicBezTo>
                <a:cubicBezTo>
                  <a:pt x="1241" y="281"/>
                  <a:pt x="1241" y="281"/>
                  <a:pt x="1245" y="281"/>
                </a:cubicBezTo>
                <a:cubicBezTo>
                  <a:pt x="1245" y="281"/>
                  <a:pt x="1245" y="281"/>
                  <a:pt x="1245" y="272"/>
                </a:cubicBezTo>
                <a:cubicBezTo>
                  <a:pt x="1245" y="272"/>
                  <a:pt x="1245" y="272"/>
                  <a:pt x="1243" y="272"/>
                </a:cubicBezTo>
                <a:cubicBezTo>
                  <a:pt x="1240" y="272"/>
                  <a:pt x="1239" y="269"/>
                  <a:pt x="1239" y="266"/>
                </a:cubicBezTo>
                <a:cubicBezTo>
                  <a:pt x="1239" y="264"/>
                  <a:pt x="1239" y="263"/>
                  <a:pt x="1239" y="261"/>
                </a:cubicBezTo>
                <a:cubicBezTo>
                  <a:pt x="1239" y="259"/>
                  <a:pt x="1239" y="257"/>
                  <a:pt x="1239" y="255"/>
                </a:cubicBezTo>
                <a:cubicBezTo>
                  <a:pt x="1239" y="247"/>
                  <a:pt x="1236" y="245"/>
                  <a:pt x="1231" y="244"/>
                </a:cubicBezTo>
                <a:cubicBezTo>
                  <a:pt x="1231" y="244"/>
                  <a:pt x="1231" y="244"/>
                  <a:pt x="1231" y="243"/>
                </a:cubicBezTo>
                <a:cubicBezTo>
                  <a:pt x="1236" y="242"/>
                  <a:pt x="1239" y="240"/>
                  <a:pt x="1239" y="232"/>
                </a:cubicBezTo>
                <a:cubicBezTo>
                  <a:pt x="1239" y="230"/>
                  <a:pt x="1239" y="228"/>
                  <a:pt x="1239" y="226"/>
                </a:cubicBezTo>
                <a:cubicBezTo>
                  <a:pt x="1239" y="225"/>
                  <a:pt x="1239" y="223"/>
                  <a:pt x="1239" y="222"/>
                </a:cubicBezTo>
                <a:cubicBezTo>
                  <a:pt x="1239" y="218"/>
                  <a:pt x="1240" y="216"/>
                  <a:pt x="1243" y="216"/>
                </a:cubicBezTo>
                <a:cubicBezTo>
                  <a:pt x="1243" y="216"/>
                  <a:pt x="1243" y="216"/>
                  <a:pt x="1245" y="216"/>
                </a:cubicBezTo>
                <a:cubicBezTo>
                  <a:pt x="1245" y="216"/>
                  <a:pt x="1245" y="216"/>
                  <a:pt x="1245" y="206"/>
                </a:cubicBezTo>
                <a:cubicBezTo>
                  <a:pt x="1245" y="206"/>
                  <a:pt x="1245" y="206"/>
                  <a:pt x="1241" y="206"/>
                </a:cubicBezTo>
                <a:cubicBezTo>
                  <a:pt x="1232" y="206"/>
                  <a:pt x="1227" y="210"/>
                  <a:pt x="1227" y="219"/>
                </a:cubicBezTo>
                <a:cubicBezTo>
                  <a:pt x="1227" y="221"/>
                  <a:pt x="1227" y="224"/>
                  <a:pt x="1227" y="226"/>
                </a:cubicBezTo>
                <a:cubicBezTo>
                  <a:pt x="1227" y="229"/>
                  <a:pt x="1228" y="231"/>
                  <a:pt x="1228" y="233"/>
                </a:cubicBezTo>
                <a:cubicBezTo>
                  <a:pt x="1228" y="236"/>
                  <a:pt x="1227" y="239"/>
                  <a:pt x="1221" y="240"/>
                </a:cubicBezTo>
                <a:close/>
                <a:moveTo>
                  <a:pt x="1276" y="248"/>
                </a:moveTo>
                <a:cubicBezTo>
                  <a:pt x="1276" y="248"/>
                  <a:pt x="1276" y="248"/>
                  <a:pt x="1276" y="248"/>
                </a:cubicBezTo>
                <a:cubicBezTo>
                  <a:pt x="1276" y="240"/>
                  <a:pt x="1276" y="240"/>
                  <a:pt x="1276" y="240"/>
                </a:cubicBezTo>
                <a:cubicBezTo>
                  <a:pt x="1269" y="239"/>
                  <a:pt x="1269" y="236"/>
                  <a:pt x="1269" y="233"/>
                </a:cubicBezTo>
                <a:cubicBezTo>
                  <a:pt x="1269" y="231"/>
                  <a:pt x="1269" y="229"/>
                  <a:pt x="1269" y="226"/>
                </a:cubicBezTo>
                <a:cubicBezTo>
                  <a:pt x="1270" y="224"/>
                  <a:pt x="1270" y="221"/>
                  <a:pt x="1270" y="219"/>
                </a:cubicBezTo>
                <a:cubicBezTo>
                  <a:pt x="1270" y="210"/>
                  <a:pt x="1265" y="206"/>
                  <a:pt x="1255" y="206"/>
                </a:cubicBezTo>
                <a:cubicBezTo>
                  <a:pt x="1255" y="206"/>
                  <a:pt x="1255" y="206"/>
                  <a:pt x="1252" y="206"/>
                </a:cubicBezTo>
                <a:cubicBezTo>
                  <a:pt x="1252" y="206"/>
                  <a:pt x="1252" y="206"/>
                  <a:pt x="1252" y="216"/>
                </a:cubicBezTo>
                <a:cubicBezTo>
                  <a:pt x="1252" y="216"/>
                  <a:pt x="1252" y="216"/>
                  <a:pt x="1253" y="216"/>
                </a:cubicBezTo>
                <a:cubicBezTo>
                  <a:pt x="1257" y="216"/>
                  <a:pt x="1258" y="218"/>
                  <a:pt x="1258" y="222"/>
                </a:cubicBezTo>
                <a:cubicBezTo>
                  <a:pt x="1258" y="223"/>
                  <a:pt x="1258" y="225"/>
                  <a:pt x="1258" y="226"/>
                </a:cubicBezTo>
                <a:cubicBezTo>
                  <a:pt x="1258" y="228"/>
                  <a:pt x="1258" y="230"/>
                  <a:pt x="1258" y="232"/>
                </a:cubicBezTo>
                <a:cubicBezTo>
                  <a:pt x="1258" y="240"/>
                  <a:pt x="1260" y="242"/>
                  <a:pt x="1266" y="243"/>
                </a:cubicBezTo>
                <a:cubicBezTo>
                  <a:pt x="1266" y="243"/>
                  <a:pt x="1266" y="243"/>
                  <a:pt x="1266" y="244"/>
                </a:cubicBezTo>
                <a:cubicBezTo>
                  <a:pt x="1260" y="245"/>
                  <a:pt x="1258" y="247"/>
                  <a:pt x="1258" y="255"/>
                </a:cubicBezTo>
                <a:cubicBezTo>
                  <a:pt x="1258" y="257"/>
                  <a:pt x="1258" y="259"/>
                  <a:pt x="1258" y="261"/>
                </a:cubicBezTo>
                <a:cubicBezTo>
                  <a:pt x="1258" y="263"/>
                  <a:pt x="1258" y="264"/>
                  <a:pt x="1258" y="266"/>
                </a:cubicBezTo>
                <a:cubicBezTo>
                  <a:pt x="1258" y="269"/>
                  <a:pt x="1257" y="272"/>
                  <a:pt x="1253" y="272"/>
                </a:cubicBezTo>
                <a:cubicBezTo>
                  <a:pt x="1253" y="272"/>
                  <a:pt x="1253" y="272"/>
                  <a:pt x="1252" y="272"/>
                </a:cubicBezTo>
                <a:cubicBezTo>
                  <a:pt x="1252" y="272"/>
                  <a:pt x="1252" y="272"/>
                  <a:pt x="1252" y="281"/>
                </a:cubicBezTo>
                <a:cubicBezTo>
                  <a:pt x="1252" y="281"/>
                  <a:pt x="1252" y="281"/>
                  <a:pt x="1255" y="281"/>
                </a:cubicBezTo>
                <a:cubicBezTo>
                  <a:pt x="1264" y="281"/>
                  <a:pt x="1270" y="277"/>
                  <a:pt x="1270" y="268"/>
                </a:cubicBezTo>
                <a:cubicBezTo>
                  <a:pt x="1270" y="266"/>
                  <a:pt x="1270" y="263"/>
                  <a:pt x="1269" y="261"/>
                </a:cubicBezTo>
                <a:cubicBezTo>
                  <a:pt x="1269" y="258"/>
                  <a:pt x="1269" y="256"/>
                  <a:pt x="1269" y="254"/>
                </a:cubicBezTo>
                <a:cubicBezTo>
                  <a:pt x="1269" y="251"/>
                  <a:pt x="1269" y="248"/>
                  <a:pt x="1276" y="248"/>
                </a:cubicBezTo>
                <a:close/>
                <a:moveTo>
                  <a:pt x="1603" y="240"/>
                </a:moveTo>
                <a:cubicBezTo>
                  <a:pt x="1603" y="240"/>
                  <a:pt x="1603" y="240"/>
                  <a:pt x="1603" y="240"/>
                </a:cubicBezTo>
                <a:cubicBezTo>
                  <a:pt x="1603" y="248"/>
                  <a:pt x="1603" y="248"/>
                  <a:pt x="1603" y="248"/>
                </a:cubicBezTo>
                <a:cubicBezTo>
                  <a:pt x="1609" y="248"/>
                  <a:pt x="1610" y="251"/>
                  <a:pt x="1610" y="254"/>
                </a:cubicBezTo>
                <a:cubicBezTo>
                  <a:pt x="1610" y="256"/>
                  <a:pt x="1610" y="258"/>
                  <a:pt x="1610" y="261"/>
                </a:cubicBezTo>
                <a:cubicBezTo>
                  <a:pt x="1609" y="263"/>
                  <a:pt x="1609" y="266"/>
                  <a:pt x="1609" y="268"/>
                </a:cubicBezTo>
                <a:cubicBezTo>
                  <a:pt x="1609" y="277"/>
                  <a:pt x="1615" y="281"/>
                  <a:pt x="1623" y="281"/>
                </a:cubicBezTo>
                <a:cubicBezTo>
                  <a:pt x="1623" y="281"/>
                  <a:pt x="1623" y="281"/>
                  <a:pt x="1627" y="281"/>
                </a:cubicBezTo>
                <a:cubicBezTo>
                  <a:pt x="1627" y="281"/>
                  <a:pt x="1627" y="281"/>
                  <a:pt x="1627" y="272"/>
                </a:cubicBezTo>
                <a:cubicBezTo>
                  <a:pt x="1627" y="272"/>
                  <a:pt x="1627" y="272"/>
                  <a:pt x="1626" y="272"/>
                </a:cubicBezTo>
                <a:cubicBezTo>
                  <a:pt x="1622" y="272"/>
                  <a:pt x="1621" y="269"/>
                  <a:pt x="1621" y="266"/>
                </a:cubicBezTo>
                <a:cubicBezTo>
                  <a:pt x="1621" y="264"/>
                  <a:pt x="1621" y="263"/>
                  <a:pt x="1621" y="261"/>
                </a:cubicBezTo>
                <a:cubicBezTo>
                  <a:pt x="1621" y="259"/>
                  <a:pt x="1622" y="257"/>
                  <a:pt x="1622" y="255"/>
                </a:cubicBezTo>
                <a:cubicBezTo>
                  <a:pt x="1622" y="247"/>
                  <a:pt x="1619" y="245"/>
                  <a:pt x="1613" y="244"/>
                </a:cubicBezTo>
                <a:cubicBezTo>
                  <a:pt x="1613" y="244"/>
                  <a:pt x="1613" y="244"/>
                  <a:pt x="1613" y="243"/>
                </a:cubicBezTo>
                <a:cubicBezTo>
                  <a:pt x="1619" y="242"/>
                  <a:pt x="1622" y="240"/>
                  <a:pt x="1622" y="232"/>
                </a:cubicBezTo>
                <a:cubicBezTo>
                  <a:pt x="1622" y="230"/>
                  <a:pt x="1621" y="228"/>
                  <a:pt x="1621" y="226"/>
                </a:cubicBezTo>
                <a:cubicBezTo>
                  <a:pt x="1621" y="225"/>
                  <a:pt x="1621" y="223"/>
                  <a:pt x="1621" y="222"/>
                </a:cubicBezTo>
                <a:cubicBezTo>
                  <a:pt x="1621" y="218"/>
                  <a:pt x="1622" y="216"/>
                  <a:pt x="1626" y="216"/>
                </a:cubicBezTo>
                <a:cubicBezTo>
                  <a:pt x="1626" y="216"/>
                  <a:pt x="1626" y="216"/>
                  <a:pt x="1627" y="216"/>
                </a:cubicBezTo>
                <a:cubicBezTo>
                  <a:pt x="1627" y="216"/>
                  <a:pt x="1627" y="216"/>
                  <a:pt x="1627" y="206"/>
                </a:cubicBezTo>
                <a:cubicBezTo>
                  <a:pt x="1627" y="206"/>
                  <a:pt x="1627" y="206"/>
                  <a:pt x="1623" y="206"/>
                </a:cubicBezTo>
                <a:cubicBezTo>
                  <a:pt x="1614" y="206"/>
                  <a:pt x="1609" y="210"/>
                  <a:pt x="1609" y="219"/>
                </a:cubicBezTo>
                <a:cubicBezTo>
                  <a:pt x="1609" y="221"/>
                  <a:pt x="1609" y="224"/>
                  <a:pt x="1609" y="226"/>
                </a:cubicBezTo>
                <a:cubicBezTo>
                  <a:pt x="1610" y="229"/>
                  <a:pt x="1610" y="231"/>
                  <a:pt x="1610" y="233"/>
                </a:cubicBezTo>
                <a:cubicBezTo>
                  <a:pt x="1610" y="236"/>
                  <a:pt x="1609" y="239"/>
                  <a:pt x="1603" y="240"/>
                </a:cubicBezTo>
                <a:close/>
                <a:moveTo>
                  <a:pt x="1658" y="248"/>
                </a:moveTo>
                <a:cubicBezTo>
                  <a:pt x="1658" y="248"/>
                  <a:pt x="1658" y="248"/>
                  <a:pt x="1658" y="248"/>
                </a:cubicBezTo>
                <a:cubicBezTo>
                  <a:pt x="1658" y="240"/>
                  <a:pt x="1658" y="240"/>
                  <a:pt x="1658" y="240"/>
                </a:cubicBezTo>
                <a:cubicBezTo>
                  <a:pt x="1651" y="239"/>
                  <a:pt x="1651" y="236"/>
                  <a:pt x="1651" y="233"/>
                </a:cubicBezTo>
                <a:cubicBezTo>
                  <a:pt x="1651" y="231"/>
                  <a:pt x="1651" y="229"/>
                  <a:pt x="1651" y="226"/>
                </a:cubicBezTo>
                <a:cubicBezTo>
                  <a:pt x="1652" y="224"/>
                  <a:pt x="1652" y="221"/>
                  <a:pt x="1652" y="219"/>
                </a:cubicBezTo>
                <a:cubicBezTo>
                  <a:pt x="1652" y="210"/>
                  <a:pt x="1647" y="206"/>
                  <a:pt x="1637" y="206"/>
                </a:cubicBezTo>
                <a:cubicBezTo>
                  <a:pt x="1637" y="206"/>
                  <a:pt x="1637" y="206"/>
                  <a:pt x="1634" y="206"/>
                </a:cubicBezTo>
                <a:cubicBezTo>
                  <a:pt x="1634" y="206"/>
                  <a:pt x="1634" y="206"/>
                  <a:pt x="1634" y="216"/>
                </a:cubicBezTo>
                <a:cubicBezTo>
                  <a:pt x="1634" y="216"/>
                  <a:pt x="1634" y="216"/>
                  <a:pt x="1635" y="216"/>
                </a:cubicBezTo>
                <a:cubicBezTo>
                  <a:pt x="1639" y="216"/>
                  <a:pt x="1640" y="218"/>
                  <a:pt x="1640" y="222"/>
                </a:cubicBezTo>
                <a:cubicBezTo>
                  <a:pt x="1640" y="223"/>
                  <a:pt x="1640" y="225"/>
                  <a:pt x="1640" y="226"/>
                </a:cubicBezTo>
                <a:cubicBezTo>
                  <a:pt x="1640" y="228"/>
                  <a:pt x="1640" y="230"/>
                  <a:pt x="1640" y="232"/>
                </a:cubicBezTo>
                <a:cubicBezTo>
                  <a:pt x="1640" y="240"/>
                  <a:pt x="1642" y="242"/>
                  <a:pt x="1648" y="243"/>
                </a:cubicBezTo>
                <a:cubicBezTo>
                  <a:pt x="1648" y="243"/>
                  <a:pt x="1648" y="243"/>
                  <a:pt x="1648" y="244"/>
                </a:cubicBezTo>
                <a:cubicBezTo>
                  <a:pt x="1642" y="245"/>
                  <a:pt x="1640" y="247"/>
                  <a:pt x="1640" y="255"/>
                </a:cubicBezTo>
                <a:cubicBezTo>
                  <a:pt x="1640" y="257"/>
                  <a:pt x="1640" y="259"/>
                  <a:pt x="1640" y="261"/>
                </a:cubicBezTo>
                <a:cubicBezTo>
                  <a:pt x="1640" y="263"/>
                  <a:pt x="1640" y="264"/>
                  <a:pt x="1640" y="266"/>
                </a:cubicBezTo>
                <a:cubicBezTo>
                  <a:pt x="1640" y="269"/>
                  <a:pt x="1639" y="272"/>
                  <a:pt x="1635" y="272"/>
                </a:cubicBezTo>
                <a:cubicBezTo>
                  <a:pt x="1635" y="272"/>
                  <a:pt x="1635" y="272"/>
                  <a:pt x="1634" y="272"/>
                </a:cubicBezTo>
                <a:cubicBezTo>
                  <a:pt x="1634" y="272"/>
                  <a:pt x="1634" y="272"/>
                  <a:pt x="1634" y="281"/>
                </a:cubicBezTo>
                <a:cubicBezTo>
                  <a:pt x="1634" y="281"/>
                  <a:pt x="1634" y="281"/>
                  <a:pt x="1637" y="281"/>
                </a:cubicBezTo>
                <a:cubicBezTo>
                  <a:pt x="1646" y="281"/>
                  <a:pt x="1652" y="277"/>
                  <a:pt x="1652" y="268"/>
                </a:cubicBezTo>
                <a:cubicBezTo>
                  <a:pt x="1652" y="266"/>
                  <a:pt x="1652" y="263"/>
                  <a:pt x="1651" y="261"/>
                </a:cubicBezTo>
                <a:cubicBezTo>
                  <a:pt x="1651" y="258"/>
                  <a:pt x="1651" y="256"/>
                  <a:pt x="1651" y="254"/>
                </a:cubicBezTo>
                <a:cubicBezTo>
                  <a:pt x="1651" y="251"/>
                  <a:pt x="1651" y="248"/>
                  <a:pt x="1658" y="248"/>
                </a:cubicBezTo>
                <a:close/>
                <a:moveTo>
                  <a:pt x="1705" y="207"/>
                </a:moveTo>
                <a:cubicBezTo>
                  <a:pt x="1705" y="207"/>
                  <a:pt x="1705" y="207"/>
                  <a:pt x="1705" y="207"/>
                </a:cubicBezTo>
                <a:cubicBezTo>
                  <a:pt x="1700" y="207"/>
                  <a:pt x="1700" y="207"/>
                  <a:pt x="1700" y="207"/>
                </a:cubicBezTo>
                <a:cubicBezTo>
                  <a:pt x="1698" y="209"/>
                  <a:pt x="1697" y="210"/>
                  <a:pt x="1694" y="211"/>
                </a:cubicBezTo>
                <a:cubicBezTo>
                  <a:pt x="1693" y="212"/>
                  <a:pt x="1691" y="213"/>
                  <a:pt x="1689" y="214"/>
                </a:cubicBezTo>
                <a:cubicBezTo>
                  <a:pt x="1687" y="215"/>
                  <a:pt x="1686" y="215"/>
                  <a:pt x="1684" y="216"/>
                </a:cubicBezTo>
                <a:cubicBezTo>
                  <a:pt x="1682" y="217"/>
                  <a:pt x="1681" y="217"/>
                  <a:pt x="1678" y="218"/>
                </a:cubicBezTo>
                <a:cubicBezTo>
                  <a:pt x="1678" y="218"/>
                  <a:pt x="1678" y="218"/>
                  <a:pt x="1678" y="228"/>
                </a:cubicBezTo>
                <a:cubicBezTo>
                  <a:pt x="1681" y="228"/>
                  <a:pt x="1684" y="226"/>
                  <a:pt x="1686" y="225"/>
                </a:cubicBezTo>
                <a:cubicBezTo>
                  <a:pt x="1689" y="225"/>
                  <a:pt x="1691" y="223"/>
                  <a:pt x="1694" y="222"/>
                </a:cubicBezTo>
                <a:cubicBezTo>
                  <a:pt x="1694" y="222"/>
                  <a:pt x="1694" y="222"/>
                  <a:pt x="1694" y="281"/>
                </a:cubicBezTo>
                <a:cubicBezTo>
                  <a:pt x="1694" y="281"/>
                  <a:pt x="1694" y="281"/>
                  <a:pt x="1705" y="281"/>
                </a:cubicBezTo>
                <a:cubicBezTo>
                  <a:pt x="1705" y="281"/>
                  <a:pt x="1705" y="281"/>
                  <a:pt x="1705" y="207"/>
                </a:cubicBezTo>
                <a:close/>
                <a:moveTo>
                  <a:pt x="1752" y="207"/>
                </a:moveTo>
                <a:cubicBezTo>
                  <a:pt x="1752" y="207"/>
                  <a:pt x="1752" y="207"/>
                  <a:pt x="1752" y="207"/>
                </a:cubicBezTo>
                <a:cubicBezTo>
                  <a:pt x="1747" y="207"/>
                  <a:pt x="1747" y="207"/>
                  <a:pt x="1747" y="207"/>
                </a:cubicBezTo>
                <a:cubicBezTo>
                  <a:pt x="1745" y="209"/>
                  <a:pt x="1744" y="210"/>
                  <a:pt x="1742" y="211"/>
                </a:cubicBezTo>
                <a:cubicBezTo>
                  <a:pt x="1740" y="212"/>
                  <a:pt x="1738" y="213"/>
                  <a:pt x="1737" y="214"/>
                </a:cubicBezTo>
                <a:cubicBezTo>
                  <a:pt x="1735" y="215"/>
                  <a:pt x="1733" y="216"/>
                  <a:pt x="1732" y="217"/>
                </a:cubicBezTo>
                <a:cubicBezTo>
                  <a:pt x="1730" y="217"/>
                  <a:pt x="1728" y="218"/>
                  <a:pt x="1726" y="218"/>
                </a:cubicBezTo>
                <a:cubicBezTo>
                  <a:pt x="1726" y="218"/>
                  <a:pt x="1726" y="218"/>
                  <a:pt x="1726" y="228"/>
                </a:cubicBezTo>
                <a:cubicBezTo>
                  <a:pt x="1729" y="228"/>
                  <a:pt x="1732" y="227"/>
                  <a:pt x="1734" y="225"/>
                </a:cubicBezTo>
                <a:cubicBezTo>
                  <a:pt x="1737" y="225"/>
                  <a:pt x="1739" y="223"/>
                  <a:pt x="1741" y="222"/>
                </a:cubicBezTo>
                <a:cubicBezTo>
                  <a:pt x="1741" y="222"/>
                  <a:pt x="1741" y="222"/>
                  <a:pt x="1741" y="281"/>
                </a:cubicBezTo>
                <a:cubicBezTo>
                  <a:pt x="1741" y="281"/>
                  <a:pt x="1741" y="281"/>
                  <a:pt x="1752" y="281"/>
                </a:cubicBezTo>
                <a:cubicBezTo>
                  <a:pt x="1752" y="281"/>
                  <a:pt x="1752" y="281"/>
                  <a:pt x="1752" y="207"/>
                </a:cubicBezTo>
                <a:close/>
                <a:moveTo>
                  <a:pt x="1799" y="207"/>
                </a:moveTo>
                <a:cubicBezTo>
                  <a:pt x="1799" y="207"/>
                  <a:pt x="1799" y="207"/>
                  <a:pt x="1799" y="207"/>
                </a:cubicBezTo>
                <a:cubicBezTo>
                  <a:pt x="1795" y="207"/>
                  <a:pt x="1795" y="207"/>
                  <a:pt x="1795" y="207"/>
                </a:cubicBezTo>
                <a:cubicBezTo>
                  <a:pt x="1792" y="209"/>
                  <a:pt x="1791" y="210"/>
                  <a:pt x="1789" y="211"/>
                </a:cubicBezTo>
                <a:cubicBezTo>
                  <a:pt x="1787" y="212"/>
                  <a:pt x="1785" y="213"/>
                  <a:pt x="1784" y="214"/>
                </a:cubicBezTo>
                <a:cubicBezTo>
                  <a:pt x="1782" y="215"/>
                  <a:pt x="1780" y="216"/>
                  <a:pt x="1778" y="217"/>
                </a:cubicBezTo>
                <a:cubicBezTo>
                  <a:pt x="1777" y="217"/>
                  <a:pt x="1774" y="218"/>
                  <a:pt x="1773" y="218"/>
                </a:cubicBezTo>
                <a:cubicBezTo>
                  <a:pt x="1773" y="218"/>
                  <a:pt x="1773" y="218"/>
                  <a:pt x="1773" y="228"/>
                </a:cubicBezTo>
                <a:cubicBezTo>
                  <a:pt x="1776" y="228"/>
                  <a:pt x="1779" y="227"/>
                  <a:pt x="1781" y="225"/>
                </a:cubicBezTo>
                <a:cubicBezTo>
                  <a:pt x="1783" y="225"/>
                  <a:pt x="1786" y="223"/>
                  <a:pt x="1787" y="222"/>
                </a:cubicBezTo>
                <a:cubicBezTo>
                  <a:pt x="1787" y="222"/>
                  <a:pt x="1787" y="222"/>
                  <a:pt x="1787" y="281"/>
                </a:cubicBezTo>
                <a:cubicBezTo>
                  <a:pt x="1787" y="281"/>
                  <a:pt x="1787" y="281"/>
                  <a:pt x="1799" y="281"/>
                </a:cubicBezTo>
                <a:cubicBezTo>
                  <a:pt x="1799" y="281"/>
                  <a:pt x="1799" y="281"/>
                  <a:pt x="1799" y="207"/>
                </a:cubicBezTo>
                <a:close/>
                <a:moveTo>
                  <a:pt x="1922" y="207"/>
                </a:moveTo>
                <a:cubicBezTo>
                  <a:pt x="1922" y="207"/>
                  <a:pt x="1922" y="207"/>
                  <a:pt x="1922" y="207"/>
                </a:cubicBezTo>
                <a:cubicBezTo>
                  <a:pt x="1917" y="207"/>
                  <a:pt x="1917" y="207"/>
                  <a:pt x="1917" y="207"/>
                </a:cubicBezTo>
                <a:cubicBezTo>
                  <a:pt x="1915" y="209"/>
                  <a:pt x="1914" y="210"/>
                  <a:pt x="1911" y="211"/>
                </a:cubicBezTo>
                <a:cubicBezTo>
                  <a:pt x="1910" y="212"/>
                  <a:pt x="1908" y="213"/>
                  <a:pt x="1906" y="214"/>
                </a:cubicBezTo>
                <a:cubicBezTo>
                  <a:pt x="1905" y="215"/>
                  <a:pt x="1903" y="216"/>
                  <a:pt x="1901" y="217"/>
                </a:cubicBezTo>
                <a:cubicBezTo>
                  <a:pt x="1899" y="217"/>
                  <a:pt x="1898" y="218"/>
                  <a:pt x="1895" y="218"/>
                </a:cubicBezTo>
                <a:cubicBezTo>
                  <a:pt x="1895" y="218"/>
                  <a:pt x="1895" y="218"/>
                  <a:pt x="1895" y="228"/>
                </a:cubicBezTo>
                <a:cubicBezTo>
                  <a:pt x="1898" y="228"/>
                  <a:pt x="1901" y="227"/>
                  <a:pt x="1904" y="225"/>
                </a:cubicBezTo>
                <a:cubicBezTo>
                  <a:pt x="1906" y="225"/>
                  <a:pt x="1908" y="223"/>
                  <a:pt x="1911" y="222"/>
                </a:cubicBezTo>
                <a:cubicBezTo>
                  <a:pt x="1911" y="222"/>
                  <a:pt x="1911" y="222"/>
                  <a:pt x="1911" y="281"/>
                </a:cubicBezTo>
                <a:cubicBezTo>
                  <a:pt x="1911" y="281"/>
                  <a:pt x="1911" y="281"/>
                  <a:pt x="1922" y="281"/>
                </a:cubicBezTo>
                <a:cubicBezTo>
                  <a:pt x="1922" y="281"/>
                  <a:pt x="1922" y="281"/>
                  <a:pt x="1922" y="207"/>
                </a:cubicBezTo>
                <a:close/>
                <a:moveTo>
                  <a:pt x="1820" y="240"/>
                </a:moveTo>
                <a:cubicBezTo>
                  <a:pt x="1820" y="240"/>
                  <a:pt x="1820" y="240"/>
                  <a:pt x="1820" y="240"/>
                </a:cubicBezTo>
                <a:cubicBezTo>
                  <a:pt x="1820" y="248"/>
                  <a:pt x="1820" y="248"/>
                  <a:pt x="1820" y="248"/>
                </a:cubicBezTo>
                <a:cubicBezTo>
                  <a:pt x="1826" y="248"/>
                  <a:pt x="1827" y="251"/>
                  <a:pt x="1827" y="254"/>
                </a:cubicBezTo>
                <a:cubicBezTo>
                  <a:pt x="1827" y="256"/>
                  <a:pt x="1826" y="258"/>
                  <a:pt x="1826" y="261"/>
                </a:cubicBezTo>
                <a:cubicBezTo>
                  <a:pt x="1826" y="263"/>
                  <a:pt x="1826" y="266"/>
                  <a:pt x="1826" y="268"/>
                </a:cubicBezTo>
                <a:cubicBezTo>
                  <a:pt x="1826" y="277"/>
                  <a:pt x="1832" y="281"/>
                  <a:pt x="1840" y="281"/>
                </a:cubicBezTo>
                <a:cubicBezTo>
                  <a:pt x="1840" y="281"/>
                  <a:pt x="1840" y="281"/>
                  <a:pt x="1844" y="281"/>
                </a:cubicBezTo>
                <a:cubicBezTo>
                  <a:pt x="1844" y="281"/>
                  <a:pt x="1844" y="281"/>
                  <a:pt x="1844" y="272"/>
                </a:cubicBezTo>
                <a:cubicBezTo>
                  <a:pt x="1844" y="272"/>
                  <a:pt x="1844" y="272"/>
                  <a:pt x="1843" y="272"/>
                </a:cubicBezTo>
                <a:cubicBezTo>
                  <a:pt x="1839" y="272"/>
                  <a:pt x="1838" y="269"/>
                  <a:pt x="1838" y="266"/>
                </a:cubicBezTo>
                <a:cubicBezTo>
                  <a:pt x="1838" y="264"/>
                  <a:pt x="1838" y="263"/>
                  <a:pt x="1838" y="261"/>
                </a:cubicBezTo>
                <a:cubicBezTo>
                  <a:pt x="1838" y="259"/>
                  <a:pt x="1838" y="257"/>
                  <a:pt x="1838" y="255"/>
                </a:cubicBezTo>
                <a:cubicBezTo>
                  <a:pt x="1838" y="247"/>
                  <a:pt x="1835" y="245"/>
                  <a:pt x="1830" y="244"/>
                </a:cubicBezTo>
                <a:cubicBezTo>
                  <a:pt x="1830" y="244"/>
                  <a:pt x="1830" y="244"/>
                  <a:pt x="1830" y="243"/>
                </a:cubicBezTo>
                <a:cubicBezTo>
                  <a:pt x="1835" y="242"/>
                  <a:pt x="1838" y="240"/>
                  <a:pt x="1838" y="232"/>
                </a:cubicBezTo>
                <a:cubicBezTo>
                  <a:pt x="1838" y="230"/>
                  <a:pt x="1838" y="228"/>
                  <a:pt x="1838" y="226"/>
                </a:cubicBezTo>
                <a:cubicBezTo>
                  <a:pt x="1838" y="225"/>
                  <a:pt x="1838" y="223"/>
                  <a:pt x="1838" y="222"/>
                </a:cubicBezTo>
                <a:cubicBezTo>
                  <a:pt x="1838" y="218"/>
                  <a:pt x="1839" y="216"/>
                  <a:pt x="1843" y="216"/>
                </a:cubicBezTo>
                <a:cubicBezTo>
                  <a:pt x="1843" y="216"/>
                  <a:pt x="1843" y="216"/>
                  <a:pt x="1844" y="216"/>
                </a:cubicBezTo>
                <a:cubicBezTo>
                  <a:pt x="1844" y="216"/>
                  <a:pt x="1844" y="216"/>
                  <a:pt x="1844" y="206"/>
                </a:cubicBezTo>
                <a:cubicBezTo>
                  <a:pt x="1844" y="206"/>
                  <a:pt x="1844" y="206"/>
                  <a:pt x="1840" y="206"/>
                </a:cubicBezTo>
                <a:cubicBezTo>
                  <a:pt x="1831" y="206"/>
                  <a:pt x="1826" y="210"/>
                  <a:pt x="1826" y="219"/>
                </a:cubicBezTo>
                <a:cubicBezTo>
                  <a:pt x="1826" y="221"/>
                  <a:pt x="1826" y="224"/>
                  <a:pt x="1826" y="226"/>
                </a:cubicBezTo>
                <a:cubicBezTo>
                  <a:pt x="1826" y="229"/>
                  <a:pt x="1827" y="231"/>
                  <a:pt x="1827" y="233"/>
                </a:cubicBezTo>
                <a:cubicBezTo>
                  <a:pt x="1827" y="236"/>
                  <a:pt x="1826" y="239"/>
                  <a:pt x="1820" y="240"/>
                </a:cubicBezTo>
                <a:close/>
                <a:moveTo>
                  <a:pt x="1875" y="248"/>
                </a:moveTo>
                <a:cubicBezTo>
                  <a:pt x="1875" y="248"/>
                  <a:pt x="1875" y="248"/>
                  <a:pt x="1875" y="248"/>
                </a:cubicBezTo>
                <a:cubicBezTo>
                  <a:pt x="1875" y="240"/>
                  <a:pt x="1875" y="240"/>
                  <a:pt x="1875" y="240"/>
                </a:cubicBezTo>
                <a:cubicBezTo>
                  <a:pt x="1868" y="239"/>
                  <a:pt x="1868" y="236"/>
                  <a:pt x="1868" y="233"/>
                </a:cubicBezTo>
                <a:cubicBezTo>
                  <a:pt x="1868" y="231"/>
                  <a:pt x="1868" y="229"/>
                  <a:pt x="1868" y="226"/>
                </a:cubicBezTo>
                <a:cubicBezTo>
                  <a:pt x="1869" y="224"/>
                  <a:pt x="1869" y="221"/>
                  <a:pt x="1869" y="219"/>
                </a:cubicBezTo>
                <a:cubicBezTo>
                  <a:pt x="1869" y="210"/>
                  <a:pt x="1864" y="206"/>
                  <a:pt x="1854" y="206"/>
                </a:cubicBezTo>
                <a:cubicBezTo>
                  <a:pt x="1854" y="206"/>
                  <a:pt x="1854" y="206"/>
                  <a:pt x="1851" y="206"/>
                </a:cubicBezTo>
                <a:cubicBezTo>
                  <a:pt x="1851" y="206"/>
                  <a:pt x="1851" y="206"/>
                  <a:pt x="1851" y="216"/>
                </a:cubicBezTo>
                <a:cubicBezTo>
                  <a:pt x="1851" y="216"/>
                  <a:pt x="1851" y="216"/>
                  <a:pt x="1852" y="216"/>
                </a:cubicBezTo>
                <a:cubicBezTo>
                  <a:pt x="1856" y="216"/>
                  <a:pt x="1857" y="218"/>
                  <a:pt x="1857" y="222"/>
                </a:cubicBezTo>
                <a:cubicBezTo>
                  <a:pt x="1857" y="223"/>
                  <a:pt x="1857" y="225"/>
                  <a:pt x="1857" y="226"/>
                </a:cubicBezTo>
                <a:cubicBezTo>
                  <a:pt x="1857" y="228"/>
                  <a:pt x="1857" y="230"/>
                  <a:pt x="1857" y="232"/>
                </a:cubicBezTo>
                <a:cubicBezTo>
                  <a:pt x="1857" y="240"/>
                  <a:pt x="1859" y="242"/>
                  <a:pt x="1865" y="243"/>
                </a:cubicBezTo>
                <a:cubicBezTo>
                  <a:pt x="1865" y="243"/>
                  <a:pt x="1865" y="243"/>
                  <a:pt x="1865" y="244"/>
                </a:cubicBezTo>
                <a:cubicBezTo>
                  <a:pt x="1859" y="245"/>
                  <a:pt x="1857" y="247"/>
                  <a:pt x="1857" y="255"/>
                </a:cubicBezTo>
                <a:cubicBezTo>
                  <a:pt x="1857" y="257"/>
                  <a:pt x="1857" y="259"/>
                  <a:pt x="1857" y="261"/>
                </a:cubicBezTo>
                <a:cubicBezTo>
                  <a:pt x="1857" y="263"/>
                  <a:pt x="1857" y="264"/>
                  <a:pt x="1857" y="266"/>
                </a:cubicBezTo>
                <a:cubicBezTo>
                  <a:pt x="1857" y="269"/>
                  <a:pt x="1856" y="272"/>
                  <a:pt x="1852" y="272"/>
                </a:cubicBezTo>
                <a:cubicBezTo>
                  <a:pt x="1852" y="272"/>
                  <a:pt x="1852" y="272"/>
                  <a:pt x="1851" y="272"/>
                </a:cubicBezTo>
                <a:cubicBezTo>
                  <a:pt x="1851" y="272"/>
                  <a:pt x="1851" y="272"/>
                  <a:pt x="1851" y="281"/>
                </a:cubicBezTo>
                <a:cubicBezTo>
                  <a:pt x="1851" y="281"/>
                  <a:pt x="1851" y="281"/>
                  <a:pt x="1854" y="281"/>
                </a:cubicBezTo>
                <a:cubicBezTo>
                  <a:pt x="1863" y="281"/>
                  <a:pt x="1869" y="277"/>
                  <a:pt x="1869" y="268"/>
                </a:cubicBezTo>
                <a:cubicBezTo>
                  <a:pt x="1869" y="266"/>
                  <a:pt x="1869" y="263"/>
                  <a:pt x="1868" y="261"/>
                </a:cubicBezTo>
                <a:cubicBezTo>
                  <a:pt x="1868" y="258"/>
                  <a:pt x="1868" y="256"/>
                  <a:pt x="1868" y="254"/>
                </a:cubicBezTo>
                <a:cubicBezTo>
                  <a:pt x="1868" y="251"/>
                  <a:pt x="1868" y="248"/>
                  <a:pt x="1875" y="248"/>
                </a:cubicBezTo>
                <a:close/>
                <a:moveTo>
                  <a:pt x="1016" y="159"/>
                </a:moveTo>
                <a:cubicBezTo>
                  <a:pt x="1016" y="160"/>
                  <a:pt x="1017" y="161"/>
                  <a:pt x="1017" y="163"/>
                </a:cubicBezTo>
                <a:cubicBezTo>
                  <a:pt x="1018" y="164"/>
                  <a:pt x="1018" y="166"/>
                  <a:pt x="1019" y="168"/>
                </a:cubicBezTo>
                <a:cubicBezTo>
                  <a:pt x="1019" y="170"/>
                  <a:pt x="1019" y="171"/>
                  <a:pt x="1019" y="173"/>
                </a:cubicBezTo>
                <a:cubicBezTo>
                  <a:pt x="1020" y="176"/>
                  <a:pt x="1019" y="178"/>
                  <a:pt x="1015" y="178"/>
                </a:cubicBezTo>
                <a:cubicBezTo>
                  <a:pt x="1013" y="178"/>
                  <a:pt x="1010" y="177"/>
                  <a:pt x="1007" y="177"/>
                </a:cubicBezTo>
                <a:cubicBezTo>
                  <a:pt x="1007" y="177"/>
                  <a:pt x="1006" y="177"/>
                  <a:pt x="1006" y="178"/>
                </a:cubicBezTo>
                <a:cubicBezTo>
                  <a:pt x="1004" y="179"/>
                  <a:pt x="1002" y="180"/>
                  <a:pt x="1001" y="182"/>
                </a:cubicBezTo>
                <a:cubicBezTo>
                  <a:pt x="999" y="184"/>
                  <a:pt x="996" y="185"/>
                  <a:pt x="994" y="183"/>
                </a:cubicBezTo>
                <a:cubicBezTo>
                  <a:pt x="992" y="180"/>
                  <a:pt x="991" y="178"/>
                  <a:pt x="989" y="175"/>
                </a:cubicBezTo>
                <a:cubicBezTo>
                  <a:pt x="988" y="174"/>
                  <a:pt x="989" y="172"/>
                  <a:pt x="991" y="170"/>
                </a:cubicBezTo>
                <a:cubicBezTo>
                  <a:pt x="988" y="170"/>
                  <a:pt x="987" y="170"/>
                  <a:pt x="985" y="170"/>
                </a:cubicBezTo>
                <a:cubicBezTo>
                  <a:pt x="984" y="172"/>
                  <a:pt x="983" y="174"/>
                  <a:pt x="982" y="176"/>
                </a:cubicBezTo>
                <a:cubicBezTo>
                  <a:pt x="982" y="177"/>
                  <a:pt x="982" y="178"/>
                  <a:pt x="982" y="179"/>
                </a:cubicBezTo>
                <a:cubicBezTo>
                  <a:pt x="982" y="182"/>
                  <a:pt x="981" y="183"/>
                  <a:pt x="978" y="183"/>
                </a:cubicBezTo>
                <a:cubicBezTo>
                  <a:pt x="974" y="182"/>
                  <a:pt x="972" y="182"/>
                  <a:pt x="969" y="180"/>
                </a:cubicBezTo>
                <a:cubicBezTo>
                  <a:pt x="967" y="180"/>
                  <a:pt x="966" y="178"/>
                  <a:pt x="967" y="176"/>
                </a:cubicBezTo>
                <a:cubicBezTo>
                  <a:pt x="967" y="176"/>
                  <a:pt x="967" y="175"/>
                  <a:pt x="967" y="175"/>
                </a:cubicBezTo>
                <a:cubicBezTo>
                  <a:pt x="965" y="174"/>
                  <a:pt x="963" y="173"/>
                  <a:pt x="961" y="171"/>
                </a:cubicBezTo>
                <a:cubicBezTo>
                  <a:pt x="959" y="170"/>
                  <a:pt x="958" y="168"/>
                  <a:pt x="958" y="167"/>
                </a:cubicBezTo>
                <a:cubicBezTo>
                  <a:pt x="957" y="165"/>
                  <a:pt x="957" y="163"/>
                  <a:pt x="959" y="162"/>
                </a:cubicBezTo>
                <a:cubicBezTo>
                  <a:pt x="962" y="159"/>
                  <a:pt x="963" y="157"/>
                  <a:pt x="962" y="153"/>
                </a:cubicBezTo>
                <a:cubicBezTo>
                  <a:pt x="962" y="151"/>
                  <a:pt x="962" y="148"/>
                  <a:pt x="962" y="147"/>
                </a:cubicBezTo>
                <a:cubicBezTo>
                  <a:pt x="961" y="146"/>
                  <a:pt x="959" y="145"/>
                  <a:pt x="958" y="144"/>
                </a:cubicBezTo>
                <a:cubicBezTo>
                  <a:pt x="957" y="143"/>
                  <a:pt x="956" y="141"/>
                  <a:pt x="956" y="139"/>
                </a:cubicBezTo>
                <a:cubicBezTo>
                  <a:pt x="956" y="136"/>
                  <a:pt x="959" y="133"/>
                  <a:pt x="962" y="132"/>
                </a:cubicBezTo>
                <a:cubicBezTo>
                  <a:pt x="962" y="133"/>
                  <a:pt x="962" y="134"/>
                  <a:pt x="963" y="135"/>
                </a:cubicBezTo>
                <a:cubicBezTo>
                  <a:pt x="963" y="136"/>
                  <a:pt x="963" y="137"/>
                  <a:pt x="963" y="138"/>
                </a:cubicBezTo>
                <a:cubicBezTo>
                  <a:pt x="962" y="138"/>
                  <a:pt x="962" y="138"/>
                  <a:pt x="961" y="138"/>
                </a:cubicBezTo>
                <a:cubicBezTo>
                  <a:pt x="961" y="139"/>
                  <a:pt x="961" y="140"/>
                  <a:pt x="960" y="142"/>
                </a:cubicBezTo>
                <a:cubicBezTo>
                  <a:pt x="961" y="142"/>
                  <a:pt x="962" y="142"/>
                  <a:pt x="962" y="141"/>
                </a:cubicBezTo>
                <a:cubicBezTo>
                  <a:pt x="963" y="140"/>
                  <a:pt x="964" y="139"/>
                  <a:pt x="965" y="138"/>
                </a:cubicBezTo>
                <a:cubicBezTo>
                  <a:pt x="969" y="131"/>
                  <a:pt x="975" y="127"/>
                  <a:pt x="983" y="126"/>
                </a:cubicBezTo>
                <a:cubicBezTo>
                  <a:pt x="986" y="125"/>
                  <a:pt x="989" y="124"/>
                  <a:pt x="992" y="121"/>
                </a:cubicBezTo>
                <a:cubicBezTo>
                  <a:pt x="992" y="121"/>
                  <a:pt x="993" y="121"/>
                  <a:pt x="993" y="121"/>
                </a:cubicBezTo>
                <a:cubicBezTo>
                  <a:pt x="996" y="120"/>
                  <a:pt x="997" y="118"/>
                  <a:pt x="999" y="116"/>
                </a:cubicBezTo>
                <a:cubicBezTo>
                  <a:pt x="1007" y="108"/>
                  <a:pt x="1019" y="108"/>
                  <a:pt x="1026" y="115"/>
                </a:cubicBezTo>
                <a:cubicBezTo>
                  <a:pt x="1029" y="117"/>
                  <a:pt x="1032" y="119"/>
                  <a:pt x="1034" y="121"/>
                </a:cubicBezTo>
                <a:cubicBezTo>
                  <a:pt x="1036" y="122"/>
                  <a:pt x="1037" y="123"/>
                  <a:pt x="1038" y="125"/>
                </a:cubicBezTo>
                <a:cubicBezTo>
                  <a:pt x="1039" y="127"/>
                  <a:pt x="1039" y="127"/>
                  <a:pt x="1041" y="126"/>
                </a:cubicBezTo>
                <a:cubicBezTo>
                  <a:pt x="1041" y="125"/>
                  <a:pt x="1042" y="125"/>
                  <a:pt x="1043" y="124"/>
                </a:cubicBezTo>
                <a:cubicBezTo>
                  <a:pt x="1045" y="121"/>
                  <a:pt x="1048" y="121"/>
                  <a:pt x="1049" y="124"/>
                </a:cubicBezTo>
                <a:cubicBezTo>
                  <a:pt x="1051" y="127"/>
                  <a:pt x="1051" y="130"/>
                  <a:pt x="1052" y="133"/>
                </a:cubicBezTo>
                <a:cubicBezTo>
                  <a:pt x="1052" y="138"/>
                  <a:pt x="1052" y="142"/>
                  <a:pt x="1051" y="146"/>
                </a:cubicBezTo>
                <a:cubicBezTo>
                  <a:pt x="1048" y="153"/>
                  <a:pt x="1043" y="156"/>
                  <a:pt x="1037" y="156"/>
                </a:cubicBezTo>
                <a:cubicBezTo>
                  <a:pt x="1036" y="156"/>
                  <a:pt x="1036" y="156"/>
                  <a:pt x="1035" y="156"/>
                </a:cubicBezTo>
                <a:cubicBezTo>
                  <a:pt x="1032" y="156"/>
                  <a:pt x="1031" y="156"/>
                  <a:pt x="1030" y="159"/>
                </a:cubicBezTo>
                <a:cubicBezTo>
                  <a:pt x="1029" y="163"/>
                  <a:pt x="1023" y="164"/>
                  <a:pt x="1020" y="161"/>
                </a:cubicBezTo>
                <a:cubicBezTo>
                  <a:pt x="1019" y="160"/>
                  <a:pt x="1018" y="159"/>
                  <a:pt x="1017" y="158"/>
                </a:cubicBezTo>
                <a:cubicBezTo>
                  <a:pt x="1016" y="159"/>
                  <a:pt x="1016" y="159"/>
                  <a:pt x="1016" y="159"/>
                </a:cubicBezTo>
                <a:close/>
                <a:moveTo>
                  <a:pt x="1010" y="154"/>
                </a:moveTo>
                <a:cubicBezTo>
                  <a:pt x="1014" y="156"/>
                  <a:pt x="1017" y="157"/>
                  <a:pt x="1020" y="160"/>
                </a:cubicBezTo>
                <a:cubicBezTo>
                  <a:pt x="1022" y="161"/>
                  <a:pt x="1024" y="162"/>
                  <a:pt x="1026" y="161"/>
                </a:cubicBezTo>
                <a:cubicBezTo>
                  <a:pt x="1028" y="161"/>
                  <a:pt x="1030" y="159"/>
                  <a:pt x="1030" y="155"/>
                </a:cubicBezTo>
                <a:cubicBezTo>
                  <a:pt x="1030" y="156"/>
                  <a:pt x="1029" y="156"/>
                  <a:pt x="1029" y="156"/>
                </a:cubicBezTo>
                <a:cubicBezTo>
                  <a:pt x="1028" y="158"/>
                  <a:pt x="1027" y="159"/>
                  <a:pt x="1026" y="160"/>
                </a:cubicBezTo>
                <a:cubicBezTo>
                  <a:pt x="1025" y="161"/>
                  <a:pt x="1024" y="161"/>
                  <a:pt x="1023" y="160"/>
                </a:cubicBezTo>
                <a:cubicBezTo>
                  <a:pt x="1023" y="160"/>
                  <a:pt x="1022" y="159"/>
                  <a:pt x="1022" y="158"/>
                </a:cubicBezTo>
                <a:cubicBezTo>
                  <a:pt x="1022" y="156"/>
                  <a:pt x="1023" y="154"/>
                  <a:pt x="1023" y="152"/>
                </a:cubicBezTo>
                <a:cubicBezTo>
                  <a:pt x="1026" y="153"/>
                  <a:pt x="1029" y="154"/>
                  <a:pt x="1033" y="154"/>
                </a:cubicBezTo>
                <a:cubicBezTo>
                  <a:pt x="1040" y="155"/>
                  <a:pt x="1046" y="154"/>
                  <a:pt x="1049" y="145"/>
                </a:cubicBezTo>
                <a:cubicBezTo>
                  <a:pt x="1051" y="140"/>
                  <a:pt x="1051" y="136"/>
                  <a:pt x="1050" y="130"/>
                </a:cubicBezTo>
                <a:cubicBezTo>
                  <a:pt x="1049" y="128"/>
                  <a:pt x="1049" y="127"/>
                  <a:pt x="1048" y="125"/>
                </a:cubicBezTo>
                <a:cubicBezTo>
                  <a:pt x="1047" y="123"/>
                  <a:pt x="1046" y="123"/>
                  <a:pt x="1045" y="125"/>
                </a:cubicBezTo>
                <a:cubicBezTo>
                  <a:pt x="1043" y="126"/>
                  <a:pt x="1041" y="128"/>
                  <a:pt x="1039" y="128"/>
                </a:cubicBezTo>
                <a:cubicBezTo>
                  <a:pt x="1039" y="129"/>
                  <a:pt x="1038" y="130"/>
                  <a:pt x="1038" y="131"/>
                </a:cubicBezTo>
                <a:cubicBezTo>
                  <a:pt x="1039" y="134"/>
                  <a:pt x="1038" y="137"/>
                  <a:pt x="1037" y="140"/>
                </a:cubicBezTo>
                <a:cubicBezTo>
                  <a:pt x="1037" y="138"/>
                  <a:pt x="1038" y="136"/>
                  <a:pt x="1038" y="135"/>
                </a:cubicBezTo>
                <a:cubicBezTo>
                  <a:pt x="1038" y="134"/>
                  <a:pt x="1037" y="134"/>
                  <a:pt x="1037" y="133"/>
                </a:cubicBezTo>
                <a:cubicBezTo>
                  <a:pt x="1036" y="134"/>
                  <a:pt x="1036" y="134"/>
                  <a:pt x="1036" y="134"/>
                </a:cubicBezTo>
                <a:cubicBezTo>
                  <a:pt x="1035" y="135"/>
                  <a:pt x="1034" y="137"/>
                  <a:pt x="1033" y="138"/>
                </a:cubicBezTo>
                <a:cubicBezTo>
                  <a:pt x="1033" y="138"/>
                  <a:pt x="1033" y="138"/>
                  <a:pt x="1033" y="138"/>
                </a:cubicBezTo>
                <a:cubicBezTo>
                  <a:pt x="1033" y="136"/>
                  <a:pt x="1034" y="135"/>
                  <a:pt x="1034" y="132"/>
                </a:cubicBezTo>
                <a:cubicBezTo>
                  <a:pt x="1033" y="133"/>
                  <a:pt x="1032" y="134"/>
                  <a:pt x="1032" y="134"/>
                </a:cubicBezTo>
                <a:cubicBezTo>
                  <a:pt x="1031" y="135"/>
                  <a:pt x="1031" y="136"/>
                  <a:pt x="1030" y="136"/>
                </a:cubicBezTo>
                <a:cubicBezTo>
                  <a:pt x="1031" y="133"/>
                  <a:pt x="1031" y="133"/>
                  <a:pt x="1037" y="132"/>
                </a:cubicBezTo>
                <a:cubicBezTo>
                  <a:pt x="1037" y="131"/>
                  <a:pt x="1036" y="130"/>
                  <a:pt x="1036" y="130"/>
                </a:cubicBezTo>
                <a:cubicBezTo>
                  <a:pt x="1033" y="131"/>
                  <a:pt x="1032" y="130"/>
                  <a:pt x="1032" y="127"/>
                </a:cubicBezTo>
                <a:cubicBezTo>
                  <a:pt x="1034" y="127"/>
                  <a:pt x="1035" y="126"/>
                  <a:pt x="1037" y="126"/>
                </a:cubicBezTo>
                <a:cubicBezTo>
                  <a:pt x="1035" y="124"/>
                  <a:pt x="1034" y="121"/>
                  <a:pt x="1030" y="121"/>
                </a:cubicBezTo>
                <a:cubicBezTo>
                  <a:pt x="1030" y="121"/>
                  <a:pt x="1030" y="120"/>
                  <a:pt x="1030" y="120"/>
                </a:cubicBezTo>
                <a:cubicBezTo>
                  <a:pt x="1027" y="118"/>
                  <a:pt x="1025" y="115"/>
                  <a:pt x="1022" y="113"/>
                </a:cubicBezTo>
                <a:cubicBezTo>
                  <a:pt x="1020" y="112"/>
                  <a:pt x="1017" y="111"/>
                  <a:pt x="1015" y="111"/>
                </a:cubicBezTo>
                <a:cubicBezTo>
                  <a:pt x="1012" y="112"/>
                  <a:pt x="1008" y="113"/>
                  <a:pt x="1005" y="114"/>
                </a:cubicBezTo>
                <a:cubicBezTo>
                  <a:pt x="1002" y="115"/>
                  <a:pt x="1000" y="117"/>
                  <a:pt x="998" y="120"/>
                </a:cubicBezTo>
                <a:cubicBezTo>
                  <a:pt x="1000" y="120"/>
                  <a:pt x="1001" y="120"/>
                  <a:pt x="1002" y="120"/>
                </a:cubicBezTo>
                <a:cubicBezTo>
                  <a:pt x="1002" y="120"/>
                  <a:pt x="1001" y="121"/>
                  <a:pt x="1000" y="121"/>
                </a:cubicBezTo>
                <a:cubicBezTo>
                  <a:pt x="998" y="121"/>
                  <a:pt x="995" y="121"/>
                  <a:pt x="993" y="123"/>
                </a:cubicBezTo>
                <a:cubicBezTo>
                  <a:pt x="989" y="127"/>
                  <a:pt x="985" y="130"/>
                  <a:pt x="982" y="135"/>
                </a:cubicBezTo>
                <a:cubicBezTo>
                  <a:pt x="980" y="137"/>
                  <a:pt x="980" y="139"/>
                  <a:pt x="978" y="142"/>
                </a:cubicBezTo>
                <a:cubicBezTo>
                  <a:pt x="978" y="142"/>
                  <a:pt x="978" y="143"/>
                  <a:pt x="979" y="143"/>
                </a:cubicBezTo>
                <a:cubicBezTo>
                  <a:pt x="980" y="145"/>
                  <a:pt x="981" y="147"/>
                  <a:pt x="983" y="149"/>
                </a:cubicBezTo>
                <a:cubicBezTo>
                  <a:pt x="984" y="147"/>
                  <a:pt x="985" y="146"/>
                  <a:pt x="986" y="145"/>
                </a:cubicBezTo>
                <a:cubicBezTo>
                  <a:pt x="986" y="146"/>
                  <a:pt x="985" y="147"/>
                  <a:pt x="985" y="149"/>
                </a:cubicBezTo>
                <a:cubicBezTo>
                  <a:pt x="984" y="150"/>
                  <a:pt x="983" y="151"/>
                  <a:pt x="983" y="153"/>
                </a:cubicBezTo>
                <a:cubicBezTo>
                  <a:pt x="982" y="153"/>
                  <a:pt x="983" y="155"/>
                  <a:pt x="983" y="155"/>
                </a:cubicBezTo>
                <a:cubicBezTo>
                  <a:pt x="985" y="159"/>
                  <a:pt x="989" y="159"/>
                  <a:pt x="993" y="157"/>
                </a:cubicBezTo>
                <a:cubicBezTo>
                  <a:pt x="995" y="155"/>
                  <a:pt x="998" y="154"/>
                  <a:pt x="1000" y="153"/>
                </a:cubicBezTo>
                <a:cubicBezTo>
                  <a:pt x="1002" y="153"/>
                  <a:pt x="1003" y="152"/>
                  <a:pt x="1003" y="151"/>
                </a:cubicBezTo>
                <a:cubicBezTo>
                  <a:pt x="1003" y="147"/>
                  <a:pt x="1003" y="144"/>
                  <a:pt x="1003" y="141"/>
                </a:cubicBezTo>
                <a:cubicBezTo>
                  <a:pt x="1003" y="138"/>
                  <a:pt x="1003" y="135"/>
                  <a:pt x="1003" y="132"/>
                </a:cubicBezTo>
                <a:cubicBezTo>
                  <a:pt x="1004" y="134"/>
                  <a:pt x="1004" y="137"/>
                  <a:pt x="1005" y="140"/>
                </a:cubicBezTo>
                <a:cubicBezTo>
                  <a:pt x="1006" y="144"/>
                  <a:pt x="1006" y="149"/>
                  <a:pt x="1004" y="153"/>
                </a:cubicBezTo>
                <a:cubicBezTo>
                  <a:pt x="1004" y="154"/>
                  <a:pt x="1003" y="155"/>
                  <a:pt x="1003" y="155"/>
                </a:cubicBezTo>
                <a:cubicBezTo>
                  <a:pt x="999" y="155"/>
                  <a:pt x="996" y="157"/>
                  <a:pt x="993" y="159"/>
                </a:cubicBezTo>
                <a:cubicBezTo>
                  <a:pt x="988" y="162"/>
                  <a:pt x="984" y="160"/>
                  <a:pt x="981" y="156"/>
                </a:cubicBezTo>
                <a:cubicBezTo>
                  <a:pt x="980" y="155"/>
                  <a:pt x="980" y="154"/>
                  <a:pt x="981" y="154"/>
                </a:cubicBezTo>
                <a:cubicBezTo>
                  <a:pt x="982" y="151"/>
                  <a:pt x="981" y="149"/>
                  <a:pt x="979" y="147"/>
                </a:cubicBezTo>
                <a:cubicBezTo>
                  <a:pt x="978" y="145"/>
                  <a:pt x="976" y="143"/>
                  <a:pt x="977" y="140"/>
                </a:cubicBezTo>
                <a:cubicBezTo>
                  <a:pt x="978" y="138"/>
                  <a:pt x="979" y="137"/>
                  <a:pt x="980" y="135"/>
                </a:cubicBezTo>
                <a:cubicBezTo>
                  <a:pt x="982" y="132"/>
                  <a:pt x="984" y="130"/>
                  <a:pt x="986" y="127"/>
                </a:cubicBezTo>
                <a:cubicBezTo>
                  <a:pt x="985" y="127"/>
                  <a:pt x="985" y="127"/>
                  <a:pt x="985" y="127"/>
                </a:cubicBezTo>
                <a:cubicBezTo>
                  <a:pt x="980" y="128"/>
                  <a:pt x="975" y="130"/>
                  <a:pt x="971" y="133"/>
                </a:cubicBezTo>
                <a:cubicBezTo>
                  <a:pt x="967" y="138"/>
                  <a:pt x="964" y="143"/>
                  <a:pt x="963" y="149"/>
                </a:cubicBezTo>
                <a:cubicBezTo>
                  <a:pt x="963" y="156"/>
                  <a:pt x="965" y="162"/>
                  <a:pt x="969" y="168"/>
                </a:cubicBezTo>
                <a:cubicBezTo>
                  <a:pt x="969" y="169"/>
                  <a:pt x="970" y="170"/>
                  <a:pt x="970" y="172"/>
                </a:cubicBezTo>
                <a:cubicBezTo>
                  <a:pt x="970" y="173"/>
                  <a:pt x="969" y="175"/>
                  <a:pt x="969" y="176"/>
                </a:cubicBezTo>
                <a:cubicBezTo>
                  <a:pt x="968" y="178"/>
                  <a:pt x="969" y="179"/>
                  <a:pt x="970" y="179"/>
                </a:cubicBezTo>
                <a:cubicBezTo>
                  <a:pt x="973" y="180"/>
                  <a:pt x="976" y="180"/>
                  <a:pt x="978" y="181"/>
                </a:cubicBezTo>
                <a:cubicBezTo>
                  <a:pt x="979" y="181"/>
                  <a:pt x="980" y="180"/>
                  <a:pt x="980" y="180"/>
                </a:cubicBezTo>
                <a:cubicBezTo>
                  <a:pt x="980" y="178"/>
                  <a:pt x="980" y="177"/>
                  <a:pt x="981" y="176"/>
                </a:cubicBezTo>
                <a:cubicBezTo>
                  <a:pt x="983" y="174"/>
                  <a:pt x="983" y="171"/>
                  <a:pt x="983" y="168"/>
                </a:cubicBezTo>
                <a:cubicBezTo>
                  <a:pt x="983" y="168"/>
                  <a:pt x="983" y="167"/>
                  <a:pt x="983" y="167"/>
                </a:cubicBezTo>
                <a:cubicBezTo>
                  <a:pt x="983" y="166"/>
                  <a:pt x="983" y="166"/>
                  <a:pt x="983" y="166"/>
                </a:cubicBezTo>
                <a:cubicBezTo>
                  <a:pt x="984" y="169"/>
                  <a:pt x="985" y="169"/>
                  <a:pt x="987" y="169"/>
                </a:cubicBezTo>
                <a:cubicBezTo>
                  <a:pt x="988" y="169"/>
                  <a:pt x="989" y="169"/>
                  <a:pt x="990" y="169"/>
                </a:cubicBezTo>
                <a:cubicBezTo>
                  <a:pt x="992" y="169"/>
                  <a:pt x="995" y="170"/>
                  <a:pt x="996" y="165"/>
                </a:cubicBezTo>
                <a:cubicBezTo>
                  <a:pt x="996" y="168"/>
                  <a:pt x="996" y="169"/>
                  <a:pt x="996" y="170"/>
                </a:cubicBezTo>
                <a:cubicBezTo>
                  <a:pt x="995" y="171"/>
                  <a:pt x="993" y="172"/>
                  <a:pt x="992" y="172"/>
                </a:cubicBezTo>
                <a:cubicBezTo>
                  <a:pt x="991" y="173"/>
                  <a:pt x="990" y="174"/>
                  <a:pt x="991" y="175"/>
                </a:cubicBezTo>
                <a:cubicBezTo>
                  <a:pt x="992" y="178"/>
                  <a:pt x="993" y="180"/>
                  <a:pt x="995" y="182"/>
                </a:cubicBezTo>
                <a:cubicBezTo>
                  <a:pt x="997" y="183"/>
                  <a:pt x="998" y="182"/>
                  <a:pt x="1000" y="181"/>
                </a:cubicBezTo>
                <a:cubicBezTo>
                  <a:pt x="1000" y="180"/>
                  <a:pt x="1001" y="179"/>
                  <a:pt x="1002" y="179"/>
                </a:cubicBezTo>
                <a:cubicBezTo>
                  <a:pt x="1004" y="177"/>
                  <a:pt x="1005" y="176"/>
                  <a:pt x="1007" y="175"/>
                </a:cubicBezTo>
                <a:cubicBezTo>
                  <a:pt x="1011" y="170"/>
                  <a:pt x="1013" y="164"/>
                  <a:pt x="1015" y="159"/>
                </a:cubicBezTo>
                <a:cubicBezTo>
                  <a:pt x="1015" y="158"/>
                  <a:pt x="1014" y="157"/>
                  <a:pt x="1013" y="157"/>
                </a:cubicBezTo>
                <a:cubicBezTo>
                  <a:pt x="1013" y="156"/>
                  <a:pt x="1012" y="155"/>
                  <a:pt x="1010" y="154"/>
                </a:cubicBezTo>
                <a:close/>
                <a:moveTo>
                  <a:pt x="963" y="161"/>
                </a:moveTo>
                <a:cubicBezTo>
                  <a:pt x="962" y="161"/>
                  <a:pt x="961" y="162"/>
                  <a:pt x="959" y="163"/>
                </a:cubicBezTo>
                <a:cubicBezTo>
                  <a:pt x="959" y="164"/>
                  <a:pt x="959" y="164"/>
                  <a:pt x="959" y="165"/>
                </a:cubicBezTo>
                <a:cubicBezTo>
                  <a:pt x="959" y="168"/>
                  <a:pt x="963" y="172"/>
                  <a:pt x="966" y="172"/>
                </a:cubicBezTo>
                <a:cubicBezTo>
                  <a:pt x="968" y="172"/>
                  <a:pt x="969" y="171"/>
                  <a:pt x="968" y="169"/>
                </a:cubicBezTo>
                <a:cubicBezTo>
                  <a:pt x="966" y="166"/>
                  <a:pt x="965" y="163"/>
                  <a:pt x="963" y="161"/>
                </a:cubicBezTo>
                <a:close/>
                <a:moveTo>
                  <a:pt x="1016" y="163"/>
                </a:moveTo>
                <a:cubicBezTo>
                  <a:pt x="1013" y="167"/>
                  <a:pt x="1011" y="172"/>
                  <a:pt x="1009" y="176"/>
                </a:cubicBezTo>
                <a:cubicBezTo>
                  <a:pt x="1012" y="176"/>
                  <a:pt x="1014" y="176"/>
                  <a:pt x="1017" y="176"/>
                </a:cubicBezTo>
                <a:cubicBezTo>
                  <a:pt x="1017" y="176"/>
                  <a:pt x="1017" y="175"/>
                  <a:pt x="1017" y="174"/>
                </a:cubicBezTo>
                <a:cubicBezTo>
                  <a:pt x="1017" y="172"/>
                  <a:pt x="1017" y="169"/>
                  <a:pt x="1017" y="167"/>
                </a:cubicBezTo>
                <a:cubicBezTo>
                  <a:pt x="1017" y="165"/>
                  <a:pt x="1016" y="164"/>
                  <a:pt x="1016" y="163"/>
                </a:cubicBezTo>
                <a:close/>
                <a:moveTo>
                  <a:pt x="963" y="142"/>
                </a:moveTo>
                <a:cubicBezTo>
                  <a:pt x="962" y="143"/>
                  <a:pt x="961" y="143"/>
                  <a:pt x="961" y="143"/>
                </a:cubicBezTo>
                <a:cubicBezTo>
                  <a:pt x="960" y="143"/>
                  <a:pt x="959" y="143"/>
                  <a:pt x="959" y="143"/>
                </a:cubicBezTo>
                <a:cubicBezTo>
                  <a:pt x="959" y="142"/>
                  <a:pt x="959" y="142"/>
                  <a:pt x="959" y="141"/>
                </a:cubicBezTo>
                <a:cubicBezTo>
                  <a:pt x="959" y="139"/>
                  <a:pt x="960" y="137"/>
                  <a:pt x="961" y="135"/>
                </a:cubicBezTo>
                <a:cubicBezTo>
                  <a:pt x="960" y="135"/>
                  <a:pt x="960" y="135"/>
                  <a:pt x="960" y="135"/>
                </a:cubicBezTo>
                <a:cubicBezTo>
                  <a:pt x="959" y="136"/>
                  <a:pt x="958" y="136"/>
                  <a:pt x="957" y="138"/>
                </a:cubicBezTo>
                <a:cubicBezTo>
                  <a:pt x="956" y="139"/>
                  <a:pt x="958" y="144"/>
                  <a:pt x="959" y="145"/>
                </a:cubicBezTo>
                <a:cubicBezTo>
                  <a:pt x="961" y="145"/>
                  <a:pt x="963" y="144"/>
                  <a:pt x="963" y="142"/>
                </a:cubicBezTo>
                <a:close/>
                <a:moveTo>
                  <a:pt x="963" y="161"/>
                </a:moveTo>
                <a:cubicBezTo>
                  <a:pt x="962" y="161"/>
                  <a:pt x="961" y="162"/>
                  <a:pt x="960" y="163"/>
                </a:cubicBezTo>
                <a:cubicBezTo>
                  <a:pt x="959" y="164"/>
                  <a:pt x="959" y="165"/>
                  <a:pt x="959" y="165"/>
                </a:cubicBezTo>
                <a:cubicBezTo>
                  <a:pt x="959" y="168"/>
                  <a:pt x="963" y="173"/>
                  <a:pt x="966" y="172"/>
                </a:cubicBezTo>
                <a:cubicBezTo>
                  <a:pt x="968" y="172"/>
                  <a:pt x="968" y="171"/>
                  <a:pt x="968" y="169"/>
                </a:cubicBezTo>
                <a:cubicBezTo>
                  <a:pt x="966" y="166"/>
                  <a:pt x="965" y="163"/>
                  <a:pt x="963" y="161"/>
                </a:cubicBezTo>
                <a:close/>
                <a:moveTo>
                  <a:pt x="1016" y="163"/>
                </a:moveTo>
                <a:cubicBezTo>
                  <a:pt x="1014" y="167"/>
                  <a:pt x="1011" y="172"/>
                  <a:pt x="1009" y="176"/>
                </a:cubicBezTo>
                <a:cubicBezTo>
                  <a:pt x="1012" y="176"/>
                  <a:pt x="1014" y="177"/>
                  <a:pt x="1017" y="176"/>
                </a:cubicBezTo>
                <a:cubicBezTo>
                  <a:pt x="1017" y="176"/>
                  <a:pt x="1017" y="175"/>
                  <a:pt x="1017" y="175"/>
                </a:cubicBezTo>
                <a:cubicBezTo>
                  <a:pt x="1017" y="172"/>
                  <a:pt x="1017" y="169"/>
                  <a:pt x="1017" y="167"/>
                </a:cubicBezTo>
                <a:cubicBezTo>
                  <a:pt x="1017" y="165"/>
                  <a:pt x="1016" y="164"/>
                  <a:pt x="1016" y="163"/>
                </a:cubicBezTo>
                <a:close/>
                <a:moveTo>
                  <a:pt x="963" y="143"/>
                </a:moveTo>
                <a:cubicBezTo>
                  <a:pt x="962" y="143"/>
                  <a:pt x="962" y="143"/>
                  <a:pt x="961" y="143"/>
                </a:cubicBezTo>
                <a:cubicBezTo>
                  <a:pt x="960" y="143"/>
                  <a:pt x="960" y="143"/>
                  <a:pt x="960" y="143"/>
                </a:cubicBezTo>
                <a:cubicBezTo>
                  <a:pt x="959" y="143"/>
                  <a:pt x="959" y="142"/>
                  <a:pt x="959" y="141"/>
                </a:cubicBezTo>
                <a:cubicBezTo>
                  <a:pt x="960" y="139"/>
                  <a:pt x="960" y="137"/>
                  <a:pt x="961" y="135"/>
                </a:cubicBezTo>
                <a:cubicBezTo>
                  <a:pt x="960" y="135"/>
                  <a:pt x="960" y="135"/>
                  <a:pt x="960" y="135"/>
                </a:cubicBezTo>
                <a:cubicBezTo>
                  <a:pt x="959" y="136"/>
                  <a:pt x="958" y="136"/>
                  <a:pt x="957" y="138"/>
                </a:cubicBezTo>
                <a:cubicBezTo>
                  <a:pt x="956" y="139"/>
                  <a:pt x="958" y="144"/>
                  <a:pt x="960" y="145"/>
                </a:cubicBezTo>
                <a:cubicBezTo>
                  <a:pt x="961" y="146"/>
                  <a:pt x="963" y="145"/>
                  <a:pt x="963" y="143"/>
                </a:cubicBezTo>
                <a:close/>
                <a:moveTo>
                  <a:pt x="1016" y="134"/>
                </a:moveTo>
                <a:cubicBezTo>
                  <a:pt x="1019" y="131"/>
                  <a:pt x="1019" y="131"/>
                  <a:pt x="1022" y="129"/>
                </a:cubicBezTo>
                <a:cubicBezTo>
                  <a:pt x="1022" y="131"/>
                  <a:pt x="1024" y="133"/>
                  <a:pt x="1025" y="133"/>
                </a:cubicBezTo>
                <a:cubicBezTo>
                  <a:pt x="1023" y="134"/>
                  <a:pt x="1021" y="135"/>
                  <a:pt x="1019" y="137"/>
                </a:cubicBezTo>
                <a:cubicBezTo>
                  <a:pt x="1018" y="136"/>
                  <a:pt x="1018" y="135"/>
                  <a:pt x="1017" y="134"/>
                </a:cubicBezTo>
                <a:cubicBezTo>
                  <a:pt x="1017" y="134"/>
                  <a:pt x="1016" y="134"/>
                  <a:pt x="1016" y="134"/>
                </a:cubicBezTo>
                <a:close/>
                <a:moveTo>
                  <a:pt x="1021" y="134"/>
                </a:moveTo>
                <a:cubicBezTo>
                  <a:pt x="1021" y="133"/>
                  <a:pt x="1020" y="133"/>
                  <a:pt x="1019" y="133"/>
                </a:cubicBezTo>
                <a:cubicBezTo>
                  <a:pt x="1019" y="133"/>
                  <a:pt x="1018" y="134"/>
                  <a:pt x="1018" y="134"/>
                </a:cubicBezTo>
                <a:cubicBezTo>
                  <a:pt x="1018" y="135"/>
                  <a:pt x="1019" y="135"/>
                  <a:pt x="1019" y="135"/>
                </a:cubicBezTo>
                <a:cubicBezTo>
                  <a:pt x="1020" y="135"/>
                  <a:pt x="1020" y="135"/>
                  <a:pt x="1021" y="134"/>
                </a:cubicBezTo>
                <a:close/>
                <a:moveTo>
                  <a:pt x="1003" y="124"/>
                </a:moveTo>
                <a:cubicBezTo>
                  <a:pt x="996" y="123"/>
                  <a:pt x="993" y="126"/>
                  <a:pt x="992" y="134"/>
                </a:cubicBezTo>
                <a:cubicBezTo>
                  <a:pt x="993" y="132"/>
                  <a:pt x="994" y="129"/>
                  <a:pt x="996" y="127"/>
                </a:cubicBezTo>
                <a:cubicBezTo>
                  <a:pt x="996" y="127"/>
                  <a:pt x="996" y="127"/>
                  <a:pt x="996" y="127"/>
                </a:cubicBezTo>
                <a:cubicBezTo>
                  <a:pt x="996" y="128"/>
                  <a:pt x="996" y="129"/>
                  <a:pt x="996" y="130"/>
                </a:cubicBezTo>
                <a:cubicBezTo>
                  <a:pt x="997" y="126"/>
                  <a:pt x="999" y="124"/>
                  <a:pt x="1003" y="124"/>
                </a:cubicBezTo>
                <a:close/>
                <a:moveTo>
                  <a:pt x="1046" y="126"/>
                </a:moveTo>
                <a:cubicBezTo>
                  <a:pt x="1044" y="127"/>
                  <a:pt x="1042" y="128"/>
                  <a:pt x="1040" y="130"/>
                </a:cubicBezTo>
                <a:cubicBezTo>
                  <a:pt x="1043" y="130"/>
                  <a:pt x="1045" y="128"/>
                  <a:pt x="1046" y="126"/>
                </a:cubicBezTo>
                <a:close/>
                <a:moveTo>
                  <a:pt x="1013" y="128"/>
                </a:moveTo>
                <a:cubicBezTo>
                  <a:pt x="1014" y="126"/>
                  <a:pt x="1015" y="125"/>
                  <a:pt x="1016" y="124"/>
                </a:cubicBezTo>
                <a:cubicBezTo>
                  <a:pt x="1013" y="125"/>
                  <a:pt x="1012" y="126"/>
                  <a:pt x="1013" y="128"/>
                </a:cubicBezTo>
                <a:close/>
                <a:moveTo>
                  <a:pt x="1023" y="149"/>
                </a:moveTo>
                <a:cubicBezTo>
                  <a:pt x="1021" y="150"/>
                  <a:pt x="1020" y="150"/>
                  <a:pt x="1020" y="151"/>
                </a:cubicBezTo>
                <a:cubicBezTo>
                  <a:pt x="1020" y="151"/>
                  <a:pt x="1022" y="150"/>
                  <a:pt x="1023" y="149"/>
                </a:cubicBezTo>
                <a:close/>
                <a:moveTo>
                  <a:pt x="1021" y="134"/>
                </a:moveTo>
                <a:cubicBezTo>
                  <a:pt x="1021" y="133"/>
                  <a:pt x="1020" y="133"/>
                  <a:pt x="1019" y="133"/>
                </a:cubicBezTo>
                <a:cubicBezTo>
                  <a:pt x="1019" y="133"/>
                  <a:pt x="1018" y="134"/>
                  <a:pt x="1018" y="134"/>
                </a:cubicBezTo>
                <a:cubicBezTo>
                  <a:pt x="1018" y="134"/>
                  <a:pt x="1019" y="135"/>
                  <a:pt x="1019" y="135"/>
                </a:cubicBezTo>
                <a:cubicBezTo>
                  <a:pt x="1020" y="135"/>
                  <a:pt x="1020" y="134"/>
                  <a:pt x="1021" y="134"/>
                </a:cubicBezTo>
                <a:close/>
                <a:moveTo>
                  <a:pt x="1546" y="255"/>
                </a:moveTo>
                <a:cubicBezTo>
                  <a:pt x="1546" y="256"/>
                  <a:pt x="1547" y="257"/>
                  <a:pt x="1547" y="259"/>
                </a:cubicBezTo>
                <a:cubicBezTo>
                  <a:pt x="1548" y="260"/>
                  <a:pt x="1548" y="262"/>
                  <a:pt x="1549" y="264"/>
                </a:cubicBezTo>
                <a:cubicBezTo>
                  <a:pt x="1549" y="266"/>
                  <a:pt x="1549" y="267"/>
                  <a:pt x="1549" y="269"/>
                </a:cubicBezTo>
                <a:cubicBezTo>
                  <a:pt x="1550" y="272"/>
                  <a:pt x="1549" y="274"/>
                  <a:pt x="1545" y="274"/>
                </a:cubicBezTo>
                <a:cubicBezTo>
                  <a:pt x="1543" y="274"/>
                  <a:pt x="1540" y="273"/>
                  <a:pt x="1537" y="273"/>
                </a:cubicBezTo>
                <a:cubicBezTo>
                  <a:pt x="1537" y="273"/>
                  <a:pt x="1536" y="273"/>
                  <a:pt x="1536" y="274"/>
                </a:cubicBezTo>
                <a:cubicBezTo>
                  <a:pt x="1534" y="275"/>
                  <a:pt x="1532" y="276"/>
                  <a:pt x="1531" y="278"/>
                </a:cubicBezTo>
                <a:cubicBezTo>
                  <a:pt x="1529" y="280"/>
                  <a:pt x="1526" y="281"/>
                  <a:pt x="1524" y="279"/>
                </a:cubicBezTo>
                <a:cubicBezTo>
                  <a:pt x="1522" y="276"/>
                  <a:pt x="1521" y="274"/>
                  <a:pt x="1519" y="271"/>
                </a:cubicBezTo>
                <a:cubicBezTo>
                  <a:pt x="1518" y="270"/>
                  <a:pt x="1519" y="268"/>
                  <a:pt x="1521" y="266"/>
                </a:cubicBezTo>
                <a:cubicBezTo>
                  <a:pt x="1518" y="266"/>
                  <a:pt x="1517" y="266"/>
                  <a:pt x="1515" y="266"/>
                </a:cubicBezTo>
                <a:cubicBezTo>
                  <a:pt x="1514" y="268"/>
                  <a:pt x="1513" y="270"/>
                  <a:pt x="1512" y="272"/>
                </a:cubicBezTo>
                <a:cubicBezTo>
                  <a:pt x="1512" y="273"/>
                  <a:pt x="1512" y="274"/>
                  <a:pt x="1512" y="275"/>
                </a:cubicBezTo>
                <a:cubicBezTo>
                  <a:pt x="1512" y="278"/>
                  <a:pt x="1511" y="279"/>
                  <a:pt x="1508" y="279"/>
                </a:cubicBezTo>
                <a:cubicBezTo>
                  <a:pt x="1504" y="278"/>
                  <a:pt x="1502" y="278"/>
                  <a:pt x="1498" y="276"/>
                </a:cubicBezTo>
                <a:cubicBezTo>
                  <a:pt x="1496" y="276"/>
                  <a:pt x="1496" y="274"/>
                  <a:pt x="1496" y="272"/>
                </a:cubicBezTo>
                <a:cubicBezTo>
                  <a:pt x="1497" y="272"/>
                  <a:pt x="1497" y="271"/>
                  <a:pt x="1497" y="271"/>
                </a:cubicBezTo>
                <a:cubicBezTo>
                  <a:pt x="1495" y="270"/>
                  <a:pt x="1493" y="269"/>
                  <a:pt x="1491" y="267"/>
                </a:cubicBezTo>
                <a:cubicBezTo>
                  <a:pt x="1489" y="266"/>
                  <a:pt x="1488" y="264"/>
                  <a:pt x="1487" y="263"/>
                </a:cubicBezTo>
                <a:cubicBezTo>
                  <a:pt x="1487" y="261"/>
                  <a:pt x="1487" y="259"/>
                  <a:pt x="1489" y="258"/>
                </a:cubicBezTo>
                <a:cubicBezTo>
                  <a:pt x="1492" y="255"/>
                  <a:pt x="1493" y="253"/>
                  <a:pt x="1492" y="249"/>
                </a:cubicBezTo>
                <a:cubicBezTo>
                  <a:pt x="1492" y="247"/>
                  <a:pt x="1492" y="244"/>
                  <a:pt x="1492" y="243"/>
                </a:cubicBezTo>
                <a:cubicBezTo>
                  <a:pt x="1491" y="242"/>
                  <a:pt x="1489" y="241"/>
                  <a:pt x="1488" y="240"/>
                </a:cubicBezTo>
                <a:cubicBezTo>
                  <a:pt x="1487" y="239"/>
                  <a:pt x="1486" y="237"/>
                  <a:pt x="1486" y="235"/>
                </a:cubicBezTo>
                <a:cubicBezTo>
                  <a:pt x="1485" y="232"/>
                  <a:pt x="1489" y="229"/>
                  <a:pt x="1492" y="228"/>
                </a:cubicBezTo>
                <a:cubicBezTo>
                  <a:pt x="1492" y="229"/>
                  <a:pt x="1492" y="230"/>
                  <a:pt x="1493" y="231"/>
                </a:cubicBezTo>
                <a:cubicBezTo>
                  <a:pt x="1493" y="232"/>
                  <a:pt x="1493" y="233"/>
                  <a:pt x="1493" y="234"/>
                </a:cubicBezTo>
                <a:cubicBezTo>
                  <a:pt x="1492" y="234"/>
                  <a:pt x="1492" y="234"/>
                  <a:pt x="1491" y="234"/>
                </a:cubicBezTo>
                <a:cubicBezTo>
                  <a:pt x="1491" y="235"/>
                  <a:pt x="1491" y="236"/>
                  <a:pt x="1490" y="238"/>
                </a:cubicBezTo>
                <a:cubicBezTo>
                  <a:pt x="1491" y="238"/>
                  <a:pt x="1492" y="238"/>
                  <a:pt x="1492" y="237"/>
                </a:cubicBezTo>
                <a:cubicBezTo>
                  <a:pt x="1493" y="236"/>
                  <a:pt x="1494" y="235"/>
                  <a:pt x="1495" y="234"/>
                </a:cubicBezTo>
                <a:cubicBezTo>
                  <a:pt x="1499" y="227"/>
                  <a:pt x="1505" y="223"/>
                  <a:pt x="1513" y="222"/>
                </a:cubicBezTo>
                <a:cubicBezTo>
                  <a:pt x="1516" y="221"/>
                  <a:pt x="1519" y="220"/>
                  <a:pt x="1522" y="217"/>
                </a:cubicBezTo>
                <a:cubicBezTo>
                  <a:pt x="1522" y="217"/>
                  <a:pt x="1523" y="217"/>
                  <a:pt x="1523" y="217"/>
                </a:cubicBezTo>
                <a:cubicBezTo>
                  <a:pt x="1526" y="216"/>
                  <a:pt x="1527" y="214"/>
                  <a:pt x="1529" y="212"/>
                </a:cubicBezTo>
                <a:cubicBezTo>
                  <a:pt x="1537" y="204"/>
                  <a:pt x="1549" y="204"/>
                  <a:pt x="1556" y="211"/>
                </a:cubicBezTo>
                <a:cubicBezTo>
                  <a:pt x="1559" y="213"/>
                  <a:pt x="1562" y="215"/>
                  <a:pt x="1564" y="217"/>
                </a:cubicBezTo>
                <a:cubicBezTo>
                  <a:pt x="1565" y="218"/>
                  <a:pt x="1567" y="219"/>
                  <a:pt x="1568" y="221"/>
                </a:cubicBezTo>
                <a:cubicBezTo>
                  <a:pt x="1569" y="223"/>
                  <a:pt x="1569" y="223"/>
                  <a:pt x="1571" y="222"/>
                </a:cubicBezTo>
                <a:cubicBezTo>
                  <a:pt x="1571" y="221"/>
                  <a:pt x="1572" y="221"/>
                  <a:pt x="1573" y="220"/>
                </a:cubicBezTo>
                <a:cubicBezTo>
                  <a:pt x="1575" y="217"/>
                  <a:pt x="1578" y="217"/>
                  <a:pt x="1579" y="220"/>
                </a:cubicBezTo>
                <a:cubicBezTo>
                  <a:pt x="1580" y="223"/>
                  <a:pt x="1581" y="226"/>
                  <a:pt x="1582" y="229"/>
                </a:cubicBezTo>
                <a:cubicBezTo>
                  <a:pt x="1582" y="234"/>
                  <a:pt x="1582" y="238"/>
                  <a:pt x="1580" y="242"/>
                </a:cubicBezTo>
                <a:cubicBezTo>
                  <a:pt x="1578" y="249"/>
                  <a:pt x="1573" y="252"/>
                  <a:pt x="1567" y="252"/>
                </a:cubicBezTo>
                <a:cubicBezTo>
                  <a:pt x="1566" y="252"/>
                  <a:pt x="1565" y="252"/>
                  <a:pt x="1565" y="252"/>
                </a:cubicBezTo>
                <a:cubicBezTo>
                  <a:pt x="1562" y="252"/>
                  <a:pt x="1561" y="252"/>
                  <a:pt x="1560" y="255"/>
                </a:cubicBezTo>
                <a:cubicBezTo>
                  <a:pt x="1559" y="259"/>
                  <a:pt x="1553" y="260"/>
                  <a:pt x="1550" y="257"/>
                </a:cubicBezTo>
                <a:cubicBezTo>
                  <a:pt x="1549" y="256"/>
                  <a:pt x="1548" y="255"/>
                  <a:pt x="1547" y="254"/>
                </a:cubicBezTo>
                <a:cubicBezTo>
                  <a:pt x="1546" y="255"/>
                  <a:pt x="1546" y="255"/>
                  <a:pt x="1546" y="255"/>
                </a:cubicBezTo>
                <a:close/>
                <a:moveTo>
                  <a:pt x="1540" y="250"/>
                </a:moveTo>
                <a:cubicBezTo>
                  <a:pt x="1544" y="252"/>
                  <a:pt x="1547" y="253"/>
                  <a:pt x="1550" y="256"/>
                </a:cubicBezTo>
                <a:cubicBezTo>
                  <a:pt x="1552" y="257"/>
                  <a:pt x="1554" y="258"/>
                  <a:pt x="1556" y="257"/>
                </a:cubicBezTo>
                <a:cubicBezTo>
                  <a:pt x="1558" y="257"/>
                  <a:pt x="1560" y="255"/>
                  <a:pt x="1560" y="251"/>
                </a:cubicBezTo>
                <a:cubicBezTo>
                  <a:pt x="1560" y="252"/>
                  <a:pt x="1559" y="252"/>
                  <a:pt x="1559" y="252"/>
                </a:cubicBezTo>
                <a:cubicBezTo>
                  <a:pt x="1558" y="254"/>
                  <a:pt x="1557" y="255"/>
                  <a:pt x="1556" y="256"/>
                </a:cubicBezTo>
                <a:cubicBezTo>
                  <a:pt x="1555" y="257"/>
                  <a:pt x="1554" y="257"/>
                  <a:pt x="1553" y="256"/>
                </a:cubicBezTo>
                <a:cubicBezTo>
                  <a:pt x="1552" y="256"/>
                  <a:pt x="1552" y="255"/>
                  <a:pt x="1552" y="254"/>
                </a:cubicBezTo>
                <a:cubicBezTo>
                  <a:pt x="1552" y="252"/>
                  <a:pt x="1552" y="250"/>
                  <a:pt x="1553" y="248"/>
                </a:cubicBezTo>
                <a:cubicBezTo>
                  <a:pt x="1556" y="249"/>
                  <a:pt x="1559" y="250"/>
                  <a:pt x="1563" y="250"/>
                </a:cubicBezTo>
                <a:cubicBezTo>
                  <a:pt x="1570" y="251"/>
                  <a:pt x="1576" y="250"/>
                  <a:pt x="1579" y="241"/>
                </a:cubicBezTo>
                <a:cubicBezTo>
                  <a:pt x="1581" y="236"/>
                  <a:pt x="1580" y="232"/>
                  <a:pt x="1580" y="226"/>
                </a:cubicBezTo>
                <a:cubicBezTo>
                  <a:pt x="1579" y="224"/>
                  <a:pt x="1578" y="223"/>
                  <a:pt x="1578" y="221"/>
                </a:cubicBezTo>
                <a:cubicBezTo>
                  <a:pt x="1577" y="219"/>
                  <a:pt x="1576" y="219"/>
                  <a:pt x="1575" y="221"/>
                </a:cubicBezTo>
                <a:cubicBezTo>
                  <a:pt x="1573" y="222"/>
                  <a:pt x="1571" y="224"/>
                  <a:pt x="1569" y="224"/>
                </a:cubicBezTo>
                <a:cubicBezTo>
                  <a:pt x="1569" y="225"/>
                  <a:pt x="1568" y="226"/>
                  <a:pt x="1568" y="227"/>
                </a:cubicBezTo>
                <a:cubicBezTo>
                  <a:pt x="1569" y="230"/>
                  <a:pt x="1568" y="233"/>
                  <a:pt x="1567" y="236"/>
                </a:cubicBezTo>
                <a:cubicBezTo>
                  <a:pt x="1567" y="234"/>
                  <a:pt x="1567" y="232"/>
                  <a:pt x="1567" y="231"/>
                </a:cubicBezTo>
                <a:cubicBezTo>
                  <a:pt x="1567" y="230"/>
                  <a:pt x="1567" y="230"/>
                  <a:pt x="1567" y="229"/>
                </a:cubicBezTo>
                <a:cubicBezTo>
                  <a:pt x="1566" y="230"/>
                  <a:pt x="1565" y="230"/>
                  <a:pt x="1565" y="230"/>
                </a:cubicBezTo>
                <a:cubicBezTo>
                  <a:pt x="1565" y="231"/>
                  <a:pt x="1564" y="233"/>
                  <a:pt x="1563" y="234"/>
                </a:cubicBezTo>
                <a:cubicBezTo>
                  <a:pt x="1563" y="234"/>
                  <a:pt x="1563" y="234"/>
                  <a:pt x="1563" y="234"/>
                </a:cubicBezTo>
                <a:cubicBezTo>
                  <a:pt x="1563" y="232"/>
                  <a:pt x="1563" y="231"/>
                  <a:pt x="1564" y="228"/>
                </a:cubicBezTo>
                <a:cubicBezTo>
                  <a:pt x="1563" y="229"/>
                  <a:pt x="1562" y="230"/>
                  <a:pt x="1562" y="230"/>
                </a:cubicBezTo>
                <a:cubicBezTo>
                  <a:pt x="1561" y="231"/>
                  <a:pt x="1561" y="232"/>
                  <a:pt x="1560" y="232"/>
                </a:cubicBezTo>
                <a:cubicBezTo>
                  <a:pt x="1561" y="229"/>
                  <a:pt x="1561" y="229"/>
                  <a:pt x="1567" y="228"/>
                </a:cubicBezTo>
                <a:cubicBezTo>
                  <a:pt x="1567" y="227"/>
                  <a:pt x="1566" y="226"/>
                  <a:pt x="1566" y="226"/>
                </a:cubicBezTo>
                <a:cubicBezTo>
                  <a:pt x="1563" y="227"/>
                  <a:pt x="1562" y="226"/>
                  <a:pt x="1562" y="223"/>
                </a:cubicBezTo>
                <a:cubicBezTo>
                  <a:pt x="1563" y="223"/>
                  <a:pt x="1565" y="222"/>
                  <a:pt x="1567" y="222"/>
                </a:cubicBezTo>
                <a:cubicBezTo>
                  <a:pt x="1565" y="220"/>
                  <a:pt x="1563" y="217"/>
                  <a:pt x="1560" y="217"/>
                </a:cubicBezTo>
                <a:cubicBezTo>
                  <a:pt x="1560" y="217"/>
                  <a:pt x="1560" y="216"/>
                  <a:pt x="1560" y="216"/>
                </a:cubicBezTo>
                <a:cubicBezTo>
                  <a:pt x="1557" y="214"/>
                  <a:pt x="1555" y="211"/>
                  <a:pt x="1552" y="209"/>
                </a:cubicBezTo>
                <a:cubicBezTo>
                  <a:pt x="1550" y="208"/>
                  <a:pt x="1547" y="207"/>
                  <a:pt x="1545" y="207"/>
                </a:cubicBezTo>
                <a:cubicBezTo>
                  <a:pt x="1541" y="208"/>
                  <a:pt x="1538" y="209"/>
                  <a:pt x="1535" y="210"/>
                </a:cubicBezTo>
                <a:cubicBezTo>
                  <a:pt x="1532" y="211"/>
                  <a:pt x="1530" y="213"/>
                  <a:pt x="1528" y="216"/>
                </a:cubicBezTo>
                <a:cubicBezTo>
                  <a:pt x="1530" y="216"/>
                  <a:pt x="1531" y="216"/>
                  <a:pt x="1532" y="216"/>
                </a:cubicBezTo>
                <a:cubicBezTo>
                  <a:pt x="1532" y="216"/>
                  <a:pt x="1531" y="217"/>
                  <a:pt x="1530" y="217"/>
                </a:cubicBezTo>
                <a:cubicBezTo>
                  <a:pt x="1528" y="217"/>
                  <a:pt x="1525" y="217"/>
                  <a:pt x="1523" y="219"/>
                </a:cubicBezTo>
                <a:cubicBezTo>
                  <a:pt x="1519" y="223"/>
                  <a:pt x="1515" y="226"/>
                  <a:pt x="1512" y="231"/>
                </a:cubicBezTo>
                <a:cubicBezTo>
                  <a:pt x="1510" y="233"/>
                  <a:pt x="1509" y="235"/>
                  <a:pt x="1508" y="238"/>
                </a:cubicBezTo>
                <a:cubicBezTo>
                  <a:pt x="1508" y="238"/>
                  <a:pt x="1508" y="239"/>
                  <a:pt x="1509" y="239"/>
                </a:cubicBezTo>
                <a:cubicBezTo>
                  <a:pt x="1510" y="241"/>
                  <a:pt x="1511" y="243"/>
                  <a:pt x="1513" y="245"/>
                </a:cubicBezTo>
                <a:cubicBezTo>
                  <a:pt x="1514" y="243"/>
                  <a:pt x="1515" y="242"/>
                  <a:pt x="1516" y="241"/>
                </a:cubicBezTo>
                <a:cubicBezTo>
                  <a:pt x="1516" y="242"/>
                  <a:pt x="1515" y="243"/>
                  <a:pt x="1515" y="245"/>
                </a:cubicBezTo>
                <a:cubicBezTo>
                  <a:pt x="1514" y="246"/>
                  <a:pt x="1513" y="247"/>
                  <a:pt x="1513" y="249"/>
                </a:cubicBezTo>
                <a:cubicBezTo>
                  <a:pt x="1512" y="249"/>
                  <a:pt x="1513" y="251"/>
                  <a:pt x="1513" y="251"/>
                </a:cubicBezTo>
                <a:cubicBezTo>
                  <a:pt x="1515" y="255"/>
                  <a:pt x="1519" y="255"/>
                  <a:pt x="1523" y="253"/>
                </a:cubicBezTo>
                <a:cubicBezTo>
                  <a:pt x="1525" y="251"/>
                  <a:pt x="1528" y="250"/>
                  <a:pt x="1530" y="249"/>
                </a:cubicBezTo>
                <a:cubicBezTo>
                  <a:pt x="1532" y="249"/>
                  <a:pt x="1533" y="248"/>
                  <a:pt x="1533" y="247"/>
                </a:cubicBezTo>
                <a:cubicBezTo>
                  <a:pt x="1533" y="243"/>
                  <a:pt x="1533" y="240"/>
                  <a:pt x="1533" y="237"/>
                </a:cubicBezTo>
                <a:cubicBezTo>
                  <a:pt x="1533" y="234"/>
                  <a:pt x="1533" y="231"/>
                  <a:pt x="1533" y="228"/>
                </a:cubicBezTo>
                <a:cubicBezTo>
                  <a:pt x="1534" y="230"/>
                  <a:pt x="1534" y="233"/>
                  <a:pt x="1535" y="236"/>
                </a:cubicBezTo>
                <a:cubicBezTo>
                  <a:pt x="1536" y="240"/>
                  <a:pt x="1536" y="245"/>
                  <a:pt x="1534" y="249"/>
                </a:cubicBezTo>
                <a:cubicBezTo>
                  <a:pt x="1534" y="250"/>
                  <a:pt x="1533" y="251"/>
                  <a:pt x="1533" y="251"/>
                </a:cubicBezTo>
                <a:cubicBezTo>
                  <a:pt x="1529" y="251"/>
                  <a:pt x="1526" y="253"/>
                  <a:pt x="1523" y="255"/>
                </a:cubicBezTo>
                <a:cubicBezTo>
                  <a:pt x="1518" y="258"/>
                  <a:pt x="1514" y="256"/>
                  <a:pt x="1511" y="252"/>
                </a:cubicBezTo>
                <a:cubicBezTo>
                  <a:pt x="1510" y="251"/>
                  <a:pt x="1510" y="250"/>
                  <a:pt x="1511" y="250"/>
                </a:cubicBezTo>
                <a:cubicBezTo>
                  <a:pt x="1512" y="247"/>
                  <a:pt x="1511" y="245"/>
                  <a:pt x="1509" y="243"/>
                </a:cubicBezTo>
                <a:cubicBezTo>
                  <a:pt x="1508" y="241"/>
                  <a:pt x="1506" y="239"/>
                  <a:pt x="1507" y="236"/>
                </a:cubicBezTo>
                <a:cubicBezTo>
                  <a:pt x="1508" y="234"/>
                  <a:pt x="1509" y="233"/>
                  <a:pt x="1510" y="231"/>
                </a:cubicBezTo>
                <a:cubicBezTo>
                  <a:pt x="1511" y="228"/>
                  <a:pt x="1514" y="226"/>
                  <a:pt x="1516" y="223"/>
                </a:cubicBezTo>
                <a:cubicBezTo>
                  <a:pt x="1515" y="223"/>
                  <a:pt x="1515" y="223"/>
                  <a:pt x="1515" y="223"/>
                </a:cubicBezTo>
                <a:cubicBezTo>
                  <a:pt x="1509" y="224"/>
                  <a:pt x="1505" y="226"/>
                  <a:pt x="1501" y="229"/>
                </a:cubicBezTo>
                <a:cubicBezTo>
                  <a:pt x="1496" y="234"/>
                  <a:pt x="1494" y="239"/>
                  <a:pt x="1493" y="245"/>
                </a:cubicBezTo>
                <a:cubicBezTo>
                  <a:pt x="1493" y="252"/>
                  <a:pt x="1495" y="258"/>
                  <a:pt x="1499" y="264"/>
                </a:cubicBezTo>
                <a:cubicBezTo>
                  <a:pt x="1499" y="265"/>
                  <a:pt x="1500" y="266"/>
                  <a:pt x="1500" y="268"/>
                </a:cubicBezTo>
                <a:cubicBezTo>
                  <a:pt x="1500" y="269"/>
                  <a:pt x="1499" y="271"/>
                  <a:pt x="1498" y="272"/>
                </a:cubicBezTo>
                <a:cubicBezTo>
                  <a:pt x="1498" y="274"/>
                  <a:pt x="1498" y="275"/>
                  <a:pt x="1500" y="275"/>
                </a:cubicBezTo>
                <a:cubicBezTo>
                  <a:pt x="1503" y="276"/>
                  <a:pt x="1506" y="276"/>
                  <a:pt x="1508" y="277"/>
                </a:cubicBezTo>
                <a:cubicBezTo>
                  <a:pt x="1509" y="277"/>
                  <a:pt x="1510" y="276"/>
                  <a:pt x="1510" y="276"/>
                </a:cubicBezTo>
                <a:cubicBezTo>
                  <a:pt x="1510" y="274"/>
                  <a:pt x="1510" y="273"/>
                  <a:pt x="1511" y="272"/>
                </a:cubicBezTo>
                <a:cubicBezTo>
                  <a:pt x="1513" y="270"/>
                  <a:pt x="1513" y="267"/>
                  <a:pt x="1513" y="264"/>
                </a:cubicBezTo>
                <a:cubicBezTo>
                  <a:pt x="1513" y="264"/>
                  <a:pt x="1513" y="263"/>
                  <a:pt x="1513" y="263"/>
                </a:cubicBezTo>
                <a:cubicBezTo>
                  <a:pt x="1513" y="262"/>
                  <a:pt x="1513" y="262"/>
                  <a:pt x="1513" y="262"/>
                </a:cubicBezTo>
                <a:cubicBezTo>
                  <a:pt x="1513" y="265"/>
                  <a:pt x="1515" y="265"/>
                  <a:pt x="1517" y="265"/>
                </a:cubicBezTo>
                <a:cubicBezTo>
                  <a:pt x="1518" y="265"/>
                  <a:pt x="1519" y="265"/>
                  <a:pt x="1520" y="265"/>
                </a:cubicBezTo>
                <a:cubicBezTo>
                  <a:pt x="1522" y="265"/>
                  <a:pt x="1525" y="266"/>
                  <a:pt x="1526" y="261"/>
                </a:cubicBezTo>
                <a:cubicBezTo>
                  <a:pt x="1526" y="264"/>
                  <a:pt x="1526" y="265"/>
                  <a:pt x="1526" y="266"/>
                </a:cubicBezTo>
                <a:cubicBezTo>
                  <a:pt x="1524" y="267"/>
                  <a:pt x="1523" y="268"/>
                  <a:pt x="1522" y="268"/>
                </a:cubicBezTo>
                <a:cubicBezTo>
                  <a:pt x="1521" y="269"/>
                  <a:pt x="1520" y="270"/>
                  <a:pt x="1521" y="271"/>
                </a:cubicBezTo>
                <a:cubicBezTo>
                  <a:pt x="1522" y="274"/>
                  <a:pt x="1523" y="276"/>
                  <a:pt x="1525" y="278"/>
                </a:cubicBezTo>
                <a:cubicBezTo>
                  <a:pt x="1526" y="279"/>
                  <a:pt x="1528" y="278"/>
                  <a:pt x="1530" y="277"/>
                </a:cubicBezTo>
                <a:cubicBezTo>
                  <a:pt x="1530" y="276"/>
                  <a:pt x="1531" y="275"/>
                  <a:pt x="1532" y="275"/>
                </a:cubicBezTo>
                <a:cubicBezTo>
                  <a:pt x="1534" y="273"/>
                  <a:pt x="1535" y="272"/>
                  <a:pt x="1537" y="271"/>
                </a:cubicBezTo>
                <a:cubicBezTo>
                  <a:pt x="1541" y="266"/>
                  <a:pt x="1543" y="260"/>
                  <a:pt x="1545" y="255"/>
                </a:cubicBezTo>
                <a:cubicBezTo>
                  <a:pt x="1545" y="254"/>
                  <a:pt x="1544" y="253"/>
                  <a:pt x="1543" y="253"/>
                </a:cubicBezTo>
                <a:cubicBezTo>
                  <a:pt x="1543" y="252"/>
                  <a:pt x="1541" y="251"/>
                  <a:pt x="1540" y="250"/>
                </a:cubicBezTo>
                <a:close/>
                <a:moveTo>
                  <a:pt x="1493" y="257"/>
                </a:moveTo>
                <a:cubicBezTo>
                  <a:pt x="1492" y="257"/>
                  <a:pt x="1491" y="258"/>
                  <a:pt x="1489" y="259"/>
                </a:cubicBezTo>
                <a:cubicBezTo>
                  <a:pt x="1489" y="260"/>
                  <a:pt x="1489" y="260"/>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2"/>
                  <a:pt x="1547" y="272"/>
                </a:cubicBezTo>
                <a:cubicBezTo>
                  <a:pt x="1547" y="272"/>
                  <a:pt x="1547" y="271"/>
                  <a:pt x="1547" y="270"/>
                </a:cubicBezTo>
                <a:cubicBezTo>
                  <a:pt x="1547" y="268"/>
                  <a:pt x="1547" y="265"/>
                  <a:pt x="1547" y="263"/>
                </a:cubicBezTo>
                <a:cubicBezTo>
                  <a:pt x="1547" y="261"/>
                  <a:pt x="1546" y="260"/>
                  <a:pt x="1546" y="259"/>
                </a:cubicBezTo>
                <a:close/>
                <a:moveTo>
                  <a:pt x="1493" y="238"/>
                </a:moveTo>
                <a:cubicBezTo>
                  <a:pt x="1492" y="239"/>
                  <a:pt x="1491" y="239"/>
                  <a:pt x="1491" y="239"/>
                </a:cubicBezTo>
                <a:cubicBezTo>
                  <a:pt x="1490" y="239"/>
                  <a:pt x="1489" y="239"/>
                  <a:pt x="1489" y="239"/>
                </a:cubicBezTo>
                <a:cubicBezTo>
                  <a:pt x="1489" y="238"/>
                  <a:pt x="1489" y="238"/>
                  <a:pt x="1489" y="237"/>
                </a:cubicBezTo>
                <a:cubicBezTo>
                  <a:pt x="1489" y="235"/>
                  <a:pt x="1490" y="233"/>
                  <a:pt x="1491" y="231"/>
                </a:cubicBezTo>
                <a:cubicBezTo>
                  <a:pt x="1490" y="231"/>
                  <a:pt x="1490" y="231"/>
                  <a:pt x="1490" y="231"/>
                </a:cubicBezTo>
                <a:cubicBezTo>
                  <a:pt x="1489" y="232"/>
                  <a:pt x="1488" y="232"/>
                  <a:pt x="1487" y="234"/>
                </a:cubicBezTo>
                <a:cubicBezTo>
                  <a:pt x="1486" y="235"/>
                  <a:pt x="1488" y="240"/>
                  <a:pt x="1489" y="241"/>
                </a:cubicBezTo>
                <a:cubicBezTo>
                  <a:pt x="1491" y="241"/>
                  <a:pt x="1493" y="240"/>
                  <a:pt x="1493" y="238"/>
                </a:cubicBezTo>
                <a:close/>
                <a:moveTo>
                  <a:pt x="1493" y="257"/>
                </a:moveTo>
                <a:cubicBezTo>
                  <a:pt x="1492" y="257"/>
                  <a:pt x="1491" y="258"/>
                  <a:pt x="1490" y="259"/>
                </a:cubicBezTo>
                <a:cubicBezTo>
                  <a:pt x="1489" y="260"/>
                  <a:pt x="1489" y="261"/>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3"/>
                  <a:pt x="1547" y="272"/>
                </a:cubicBezTo>
                <a:cubicBezTo>
                  <a:pt x="1547" y="272"/>
                  <a:pt x="1547" y="271"/>
                  <a:pt x="1547" y="271"/>
                </a:cubicBezTo>
                <a:cubicBezTo>
                  <a:pt x="1547" y="268"/>
                  <a:pt x="1547" y="265"/>
                  <a:pt x="1547" y="263"/>
                </a:cubicBezTo>
                <a:cubicBezTo>
                  <a:pt x="1547" y="261"/>
                  <a:pt x="1546" y="260"/>
                  <a:pt x="1546" y="259"/>
                </a:cubicBezTo>
                <a:close/>
                <a:moveTo>
                  <a:pt x="1493" y="238"/>
                </a:moveTo>
                <a:cubicBezTo>
                  <a:pt x="1492" y="239"/>
                  <a:pt x="1492" y="239"/>
                  <a:pt x="1491" y="239"/>
                </a:cubicBezTo>
                <a:cubicBezTo>
                  <a:pt x="1490" y="239"/>
                  <a:pt x="1490" y="239"/>
                  <a:pt x="1490" y="239"/>
                </a:cubicBezTo>
                <a:cubicBezTo>
                  <a:pt x="1489" y="238"/>
                  <a:pt x="1489" y="237"/>
                  <a:pt x="1489" y="237"/>
                </a:cubicBezTo>
                <a:cubicBezTo>
                  <a:pt x="1490" y="235"/>
                  <a:pt x="1490" y="233"/>
                  <a:pt x="1491" y="231"/>
                </a:cubicBezTo>
                <a:cubicBezTo>
                  <a:pt x="1490" y="231"/>
                  <a:pt x="1490" y="231"/>
                  <a:pt x="1490" y="231"/>
                </a:cubicBezTo>
                <a:cubicBezTo>
                  <a:pt x="1489" y="232"/>
                  <a:pt x="1488" y="232"/>
                  <a:pt x="1487" y="233"/>
                </a:cubicBezTo>
                <a:cubicBezTo>
                  <a:pt x="1486" y="235"/>
                  <a:pt x="1488" y="240"/>
                  <a:pt x="1490" y="241"/>
                </a:cubicBezTo>
                <a:cubicBezTo>
                  <a:pt x="1491" y="241"/>
                  <a:pt x="1493" y="240"/>
                  <a:pt x="1493" y="238"/>
                </a:cubicBezTo>
                <a:close/>
                <a:moveTo>
                  <a:pt x="1545" y="230"/>
                </a:moveTo>
                <a:cubicBezTo>
                  <a:pt x="1549" y="227"/>
                  <a:pt x="1549" y="227"/>
                  <a:pt x="1552" y="225"/>
                </a:cubicBezTo>
                <a:cubicBezTo>
                  <a:pt x="1552" y="227"/>
                  <a:pt x="1554" y="228"/>
                  <a:pt x="1555" y="228"/>
                </a:cubicBezTo>
                <a:cubicBezTo>
                  <a:pt x="1553" y="230"/>
                  <a:pt x="1551" y="231"/>
                  <a:pt x="1549" y="232"/>
                </a:cubicBezTo>
                <a:cubicBezTo>
                  <a:pt x="1548" y="231"/>
                  <a:pt x="1548" y="231"/>
                  <a:pt x="1547" y="230"/>
                </a:cubicBezTo>
                <a:cubicBezTo>
                  <a:pt x="1547" y="230"/>
                  <a:pt x="1546" y="230"/>
                  <a:pt x="1545" y="230"/>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532" y="220"/>
                </a:moveTo>
                <a:cubicBezTo>
                  <a:pt x="1526" y="219"/>
                  <a:pt x="1523" y="222"/>
                  <a:pt x="1522" y="230"/>
                </a:cubicBezTo>
                <a:cubicBezTo>
                  <a:pt x="1523" y="228"/>
                  <a:pt x="1524" y="225"/>
                  <a:pt x="1525" y="223"/>
                </a:cubicBezTo>
                <a:cubicBezTo>
                  <a:pt x="1526" y="223"/>
                  <a:pt x="1526" y="223"/>
                  <a:pt x="1526" y="223"/>
                </a:cubicBezTo>
                <a:cubicBezTo>
                  <a:pt x="1526" y="224"/>
                  <a:pt x="1526" y="225"/>
                  <a:pt x="1526" y="226"/>
                </a:cubicBezTo>
                <a:cubicBezTo>
                  <a:pt x="1527" y="222"/>
                  <a:pt x="1529" y="220"/>
                  <a:pt x="1532" y="220"/>
                </a:cubicBezTo>
                <a:close/>
                <a:moveTo>
                  <a:pt x="1576" y="222"/>
                </a:moveTo>
                <a:cubicBezTo>
                  <a:pt x="1574" y="223"/>
                  <a:pt x="1572" y="224"/>
                  <a:pt x="1570" y="226"/>
                </a:cubicBezTo>
                <a:cubicBezTo>
                  <a:pt x="1572" y="226"/>
                  <a:pt x="1575" y="224"/>
                  <a:pt x="1576" y="222"/>
                </a:cubicBezTo>
                <a:close/>
                <a:moveTo>
                  <a:pt x="1542" y="224"/>
                </a:moveTo>
                <a:cubicBezTo>
                  <a:pt x="1544" y="222"/>
                  <a:pt x="1545" y="221"/>
                  <a:pt x="1546" y="220"/>
                </a:cubicBezTo>
                <a:cubicBezTo>
                  <a:pt x="1543" y="221"/>
                  <a:pt x="1542" y="222"/>
                  <a:pt x="1542" y="224"/>
                </a:cubicBezTo>
                <a:close/>
                <a:moveTo>
                  <a:pt x="1553" y="245"/>
                </a:moveTo>
                <a:cubicBezTo>
                  <a:pt x="1551" y="246"/>
                  <a:pt x="1550" y="246"/>
                  <a:pt x="1550" y="247"/>
                </a:cubicBezTo>
                <a:cubicBezTo>
                  <a:pt x="1550" y="247"/>
                  <a:pt x="1552" y="246"/>
                  <a:pt x="1553" y="245"/>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099" y="111"/>
                </a:moveTo>
                <a:cubicBezTo>
                  <a:pt x="1099" y="111"/>
                  <a:pt x="1099" y="111"/>
                  <a:pt x="1099" y="111"/>
                </a:cubicBezTo>
                <a:cubicBezTo>
                  <a:pt x="1094" y="111"/>
                  <a:pt x="1094" y="111"/>
                  <a:pt x="1094" y="111"/>
                </a:cubicBezTo>
                <a:cubicBezTo>
                  <a:pt x="1092" y="113"/>
                  <a:pt x="1090" y="114"/>
                  <a:pt x="1088" y="115"/>
                </a:cubicBezTo>
                <a:cubicBezTo>
                  <a:pt x="1087" y="116"/>
                  <a:pt x="1085" y="117"/>
                  <a:pt x="1083" y="118"/>
                </a:cubicBezTo>
                <a:cubicBezTo>
                  <a:pt x="1082" y="119"/>
                  <a:pt x="1079" y="120"/>
                  <a:pt x="1078" y="121"/>
                </a:cubicBezTo>
                <a:cubicBezTo>
                  <a:pt x="1076" y="121"/>
                  <a:pt x="1074" y="122"/>
                  <a:pt x="1072" y="122"/>
                </a:cubicBezTo>
                <a:cubicBezTo>
                  <a:pt x="1072" y="122"/>
                  <a:pt x="1072" y="122"/>
                  <a:pt x="1072" y="132"/>
                </a:cubicBezTo>
                <a:cubicBezTo>
                  <a:pt x="1075" y="132"/>
                  <a:pt x="1078" y="131"/>
                  <a:pt x="1080" y="129"/>
                </a:cubicBezTo>
                <a:cubicBezTo>
                  <a:pt x="1083" y="129"/>
                  <a:pt x="1085" y="127"/>
                  <a:pt x="1087" y="126"/>
                </a:cubicBezTo>
                <a:cubicBezTo>
                  <a:pt x="1087" y="126"/>
                  <a:pt x="1087" y="126"/>
                  <a:pt x="1087" y="185"/>
                </a:cubicBezTo>
                <a:cubicBezTo>
                  <a:pt x="1087" y="185"/>
                  <a:pt x="1087" y="185"/>
                  <a:pt x="1099" y="185"/>
                </a:cubicBezTo>
                <a:cubicBezTo>
                  <a:pt x="1099" y="185"/>
                  <a:pt x="1099" y="185"/>
                  <a:pt x="1099" y="111"/>
                </a:cubicBezTo>
                <a:close/>
                <a:moveTo>
                  <a:pt x="1146" y="111"/>
                </a:moveTo>
                <a:cubicBezTo>
                  <a:pt x="1146" y="111"/>
                  <a:pt x="1146" y="111"/>
                  <a:pt x="1146" y="111"/>
                </a:cubicBezTo>
                <a:cubicBezTo>
                  <a:pt x="1141" y="111"/>
                  <a:pt x="1141" y="111"/>
                  <a:pt x="1141" y="111"/>
                </a:cubicBezTo>
                <a:cubicBezTo>
                  <a:pt x="1140" y="113"/>
                  <a:pt x="1137" y="114"/>
                  <a:pt x="1136" y="115"/>
                </a:cubicBezTo>
                <a:cubicBezTo>
                  <a:pt x="1134" y="116"/>
                  <a:pt x="1132" y="117"/>
                  <a:pt x="1130" y="118"/>
                </a:cubicBezTo>
                <a:cubicBezTo>
                  <a:pt x="1129" y="119"/>
                  <a:pt x="1126" y="120"/>
                  <a:pt x="1125" y="121"/>
                </a:cubicBezTo>
                <a:cubicBezTo>
                  <a:pt x="1123" y="121"/>
                  <a:pt x="1121" y="122"/>
                  <a:pt x="1119" y="122"/>
                </a:cubicBezTo>
                <a:cubicBezTo>
                  <a:pt x="1119" y="122"/>
                  <a:pt x="1119" y="122"/>
                  <a:pt x="1119" y="132"/>
                </a:cubicBezTo>
                <a:cubicBezTo>
                  <a:pt x="1122" y="132"/>
                  <a:pt x="1125" y="131"/>
                  <a:pt x="1128" y="129"/>
                </a:cubicBezTo>
                <a:cubicBezTo>
                  <a:pt x="1130" y="129"/>
                  <a:pt x="1132" y="127"/>
                  <a:pt x="1134" y="126"/>
                </a:cubicBezTo>
                <a:cubicBezTo>
                  <a:pt x="1134" y="126"/>
                  <a:pt x="1134" y="126"/>
                  <a:pt x="1134" y="185"/>
                </a:cubicBezTo>
                <a:cubicBezTo>
                  <a:pt x="1134" y="185"/>
                  <a:pt x="1134" y="185"/>
                  <a:pt x="1146" y="185"/>
                </a:cubicBezTo>
                <a:cubicBezTo>
                  <a:pt x="1146" y="185"/>
                  <a:pt x="1146" y="185"/>
                  <a:pt x="1146" y="111"/>
                </a:cubicBezTo>
                <a:close/>
                <a:moveTo>
                  <a:pt x="1192" y="111"/>
                </a:moveTo>
                <a:cubicBezTo>
                  <a:pt x="1192" y="111"/>
                  <a:pt x="1192" y="111"/>
                  <a:pt x="1192" y="111"/>
                </a:cubicBezTo>
                <a:cubicBezTo>
                  <a:pt x="1188" y="111"/>
                  <a:pt x="1188" y="111"/>
                  <a:pt x="1188" y="111"/>
                </a:cubicBezTo>
                <a:cubicBezTo>
                  <a:pt x="1186" y="113"/>
                  <a:pt x="1184" y="114"/>
                  <a:pt x="1182" y="115"/>
                </a:cubicBezTo>
                <a:cubicBezTo>
                  <a:pt x="1181" y="116"/>
                  <a:pt x="1178" y="117"/>
                  <a:pt x="1177" y="118"/>
                </a:cubicBezTo>
                <a:cubicBezTo>
                  <a:pt x="1175" y="119"/>
                  <a:pt x="1173" y="119"/>
                  <a:pt x="1171" y="120"/>
                </a:cubicBezTo>
                <a:cubicBezTo>
                  <a:pt x="1170" y="121"/>
                  <a:pt x="1168" y="121"/>
                  <a:pt x="1166" y="122"/>
                </a:cubicBezTo>
                <a:cubicBezTo>
                  <a:pt x="1166" y="122"/>
                  <a:pt x="1166" y="122"/>
                  <a:pt x="1166" y="132"/>
                </a:cubicBezTo>
                <a:cubicBezTo>
                  <a:pt x="1169" y="132"/>
                  <a:pt x="1172" y="130"/>
                  <a:pt x="1174" y="129"/>
                </a:cubicBezTo>
                <a:cubicBezTo>
                  <a:pt x="1176" y="129"/>
                  <a:pt x="1179" y="127"/>
                  <a:pt x="1181" y="126"/>
                </a:cubicBezTo>
                <a:cubicBezTo>
                  <a:pt x="1181" y="126"/>
                  <a:pt x="1181" y="126"/>
                  <a:pt x="1181" y="185"/>
                </a:cubicBezTo>
                <a:cubicBezTo>
                  <a:pt x="1181" y="185"/>
                  <a:pt x="1181" y="185"/>
                  <a:pt x="1192" y="185"/>
                </a:cubicBezTo>
                <a:cubicBezTo>
                  <a:pt x="1192" y="185"/>
                  <a:pt x="1192" y="185"/>
                  <a:pt x="1192" y="111"/>
                </a:cubicBezTo>
                <a:close/>
                <a:moveTo>
                  <a:pt x="1329" y="144"/>
                </a:moveTo>
                <a:cubicBezTo>
                  <a:pt x="1329" y="144"/>
                  <a:pt x="1329" y="144"/>
                  <a:pt x="1329" y="144"/>
                </a:cubicBezTo>
                <a:cubicBezTo>
                  <a:pt x="1328" y="152"/>
                  <a:pt x="1328" y="152"/>
                  <a:pt x="1328" y="152"/>
                </a:cubicBezTo>
                <a:cubicBezTo>
                  <a:pt x="1335" y="152"/>
                  <a:pt x="1336" y="155"/>
                  <a:pt x="1336" y="158"/>
                </a:cubicBezTo>
                <a:cubicBezTo>
                  <a:pt x="1336" y="160"/>
                  <a:pt x="1335" y="162"/>
                  <a:pt x="1335" y="165"/>
                </a:cubicBezTo>
                <a:cubicBezTo>
                  <a:pt x="1335" y="167"/>
                  <a:pt x="1334" y="170"/>
                  <a:pt x="1334" y="172"/>
                </a:cubicBezTo>
                <a:cubicBezTo>
                  <a:pt x="1334" y="181"/>
                  <a:pt x="1340" y="185"/>
                  <a:pt x="1349" y="185"/>
                </a:cubicBezTo>
                <a:cubicBezTo>
                  <a:pt x="1349" y="185"/>
                  <a:pt x="1349" y="185"/>
                  <a:pt x="1352" y="185"/>
                </a:cubicBezTo>
                <a:cubicBezTo>
                  <a:pt x="1352" y="185"/>
                  <a:pt x="1352" y="185"/>
                  <a:pt x="1352" y="176"/>
                </a:cubicBezTo>
                <a:cubicBezTo>
                  <a:pt x="1352" y="176"/>
                  <a:pt x="1352" y="176"/>
                  <a:pt x="1351" y="176"/>
                </a:cubicBezTo>
                <a:cubicBezTo>
                  <a:pt x="1347" y="176"/>
                  <a:pt x="1346" y="173"/>
                  <a:pt x="1346" y="170"/>
                </a:cubicBezTo>
                <a:cubicBezTo>
                  <a:pt x="1346" y="168"/>
                  <a:pt x="1346" y="167"/>
                  <a:pt x="1347" y="165"/>
                </a:cubicBezTo>
                <a:cubicBezTo>
                  <a:pt x="1347" y="163"/>
                  <a:pt x="1347" y="161"/>
                  <a:pt x="1347" y="159"/>
                </a:cubicBezTo>
                <a:cubicBezTo>
                  <a:pt x="1347" y="151"/>
                  <a:pt x="1344" y="149"/>
                  <a:pt x="1338" y="148"/>
                </a:cubicBezTo>
                <a:cubicBezTo>
                  <a:pt x="1338" y="148"/>
                  <a:pt x="1338" y="148"/>
                  <a:pt x="1338" y="147"/>
                </a:cubicBezTo>
                <a:cubicBezTo>
                  <a:pt x="1344" y="146"/>
                  <a:pt x="1347" y="144"/>
                  <a:pt x="1347" y="136"/>
                </a:cubicBezTo>
                <a:cubicBezTo>
                  <a:pt x="1347" y="134"/>
                  <a:pt x="1347" y="132"/>
                  <a:pt x="1347" y="130"/>
                </a:cubicBezTo>
                <a:cubicBezTo>
                  <a:pt x="1346" y="129"/>
                  <a:pt x="1346" y="127"/>
                  <a:pt x="1346" y="126"/>
                </a:cubicBezTo>
                <a:cubicBezTo>
                  <a:pt x="1346" y="122"/>
                  <a:pt x="1347" y="120"/>
                  <a:pt x="1351" y="120"/>
                </a:cubicBezTo>
                <a:cubicBezTo>
                  <a:pt x="1351" y="120"/>
                  <a:pt x="1351" y="120"/>
                  <a:pt x="1352" y="120"/>
                </a:cubicBezTo>
                <a:cubicBezTo>
                  <a:pt x="1352" y="120"/>
                  <a:pt x="1352" y="120"/>
                  <a:pt x="1352" y="110"/>
                </a:cubicBezTo>
                <a:cubicBezTo>
                  <a:pt x="1352" y="110"/>
                  <a:pt x="1352" y="110"/>
                  <a:pt x="1349" y="110"/>
                </a:cubicBezTo>
                <a:cubicBezTo>
                  <a:pt x="1340" y="110"/>
                  <a:pt x="1334" y="114"/>
                  <a:pt x="1334" y="123"/>
                </a:cubicBezTo>
                <a:cubicBezTo>
                  <a:pt x="1334" y="125"/>
                  <a:pt x="1335" y="128"/>
                  <a:pt x="1335" y="130"/>
                </a:cubicBezTo>
                <a:cubicBezTo>
                  <a:pt x="1335" y="133"/>
                  <a:pt x="1336" y="135"/>
                  <a:pt x="1336" y="137"/>
                </a:cubicBezTo>
                <a:cubicBezTo>
                  <a:pt x="1336" y="140"/>
                  <a:pt x="1335" y="143"/>
                  <a:pt x="1329" y="144"/>
                </a:cubicBezTo>
                <a:close/>
                <a:moveTo>
                  <a:pt x="1384" y="152"/>
                </a:moveTo>
                <a:cubicBezTo>
                  <a:pt x="1384" y="152"/>
                  <a:pt x="1384" y="152"/>
                  <a:pt x="1384" y="152"/>
                </a:cubicBezTo>
                <a:cubicBezTo>
                  <a:pt x="1384" y="144"/>
                  <a:pt x="1384" y="144"/>
                  <a:pt x="1384" y="144"/>
                </a:cubicBezTo>
                <a:cubicBezTo>
                  <a:pt x="1377" y="143"/>
                  <a:pt x="1377" y="140"/>
                  <a:pt x="1377" y="137"/>
                </a:cubicBezTo>
                <a:cubicBezTo>
                  <a:pt x="1377" y="135"/>
                  <a:pt x="1377" y="133"/>
                  <a:pt x="1377" y="130"/>
                </a:cubicBezTo>
                <a:cubicBezTo>
                  <a:pt x="1378" y="128"/>
                  <a:pt x="1378" y="125"/>
                  <a:pt x="1378" y="123"/>
                </a:cubicBezTo>
                <a:cubicBezTo>
                  <a:pt x="1378" y="114"/>
                  <a:pt x="1372" y="110"/>
                  <a:pt x="1363" y="110"/>
                </a:cubicBezTo>
                <a:cubicBezTo>
                  <a:pt x="1363" y="110"/>
                  <a:pt x="1363" y="110"/>
                  <a:pt x="1359" y="110"/>
                </a:cubicBezTo>
                <a:cubicBezTo>
                  <a:pt x="1359" y="110"/>
                  <a:pt x="1359" y="110"/>
                  <a:pt x="1359" y="120"/>
                </a:cubicBezTo>
                <a:cubicBezTo>
                  <a:pt x="1359" y="120"/>
                  <a:pt x="1359" y="120"/>
                  <a:pt x="1361" y="120"/>
                </a:cubicBezTo>
                <a:cubicBezTo>
                  <a:pt x="1364" y="120"/>
                  <a:pt x="1366" y="122"/>
                  <a:pt x="1366" y="126"/>
                </a:cubicBezTo>
                <a:cubicBezTo>
                  <a:pt x="1366" y="127"/>
                  <a:pt x="1366" y="129"/>
                  <a:pt x="1366" y="130"/>
                </a:cubicBezTo>
                <a:cubicBezTo>
                  <a:pt x="1365" y="132"/>
                  <a:pt x="1365" y="134"/>
                  <a:pt x="1365" y="136"/>
                </a:cubicBezTo>
                <a:cubicBezTo>
                  <a:pt x="1365" y="144"/>
                  <a:pt x="1368" y="146"/>
                  <a:pt x="1374" y="147"/>
                </a:cubicBezTo>
                <a:cubicBezTo>
                  <a:pt x="1374" y="147"/>
                  <a:pt x="1374" y="147"/>
                  <a:pt x="1374" y="148"/>
                </a:cubicBezTo>
                <a:cubicBezTo>
                  <a:pt x="1368" y="149"/>
                  <a:pt x="1365" y="151"/>
                  <a:pt x="1365" y="159"/>
                </a:cubicBezTo>
                <a:cubicBezTo>
                  <a:pt x="1365" y="161"/>
                  <a:pt x="1365" y="163"/>
                  <a:pt x="1366" y="165"/>
                </a:cubicBezTo>
                <a:cubicBezTo>
                  <a:pt x="1366" y="167"/>
                  <a:pt x="1366" y="168"/>
                  <a:pt x="1366" y="170"/>
                </a:cubicBezTo>
                <a:cubicBezTo>
                  <a:pt x="1366" y="173"/>
                  <a:pt x="1365" y="176"/>
                  <a:pt x="1361" y="176"/>
                </a:cubicBezTo>
                <a:cubicBezTo>
                  <a:pt x="1361" y="176"/>
                  <a:pt x="1361" y="176"/>
                  <a:pt x="1359" y="176"/>
                </a:cubicBezTo>
                <a:cubicBezTo>
                  <a:pt x="1359" y="176"/>
                  <a:pt x="1359" y="176"/>
                  <a:pt x="1359" y="185"/>
                </a:cubicBezTo>
                <a:cubicBezTo>
                  <a:pt x="1359" y="185"/>
                  <a:pt x="1359" y="185"/>
                  <a:pt x="1363" y="185"/>
                </a:cubicBezTo>
                <a:cubicBezTo>
                  <a:pt x="1372" y="185"/>
                  <a:pt x="1378" y="181"/>
                  <a:pt x="1378" y="172"/>
                </a:cubicBezTo>
                <a:cubicBezTo>
                  <a:pt x="1378" y="170"/>
                  <a:pt x="1378" y="167"/>
                  <a:pt x="1377" y="165"/>
                </a:cubicBezTo>
                <a:cubicBezTo>
                  <a:pt x="1377" y="162"/>
                  <a:pt x="1377" y="160"/>
                  <a:pt x="1377" y="158"/>
                </a:cubicBezTo>
                <a:cubicBezTo>
                  <a:pt x="1377" y="155"/>
                  <a:pt x="1377" y="152"/>
                  <a:pt x="1384" y="152"/>
                </a:cubicBezTo>
                <a:close/>
                <a:moveTo>
                  <a:pt x="1430" y="111"/>
                </a:moveTo>
                <a:cubicBezTo>
                  <a:pt x="1430" y="111"/>
                  <a:pt x="1430" y="111"/>
                  <a:pt x="1430" y="111"/>
                </a:cubicBezTo>
                <a:cubicBezTo>
                  <a:pt x="1425" y="111"/>
                  <a:pt x="1425" y="111"/>
                  <a:pt x="1425" y="111"/>
                </a:cubicBezTo>
                <a:cubicBezTo>
                  <a:pt x="1423" y="113"/>
                  <a:pt x="1422" y="114"/>
                  <a:pt x="1419" y="115"/>
                </a:cubicBezTo>
                <a:cubicBezTo>
                  <a:pt x="1418" y="116"/>
                  <a:pt x="1416" y="117"/>
                  <a:pt x="1414" y="118"/>
                </a:cubicBezTo>
                <a:cubicBezTo>
                  <a:pt x="1412" y="119"/>
                  <a:pt x="1411" y="119"/>
                  <a:pt x="1409" y="120"/>
                </a:cubicBezTo>
                <a:cubicBezTo>
                  <a:pt x="1407" y="121"/>
                  <a:pt x="1406" y="121"/>
                  <a:pt x="1403" y="122"/>
                </a:cubicBezTo>
                <a:cubicBezTo>
                  <a:pt x="1403" y="122"/>
                  <a:pt x="1403" y="122"/>
                  <a:pt x="1403" y="132"/>
                </a:cubicBezTo>
                <a:cubicBezTo>
                  <a:pt x="1406" y="132"/>
                  <a:pt x="1409" y="130"/>
                  <a:pt x="1411" y="129"/>
                </a:cubicBezTo>
                <a:cubicBezTo>
                  <a:pt x="1414" y="129"/>
                  <a:pt x="1416" y="127"/>
                  <a:pt x="1419" y="126"/>
                </a:cubicBezTo>
                <a:cubicBezTo>
                  <a:pt x="1419" y="126"/>
                  <a:pt x="1419" y="126"/>
                  <a:pt x="1419" y="185"/>
                </a:cubicBezTo>
                <a:cubicBezTo>
                  <a:pt x="1419" y="185"/>
                  <a:pt x="1419" y="185"/>
                  <a:pt x="1430" y="185"/>
                </a:cubicBezTo>
                <a:cubicBezTo>
                  <a:pt x="1430" y="185"/>
                  <a:pt x="1430" y="185"/>
                  <a:pt x="1430" y="111"/>
                </a:cubicBezTo>
                <a:close/>
                <a:moveTo>
                  <a:pt x="1477" y="111"/>
                </a:moveTo>
                <a:cubicBezTo>
                  <a:pt x="1477" y="111"/>
                  <a:pt x="1477" y="111"/>
                  <a:pt x="1477" y="111"/>
                </a:cubicBezTo>
                <a:cubicBezTo>
                  <a:pt x="1472" y="111"/>
                  <a:pt x="1472" y="111"/>
                  <a:pt x="1472" y="111"/>
                </a:cubicBezTo>
                <a:cubicBezTo>
                  <a:pt x="1470" y="113"/>
                  <a:pt x="1468" y="114"/>
                  <a:pt x="1466" y="115"/>
                </a:cubicBezTo>
                <a:cubicBezTo>
                  <a:pt x="1465" y="116"/>
                  <a:pt x="1463" y="117"/>
                  <a:pt x="1461" y="118"/>
                </a:cubicBezTo>
                <a:cubicBezTo>
                  <a:pt x="1460" y="119"/>
                  <a:pt x="1458" y="120"/>
                  <a:pt x="1456" y="121"/>
                </a:cubicBezTo>
                <a:cubicBezTo>
                  <a:pt x="1454" y="121"/>
                  <a:pt x="1453" y="122"/>
                  <a:pt x="1450" y="122"/>
                </a:cubicBezTo>
                <a:cubicBezTo>
                  <a:pt x="1450" y="122"/>
                  <a:pt x="1450" y="122"/>
                  <a:pt x="1450" y="132"/>
                </a:cubicBezTo>
                <a:cubicBezTo>
                  <a:pt x="1453" y="132"/>
                  <a:pt x="1456" y="131"/>
                  <a:pt x="1458" y="129"/>
                </a:cubicBezTo>
                <a:cubicBezTo>
                  <a:pt x="1461" y="129"/>
                  <a:pt x="1463" y="127"/>
                  <a:pt x="1465" y="126"/>
                </a:cubicBezTo>
                <a:cubicBezTo>
                  <a:pt x="1465" y="126"/>
                  <a:pt x="1465" y="126"/>
                  <a:pt x="1465" y="185"/>
                </a:cubicBezTo>
                <a:cubicBezTo>
                  <a:pt x="1465" y="185"/>
                  <a:pt x="1465" y="185"/>
                  <a:pt x="1477" y="185"/>
                </a:cubicBezTo>
                <a:cubicBezTo>
                  <a:pt x="1477" y="185"/>
                  <a:pt x="1477" y="185"/>
                  <a:pt x="1477" y="111"/>
                </a:cubicBezTo>
                <a:close/>
                <a:moveTo>
                  <a:pt x="1522" y="111"/>
                </a:moveTo>
                <a:cubicBezTo>
                  <a:pt x="1522" y="111"/>
                  <a:pt x="1522" y="111"/>
                  <a:pt x="1522" y="111"/>
                </a:cubicBezTo>
                <a:cubicBezTo>
                  <a:pt x="1518" y="111"/>
                  <a:pt x="1518" y="111"/>
                  <a:pt x="1518" y="111"/>
                </a:cubicBezTo>
                <a:cubicBezTo>
                  <a:pt x="1516" y="113"/>
                  <a:pt x="1514" y="114"/>
                  <a:pt x="1512" y="115"/>
                </a:cubicBezTo>
                <a:cubicBezTo>
                  <a:pt x="1511" y="116"/>
                  <a:pt x="1509" y="117"/>
                  <a:pt x="1507" y="118"/>
                </a:cubicBezTo>
                <a:cubicBezTo>
                  <a:pt x="1505" y="119"/>
                  <a:pt x="1504" y="120"/>
                  <a:pt x="1502" y="121"/>
                </a:cubicBezTo>
                <a:cubicBezTo>
                  <a:pt x="1500" y="121"/>
                  <a:pt x="1498" y="122"/>
                  <a:pt x="1496" y="122"/>
                </a:cubicBezTo>
                <a:cubicBezTo>
                  <a:pt x="1496" y="122"/>
                  <a:pt x="1496" y="122"/>
                  <a:pt x="1496" y="132"/>
                </a:cubicBezTo>
                <a:cubicBezTo>
                  <a:pt x="1499" y="132"/>
                  <a:pt x="1502" y="131"/>
                  <a:pt x="1504" y="129"/>
                </a:cubicBezTo>
                <a:cubicBezTo>
                  <a:pt x="1507" y="129"/>
                  <a:pt x="1509" y="127"/>
                  <a:pt x="1511" y="126"/>
                </a:cubicBezTo>
                <a:cubicBezTo>
                  <a:pt x="1511" y="126"/>
                  <a:pt x="1511" y="126"/>
                  <a:pt x="1511" y="185"/>
                </a:cubicBezTo>
                <a:cubicBezTo>
                  <a:pt x="1511" y="185"/>
                  <a:pt x="1511" y="185"/>
                  <a:pt x="1522" y="185"/>
                </a:cubicBezTo>
                <a:cubicBezTo>
                  <a:pt x="1522" y="185"/>
                  <a:pt x="1522" y="185"/>
                  <a:pt x="1522" y="111"/>
                </a:cubicBezTo>
                <a:close/>
                <a:moveTo>
                  <a:pt x="1272" y="159"/>
                </a:moveTo>
                <a:cubicBezTo>
                  <a:pt x="1273" y="160"/>
                  <a:pt x="1273" y="161"/>
                  <a:pt x="1274" y="163"/>
                </a:cubicBezTo>
                <a:cubicBezTo>
                  <a:pt x="1274" y="164"/>
                  <a:pt x="1275" y="166"/>
                  <a:pt x="1275" y="168"/>
                </a:cubicBezTo>
                <a:cubicBezTo>
                  <a:pt x="1275" y="170"/>
                  <a:pt x="1275" y="171"/>
                  <a:pt x="1275" y="173"/>
                </a:cubicBezTo>
                <a:cubicBezTo>
                  <a:pt x="1276" y="176"/>
                  <a:pt x="1275" y="178"/>
                  <a:pt x="1272" y="178"/>
                </a:cubicBezTo>
                <a:cubicBezTo>
                  <a:pt x="1269" y="178"/>
                  <a:pt x="1266" y="177"/>
                  <a:pt x="1263" y="177"/>
                </a:cubicBezTo>
                <a:cubicBezTo>
                  <a:pt x="1263" y="177"/>
                  <a:pt x="1262" y="177"/>
                  <a:pt x="1262" y="178"/>
                </a:cubicBezTo>
                <a:cubicBezTo>
                  <a:pt x="1260" y="179"/>
                  <a:pt x="1259" y="180"/>
                  <a:pt x="1258" y="182"/>
                </a:cubicBezTo>
                <a:cubicBezTo>
                  <a:pt x="1256" y="184"/>
                  <a:pt x="1252" y="185"/>
                  <a:pt x="1250" y="183"/>
                </a:cubicBezTo>
                <a:cubicBezTo>
                  <a:pt x="1248" y="180"/>
                  <a:pt x="1247" y="178"/>
                  <a:pt x="1245" y="175"/>
                </a:cubicBezTo>
                <a:cubicBezTo>
                  <a:pt x="1245" y="174"/>
                  <a:pt x="1245" y="172"/>
                  <a:pt x="1247" y="170"/>
                </a:cubicBezTo>
                <a:cubicBezTo>
                  <a:pt x="1245" y="170"/>
                  <a:pt x="1243" y="170"/>
                  <a:pt x="1241" y="170"/>
                </a:cubicBezTo>
                <a:cubicBezTo>
                  <a:pt x="1241" y="172"/>
                  <a:pt x="1239" y="174"/>
                  <a:pt x="1239" y="176"/>
                </a:cubicBezTo>
                <a:cubicBezTo>
                  <a:pt x="1239" y="177"/>
                  <a:pt x="1238" y="178"/>
                  <a:pt x="1238" y="179"/>
                </a:cubicBezTo>
                <a:cubicBezTo>
                  <a:pt x="1238" y="182"/>
                  <a:pt x="1237" y="183"/>
                  <a:pt x="1234" y="183"/>
                </a:cubicBezTo>
                <a:cubicBezTo>
                  <a:pt x="1231" y="182"/>
                  <a:pt x="1228" y="182"/>
                  <a:pt x="1225" y="180"/>
                </a:cubicBezTo>
                <a:cubicBezTo>
                  <a:pt x="1223" y="180"/>
                  <a:pt x="1222" y="178"/>
                  <a:pt x="1223" y="176"/>
                </a:cubicBezTo>
                <a:cubicBezTo>
                  <a:pt x="1223" y="176"/>
                  <a:pt x="1223" y="175"/>
                  <a:pt x="1224" y="175"/>
                </a:cubicBezTo>
                <a:cubicBezTo>
                  <a:pt x="1221" y="174"/>
                  <a:pt x="1219" y="173"/>
                  <a:pt x="1217" y="171"/>
                </a:cubicBezTo>
                <a:cubicBezTo>
                  <a:pt x="1216" y="170"/>
                  <a:pt x="1215" y="168"/>
                  <a:pt x="1214" y="167"/>
                </a:cubicBezTo>
                <a:cubicBezTo>
                  <a:pt x="1213" y="165"/>
                  <a:pt x="1213" y="163"/>
                  <a:pt x="1215" y="162"/>
                </a:cubicBezTo>
                <a:cubicBezTo>
                  <a:pt x="1218" y="159"/>
                  <a:pt x="1219" y="157"/>
                  <a:pt x="1218" y="153"/>
                </a:cubicBezTo>
                <a:cubicBezTo>
                  <a:pt x="1218" y="151"/>
                  <a:pt x="1218" y="148"/>
                  <a:pt x="1218" y="147"/>
                </a:cubicBezTo>
                <a:cubicBezTo>
                  <a:pt x="1217" y="146"/>
                  <a:pt x="1215" y="145"/>
                  <a:pt x="1214" y="144"/>
                </a:cubicBezTo>
                <a:cubicBezTo>
                  <a:pt x="1213" y="143"/>
                  <a:pt x="1212" y="141"/>
                  <a:pt x="1212" y="139"/>
                </a:cubicBezTo>
                <a:cubicBezTo>
                  <a:pt x="1212" y="136"/>
                  <a:pt x="1215" y="133"/>
                  <a:pt x="1218" y="132"/>
                </a:cubicBezTo>
                <a:cubicBezTo>
                  <a:pt x="1219" y="133"/>
                  <a:pt x="1219" y="134"/>
                  <a:pt x="1219" y="135"/>
                </a:cubicBezTo>
                <a:cubicBezTo>
                  <a:pt x="1219" y="136"/>
                  <a:pt x="1219" y="137"/>
                  <a:pt x="1219" y="138"/>
                </a:cubicBezTo>
                <a:cubicBezTo>
                  <a:pt x="1219" y="138"/>
                  <a:pt x="1218" y="138"/>
                  <a:pt x="1218" y="138"/>
                </a:cubicBezTo>
                <a:cubicBezTo>
                  <a:pt x="1217" y="139"/>
                  <a:pt x="1217" y="140"/>
                  <a:pt x="1216" y="142"/>
                </a:cubicBezTo>
                <a:cubicBezTo>
                  <a:pt x="1217" y="142"/>
                  <a:pt x="1218" y="142"/>
                  <a:pt x="1219" y="141"/>
                </a:cubicBezTo>
                <a:cubicBezTo>
                  <a:pt x="1220" y="140"/>
                  <a:pt x="1221" y="139"/>
                  <a:pt x="1221" y="138"/>
                </a:cubicBezTo>
                <a:cubicBezTo>
                  <a:pt x="1226" y="131"/>
                  <a:pt x="1232" y="127"/>
                  <a:pt x="1239" y="126"/>
                </a:cubicBezTo>
                <a:cubicBezTo>
                  <a:pt x="1243" y="125"/>
                  <a:pt x="1246" y="124"/>
                  <a:pt x="1248" y="121"/>
                </a:cubicBezTo>
                <a:cubicBezTo>
                  <a:pt x="1248" y="121"/>
                  <a:pt x="1249" y="121"/>
                  <a:pt x="1249" y="121"/>
                </a:cubicBezTo>
                <a:cubicBezTo>
                  <a:pt x="1252" y="120"/>
                  <a:pt x="1254" y="118"/>
                  <a:pt x="1256" y="116"/>
                </a:cubicBezTo>
                <a:cubicBezTo>
                  <a:pt x="1263" y="108"/>
                  <a:pt x="1275" y="108"/>
                  <a:pt x="1283" y="115"/>
                </a:cubicBezTo>
                <a:cubicBezTo>
                  <a:pt x="1285" y="117"/>
                  <a:pt x="1288" y="119"/>
                  <a:pt x="1290" y="121"/>
                </a:cubicBezTo>
                <a:cubicBezTo>
                  <a:pt x="1292" y="122"/>
                  <a:pt x="1293" y="123"/>
                  <a:pt x="1294" y="125"/>
                </a:cubicBezTo>
                <a:cubicBezTo>
                  <a:pt x="1295" y="127"/>
                  <a:pt x="1296" y="127"/>
                  <a:pt x="1297" y="126"/>
                </a:cubicBezTo>
                <a:cubicBezTo>
                  <a:pt x="1298" y="125"/>
                  <a:pt x="1299" y="125"/>
                  <a:pt x="1299" y="124"/>
                </a:cubicBezTo>
                <a:cubicBezTo>
                  <a:pt x="1301" y="121"/>
                  <a:pt x="1304" y="121"/>
                  <a:pt x="1306" y="124"/>
                </a:cubicBezTo>
                <a:cubicBezTo>
                  <a:pt x="1307" y="127"/>
                  <a:pt x="1308" y="130"/>
                  <a:pt x="1308" y="133"/>
                </a:cubicBezTo>
                <a:cubicBezTo>
                  <a:pt x="1309" y="138"/>
                  <a:pt x="1308" y="142"/>
                  <a:pt x="1307" y="146"/>
                </a:cubicBezTo>
                <a:cubicBezTo>
                  <a:pt x="1304" y="153"/>
                  <a:pt x="1300" y="156"/>
                  <a:pt x="1293" y="156"/>
                </a:cubicBezTo>
                <a:cubicBezTo>
                  <a:pt x="1292" y="156"/>
                  <a:pt x="1292" y="156"/>
                  <a:pt x="1291" y="156"/>
                </a:cubicBezTo>
                <a:cubicBezTo>
                  <a:pt x="1289" y="156"/>
                  <a:pt x="1288" y="156"/>
                  <a:pt x="1287" y="159"/>
                </a:cubicBezTo>
                <a:cubicBezTo>
                  <a:pt x="1285" y="163"/>
                  <a:pt x="1280" y="164"/>
                  <a:pt x="1276" y="161"/>
                </a:cubicBezTo>
                <a:cubicBezTo>
                  <a:pt x="1275" y="160"/>
                  <a:pt x="1274" y="159"/>
                  <a:pt x="1273" y="158"/>
                </a:cubicBezTo>
                <a:cubicBezTo>
                  <a:pt x="1273" y="159"/>
                  <a:pt x="1273" y="159"/>
                  <a:pt x="1272" y="159"/>
                </a:cubicBezTo>
                <a:close/>
                <a:moveTo>
                  <a:pt x="1267" y="154"/>
                </a:moveTo>
                <a:cubicBezTo>
                  <a:pt x="1270" y="156"/>
                  <a:pt x="1274" y="157"/>
                  <a:pt x="1276" y="160"/>
                </a:cubicBezTo>
                <a:cubicBezTo>
                  <a:pt x="1278" y="161"/>
                  <a:pt x="1280" y="162"/>
                  <a:pt x="1282" y="161"/>
                </a:cubicBezTo>
                <a:cubicBezTo>
                  <a:pt x="1285" y="161"/>
                  <a:pt x="1286" y="159"/>
                  <a:pt x="1286" y="155"/>
                </a:cubicBezTo>
                <a:cubicBezTo>
                  <a:pt x="1286" y="156"/>
                  <a:pt x="1285" y="156"/>
                  <a:pt x="1285" y="156"/>
                </a:cubicBezTo>
                <a:cubicBezTo>
                  <a:pt x="1285" y="158"/>
                  <a:pt x="1284" y="159"/>
                  <a:pt x="1283" y="160"/>
                </a:cubicBezTo>
                <a:cubicBezTo>
                  <a:pt x="1282" y="161"/>
                  <a:pt x="1280" y="161"/>
                  <a:pt x="1280" y="160"/>
                </a:cubicBezTo>
                <a:cubicBezTo>
                  <a:pt x="1279" y="160"/>
                  <a:pt x="1278" y="159"/>
                  <a:pt x="1278" y="158"/>
                </a:cubicBezTo>
                <a:cubicBezTo>
                  <a:pt x="1278" y="156"/>
                  <a:pt x="1279" y="154"/>
                  <a:pt x="1279" y="152"/>
                </a:cubicBezTo>
                <a:cubicBezTo>
                  <a:pt x="1282" y="153"/>
                  <a:pt x="1286" y="154"/>
                  <a:pt x="1289" y="154"/>
                </a:cubicBezTo>
                <a:cubicBezTo>
                  <a:pt x="1297" y="155"/>
                  <a:pt x="1303" y="154"/>
                  <a:pt x="1306" y="145"/>
                </a:cubicBezTo>
                <a:cubicBezTo>
                  <a:pt x="1307" y="140"/>
                  <a:pt x="1307" y="136"/>
                  <a:pt x="1306" y="130"/>
                </a:cubicBezTo>
                <a:cubicBezTo>
                  <a:pt x="1306" y="128"/>
                  <a:pt x="1305" y="127"/>
                  <a:pt x="1304" y="125"/>
                </a:cubicBezTo>
                <a:cubicBezTo>
                  <a:pt x="1303" y="123"/>
                  <a:pt x="1302" y="123"/>
                  <a:pt x="1301" y="125"/>
                </a:cubicBezTo>
                <a:cubicBezTo>
                  <a:pt x="1299" y="126"/>
                  <a:pt x="1298" y="128"/>
                  <a:pt x="1296" y="128"/>
                </a:cubicBezTo>
                <a:cubicBezTo>
                  <a:pt x="1295" y="129"/>
                  <a:pt x="1294" y="130"/>
                  <a:pt x="1295" y="131"/>
                </a:cubicBezTo>
                <a:cubicBezTo>
                  <a:pt x="1295" y="134"/>
                  <a:pt x="1295" y="137"/>
                  <a:pt x="1293" y="140"/>
                </a:cubicBezTo>
                <a:cubicBezTo>
                  <a:pt x="1293" y="138"/>
                  <a:pt x="1294" y="136"/>
                  <a:pt x="1294" y="135"/>
                </a:cubicBezTo>
                <a:cubicBezTo>
                  <a:pt x="1294" y="134"/>
                  <a:pt x="1293" y="134"/>
                  <a:pt x="1293" y="133"/>
                </a:cubicBezTo>
                <a:cubicBezTo>
                  <a:pt x="1293" y="134"/>
                  <a:pt x="1292" y="134"/>
                  <a:pt x="1292" y="134"/>
                </a:cubicBezTo>
                <a:cubicBezTo>
                  <a:pt x="1291" y="135"/>
                  <a:pt x="1290" y="137"/>
                  <a:pt x="1290" y="138"/>
                </a:cubicBezTo>
                <a:cubicBezTo>
                  <a:pt x="1289" y="138"/>
                  <a:pt x="1289" y="138"/>
                  <a:pt x="1289" y="138"/>
                </a:cubicBezTo>
                <a:cubicBezTo>
                  <a:pt x="1290" y="136"/>
                  <a:pt x="1290" y="135"/>
                  <a:pt x="1290" y="132"/>
                </a:cubicBezTo>
                <a:cubicBezTo>
                  <a:pt x="1289" y="133"/>
                  <a:pt x="1289" y="134"/>
                  <a:pt x="1288" y="134"/>
                </a:cubicBezTo>
                <a:cubicBezTo>
                  <a:pt x="1288" y="135"/>
                  <a:pt x="1287" y="136"/>
                  <a:pt x="1287" y="136"/>
                </a:cubicBezTo>
                <a:cubicBezTo>
                  <a:pt x="1287" y="133"/>
                  <a:pt x="1288" y="133"/>
                  <a:pt x="1293" y="132"/>
                </a:cubicBezTo>
                <a:cubicBezTo>
                  <a:pt x="1293" y="131"/>
                  <a:pt x="1292" y="130"/>
                  <a:pt x="1292" y="130"/>
                </a:cubicBezTo>
                <a:cubicBezTo>
                  <a:pt x="1290" y="131"/>
                  <a:pt x="1289" y="130"/>
                  <a:pt x="1288" y="127"/>
                </a:cubicBezTo>
                <a:cubicBezTo>
                  <a:pt x="1290" y="127"/>
                  <a:pt x="1291" y="126"/>
                  <a:pt x="1293" y="126"/>
                </a:cubicBezTo>
                <a:cubicBezTo>
                  <a:pt x="1291" y="124"/>
                  <a:pt x="1290" y="121"/>
                  <a:pt x="1287" y="121"/>
                </a:cubicBezTo>
                <a:cubicBezTo>
                  <a:pt x="1286" y="121"/>
                  <a:pt x="1286" y="120"/>
                  <a:pt x="1286" y="120"/>
                </a:cubicBezTo>
                <a:cubicBezTo>
                  <a:pt x="1284" y="118"/>
                  <a:pt x="1281" y="115"/>
                  <a:pt x="1278" y="113"/>
                </a:cubicBezTo>
                <a:cubicBezTo>
                  <a:pt x="1276" y="112"/>
                  <a:pt x="1273" y="111"/>
                  <a:pt x="1271" y="111"/>
                </a:cubicBezTo>
                <a:cubicBezTo>
                  <a:pt x="1268" y="112"/>
                  <a:pt x="1265" y="113"/>
                  <a:pt x="1262" y="114"/>
                </a:cubicBezTo>
                <a:cubicBezTo>
                  <a:pt x="1259" y="115"/>
                  <a:pt x="1256" y="117"/>
                  <a:pt x="1254" y="120"/>
                </a:cubicBezTo>
                <a:cubicBezTo>
                  <a:pt x="1256" y="120"/>
                  <a:pt x="1257" y="120"/>
                  <a:pt x="1258" y="120"/>
                </a:cubicBezTo>
                <a:cubicBezTo>
                  <a:pt x="1258" y="120"/>
                  <a:pt x="1257" y="121"/>
                  <a:pt x="1256" y="121"/>
                </a:cubicBezTo>
                <a:cubicBezTo>
                  <a:pt x="1254" y="121"/>
                  <a:pt x="1251" y="121"/>
                  <a:pt x="1249" y="123"/>
                </a:cubicBezTo>
                <a:cubicBezTo>
                  <a:pt x="1246" y="127"/>
                  <a:pt x="1242" y="130"/>
                  <a:pt x="1238" y="135"/>
                </a:cubicBezTo>
                <a:cubicBezTo>
                  <a:pt x="1237" y="137"/>
                  <a:pt x="1236" y="139"/>
                  <a:pt x="1235" y="142"/>
                </a:cubicBezTo>
                <a:cubicBezTo>
                  <a:pt x="1235" y="142"/>
                  <a:pt x="1235" y="143"/>
                  <a:pt x="1235" y="143"/>
                </a:cubicBezTo>
                <a:cubicBezTo>
                  <a:pt x="1236" y="145"/>
                  <a:pt x="1237" y="147"/>
                  <a:pt x="1239" y="149"/>
                </a:cubicBezTo>
                <a:cubicBezTo>
                  <a:pt x="1240" y="147"/>
                  <a:pt x="1241" y="146"/>
                  <a:pt x="1243" y="145"/>
                </a:cubicBezTo>
                <a:cubicBezTo>
                  <a:pt x="1242" y="146"/>
                  <a:pt x="1242" y="147"/>
                  <a:pt x="1241" y="149"/>
                </a:cubicBezTo>
                <a:cubicBezTo>
                  <a:pt x="1240" y="150"/>
                  <a:pt x="1239" y="151"/>
                  <a:pt x="1239" y="153"/>
                </a:cubicBezTo>
                <a:cubicBezTo>
                  <a:pt x="1239" y="153"/>
                  <a:pt x="1239" y="155"/>
                  <a:pt x="1239" y="155"/>
                </a:cubicBezTo>
                <a:cubicBezTo>
                  <a:pt x="1242" y="159"/>
                  <a:pt x="1245" y="159"/>
                  <a:pt x="1249" y="157"/>
                </a:cubicBezTo>
                <a:cubicBezTo>
                  <a:pt x="1251" y="155"/>
                  <a:pt x="1254" y="154"/>
                  <a:pt x="1257" y="153"/>
                </a:cubicBezTo>
                <a:cubicBezTo>
                  <a:pt x="1258" y="153"/>
                  <a:pt x="1260" y="152"/>
                  <a:pt x="1260" y="151"/>
                </a:cubicBezTo>
                <a:cubicBezTo>
                  <a:pt x="1260" y="147"/>
                  <a:pt x="1260" y="144"/>
                  <a:pt x="1260" y="141"/>
                </a:cubicBezTo>
                <a:cubicBezTo>
                  <a:pt x="1260" y="138"/>
                  <a:pt x="1260" y="135"/>
                  <a:pt x="1260" y="132"/>
                </a:cubicBezTo>
                <a:cubicBezTo>
                  <a:pt x="1260" y="134"/>
                  <a:pt x="1261" y="137"/>
                  <a:pt x="1261" y="140"/>
                </a:cubicBezTo>
                <a:cubicBezTo>
                  <a:pt x="1262" y="144"/>
                  <a:pt x="1262" y="149"/>
                  <a:pt x="1261" y="153"/>
                </a:cubicBezTo>
                <a:cubicBezTo>
                  <a:pt x="1260" y="154"/>
                  <a:pt x="1260" y="155"/>
                  <a:pt x="1259" y="155"/>
                </a:cubicBezTo>
                <a:cubicBezTo>
                  <a:pt x="1256" y="155"/>
                  <a:pt x="1252" y="157"/>
                  <a:pt x="1249" y="159"/>
                </a:cubicBezTo>
                <a:cubicBezTo>
                  <a:pt x="1244" y="162"/>
                  <a:pt x="1241" y="160"/>
                  <a:pt x="1237" y="156"/>
                </a:cubicBezTo>
                <a:cubicBezTo>
                  <a:pt x="1237" y="155"/>
                  <a:pt x="1237" y="154"/>
                  <a:pt x="1237" y="154"/>
                </a:cubicBezTo>
                <a:cubicBezTo>
                  <a:pt x="1238" y="151"/>
                  <a:pt x="1237" y="149"/>
                  <a:pt x="1236" y="147"/>
                </a:cubicBezTo>
                <a:cubicBezTo>
                  <a:pt x="1234" y="145"/>
                  <a:pt x="1232" y="143"/>
                  <a:pt x="1234" y="140"/>
                </a:cubicBezTo>
                <a:cubicBezTo>
                  <a:pt x="1234" y="138"/>
                  <a:pt x="1235" y="137"/>
                  <a:pt x="1236" y="135"/>
                </a:cubicBezTo>
                <a:cubicBezTo>
                  <a:pt x="1238" y="132"/>
                  <a:pt x="1240" y="130"/>
                  <a:pt x="1242" y="127"/>
                </a:cubicBezTo>
                <a:cubicBezTo>
                  <a:pt x="1242" y="127"/>
                  <a:pt x="1241" y="127"/>
                  <a:pt x="1241" y="127"/>
                </a:cubicBezTo>
                <a:cubicBezTo>
                  <a:pt x="1236" y="128"/>
                  <a:pt x="1232" y="130"/>
                  <a:pt x="1228" y="133"/>
                </a:cubicBezTo>
                <a:cubicBezTo>
                  <a:pt x="1223" y="138"/>
                  <a:pt x="1220" y="143"/>
                  <a:pt x="1220" y="149"/>
                </a:cubicBezTo>
                <a:cubicBezTo>
                  <a:pt x="1219" y="156"/>
                  <a:pt x="1222" y="162"/>
                  <a:pt x="1225" y="168"/>
                </a:cubicBezTo>
                <a:cubicBezTo>
                  <a:pt x="1226" y="169"/>
                  <a:pt x="1226" y="170"/>
                  <a:pt x="1226" y="172"/>
                </a:cubicBezTo>
                <a:cubicBezTo>
                  <a:pt x="1226" y="173"/>
                  <a:pt x="1226" y="175"/>
                  <a:pt x="1225" y="176"/>
                </a:cubicBezTo>
                <a:cubicBezTo>
                  <a:pt x="1224" y="178"/>
                  <a:pt x="1225" y="179"/>
                  <a:pt x="1226" y="179"/>
                </a:cubicBezTo>
                <a:cubicBezTo>
                  <a:pt x="1229" y="180"/>
                  <a:pt x="1232" y="180"/>
                  <a:pt x="1235" y="181"/>
                </a:cubicBezTo>
                <a:cubicBezTo>
                  <a:pt x="1236" y="181"/>
                  <a:pt x="1236" y="180"/>
                  <a:pt x="1236" y="180"/>
                </a:cubicBezTo>
                <a:cubicBezTo>
                  <a:pt x="1237" y="178"/>
                  <a:pt x="1237" y="177"/>
                  <a:pt x="1237" y="176"/>
                </a:cubicBezTo>
                <a:cubicBezTo>
                  <a:pt x="1239" y="174"/>
                  <a:pt x="1239" y="171"/>
                  <a:pt x="1239" y="168"/>
                </a:cubicBezTo>
                <a:cubicBezTo>
                  <a:pt x="1239" y="168"/>
                  <a:pt x="1239" y="167"/>
                  <a:pt x="1239" y="167"/>
                </a:cubicBezTo>
                <a:cubicBezTo>
                  <a:pt x="1239" y="166"/>
                  <a:pt x="1239" y="166"/>
                  <a:pt x="1239" y="166"/>
                </a:cubicBezTo>
                <a:cubicBezTo>
                  <a:pt x="1240" y="169"/>
                  <a:pt x="1241" y="169"/>
                  <a:pt x="1243" y="169"/>
                </a:cubicBezTo>
                <a:cubicBezTo>
                  <a:pt x="1244" y="169"/>
                  <a:pt x="1245" y="169"/>
                  <a:pt x="1246" y="169"/>
                </a:cubicBezTo>
                <a:cubicBezTo>
                  <a:pt x="1249" y="169"/>
                  <a:pt x="1252" y="170"/>
                  <a:pt x="1252" y="165"/>
                </a:cubicBezTo>
                <a:cubicBezTo>
                  <a:pt x="1252" y="168"/>
                  <a:pt x="1252" y="169"/>
                  <a:pt x="1252" y="170"/>
                </a:cubicBezTo>
                <a:cubicBezTo>
                  <a:pt x="1251" y="171"/>
                  <a:pt x="1250" y="172"/>
                  <a:pt x="1249" y="172"/>
                </a:cubicBezTo>
                <a:cubicBezTo>
                  <a:pt x="1247" y="173"/>
                  <a:pt x="1247" y="174"/>
                  <a:pt x="1247" y="175"/>
                </a:cubicBezTo>
                <a:cubicBezTo>
                  <a:pt x="1249" y="178"/>
                  <a:pt x="1250" y="180"/>
                  <a:pt x="1251" y="182"/>
                </a:cubicBezTo>
                <a:cubicBezTo>
                  <a:pt x="1253" y="183"/>
                  <a:pt x="1255" y="182"/>
                  <a:pt x="1256" y="181"/>
                </a:cubicBezTo>
                <a:cubicBezTo>
                  <a:pt x="1257" y="180"/>
                  <a:pt x="1258" y="179"/>
                  <a:pt x="1258" y="179"/>
                </a:cubicBezTo>
                <a:cubicBezTo>
                  <a:pt x="1260" y="177"/>
                  <a:pt x="1262" y="176"/>
                  <a:pt x="1263" y="175"/>
                </a:cubicBezTo>
                <a:cubicBezTo>
                  <a:pt x="1267" y="170"/>
                  <a:pt x="1269" y="164"/>
                  <a:pt x="1271" y="159"/>
                </a:cubicBezTo>
                <a:cubicBezTo>
                  <a:pt x="1271" y="158"/>
                  <a:pt x="1270" y="157"/>
                  <a:pt x="1270" y="157"/>
                </a:cubicBezTo>
                <a:cubicBezTo>
                  <a:pt x="1269" y="156"/>
                  <a:pt x="1268" y="155"/>
                  <a:pt x="1267" y="154"/>
                </a:cubicBezTo>
                <a:close/>
                <a:moveTo>
                  <a:pt x="1219" y="161"/>
                </a:moveTo>
                <a:cubicBezTo>
                  <a:pt x="1219" y="161"/>
                  <a:pt x="1217" y="162"/>
                  <a:pt x="1216" y="163"/>
                </a:cubicBezTo>
                <a:cubicBezTo>
                  <a:pt x="1215" y="164"/>
                  <a:pt x="1215" y="164"/>
                  <a:pt x="1215" y="165"/>
                </a:cubicBezTo>
                <a:cubicBezTo>
                  <a:pt x="1215" y="168"/>
                  <a:pt x="1219" y="172"/>
                  <a:pt x="1222" y="172"/>
                </a:cubicBezTo>
                <a:cubicBezTo>
                  <a:pt x="1224" y="172"/>
                  <a:pt x="1225" y="171"/>
                  <a:pt x="1224" y="169"/>
                </a:cubicBezTo>
                <a:cubicBezTo>
                  <a:pt x="1222" y="166"/>
                  <a:pt x="1221" y="163"/>
                  <a:pt x="1219" y="161"/>
                </a:cubicBezTo>
                <a:close/>
                <a:moveTo>
                  <a:pt x="1272" y="163"/>
                </a:moveTo>
                <a:cubicBezTo>
                  <a:pt x="1270" y="167"/>
                  <a:pt x="1267" y="172"/>
                  <a:pt x="1265" y="176"/>
                </a:cubicBezTo>
                <a:cubicBezTo>
                  <a:pt x="1268" y="176"/>
                  <a:pt x="1270" y="176"/>
                  <a:pt x="1273" y="176"/>
                </a:cubicBezTo>
                <a:cubicBezTo>
                  <a:pt x="1273" y="176"/>
                  <a:pt x="1274" y="175"/>
                  <a:pt x="1274" y="174"/>
                </a:cubicBezTo>
                <a:cubicBezTo>
                  <a:pt x="1274" y="172"/>
                  <a:pt x="1274" y="169"/>
                  <a:pt x="1273" y="167"/>
                </a:cubicBezTo>
                <a:cubicBezTo>
                  <a:pt x="1273" y="165"/>
                  <a:pt x="1273" y="164"/>
                  <a:pt x="1272" y="163"/>
                </a:cubicBezTo>
                <a:close/>
                <a:moveTo>
                  <a:pt x="1219" y="142"/>
                </a:moveTo>
                <a:cubicBezTo>
                  <a:pt x="1219" y="143"/>
                  <a:pt x="1218" y="143"/>
                  <a:pt x="1217" y="143"/>
                </a:cubicBezTo>
                <a:cubicBezTo>
                  <a:pt x="1217" y="143"/>
                  <a:pt x="1216" y="143"/>
                  <a:pt x="1216" y="143"/>
                </a:cubicBezTo>
                <a:cubicBezTo>
                  <a:pt x="1215" y="142"/>
                  <a:pt x="1215" y="142"/>
                  <a:pt x="1215" y="141"/>
                </a:cubicBezTo>
                <a:cubicBezTo>
                  <a:pt x="1216" y="139"/>
                  <a:pt x="1216" y="137"/>
                  <a:pt x="1217" y="135"/>
                </a:cubicBezTo>
                <a:cubicBezTo>
                  <a:pt x="1217" y="135"/>
                  <a:pt x="1217" y="135"/>
                  <a:pt x="1216" y="135"/>
                </a:cubicBezTo>
                <a:cubicBezTo>
                  <a:pt x="1215" y="136"/>
                  <a:pt x="1214" y="136"/>
                  <a:pt x="1213" y="138"/>
                </a:cubicBezTo>
                <a:cubicBezTo>
                  <a:pt x="1213" y="139"/>
                  <a:pt x="1214" y="144"/>
                  <a:pt x="1216" y="145"/>
                </a:cubicBezTo>
                <a:cubicBezTo>
                  <a:pt x="1217" y="145"/>
                  <a:pt x="1219" y="144"/>
                  <a:pt x="1219" y="142"/>
                </a:cubicBezTo>
                <a:close/>
                <a:moveTo>
                  <a:pt x="1219" y="161"/>
                </a:moveTo>
                <a:cubicBezTo>
                  <a:pt x="1219" y="161"/>
                  <a:pt x="1217" y="162"/>
                  <a:pt x="1216" y="163"/>
                </a:cubicBezTo>
                <a:cubicBezTo>
                  <a:pt x="1216" y="164"/>
                  <a:pt x="1215" y="165"/>
                  <a:pt x="1215" y="165"/>
                </a:cubicBezTo>
                <a:cubicBezTo>
                  <a:pt x="1215" y="168"/>
                  <a:pt x="1219" y="173"/>
                  <a:pt x="1223" y="172"/>
                </a:cubicBezTo>
                <a:cubicBezTo>
                  <a:pt x="1224" y="172"/>
                  <a:pt x="1225" y="171"/>
                  <a:pt x="1224" y="169"/>
                </a:cubicBezTo>
                <a:cubicBezTo>
                  <a:pt x="1223" y="166"/>
                  <a:pt x="1221" y="163"/>
                  <a:pt x="1219" y="161"/>
                </a:cubicBezTo>
                <a:close/>
                <a:moveTo>
                  <a:pt x="1272" y="163"/>
                </a:moveTo>
                <a:cubicBezTo>
                  <a:pt x="1270" y="167"/>
                  <a:pt x="1267" y="172"/>
                  <a:pt x="1265" y="176"/>
                </a:cubicBezTo>
                <a:cubicBezTo>
                  <a:pt x="1268" y="176"/>
                  <a:pt x="1270" y="177"/>
                  <a:pt x="1273" y="176"/>
                </a:cubicBezTo>
                <a:cubicBezTo>
                  <a:pt x="1273" y="176"/>
                  <a:pt x="1274" y="175"/>
                  <a:pt x="1274" y="175"/>
                </a:cubicBezTo>
                <a:cubicBezTo>
                  <a:pt x="1274" y="172"/>
                  <a:pt x="1274" y="169"/>
                  <a:pt x="1273" y="167"/>
                </a:cubicBezTo>
                <a:cubicBezTo>
                  <a:pt x="1273" y="165"/>
                  <a:pt x="1273" y="164"/>
                  <a:pt x="1272" y="163"/>
                </a:cubicBezTo>
                <a:close/>
                <a:moveTo>
                  <a:pt x="1220" y="143"/>
                </a:moveTo>
                <a:cubicBezTo>
                  <a:pt x="1219" y="143"/>
                  <a:pt x="1218" y="143"/>
                  <a:pt x="1218" y="143"/>
                </a:cubicBezTo>
                <a:cubicBezTo>
                  <a:pt x="1217" y="143"/>
                  <a:pt x="1216" y="143"/>
                  <a:pt x="1216" y="143"/>
                </a:cubicBezTo>
                <a:cubicBezTo>
                  <a:pt x="1216" y="143"/>
                  <a:pt x="1215" y="142"/>
                  <a:pt x="1215" y="141"/>
                </a:cubicBezTo>
                <a:cubicBezTo>
                  <a:pt x="1216" y="139"/>
                  <a:pt x="1216" y="137"/>
                  <a:pt x="1217" y="135"/>
                </a:cubicBezTo>
                <a:cubicBezTo>
                  <a:pt x="1217" y="135"/>
                  <a:pt x="1217" y="135"/>
                  <a:pt x="1216" y="135"/>
                </a:cubicBezTo>
                <a:cubicBezTo>
                  <a:pt x="1216" y="136"/>
                  <a:pt x="1214" y="136"/>
                  <a:pt x="1214" y="138"/>
                </a:cubicBezTo>
                <a:cubicBezTo>
                  <a:pt x="1213" y="139"/>
                  <a:pt x="1214" y="144"/>
                  <a:pt x="1216" y="145"/>
                </a:cubicBezTo>
                <a:cubicBezTo>
                  <a:pt x="1218" y="146"/>
                  <a:pt x="1220" y="145"/>
                  <a:pt x="1220" y="143"/>
                </a:cubicBezTo>
                <a:close/>
                <a:moveTo>
                  <a:pt x="1271" y="134"/>
                </a:moveTo>
                <a:cubicBezTo>
                  <a:pt x="1275" y="131"/>
                  <a:pt x="1275" y="131"/>
                  <a:pt x="1279" y="129"/>
                </a:cubicBezTo>
                <a:cubicBezTo>
                  <a:pt x="1279" y="131"/>
                  <a:pt x="1280" y="133"/>
                  <a:pt x="1281" y="133"/>
                </a:cubicBezTo>
                <a:cubicBezTo>
                  <a:pt x="1279" y="134"/>
                  <a:pt x="1277" y="135"/>
                  <a:pt x="1275" y="137"/>
                </a:cubicBezTo>
                <a:cubicBezTo>
                  <a:pt x="1274" y="136"/>
                  <a:pt x="1274" y="135"/>
                  <a:pt x="1273" y="134"/>
                </a:cubicBezTo>
                <a:cubicBezTo>
                  <a:pt x="1273" y="134"/>
                  <a:pt x="1272" y="134"/>
                  <a:pt x="1271" y="134"/>
                </a:cubicBezTo>
                <a:close/>
                <a:moveTo>
                  <a:pt x="1277" y="134"/>
                </a:moveTo>
                <a:cubicBezTo>
                  <a:pt x="1277" y="133"/>
                  <a:pt x="1276" y="133"/>
                  <a:pt x="1275" y="133"/>
                </a:cubicBezTo>
                <a:cubicBezTo>
                  <a:pt x="1275" y="133"/>
                  <a:pt x="1274" y="134"/>
                  <a:pt x="1274" y="134"/>
                </a:cubicBezTo>
                <a:cubicBezTo>
                  <a:pt x="1274" y="135"/>
                  <a:pt x="1275" y="135"/>
                  <a:pt x="1275" y="135"/>
                </a:cubicBezTo>
                <a:cubicBezTo>
                  <a:pt x="1276" y="135"/>
                  <a:pt x="1276" y="135"/>
                  <a:pt x="1277" y="134"/>
                </a:cubicBezTo>
                <a:close/>
                <a:moveTo>
                  <a:pt x="1259" y="124"/>
                </a:moveTo>
                <a:cubicBezTo>
                  <a:pt x="1252" y="123"/>
                  <a:pt x="1249" y="126"/>
                  <a:pt x="1248" y="134"/>
                </a:cubicBezTo>
                <a:cubicBezTo>
                  <a:pt x="1249" y="132"/>
                  <a:pt x="1250" y="129"/>
                  <a:pt x="1252" y="127"/>
                </a:cubicBezTo>
                <a:cubicBezTo>
                  <a:pt x="1252" y="127"/>
                  <a:pt x="1252" y="127"/>
                  <a:pt x="1252" y="127"/>
                </a:cubicBezTo>
                <a:cubicBezTo>
                  <a:pt x="1252" y="128"/>
                  <a:pt x="1252" y="129"/>
                  <a:pt x="1252" y="130"/>
                </a:cubicBezTo>
                <a:cubicBezTo>
                  <a:pt x="1254" y="126"/>
                  <a:pt x="1255" y="124"/>
                  <a:pt x="1259" y="124"/>
                </a:cubicBezTo>
                <a:close/>
                <a:moveTo>
                  <a:pt x="1302" y="126"/>
                </a:moveTo>
                <a:cubicBezTo>
                  <a:pt x="1300" y="127"/>
                  <a:pt x="1298" y="128"/>
                  <a:pt x="1297" y="130"/>
                </a:cubicBezTo>
                <a:cubicBezTo>
                  <a:pt x="1299" y="130"/>
                  <a:pt x="1301" y="128"/>
                  <a:pt x="1302" y="126"/>
                </a:cubicBezTo>
                <a:close/>
                <a:moveTo>
                  <a:pt x="1269" y="128"/>
                </a:moveTo>
                <a:cubicBezTo>
                  <a:pt x="1270" y="126"/>
                  <a:pt x="1271" y="125"/>
                  <a:pt x="1272" y="124"/>
                </a:cubicBezTo>
                <a:cubicBezTo>
                  <a:pt x="1269" y="125"/>
                  <a:pt x="1268" y="126"/>
                  <a:pt x="1269" y="128"/>
                </a:cubicBezTo>
                <a:close/>
                <a:moveTo>
                  <a:pt x="1279" y="149"/>
                </a:moveTo>
                <a:cubicBezTo>
                  <a:pt x="1277" y="150"/>
                  <a:pt x="1276" y="150"/>
                  <a:pt x="1276" y="151"/>
                </a:cubicBezTo>
                <a:cubicBezTo>
                  <a:pt x="1277" y="151"/>
                  <a:pt x="1278" y="150"/>
                  <a:pt x="1279" y="149"/>
                </a:cubicBezTo>
                <a:close/>
                <a:moveTo>
                  <a:pt x="1278" y="134"/>
                </a:moveTo>
                <a:cubicBezTo>
                  <a:pt x="1277" y="133"/>
                  <a:pt x="1276" y="133"/>
                  <a:pt x="1276" y="133"/>
                </a:cubicBezTo>
                <a:cubicBezTo>
                  <a:pt x="1275" y="133"/>
                  <a:pt x="1274" y="134"/>
                  <a:pt x="1274" y="134"/>
                </a:cubicBezTo>
                <a:cubicBezTo>
                  <a:pt x="1274" y="134"/>
                  <a:pt x="1275" y="135"/>
                  <a:pt x="1275" y="135"/>
                </a:cubicBezTo>
                <a:cubicBezTo>
                  <a:pt x="1276" y="135"/>
                  <a:pt x="1276" y="134"/>
                  <a:pt x="1278" y="134"/>
                </a:cubicBezTo>
                <a:close/>
                <a:moveTo>
                  <a:pt x="1568" y="111"/>
                </a:moveTo>
                <a:cubicBezTo>
                  <a:pt x="1568" y="111"/>
                  <a:pt x="1568" y="111"/>
                  <a:pt x="1568" y="111"/>
                </a:cubicBezTo>
                <a:cubicBezTo>
                  <a:pt x="1564" y="111"/>
                  <a:pt x="1564" y="111"/>
                  <a:pt x="1564" y="111"/>
                </a:cubicBezTo>
                <a:cubicBezTo>
                  <a:pt x="1562" y="113"/>
                  <a:pt x="1561" y="114"/>
                  <a:pt x="1558" y="115"/>
                </a:cubicBezTo>
                <a:cubicBezTo>
                  <a:pt x="1557" y="116"/>
                  <a:pt x="1555" y="117"/>
                  <a:pt x="1553" y="118"/>
                </a:cubicBezTo>
                <a:cubicBezTo>
                  <a:pt x="1551" y="119"/>
                  <a:pt x="1550" y="120"/>
                  <a:pt x="1548" y="121"/>
                </a:cubicBezTo>
                <a:cubicBezTo>
                  <a:pt x="1546" y="121"/>
                  <a:pt x="1544" y="122"/>
                  <a:pt x="1543" y="122"/>
                </a:cubicBezTo>
                <a:cubicBezTo>
                  <a:pt x="1543" y="122"/>
                  <a:pt x="1543" y="122"/>
                  <a:pt x="1543" y="132"/>
                </a:cubicBezTo>
                <a:cubicBezTo>
                  <a:pt x="1545" y="132"/>
                  <a:pt x="1548" y="131"/>
                  <a:pt x="1550" y="129"/>
                </a:cubicBezTo>
                <a:cubicBezTo>
                  <a:pt x="1553" y="129"/>
                  <a:pt x="1556" y="127"/>
                  <a:pt x="1557" y="126"/>
                </a:cubicBezTo>
                <a:cubicBezTo>
                  <a:pt x="1557" y="126"/>
                  <a:pt x="1557" y="126"/>
                  <a:pt x="1557" y="185"/>
                </a:cubicBezTo>
                <a:cubicBezTo>
                  <a:pt x="1557" y="185"/>
                  <a:pt x="1557" y="185"/>
                  <a:pt x="1568" y="185"/>
                </a:cubicBezTo>
                <a:cubicBezTo>
                  <a:pt x="1568" y="185"/>
                  <a:pt x="1568" y="185"/>
                  <a:pt x="1568" y="111"/>
                </a:cubicBezTo>
                <a:close/>
                <a:moveTo>
                  <a:pt x="1690" y="111"/>
                </a:moveTo>
                <a:cubicBezTo>
                  <a:pt x="1690" y="111"/>
                  <a:pt x="1690" y="111"/>
                  <a:pt x="1690" y="111"/>
                </a:cubicBezTo>
                <a:cubicBezTo>
                  <a:pt x="1685" y="111"/>
                  <a:pt x="1685" y="111"/>
                  <a:pt x="1685" y="111"/>
                </a:cubicBezTo>
                <a:cubicBezTo>
                  <a:pt x="1683" y="113"/>
                  <a:pt x="1682" y="114"/>
                  <a:pt x="1679" y="115"/>
                </a:cubicBezTo>
                <a:cubicBezTo>
                  <a:pt x="1678" y="116"/>
                  <a:pt x="1676" y="117"/>
                  <a:pt x="1674" y="118"/>
                </a:cubicBezTo>
                <a:cubicBezTo>
                  <a:pt x="1673" y="119"/>
                  <a:pt x="1670" y="120"/>
                  <a:pt x="1669" y="121"/>
                </a:cubicBezTo>
                <a:cubicBezTo>
                  <a:pt x="1667" y="121"/>
                  <a:pt x="1665" y="122"/>
                  <a:pt x="1663" y="122"/>
                </a:cubicBezTo>
                <a:cubicBezTo>
                  <a:pt x="1663" y="122"/>
                  <a:pt x="1663" y="122"/>
                  <a:pt x="1663" y="132"/>
                </a:cubicBezTo>
                <a:cubicBezTo>
                  <a:pt x="1666" y="132"/>
                  <a:pt x="1669" y="131"/>
                  <a:pt x="1672" y="129"/>
                </a:cubicBezTo>
                <a:cubicBezTo>
                  <a:pt x="1674" y="129"/>
                  <a:pt x="1676" y="127"/>
                  <a:pt x="1679" y="126"/>
                </a:cubicBezTo>
                <a:cubicBezTo>
                  <a:pt x="1679" y="126"/>
                  <a:pt x="1679" y="126"/>
                  <a:pt x="1679" y="185"/>
                </a:cubicBezTo>
                <a:cubicBezTo>
                  <a:pt x="1679" y="185"/>
                  <a:pt x="1679" y="185"/>
                  <a:pt x="1690" y="185"/>
                </a:cubicBezTo>
                <a:cubicBezTo>
                  <a:pt x="1690" y="185"/>
                  <a:pt x="1690" y="185"/>
                  <a:pt x="1690" y="111"/>
                </a:cubicBezTo>
                <a:close/>
                <a:moveTo>
                  <a:pt x="1737" y="111"/>
                </a:moveTo>
                <a:cubicBezTo>
                  <a:pt x="1737" y="111"/>
                  <a:pt x="1737" y="111"/>
                  <a:pt x="1737" y="111"/>
                </a:cubicBezTo>
                <a:cubicBezTo>
                  <a:pt x="1732" y="111"/>
                  <a:pt x="1732" y="111"/>
                  <a:pt x="1732" y="111"/>
                </a:cubicBezTo>
                <a:cubicBezTo>
                  <a:pt x="1730" y="113"/>
                  <a:pt x="1728" y="114"/>
                  <a:pt x="1726" y="115"/>
                </a:cubicBezTo>
                <a:cubicBezTo>
                  <a:pt x="1725" y="116"/>
                  <a:pt x="1722" y="117"/>
                  <a:pt x="1721" y="118"/>
                </a:cubicBezTo>
                <a:cubicBezTo>
                  <a:pt x="1720" y="119"/>
                  <a:pt x="1717" y="120"/>
                  <a:pt x="1716" y="121"/>
                </a:cubicBezTo>
                <a:cubicBezTo>
                  <a:pt x="1714" y="121"/>
                  <a:pt x="1712" y="122"/>
                  <a:pt x="1710" y="122"/>
                </a:cubicBezTo>
                <a:cubicBezTo>
                  <a:pt x="1710" y="122"/>
                  <a:pt x="1710" y="122"/>
                  <a:pt x="1710" y="132"/>
                </a:cubicBezTo>
                <a:cubicBezTo>
                  <a:pt x="1713" y="132"/>
                  <a:pt x="1716" y="131"/>
                  <a:pt x="1718" y="129"/>
                </a:cubicBezTo>
                <a:cubicBezTo>
                  <a:pt x="1721" y="129"/>
                  <a:pt x="1723" y="127"/>
                  <a:pt x="1725" y="126"/>
                </a:cubicBezTo>
                <a:cubicBezTo>
                  <a:pt x="1725" y="126"/>
                  <a:pt x="1725" y="126"/>
                  <a:pt x="1725" y="185"/>
                </a:cubicBezTo>
                <a:cubicBezTo>
                  <a:pt x="1725" y="185"/>
                  <a:pt x="1725" y="185"/>
                  <a:pt x="1737" y="185"/>
                </a:cubicBezTo>
                <a:cubicBezTo>
                  <a:pt x="1737" y="185"/>
                  <a:pt x="1737" y="185"/>
                  <a:pt x="1737" y="111"/>
                </a:cubicBezTo>
                <a:close/>
                <a:moveTo>
                  <a:pt x="1783" y="111"/>
                </a:moveTo>
                <a:cubicBezTo>
                  <a:pt x="1783" y="111"/>
                  <a:pt x="1783" y="111"/>
                  <a:pt x="1783" y="111"/>
                </a:cubicBezTo>
                <a:cubicBezTo>
                  <a:pt x="1779" y="111"/>
                  <a:pt x="1779" y="111"/>
                  <a:pt x="1779" y="111"/>
                </a:cubicBezTo>
                <a:cubicBezTo>
                  <a:pt x="1777" y="113"/>
                  <a:pt x="1775" y="114"/>
                  <a:pt x="1773" y="115"/>
                </a:cubicBezTo>
                <a:cubicBezTo>
                  <a:pt x="1772" y="116"/>
                  <a:pt x="1769" y="117"/>
                  <a:pt x="1768" y="118"/>
                </a:cubicBezTo>
                <a:cubicBezTo>
                  <a:pt x="1766" y="119"/>
                  <a:pt x="1764" y="119"/>
                  <a:pt x="1762" y="120"/>
                </a:cubicBezTo>
                <a:cubicBezTo>
                  <a:pt x="1761" y="121"/>
                  <a:pt x="1759" y="121"/>
                  <a:pt x="1757" y="122"/>
                </a:cubicBezTo>
                <a:cubicBezTo>
                  <a:pt x="1757" y="122"/>
                  <a:pt x="1757" y="122"/>
                  <a:pt x="1757" y="132"/>
                </a:cubicBezTo>
                <a:cubicBezTo>
                  <a:pt x="1760" y="132"/>
                  <a:pt x="1763" y="130"/>
                  <a:pt x="1765" y="129"/>
                </a:cubicBezTo>
                <a:cubicBezTo>
                  <a:pt x="1767" y="129"/>
                  <a:pt x="1770" y="127"/>
                  <a:pt x="1772" y="126"/>
                </a:cubicBezTo>
                <a:cubicBezTo>
                  <a:pt x="1772" y="126"/>
                  <a:pt x="1772" y="126"/>
                  <a:pt x="1772" y="185"/>
                </a:cubicBezTo>
                <a:cubicBezTo>
                  <a:pt x="1772" y="185"/>
                  <a:pt x="1772" y="185"/>
                  <a:pt x="1783" y="185"/>
                </a:cubicBezTo>
                <a:cubicBezTo>
                  <a:pt x="1783" y="185"/>
                  <a:pt x="1783" y="185"/>
                  <a:pt x="1783" y="111"/>
                </a:cubicBezTo>
                <a:close/>
                <a:moveTo>
                  <a:pt x="1589" y="144"/>
                </a:moveTo>
                <a:cubicBezTo>
                  <a:pt x="1589" y="144"/>
                  <a:pt x="1589" y="144"/>
                  <a:pt x="1589" y="144"/>
                </a:cubicBezTo>
                <a:cubicBezTo>
                  <a:pt x="1588" y="152"/>
                  <a:pt x="1588" y="152"/>
                  <a:pt x="1588" y="152"/>
                </a:cubicBezTo>
                <a:cubicBezTo>
                  <a:pt x="1595" y="152"/>
                  <a:pt x="1595" y="155"/>
                  <a:pt x="1595" y="158"/>
                </a:cubicBezTo>
                <a:cubicBezTo>
                  <a:pt x="1595" y="160"/>
                  <a:pt x="1595" y="162"/>
                  <a:pt x="1595" y="165"/>
                </a:cubicBezTo>
                <a:cubicBezTo>
                  <a:pt x="1595" y="167"/>
                  <a:pt x="1594" y="170"/>
                  <a:pt x="1594" y="172"/>
                </a:cubicBezTo>
                <a:cubicBezTo>
                  <a:pt x="1594" y="181"/>
                  <a:pt x="1600" y="185"/>
                  <a:pt x="1609" y="185"/>
                </a:cubicBezTo>
                <a:cubicBezTo>
                  <a:pt x="1609" y="185"/>
                  <a:pt x="1609" y="185"/>
                  <a:pt x="1613" y="185"/>
                </a:cubicBezTo>
                <a:cubicBezTo>
                  <a:pt x="1613" y="185"/>
                  <a:pt x="1613" y="185"/>
                  <a:pt x="1613" y="176"/>
                </a:cubicBezTo>
                <a:cubicBezTo>
                  <a:pt x="1613" y="176"/>
                  <a:pt x="1613" y="176"/>
                  <a:pt x="1611" y="176"/>
                </a:cubicBezTo>
                <a:cubicBezTo>
                  <a:pt x="1607" y="176"/>
                  <a:pt x="1606" y="173"/>
                  <a:pt x="1606" y="170"/>
                </a:cubicBezTo>
                <a:cubicBezTo>
                  <a:pt x="1606" y="168"/>
                  <a:pt x="1606" y="167"/>
                  <a:pt x="1607" y="165"/>
                </a:cubicBezTo>
                <a:cubicBezTo>
                  <a:pt x="1607" y="163"/>
                  <a:pt x="1607" y="161"/>
                  <a:pt x="1607" y="159"/>
                </a:cubicBezTo>
                <a:cubicBezTo>
                  <a:pt x="1607" y="151"/>
                  <a:pt x="1604" y="149"/>
                  <a:pt x="1598" y="148"/>
                </a:cubicBezTo>
                <a:cubicBezTo>
                  <a:pt x="1598" y="148"/>
                  <a:pt x="1598" y="148"/>
                  <a:pt x="1598" y="147"/>
                </a:cubicBezTo>
                <a:cubicBezTo>
                  <a:pt x="1604" y="146"/>
                  <a:pt x="1607" y="144"/>
                  <a:pt x="1607" y="136"/>
                </a:cubicBezTo>
                <a:cubicBezTo>
                  <a:pt x="1607" y="134"/>
                  <a:pt x="1607" y="132"/>
                  <a:pt x="1607" y="130"/>
                </a:cubicBezTo>
                <a:cubicBezTo>
                  <a:pt x="1606" y="129"/>
                  <a:pt x="1606" y="127"/>
                  <a:pt x="1606" y="126"/>
                </a:cubicBezTo>
                <a:cubicBezTo>
                  <a:pt x="1606" y="122"/>
                  <a:pt x="1607" y="120"/>
                  <a:pt x="1611" y="120"/>
                </a:cubicBezTo>
                <a:cubicBezTo>
                  <a:pt x="1611" y="120"/>
                  <a:pt x="1611" y="120"/>
                  <a:pt x="1613" y="120"/>
                </a:cubicBezTo>
                <a:cubicBezTo>
                  <a:pt x="1613" y="120"/>
                  <a:pt x="1613" y="120"/>
                  <a:pt x="1613" y="110"/>
                </a:cubicBezTo>
                <a:cubicBezTo>
                  <a:pt x="1613" y="110"/>
                  <a:pt x="1613" y="110"/>
                  <a:pt x="1609" y="110"/>
                </a:cubicBezTo>
                <a:cubicBezTo>
                  <a:pt x="1600" y="110"/>
                  <a:pt x="1594" y="114"/>
                  <a:pt x="1594" y="123"/>
                </a:cubicBezTo>
                <a:cubicBezTo>
                  <a:pt x="1594" y="125"/>
                  <a:pt x="1595" y="128"/>
                  <a:pt x="1595" y="130"/>
                </a:cubicBezTo>
                <a:cubicBezTo>
                  <a:pt x="1595" y="133"/>
                  <a:pt x="1595" y="135"/>
                  <a:pt x="1595" y="137"/>
                </a:cubicBezTo>
                <a:cubicBezTo>
                  <a:pt x="1595" y="140"/>
                  <a:pt x="1595" y="143"/>
                  <a:pt x="1589" y="144"/>
                </a:cubicBezTo>
                <a:close/>
                <a:moveTo>
                  <a:pt x="1643" y="152"/>
                </a:moveTo>
                <a:cubicBezTo>
                  <a:pt x="1643" y="152"/>
                  <a:pt x="1643" y="152"/>
                  <a:pt x="1643" y="152"/>
                </a:cubicBezTo>
                <a:cubicBezTo>
                  <a:pt x="1643" y="144"/>
                  <a:pt x="1643" y="144"/>
                  <a:pt x="1643" y="144"/>
                </a:cubicBezTo>
                <a:cubicBezTo>
                  <a:pt x="1637" y="143"/>
                  <a:pt x="1637" y="140"/>
                  <a:pt x="1637" y="137"/>
                </a:cubicBezTo>
                <a:cubicBezTo>
                  <a:pt x="1637" y="135"/>
                  <a:pt x="1637" y="133"/>
                  <a:pt x="1637" y="130"/>
                </a:cubicBezTo>
                <a:cubicBezTo>
                  <a:pt x="1637" y="128"/>
                  <a:pt x="1637" y="125"/>
                  <a:pt x="1637" y="123"/>
                </a:cubicBezTo>
                <a:cubicBezTo>
                  <a:pt x="1637" y="114"/>
                  <a:pt x="1632" y="110"/>
                  <a:pt x="1623" y="110"/>
                </a:cubicBezTo>
                <a:cubicBezTo>
                  <a:pt x="1623" y="110"/>
                  <a:pt x="1623" y="110"/>
                  <a:pt x="1619" y="110"/>
                </a:cubicBezTo>
                <a:cubicBezTo>
                  <a:pt x="1619" y="110"/>
                  <a:pt x="1619" y="110"/>
                  <a:pt x="1619" y="120"/>
                </a:cubicBezTo>
                <a:cubicBezTo>
                  <a:pt x="1619" y="120"/>
                  <a:pt x="1619" y="120"/>
                  <a:pt x="1621" y="120"/>
                </a:cubicBezTo>
                <a:cubicBezTo>
                  <a:pt x="1625" y="120"/>
                  <a:pt x="1626" y="122"/>
                  <a:pt x="1626" y="126"/>
                </a:cubicBezTo>
                <a:cubicBezTo>
                  <a:pt x="1626" y="127"/>
                  <a:pt x="1626" y="129"/>
                  <a:pt x="1626" y="130"/>
                </a:cubicBezTo>
                <a:cubicBezTo>
                  <a:pt x="1625" y="132"/>
                  <a:pt x="1625" y="134"/>
                  <a:pt x="1625" y="136"/>
                </a:cubicBezTo>
                <a:cubicBezTo>
                  <a:pt x="1625" y="144"/>
                  <a:pt x="1628" y="146"/>
                  <a:pt x="1634" y="147"/>
                </a:cubicBezTo>
                <a:cubicBezTo>
                  <a:pt x="1634" y="147"/>
                  <a:pt x="1634" y="147"/>
                  <a:pt x="1634" y="148"/>
                </a:cubicBezTo>
                <a:cubicBezTo>
                  <a:pt x="1628" y="149"/>
                  <a:pt x="1625" y="151"/>
                  <a:pt x="1625" y="159"/>
                </a:cubicBezTo>
                <a:cubicBezTo>
                  <a:pt x="1625" y="161"/>
                  <a:pt x="1625" y="163"/>
                  <a:pt x="1626" y="165"/>
                </a:cubicBezTo>
                <a:cubicBezTo>
                  <a:pt x="1626" y="167"/>
                  <a:pt x="1626" y="168"/>
                  <a:pt x="1626" y="170"/>
                </a:cubicBezTo>
                <a:cubicBezTo>
                  <a:pt x="1626" y="173"/>
                  <a:pt x="1625" y="176"/>
                  <a:pt x="1621" y="176"/>
                </a:cubicBezTo>
                <a:cubicBezTo>
                  <a:pt x="1621" y="176"/>
                  <a:pt x="1621" y="176"/>
                  <a:pt x="1619" y="176"/>
                </a:cubicBezTo>
                <a:cubicBezTo>
                  <a:pt x="1619" y="176"/>
                  <a:pt x="1619" y="176"/>
                  <a:pt x="1619" y="185"/>
                </a:cubicBezTo>
                <a:cubicBezTo>
                  <a:pt x="1619" y="185"/>
                  <a:pt x="1619" y="185"/>
                  <a:pt x="1623" y="185"/>
                </a:cubicBezTo>
                <a:cubicBezTo>
                  <a:pt x="1632" y="185"/>
                  <a:pt x="1637" y="181"/>
                  <a:pt x="1637" y="172"/>
                </a:cubicBezTo>
                <a:cubicBezTo>
                  <a:pt x="1637" y="170"/>
                  <a:pt x="1637" y="167"/>
                  <a:pt x="1637" y="165"/>
                </a:cubicBezTo>
                <a:cubicBezTo>
                  <a:pt x="1637" y="162"/>
                  <a:pt x="1637" y="160"/>
                  <a:pt x="1637" y="158"/>
                </a:cubicBezTo>
                <a:cubicBezTo>
                  <a:pt x="1637" y="155"/>
                  <a:pt x="1637" y="152"/>
                  <a:pt x="1643" y="152"/>
                </a:cubicBezTo>
                <a:close/>
                <a:moveTo>
                  <a:pt x="1827" y="185"/>
                </a:moveTo>
                <a:cubicBezTo>
                  <a:pt x="1820" y="185"/>
                  <a:pt x="1813" y="182"/>
                  <a:pt x="1809" y="176"/>
                </a:cubicBezTo>
                <a:cubicBezTo>
                  <a:pt x="1805" y="169"/>
                  <a:pt x="1803" y="161"/>
                  <a:pt x="1803" y="148"/>
                </a:cubicBezTo>
                <a:cubicBezTo>
                  <a:pt x="1803" y="135"/>
                  <a:pt x="1805" y="126"/>
                  <a:pt x="1809" y="119"/>
                </a:cubicBezTo>
                <a:cubicBezTo>
                  <a:pt x="1814" y="112"/>
                  <a:pt x="1820" y="109"/>
                  <a:pt x="1829" y="109"/>
                </a:cubicBezTo>
                <a:cubicBezTo>
                  <a:pt x="1846" y="109"/>
                  <a:pt x="1854" y="121"/>
                  <a:pt x="1854" y="147"/>
                </a:cubicBezTo>
                <a:cubicBezTo>
                  <a:pt x="1854" y="159"/>
                  <a:pt x="1851" y="169"/>
                  <a:pt x="1846" y="175"/>
                </a:cubicBezTo>
                <a:cubicBezTo>
                  <a:pt x="1842" y="182"/>
                  <a:pt x="1835" y="185"/>
                  <a:pt x="1827" y="185"/>
                </a:cubicBezTo>
                <a:close/>
                <a:moveTo>
                  <a:pt x="1829" y="118"/>
                </a:moveTo>
                <a:cubicBezTo>
                  <a:pt x="1819" y="118"/>
                  <a:pt x="1815" y="129"/>
                  <a:pt x="1815" y="148"/>
                </a:cubicBezTo>
                <a:cubicBezTo>
                  <a:pt x="1815" y="166"/>
                  <a:pt x="1819" y="175"/>
                  <a:pt x="1828" y="175"/>
                </a:cubicBezTo>
                <a:cubicBezTo>
                  <a:pt x="1837" y="175"/>
                  <a:pt x="1841" y="166"/>
                  <a:pt x="1841" y="147"/>
                </a:cubicBezTo>
                <a:cubicBezTo>
                  <a:pt x="1841" y="128"/>
                  <a:pt x="1837" y="118"/>
                  <a:pt x="1829" y="118"/>
                </a:cubicBezTo>
                <a:close/>
                <a:moveTo>
                  <a:pt x="1897" y="185"/>
                </a:moveTo>
                <a:cubicBezTo>
                  <a:pt x="1890" y="185"/>
                  <a:pt x="1884" y="182"/>
                  <a:pt x="1880" y="176"/>
                </a:cubicBezTo>
                <a:cubicBezTo>
                  <a:pt x="1875" y="169"/>
                  <a:pt x="1873" y="161"/>
                  <a:pt x="1873" y="148"/>
                </a:cubicBezTo>
                <a:cubicBezTo>
                  <a:pt x="1873" y="135"/>
                  <a:pt x="1875" y="126"/>
                  <a:pt x="1880" y="119"/>
                </a:cubicBezTo>
                <a:cubicBezTo>
                  <a:pt x="1884" y="112"/>
                  <a:pt x="1891" y="109"/>
                  <a:pt x="1900" y="109"/>
                </a:cubicBezTo>
                <a:cubicBezTo>
                  <a:pt x="1916" y="109"/>
                  <a:pt x="1924" y="121"/>
                  <a:pt x="1924" y="147"/>
                </a:cubicBezTo>
                <a:cubicBezTo>
                  <a:pt x="1924" y="159"/>
                  <a:pt x="1922" y="169"/>
                  <a:pt x="1917" y="175"/>
                </a:cubicBezTo>
                <a:cubicBezTo>
                  <a:pt x="1912" y="182"/>
                  <a:pt x="1906" y="185"/>
                  <a:pt x="1897" y="185"/>
                </a:cubicBezTo>
                <a:close/>
                <a:moveTo>
                  <a:pt x="1899" y="118"/>
                </a:moveTo>
                <a:cubicBezTo>
                  <a:pt x="1890" y="118"/>
                  <a:pt x="1885" y="129"/>
                  <a:pt x="1885" y="148"/>
                </a:cubicBezTo>
                <a:cubicBezTo>
                  <a:pt x="1885" y="166"/>
                  <a:pt x="1889" y="175"/>
                  <a:pt x="1898" y="175"/>
                </a:cubicBezTo>
                <a:cubicBezTo>
                  <a:pt x="1907" y="175"/>
                  <a:pt x="1911" y="166"/>
                  <a:pt x="1911" y="147"/>
                </a:cubicBezTo>
                <a:cubicBezTo>
                  <a:pt x="1911" y="128"/>
                  <a:pt x="1907" y="118"/>
                  <a:pt x="1899" y="118"/>
                </a:cubicBezTo>
                <a:close/>
                <a:moveTo>
                  <a:pt x="43" y="207"/>
                </a:moveTo>
                <a:cubicBezTo>
                  <a:pt x="43" y="207"/>
                  <a:pt x="43" y="207"/>
                  <a:pt x="43" y="207"/>
                </a:cubicBezTo>
                <a:cubicBezTo>
                  <a:pt x="37" y="207"/>
                  <a:pt x="37" y="207"/>
                  <a:pt x="37" y="207"/>
                </a:cubicBezTo>
                <a:cubicBezTo>
                  <a:pt x="35" y="209"/>
                  <a:pt x="34" y="210"/>
                  <a:pt x="32" y="211"/>
                </a:cubicBezTo>
                <a:cubicBezTo>
                  <a:pt x="30" y="212"/>
                  <a:pt x="29" y="213"/>
                  <a:pt x="27" y="214"/>
                </a:cubicBezTo>
                <a:cubicBezTo>
                  <a:pt x="25" y="215"/>
                  <a:pt x="23" y="216"/>
                  <a:pt x="22" y="217"/>
                </a:cubicBezTo>
                <a:cubicBezTo>
                  <a:pt x="19" y="217"/>
                  <a:pt x="18" y="218"/>
                  <a:pt x="16" y="218"/>
                </a:cubicBezTo>
                <a:cubicBezTo>
                  <a:pt x="16" y="218"/>
                  <a:pt x="16" y="218"/>
                  <a:pt x="16" y="228"/>
                </a:cubicBezTo>
                <a:cubicBezTo>
                  <a:pt x="19" y="228"/>
                  <a:pt x="22" y="227"/>
                  <a:pt x="24" y="225"/>
                </a:cubicBezTo>
                <a:cubicBezTo>
                  <a:pt x="27" y="225"/>
                  <a:pt x="29" y="223"/>
                  <a:pt x="31" y="222"/>
                </a:cubicBezTo>
                <a:cubicBezTo>
                  <a:pt x="31" y="222"/>
                  <a:pt x="31" y="222"/>
                  <a:pt x="31" y="281"/>
                </a:cubicBezTo>
                <a:cubicBezTo>
                  <a:pt x="31" y="281"/>
                  <a:pt x="31" y="281"/>
                  <a:pt x="43" y="281"/>
                </a:cubicBezTo>
                <a:cubicBezTo>
                  <a:pt x="43" y="281"/>
                  <a:pt x="43" y="281"/>
                  <a:pt x="43" y="207"/>
                </a:cubicBezTo>
                <a:close/>
                <a:moveTo>
                  <a:pt x="91" y="207"/>
                </a:moveTo>
                <a:cubicBezTo>
                  <a:pt x="91" y="207"/>
                  <a:pt x="91" y="207"/>
                  <a:pt x="91" y="207"/>
                </a:cubicBezTo>
                <a:cubicBezTo>
                  <a:pt x="85" y="207"/>
                  <a:pt x="85" y="207"/>
                  <a:pt x="85" y="207"/>
                </a:cubicBezTo>
                <a:cubicBezTo>
                  <a:pt x="83" y="209"/>
                  <a:pt x="82" y="210"/>
                  <a:pt x="79" y="211"/>
                </a:cubicBezTo>
                <a:cubicBezTo>
                  <a:pt x="78" y="212"/>
                  <a:pt x="76" y="213"/>
                  <a:pt x="74" y="214"/>
                </a:cubicBezTo>
                <a:cubicBezTo>
                  <a:pt x="73" y="215"/>
                  <a:pt x="71" y="216"/>
                  <a:pt x="69" y="217"/>
                </a:cubicBezTo>
                <a:cubicBezTo>
                  <a:pt x="67" y="217"/>
                  <a:pt x="65" y="218"/>
                  <a:pt x="63" y="218"/>
                </a:cubicBezTo>
                <a:cubicBezTo>
                  <a:pt x="63" y="218"/>
                  <a:pt x="63" y="218"/>
                  <a:pt x="63" y="228"/>
                </a:cubicBezTo>
                <a:cubicBezTo>
                  <a:pt x="66" y="228"/>
                  <a:pt x="69" y="227"/>
                  <a:pt x="71" y="225"/>
                </a:cubicBezTo>
                <a:cubicBezTo>
                  <a:pt x="74" y="225"/>
                  <a:pt x="77" y="223"/>
                  <a:pt x="79" y="222"/>
                </a:cubicBezTo>
                <a:cubicBezTo>
                  <a:pt x="79" y="222"/>
                  <a:pt x="79" y="222"/>
                  <a:pt x="79" y="281"/>
                </a:cubicBezTo>
                <a:cubicBezTo>
                  <a:pt x="79" y="281"/>
                  <a:pt x="79" y="281"/>
                  <a:pt x="91" y="281"/>
                </a:cubicBezTo>
                <a:cubicBezTo>
                  <a:pt x="91" y="281"/>
                  <a:pt x="91" y="281"/>
                  <a:pt x="91" y="207"/>
                </a:cubicBezTo>
                <a:close/>
                <a:moveTo>
                  <a:pt x="137" y="207"/>
                </a:moveTo>
                <a:cubicBezTo>
                  <a:pt x="137" y="207"/>
                  <a:pt x="137" y="207"/>
                  <a:pt x="137" y="207"/>
                </a:cubicBezTo>
                <a:cubicBezTo>
                  <a:pt x="133" y="207"/>
                  <a:pt x="133" y="207"/>
                  <a:pt x="133" y="207"/>
                </a:cubicBezTo>
                <a:cubicBezTo>
                  <a:pt x="131" y="209"/>
                  <a:pt x="129" y="210"/>
                  <a:pt x="127" y="211"/>
                </a:cubicBezTo>
                <a:cubicBezTo>
                  <a:pt x="125" y="212"/>
                  <a:pt x="123" y="213"/>
                  <a:pt x="122" y="214"/>
                </a:cubicBezTo>
                <a:cubicBezTo>
                  <a:pt x="120" y="215"/>
                  <a:pt x="118" y="215"/>
                  <a:pt x="116" y="216"/>
                </a:cubicBezTo>
                <a:cubicBezTo>
                  <a:pt x="114" y="217"/>
                  <a:pt x="112" y="217"/>
                  <a:pt x="111" y="218"/>
                </a:cubicBezTo>
                <a:cubicBezTo>
                  <a:pt x="111" y="218"/>
                  <a:pt x="111" y="218"/>
                  <a:pt x="111" y="228"/>
                </a:cubicBezTo>
                <a:cubicBezTo>
                  <a:pt x="114" y="228"/>
                  <a:pt x="117" y="226"/>
                  <a:pt x="119" y="225"/>
                </a:cubicBezTo>
                <a:cubicBezTo>
                  <a:pt x="121" y="225"/>
                  <a:pt x="124" y="223"/>
                  <a:pt x="125" y="222"/>
                </a:cubicBezTo>
                <a:cubicBezTo>
                  <a:pt x="125" y="222"/>
                  <a:pt x="125" y="222"/>
                  <a:pt x="125" y="281"/>
                </a:cubicBezTo>
                <a:cubicBezTo>
                  <a:pt x="125" y="281"/>
                  <a:pt x="125" y="281"/>
                  <a:pt x="137" y="281"/>
                </a:cubicBezTo>
                <a:cubicBezTo>
                  <a:pt x="137" y="281"/>
                  <a:pt x="137" y="281"/>
                  <a:pt x="137" y="207"/>
                </a:cubicBezTo>
                <a:close/>
                <a:moveTo>
                  <a:pt x="182" y="281"/>
                </a:moveTo>
                <a:cubicBezTo>
                  <a:pt x="174" y="281"/>
                  <a:pt x="168" y="278"/>
                  <a:pt x="163" y="272"/>
                </a:cubicBezTo>
                <a:cubicBezTo>
                  <a:pt x="160" y="265"/>
                  <a:pt x="157" y="257"/>
                  <a:pt x="157" y="244"/>
                </a:cubicBezTo>
                <a:cubicBezTo>
                  <a:pt x="157" y="231"/>
                  <a:pt x="160" y="222"/>
                  <a:pt x="164" y="215"/>
                </a:cubicBezTo>
                <a:cubicBezTo>
                  <a:pt x="168" y="208"/>
                  <a:pt x="175" y="205"/>
                  <a:pt x="184" y="205"/>
                </a:cubicBezTo>
                <a:cubicBezTo>
                  <a:pt x="200" y="205"/>
                  <a:pt x="208" y="217"/>
                  <a:pt x="208" y="243"/>
                </a:cubicBezTo>
                <a:cubicBezTo>
                  <a:pt x="208" y="255"/>
                  <a:pt x="206" y="265"/>
                  <a:pt x="201" y="271"/>
                </a:cubicBezTo>
                <a:cubicBezTo>
                  <a:pt x="196" y="278"/>
                  <a:pt x="190" y="281"/>
                  <a:pt x="182" y="281"/>
                </a:cubicBezTo>
                <a:close/>
                <a:moveTo>
                  <a:pt x="183" y="214"/>
                </a:moveTo>
                <a:cubicBezTo>
                  <a:pt x="174" y="214"/>
                  <a:pt x="169" y="225"/>
                  <a:pt x="169" y="244"/>
                </a:cubicBezTo>
                <a:cubicBezTo>
                  <a:pt x="169" y="262"/>
                  <a:pt x="174" y="271"/>
                  <a:pt x="182" y="271"/>
                </a:cubicBezTo>
                <a:cubicBezTo>
                  <a:pt x="191" y="271"/>
                  <a:pt x="196" y="262"/>
                  <a:pt x="196" y="243"/>
                </a:cubicBezTo>
                <a:cubicBezTo>
                  <a:pt x="196" y="224"/>
                  <a:pt x="191" y="214"/>
                  <a:pt x="183" y="214"/>
                </a:cubicBezTo>
                <a:close/>
                <a:moveTo>
                  <a:pt x="253" y="281"/>
                </a:moveTo>
                <a:cubicBezTo>
                  <a:pt x="245" y="281"/>
                  <a:pt x="239" y="278"/>
                  <a:pt x="235" y="272"/>
                </a:cubicBezTo>
                <a:cubicBezTo>
                  <a:pt x="231" y="265"/>
                  <a:pt x="228" y="257"/>
                  <a:pt x="228" y="244"/>
                </a:cubicBezTo>
                <a:cubicBezTo>
                  <a:pt x="228" y="231"/>
                  <a:pt x="231" y="222"/>
                  <a:pt x="235" y="215"/>
                </a:cubicBezTo>
                <a:cubicBezTo>
                  <a:pt x="239" y="208"/>
                  <a:pt x="246" y="205"/>
                  <a:pt x="255" y="205"/>
                </a:cubicBezTo>
                <a:cubicBezTo>
                  <a:pt x="271" y="205"/>
                  <a:pt x="279" y="217"/>
                  <a:pt x="279" y="243"/>
                </a:cubicBezTo>
                <a:cubicBezTo>
                  <a:pt x="279" y="255"/>
                  <a:pt x="277" y="265"/>
                  <a:pt x="273" y="271"/>
                </a:cubicBezTo>
                <a:cubicBezTo>
                  <a:pt x="267" y="278"/>
                  <a:pt x="262" y="281"/>
                  <a:pt x="253" y="281"/>
                </a:cubicBezTo>
                <a:close/>
                <a:moveTo>
                  <a:pt x="254" y="214"/>
                </a:moveTo>
                <a:cubicBezTo>
                  <a:pt x="245" y="214"/>
                  <a:pt x="240" y="225"/>
                  <a:pt x="240" y="244"/>
                </a:cubicBezTo>
                <a:cubicBezTo>
                  <a:pt x="240" y="262"/>
                  <a:pt x="245" y="271"/>
                  <a:pt x="253" y="271"/>
                </a:cubicBezTo>
                <a:cubicBezTo>
                  <a:pt x="262" y="271"/>
                  <a:pt x="267" y="262"/>
                  <a:pt x="267" y="243"/>
                </a:cubicBezTo>
                <a:cubicBezTo>
                  <a:pt x="267" y="224"/>
                  <a:pt x="262" y="214"/>
                  <a:pt x="254" y="214"/>
                </a:cubicBezTo>
                <a:close/>
                <a:moveTo>
                  <a:pt x="466" y="281"/>
                </a:moveTo>
                <a:cubicBezTo>
                  <a:pt x="458" y="281"/>
                  <a:pt x="452" y="278"/>
                  <a:pt x="448" y="271"/>
                </a:cubicBezTo>
                <a:cubicBezTo>
                  <a:pt x="444" y="265"/>
                  <a:pt x="441" y="256"/>
                  <a:pt x="441" y="244"/>
                </a:cubicBezTo>
                <a:cubicBezTo>
                  <a:pt x="441" y="231"/>
                  <a:pt x="444" y="222"/>
                  <a:pt x="448" y="214"/>
                </a:cubicBezTo>
                <a:cubicBezTo>
                  <a:pt x="452" y="208"/>
                  <a:pt x="459" y="205"/>
                  <a:pt x="468" y="205"/>
                </a:cubicBezTo>
                <a:cubicBezTo>
                  <a:pt x="484" y="205"/>
                  <a:pt x="492" y="217"/>
                  <a:pt x="492" y="242"/>
                </a:cubicBezTo>
                <a:cubicBezTo>
                  <a:pt x="492" y="255"/>
                  <a:pt x="490" y="265"/>
                  <a:pt x="485" y="271"/>
                </a:cubicBezTo>
                <a:cubicBezTo>
                  <a:pt x="480" y="278"/>
                  <a:pt x="474" y="281"/>
                  <a:pt x="466" y="281"/>
                </a:cubicBezTo>
                <a:close/>
                <a:moveTo>
                  <a:pt x="467" y="214"/>
                </a:moveTo>
                <a:cubicBezTo>
                  <a:pt x="458" y="214"/>
                  <a:pt x="454" y="224"/>
                  <a:pt x="454" y="243"/>
                </a:cubicBezTo>
                <a:cubicBezTo>
                  <a:pt x="454" y="262"/>
                  <a:pt x="458" y="271"/>
                  <a:pt x="467" y="271"/>
                </a:cubicBezTo>
                <a:cubicBezTo>
                  <a:pt x="475" y="271"/>
                  <a:pt x="479" y="262"/>
                  <a:pt x="479" y="243"/>
                </a:cubicBezTo>
                <a:cubicBezTo>
                  <a:pt x="479" y="224"/>
                  <a:pt x="476" y="214"/>
                  <a:pt x="467" y="214"/>
                </a:cubicBezTo>
                <a:close/>
                <a:moveTo>
                  <a:pt x="584" y="281"/>
                </a:moveTo>
                <a:cubicBezTo>
                  <a:pt x="576" y="281"/>
                  <a:pt x="570" y="278"/>
                  <a:pt x="566" y="271"/>
                </a:cubicBezTo>
                <a:cubicBezTo>
                  <a:pt x="562" y="265"/>
                  <a:pt x="560" y="256"/>
                  <a:pt x="560" y="244"/>
                </a:cubicBezTo>
                <a:cubicBezTo>
                  <a:pt x="560" y="231"/>
                  <a:pt x="562" y="222"/>
                  <a:pt x="566" y="214"/>
                </a:cubicBezTo>
                <a:cubicBezTo>
                  <a:pt x="570" y="208"/>
                  <a:pt x="577" y="205"/>
                  <a:pt x="586" y="205"/>
                </a:cubicBezTo>
                <a:cubicBezTo>
                  <a:pt x="602" y="205"/>
                  <a:pt x="610" y="217"/>
                  <a:pt x="610" y="242"/>
                </a:cubicBezTo>
                <a:cubicBezTo>
                  <a:pt x="610" y="255"/>
                  <a:pt x="608" y="265"/>
                  <a:pt x="603" y="271"/>
                </a:cubicBezTo>
                <a:cubicBezTo>
                  <a:pt x="598" y="278"/>
                  <a:pt x="592" y="281"/>
                  <a:pt x="584" y="281"/>
                </a:cubicBezTo>
                <a:close/>
                <a:moveTo>
                  <a:pt x="585" y="214"/>
                </a:moveTo>
                <a:cubicBezTo>
                  <a:pt x="576" y="214"/>
                  <a:pt x="572" y="224"/>
                  <a:pt x="572" y="243"/>
                </a:cubicBezTo>
                <a:cubicBezTo>
                  <a:pt x="572" y="262"/>
                  <a:pt x="576" y="271"/>
                  <a:pt x="585" y="271"/>
                </a:cubicBezTo>
                <a:cubicBezTo>
                  <a:pt x="593" y="271"/>
                  <a:pt x="598" y="262"/>
                  <a:pt x="598" y="243"/>
                </a:cubicBezTo>
                <a:cubicBezTo>
                  <a:pt x="598" y="224"/>
                  <a:pt x="594" y="214"/>
                  <a:pt x="585" y="214"/>
                </a:cubicBezTo>
                <a:close/>
                <a:moveTo>
                  <a:pt x="539" y="207"/>
                </a:moveTo>
                <a:cubicBezTo>
                  <a:pt x="539" y="207"/>
                  <a:pt x="539" y="207"/>
                  <a:pt x="539" y="207"/>
                </a:cubicBezTo>
                <a:cubicBezTo>
                  <a:pt x="534" y="207"/>
                  <a:pt x="534" y="207"/>
                  <a:pt x="534" y="207"/>
                </a:cubicBezTo>
                <a:cubicBezTo>
                  <a:pt x="532" y="209"/>
                  <a:pt x="530" y="210"/>
                  <a:pt x="528" y="211"/>
                </a:cubicBezTo>
                <a:cubicBezTo>
                  <a:pt x="527" y="212"/>
                  <a:pt x="525" y="213"/>
                  <a:pt x="523" y="214"/>
                </a:cubicBezTo>
                <a:cubicBezTo>
                  <a:pt x="522" y="215"/>
                  <a:pt x="520" y="215"/>
                  <a:pt x="518" y="216"/>
                </a:cubicBezTo>
                <a:cubicBezTo>
                  <a:pt x="516" y="217"/>
                  <a:pt x="515" y="217"/>
                  <a:pt x="512" y="218"/>
                </a:cubicBezTo>
                <a:cubicBezTo>
                  <a:pt x="512" y="218"/>
                  <a:pt x="512" y="218"/>
                  <a:pt x="512" y="228"/>
                </a:cubicBezTo>
                <a:cubicBezTo>
                  <a:pt x="515" y="228"/>
                  <a:pt x="518" y="226"/>
                  <a:pt x="520" y="225"/>
                </a:cubicBezTo>
                <a:cubicBezTo>
                  <a:pt x="523" y="225"/>
                  <a:pt x="525" y="223"/>
                  <a:pt x="527" y="222"/>
                </a:cubicBezTo>
                <a:cubicBezTo>
                  <a:pt x="527" y="222"/>
                  <a:pt x="527" y="222"/>
                  <a:pt x="527" y="281"/>
                </a:cubicBezTo>
                <a:cubicBezTo>
                  <a:pt x="527" y="281"/>
                  <a:pt x="527" y="281"/>
                  <a:pt x="539" y="281"/>
                </a:cubicBezTo>
                <a:cubicBezTo>
                  <a:pt x="539" y="281"/>
                  <a:pt x="539" y="281"/>
                  <a:pt x="539" y="207"/>
                </a:cubicBezTo>
                <a:close/>
                <a:moveTo>
                  <a:pt x="655" y="281"/>
                </a:moveTo>
                <a:cubicBezTo>
                  <a:pt x="647" y="281"/>
                  <a:pt x="641" y="278"/>
                  <a:pt x="637" y="272"/>
                </a:cubicBezTo>
                <a:cubicBezTo>
                  <a:pt x="633" y="265"/>
                  <a:pt x="631" y="257"/>
                  <a:pt x="631" y="244"/>
                </a:cubicBezTo>
                <a:cubicBezTo>
                  <a:pt x="631" y="231"/>
                  <a:pt x="633" y="222"/>
                  <a:pt x="637" y="215"/>
                </a:cubicBezTo>
                <a:cubicBezTo>
                  <a:pt x="642" y="208"/>
                  <a:pt x="648" y="205"/>
                  <a:pt x="657" y="205"/>
                </a:cubicBezTo>
                <a:cubicBezTo>
                  <a:pt x="673" y="205"/>
                  <a:pt x="681" y="217"/>
                  <a:pt x="681" y="243"/>
                </a:cubicBezTo>
                <a:cubicBezTo>
                  <a:pt x="681" y="255"/>
                  <a:pt x="679" y="265"/>
                  <a:pt x="674" y="271"/>
                </a:cubicBezTo>
                <a:cubicBezTo>
                  <a:pt x="669" y="278"/>
                  <a:pt x="663" y="281"/>
                  <a:pt x="655" y="281"/>
                </a:cubicBezTo>
                <a:close/>
                <a:moveTo>
                  <a:pt x="656" y="214"/>
                </a:moveTo>
                <a:cubicBezTo>
                  <a:pt x="647" y="214"/>
                  <a:pt x="642" y="225"/>
                  <a:pt x="642" y="244"/>
                </a:cubicBezTo>
                <a:cubicBezTo>
                  <a:pt x="642" y="262"/>
                  <a:pt x="647" y="271"/>
                  <a:pt x="655" y="271"/>
                </a:cubicBezTo>
                <a:cubicBezTo>
                  <a:pt x="664" y="271"/>
                  <a:pt x="669" y="262"/>
                  <a:pt x="669" y="243"/>
                </a:cubicBezTo>
                <a:cubicBezTo>
                  <a:pt x="669" y="224"/>
                  <a:pt x="664" y="214"/>
                  <a:pt x="656" y="214"/>
                </a:cubicBezTo>
                <a:close/>
                <a:moveTo>
                  <a:pt x="702" y="240"/>
                </a:moveTo>
                <a:cubicBezTo>
                  <a:pt x="702" y="240"/>
                  <a:pt x="702" y="240"/>
                  <a:pt x="702" y="240"/>
                </a:cubicBezTo>
                <a:cubicBezTo>
                  <a:pt x="702" y="248"/>
                  <a:pt x="702" y="248"/>
                  <a:pt x="702" y="248"/>
                </a:cubicBezTo>
                <a:cubicBezTo>
                  <a:pt x="708" y="248"/>
                  <a:pt x="709" y="251"/>
                  <a:pt x="709" y="254"/>
                </a:cubicBezTo>
                <a:cubicBezTo>
                  <a:pt x="709" y="256"/>
                  <a:pt x="708" y="258"/>
                  <a:pt x="708" y="261"/>
                </a:cubicBezTo>
                <a:cubicBezTo>
                  <a:pt x="708" y="263"/>
                  <a:pt x="708" y="266"/>
                  <a:pt x="708" y="268"/>
                </a:cubicBezTo>
                <a:cubicBezTo>
                  <a:pt x="708" y="277"/>
                  <a:pt x="713" y="281"/>
                  <a:pt x="722" y="281"/>
                </a:cubicBezTo>
                <a:cubicBezTo>
                  <a:pt x="722" y="281"/>
                  <a:pt x="722" y="281"/>
                  <a:pt x="726" y="281"/>
                </a:cubicBezTo>
                <a:cubicBezTo>
                  <a:pt x="726" y="281"/>
                  <a:pt x="726" y="281"/>
                  <a:pt x="726" y="272"/>
                </a:cubicBezTo>
                <a:cubicBezTo>
                  <a:pt x="726" y="272"/>
                  <a:pt x="726" y="272"/>
                  <a:pt x="724" y="272"/>
                </a:cubicBezTo>
                <a:cubicBezTo>
                  <a:pt x="720" y="272"/>
                  <a:pt x="719" y="269"/>
                  <a:pt x="719" y="266"/>
                </a:cubicBezTo>
                <a:cubicBezTo>
                  <a:pt x="719" y="264"/>
                  <a:pt x="719" y="263"/>
                  <a:pt x="720" y="261"/>
                </a:cubicBezTo>
                <a:cubicBezTo>
                  <a:pt x="720" y="259"/>
                  <a:pt x="720" y="257"/>
                  <a:pt x="720" y="255"/>
                </a:cubicBezTo>
                <a:cubicBezTo>
                  <a:pt x="720" y="247"/>
                  <a:pt x="717" y="245"/>
                  <a:pt x="712" y="244"/>
                </a:cubicBezTo>
                <a:cubicBezTo>
                  <a:pt x="712" y="244"/>
                  <a:pt x="712" y="244"/>
                  <a:pt x="712" y="243"/>
                </a:cubicBezTo>
                <a:cubicBezTo>
                  <a:pt x="717" y="242"/>
                  <a:pt x="720" y="240"/>
                  <a:pt x="720" y="232"/>
                </a:cubicBezTo>
                <a:cubicBezTo>
                  <a:pt x="720" y="230"/>
                  <a:pt x="720" y="228"/>
                  <a:pt x="720" y="226"/>
                </a:cubicBezTo>
                <a:cubicBezTo>
                  <a:pt x="719" y="225"/>
                  <a:pt x="719" y="223"/>
                  <a:pt x="719" y="222"/>
                </a:cubicBezTo>
                <a:cubicBezTo>
                  <a:pt x="719" y="218"/>
                  <a:pt x="720" y="216"/>
                  <a:pt x="724" y="216"/>
                </a:cubicBezTo>
                <a:cubicBezTo>
                  <a:pt x="724" y="216"/>
                  <a:pt x="724" y="216"/>
                  <a:pt x="726" y="216"/>
                </a:cubicBezTo>
                <a:cubicBezTo>
                  <a:pt x="726" y="216"/>
                  <a:pt x="726" y="216"/>
                  <a:pt x="726" y="206"/>
                </a:cubicBezTo>
                <a:cubicBezTo>
                  <a:pt x="726" y="206"/>
                  <a:pt x="726" y="206"/>
                  <a:pt x="722" y="206"/>
                </a:cubicBezTo>
                <a:cubicBezTo>
                  <a:pt x="713" y="206"/>
                  <a:pt x="708" y="210"/>
                  <a:pt x="708" y="219"/>
                </a:cubicBezTo>
                <a:cubicBezTo>
                  <a:pt x="708" y="221"/>
                  <a:pt x="708" y="224"/>
                  <a:pt x="708" y="226"/>
                </a:cubicBezTo>
                <a:cubicBezTo>
                  <a:pt x="708" y="229"/>
                  <a:pt x="709" y="231"/>
                  <a:pt x="709" y="233"/>
                </a:cubicBezTo>
                <a:cubicBezTo>
                  <a:pt x="709" y="236"/>
                  <a:pt x="708" y="239"/>
                  <a:pt x="702" y="240"/>
                </a:cubicBezTo>
                <a:close/>
                <a:moveTo>
                  <a:pt x="756" y="248"/>
                </a:moveTo>
                <a:cubicBezTo>
                  <a:pt x="756" y="248"/>
                  <a:pt x="756" y="248"/>
                  <a:pt x="756" y="248"/>
                </a:cubicBezTo>
                <a:cubicBezTo>
                  <a:pt x="756" y="240"/>
                  <a:pt x="756" y="240"/>
                  <a:pt x="756" y="240"/>
                </a:cubicBezTo>
                <a:cubicBezTo>
                  <a:pt x="750" y="239"/>
                  <a:pt x="750" y="236"/>
                  <a:pt x="750" y="233"/>
                </a:cubicBezTo>
                <a:cubicBezTo>
                  <a:pt x="750" y="231"/>
                  <a:pt x="750" y="229"/>
                  <a:pt x="750" y="226"/>
                </a:cubicBezTo>
                <a:cubicBezTo>
                  <a:pt x="750" y="224"/>
                  <a:pt x="750" y="221"/>
                  <a:pt x="750" y="219"/>
                </a:cubicBezTo>
                <a:cubicBezTo>
                  <a:pt x="750" y="210"/>
                  <a:pt x="745" y="206"/>
                  <a:pt x="736" y="206"/>
                </a:cubicBezTo>
                <a:cubicBezTo>
                  <a:pt x="736" y="206"/>
                  <a:pt x="736" y="206"/>
                  <a:pt x="732" y="206"/>
                </a:cubicBezTo>
                <a:cubicBezTo>
                  <a:pt x="732" y="206"/>
                  <a:pt x="732" y="206"/>
                  <a:pt x="732" y="216"/>
                </a:cubicBezTo>
                <a:cubicBezTo>
                  <a:pt x="732" y="216"/>
                  <a:pt x="732" y="216"/>
                  <a:pt x="734" y="216"/>
                </a:cubicBezTo>
                <a:cubicBezTo>
                  <a:pt x="738" y="216"/>
                  <a:pt x="739" y="218"/>
                  <a:pt x="739" y="222"/>
                </a:cubicBezTo>
                <a:cubicBezTo>
                  <a:pt x="739" y="223"/>
                  <a:pt x="739" y="225"/>
                  <a:pt x="739" y="226"/>
                </a:cubicBezTo>
                <a:cubicBezTo>
                  <a:pt x="738" y="228"/>
                  <a:pt x="738" y="230"/>
                  <a:pt x="738" y="232"/>
                </a:cubicBezTo>
                <a:cubicBezTo>
                  <a:pt x="738" y="240"/>
                  <a:pt x="741" y="242"/>
                  <a:pt x="747" y="243"/>
                </a:cubicBezTo>
                <a:cubicBezTo>
                  <a:pt x="747" y="243"/>
                  <a:pt x="747" y="243"/>
                  <a:pt x="747" y="244"/>
                </a:cubicBezTo>
                <a:cubicBezTo>
                  <a:pt x="741" y="245"/>
                  <a:pt x="738" y="247"/>
                  <a:pt x="738" y="255"/>
                </a:cubicBezTo>
                <a:cubicBezTo>
                  <a:pt x="738" y="257"/>
                  <a:pt x="738" y="259"/>
                  <a:pt x="739" y="261"/>
                </a:cubicBezTo>
                <a:cubicBezTo>
                  <a:pt x="739" y="263"/>
                  <a:pt x="739" y="264"/>
                  <a:pt x="739" y="266"/>
                </a:cubicBezTo>
                <a:cubicBezTo>
                  <a:pt x="739" y="269"/>
                  <a:pt x="738" y="272"/>
                  <a:pt x="734" y="272"/>
                </a:cubicBezTo>
                <a:cubicBezTo>
                  <a:pt x="734" y="272"/>
                  <a:pt x="734" y="272"/>
                  <a:pt x="732" y="272"/>
                </a:cubicBezTo>
                <a:cubicBezTo>
                  <a:pt x="732" y="272"/>
                  <a:pt x="732" y="272"/>
                  <a:pt x="732" y="281"/>
                </a:cubicBezTo>
                <a:cubicBezTo>
                  <a:pt x="732" y="281"/>
                  <a:pt x="732" y="281"/>
                  <a:pt x="736" y="281"/>
                </a:cubicBezTo>
                <a:cubicBezTo>
                  <a:pt x="745" y="281"/>
                  <a:pt x="750" y="277"/>
                  <a:pt x="750" y="268"/>
                </a:cubicBezTo>
                <a:cubicBezTo>
                  <a:pt x="750" y="266"/>
                  <a:pt x="750" y="263"/>
                  <a:pt x="750" y="261"/>
                </a:cubicBezTo>
                <a:cubicBezTo>
                  <a:pt x="750" y="258"/>
                  <a:pt x="750" y="256"/>
                  <a:pt x="750" y="254"/>
                </a:cubicBezTo>
                <a:cubicBezTo>
                  <a:pt x="750" y="251"/>
                  <a:pt x="750" y="248"/>
                  <a:pt x="756" y="248"/>
                </a:cubicBezTo>
                <a:close/>
                <a:moveTo>
                  <a:pt x="877" y="281"/>
                </a:moveTo>
                <a:cubicBezTo>
                  <a:pt x="870" y="281"/>
                  <a:pt x="863" y="278"/>
                  <a:pt x="859" y="272"/>
                </a:cubicBezTo>
                <a:cubicBezTo>
                  <a:pt x="855" y="265"/>
                  <a:pt x="853" y="257"/>
                  <a:pt x="853" y="244"/>
                </a:cubicBezTo>
                <a:cubicBezTo>
                  <a:pt x="853" y="231"/>
                  <a:pt x="855" y="222"/>
                  <a:pt x="859" y="215"/>
                </a:cubicBezTo>
                <a:cubicBezTo>
                  <a:pt x="864" y="208"/>
                  <a:pt x="870" y="205"/>
                  <a:pt x="879" y="205"/>
                </a:cubicBezTo>
                <a:cubicBezTo>
                  <a:pt x="895" y="205"/>
                  <a:pt x="903" y="217"/>
                  <a:pt x="903" y="243"/>
                </a:cubicBezTo>
                <a:cubicBezTo>
                  <a:pt x="903" y="255"/>
                  <a:pt x="901" y="265"/>
                  <a:pt x="896" y="271"/>
                </a:cubicBezTo>
                <a:cubicBezTo>
                  <a:pt x="892" y="278"/>
                  <a:pt x="885" y="281"/>
                  <a:pt x="877" y="281"/>
                </a:cubicBezTo>
                <a:close/>
                <a:moveTo>
                  <a:pt x="878" y="214"/>
                </a:moveTo>
                <a:cubicBezTo>
                  <a:pt x="869" y="214"/>
                  <a:pt x="865" y="225"/>
                  <a:pt x="865" y="244"/>
                </a:cubicBezTo>
                <a:cubicBezTo>
                  <a:pt x="865" y="262"/>
                  <a:pt x="869" y="271"/>
                  <a:pt x="878" y="271"/>
                </a:cubicBezTo>
                <a:cubicBezTo>
                  <a:pt x="886" y="271"/>
                  <a:pt x="891" y="262"/>
                  <a:pt x="891" y="243"/>
                </a:cubicBezTo>
                <a:cubicBezTo>
                  <a:pt x="891" y="224"/>
                  <a:pt x="886" y="214"/>
                  <a:pt x="878" y="214"/>
                </a:cubicBezTo>
                <a:close/>
                <a:moveTo>
                  <a:pt x="951" y="207"/>
                </a:moveTo>
                <a:cubicBezTo>
                  <a:pt x="951" y="207"/>
                  <a:pt x="951" y="207"/>
                  <a:pt x="951" y="207"/>
                </a:cubicBezTo>
                <a:cubicBezTo>
                  <a:pt x="946" y="207"/>
                  <a:pt x="946" y="207"/>
                  <a:pt x="946" y="207"/>
                </a:cubicBezTo>
                <a:cubicBezTo>
                  <a:pt x="943" y="209"/>
                  <a:pt x="942" y="210"/>
                  <a:pt x="940" y="211"/>
                </a:cubicBezTo>
                <a:cubicBezTo>
                  <a:pt x="938" y="212"/>
                  <a:pt x="936" y="213"/>
                  <a:pt x="935" y="214"/>
                </a:cubicBezTo>
                <a:cubicBezTo>
                  <a:pt x="933" y="215"/>
                  <a:pt x="931" y="215"/>
                  <a:pt x="930" y="216"/>
                </a:cubicBezTo>
                <a:cubicBezTo>
                  <a:pt x="927" y="217"/>
                  <a:pt x="926" y="217"/>
                  <a:pt x="924" y="218"/>
                </a:cubicBezTo>
                <a:cubicBezTo>
                  <a:pt x="924" y="218"/>
                  <a:pt x="924" y="218"/>
                  <a:pt x="924" y="228"/>
                </a:cubicBezTo>
                <a:cubicBezTo>
                  <a:pt x="927" y="228"/>
                  <a:pt x="930" y="226"/>
                  <a:pt x="932" y="225"/>
                </a:cubicBezTo>
                <a:cubicBezTo>
                  <a:pt x="935" y="225"/>
                  <a:pt x="937" y="223"/>
                  <a:pt x="939" y="222"/>
                </a:cubicBezTo>
                <a:cubicBezTo>
                  <a:pt x="939" y="222"/>
                  <a:pt x="939" y="222"/>
                  <a:pt x="939" y="281"/>
                </a:cubicBezTo>
                <a:cubicBezTo>
                  <a:pt x="939" y="281"/>
                  <a:pt x="939" y="281"/>
                  <a:pt x="951" y="281"/>
                </a:cubicBezTo>
                <a:cubicBezTo>
                  <a:pt x="951" y="281"/>
                  <a:pt x="951" y="281"/>
                  <a:pt x="951" y="207"/>
                </a:cubicBezTo>
                <a:close/>
                <a:moveTo>
                  <a:pt x="783" y="281"/>
                </a:moveTo>
                <a:cubicBezTo>
                  <a:pt x="786" y="262"/>
                  <a:pt x="786" y="262"/>
                  <a:pt x="786" y="262"/>
                </a:cubicBezTo>
                <a:cubicBezTo>
                  <a:pt x="777" y="262"/>
                  <a:pt x="777" y="262"/>
                  <a:pt x="777" y="262"/>
                </a:cubicBezTo>
                <a:cubicBezTo>
                  <a:pt x="777" y="249"/>
                  <a:pt x="777" y="249"/>
                  <a:pt x="777" y="249"/>
                </a:cubicBezTo>
                <a:cubicBezTo>
                  <a:pt x="788" y="249"/>
                  <a:pt x="788" y="249"/>
                  <a:pt x="788" y="249"/>
                </a:cubicBezTo>
                <a:cubicBezTo>
                  <a:pt x="789" y="239"/>
                  <a:pt x="789" y="239"/>
                  <a:pt x="789" y="239"/>
                </a:cubicBezTo>
                <a:cubicBezTo>
                  <a:pt x="780" y="239"/>
                  <a:pt x="780" y="239"/>
                  <a:pt x="780" y="239"/>
                </a:cubicBezTo>
                <a:cubicBezTo>
                  <a:pt x="780" y="227"/>
                  <a:pt x="780" y="227"/>
                  <a:pt x="780" y="227"/>
                </a:cubicBezTo>
                <a:cubicBezTo>
                  <a:pt x="791" y="227"/>
                  <a:pt x="791" y="227"/>
                  <a:pt x="791" y="227"/>
                </a:cubicBezTo>
                <a:cubicBezTo>
                  <a:pt x="794" y="208"/>
                  <a:pt x="794" y="208"/>
                  <a:pt x="794" y="208"/>
                </a:cubicBezTo>
                <a:cubicBezTo>
                  <a:pt x="805" y="208"/>
                  <a:pt x="805" y="208"/>
                  <a:pt x="805" y="208"/>
                </a:cubicBezTo>
                <a:cubicBezTo>
                  <a:pt x="802" y="227"/>
                  <a:pt x="802" y="227"/>
                  <a:pt x="802" y="227"/>
                </a:cubicBezTo>
                <a:cubicBezTo>
                  <a:pt x="812" y="227"/>
                  <a:pt x="812" y="227"/>
                  <a:pt x="812" y="227"/>
                </a:cubicBezTo>
                <a:cubicBezTo>
                  <a:pt x="815" y="208"/>
                  <a:pt x="815" y="208"/>
                  <a:pt x="815" y="208"/>
                </a:cubicBezTo>
                <a:cubicBezTo>
                  <a:pt x="826" y="208"/>
                  <a:pt x="826" y="208"/>
                  <a:pt x="826" y="208"/>
                </a:cubicBezTo>
                <a:cubicBezTo>
                  <a:pt x="823" y="227"/>
                  <a:pt x="823" y="227"/>
                  <a:pt x="823" y="227"/>
                </a:cubicBezTo>
                <a:cubicBezTo>
                  <a:pt x="832" y="227"/>
                  <a:pt x="832" y="227"/>
                  <a:pt x="832" y="227"/>
                </a:cubicBezTo>
                <a:cubicBezTo>
                  <a:pt x="832" y="239"/>
                  <a:pt x="832" y="239"/>
                  <a:pt x="832" y="239"/>
                </a:cubicBezTo>
                <a:cubicBezTo>
                  <a:pt x="821" y="239"/>
                  <a:pt x="821" y="239"/>
                  <a:pt x="821" y="239"/>
                </a:cubicBezTo>
                <a:cubicBezTo>
                  <a:pt x="820" y="249"/>
                  <a:pt x="820" y="249"/>
                  <a:pt x="820" y="249"/>
                </a:cubicBezTo>
                <a:cubicBezTo>
                  <a:pt x="829" y="249"/>
                  <a:pt x="829" y="249"/>
                  <a:pt x="829" y="249"/>
                </a:cubicBezTo>
                <a:cubicBezTo>
                  <a:pt x="829" y="262"/>
                  <a:pt x="829" y="262"/>
                  <a:pt x="829" y="262"/>
                </a:cubicBezTo>
                <a:cubicBezTo>
                  <a:pt x="818" y="262"/>
                  <a:pt x="818" y="262"/>
                  <a:pt x="818" y="262"/>
                </a:cubicBezTo>
                <a:cubicBezTo>
                  <a:pt x="815" y="281"/>
                  <a:pt x="815" y="281"/>
                  <a:pt x="815" y="281"/>
                </a:cubicBezTo>
                <a:cubicBezTo>
                  <a:pt x="804" y="281"/>
                  <a:pt x="804" y="281"/>
                  <a:pt x="804" y="281"/>
                </a:cubicBezTo>
                <a:cubicBezTo>
                  <a:pt x="807" y="262"/>
                  <a:pt x="807" y="262"/>
                  <a:pt x="807" y="262"/>
                </a:cubicBezTo>
                <a:cubicBezTo>
                  <a:pt x="797" y="262"/>
                  <a:pt x="797" y="262"/>
                  <a:pt x="797" y="262"/>
                </a:cubicBezTo>
                <a:cubicBezTo>
                  <a:pt x="794" y="281"/>
                  <a:pt x="794" y="281"/>
                  <a:pt x="794" y="281"/>
                </a:cubicBezTo>
                <a:cubicBezTo>
                  <a:pt x="783" y="281"/>
                  <a:pt x="783" y="281"/>
                  <a:pt x="783" y="281"/>
                </a:cubicBezTo>
                <a:cubicBezTo>
                  <a:pt x="783" y="281"/>
                  <a:pt x="783" y="281"/>
                  <a:pt x="783" y="281"/>
                </a:cubicBezTo>
                <a:close/>
                <a:moveTo>
                  <a:pt x="809" y="249"/>
                </a:moveTo>
                <a:cubicBezTo>
                  <a:pt x="810" y="239"/>
                  <a:pt x="810" y="239"/>
                  <a:pt x="810" y="239"/>
                </a:cubicBezTo>
                <a:cubicBezTo>
                  <a:pt x="800" y="239"/>
                  <a:pt x="800" y="239"/>
                  <a:pt x="800" y="239"/>
                </a:cubicBezTo>
                <a:cubicBezTo>
                  <a:pt x="799" y="249"/>
                  <a:pt x="799" y="249"/>
                  <a:pt x="799" y="249"/>
                </a:cubicBezTo>
                <a:cubicBezTo>
                  <a:pt x="809" y="249"/>
                  <a:pt x="809" y="249"/>
                  <a:pt x="809" y="249"/>
                </a:cubicBezTo>
                <a:cubicBezTo>
                  <a:pt x="809" y="249"/>
                  <a:pt x="809" y="249"/>
                  <a:pt x="809" y="249"/>
                </a:cubicBezTo>
                <a:close/>
                <a:moveTo>
                  <a:pt x="327" y="207"/>
                </a:moveTo>
                <a:cubicBezTo>
                  <a:pt x="327" y="207"/>
                  <a:pt x="327" y="207"/>
                  <a:pt x="327" y="207"/>
                </a:cubicBezTo>
                <a:cubicBezTo>
                  <a:pt x="322" y="207"/>
                  <a:pt x="322" y="207"/>
                  <a:pt x="322" y="207"/>
                </a:cubicBezTo>
                <a:cubicBezTo>
                  <a:pt x="319" y="209"/>
                  <a:pt x="318" y="210"/>
                  <a:pt x="316" y="211"/>
                </a:cubicBezTo>
                <a:cubicBezTo>
                  <a:pt x="314" y="212"/>
                  <a:pt x="313" y="213"/>
                  <a:pt x="310" y="214"/>
                </a:cubicBezTo>
                <a:cubicBezTo>
                  <a:pt x="309" y="215"/>
                  <a:pt x="307" y="216"/>
                  <a:pt x="305" y="217"/>
                </a:cubicBezTo>
                <a:cubicBezTo>
                  <a:pt x="303" y="217"/>
                  <a:pt x="302" y="218"/>
                  <a:pt x="299" y="218"/>
                </a:cubicBezTo>
                <a:cubicBezTo>
                  <a:pt x="299" y="218"/>
                  <a:pt x="299" y="218"/>
                  <a:pt x="299" y="228"/>
                </a:cubicBezTo>
                <a:cubicBezTo>
                  <a:pt x="302" y="228"/>
                  <a:pt x="305" y="227"/>
                  <a:pt x="308" y="225"/>
                </a:cubicBezTo>
                <a:cubicBezTo>
                  <a:pt x="310" y="225"/>
                  <a:pt x="313" y="223"/>
                  <a:pt x="315" y="222"/>
                </a:cubicBezTo>
                <a:cubicBezTo>
                  <a:pt x="315" y="222"/>
                  <a:pt x="315" y="222"/>
                  <a:pt x="315" y="281"/>
                </a:cubicBezTo>
                <a:cubicBezTo>
                  <a:pt x="315" y="281"/>
                  <a:pt x="315" y="281"/>
                  <a:pt x="327" y="281"/>
                </a:cubicBezTo>
                <a:cubicBezTo>
                  <a:pt x="327" y="281"/>
                  <a:pt x="327" y="281"/>
                  <a:pt x="327" y="207"/>
                </a:cubicBezTo>
                <a:close/>
                <a:moveTo>
                  <a:pt x="374" y="207"/>
                </a:moveTo>
                <a:cubicBezTo>
                  <a:pt x="374" y="207"/>
                  <a:pt x="374" y="207"/>
                  <a:pt x="374" y="207"/>
                </a:cubicBezTo>
                <a:cubicBezTo>
                  <a:pt x="369" y="207"/>
                  <a:pt x="369" y="207"/>
                  <a:pt x="369" y="207"/>
                </a:cubicBezTo>
                <a:cubicBezTo>
                  <a:pt x="367" y="209"/>
                  <a:pt x="365" y="210"/>
                  <a:pt x="363" y="211"/>
                </a:cubicBezTo>
                <a:cubicBezTo>
                  <a:pt x="362" y="212"/>
                  <a:pt x="359" y="213"/>
                  <a:pt x="358" y="214"/>
                </a:cubicBezTo>
                <a:cubicBezTo>
                  <a:pt x="357" y="215"/>
                  <a:pt x="354" y="216"/>
                  <a:pt x="353" y="217"/>
                </a:cubicBezTo>
                <a:cubicBezTo>
                  <a:pt x="351" y="217"/>
                  <a:pt x="349" y="218"/>
                  <a:pt x="347" y="218"/>
                </a:cubicBezTo>
                <a:cubicBezTo>
                  <a:pt x="347" y="218"/>
                  <a:pt x="347" y="218"/>
                  <a:pt x="347" y="228"/>
                </a:cubicBezTo>
                <a:cubicBezTo>
                  <a:pt x="350" y="228"/>
                  <a:pt x="353" y="227"/>
                  <a:pt x="355" y="225"/>
                </a:cubicBezTo>
                <a:cubicBezTo>
                  <a:pt x="358" y="225"/>
                  <a:pt x="360" y="223"/>
                  <a:pt x="362" y="222"/>
                </a:cubicBezTo>
                <a:cubicBezTo>
                  <a:pt x="362" y="222"/>
                  <a:pt x="362" y="222"/>
                  <a:pt x="362" y="281"/>
                </a:cubicBezTo>
                <a:cubicBezTo>
                  <a:pt x="362" y="281"/>
                  <a:pt x="362" y="281"/>
                  <a:pt x="374" y="281"/>
                </a:cubicBezTo>
                <a:cubicBezTo>
                  <a:pt x="374" y="281"/>
                  <a:pt x="374" y="281"/>
                  <a:pt x="374" y="207"/>
                </a:cubicBezTo>
                <a:close/>
                <a:moveTo>
                  <a:pt x="421" y="207"/>
                </a:moveTo>
                <a:cubicBezTo>
                  <a:pt x="421" y="207"/>
                  <a:pt x="421" y="207"/>
                  <a:pt x="421" y="207"/>
                </a:cubicBezTo>
                <a:cubicBezTo>
                  <a:pt x="416" y="207"/>
                  <a:pt x="416" y="207"/>
                  <a:pt x="416" y="207"/>
                </a:cubicBezTo>
                <a:cubicBezTo>
                  <a:pt x="414" y="209"/>
                  <a:pt x="413" y="210"/>
                  <a:pt x="411" y="211"/>
                </a:cubicBezTo>
                <a:cubicBezTo>
                  <a:pt x="409" y="212"/>
                  <a:pt x="407" y="213"/>
                  <a:pt x="406" y="214"/>
                </a:cubicBezTo>
                <a:cubicBezTo>
                  <a:pt x="404" y="215"/>
                  <a:pt x="402" y="215"/>
                  <a:pt x="400" y="216"/>
                </a:cubicBezTo>
                <a:cubicBezTo>
                  <a:pt x="398" y="217"/>
                  <a:pt x="396" y="217"/>
                  <a:pt x="395" y="218"/>
                </a:cubicBezTo>
                <a:cubicBezTo>
                  <a:pt x="395" y="218"/>
                  <a:pt x="395" y="218"/>
                  <a:pt x="395" y="228"/>
                </a:cubicBezTo>
                <a:cubicBezTo>
                  <a:pt x="398" y="228"/>
                  <a:pt x="401" y="226"/>
                  <a:pt x="403" y="225"/>
                </a:cubicBezTo>
                <a:cubicBezTo>
                  <a:pt x="405" y="225"/>
                  <a:pt x="408" y="223"/>
                  <a:pt x="409" y="222"/>
                </a:cubicBezTo>
                <a:cubicBezTo>
                  <a:pt x="409" y="222"/>
                  <a:pt x="409" y="222"/>
                  <a:pt x="409" y="281"/>
                </a:cubicBezTo>
                <a:cubicBezTo>
                  <a:pt x="409" y="281"/>
                  <a:pt x="409" y="281"/>
                  <a:pt x="421" y="281"/>
                </a:cubicBezTo>
                <a:cubicBezTo>
                  <a:pt x="421" y="281"/>
                  <a:pt x="421" y="281"/>
                  <a:pt x="421" y="207"/>
                </a:cubicBezTo>
                <a:close/>
                <a:moveTo>
                  <a:pt x="628" y="111"/>
                </a:moveTo>
                <a:cubicBezTo>
                  <a:pt x="628" y="111"/>
                  <a:pt x="628" y="111"/>
                  <a:pt x="628" y="111"/>
                </a:cubicBezTo>
                <a:cubicBezTo>
                  <a:pt x="623" y="111"/>
                  <a:pt x="623" y="111"/>
                  <a:pt x="623" y="111"/>
                </a:cubicBezTo>
                <a:cubicBezTo>
                  <a:pt x="621" y="113"/>
                  <a:pt x="619" y="114"/>
                  <a:pt x="617" y="115"/>
                </a:cubicBezTo>
                <a:cubicBezTo>
                  <a:pt x="616" y="116"/>
                  <a:pt x="613" y="117"/>
                  <a:pt x="612" y="118"/>
                </a:cubicBezTo>
                <a:cubicBezTo>
                  <a:pt x="610" y="119"/>
                  <a:pt x="608" y="119"/>
                  <a:pt x="607" y="120"/>
                </a:cubicBezTo>
                <a:cubicBezTo>
                  <a:pt x="605" y="121"/>
                  <a:pt x="603" y="121"/>
                  <a:pt x="601" y="122"/>
                </a:cubicBezTo>
                <a:cubicBezTo>
                  <a:pt x="601" y="122"/>
                  <a:pt x="601" y="122"/>
                  <a:pt x="601" y="132"/>
                </a:cubicBezTo>
                <a:cubicBezTo>
                  <a:pt x="604" y="132"/>
                  <a:pt x="607" y="130"/>
                  <a:pt x="609" y="129"/>
                </a:cubicBezTo>
                <a:cubicBezTo>
                  <a:pt x="612" y="129"/>
                  <a:pt x="614" y="127"/>
                  <a:pt x="616" y="126"/>
                </a:cubicBezTo>
                <a:cubicBezTo>
                  <a:pt x="616" y="126"/>
                  <a:pt x="616" y="126"/>
                  <a:pt x="616" y="185"/>
                </a:cubicBezTo>
                <a:cubicBezTo>
                  <a:pt x="616" y="185"/>
                  <a:pt x="616" y="185"/>
                  <a:pt x="628" y="185"/>
                </a:cubicBezTo>
                <a:cubicBezTo>
                  <a:pt x="628" y="185"/>
                  <a:pt x="628" y="185"/>
                  <a:pt x="628" y="111"/>
                </a:cubicBezTo>
                <a:close/>
                <a:moveTo>
                  <a:pt x="674" y="111"/>
                </a:moveTo>
                <a:cubicBezTo>
                  <a:pt x="674" y="111"/>
                  <a:pt x="674" y="111"/>
                  <a:pt x="674" y="111"/>
                </a:cubicBezTo>
                <a:cubicBezTo>
                  <a:pt x="669" y="111"/>
                  <a:pt x="669" y="111"/>
                  <a:pt x="669" y="111"/>
                </a:cubicBezTo>
                <a:cubicBezTo>
                  <a:pt x="667" y="113"/>
                  <a:pt x="666" y="114"/>
                  <a:pt x="664" y="115"/>
                </a:cubicBezTo>
                <a:cubicBezTo>
                  <a:pt x="662" y="116"/>
                  <a:pt x="660" y="117"/>
                  <a:pt x="659" y="118"/>
                </a:cubicBezTo>
                <a:cubicBezTo>
                  <a:pt x="657" y="119"/>
                  <a:pt x="655" y="120"/>
                  <a:pt x="654" y="121"/>
                </a:cubicBezTo>
                <a:cubicBezTo>
                  <a:pt x="651" y="121"/>
                  <a:pt x="650" y="122"/>
                  <a:pt x="648" y="122"/>
                </a:cubicBezTo>
                <a:cubicBezTo>
                  <a:pt x="648" y="122"/>
                  <a:pt x="648" y="122"/>
                  <a:pt x="648" y="132"/>
                </a:cubicBezTo>
                <a:cubicBezTo>
                  <a:pt x="651" y="132"/>
                  <a:pt x="654" y="131"/>
                  <a:pt x="656" y="129"/>
                </a:cubicBezTo>
                <a:cubicBezTo>
                  <a:pt x="659" y="129"/>
                  <a:pt x="661" y="127"/>
                  <a:pt x="663" y="126"/>
                </a:cubicBezTo>
                <a:cubicBezTo>
                  <a:pt x="663" y="126"/>
                  <a:pt x="663" y="126"/>
                  <a:pt x="663" y="185"/>
                </a:cubicBezTo>
                <a:cubicBezTo>
                  <a:pt x="663" y="185"/>
                  <a:pt x="663" y="185"/>
                  <a:pt x="674" y="185"/>
                </a:cubicBezTo>
                <a:cubicBezTo>
                  <a:pt x="674" y="185"/>
                  <a:pt x="674" y="185"/>
                  <a:pt x="674" y="111"/>
                </a:cubicBezTo>
                <a:close/>
                <a:moveTo>
                  <a:pt x="720" y="111"/>
                </a:moveTo>
                <a:cubicBezTo>
                  <a:pt x="720" y="111"/>
                  <a:pt x="720" y="111"/>
                  <a:pt x="720" y="111"/>
                </a:cubicBezTo>
                <a:cubicBezTo>
                  <a:pt x="716" y="111"/>
                  <a:pt x="716" y="111"/>
                  <a:pt x="716" y="111"/>
                </a:cubicBezTo>
                <a:cubicBezTo>
                  <a:pt x="714" y="113"/>
                  <a:pt x="712" y="114"/>
                  <a:pt x="710" y="115"/>
                </a:cubicBezTo>
                <a:cubicBezTo>
                  <a:pt x="709" y="116"/>
                  <a:pt x="707" y="117"/>
                  <a:pt x="705" y="118"/>
                </a:cubicBezTo>
                <a:cubicBezTo>
                  <a:pt x="703" y="119"/>
                  <a:pt x="702" y="120"/>
                  <a:pt x="699" y="121"/>
                </a:cubicBezTo>
                <a:cubicBezTo>
                  <a:pt x="698" y="121"/>
                  <a:pt x="696" y="122"/>
                  <a:pt x="694" y="122"/>
                </a:cubicBezTo>
                <a:cubicBezTo>
                  <a:pt x="694" y="122"/>
                  <a:pt x="694" y="122"/>
                  <a:pt x="694" y="132"/>
                </a:cubicBezTo>
                <a:cubicBezTo>
                  <a:pt x="697" y="132"/>
                  <a:pt x="700" y="131"/>
                  <a:pt x="702" y="129"/>
                </a:cubicBezTo>
                <a:cubicBezTo>
                  <a:pt x="704" y="129"/>
                  <a:pt x="707" y="127"/>
                  <a:pt x="709" y="126"/>
                </a:cubicBezTo>
                <a:cubicBezTo>
                  <a:pt x="709" y="126"/>
                  <a:pt x="709" y="126"/>
                  <a:pt x="709" y="185"/>
                </a:cubicBezTo>
                <a:cubicBezTo>
                  <a:pt x="709" y="185"/>
                  <a:pt x="709" y="185"/>
                  <a:pt x="720" y="185"/>
                </a:cubicBezTo>
                <a:cubicBezTo>
                  <a:pt x="720" y="185"/>
                  <a:pt x="720" y="185"/>
                  <a:pt x="720" y="111"/>
                </a:cubicBezTo>
                <a:close/>
                <a:moveTo>
                  <a:pt x="767" y="111"/>
                </a:moveTo>
                <a:cubicBezTo>
                  <a:pt x="767" y="111"/>
                  <a:pt x="767" y="111"/>
                  <a:pt x="767" y="111"/>
                </a:cubicBezTo>
                <a:cubicBezTo>
                  <a:pt x="762" y="111"/>
                  <a:pt x="762" y="111"/>
                  <a:pt x="762" y="111"/>
                </a:cubicBezTo>
                <a:cubicBezTo>
                  <a:pt x="760" y="113"/>
                  <a:pt x="758" y="114"/>
                  <a:pt x="756" y="115"/>
                </a:cubicBezTo>
                <a:cubicBezTo>
                  <a:pt x="755" y="116"/>
                  <a:pt x="753" y="117"/>
                  <a:pt x="751" y="118"/>
                </a:cubicBezTo>
                <a:cubicBezTo>
                  <a:pt x="750" y="119"/>
                  <a:pt x="747" y="120"/>
                  <a:pt x="746" y="121"/>
                </a:cubicBezTo>
                <a:cubicBezTo>
                  <a:pt x="744" y="121"/>
                  <a:pt x="742" y="122"/>
                  <a:pt x="740" y="122"/>
                </a:cubicBezTo>
                <a:cubicBezTo>
                  <a:pt x="740" y="122"/>
                  <a:pt x="740" y="122"/>
                  <a:pt x="740" y="132"/>
                </a:cubicBezTo>
                <a:cubicBezTo>
                  <a:pt x="743" y="132"/>
                  <a:pt x="746" y="131"/>
                  <a:pt x="748" y="129"/>
                </a:cubicBezTo>
                <a:cubicBezTo>
                  <a:pt x="751" y="129"/>
                  <a:pt x="753" y="127"/>
                  <a:pt x="756" y="126"/>
                </a:cubicBezTo>
                <a:cubicBezTo>
                  <a:pt x="756" y="126"/>
                  <a:pt x="756" y="126"/>
                  <a:pt x="756" y="185"/>
                </a:cubicBezTo>
                <a:cubicBezTo>
                  <a:pt x="756" y="185"/>
                  <a:pt x="756" y="185"/>
                  <a:pt x="767" y="185"/>
                </a:cubicBezTo>
                <a:cubicBezTo>
                  <a:pt x="767" y="185"/>
                  <a:pt x="767" y="185"/>
                  <a:pt x="767" y="111"/>
                </a:cubicBezTo>
                <a:close/>
                <a:moveTo>
                  <a:pt x="889" y="111"/>
                </a:moveTo>
                <a:cubicBezTo>
                  <a:pt x="889" y="111"/>
                  <a:pt x="889" y="111"/>
                  <a:pt x="889" y="111"/>
                </a:cubicBezTo>
                <a:cubicBezTo>
                  <a:pt x="884" y="111"/>
                  <a:pt x="884" y="111"/>
                  <a:pt x="884" y="111"/>
                </a:cubicBezTo>
                <a:cubicBezTo>
                  <a:pt x="882" y="113"/>
                  <a:pt x="880" y="114"/>
                  <a:pt x="878" y="115"/>
                </a:cubicBezTo>
                <a:cubicBezTo>
                  <a:pt x="876" y="116"/>
                  <a:pt x="875" y="117"/>
                  <a:pt x="873" y="118"/>
                </a:cubicBezTo>
                <a:cubicBezTo>
                  <a:pt x="871" y="119"/>
                  <a:pt x="869" y="120"/>
                  <a:pt x="868" y="121"/>
                </a:cubicBezTo>
                <a:cubicBezTo>
                  <a:pt x="866" y="121"/>
                  <a:pt x="864" y="122"/>
                  <a:pt x="862" y="122"/>
                </a:cubicBezTo>
                <a:cubicBezTo>
                  <a:pt x="862" y="122"/>
                  <a:pt x="862" y="122"/>
                  <a:pt x="862" y="132"/>
                </a:cubicBezTo>
                <a:cubicBezTo>
                  <a:pt x="865" y="132"/>
                  <a:pt x="868" y="131"/>
                  <a:pt x="871" y="129"/>
                </a:cubicBezTo>
                <a:cubicBezTo>
                  <a:pt x="873" y="129"/>
                  <a:pt x="875" y="127"/>
                  <a:pt x="877" y="126"/>
                </a:cubicBezTo>
                <a:cubicBezTo>
                  <a:pt x="877" y="126"/>
                  <a:pt x="877" y="126"/>
                  <a:pt x="877" y="185"/>
                </a:cubicBezTo>
                <a:cubicBezTo>
                  <a:pt x="877" y="185"/>
                  <a:pt x="877" y="185"/>
                  <a:pt x="889" y="185"/>
                </a:cubicBezTo>
                <a:cubicBezTo>
                  <a:pt x="889" y="185"/>
                  <a:pt x="889" y="185"/>
                  <a:pt x="889" y="111"/>
                </a:cubicBezTo>
                <a:close/>
                <a:moveTo>
                  <a:pt x="936" y="111"/>
                </a:moveTo>
                <a:cubicBezTo>
                  <a:pt x="936" y="111"/>
                  <a:pt x="936" y="111"/>
                  <a:pt x="936" y="111"/>
                </a:cubicBezTo>
                <a:cubicBezTo>
                  <a:pt x="931" y="111"/>
                  <a:pt x="931" y="111"/>
                  <a:pt x="931" y="111"/>
                </a:cubicBezTo>
                <a:cubicBezTo>
                  <a:pt x="929" y="113"/>
                  <a:pt x="927" y="114"/>
                  <a:pt x="925" y="115"/>
                </a:cubicBezTo>
                <a:cubicBezTo>
                  <a:pt x="924" y="116"/>
                  <a:pt x="921" y="117"/>
                  <a:pt x="920" y="118"/>
                </a:cubicBezTo>
                <a:cubicBezTo>
                  <a:pt x="918" y="119"/>
                  <a:pt x="916" y="120"/>
                  <a:pt x="915" y="121"/>
                </a:cubicBezTo>
                <a:cubicBezTo>
                  <a:pt x="913" y="121"/>
                  <a:pt x="911" y="122"/>
                  <a:pt x="909" y="122"/>
                </a:cubicBezTo>
                <a:cubicBezTo>
                  <a:pt x="909" y="122"/>
                  <a:pt x="909" y="122"/>
                  <a:pt x="909" y="132"/>
                </a:cubicBezTo>
                <a:cubicBezTo>
                  <a:pt x="912" y="132"/>
                  <a:pt x="915" y="131"/>
                  <a:pt x="917" y="129"/>
                </a:cubicBezTo>
                <a:cubicBezTo>
                  <a:pt x="920" y="129"/>
                  <a:pt x="922" y="127"/>
                  <a:pt x="924" y="126"/>
                </a:cubicBezTo>
                <a:cubicBezTo>
                  <a:pt x="924" y="126"/>
                  <a:pt x="924" y="126"/>
                  <a:pt x="924" y="185"/>
                </a:cubicBezTo>
                <a:cubicBezTo>
                  <a:pt x="924" y="185"/>
                  <a:pt x="924" y="185"/>
                  <a:pt x="936" y="185"/>
                </a:cubicBezTo>
                <a:cubicBezTo>
                  <a:pt x="936" y="185"/>
                  <a:pt x="936" y="185"/>
                  <a:pt x="936" y="111"/>
                </a:cubicBezTo>
                <a:close/>
                <a:moveTo>
                  <a:pt x="787" y="144"/>
                </a:moveTo>
                <a:cubicBezTo>
                  <a:pt x="787" y="144"/>
                  <a:pt x="787" y="144"/>
                  <a:pt x="787" y="144"/>
                </a:cubicBezTo>
                <a:cubicBezTo>
                  <a:pt x="787" y="152"/>
                  <a:pt x="787" y="152"/>
                  <a:pt x="787" y="152"/>
                </a:cubicBezTo>
                <a:cubicBezTo>
                  <a:pt x="793" y="152"/>
                  <a:pt x="794" y="155"/>
                  <a:pt x="794" y="158"/>
                </a:cubicBezTo>
                <a:cubicBezTo>
                  <a:pt x="794" y="160"/>
                  <a:pt x="794" y="162"/>
                  <a:pt x="794" y="165"/>
                </a:cubicBezTo>
                <a:cubicBezTo>
                  <a:pt x="793" y="167"/>
                  <a:pt x="793" y="170"/>
                  <a:pt x="793" y="172"/>
                </a:cubicBezTo>
                <a:cubicBezTo>
                  <a:pt x="793" y="181"/>
                  <a:pt x="799" y="185"/>
                  <a:pt x="807" y="185"/>
                </a:cubicBezTo>
                <a:cubicBezTo>
                  <a:pt x="807" y="185"/>
                  <a:pt x="807" y="185"/>
                  <a:pt x="811" y="185"/>
                </a:cubicBezTo>
                <a:cubicBezTo>
                  <a:pt x="811" y="185"/>
                  <a:pt x="811" y="185"/>
                  <a:pt x="811" y="176"/>
                </a:cubicBezTo>
                <a:cubicBezTo>
                  <a:pt x="811" y="176"/>
                  <a:pt x="811" y="176"/>
                  <a:pt x="810" y="176"/>
                </a:cubicBezTo>
                <a:cubicBezTo>
                  <a:pt x="806" y="176"/>
                  <a:pt x="805" y="173"/>
                  <a:pt x="805" y="170"/>
                </a:cubicBezTo>
                <a:cubicBezTo>
                  <a:pt x="805" y="168"/>
                  <a:pt x="805" y="167"/>
                  <a:pt x="805" y="165"/>
                </a:cubicBezTo>
                <a:cubicBezTo>
                  <a:pt x="805" y="163"/>
                  <a:pt x="806" y="161"/>
                  <a:pt x="806" y="159"/>
                </a:cubicBezTo>
                <a:cubicBezTo>
                  <a:pt x="806" y="151"/>
                  <a:pt x="803" y="149"/>
                  <a:pt x="797" y="148"/>
                </a:cubicBezTo>
                <a:cubicBezTo>
                  <a:pt x="797" y="148"/>
                  <a:pt x="797" y="148"/>
                  <a:pt x="797" y="147"/>
                </a:cubicBezTo>
                <a:cubicBezTo>
                  <a:pt x="803" y="146"/>
                  <a:pt x="806" y="144"/>
                  <a:pt x="806" y="136"/>
                </a:cubicBezTo>
                <a:cubicBezTo>
                  <a:pt x="806" y="134"/>
                  <a:pt x="805" y="132"/>
                  <a:pt x="805" y="130"/>
                </a:cubicBezTo>
                <a:cubicBezTo>
                  <a:pt x="805" y="129"/>
                  <a:pt x="805" y="127"/>
                  <a:pt x="805" y="126"/>
                </a:cubicBezTo>
                <a:cubicBezTo>
                  <a:pt x="805" y="122"/>
                  <a:pt x="806" y="120"/>
                  <a:pt x="810" y="120"/>
                </a:cubicBezTo>
                <a:cubicBezTo>
                  <a:pt x="810" y="120"/>
                  <a:pt x="810" y="120"/>
                  <a:pt x="811" y="120"/>
                </a:cubicBezTo>
                <a:cubicBezTo>
                  <a:pt x="811" y="120"/>
                  <a:pt x="811" y="120"/>
                  <a:pt x="811" y="110"/>
                </a:cubicBezTo>
                <a:cubicBezTo>
                  <a:pt x="811" y="110"/>
                  <a:pt x="811" y="110"/>
                  <a:pt x="807" y="110"/>
                </a:cubicBezTo>
                <a:cubicBezTo>
                  <a:pt x="798" y="110"/>
                  <a:pt x="793" y="114"/>
                  <a:pt x="793" y="123"/>
                </a:cubicBezTo>
                <a:cubicBezTo>
                  <a:pt x="793" y="125"/>
                  <a:pt x="793" y="128"/>
                  <a:pt x="793" y="130"/>
                </a:cubicBezTo>
                <a:cubicBezTo>
                  <a:pt x="794" y="133"/>
                  <a:pt x="794" y="135"/>
                  <a:pt x="794" y="137"/>
                </a:cubicBezTo>
                <a:cubicBezTo>
                  <a:pt x="794" y="140"/>
                  <a:pt x="793" y="143"/>
                  <a:pt x="787" y="144"/>
                </a:cubicBezTo>
                <a:close/>
                <a:moveTo>
                  <a:pt x="842" y="152"/>
                </a:moveTo>
                <a:cubicBezTo>
                  <a:pt x="842" y="152"/>
                  <a:pt x="842" y="152"/>
                  <a:pt x="842" y="152"/>
                </a:cubicBezTo>
                <a:cubicBezTo>
                  <a:pt x="842" y="144"/>
                  <a:pt x="842" y="144"/>
                  <a:pt x="842" y="144"/>
                </a:cubicBezTo>
                <a:cubicBezTo>
                  <a:pt x="836" y="143"/>
                  <a:pt x="835" y="140"/>
                  <a:pt x="835" y="137"/>
                </a:cubicBezTo>
                <a:cubicBezTo>
                  <a:pt x="835" y="135"/>
                  <a:pt x="835" y="133"/>
                  <a:pt x="836" y="130"/>
                </a:cubicBezTo>
                <a:cubicBezTo>
                  <a:pt x="836" y="128"/>
                  <a:pt x="836" y="125"/>
                  <a:pt x="836" y="123"/>
                </a:cubicBezTo>
                <a:cubicBezTo>
                  <a:pt x="836" y="114"/>
                  <a:pt x="831" y="110"/>
                  <a:pt x="822" y="110"/>
                </a:cubicBezTo>
                <a:cubicBezTo>
                  <a:pt x="822" y="110"/>
                  <a:pt x="822" y="110"/>
                  <a:pt x="818" y="110"/>
                </a:cubicBezTo>
                <a:cubicBezTo>
                  <a:pt x="818" y="110"/>
                  <a:pt x="818" y="110"/>
                  <a:pt x="818" y="120"/>
                </a:cubicBezTo>
                <a:cubicBezTo>
                  <a:pt x="818" y="120"/>
                  <a:pt x="818" y="120"/>
                  <a:pt x="819" y="120"/>
                </a:cubicBezTo>
                <a:cubicBezTo>
                  <a:pt x="823" y="120"/>
                  <a:pt x="825" y="122"/>
                  <a:pt x="825" y="126"/>
                </a:cubicBezTo>
                <a:cubicBezTo>
                  <a:pt x="825" y="127"/>
                  <a:pt x="824" y="129"/>
                  <a:pt x="824" y="130"/>
                </a:cubicBezTo>
                <a:cubicBezTo>
                  <a:pt x="824" y="132"/>
                  <a:pt x="824" y="134"/>
                  <a:pt x="824" y="136"/>
                </a:cubicBezTo>
                <a:cubicBezTo>
                  <a:pt x="824" y="144"/>
                  <a:pt x="826" y="146"/>
                  <a:pt x="832" y="147"/>
                </a:cubicBezTo>
                <a:cubicBezTo>
                  <a:pt x="832" y="147"/>
                  <a:pt x="832" y="147"/>
                  <a:pt x="832" y="148"/>
                </a:cubicBezTo>
                <a:cubicBezTo>
                  <a:pt x="826" y="149"/>
                  <a:pt x="824" y="151"/>
                  <a:pt x="824" y="159"/>
                </a:cubicBezTo>
                <a:cubicBezTo>
                  <a:pt x="824" y="161"/>
                  <a:pt x="824" y="163"/>
                  <a:pt x="824" y="165"/>
                </a:cubicBezTo>
                <a:cubicBezTo>
                  <a:pt x="824" y="167"/>
                  <a:pt x="825" y="168"/>
                  <a:pt x="825" y="170"/>
                </a:cubicBezTo>
                <a:cubicBezTo>
                  <a:pt x="825" y="173"/>
                  <a:pt x="823" y="176"/>
                  <a:pt x="819" y="176"/>
                </a:cubicBezTo>
                <a:cubicBezTo>
                  <a:pt x="819" y="176"/>
                  <a:pt x="819" y="176"/>
                  <a:pt x="818" y="176"/>
                </a:cubicBezTo>
                <a:cubicBezTo>
                  <a:pt x="818" y="176"/>
                  <a:pt x="818" y="176"/>
                  <a:pt x="818" y="185"/>
                </a:cubicBezTo>
                <a:cubicBezTo>
                  <a:pt x="818" y="185"/>
                  <a:pt x="818" y="185"/>
                  <a:pt x="822" y="185"/>
                </a:cubicBezTo>
                <a:cubicBezTo>
                  <a:pt x="831" y="185"/>
                  <a:pt x="836" y="181"/>
                  <a:pt x="836" y="172"/>
                </a:cubicBezTo>
                <a:cubicBezTo>
                  <a:pt x="836" y="170"/>
                  <a:pt x="836" y="167"/>
                  <a:pt x="836" y="165"/>
                </a:cubicBezTo>
                <a:cubicBezTo>
                  <a:pt x="835" y="162"/>
                  <a:pt x="835" y="160"/>
                  <a:pt x="835" y="158"/>
                </a:cubicBezTo>
                <a:cubicBezTo>
                  <a:pt x="835" y="155"/>
                  <a:pt x="836" y="152"/>
                  <a:pt x="842" y="152"/>
                </a:cubicBezTo>
                <a:close/>
                <a:moveTo>
                  <a:pt x="228" y="185"/>
                </a:moveTo>
                <a:cubicBezTo>
                  <a:pt x="221" y="185"/>
                  <a:pt x="214" y="182"/>
                  <a:pt x="210" y="176"/>
                </a:cubicBezTo>
                <a:cubicBezTo>
                  <a:pt x="206" y="169"/>
                  <a:pt x="204" y="161"/>
                  <a:pt x="204" y="148"/>
                </a:cubicBezTo>
                <a:cubicBezTo>
                  <a:pt x="204" y="135"/>
                  <a:pt x="206" y="126"/>
                  <a:pt x="210" y="119"/>
                </a:cubicBezTo>
                <a:cubicBezTo>
                  <a:pt x="215" y="112"/>
                  <a:pt x="221" y="109"/>
                  <a:pt x="230" y="109"/>
                </a:cubicBezTo>
                <a:cubicBezTo>
                  <a:pt x="246" y="109"/>
                  <a:pt x="254" y="121"/>
                  <a:pt x="254" y="147"/>
                </a:cubicBezTo>
                <a:cubicBezTo>
                  <a:pt x="254" y="159"/>
                  <a:pt x="252" y="169"/>
                  <a:pt x="247" y="175"/>
                </a:cubicBezTo>
                <a:cubicBezTo>
                  <a:pt x="243" y="182"/>
                  <a:pt x="236" y="185"/>
                  <a:pt x="228" y="185"/>
                </a:cubicBezTo>
                <a:close/>
                <a:moveTo>
                  <a:pt x="229" y="118"/>
                </a:moveTo>
                <a:cubicBezTo>
                  <a:pt x="220" y="118"/>
                  <a:pt x="216" y="129"/>
                  <a:pt x="216" y="148"/>
                </a:cubicBezTo>
                <a:cubicBezTo>
                  <a:pt x="216" y="166"/>
                  <a:pt x="220" y="175"/>
                  <a:pt x="229" y="175"/>
                </a:cubicBezTo>
                <a:cubicBezTo>
                  <a:pt x="237" y="175"/>
                  <a:pt x="242" y="166"/>
                  <a:pt x="242" y="147"/>
                </a:cubicBezTo>
                <a:cubicBezTo>
                  <a:pt x="242" y="128"/>
                  <a:pt x="237" y="118"/>
                  <a:pt x="229" y="118"/>
                </a:cubicBezTo>
                <a:close/>
                <a:moveTo>
                  <a:pt x="298" y="185"/>
                </a:moveTo>
                <a:cubicBezTo>
                  <a:pt x="291" y="185"/>
                  <a:pt x="284" y="182"/>
                  <a:pt x="281" y="176"/>
                </a:cubicBezTo>
                <a:cubicBezTo>
                  <a:pt x="276" y="169"/>
                  <a:pt x="274" y="161"/>
                  <a:pt x="274" y="148"/>
                </a:cubicBezTo>
                <a:cubicBezTo>
                  <a:pt x="274" y="135"/>
                  <a:pt x="276" y="126"/>
                  <a:pt x="281" y="119"/>
                </a:cubicBezTo>
                <a:cubicBezTo>
                  <a:pt x="285" y="112"/>
                  <a:pt x="292" y="109"/>
                  <a:pt x="300" y="109"/>
                </a:cubicBezTo>
                <a:cubicBezTo>
                  <a:pt x="317" y="109"/>
                  <a:pt x="325" y="121"/>
                  <a:pt x="325" y="147"/>
                </a:cubicBezTo>
                <a:cubicBezTo>
                  <a:pt x="325" y="159"/>
                  <a:pt x="323" y="169"/>
                  <a:pt x="318" y="175"/>
                </a:cubicBezTo>
                <a:cubicBezTo>
                  <a:pt x="313" y="182"/>
                  <a:pt x="307" y="185"/>
                  <a:pt x="298" y="185"/>
                </a:cubicBezTo>
                <a:close/>
                <a:moveTo>
                  <a:pt x="300" y="118"/>
                </a:moveTo>
                <a:cubicBezTo>
                  <a:pt x="291" y="118"/>
                  <a:pt x="286" y="129"/>
                  <a:pt x="286" y="148"/>
                </a:cubicBezTo>
                <a:cubicBezTo>
                  <a:pt x="286" y="166"/>
                  <a:pt x="290" y="175"/>
                  <a:pt x="299" y="175"/>
                </a:cubicBezTo>
                <a:cubicBezTo>
                  <a:pt x="308" y="175"/>
                  <a:pt x="312" y="166"/>
                  <a:pt x="312" y="147"/>
                </a:cubicBezTo>
                <a:cubicBezTo>
                  <a:pt x="312" y="128"/>
                  <a:pt x="308" y="118"/>
                  <a:pt x="300" y="118"/>
                </a:cubicBezTo>
                <a:close/>
                <a:moveTo>
                  <a:pt x="508" y="185"/>
                </a:moveTo>
                <a:cubicBezTo>
                  <a:pt x="501" y="185"/>
                  <a:pt x="495" y="182"/>
                  <a:pt x="491" y="175"/>
                </a:cubicBezTo>
                <a:cubicBezTo>
                  <a:pt x="486" y="169"/>
                  <a:pt x="484" y="160"/>
                  <a:pt x="484" y="148"/>
                </a:cubicBezTo>
                <a:cubicBezTo>
                  <a:pt x="484" y="135"/>
                  <a:pt x="486" y="126"/>
                  <a:pt x="491" y="118"/>
                </a:cubicBezTo>
                <a:cubicBezTo>
                  <a:pt x="495" y="112"/>
                  <a:pt x="502" y="109"/>
                  <a:pt x="510" y="109"/>
                </a:cubicBezTo>
                <a:cubicBezTo>
                  <a:pt x="527" y="109"/>
                  <a:pt x="535" y="121"/>
                  <a:pt x="535" y="146"/>
                </a:cubicBezTo>
                <a:cubicBezTo>
                  <a:pt x="535" y="159"/>
                  <a:pt x="532" y="169"/>
                  <a:pt x="528" y="175"/>
                </a:cubicBezTo>
                <a:cubicBezTo>
                  <a:pt x="523" y="182"/>
                  <a:pt x="517" y="185"/>
                  <a:pt x="508" y="185"/>
                </a:cubicBezTo>
                <a:close/>
                <a:moveTo>
                  <a:pt x="510" y="118"/>
                </a:moveTo>
                <a:cubicBezTo>
                  <a:pt x="501" y="118"/>
                  <a:pt x="497" y="128"/>
                  <a:pt x="497" y="147"/>
                </a:cubicBezTo>
                <a:cubicBezTo>
                  <a:pt x="497" y="166"/>
                  <a:pt x="501" y="175"/>
                  <a:pt x="510" y="175"/>
                </a:cubicBezTo>
                <a:cubicBezTo>
                  <a:pt x="518" y="175"/>
                  <a:pt x="522" y="166"/>
                  <a:pt x="522" y="147"/>
                </a:cubicBezTo>
                <a:cubicBezTo>
                  <a:pt x="522" y="128"/>
                  <a:pt x="519" y="118"/>
                  <a:pt x="510" y="118"/>
                </a:cubicBezTo>
                <a:close/>
                <a:moveTo>
                  <a:pt x="581" y="111"/>
                </a:moveTo>
                <a:cubicBezTo>
                  <a:pt x="581" y="111"/>
                  <a:pt x="581" y="111"/>
                  <a:pt x="581" y="111"/>
                </a:cubicBezTo>
                <a:cubicBezTo>
                  <a:pt x="576" y="111"/>
                  <a:pt x="576" y="111"/>
                  <a:pt x="576" y="111"/>
                </a:cubicBezTo>
                <a:cubicBezTo>
                  <a:pt x="574" y="113"/>
                  <a:pt x="573" y="114"/>
                  <a:pt x="570" y="115"/>
                </a:cubicBezTo>
                <a:cubicBezTo>
                  <a:pt x="569" y="116"/>
                  <a:pt x="567" y="117"/>
                  <a:pt x="565" y="118"/>
                </a:cubicBezTo>
                <a:cubicBezTo>
                  <a:pt x="564" y="119"/>
                  <a:pt x="562" y="119"/>
                  <a:pt x="560" y="120"/>
                </a:cubicBezTo>
                <a:cubicBezTo>
                  <a:pt x="558" y="121"/>
                  <a:pt x="557" y="121"/>
                  <a:pt x="555" y="122"/>
                </a:cubicBezTo>
                <a:cubicBezTo>
                  <a:pt x="555" y="122"/>
                  <a:pt x="555" y="122"/>
                  <a:pt x="555" y="132"/>
                </a:cubicBezTo>
                <a:cubicBezTo>
                  <a:pt x="558" y="132"/>
                  <a:pt x="560" y="130"/>
                  <a:pt x="563" y="129"/>
                </a:cubicBezTo>
                <a:cubicBezTo>
                  <a:pt x="565" y="129"/>
                  <a:pt x="568" y="127"/>
                  <a:pt x="570" y="126"/>
                </a:cubicBezTo>
                <a:cubicBezTo>
                  <a:pt x="570" y="126"/>
                  <a:pt x="570" y="126"/>
                  <a:pt x="570" y="185"/>
                </a:cubicBezTo>
                <a:cubicBezTo>
                  <a:pt x="570" y="185"/>
                  <a:pt x="570" y="185"/>
                  <a:pt x="581" y="185"/>
                </a:cubicBezTo>
                <a:cubicBezTo>
                  <a:pt x="581" y="185"/>
                  <a:pt x="581" y="185"/>
                  <a:pt x="581" y="111"/>
                </a:cubicBezTo>
                <a:close/>
                <a:moveTo>
                  <a:pt x="371" y="111"/>
                </a:moveTo>
                <a:cubicBezTo>
                  <a:pt x="371" y="111"/>
                  <a:pt x="371" y="111"/>
                  <a:pt x="371" y="111"/>
                </a:cubicBezTo>
                <a:cubicBezTo>
                  <a:pt x="366" y="111"/>
                  <a:pt x="366" y="111"/>
                  <a:pt x="366" y="111"/>
                </a:cubicBezTo>
                <a:cubicBezTo>
                  <a:pt x="364" y="113"/>
                  <a:pt x="363" y="114"/>
                  <a:pt x="360" y="115"/>
                </a:cubicBezTo>
                <a:cubicBezTo>
                  <a:pt x="359" y="116"/>
                  <a:pt x="358" y="117"/>
                  <a:pt x="355" y="118"/>
                </a:cubicBezTo>
                <a:cubicBezTo>
                  <a:pt x="354" y="119"/>
                  <a:pt x="352" y="120"/>
                  <a:pt x="350" y="121"/>
                </a:cubicBezTo>
                <a:cubicBezTo>
                  <a:pt x="348" y="121"/>
                  <a:pt x="347" y="122"/>
                  <a:pt x="344" y="122"/>
                </a:cubicBezTo>
                <a:cubicBezTo>
                  <a:pt x="344" y="122"/>
                  <a:pt x="344" y="122"/>
                  <a:pt x="344" y="132"/>
                </a:cubicBezTo>
                <a:cubicBezTo>
                  <a:pt x="347" y="132"/>
                  <a:pt x="350" y="131"/>
                  <a:pt x="353" y="129"/>
                </a:cubicBezTo>
                <a:cubicBezTo>
                  <a:pt x="355" y="129"/>
                  <a:pt x="358" y="127"/>
                  <a:pt x="360" y="126"/>
                </a:cubicBezTo>
                <a:cubicBezTo>
                  <a:pt x="360" y="126"/>
                  <a:pt x="360" y="126"/>
                  <a:pt x="360" y="185"/>
                </a:cubicBezTo>
                <a:cubicBezTo>
                  <a:pt x="360" y="185"/>
                  <a:pt x="360" y="185"/>
                  <a:pt x="371" y="185"/>
                </a:cubicBezTo>
                <a:cubicBezTo>
                  <a:pt x="371" y="185"/>
                  <a:pt x="371" y="185"/>
                  <a:pt x="371" y="111"/>
                </a:cubicBezTo>
                <a:close/>
                <a:moveTo>
                  <a:pt x="418" y="111"/>
                </a:moveTo>
                <a:cubicBezTo>
                  <a:pt x="418" y="111"/>
                  <a:pt x="418" y="111"/>
                  <a:pt x="418" y="111"/>
                </a:cubicBezTo>
                <a:cubicBezTo>
                  <a:pt x="413" y="111"/>
                  <a:pt x="413" y="111"/>
                  <a:pt x="413" y="111"/>
                </a:cubicBezTo>
                <a:cubicBezTo>
                  <a:pt x="411" y="113"/>
                  <a:pt x="410" y="114"/>
                  <a:pt x="408" y="115"/>
                </a:cubicBezTo>
                <a:cubicBezTo>
                  <a:pt x="406" y="116"/>
                  <a:pt x="404" y="117"/>
                  <a:pt x="402" y="118"/>
                </a:cubicBezTo>
                <a:cubicBezTo>
                  <a:pt x="401" y="119"/>
                  <a:pt x="399" y="120"/>
                  <a:pt x="397" y="121"/>
                </a:cubicBezTo>
                <a:cubicBezTo>
                  <a:pt x="395" y="121"/>
                  <a:pt x="394" y="122"/>
                  <a:pt x="392" y="122"/>
                </a:cubicBezTo>
                <a:cubicBezTo>
                  <a:pt x="392" y="122"/>
                  <a:pt x="392" y="122"/>
                  <a:pt x="392" y="132"/>
                </a:cubicBezTo>
                <a:cubicBezTo>
                  <a:pt x="394" y="132"/>
                  <a:pt x="397" y="131"/>
                  <a:pt x="400" y="129"/>
                </a:cubicBezTo>
                <a:cubicBezTo>
                  <a:pt x="402" y="129"/>
                  <a:pt x="405" y="127"/>
                  <a:pt x="407" y="126"/>
                </a:cubicBezTo>
                <a:cubicBezTo>
                  <a:pt x="407" y="126"/>
                  <a:pt x="407" y="126"/>
                  <a:pt x="407" y="185"/>
                </a:cubicBezTo>
                <a:cubicBezTo>
                  <a:pt x="407" y="185"/>
                  <a:pt x="407" y="185"/>
                  <a:pt x="418" y="185"/>
                </a:cubicBezTo>
                <a:cubicBezTo>
                  <a:pt x="418" y="185"/>
                  <a:pt x="418" y="185"/>
                  <a:pt x="418" y="111"/>
                </a:cubicBezTo>
                <a:close/>
                <a:moveTo>
                  <a:pt x="464" y="111"/>
                </a:moveTo>
                <a:cubicBezTo>
                  <a:pt x="464" y="111"/>
                  <a:pt x="464" y="111"/>
                  <a:pt x="464" y="111"/>
                </a:cubicBezTo>
                <a:cubicBezTo>
                  <a:pt x="460" y="111"/>
                  <a:pt x="460" y="111"/>
                  <a:pt x="460" y="111"/>
                </a:cubicBezTo>
                <a:cubicBezTo>
                  <a:pt x="458" y="113"/>
                  <a:pt x="456" y="114"/>
                  <a:pt x="454" y="115"/>
                </a:cubicBezTo>
                <a:cubicBezTo>
                  <a:pt x="453" y="116"/>
                  <a:pt x="451" y="117"/>
                  <a:pt x="449" y="118"/>
                </a:cubicBezTo>
                <a:cubicBezTo>
                  <a:pt x="447" y="119"/>
                  <a:pt x="445" y="119"/>
                  <a:pt x="443" y="120"/>
                </a:cubicBezTo>
                <a:cubicBezTo>
                  <a:pt x="442" y="121"/>
                  <a:pt x="440" y="121"/>
                  <a:pt x="438" y="122"/>
                </a:cubicBezTo>
                <a:cubicBezTo>
                  <a:pt x="438" y="122"/>
                  <a:pt x="438" y="122"/>
                  <a:pt x="438" y="132"/>
                </a:cubicBezTo>
                <a:cubicBezTo>
                  <a:pt x="441" y="132"/>
                  <a:pt x="444" y="130"/>
                  <a:pt x="446" y="129"/>
                </a:cubicBezTo>
                <a:cubicBezTo>
                  <a:pt x="448" y="129"/>
                  <a:pt x="451" y="127"/>
                  <a:pt x="453" y="126"/>
                </a:cubicBezTo>
                <a:cubicBezTo>
                  <a:pt x="453" y="126"/>
                  <a:pt x="453" y="126"/>
                  <a:pt x="453" y="185"/>
                </a:cubicBezTo>
                <a:cubicBezTo>
                  <a:pt x="453" y="185"/>
                  <a:pt x="453" y="185"/>
                  <a:pt x="464" y="185"/>
                </a:cubicBezTo>
                <a:cubicBezTo>
                  <a:pt x="464" y="185"/>
                  <a:pt x="464" y="185"/>
                  <a:pt x="464" y="111"/>
                </a:cubicBezTo>
                <a:close/>
                <a:moveTo>
                  <a:pt x="30" y="185"/>
                </a:moveTo>
                <a:cubicBezTo>
                  <a:pt x="23" y="185"/>
                  <a:pt x="16" y="182"/>
                  <a:pt x="12" y="176"/>
                </a:cubicBezTo>
                <a:cubicBezTo>
                  <a:pt x="8" y="169"/>
                  <a:pt x="6" y="161"/>
                  <a:pt x="6" y="148"/>
                </a:cubicBezTo>
                <a:cubicBezTo>
                  <a:pt x="6" y="135"/>
                  <a:pt x="8" y="126"/>
                  <a:pt x="12" y="119"/>
                </a:cubicBezTo>
                <a:cubicBezTo>
                  <a:pt x="17" y="112"/>
                  <a:pt x="23" y="109"/>
                  <a:pt x="32" y="109"/>
                </a:cubicBezTo>
                <a:cubicBezTo>
                  <a:pt x="48" y="109"/>
                  <a:pt x="56" y="121"/>
                  <a:pt x="56" y="147"/>
                </a:cubicBezTo>
                <a:cubicBezTo>
                  <a:pt x="56" y="159"/>
                  <a:pt x="54" y="169"/>
                  <a:pt x="50" y="175"/>
                </a:cubicBezTo>
                <a:cubicBezTo>
                  <a:pt x="45" y="182"/>
                  <a:pt x="39" y="185"/>
                  <a:pt x="30" y="185"/>
                </a:cubicBezTo>
                <a:close/>
                <a:moveTo>
                  <a:pt x="31" y="118"/>
                </a:moveTo>
                <a:cubicBezTo>
                  <a:pt x="23" y="118"/>
                  <a:pt x="17" y="129"/>
                  <a:pt x="17" y="148"/>
                </a:cubicBezTo>
                <a:cubicBezTo>
                  <a:pt x="17" y="166"/>
                  <a:pt x="22" y="175"/>
                  <a:pt x="31" y="175"/>
                </a:cubicBezTo>
                <a:cubicBezTo>
                  <a:pt x="40" y="175"/>
                  <a:pt x="44" y="166"/>
                  <a:pt x="44" y="147"/>
                </a:cubicBezTo>
                <a:cubicBezTo>
                  <a:pt x="44" y="128"/>
                  <a:pt x="40" y="118"/>
                  <a:pt x="31" y="118"/>
                </a:cubicBezTo>
                <a:close/>
                <a:moveTo>
                  <a:pt x="91" y="111"/>
                </a:moveTo>
                <a:cubicBezTo>
                  <a:pt x="91" y="111"/>
                  <a:pt x="91" y="111"/>
                  <a:pt x="91" y="111"/>
                </a:cubicBezTo>
                <a:cubicBezTo>
                  <a:pt x="86" y="111"/>
                  <a:pt x="86" y="111"/>
                  <a:pt x="86" y="111"/>
                </a:cubicBezTo>
                <a:cubicBezTo>
                  <a:pt x="84" y="113"/>
                  <a:pt x="82" y="114"/>
                  <a:pt x="80" y="115"/>
                </a:cubicBezTo>
                <a:cubicBezTo>
                  <a:pt x="79" y="116"/>
                  <a:pt x="77" y="117"/>
                  <a:pt x="75" y="118"/>
                </a:cubicBezTo>
                <a:cubicBezTo>
                  <a:pt x="74" y="119"/>
                  <a:pt x="71" y="120"/>
                  <a:pt x="70" y="121"/>
                </a:cubicBezTo>
                <a:cubicBezTo>
                  <a:pt x="68" y="121"/>
                  <a:pt x="66" y="122"/>
                  <a:pt x="64" y="122"/>
                </a:cubicBezTo>
                <a:cubicBezTo>
                  <a:pt x="64" y="122"/>
                  <a:pt x="64" y="122"/>
                  <a:pt x="64" y="132"/>
                </a:cubicBezTo>
                <a:cubicBezTo>
                  <a:pt x="67" y="132"/>
                  <a:pt x="70" y="131"/>
                  <a:pt x="73" y="129"/>
                </a:cubicBezTo>
                <a:cubicBezTo>
                  <a:pt x="75" y="129"/>
                  <a:pt x="77" y="127"/>
                  <a:pt x="79" y="126"/>
                </a:cubicBezTo>
                <a:cubicBezTo>
                  <a:pt x="79" y="126"/>
                  <a:pt x="79" y="126"/>
                  <a:pt x="79" y="185"/>
                </a:cubicBezTo>
                <a:cubicBezTo>
                  <a:pt x="79" y="185"/>
                  <a:pt x="79" y="185"/>
                  <a:pt x="91" y="185"/>
                </a:cubicBezTo>
                <a:cubicBezTo>
                  <a:pt x="91" y="185"/>
                  <a:pt x="91" y="185"/>
                  <a:pt x="91" y="111"/>
                </a:cubicBezTo>
                <a:close/>
                <a:moveTo>
                  <a:pt x="138" y="111"/>
                </a:moveTo>
                <a:cubicBezTo>
                  <a:pt x="138" y="111"/>
                  <a:pt x="138" y="111"/>
                  <a:pt x="138" y="111"/>
                </a:cubicBezTo>
                <a:cubicBezTo>
                  <a:pt x="133" y="111"/>
                  <a:pt x="133" y="111"/>
                  <a:pt x="133" y="111"/>
                </a:cubicBezTo>
                <a:cubicBezTo>
                  <a:pt x="131" y="113"/>
                  <a:pt x="129" y="114"/>
                  <a:pt x="127" y="115"/>
                </a:cubicBezTo>
                <a:cubicBezTo>
                  <a:pt x="126" y="116"/>
                  <a:pt x="124" y="117"/>
                  <a:pt x="122" y="118"/>
                </a:cubicBezTo>
                <a:cubicBezTo>
                  <a:pt x="121" y="119"/>
                  <a:pt x="118" y="120"/>
                  <a:pt x="117" y="121"/>
                </a:cubicBezTo>
                <a:cubicBezTo>
                  <a:pt x="115" y="121"/>
                  <a:pt x="113" y="122"/>
                  <a:pt x="111" y="122"/>
                </a:cubicBezTo>
                <a:cubicBezTo>
                  <a:pt x="111" y="122"/>
                  <a:pt x="111" y="122"/>
                  <a:pt x="111" y="132"/>
                </a:cubicBezTo>
                <a:cubicBezTo>
                  <a:pt x="114" y="132"/>
                  <a:pt x="117" y="131"/>
                  <a:pt x="119" y="129"/>
                </a:cubicBezTo>
                <a:cubicBezTo>
                  <a:pt x="122" y="129"/>
                  <a:pt x="124" y="127"/>
                  <a:pt x="126" y="126"/>
                </a:cubicBezTo>
                <a:cubicBezTo>
                  <a:pt x="126" y="126"/>
                  <a:pt x="126" y="126"/>
                  <a:pt x="126" y="185"/>
                </a:cubicBezTo>
                <a:cubicBezTo>
                  <a:pt x="126" y="185"/>
                  <a:pt x="126" y="185"/>
                  <a:pt x="138" y="185"/>
                </a:cubicBezTo>
                <a:cubicBezTo>
                  <a:pt x="138" y="185"/>
                  <a:pt x="138" y="185"/>
                  <a:pt x="138" y="111"/>
                </a:cubicBezTo>
                <a:close/>
                <a:moveTo>
                  <a:pt x="184" y="111"/>
                </a:moveTo>
                <a:cubicBezTo>
                  <a:pt x="184" y="111"/>
                  <a:pt x="184" y="111"/>
                  <a:pt x="184" y="111"/>
                </a:cubicBezTo>
                <a:cubicBezTo>
                  <a:pt x="180" y="111"/>
                  <a:pt x="180" y="111"/>
                  <a:pt x="180" y="111"/>
                </a:cubicBezTo>
                <a:cubicBezTo>
                  <a:pt x="178" y="113"/>
                  <a:pt x="176" y="114"/>
                  <a:pt x="174" y="115"/>
                </a:cubicBezTo>
                <a:cubicBezTo>
                  <a:pt x="172" y="116"/>
                  <a:pt x="170" y="117"/>
                  <a:pt x="169" y="118"/>
                </a:cubicBezTo>
                <a:cubicBezTo>
                  <a:pt x="167" y="119"/>
                  <a:pt x="165" y="119"/>
                  <a:pt x="163" y="120"/>
                </a:cubicBezTo>
                <a:cubicBezTo>
                  <a:pt x="161" y="121"/>
                  <a:pt x="159" y="121"/>
                  <a:pt x="158" y="122"/>
                </a:cubicBezTo>
                <a:cubicBezTo>
                  <a:pt x="158" y="122"/>
                  <a:pt x="158" y="122"/>
                  <a:pt x="158" y="132"/>
                </a:cubicBezTo>
                <a:cubicBezTo>
                  <a:pt x="161" y="132"/>
                  <a:pt x="164" y="130"/>
                  <a:pt x="166" y="129"/>
                </a:cubicBezTo>
                <a:cubicBezTo>
                  <a:pt x="168" y="129"/>
                  <a:pt x="171" y="127"/>
                  <a:pt x="172" y="126"/>
                </a:cubicBezTo>
                <a:cubicBezTo>
                  <a:pt x="172" y="126"/>
                  <a:pt x="172" y="126"/>
                  <a:pt x="172" y="185"/>
                </a:cubicBezTo>
                <a:cubicBezTo>
                  <a:pt x="172" y="185"/>
                  <a:pt x="172" y="185"/>
                  <a:pt x="184" y="185"/>
                </a:cubicBezTo>
                <a:cubicBezTo>
                  <a:pt x="184" y="185"/>
                  <a:pt x="184" y="185"/>
                  <a:pt x="184" y="111"/>
                </a:cubicBezTo>
                <a:close/>
                <a:moveTo>
                  <a:pt x="99" y="77"/>
                </a:moveTo>
                <a:cubicBezTo>
                  <a:pt x="92" y="77"/>
                  <a:pt x="85" y="74"/>
                  <a:pt x="81" y="68"/>
                </a:cubicBezTo>
                <a:cubicBezTo>
                  <a:pt x="77" y="62"/>
                  <a:pt x="75" y="53"/>
                  <a:pt x="75" y="41"/>
                </a:cubicBezTo>
                <a:cubicBezTo>
                  <a:pt x="75" y="28"/>
                  <a:pt x="77" y="18"/>
                  <a:pt x="81" y="12"/>
                </a:cubicBezTo>
                <a:cubicBezTo>
                  <a:pt x="86" y="5"/>
                  <a:pt x="92" y="1"/>
                  <a:pt x="101" y="1"/>
                </a:cubicBezTo>
                <a:cubicBezTo>
                  <a:pt x="117" y="1"/>
                  <a:pt x="125" y="14"/>
                  <a:pt x="125" y="39"/>
                </a:cubicBezTo>
                <a:cubicBezTo>
                  <a:pt x="125" y="52"/>
                  <a:pt x="123" y="61"/>
                  <a:pt x="118" y="68"/>
                </a:cubicBezTo>
                <a:cubicBezTo>
                  <a:pt x="113" y="74"/>
                  <a:pt x="107" y="77"/>
                  <a:pt x="99" y="77"/>
                </a:cubicBezTo>
                <a:close/>
                <a:moveTo>
                  <a:pt x="100" y="11"/>
                </a:moveTo>
                <a:cubicBezTo>
                  <a:pt x="91" y="11"/>
                  <a:pt x="86" y="21"/>
                  <a:pt x="86" y="41"/>
                </a:cubicBezTo>
                <a:cubicBezTo>
                  <a:pt x="86" y="59"/>
                  <a:pt x="91" y="68"/>
                  <a:pt x="100" y="68"/>
                </a:cubicBezTo>
                <a:cubicBezTo>
                  <a:pt x="108" y="68"/>
                  <a:pt x="113" y="59"/>
                  <a:pt x="113" y="40"/>
                </a:cubicBezTo>
                <a:cubicBezTo>
                  <a:pt x="113" y="20"/>
                  <a:pt x="108" y="11"/>
                  <a:pt x="100" y="11"/>
                </a:cubicBezTo>
                <a:close/>
                <a:moveTo>
                  <a:pt x="173" y="4"/>
                </a:moveTo>
                <a:cubicBezTo>
                  <a:pt x="173" y="4"/>
                  <a:pt x="173" y="4"/>
                  <a:pt x="173" y="4"/>
                </a:cubicBezTo>
                <a:cubicBezTo>
                  <a:pt x="168" y="4"/>
                  <a:pt x="168" y="4"/>
                  <a:pt x="168" y="4"/>
                </a:cubicBezTo>
                <a:cubicBezTo>
                  <a:pt x="165" y="5"/>
                  <a:pt x="164" y="7"/>
                  <a:pt x="162" y="7"/>
                </a:cubicBezTo>
                <a:cubicBezTo>
                  <a:pt x="160" y="9"/>
                  <a:pt x="158" y="10"/>
                  <a:pt x="157" y="10"/>
                </a:cubicBezTo>
                <a:cubicBezTo>
                  <a:pt x="154" y="11"/>
                  <a:pt x="153" y="12"/>
                  <a:pt x="152" y="12"/>
                </a:cubicBezTo>
                <a:cubicBezTo>
                  <a:pt x="149" y="13"/>
                  <a:pt x="148" y="14"/>
                  <a:pt x="146" y="15"/>
                </a:cubicBezTo>
                <a:cubicBezTo>
                  <a:pt x="146" y="15"/>
                  <a:pt x="146" y="15"/>
                  <a:pt x="146" y="25"/>
                </a:cubicBezTo>
                <a:cubicBezTo>
                  <a:pt x="149" y="24"/>
                  <a:pt x="152" y="23"/>
                  <a:pt x="154" y="22"/>
                </a:cubicBezTo>
                <a:cubicBezTo>
                  <a:pt x="157" y="21"/>
                  <a:pt x="159" y="20"/>
                  <a:pt x="161" y="18"/>
                </a:cubicBezTo>
                <a:cubicBezTo>
                  <a:pt x="161" y="18"/>
                  <a:pt x="161" y="18"/>
                  <a:pt x="161" y="77"/>
                </a:cubicBezTo>
                <a:cubicBezTo>
                  <a:pt x="161" y="77"/>
                  <a:pt x="161" y="77"/>
                  <a:pt x="173" y="77"/>
                </a:cubicBezTo>
                <a:cubicBezTo>
                  <a:pt x="173" y="77"/>
                  <a:pt x="173" y="77"/>
                  <a:pt x="173" y="4"/>
                </a:cubicBezTo>
                <a:close/>
                <a:moveTo>
                  <a:pt x="220" y="4"/>
                </a:moveTo>
                <a:cubicBezTo>
                  <a:pt x="220" y="4"/>
                  <a:pt x="220" y="4"/>
                  <a:pt x="220" y="4"/>
                </a:cubicBezTo>
                <a:cubicBezTo>
                  <a:pt x="215" y="4"/>
                  <a:pt x="215" y="4"/>
                  <a:pt x="215" y="4"/>
                </a:cubicBezTo>
                <a:cubicBezTo>
                  <a:pt x="213" y="5"/>
                  <a:pt x="211" y="7"/>
                  <a:pt x="209" y="7"/>
                </a:cubicBezTo>
                <a:cubicBezTo>
                  <a:pt x="208" y="9"/>
                  <a:pt x="205" y="10"/>
                  <a:pt x="204" y="10"/>
                </a:cubicBezTo>
                <a:cubicBezTo>
                  <a:pt x="203" y="12"/>
                  <a:pt x="200" y="12"/>
                  <a:pt x="199" y="13"/>
                </a:cubicBezTo>
                <a:cubicBezTo>
                  <a:pt x="197" y="14"/>
                  <a:pt x="195" y="15"/>
                  <a:pt x="193" y="15"/>
                </a:cubicBezTo>
                <a:cubicBezTo>
                  <a:pt x="193" y="15"/>
                  <a:pt x="193" y="15"/>
                  <a:pt x="193" y="25"/>
                </a:cubicBezTo>
                <a:cubicBezTo>
                  <a:pt x="196" y="24"/>
                  <a:pt x="199" y="23"/>
                  <a:pt x="201" y="22"/>
                </a:cubicBezTo>
                <a:cubicBezTo>
                  <a:pt x="204" y="21"/>
                  <a:pt x="206" y="20"/>
                  <a:pt x="208" y="18"/>
                </a:cubicBezTo>
                <a:cubicBezTo>
                  <a:pt x="208" y="18"/>
                  <a:pt x="208" y="18"/>
                  <a:pt x="208" y="77"/>
                </a:cubicBezTo>
                <a:cubicBezTo>
                  <a:pt x="208" y="77"/>
                  <a:pt x="208" y="77"/>
                  <a:pt x="220" y="77"/>
                </a:cubicBezTo>
                <a:cubicBezTo>
                  <a:pt x="220" y="77"/>
                  <a:pt x="220" y="77"/>
                  <a:pt x="220" y="4"/>
                </a:cubicBezTo>
                <a:close/>
                <a:moveTo>
                  <a:pt x="266" y="4"/>
                </a:moveTo>
                <a:cubicBezTo>
                  <a:pt x="266" y="4"/>
                  <a:pt x="266" y="4"/>
                  <a:pt x="266" y="4"/>
                </a:cubicBezTo>
                <a:cubicBezTo>
                  <a:pt x="262" y="4"/>
                  <a:pt x="262" y="4"/>
                  <a:pt x="262" y="4"/>
                </a:cubicBezTo>
                <a:cubicBezTo>
                  <a:pt x="260" y="5"/>
                  <a:pt x="258" y="7"/>
                  <a:pt x="256" y="7"/>
                </a:cubicBezTo>
                <a:cubicBezTo>
                  <a:pt x="255" y="9"/>
                  <a:pt x="253" y="10"/>
                  <a:pt x="251" y="10"/>
                </a:cubicBezTo>
                <a:cubicBezTo>
                  <a:pt x="249" y="12"/>
                  <a:pt x="248" y="12"/>
                  <a:pt x="245" y="13"/>
                </a:cubicBezTo>
                <a:cubicBezTo>
                  <a:pt x="244" y="14"/>
                  <a:pt x="242" y="15"/>
                  <a:pt x="240" y="15"/>
                </a:cubicBezTo>
                <a:cubicBezTo>
                  <a:pt x="240" y="15"/>
                  <a:pt x="240" y="15"/>
                  <a:pt x="240" y="25"/>
                </a:cubicBezTo>
                <a:cubicBezTo>
                  <a:pt x="243" y="24"/>
                  <a:pt x="246" y="23"/>
                  <a:pt x="248" y="22"/>
                </a:cubicBezTo>
                <a:cubicBezTo>
                  <a:pt x="250" y="21"/>
                  <a:pt x="253" y="20"/>
                  <a:pt x="255" y="18"/>
                </a:cubicBezTo>
                <a:cubicBezTo>
                  <a:pt x="255" y="18"/>
                  <a:pt x="255" y="18"/>
                  <a:pt x="255" y="77"/>
                </a:cubicBezTo>
                <a:cubicBezTo>
                  <a:pt x="255" y="77"/>
                  <a:pt x="255" y="77"/>
                  <a:pt x="266" y="77"/>
                </a:cubicBezTo>
                <a:cubicBezTo>
                  <a:pt x="266" y="77"/>
                  <a:pt x="266" y="77"/>
                  <a:pt x="266" y="4"/>
                </a:cubicBezTo>
                <a:close/>
                <a:moveTo>
                  <a:pt x="314" y="4"/>
                </a:moveTo>
                <a:cubicBezTo>
                  <a:pt x="314" y="4"/>
                  <a:pt x="314" y="4"/>
                  <a:pt x="314" y="4"/>
                </a:cubicBezTo>
                <a:cubicBezTo>
                  <a:pt x="309" y="4"/>
                  <a:pt x="309" y="4"/>
                  <a:pt x="309" y="4"/>
                </a:cubicBezTo>
                <a:cubicBezTo>
                  <a:pt x="307" y="5"/>
                  <a:pt x="305" y="7"/>
                  <a:pt x="303" y="7"/>
                </a:cubicBezTo>
                <a:cubicBezTo>
                  <a:pt x="301" y="9"/>
                  <a:pt x="300" y="10"/>
                  <a:pt x="298" y="10"/>
                </a:cubicBezTo>
                <a:cubicBezTo>
                  <a:pt x="296" y="12"/>
                  <a:pt x="294" y="12"/>
                  <a:pt x="293" y="13"/>
                </a:cubicBezTo>
                <a:cubicBezTo>
                  <a:pt x="291" y="14"/>
                  <a:pt x="289" y="15"/>
                  <a:pt x="287" y="15"/>
                </a:cubicBezTo>
                <a:cubicBezTo>
                  <a:pt x="287" y="15"/>
                  <a:pt x="287" y="15"/>
                  <a:pt x="287" y="25"/>
                </a:cubicBezTo>
                <a:cubicBezTo>
                  <a:pt x="290" y="24"/>
                  <a:pt x="293" y="23"/>
                  <a:pt x="295" y="22"/>
                </a:cubicBezTo>
                <a:cubicBezTo>
                  <a:pt x="298" y="21"/>
                  <a:pt x="300" y="20"/>
                  <a:pt x="302" y="18"/>
                </a:cubicBezTo>
                <a:cubicBezTo>
                  <a:pt x="302" y="18"/>
                  <a:pt x="302" y="18"/>
                  <a:pt x="302" y="77"/>
                </a:cubicBezTo>
                <a:cubicBezTo>
                  <a:pt x="302" y="77"/>
                  <a:pt x="302" y="77"/>
                  <a:pt x="314" y="77"/>
                </a:cubicBezTo>
                <a:cubicBezTo>
                  <a:pt x="314" y="77"/>
                  <a:pt x="314" y="77"/>
                  <a:pt x="314" y="4"/>
                </a:cubicBezTo>
                <a:close/>
                <a:moveTo>
                  <a:pt x="437" y="4"/>
                </a:moveTo>
                <a:cubicBezTo>
                  <a:pt x="437" y="4"/>
                  <a:pt x="437" y="4"/>
                  <a:pt x="437" y="4"/>
                </a:cubicBezTo>
                <a:cubicBezTo>
                  <a:pt x="432" y="4"/>
                  <a:pt x="432" y="4"/>
                  <a:pt x="432" y="4"/>
                </a:cubicBezTo>
                <a:cubicBezTo>
                  <a:pt x="429" y="5"/>
                  <a:pt x="428" y="7"/>
                  <a:pt x="426" y="7"/>
                </a:cubicBezTo>
                <a:cubicBezTo>
                  <a:pt x="424" y="9"/>
                  <a:pt x="423" y="10"/>
                  <a:pt x="421" y="10"/>
                </a:cubicBezTo>
                <a:cubicBezTo>
                  <a:pt x="419" y="12"/>
                  <a:pt x="417" y="12"/>
                  <a:pt x="416" y="13"/>
                </a:cubicBezTo>
                <a:cubicBezTo>
                  <a:pt x="413" y="14"/>
                  <a:pt x="412" y="15"/>
                  <a:pt x="410" y="15"/>
                </a:cubicBezTo>
                <a:cubicBezTo>
                  <a:pt x="410" y="15"/>
                  <a:pt x="410" y="15"/>
                  <a:pt x="410" y="25"/>
                </a:cubicBezTo>
                <a:cubicBezTo>
                  <a:pt x="413" y="24"/>
                  <a:pt x="416" y="23"/>
                  <a:pt x="418" y="22"/>
                </a:cubicBezTo>
                <a:cubicBezTo>
                  <a:pt x="421" y="21"/>
                  <a:pt x="423" y="20"/>
                  <a:pt x="425" y="18"/>
                </a:cubicBezTo>
                <a:cubicBezTo>
                  <a:pt x="425" y="18"/>
                  <a:pt x="425" y="18"/>
                  <a:pt x="425" y="77"/>
                </a:cubicBezTo>
                <a:cubicBezTo>
                  <a:pt x="425" y="77"/>
                  <a:pt x="425" y="77"/>
                  <a:pt x="437" y="77"/>
                </a:cubicBezTo>
                <a:cubicBezTo>
                  <a:pt x="437" y="77"/>
                  <a:pt x="437" y="77"/>
                  <a:pt x="437" y="4"/>
                </a:cubicBezTo>
                <a:close/>
                <a:moveTo>
                  <a:pt x="484" y="4"/>
                </a:moveTo>
                <a:cubicBezTo>
                  <a:pt x="484" y="4"/>
                  <a:pt x="484" y="4"/>
                  <a:pt x="484" y="4"/>
                </a:cubicBezTo>
                <a:cubicBezTo>
                  <a:pt x="479" y="4"/>
                  <a:pt x="479" y="4"/>
                  <a:pt x="479" y="4"/>
                </a:cubicBezTo>
                <a:cubicBezTo>
                  <a:pt x="477" y="5"/>
                  <a:pt x="475" y="7"/>
                  <a:pt x="473" y="7"/>
                </a:cubicBezTo>
                <a:cubicBezTo>
                  <a:pt x="472" y="9"/>
                  <a:pt x="470" y="10"/>
                  <a:pt x="468" y="10"/>
                </a:cubicBezTo>
                <a:cubicBezTo>
                  <a:pt x="467" y="12"/>
                  <a:pt x="465" y="12"/>
                  <a:pt x="463" y="13"/>
                </a:cubicBezTo>
                <a:cubicBezTo>
                  <a:pt x="461" y="14"/>
                  <a:pt x="459" y="15"/>
                  <a:pt x="457" y="15"/>
                </a:cubicBezTo>
                <a:cubicBezTo>
                  <a:pt x="457" y="15"/>
                  <a:pt x="457" y="15"/>
                  <a:pt x="457" y="25"/>
                </a:cubicBezTo>
                <a:cubicBezTo>
                  <a:pt x="460" y="24"/>
                  <a:pt x="463" y="23"/>
                  <a:pt x="465" y="22"/>
                </a:cubicBezTo>
                <a:cubicBezTo>
                  <a:pt x="468" y="21"/>
                  <a:pt x="470" y="20"/>
                  <a:pt x="473" y="18"/>
                </a:cubicBezTo>
                <a:cubicBezTo>
                  <a:pt x="473" y="18"/>
                  <a:pt x="473" y="18"/>
                  <a:pt x="473" y="77"/>
                </a:cubicBezTo>
                <a:cubicBezTo>
                  <a:pt x="473" y="77"/>
                  <a:pt x="473" y="77"/>
                  <a:pt x="484" y="77"/>
                </a:cubicBezTo>
                <a:cubicBezTo>
                  <a:pt x="484" y="77"/>
                  <a:pt x="484" y="77"/>
                  <a:pt x="484" y="4"/>
                </a:cubicBezTo>
                <a:close/>
                <a:moveTo>
                  <a:pt x="532" y="4"/>
                </a:moveTo>
                <a:cubicBezTo>
                  <a:pt x="532" y="4"/>
                  <a:pt x="532" y="4"/>
                  <a:pt x="532" y="4"/>
                </a:cubicBezTo>
                <a:cubicBezTo>
                  <a:pt x="527" y="4"/>
                  <a:pt x="527" y="4"/>
                  <a:pt x="527" y="4"/>
                </a:cubicBezTo>
                <a:cubicBezTo>
                  <a:pt x="525" y="5"/>
                  <a:pt x="523" y="7"/>
                  <a:pt x="522" y="7"/>
                </a:cubicBezTo>
                <a:cubicBezTo>
                  <a:pt x="519" y="9"/>
                  <a:pt x="518" y="10"/>
                  <a:pt x="516" y="10"/>
                </a:cubicBezTo>
                <a:cubicBezTo>
                  <a:pt x="514" y="12"/>
                  <a:pt x="512" y="12"/>
                  <a:pt x="511" y="13"/>
                </a:cubicBezTo>
                <a:cubicBezTo>
                  <a:pt x="508" y="14"/>
                  <a:pt x="507" y="15"/>
                  <a:pt x="505" y="15"/>
                </a:cubicBezTo>
                <a:cubicBezTo>
                  <a:pt x="505" y="15"/>
                  <a:pt x="505" y="15"/>
                  <a:pt x="505" y="25"/>
                </a:cubicBezTo>
                <a:cubicBezTo>
                  <a:pt x="508" y="24"/>
                  <a:pt x="511" y="23"/>
                  <a:pt x="514" y="22"/>
                </a:cubicBezTo>
                <a:cubicBezTo>
                  <a:pt x="516" y="21"/>
                  <a:pt x="518" y="20"/>
                  <a:pt x="520" y="18"/>
                </a:cubicBezTo>
                <a:cubicBezTo>
                  <a:pt x="520" y="18"/>
                  <a:pt x="520" y="18"/>
                  <a:pt x="520" y="77"/>
                </a:cubicBezTo>
                <a:cubicBezTo>
                  <a:pt x="520" y="77"/>
                  <a:pt x="520" y="77"/>
                  <a:pt x="532" y="77"/>
                </a:cubicBezTo>
                <a:cubicBezTo>
                  <a:pt x="532" y="77"/>
                  <a:pt x="532" y="77"/>
                  <a:pt x="532" y="4"/>
                </a:cubicBezTo>
                <a:close/>
                <a:moveTo>
                  <a:pt x="578" y="4"/>
                </a:moveTo>
                <a:cubicBezTo>
                  <a:pt x="578" y="4"/>
                  <a:pt x="578" y="4"/>
                  <a:pt x="578" y="4"/>
                </a:cubicBezTo>
                <a:cubicBezTo>
                  <a:pt x="574" y="4"/>
                  <a:pt x="574" y="4"/>
                  <a:pt x="574" y="4"/>
                </a:cubicBezTo>
                <a:cubicBezTo>
                  <a:pt x="572" y="5"/>
                  <a:pt x="570" y="7"/>
                  <a:pt x="568" y="7"/>
                </a:cubicBezTo>
                <a:cubicBezTo>
                  <a:pt x="567" y="9"/>
                  <a:pt x="565" y="10"/>
                  <a:pt x="563" y="10"/>
                </a:cubicBezTo>
                <a:cubicBezTo>
                  <a:pt x="561" y="11"/>
                  <a:pt x="560" y="12"/>
                  <a:pt x="557" y="12"/>
                </a:cubicBezTo>
                <a:cubicBezTo>
                  <a:pt x="556" y="13"/>
                  <a:pt x="554" y="14"/>
                  <a:pt x="552" y="15"/>
                </a:cubicBezTo>
                <a:cubicBezTo>
                  <a:pt x="552" y="15"/>
                  <a:pt x="552" y="15"/>
                  <a:pt x="552" y="25"/>
                </a:cubicBezTo>
                <a:cubicBezTo>
                  <a:pt x="555" y="24"/>
                  <a:pt x="558" y="23"/>
                  <a:pt x="560" y="22"/>
                </a:cubicBezTo>
                <a:cubicBezTo>
                  <a:pt x="562" y="21"/>
                  <a:pt x="565" y="20"/>
                  <a:pt x="567" y="18"/>
                </a:cubicBezTo>
                <a:cubicBezTo>
                  <a:pt x="567" y="18"/>
                  <a:pt x="567" y="18"/>
                  <a:pt x="567" y="77"/>
                </a:cubicBezTo>
                <a:cubicBezTo>
                  <a:pt x="567" y="77"/>
                  <a:pt x="567" y="77"/>
                  <a:pt x="578" y="77"/>
                </a:cubicBezTo>
                <a:cubicBezTo>
                  <a:pt x="578" y="77"/>
                  <a:pt x="578" y="77"/>
                  <a:pt x="578" y="4"/>
                </a:cubicBezTo>
                <a:close/>
                <a:moveTo>
                  <a:pt x="335" y="36"/>
                </a:moveTo>
                <a:cubicBezTo>
                  <a:pt x="335" y="36"/>
                  <a:pt x="335" y="36"/>
                  <a:pt x="335" y="36"/>
                </a:cubicBezTo>
                <a:cubicBezTo>
                  <a:pt x="334" y="44"/>
                  <a:pt x="334" y="44"/>
                  <a:pt x="334" y="44"/>
                </a:cubicBezTo>
                <a:cubicBezTo>
                  <a:pt x="341" y="45"/>
                  <a:pt x="341" y="48"/>
                  <a:pt x="341" y="50"/>
                </a:cubicBezTo>
                <a:cubicBezTo>
                  <a:pt x="341" y="53"/>
                  <a:pt x="341" y="55"/>
                  <a:pt x="341" y="57"/>
                </a:cubicBezTo>
                <a:cubicBezTo>
                  <a:pt x="341" y="60"/>
                  <a:pt x="340" y="62"/>
                  <a:pt x="340" y="65"/>
                </a:cubicBezTo>
                <a:cubicBezTo>
                  <a:pt x="340" y="74"/>
                  <a:pt x="346" y="77"/>
                  <a:pt x="355" y="77"/>
                </a:cubicBezTo>
                <a:cubicBezTo>
                  <a:pt x="355" y="77"/>
                  <a:pt x="355" y="77"/>
                  <a:pt x="358" y="77"/>
                </a:cubicBezTo>
                <a:cubicBezTo>
                  <a:pt x="358" y="77"/>
                  <a:pt x="358" y="77"/>
                  <a:pt x="358" y="68"/>
                </a:cubicBezTo>
                <a:cubicBezTo>
                  <a:pt x="358" y="68"/>
                  <a:pt x="358" y="68"/>
                  <a:pt x="357" y="68"/>
                </a:cubicBezTo>
                <a:cubicBezTo>
                  <a:pt x="353" y="68"/>
                  <a:pt x="352" y="66"/>
                  <a:pt x="352" y="62"/>
                </a:cubicBezTo>
                <a:cubicBezTo>
                  <a:pt x="352" y="61"/>
                  <a:pt x="352" y="59"/>
                  <a:pt x="353" y="57"/>
                </a:cubicBezTo>
                <a:cubicBezTo>
                  <a:pt x="353" y="56"/>
                  <a:pt x="353" y="54"/>
                  <a:pt x="353" y="52"/>
                </a:cubicBezTo>
                <a:cubicBezTo>
                  <a:pt x="353" y="44"/>
                  <a:pt x="350" y="42"/>
                  <a:pt x="344" y="40"/>
                </a:cubicBezTo>
                <a:cubicBezTo>
                  <a:pt x="344" y="40"/>
                  <a:pt x="344" y="40"/>
                  <a:pt x="344" y="40"/>
                </a:cubicBezTo>
                <a:cubicBezTo>
                  <a:pt x="350" y="39"/>
                  <a:pt x="353" y="37"/>
                  <a:pt x="353" y="29"/>
                </a:cubicBezTo>
                <a:cubicBezTo>
                  <a:pt x="353" y="27"/>
                  <a:pt x="353" y="25"/>
                  <a:pt x="353" y="23"/>
                </a:cubicBezTo>
                <a:cubicBezTo>
                  <a:pt x="352" y="21"/>
                  <a:pt x="352" y="20"/>
                  <a:pt x="352" y="18"/>
                </a:cubicBezTo>
                <a:cubicBezTo>
                  <a:pt x="352" y="15"/>
                  <a:pt x="353" y="13"/>
                  <a:pt x="357" y="13"/>
                </a:cubicBezTo>
                <a:cubicBezTo>
                  <a:pt x="357" y="13"/>
                  <a:pt x="357" y="13"/>
                  <a:pt x="358" y="13"/>
                </a:cubicBezTo>
                <a:cubicBezTo>
                  <a:pt x="358" y="13"/>
                  <a:pt x="358" y="13"/>
                  <a:pt x="358" y="3"/>
                </a:cubicBezTo>
                <a:cubicBezTo>
                  <a:pt x="358" y="3"/>
                  <a:pt x="358" y="3"/>
                  <a:pt x="355" y="3"/>
                </a:cubicBezTo>
                <a:cubicBezTo>
                  <a:pt x="346" y="3"/>
                  <a:pt x="340" y="7"/>
                  <a:pt x="340" y="16"/>
                </a:cubicBezTo>
                <a:cubicBezTo>
                  <a:pt x="340" y="18"/>
                  <a:pt x="341" y="21"/>
                  <a:pt x="341" y="23"/>
                </a:cubicBezTo>
                <a:cubicBezTo>
                  <a:pt x="341" y="26"/>
                  <a:pt x="341" y="28"/>
                  <a:pt x="341" y="30"/>
                </a:cubicBezTo>
                <a:cubicBezTo>
                  <a:pt x="341" y="33"/>
                  <a:pt x="341" y="36"/>
                  <a:pt x="335" y="36"/>
                </a:cubicBezTo>
                <a:close/>
                <a:moveTo>
                  <a:pt x="389" y="44"/>
                </a:moveTo>
                <a:cubicBezTo>
                  <a:pt x="389" y="44"/>
                  <a:pt x="389" y="44"/>
                  <a:pt x="389" y="44"/>
                </a:cubicBezTo>
                <a:cubicBezTo>
                  <a:pt x="389" y="36"/>
                  <a:pt x="389" y="36"/>
                  <a:pt x="389" y="36"/>
                </a:cubicBezTo>
                <a:cubicBezTo>
                  <a:pt x="383" y="36"/>
                  <a:pt x="382" y="33"/>
                  <a:pt x="382" y="30"/>
                </a:cubicBezTo>
                <a:cubicBezTo>
                  <a:pt x="382" y="28"/>
                  <a:pt x="382" y="26"/>
                  <a:pt x="383" y="23"/>
                </a:cubicBezTo>
                <a:cubicBezTo>
                  <a:pt x="383" y="21"/>
                  <a:pt x="383" y="18"/>
                  <a:pt x="383" y="16"/>
                </a:cubicBezTo>
                <a:cubicBezTo>
                  <a:pt x="383" y="7"/>
                  <a:pt x="378" y="3"/>
                  <a:pt x="369" y="3"/>
                </a:cubicBezTo>
                <a:cubicBezTo>
                  <a:pt x="369" y="3"/>
                  <a:pt x="369" y="3"/>
                  <a:pt x="365" y="3"/>
                </a:cubicBezTo>
                <a:cubicBezTo>
                  <a:pt x="365" y="3"/>
                  <a:pt x="365" y="3"/>
                  <a:pt x="365" y="13"/>
                </a:cubicBezTo>
                <a:cubicBezTo>
                  <a:pt x="365" y="13"/>
                  <a:pt x="365" y="13"/>
                  <a:pt x="367" y="13"/>
                </a:cubicBezTo>
                <a:cubicBezTo>
                  <a:pt x="370" y="13"/>
                  <a:pt x="372" y="15"/>
                  <a:pt x="372" y="18"/>
                </a:cubicBezTo>
                <a:cubicBezTo>
                  <a:pt x="372" y="20"/>
                  <a:pt x="371" y="21"/>
                  <a:pt x="371" y="23"/>
                </a:cubicBezTo>
                <a:cubicBezTo>
                  <a:pt x="371" y="25"/>
                  <a:pt x="371" y="27"/>
                  <a:pt x="371" y="29"/>
                </a:cubicBezTo>
                <a:cubicBezTo>
                  <a:pt x="371" y="37"/>
                  <a:pt x="374" y="39"/>
                  <a:pt x="380" y="40"/>
                </a:cubicBezTo>
                <a:cubicBezTo>
                  <a:pt x="380" y="40"/>
                  <a:pt x="380" y="40"/>
                  <a:pt x="380" y="40"/>
                </a:cubicBezTo>
                <a:cubicBezTo>
                  <a:pt x="374" y="42"/>
                  <a:pt x="371" y="44"/>
                  <a:pt x="371" y="52"/>
                </a:cubicBezTo>
                <a:cubicBezTo>
                  <a:pt x="371" y="54"/>
                  <a:pt x="371" y="56"/>
                  <a:pt x="371" y="57"/>
                </a:cubicBezTo>
                <a:cubicBezTo>
                  <a:pt x="371" y="59"/>
                  <a:pt x="372" y="61"/>
                  <a:pt x="372" y="62"/>
                </a:cubicBezTo>
                <a:cubicBezTo>
                  <a:pt x="372" y="66"/>
                  <a:pt x="371" y="68"/>
                  <a:pt x="367" y="68"/>
                </a:cubicBezTo>
                <a:cubicBezTo>
                  <a:pt x="367" y="68"/>
                  <a:pt x="367" y="68"/>
                  <a:pt x="365" y="68"/>
                </a:cubicBezTo>
                <a:cubicBezTo>
                  <a:pt x="365" y="68"/>
                  <a:pt x="365" y="68"/>
                  <a:pt x="365" y="77"/>
                </a:cubicBezTo>
                <a:cubicBezTo>
                  <a:pt x="365" y="77"/>
                  <a:pt x="365" y="77"/>
                  <a:pt x="369" y="77"/>
                </a:cubicBezTo>
                <a:cubicBezTo>
                  <a:pt x="378" y="77"/>
                  <a:pt x="383" y="74"/>
                  <a:pt x="383" y="65"/>
                </a:cubicBezTo>
                <a:cubicBezTo>
                  <a:pt x="383" y="62"/>
                  <a:pt x="383" y="60"/>
                  <a:pt x="383" y="57"/>
                </a:cubicBezTo>
                <a:cubicBezTo>
                  <a:pt x="382" y="55"/>
                  <a:pt x="382" y="53"/>
                  <a:pt x="382" y="50"/>
                </a:cubicBezTo>
                <a:cubicBezTo>
                  <a:pt x="382" y="48"/>
                  <a:pt x="383" y="45"/>
                  <a:pt x="389" y="44"/>
                </a:cubicBezTo>
                <a:close/>
                <a:moveTo>
                  <a:pt x="716" y="36"/>
                </a:moveTo>
                <a:cubicBezTo>
                  <a:pt x="716" y="36"/>
                  <a:pt x="716" y="36"/>
                  <a:pt x="716" y="36"/>
                </a:cubicBezTo>
                <a:cubicBezTo>
                  <a:pt x="716" y="44"/>
                  <a:pt x="716" y="44"/>
                  <a:pt x="716" y="44"/>
                </a:cubicBezTo>
                <a:cubicBezTo>
                  <a:pt x="722" y="45"/>
                  <a:pt x="723" y="48"/>
                  <a:pt x="723" y="50"/>
                </a:cubicBezTo>
                <a:cubicBezTo>
                  <a:pt x="723" y="53"/>
                  <a:pt x="723" y="55"/>
                  <a:pt x="723" y="57"/>
                </a:cubicBezTo>
                <a:cubicBezTo>
                  <a:pt x="722" y="60"/>
                  <a:pt x="722" y="62"/>
                  <a:pt x="722" y="65"/>
                </a:cubicBezTo>
                <a:cubicBezTo>
                  <a:pt x="722" y="74"/>
                  <a:pt x="728" y="77"/>
                  <a:pt x="736" y="77"/>
                </a:cubicBezTo>
                <a:cubicBezTo>
                  <a:pt x="736" y="77"/>
                  <a:pt x="736" y="77"/>
                  <a:pt x="740" y="77"/>
                </a:cubicBezTo>
                <a:cubicBezTo>
                  <a:pt x="740" y="77"/>
                  <a:pt x="740" y="77"/>
                  <a:pt x="740" y="68"/>
                </a:cubicBezTo>
                <a:cubicBezTo>
                  <a:pt x="740" y="68"/>
                  <a:pt x="740" y="68"/>
                  <a:pt x="739" y="68"/>
                </a:cubicBezTo>
                <a:cubicBezTo>
                  <a:pt x="735" y="68"/>
                  <a:pt x="734" y="66"/>
                  <a:pt x="734" y="62"/>
                </a:cubicBezTo>
                <a:cubicBezTo>
                  <a:pt x="734" y="61"/>
                  <a:pt x="734" y="59"/>
                  <a:pt x="734" y="57"/>
                </a:cubicBezTo>
                <a:cubicBezTo>
                  <a:pt x="734" y="56"/>
                  <a:pt x="734" y="54"/>
                  <a:pt x="734" y="52"/>
                </a:cubicBezTo>
                <a:cubicBezTo>
                  <a:pt x="734" y="44"/>
                  <a:pt x="732" y="42"/>
                  <a:pt x="726" y="40"/>
                </a:cubicBezTo>
                <a:cubicBezTo>
                  <a:pt x="726" y="40"/>
                  <a:pt x="726" y="40"/>
                  <a:pt x="726" y="40"/>
                </a:cubicBezTo>
                <a:cubicBezTo>
                  <a:pt x="732" y="39"/>
                  <a:pt x="734" y="37"/>
                  <a:pt x="734" y="29"/>
                </a:cubicBezTo>
                <a:cubicBezTo>
                  <a:pt x="734" y="27"/>
                  <a:pt x="734" y="25"/>
                  <a:pt x="734" y="23"/>
                </a:cubicBezTo>
                <a:cubicBezTo>
                  <a:pt x="734" y="21"/>
                  <a:pt x="734" y="20"/>
                  <a:pt x="734" y="18"/>
                </a:cubicBezTo>
                <a:cubicBezTo>
                  <a:pt x="734" y="15"/>
                  <a:pt x="735" y="13"/>
                  <a:pt x="739" y="13"/>
                </a:cubicBezTo>
                <a:cubicBezTo>
                  <a:pt x="739" y="13"/>
                  <a:pt x="739" y="13"/>
                  <a:pt x="740" y="13"/>
                </a:cubicBezTo>
                <a:cubicBezTo>
                  <a:pt x="740" y="13"/>
                  <a:pt x="740" y="13"/>
                  <a:pt x="740" y="3"/>
                </a:cubicBezTo>
                <a:cubicBezTo>
                  <a:pt x="740" y="3"/>
                  <a:pt x="740" y="3"/>
                  <a:pt x="736" y="3"/>
                </a:cubicBezTo>
                <a:cubicBezTo>
                  <a:pt x="727" y="3"/>
                  <a:pt x="722" y="7"/>
                  <a:pt x="722" y="16"/>
                </a:cubicBezTo>
                <a:cubicBezTo>
                  <a:pt x="722" y="18"/>
                  <a:pt x="722" y="21"/>
                  <a:pt x="722" y="23"/>
                </a:cubicBezTo>
                <a:cubicBezTo>
                  <a:pt x="723" y="26"/>
                  <a:pt x="723" y="28"/>
                  <a:pt x="723" y="30"/>
                </a:cubicBezTo>
                <a:cubicBezTo>
                  <a:pt x="723" y="33"/>
                  <a:pt x="722" y="36"/>
                  <a:pt x="716" y="36"/>
                </a:cubicBezTo>
                <a:close/>
                <a:moveTo>
                  <a:pt x="771" y="44"/>
                </a:moveTo>
                <a:cubicBezTo>
                  <a:pt x="771" y="44"/>
                  <a:pt x="771" y="44"/>
                  <a:pt x="771" y="44"/>
                </a:cubicBezTo>
                <a:cubicBezTo>
                  <a:pt x="771" y="36"/>
                  <a:pt x="771" y="36"/>
                  <a:pt x="771" y="36"/>
                </a:cubicBezTo>
                <a:cubicBezTo>
                  <a:pt x="764" y="36"/>
                  <a:pt x="764" y="33"/>
                  <a:pt x="764" y="30"/>
                </a:cubicBezTo>
                <a:cubicBezTo>
                  <a:pt x="764" y="28"/>
                  <a:pt x="764" y="26"/>
                  <a:pt x="764" y="23"/>
                </a:cubicBezTo>
                <a:cubicBezTo>
                  <a:pt x="765" y="21"/>
                  <a:pt x="765" y="18"/>
                  <a:pt x="765" y="16"/>
                </a:cubicBezTo>
                <a:cubicBezTo>
                  <a:pt x="765" y="7"/>
                  <a:pt x="760" y="3"/>
                  <a:pt x="750" y="3"/>
                </a:cubicBezTo>
                <a:cubicBezTo>
                  <a:pt x="750" y="3"/>
                  <a:pt x="750" y="3"/>
                  <a:pt x="747" y="3"/>
                </a:cubicBezTo>
                <a:cubicBezTo>
                  <a:pt x="747" y="3"/>
                  <a:pt x="747" y="3"/>
                  <a:pt x="747" y="13"/>
                </a:cubicBezTo>
                <a:cubicBezTo>
                  <a:pt x="747" y="13"/>
                  <a:pt x="747" y="13"/>
                  <a:pt x="748" y="13"/>
                </a:cubicBezTo>
                <a:cubicBezTo>
                  <a:pt x="752" y="13"/>
                  <a:pt x="753" y="15"/>
                  <a:pt x="753" y="18"/>
                </a:cubicBezTo>
                <a:cubicBezTo>
                  <a:pt x="753" y="20"/>
                  <a:pt x="753" y="21"/>
                  <a:pt x="753" y="23"/>
                </a:cubicBezTo>
                <a:cubicBezTo>
                  <a:pt x="753" y="25"/>
                  <a:pt x="753" y="27"/>
                  <a:pt x="753" y="29"/>
                </a:cubicBezTo>
                <a:cubicBezTo>
                  <a:pt x="753" y="37"/>
                  <a:pt x="755" y="39"/>
                  <a:pt x="761" y="40"/>
                </a:cubicBezTo>
                <a:cubicBezTo>
                  <a:pt x="761" y="40"/>
                  <a:pt x="761" y="40"/>
                  <a:pt x="761" y="40"/>
                </a:cubicBezTo>
                <a:cubicBezTo>
                  <a:pt x="755" y="42"/>
                  <a:pt x="753" y="44"/>
                  <a:pt x="753" y="52"/>
                </a:cubicBezTo>
                <a:cubicBezTo>
                  <a:pt x="753" y="54"/>
                  <a:pt x="753" y="56"/>
                  <a:pt x="753" y="57"/>
                </a:cubicBezTo>
                <a:cubicBezTo>
                  <a:pt x="753" y="59"/>
                  <a:pt x="753" y="61"/>
                  <a:pt x="753" y="62"/>
                </a:cubicBezTo>
                <a:cubicBezTo>
                  <a:pt x="753" y="66"/>
                  <a:pt x="752" y="68"/>
                  <a:pt x="748" y="68"/>
                </a:cubicBezTo>
                <a:cubicBezTo>
                  <a:pt x="748" y="68"/>
                  <a:pt x="748" y="68"/>
                  <a:pt x="747" y="68"/>
                </a:cubicBezTo>
                <a:cubicBezTo>
                  <a:pt x="747" y="68"/>
                  <a:pt x="747" y="68"/>
                  <a:pt x="747" y="77"/>
                </a:cubicBezTo>
                <a:cubicBezTo>
                  <a:pt x="747" y="77"/>
                  <a:pt x="747" y="77"/>
                  <a:pt x="750" y="77"/>
                </a:cubicBezTo>
                <a:cubicBezTo>
                  <a:pt x="759" y="77"/>
                  <a:pt x="765" y="74"/>
                  <a:pt x="765" y="65"/>
                </a:cubicBezTo>
                <a:cubicBezTo>
                  <a:pt x="765" y="62"/>
                  <a:pt x="765" y="60"/>
                  <a:pt x="764" y="57"/>
                </a:cubicBezTo>
                <a:cubicBezTo>
                  <a:pt x="764" y="55"/>
                  <a:pt x="764" y="53"/>
                  <a:pt x="764" y="50"/>
                </a:cubicBezTo>
                <a:cubicBezTo>
                  <a:pt x="764" y="48"/>
                  <a:pt x="764" y="45"/>
                  <a:pt x="771" y="44"/>
                </a:cubicBezTo>
                <a:close/>
                <a:moveTo>
                  <a:pt x="818" y="4"/>
                </a:moveTo>
                <a:cubicBezTo>
                  <a:pt x="818" y="4"/>
                  <a:pt x="818" y="4"/>
                  <a:pt x="818" y="4"/>
                </a:cubicBezTo>
                <a:cubicBezTo>
                  <a:pt x="813" y="4"/>
                  <a:pt x="813" y="4"/>
                  <a:pt x="813" y="4"/>
                </a:cubicBezTo>
                <a:cubicBezTo>
                  <a:pt x="811" y="5"/>
                  <a:pt x="810" y="7"/>
                  <a:pt x="807" y="7"/>
                </a:cubicBezTo>
                <a:cubicBezTo>
                  <a:pt x="806" y="9"/>
                  <a:pt x="804" y="10"/>
                  <a:pt x="802" y="10"/>
                </a:cubicBezTo>
                <a:cubicBezTo>
                  <a:pt x="800" y="11"/>
                  <a:pt x="799" y="12"/>
                  <a:pt x="797" y="12"/>
                </a:cubicBezTo>
                <a:cubicBezTo>
                  <a:pt x="795" y="13"/>
                  <a:pt x="794" y="14"/>
                  <a:pt x="791" y="15"/>
                </a:cubicBezTo>
                <a:cubicBezTo>
                  <a:pt x="791" y="15"/>
                  <a:pt x="791" y="15"/>
                  <a:pt x="791" y="25"/>
                </a:cubicBezTo>
                <a:cubicBezTo>
                  <a:pt x="794" y="24"/>
                  <a:pt x="797" y="23"/>
                  <a:pt x="799" y="22"/>
                </a:cubicBezTo>
                <a:cubicBezTo>
                  <a:pt x="802" y="21"/>
                  <a:pt x="804" y="20"/>
                  <a:pt x="807" y="18"/>
                </a:cubicBezTo>
                <a:cubicBezTo>
                  <a:pt x="807" y="18"/>
                  <a:pt x="807" y="18"/>
                  <a:pt x="807" y="77"/>
                </a:cubicBezTo>
                <a:cubicBezTo>
                  <a:pt x="807" y="77"/>
                  <a:pt x="807" y="77"/>
                  <a:pt x="818" y="77"/>
                </a:cubicBezTo>
                <a:cubicBezTo>
                  <a:pt x="818" y="77"/>
                  <a:pt x="818" y="77"/>
                  <a:pt x="818" y="4"/>
                </a:cubicBezTo>
                <a:close/>
                <a:moveTo>
                  <a:pt x="865" y="4"/>
                </a:moveTo>
                <a:cubicBezTo>
                  <a:pt x="865" y="4"/>
                  <a:pt x="865" y="4"/>
                  <a:pt x="865" y="4"/>
                </a:cubicBezTo>
                <a:cubicBezTo>
                  <a:pt x="860" y="4"/>
                  <a:pt x="860" y="4"/>
                  <a:pt x="860" y="4"/>
                </a:cubicBezTo>
                <a:cubicBezTo>
                  <a:pt x="858" y="5"/>
                  <a:pt x="857" y="7"/>
                  <a:pt x="855" y="7"/>
                </a:cubicBezTo>
                <a:cubicBezTo>
                  <a:pt x="853" y="9"/>
                  <a:pt x="851" y="10"/>
                  <a:pt x="850" y="10"/>
                </a:cubicBezTo>
                <a:cubicBezTo>
                  <a:pt x="848" y="12"/>
                  <a:pt x="846" y="12"/>
                  <a:pt x="845" y="13"/>
                </a:cubicBezTo>
                <a:cubicBezTo>
                  <a:pt x="842" y="14"/>
                  <a:pt x="841" y="15"/>
                  <a:pt x="839" y="15"/>
                </a:cubicBezTo>
                <a:cubicBezTo>
                  <a:pt x="839" y="15"/>
                  <a:pt x="839" y="15"/>
                  <a:pt x="839" y="25"/>
                </a:cubicBezTo>
                <a:cubicBezTo>
                  <a:pt x="842" y="24"/>
                  <a:pt x="845" y="23"/>
                  <a:pt x="847" y="22"/>
                </a:cubicBezTo>
                <a:cubicBezTo>
                  <a:pt x="850" y="21"/>
                  <a:pt x="852" y="20"/>
                  <a:pt x="854" y="18"/>
                </a:cubicBezTo>
                <a:cubicBezTo>
                  <a:pt x="854" y="18"/>
                  <a:pt x="854" y="18"/>
                  <a:pt x="854" y="77"/>
                </a:cubicBezTo>
                <a:cubicBezTo>
                  <a:pt x="854" y="77"/>
                  <a:pt x="854" y="77"/>
                  <a:pt x="865" y="77"/>
                </a:cubicBezTo>
                <a:cubicBezTo>
                  <a:pt x="865" y="77"/>
                  <a:pt x="865" y="77"/>
                  <a:pt x="865" y="4"/>
                </a:cubicBezTo>
                <a:close/>
                <a:moveTo>
                  <a:pt x="912" y="4"/>
                </a:moveTo>
                <a:cubicBezTo>
                  <a:pt x="912" y="4"/>
                  <a:pt x="912" y="4"/>
                  <a:pt x="912" y="4"/>
                </a:cubicBezTo>
                <a:cubicBezTo>
                  <a:pt x="908" y="4"/>
                  <a:pt x="908" y="4"/>
                  <a:pt x="908" y="4"/>
                </a:cubicBezTo>
                <a:cubicBezTo>
                  <a:pt x="905" y="5"/>
                  <a:pt x="904" y="7"/>
                  <a:pt x="902" y="7"/>
                </a:cubicBezTo>
                <a:cubicBezTo>
                  <a:pt x="900" y="9"/>
                  <a:pt x="898" y="10"/>
                  <a:pt x="897" y="10"/>
                </a:cubicBezTo>
                <a:cubicBezTo>
                  <a:pt x="895" y="12"/>
                  <a:pt x="893" y="12"/>
                  <a:pt x="891" y="13"/>
                </a:cubicBezTo>
                <a:cubicBezTo>
                  <a:pt x="890" y="14"/>
                  <a:pt x="887" y="15"/>
                  <a:pt x="886" y="15"/>
                </a:cubicBezTo>
                <a:cubicBezTo>
                  <a:pt x="886" y="15"/>
                  <a:pt x="886" y="15"/>
                  <a:pt x="886" y="25"/>
                </a:cubicBezTo>
                <a:cubicBezTo>
                  <a:pt x="889" y="24"/>
                  <a:pt x="892" y="23"/>
                  <a:pt x="894" y="22"/>
                </a:cubicBezTo>
                <a:cubicBezTo>
                  <a:pt x="896" y="21"/>
                  <a:pt x="899" y="20"/>
                  <a:pt x="900" y="18"/>
                </a:cubicBezTo>
                <a:cubicBezTo>
                  <a:pt x="900" y="18"/>
                  <a:pt x="900" y="18"/>
                  <a:pt x="900" y="77"/>
                </a:cubicBezTo>
                <a:cubicBezTo>
                  <a:pt x="900" y="77"/>
                  <a:pt x="900" y="77"/>
                  <a:pt x="912" y="77"/>
                </a:cubicBezTo>
                <a:cubicBezTo>
                  <a:pt x="912" y="77"/>
                  <a:pt x="912" y="77"/>
                  <a:pt x="912" y="4"/>
                </a:cubicBezTo>
                <a:close/>
                <a:moveTo>
                  <a:pt x="1035" y="4"/>
                </a:moveTo>
                <a:cubicBezTo>
                  <a:pt x="1035" y="4"/>
                  <a:pt x="1035" y="4"/>
                  <a:pt x="1035" y="4"/>
                </a:cubicBezTo>
                <a:cubicBezTo>
                  <a:pt x="1030" y="4"/>
                  <a:pt x="1030" y="4"/>
                  <a:pt x="1030" y="4"/>
                </a:cubicBezTo>
                <a:cubicBezTo>
                  <a:pt x="1027" y="5"/>
                  <a:pt x="1026" y="7"/>
                  <a:pt x="1024" y="7"/>
                </a:cubicBezTo>
                <a:cubicBezTo>
                  <a:pt x="1022" y="9"/>
                  <a:pt x="1021" y="10"/>
                  <a:pt x="1019" y="10"/>
                </a:cubicBezTo>
                <a:cubicBezTo>
                  <a:pt x="1017" y="12"/>
                  <a:pt x="1015" y="12"/>
                  <a:pt x="1014" y="13"/>
                </a:cubicBezTo>
                <a:cubicBezTo>
                  <a:pt x="1011" y="14"/>
                  <a:pt x="1010" y="15"/>
                  <a:pt x="1008" y="15"/>
                </a:cubicBezTo>
                <a:cubicBezTo>
                  <a:pt x="1008" y="15"/>
                  <a:pt x="1008" y="15"/>
                  <a:pt x="1008" y="25"/>
                </a:cubicBezTo>
                <a:cubicBezTo>
                  <a:pt x="1011" y="24"/>
                  <a:pt x="1014" y="23"/>
                  <a:pt x="1017" y="22"/>
                </a:cubicBezTo>
                <a:cubicBezTo>
                  <a:pt x="1019" y="21"/>
                  <a:pt x="1021" y="20"/>
                  <a:pt x="1023" y="18"/>
                </a:cubicBezTo>
                <a:cubicBezTo>
                  <a:pt x="1023" y="18"/>
                  <a:pt x="1023" y="18"/>
                  <a:pt x="1023" y="77"/>
                </a:cubicBezTo>
                <a:cubicBezTo>
                  <a:pt x="1023" y="77"/>
                  <a:pt x="1023" y="77"/>
                  <a:pt x="1035" y="77"/>
                </a:cubicBezTo>
                <a:cubicBezTo>
                  <a:pt x="1035" y="77"/>
                  <a:pt x="1035" y="77"/>
                  <a:pt x="1035" y="4"/>
                </a:cubicBezTo>
                <a:close/>
                <a:moveTo>
                  <a:pt x="1082" y="4"/>
                </a:moveTo>
                <a:cubicBezTo>
                  <a:pt x="1082" y="4"/>
                  <a:pt x="1082" y="4"/>
                  <a:pt x="1082" y="4"/>
                </a:cubicBezTo>
                <a:cubicBezTo>
                  <a:pt x="1077" y="4"/>
                  <a:pt x="1077" y="4"/>
                  <a:pt x="1077" y="4"/>
                </a:cubicBezTo>
                <a:cubicBezTo>
                  <a:pt x="1075" y="5"/>
                  <a:pt x="1074" y="7"/>
                  <a:pt x="1071" y="7"/>
                </a:cubicBezTo>
                <a:cubicBezTo>
                  <a:pt x="1070" y="9"/>
                  <a:pt x="1068" y="10"/>
                  <a:pt x="1066" y="10"/>
                </a:cubicBezTo>
                <a:cubicBezTo>
                  <a:pt x="1065" y="12"/>
                  <a:pt x="1063" y="12"/>
                  <a:pt x="1061" y="13"/>
                </a:cubicBezTo>
                <a:cubicBezTo>
                  <a:pt x="1059" y="14"/>
                  <a:pt x="1058" y="15"/>
                  <a:pt x="1055" y="15"/>
                </a:cubicBezTo>
                <a:cubicBezTo>
                  <a:pt x="1055" y="15"/>
                  <a:pt x="1055" y="15"/>
                  <a:pt x="1055" y="25"/>
                </a:cubicBezTo>
                <a:cubicBezTo>
                  <a:pt x="1058" y="24"/>
                  <a:pt x="1061" y="23"/>
                  <a:pt x="1063" y="22"/>
                </a:cubicBezTo>
                <a:cubicBezTo>
                  <a:pt x="1066" y="21"/>
                  <a:pt x="1068" y="20"/>
                  <a:pt x="1071" y="18"/>
                </a:cubicBezTo>
                <a:cubicBezTo>
                  <a:pt x="1071" y="18"/>
                  <a:pt x="1071" y="18"/>
                  <a:pt x="1071" y="77"/>
                </a:cubicBezTo>
                <a:cubicBezTo>
                  <a:pt x="1071" y="77"/>
                  <a:pt x="1071" y="77"/>
                  <a:pt x="1082" y="77"/>
                </a:cubicBezTo>
                <a:cubicBezTo>
                  <a:pt x="1082" y="77"/>
                  <a:pt x="1082" y="77"/>
                  <a:pt x="1082" y="4"/>
                </a:cubicBezTo>
                <a:close/>
                <a:moveTo>
                  <a:pt x="1129" y="4"/>
                </a:moveTo>
                <a:cubicBezTo>
                  <a:pt x="1129" y="4"/>
                  <a:pt x="1129" y="4"/>
                  <a:pt x="1129" y="4"/>
                </a:cubicBezTo>
                <a:cubicBezTo>
                  <a:pt x="1124" y="4"/>
                  <a:pt x="1124" y="4"/>
                  <a:pt x="1124" y="4"/>
                </a:cubicBezTo>
                <a:cubicBezTo>
                  <a:pt x="1122" y="5"/>
                  <a:pt x="1121" y="7"/>
                  <a:pt x="1119" y="7"/>
                </a:cubicBezTo>
                <a:cubicBezTo>
                  <a:pt x="1117" y="9"/>
                  <a:pt x="1115" y="10"/>
                  <a:pt x="1114" y="10"/>
                </a:cubicBezTo>
                <a:cubicBezTo>
                  <a:pt x="1112" y="11"/>
                  <a:pt x="1110" y="12"/>
                  <a:pt x="1108" y="12"/>
                </a:cubicBezTo>
                <a:cubicBezTo>
                  <a:pt x="1106" y="13"/>
                  <a:pt x="1104" y="14"/>
                  <a:pt x="1103" y="15"/>
                </a:cubicBezTo>
                <a:cubicBezTo>
                  <a:pt x="1103" y="15"/>
                  <a:pt x="1103" y="15"/>
                  <a:pt x="1103" y="25"/>
                </a:cubicBezTo>
                <a:cubicBezTo>
                  <a:pt x="1106" y="24"/>
                  <a:pt x="1109" y="23"/>
                  <a:pt x="1111" y="22"/>
                </a:cubicBezTo>
                <a:cubicBezTo>
                  <a:pt x="1113" y="21"/>
                  <a:pt x="1116" y="20"/>
                  <a:pt x="1117" y="18"/>
                </a:cubicBezTo>
                <a:cubicBezTo>
                  <a:pt x="1117" y="18"/>
                  <a:pt x="1117" y="18"/>
                  <a:pt x="1117" y="77"/>
                </a:cubicBezTo>
                <a:cubicBezTo>
                  <a:pt x="1117" y="77"/>
                  <a:pt x="1117" y="77"/>
                  <a:pt x="1129" y="77"/>
                </a:cubicBezTo>
                <a:cubicBezTo>
                  <a:pt x="1129" y="77"/>
                  <a:pt x="1129" y="77"/>
                  <a:pt x="1129" y="4"/>
                </a:cubicBezTo>
                <a:close/>
                <a:moveTo>
                  <a:pt x="1174" y="77"/>
                </a:moveTo>
                <a:cubicBezTo>
                  <a:pt x="1166" y="77"/>
                  <a:pt x="1160" y="74"/>
                  <a:pt x="1155" y="68"/>
                </a:cubicBezTo>
                <a:cubicBezTo>
                  <a:pt x="1152" y="62"/>
                  <a:pt x="1149" y="53"/>
                  <a:pt x="1149" y="41"/>
                </a:cubicBezTo>
                <a:cubicBezTo>
                  <a:pt x="1149" y="28"/>
                  <a:pt x="1152" y="18"/>
                  <a:pt x="1156" y="12"/>
                </a:cubicBezTo>
                <a:cubicBezTo>
                  <a:pt x="1160" y="5"/>
                  <a:pt x="1167" y="1"/>
                  <a:pt x="1176" y="1"/>
                </a:cubicBezTo>
                <a:cubicBezTo>
                  <a:pt x="1192" y="1"/>
                  <a:pt x="1200" y="14"/>
                  <a:pt x="1200" y="39"/>
                </a:cubicBezTo>
                <a:cubicBezTo>
                  <a:pt x="1200" y="52"/>
                  <a:pt x="1198" y="61"/>
                  <a:pt x="1193" y="68"/>
                </a:cubicBezTo>
                <a:cubicBezTo>
                  <a:pt x="1188" y="74"/>
                  <a:pt x="1182" y="77"/>
                  <a:pt x="1174" y="77"/>
                </a:cubicBezTo>
                <a:close/>
                <a:moveTo>
                  <a:pt x="1175" y="11"/>
                </a:moveTo>
                <a:cubicBezTo>
                  <a:pt x="1166" y="11"/>
                  <a:pt x="1161" y="21"/>
                  <a:pt x="1161" y="41"/>
                </a:cubicBezTo>
                <a:cubicBezTo>
                  <a:pt x="1161" y="59"/>
                  <a:pt x="1166" y="68"/>
                  <a:pt x="1174" y="68"/>
                </a:cubicBezTo>
                <a:cubicBezTo>
                  <a:pt x="1183" y="68"/>
                  <a:pt x="1187" y="59"/>
                  <a:pt x="1187" y="40"/>
                </a:cubicBezTo>
                <a:cubicBezTo>
                  <a:pt x="1187" y="20"/>
                  <a:pt x="1183" y="11"/>
                  <a:pt x="1175" y="11"/>
                </a:cubicBezTo>
                <a:close/>
                <a:moveTo>
                  <a:pt x="1245" y="77"/>
                </a:moveTo>
                <a:cubicBezTo>
                  <a:pt x="1237" y="77"/>
                  <a:pt x="1231" y="74"/>
                  <a:pt x="1227" y="68"/>
                </a:cubicBezTo>
                <a:cubicBezTo>
                  <a:pt x="1223" y="62"/>
                  <a:pt x="1220" y="53"/>
                  <a:pt x="1220" y="41"/>
                </a:cubicBezTo>
                <a:cubicBezTo>
                  <a:pt x="1220" y="28"/>
                  <a:pt x="1223" y="18"/>
                  <a:pt x="1227" y="12"/>
                </a:cubicBezTo>
                <a:cubicBezTo>
                  <a:pt x="1231" y="5"/>
                  <a:pt x="1238" y="1"/>
                  <a:pt x="1247" y="1"/>
                </a:cubicBezTo>
                <a:cubicBezTo>
                  <a:pt x="1263" y="1"/>
                  <a:pt x="1271" y="14"/>
                  <a:pt x="1271" y="39"/>
                </a:cubicBezTo>
                <a:cubicBezTo>
                  <a:pt x="1271" y="52"/>
                  <a:pt x="1269" y="61"/>
                  <a:pt x="1264" y="68"/>
                </a:cubicBezTo>
                <a:cubicBezTo>
                  <a:pt x="1259" y="74"/>
                  <a:pt x="1253" y="77"/>
                  <a:pt x="1245" y="77"/>
                </a:cubicBezTo>
                <a:close/>
                <a:moveTo>
                  <a:pt x="1246" y="11"/>
                </a:moveTo>
                <a:cubicBezTo>
                  <a:pt x="1237" y="11"/>
                  <a:pt x="1232" y="21"/>
                  <a:pt x="1232" y="41"/>
                </a:cubicBezTo>
                <a:cubicBezTo>
                  <a:pt x="1232" y="59"/>
                  <a:pt x="1237" y="68"/>
                  <a:pt x="1245" y="68"/>
                </a:cubicBezTo>
                <a:cubicBezTo>
                  <a:pt x="1254" y="68"/>
                  <a:pt x="1258" y="59"/>
                  <a:pt x="1258" y="40"/>
                </a:cubicBezTo>
                <a:cubicBezTo>
                  <a:pt x="1258" y="20"/>
                  <a:pt x="1254" y="11"/>
                  <a:pt x="1246" y="11"/>
                </a:cubicBezTo>
                <a:close/>
                <a:moveTo>
                  <a:pt x="933" y="36"/>
                </a:moveTo>
                <a:cubicBezTo>
                  <a:pt x="933" y="36"/>
                  <a:pt x="933" y="36"/>
                  <a:pt x="933" y="36"/>
                </a:cubicBezTo>
                <a:cubicBezTo>
                  <a:pt x="932" y="44"/>
                  <a:pt x="932" y="44"/>
                  <a:pt x="932" y="44"/>
                </a:cubicBezTo>
                <a:cubicBezTo>
                  <a:pt x="939" y="45"/>
                  <a:pt x="940" y="48"/>
                  <a:pt x="940" y="50"/>
                </a:cubicBezTo>
                <a:cubicBezTo>
                  <a:pt x="940" y="53"/>
                  <a:pt x="939" y="55"/>
                  <a:pt x="939" y="57"/>
                </a:cubicBezTo>
                <a:cubicBezTo>
                  <a:pt x="939" y="60"/>
                  <a:pt x="938" y="62"/>
                  <a:pt x="938" y="65"/>
                </a:cubicBezTo>
                <a:cubicBezTo>
                  <a:pt x="938" y="74"/>
                  <a:pt x="944" y="77"/>
                  <a:pt x="953" y="77"/>
                </a:cubicBezTo>
                <a:cubicBezTo>
                  <a:pt x="953" y="77"/>
                  <a:pt x="953" y="77"/>
                  <a:pt x="956" y="77"/>
                </a:cubicBezTo>
                <a:cubicBezTo>
                  <a:pt x="956" y="77"/>
                  <a:pt x="956" y="77"/>
                  <a:pt x="956" y="68"/>
                </a:cubicBezTo>
                <a:cubicBezTo>
                  <a:pt x="956" y="68"/>
                  <a:pt x="956" y="68"/>
                  <a:pt x="955" y="68"/>
                </a:cubicBezTo>
                <a:cubicBezTo>
                  <a:pt x="951" y="68"/>
                  <a:pt x="950" y="66"/>
                  <a:pt x="950" y="62"/>
                </a:cubicBezTo>
                <a:cubicBezTo>
                  <a:pt x="950" y="61"/>
                  <a:pt x="950" y="59"/>
                  <a:pt x="951" y="57"/>
                </a:cubicBezTo>
                <a:cubicBezTo>
                  <a:pt x="951" y="56"/>
                  <a:pt x="951" y="54"/>
                  <a:pt x="951" y="52"/>
                </a:cubicBezTo>
                <a:cubicBezTo>
                  <a:pt x="951" y="44"/>
                  <a:pt x="948" y="42"/>
                  <a:pt x="942" y="40"/>
                </a:cubicBezTo>
                <a:cubicBezTo>
                  <a:pt x="942" y="40"/>
                  <a:pt x="942" y="40"/>
                  <a:pt x="942" y="40"/>
                </a:cubicBezTo>
                <a:cubicBezTo>
                  <a:pt x="948" y="39"/>
                  <a:pt x="951" y="37"/>
                  <a:pt x="951" y="29"/>
                </a:cubicBezTo>
                <a:cubicBezTo>
                  <a:pt x="951" y="27"/>
                  <a:pt x="951" y="25"/>
                  <a:pt x="951" y="23"/>
                </a:cubicBezTo>
                <a:cubicBezTo>
                  <a:pt x="950" y="21"/>
                  <a:pt x="950" y="20"/>
                  <a:pt x="950" y="18"/>
                </a:cubicBezTo>
                <a:cubicBezTo>
                  <a:pt x="950" y="15"/>
                  <a:pt x="951" y="13"/>
                  <a:pt x="955" y="13"/>
                </a:cubicBezTo>
                <a:cubicBezTo>
                  <a:pt x="955" y="13"/>
                  <a:pt x="955" y="13"/>
                  <a:pt x="956" y="13"/>
                </a:cubicBezTo>
                <a:cubicBezTo>
                  <a:pt x="956" y="13"/>
                  <a:pt x="956" y="13"/>
                  <a:pt x="956" y="3"/>
                </a:cubicBezTo>
                <a:cubicBezTo>
                  <a:pt x="956" y="3"/>
                  <a:pt x="956" y="3"/>
                  <a:pt x="953" y="3"/>
                </a:cubicBezTo>
                <a:cubicBezTo>
                  <a:pt x="944" y="3"/>
                  <a:pt x="938" y="7"/>
                  <a:pt x="938" y="16"/>
                </a:cubicBezTo>
                <a:cubicBezTo>
                  <a:pt x="938" y="18"/>
                  <a:pt x="939" y="21"/>
                  <a:pt x="939" y="23"/>
                </a:cubicBezTo>
                <a:cubicBezTo>
                  <a:pt x="939" y="26"/>
                  <a:pt x="940" y="28"/>
                  <a:pt x="940" y="30"/>
                </a:cubicBezTo>
                <a:cubicBezTo>
                  <a:pt x="940" y="33"/>
                  <a:pt x="939" y="36"/>
                  <a:pt x="933" y="36"/>
                </a:cubicBezTo>
                <a:close/>
                <a:moveTo>
                  <a:pt x="987" y="44"/>
                </a:moveTo>
                <a:cubicBezTo>
                  <a:pt x="987" y="44"/>
                  <a:pt x="987" y="44"/>
                  <a:pt x="987" y="44"/>
                </a:cubicBezTo>
                <a:cubicBezTo>
                  <a:pt x="987" y="36"/>
                  <a:pt x="987" y="36"/>
                  <a:pt x="987" y="36"/>
                </a:cubicBezTo>
                <a:cubicBezTo>
                  <a:pt x="981" y="36"/>
                  <a:pt x="981" y="33"/>
                  <a:pt x="981" y="30"/>
                </a:cubicBezTo>
                <a:cubicBezTo>
                  <a:pt x="981" y="28"/>
                  <a:pt x="981" y="26"/>
                  <a:pt x="981" y="23"/>
                </a:cubicBezTo>
                <a:cubicBezTo>
                  <a:pt x="981" y="21"/>
                  <a:pt x="981" y="18"/>
                  <a:pt x="981" y="16"/>
                </a:cubicBezTo>
                <a:cubicBezTo>
                  <a:pt x="981" y="7"/>
                  <a:pt x="976" y="3"/>
                  <a:pt x="967" y="3"/>
                </a:cubicBezTo>
                <a:cubicBezTo>
                  <a:pt x="967" y="3"/>
                  <a:pt x="967" y="3"/>
                  <a:pt x="963" y="3"/>
                </a:cubicBezTo>
                <a:cubicBezTo>
                  <a:pt x="963" y="3"/>
                  <a:pt x="963" y="3"/>
                  <a:pt x="963" y="13"/>
                </a:cubicBezTo>
                <a:cubicBezTo>
                  <a:pt x="963" y="13"/>
                  <a:pt x="963" y="13"/>
                  <a:pt x="965" y="13"/>
                </a:cubicBezTo>
                <a:cubicBezTo>
                  <a:pt x="968" y="13"/>
                  <a:pt x="970" y="15"/>
                  <a:pt x="970" y="18"/>
                </a:cubicBezTo>
                <a:cubicBezTo>
                  <a:pt x="970" y="20"/>
                  <a:pt x="969" y="21"/>
                  <a:pt x="969" y="23"/>
                </a:cubicBezTo>
                <a:cubicBezTo>
                  <a:pt x="969" y="25"/>
                  <a:pt x="969" y="27"/>
                  <a:pt x="969" y="29"/>
                </a:cubicBezTo>
                <a:cubicBezTo>
                  <a:pt x="969" y="37"/>
                  <a:pt x="972" y="39"/>
                  <a:pt x="978" y="40"/>
                </a:cubicBezTo>
                <a:cubicBezTo>
                  <a:pt x="978" y="40"/>
                  <a:pt x="978" y="40"/>
                  <a:pt x="978" y="40"/>
                </a:cubicBezTo>
                <a:cubicBezTo>
                  <a:pt x="972" y="42"/>
                  <a:pt x="969" y="44"/>
                  <a:pt x="969" y="52"/>
                </a:cubicBezTo>
                <a:cubicBezTo>
                  <a:pt x="969" y="54"/>
                  <a:pt x="969" y="56"/>
                  <a:pt x="969" y="57"/>
                </a:cubicBezTo>
                <a:cubicBezTo>
                  <a:pt x="969" y="59"/>
                  <a:pt x="970" y="61"/>
                  <a:pt x="970" y="62"/>
                </a:cubicBezTo>
                <a:cubicBezTo>
                  <a:pt x="970" y="66"/>
                  <a:pt x="969" y="68"/>
                  <a:pt x="965" y="68"/>
                </a:cubicBezTo>
                <a:cubicBezTo>
                  <a:pt x="965" y="68"/>
                  <a:pt x="965" y="68"/>
                  <a:pt x="963" y="68"/>
                </a:cubicBezTo>
                <a:cubicBezTo>
                  <a:pt x="963" y="68"/>
                  <a:pt x="963" y="68"/>
                  <a:pt x="963" y="77"/>
                </a:cubicBezTo>
                <a:cubicBezTo>
                  <a:pt x="963" y="77"/>
                  <a:pt x="963" y="77"/>
                  <a:pt x="967" y="77"/>
                </a:cubicBezTo>
                <a:cubicBezTo>
                  <a:pt x="976" y="77"/>
                  <a:pt x="981" y="74"/>
                  <a:pt x="981" y="65"/>
                </a:cubicBezTo>
                <a:cubicBezTo>
                  <a:pt x="981" y="62"/>
                  <a:pt x="981" y="60"/>
                  <a:pt x="981" y="57"/>
                </a:cubicBezTo>
                <a:cubicBezTo>
                  <a:pt x="981" y="55"/>
                  <a:pt x="981" y="53"/>
                  <a:pt x="981" y="50"/>
                </a:cubicBezTo>
                <a:cubicBezTo>
                  <a:pt x="981" y="48"/>
                  <a:pt x="981" y="45"/>
                  <a:pt x="987" y="44"/>
                </a:cubicBezTo>
                <a:close/>
                <a:moveTo>
                  <a:pt x="1457" y="77"/>
                </a:moveTo>
                <a:cubicBezTo>
                  <a:pt x="1450" y="77"/>
                  <a:pt x="1444" y="74"/>
                  <a:pt x="1439" y="68"/>
                </a:cubicBezTo>
                <a:cubicBezTo>
                  <a:pt x="1435" y="62"/>
                  <a:pt x="1433" y="52"/>
                  <a:pt x="1433" y="41"/>
                </a:cubicBezTo>
                <a:cubicBezTo>
                  <a:pt x="1433" y="28"/>
                  <a:pt x="1435" y="18"/>
                  <a:pt x="1439" y="11"/>
                </a:cubicBezTo>
                <a:cubicBezTo>
                  <a:pt x="1444" y="4"/>
                  <a:pt x="1450" y="1"/>
                  <a:pt x="1459" y="1"/>
                </a:cubicBezTo>
                <a:cubicBezTo>
                  <a:pt x="1475" y="1"/>
                  <a:pt x="1484" y="14"/>
                  <a:pt x="1484" y="39"/>
                </a:cubicBezTo>
                <a:cubicBezTo>
                  <a:pt x="1484" y="52"/>
                  <a:pt x="1481" y="61"/>
                  <a:pt x="1477" y="68"/>
                </a:cubicBezTo>
                <a:cubicBezTo>
                  <a:pt x="1472" y="74"/>
                  <a:pt x="1466" y="77"/>
                  <a:pt x="1457" y="77"/>
                </a:cubicBezTo>
                <a:close/>
                <a:moveTo>
                  <a:pt x="1458" y="11"/>
                </a:moveTo>
                <a:cubicBezTo>
                  <a:pt x="1450" y="11"/>
                  <a:pt x="1445" y="20"/>
                  <a:pt x="1445" y="40"/>
                </a:cubicBezTo>
                <a:cubicBezTo>
                  <a:pt x="1445" y="58"/>
                  <a:pt x="1450" y="68"/>
                  <a:pt x="1458" y="68"/>
                </a:cubicBezTo>
                <a:cubicBezTo>
                  <a:pt x="1467" y="68"/>
                  <a:pt x="1471" y="58"/>
                  <a:pt x="1471" y="40"/>
                </a:cubicBezTo>
                <a:cubicBezTo>
                  <a:pt x="1471" y="20"/>
                  <a:pt x="1467" y="11"/>
                  <a:pt x="1458" y="11"/>
                </a:cubicBezTo>
                <a:close/>
                <a:moveTo>
                  <a:pt x="1530" y="4"/>
                </a:moveTo>
                <a:cubicBezTo>
                  <a:pt x="1530" y="4"/>
                  <a:pt x="1530" y="4"/>
                  <a:pt x="1530" y="4"/>
                </a:cubicBezTo>
                <a:cubicBezTo>
                  <a:pt x="1525" y="4"/>
                  <a:pt x="1525" y="4"/>
                  <a:pt x="1525" y="4"/>
                </a:cubicBezTo>
                <a:cubicBezTo>
                  <a:pt x="1523" y="5"/>
                  <a:pt x="1522" y="7"/>
                  <a:pt x="1519" y="7"/>
                </a:cubicBezTo>
                <a:cubicBezTo>
                  <a:pt x="1518" y="9"/>
                  <a:pt x="1516" y="10"/>
                  <a:pt x="1514" y="10"/>
                </a:cubicBezTo>
                <a:cubicBezTo>
                  <a:pt x="1513" y="11"/>
                  <a:pt x="1511" y="12"/>
                  <a:pt x="1509" y="12"/>
                </a:cubicBezTo>
                <a:cubicBezTo>
                  <a:pt x="1507" y="13"/>
                  <a:pt x="1506" y="14"/>
                  <a:pt x="1504" y="15"/>
                </a:cubicBezTo>
                <a:cubicBezTo>
                  <a:pt x="1504" y="15"/>
                  <a:pt x="1504" y="15"/>
                  <a:pt x="1504" y="25"/>
                </a:cubicBezTo>
                <a:cubicBezTo>
                  <a:pt x="1507" y="24"/>
                  <a:pt x="1509" y="23"/>
                  <a:pt x="1512" y="22"/>
                </a:cubicBezTo>
                <a:cubicBezTo>
                  <a:pt x="1514" y="21"/>
                  <a:pt x="1517" y="20"/>
                  <a:pt x="1519" y="18"/>
                </a:cubicBezTo>
                <a:cubicBezTo>
                  <a:pt x="1519" y="18"/>
                  <a:pt x="1519" y="18"/>
                  <a:pt x="1519" y="77"/>
                </a:cubicBezTo>
                <a:cubicBezTo>
                  <a:pt x="1519" y="77"/>
                  <a:pt x="1519" y="77"/>
                  <a:pt x="1530" y="77"/>
                </a:cubicBezTo>
                <a:cubicBezTo>
                  <a:pt x="1530" y="77"/>
                  <a:pt x="1530" y="77"/>
                  <a:pt x="1530" y="4"/>
                </a:cubicBezTo>
                <a:close/>
                <a:moveTo>
                  <a:pt x="1868" y="77"/>
                </a:moveTo>
                <a:cubicBezTo>
                  <a:pt x="1860" y="77"/>
                  <a:pt x="1854" y="74"/>
                  <a:pt x="1849" y="68"/>
                </a:cubicBezTo>
                <a:cubicBezTo>
                  <a:pt x="1846" y="62"/>
                  <a:pt x="1844" y="53"/>
                  <a:pt x="1844" y="41"/>
                </a:cubicBezTo>
                <a:cubicBezTo>
                  <a:pt x="1844" y="28"/>
                  <a:pt x="1846" y="18"/>
                  <a:pt x="1850" y="12"/>
                </a:cubicBezTo>
                <a:cubicBezTo>
                  <a:pt x="1855" y="5"/>
                  <a:pt x="1861" y="1"/>
                  <a:pt x="1870" y="1"/>
                </a:cubicBezTo>
                <a:cubicBezTo>
                  <a:pt x="1886" y="1"/>
                  <a:pt x="1894" y="14"/>
                  <a:pt x="1894" y="39"/>
                </a:cubicBezTo>
                <a:cubicBezTo>
                  <a:pt x="1894" y="52"/>
                  <a:pt x="1892" y="61"/>
                  <a:pt x="1887" y="68"/>
                </a:cubicBezTo>
                <a:cubicBezTo>
                  <a:pt x="1883" y="74"/>
                  <a:pt x="1876" y="77"/>
                  <a:pt x="1868" y="77"/>
                </a:cubicBezTo>
                <a:close/>
                <a:moveTo>
                  <a:pt x="1869" y="11"/>
                </a:moveTo>
                <a:cubicBezTo>
                  <a:pt x="1860" y="11"/>
                  <a:pt x="1855" y="21"/>
                  <a:pt x="1855" y="41"/>
                </a:cubicBezTo>
                <a:cubicBezTo>
                  <a:pt x="1855" y="59"/>
                  <a:pt x="1860" y="68"/>
                  <a:pt x="1869" y="68"/>
                </a:cubicBezTo>
                <a:cubicBezTo>
                  <a:pt x="1877" y="68"/>
                  <a:pt x="1882" y="59"/>
                  <a:pt x="1882" y="40"/>
                </a:cubicBezTo>
                <a:cubicBezTo>
                  <a:pt x="1882" y="20"/>
                  <a:pt x="1877" y="11"/>
                  <a:pt x="1869" y="11"/>
                </a:cubicBezTo>
                <a:close/>
                <a:moveTo>
                  <a:pt x="1938" y="4"/>
                </a:moveTo>
                <a:cubicBezTo>
                  <a:pt x="1938" y="4"/>
                  <a:pt x="1938" y="4"/>
                  <a:pt x="1938" y="4"/>
                </a:cubicBezTo>
                <a:cubicBezTo>
                  <a:pt x="1933" y="4"/>
                  <a:pt x="1933" y="4"/>
                  <a:pt x="1933" y="4"/>
                </a:cubicBezTo>
                <a:cubicBezTo>
                  <a:pt x="1930" y="5"/>
                  <a:pt x="1929" y="7"/>
                  <a:pt x="1927" y="7"/>
                </a:cubicBezTo>
                <a:cubicBezTo>
                  <a:pt x="1925" y="9"/>
                  <a:pt x="1923" y="10"/>
                  <a:pt x="1922" y="10"/>
                </a:cubicBezTo>
                <a:cubicBezTo>
                  <a:pt x="1919" y="11"/>
                  <a:pt x="1918" y="12"/>
                  <a:pt x="1917" y="12"/>
                </a:cubicBezTo>
                <a:cubicBezTo>
                  <a:pt x="1914" y="13"/>
                  <a:pt x="1913" y="14"/>
                  <a:pt x="1911" y="15"/>
                </a:cubicBezTo>
                <a:cubicBezTo>
                  <a:pt x="1911" y="15"/>
                  <a:pt x="1911" y="15"/>
                  <a:pt x="1911" y="25"/>
                </a:cubicBezTo>
                <a:cubicBezTo>
                  <a:pt x="1914" y="24"/>
                  <a:pt x="1917" y="23"/>
                  <a:pt x="1919" y="22"/>
                </a:cubicBezTo>
                <a:cubicBezTo>
                  <a:pt x="1922" y="21"/>
                  <a:pt x="1924" y="20"/>
                  <a:pt x="1926" y="18"/>
                </a:cubicBezTo>
                <a:cubicBezTo>
                  <a:pt x="1926" y="18"/>
                  <a:pt x="1926" y="18"/>
                  <a:pt x="1926" y="77"/>
                </a:cubicBezTo>
                <a:cubicBezTo>
                  <a:pt x="1926" y="77"/>
                  <a:pt x="1926" y="77"/>
                  <a:pt x="1938" y="77"/>
                </a:cubicBezTo>
                <a:cubicBezTo>
                  <a:pt x="1938" y="77"/>
                  <a:pt x="1938" y="77"/>
                  <a:pt x="1938" y="4"/>
                </a:cubicBezTo>
                <a:close/>
                <a:moveTo>
                  <a:pt x="1774" y="77"/>
                </a:moveTo>
                <a:cubicBezTo>
                  <a:pt x="1777" y="58"/>
                  <a:pt x="1777" y="58"/>
                  <a:pt x="1777" y="58"/>
                </a:cubicBezTo>
                <a:cubicBezTo>
                  <a:pt x="1768" y="58"/>
                  <a:pt x="1768" y="58"/>
                  <a:pt x="1768" y="58"/>
                </a:cubicBezTo>
                <a:cubicBezTo>
                  <a:pt x="1768" y="46"/>
                  <a:pt x="1768" y="46"/>
                  <a:pt x="1768" y="46"/>
                </a:cubicBezTo>
                <a:cubicBezTo>
                  <a:pt x="1779" y="46"/>
                  <a:pt x="1779" y="46"/>
                  <a:pt x="1779" y="46"/>
                </a:cubicBezTo>
                <a:cubicBezTo>
                  <a:pt x="1781" y="35"/>
                  <a:pt x="1781" y="35"/>
                  <a:pt x="1781" y="35"/>
                </a:cubicBezTo>
                <a:cubicBezTo>
                  <a:pt x="1771" y="35"/>
                  <a:pt x="1771" y="35"/>
                  <a:pt x="1771" y="35"/>
                </a:cubicBezTo>
                <a:cubicBezTo>
                  <a:pt x="1771" y="23"/>
                  <a:pt x="1771" y="23"/>
                  <a:pt x="1771" y="23"/>
                </a:cubicBezTo>
                <a:cubicBezTo>
                  <a:pt x="1782" y="23"/>
                  <a:pt x="1782" y="23"/>
                  <a:pt x="1782" y="23"/>
                </a:cubicBezTo>
                <a:cubicBezTo>
                  <a:pt x="1785" y="5"/>
                  <a:pt x="1785" y="5"/>
                  <a:pt x="1785" y="5"/>
                </a:cubicBezTo>
                <a:cubicBezTo>
                  <a:pt x="1797" y="5"/>
                  <a:pt x="1797" y="5"/>
                  <a:pt x="1797" y="5"/>
                </a:cubicBezTo>
                <a:cubicBezTo>
                  <a:pt x="1794" y="23"/>
                  <a:pt x="1794" y="23"/>
                  <a:pt x="1794" y="23"/>
                </a:cubicBezTo>
                <a:cubicBezTo>
                  <a:pt x="1803" y="23"/>
                  <a:pt x="1803" y="23"/>
                  <a:pt x="1803" y="23"/>
                </a:cubicBezTo>
                <a:cubicBezTo>
                  <a:pt x="1806" y="5"/>
                  <a:pt x="1806" y="5"/>
                  <a:pt x="1806" y="5"/>
                </a:cubicBezTo>
                <a:cubicBezTo>
                  <a:pt x="1818" y="5"/>
                  <a:pt x="1818" y="5"/>
                  <a:pt x="1818" y="5"/>
                </a:cubicBezTo>
                <a:cubicBezTo>
                  <a:pt x="1814" y="23"/>
                  <a:pt x="1814" y="23"/>
                  <a:pt x="1814" y="23"/>
                </a:cubicBezTo>
                <a:cubicBezTo>
                  <a:pt x="1823" y="23"/>
                  <a:pt x="1823" y="23"/>
                  <a:pt x="1823" y="23"/>
                </a:cubicBezTo>
                <a:cubicBezTo>
                  <a:pt x="1823" y="35"/>
                  <a:pt x="1823" y="35"/>
                  <a:pt x="1823" y="35"/>
                </a:cubicBezTo>
                <a:cubicBezTo>
                  <a:pt x="1813" y="35"/>
                  <a:pt x="1813" y="35"/>
                  <a:pt x="1813" y="35"/>
                </a:cubicBezTo>
                <a:cubicBezTo>
                  <a:pt x="1811" y="46"/>
                  <a:pt x="1811" y="46"/>
                  <a:pt x="1811" y="46"/>
                </a:cubicBezTo>
                <a:cubicBezTo>
                  <a:pt x="1820" y="46"/>
                  <a:pt x="1820" y="46"/>
                  <a:pt x="1820" y="46"/>
                </a:cubicBezTo>
                <a:cubicBezTo>
                  <a:pt x="1820" y="58"/>
                  <a:pt x="1820" y="58"/>
                  <a:pt x="1820" y="58"/>
                </a:cubicBezTo>
                <a:cubicBezTo>
                  <a:pt x="1809" y="58"/>
                  <a:pt x="1809" y="58"/>
                  <a:pt x="1809" y="58"/>
                </a:cubicBezTo>
                <a:cubicBezTo>
                  <a:pt x="1806" y="77"/>
                  <a:pt x="1806" y="77"/>
                  <a:pt x="1806" y="77"/>
                </a:cubicBezTo>
                <a:cubicBezTo>
                  <a:pt x="1795" y="77"/>
                  <a:pt x="1795" y="77"/>
                  <a:pt x="1795" y="77"/>
                </a:cubicBezTo>
                <a:cubicBezTo>
                  <a:pt x="1798" y="58"/>
                  <a:pt x="1798" y="58"/>
                  <a:pt x="1798" y="58"/>
                </a:cubicBezTo>
                <a:cubicBezTo>
                  <a:pt x="1788" y="58"/>
                  <a:pt x="1788" y="58"/>
                  <a:pt x="1788" y="58"/>
                </a:cubicBezTo>
                <a:cubicBezTo>
                  <a:pt x="1785" y="77"/>
                  <a:pt x="1785" y="77"/>
                  <a:pt x="1785" y="77"/>
                </a:cubicBezTo>
                <a:cubicBezTo>
                  <a:pt x="1774" y="77"/>
                  <a:pt x="1774" y="77"/>
                  <a:pt x="1774" y="77"/>
                </a:cubicBezTo>
                <a:cubicBezTo>
                  <a:pt x="1774" y="77"/>
                  <a:pt x="1774" y="77"/>
                  <a:pt x="1774" y="77"/>
                </a:cubicBezTo>
                <a:close/>
                <a:moveTo>
                  <a:pt x="1800" y="46"/>
                </a:moveTo>
                <a:cubicBezTo>
                  <a:pt x="1801" y="35"/>
                  <a:pt x="1801" y="35"/>
                  <a:pt x="1801" y="35"/>
                </a:cubicBezTo>
                <a:cubicBezTo>
                  <a:pt x="1792" y="35"/>
                  <a:pt x="1792" y="35"/>
                  <a:pt x="1792" y="35"/>
                </a:cubicBezTo>
                <a:cubicBezTo>
                  <a:pt x="1790" y="46"/>
                  <a:pt x="1790" y="46"/>
                  <a:pt x="1790" y="46"/>
                </a:cubicBezTo>
                <a:cubicBezTo>
                  <a:pt x="1800" y="46"/>
                  <a:pt x="1800" y="46"/>
                  <a:pt x="1800" y="46"/>
                </a:cubicBezTo>
                <a:cubicBezTo>
                  <a:pt x="1800" y="46"/>
                  <a:pt x="1800" y="46"/>
                  <a:pt x="1800" y="46"/>
                </a:cubicBezTo>
                <a:close/>
                <a:moveTo>
                  <a:pt x="659" y="51"/>
                </a:moveTo>
                <a:cubicBezTo>
                  <a:pt x="659" y="53"/>
                  <a:pt x="660" y="54"/>
                  <a:pt x="660" y="55"/>
                </a:cubicBezTo>
                <a:cubicBezTo>
                  <a:pt x="661" y="57"/>
                  <a:pt x="661" y="59"/>
                  <a:pt x="662" y="61"/>
                </a:cubicBezTo>
                <a:cubicBezTo>
                  <a:pt x="662" y="62"/>
                  <a:pt x="662" y="64"/>
                  <a:pt x="662" y="65"/>
                </a:cubicBezTo>
                <a:cubicBezTo>
                  <a:pt x="663" y="68"/>
                  <a:pt x="662" y="70"/>
                  <a:pt x="659" y="70"/>
                </a:cubicBezTo>
                <a:cubicBezTo>
                  <a:pt x="656" y="70"/>
                  <a:pt x="653" y="70"/>
                  <a:pt x="650" y="70"/>
                </a:cubicBezTo>
                <a:cubicBezTo>
                  <a:pt x="650" y="70"/>
                  <a:pt x="649" y="70"/>
                  <a:pt x="649" y="70"/>
                </a:cubicBezTo>
                <a:cubicBezTo>
                  <a:pt x="647" y="72"/>
                  <a:pt x="646" y="73"/>
                  <a:pt x="644" y="74"/>
                </a:cubicBezTo>
                <a:cubicBezTo>
                  <a:pt x="642" y="77"/>
                  <a:pt x="639" y="77"/>
                  <a:pt x="637" y="75"/>
                </a:cubicBezTo>
                <a:cubicBezTo>
                  <a:pt x="635" y="73"/>
                  <a:pt x="634" y="70"/>
                  <a:pt x="632" y="68"/>
                </a:cubicBezTo>
                <a:cubicBezTo>
                  <a:pt x="631" y="66"/>
                  <a:pt x="632" y="64"/>
                  <a:pt x="634" y="63"/>
                </a:cubicBezTo>
                <a:cubicBezTo>
                  <a:pt x="631" y="63"/>
                  <a:pt x="630" y="63"/>
                  <a:pt x="628" y="63"/>
                </a:cubicBezTo>
                <a:cubicBezTo>
                  <a:pt x="628" y="65"/>
                  <a:pt x="626" y="67"/>
                  <a:pt x="626" y="69"/>
                </a:cubicBezTo>
                <a:cubicBezTo>
                  <a:pt x="626" y="70"/>
                  <a:pt x="625" y="70"/>
                  <a:pt x="625" y="71"/>
                </a:cubicBezTo>
                <a:cubicBezTo>
                  <a:pt x="625" y="74"/>
                  <a:pt x="624" y="76"/>
                  <a:pt x="621" y="75"/>
                </a:cubicBezTo>
                <a:cubicBezTo>
                  <a:pt x="618" y="75"/>
                  <a:pt x="615" y="74"/>
                  <a:pt x="612" y="73"/>
                </a:cubicBezTo>
                <a:cubicBezTo>
                  <a:pt x="610" y="72"/>
                  <a:pt x="609" y="71"/>
                  <a:pt x="610" y="69"/>
                </a:cubicBezTo>
                <a:cubicBezTo>
                  <a:pt x="610" y="68"/>
                  <a:pt x="610" y="67"/>
                  <a:pt x="611" y="67"/>
                </a:cubicBezTo>
                <a:cubicBezTo>
                  <a:pt x="608" y="66"/>
                  <a:pt x="606" y="65"/>
                  <a:pt x="604" y="64"/>
                </a:cubicBezTo>
                <a:cubicBezTo>
                  <a:pt x="603" y="63"/>
                  <a:pt x="602" y="61"/>
                  <a:pt x="601" y="59"/>
                </a:cubicBezTo>
                <a:cubicBezTo>
                  <a:pt x="600" y="57"/>
                  <a:pt x="600" y="56"/>
                  <a:pt x="602" y="54"/>
                </a:cubicBezTo>
                <a:cubicBezTo>
                  <a:pt x="605" y="52"/>
                  <a:pt x="606" y="49"/>
                  <a:pt x="605" y="45"/>
                </a:cubicBezTo>
                <a:cubicBezTo>
                  <a:pt x="605" y="43"/>
                  <a:pt x="605" y="41"/>
                  <a:pt x="605" y="39"/>
                </a:cubicBezTo>
                <a:cubicBezTo>
                  <a:pt x="604" y="38"/>
                  <a:pt x="602" y="38"/>
                  <a:pt x="601" y="37"/>
                </a:cubicBezTo>
                <a:cubicBezTo>
                  <a:pt x="600" y="35"/>
                  <a:pt x="599" y="33"/>
                  <a:pt x="599" y="31"/>
                </a:cubicBezTo>
                <a:cubicBezTo>
                  <a:pt x="599" y="28"/>
                  <a:pt x="602" y="26"/>
                  <a:pt x="605" y="25"/>
                </a:cubicBezTo>
                <a:cubicBezTo>
                  <a:pt x="606" y="26"/>
                  <a:pt x="606" y="26"/>
                  <a:pt x="606" y="27"/>
                </a:cubicBezTo>
                <a:cubicBezTo>
                  <a:pt x="606" y="28"/>
                  <a:pt x="606" y="29"/>
                  <a:pt x="606" y="30"/>
                </a:cubicBezTo>
                <a:cubicBezTo>
                  <a:pt x="606" y="30"/>
                  <a:pt x="605" y="30"/>
                  <a:pt x="605" y="30"/>
                </a:cubicBezTo>
                <a:cubicBezTo>
                  <a:pt x="604" y="31"/>
                  <a:pt x="604" y="32"/>
                  <a:pt x="603" y="34"/>
                </a:cubicBezTo>
                <a:cubicBezTo>
                  <a:pt x="604" y="34"/>
                  <a:pt x="605" y="34"/>
                  <a:pt x="606" y="34"/>
                </a:cubicBezTo>
                <a:cubicBezTo>
                  <a:pt x="607" y="32"/>
                  <a:pt x="608" y="32"/>
                  <a:pt x="608" y="30"/>
                </a:cubicBezTo>
                <a:cubicBezTo>
                  <a:pt x="613" y="24"/>
                  <a:pt x="619" y="20"/>
                  <a:pt x="626" y="18"/>
                </a:cubicBezTo>
                <a:cubicBezTo>
                  <a:pt x="629" y="18"/>
                  <a:pt x="633" y="17"/>
                  <a:pt x="635" y="14"/>
                </a:cubicBezTo>
                <a:cubicBezTo>
                  <a:pt x="635" y="13"/>
                  <a:pt x="636" y="13"/>
                  <a:pt x="636" y="13"/>
                </a:cubicBezTo>
                <a:cubicBezTo>
                  <a:pt x="639" y="13"/>
                  <a:pt x="640" y="10"/>
                  <a:pt x="642" y="8"/>
                </a:cubicBezTo>
                <a:cubicBezTo>
                  <a:pt x="650" y="1"/>
                  <a:pt x="662" y="0"/>
                  <a:pt x="669" y="7"/>
                </a:cubicBezTo>
                <a:cubicBezTo>
                  <a:pt x="672" y="9"/>
                  <a:pt x="675" y="11"/>
                  <a:pt x="677" y="13"/>
                </a:cubicBezTo>
                <a:cubicBezTo>
                  <a:pt x="679" y="14"/>
                  <a:pt x="680" y="16"/>
                  <a:pt x="681" y="18"/>
                </a:cubicBezTo>
                <a:cubicBezTo>
                  <a:pt x="682" y="19"/>
                  <a:pt x="682" y="19"/>
                  <a:pt x="684" y="18"/>
                </a:cubicBezTo>
                <a:cubicBezTo>
                  <a:pt x="684" y="18"/>
                  <a:pt x="685" y="17"/>
                  <a:pt x="686" y="16"/>
                </a:cubicBezTo>
                <a:cubicBezTo>
                  <a:pt x="688" y="13"/>
                  <a:pt x="691" y="13"/>
                  <a:pt x="692" y="17"/>
                </a:cubicBezTo>
                <a:cubicBezTo>
                  <a:pt x="693" y="20"/>
                  <a:pt x="694" y="23"/>
                  <a:pt x="695" y="26"/>
                </a:cubicBezTo>
                <a:cubicBezTo>
                  <a:pt x="695" y="30"/>
                  <a:pt x="695" y="34"/>
                  <a:pt x="693" y="39"/>
                </a:cubicBezTo>
                <a:cubicBezTo>
                  <a:pt x="691" y="45"/>
                  <a:pt x="686" y="49"/>
                  <a:pt x="680" y="49"/>
                </a:cubicBezTo>
                <a:cubicBezTo>
                  <a:pt x="679" y="49"/>
                  <a:pt x="679" y="49"/>
                  <a:pt x="678" y="49"/>
                </a:cubicBezTo>
                <a:cubicBezTo>
                  <a:pt x="675" y="48"/>
                  <a:pt x="674" y="49"/>
                  <a:pt x="673" y="51"/>
                </a:cubicBezTo>
                <a:cubicBezTo>
                  <a:pt x="672" y="55"/>
                  <a:pt x="666" y="57"/>
                  <a:pt x="663" y="54"/>
                </a:cubicBezTo>
                <a:cubicBezTo>
                  <a:pt x="662" y="53"/>
                  <a:pt x="661" y="52"/>
                  <a:pt x="660" y="51"/>
                </a:cubicBezTo>
                <a:cubicBezTo>
                  <a:pt x="659" y="51"/>
                  <a:pt x="659" y="51"/>
                  <a:pt x="659" y="51"/>
                </a:cubicBezTo>
                <a:close/>
                <a:moveTo>
                  <a:pt x="653" y="47"/>
                </a:moveTo>
                <a:cubicBezTo>
                  <a:pt x="657" y="48"/>
                  <a:pt x="660" y="49"/>
                  <a:pt x="663" y="52"/>
                </a:cubicBezTo>
                <a:cubicBezTo>
                  <a:pt x="665" y="54"/>
                  <a:pt x="667" y="55"/>
                  <a:pt x="669" y="54"/>
                </a:cubicBezTo>
                <a:cubicBezTo>
                  <a:pt x="671" y="53"/>
                  <a:pt x="673" y="51"/>
                  <a:pt x="673" y="48"/>
                </a:cubicBezTo>
                <a:cubicBezTo>
                  <a:pt x="673" y="48"/>
                  <a:pt x="672" y="48"/>
                  <a:pt x="672" y="49"/>
                </a:cubicBezTo>
                <a:cubicBezTo>
                  <a:pt x="671" y="50"/>
                  <a:pt x="670" y="51"/>
                  <a:pt x="669" y="52"/>
                </a:cubicBezTo>
                <a:cubicBezTo>
                  <a:pt x="668" y="53"/>
                  <a:pt x="667" y="53"/>
                  <a:pt x="666" y="53"/>
                </a:cubicBezTo>
                <a:cubicBezTo>
                  <a:pt x="666" y="53"/>
                  <a:pt x="665" y="51"/>
                  <a:pt x="665" y="51"/>
                </a:cubicBezTo>
                <a:cubicBezTo>
                  <a:pt x="665" y="48"/>
                  <a:pt x="666" y="46"/>
                  <a:pt x="666" y="44"/>
                </a:cubicBezTo>
                <a:cubicBezTo>
                  <a:pt x="669" y="45"/>
                  <a:pt x="672" y="46"/>
                  <a:pt x="676" y="47"/>
                </a:cubicBezTo>
                <a:cubicBezTo>
                  <a:pt x="683" y="48"/>
                  <a:pt x="689" y="46"/>
                  <a:pt x="692" y="38"/>
                </a:cubicBezTo>
                <a:cubicBezTo>
                  <a:pt x="694" y="33"/>
                  <a:pt x="693" y="28"/>
                  <a:pt x="693" y="23"/>
                </a:cubicBezTo>
                <a:cubicBezTo>
                  <a:pt x="692" y="21"/>
                  <a:pt x="691" y="19"/>
                  <a:pt x="691" y="17"/>
                </a:cubicBezTo>
                <a:cubicBezTo>
                  <a:pt x="690" y="16"/>
                  <a:pt x="689" y="15"/>
                  <a:pt x="688" y="17"/>
                </a:cubicBezTo>
                <a:cubicBezTo>
                  <a:pt x="686" y="19"/>
                  <a:pt x="684" y="20"/>
                  <a:pt x="682" y="21"/>
                </a:cubicBezTo>
                <a:cubicBezTo>
                  <a:pt x="682" y="21"/>
                  <a:pt x="681" y="22"/>
                  <a:pt x="681" y="23"/>
                </a:cubicBezTo>
                <a:cubicBezTo>
                  <a:pt x="682" y="26"/>
                  <a:pt x="681" y="30"/>
                  <a:pt x="680" y="33"/>
                </a:cubicBezTo>
                <a:cubicBezTo>
                  <a:pt x="680" y="31"/>
                  <a:pt x="680" y="29"/>
                  <a:pt x="680" y="27"/>
                </a:cubicBezTo>
                <a:cubicBezTo>
                  <a:pt x="680" y="26"/>
                  <a:pt x="680" y="26"/>
                  <a:pt x="680" y="26"/>
                </a:cubicBezTo>
                <a:cubicBezTo>
                  <a:pt x="679" y="26"/>
                  <a:pt x="679" y="26"/>
                  <a:pt x="679" y="26"/>
                </a:cubicBezTo>
                <a:cubicBezTo>
                  <a:pt x="678" y="28"/>
                  <a:pt x="677" y="29"/>
                  <a:pt x="676" y="30"/>
                </a:cubicBezTo>
                <a:cubicBezTo>
                  <a:pt x="676" y="30"/>
                  <a:pt x="676" y="30"/>
                  <a:pt x="676" y="30"/>
                </a:cubicBezTo>
                <a:cubicBezTo>
                  <a:pt x="676" y="29"/>
                  <a:pt x="677" y="27"/>
                  <a:pt x="677" y="25"/>
                </a:cubicBezTo>
                <a:cubicBezTo>
                  <a:pt x="676" y="26"/>
                  <a:pt x="675" y="26"/>
                  <a:pt x="675" y="27"/>
                </a:cubicBezTo>
                <a:cubicBezTo>
                  <a:pt x="674" y="27"/>
                  <a:pt x="674" y="28"/>
                  <a:pt x="673" y="29"/>
                </a:cubicBezTo>
                <a:cubicBezTo>
                  <a:pt x="674" y="25"/>
                  <a:pt x="674" y="25"/>
                  <a:pt x="680" y="24"/>
                </a:cubicBezTo>
                <a:cubicBezTo>
                  <a:pt x="680" y="24"/>
                  <a:pt x="679" y="23"/>
                  <a:pt x="679" y="23"/>
                </a:cubicBezTo>
                <a:cubicBezTo>
                  <a:pt x="676" y="24"/>
                  <a:pt x="675" y="22"/>
                  <a:pt x="675" y="20"/>
                </a:cubicBezTo>
                <a:cubicBezTo>
                  <a:pt x="677" y="19"/>
                  <a:pt x="678" y="19"/>
                  <a:pt x="680" y="19"/>
                </a:cubicBezTo>
                <a:cubicBezTo>
                  <a:pt x="678" y="16"/>
                  <a:pt x="677" y="13"/>
                  <a:pt x="673" y="13"/>
                </a:cubicBezTo>
                <a:cubicBezTo>
                  <a:pt x="673" y="13"/>
                  <a:pt x="673" y="13"/>
                  <a:pt x="673" y="12"/>
                </a:cubicBezTo>
                <a:cubicBezTo>
                  <a:pt x="670" y="10"/>
                  <a:pt x="668" y="8"/>
                  <a:pt x="665" y="6"/>
                </a:cubicBezTo>
                <a:cubicBezTo>
                  <a:pt x="663" y="5"/>
                  <a:pt x="660" y="4"/>
                  <a:pt x="658" y="4"/>
                </a:cubicBezTo>
                <a:cubicBezTo>
                  <a:pt x="655" y="4"/>
                  <a:pt x="651" y="6"/>
                  <a:pt x="648" y="6"/>
                </a:cubicBezTo>
                <a:cubicBezTo>
                  <a:pt x="646" y="7"/>
                  <a:pt x="643" y="9"/>
                  <a:pt x="641" y="12"/>
                </a:cubicBezTo>
                <a:cubicBezTo>
                  <a:pt x="643" y="12"/>
                  <a:pt x="644" y="12"/>
                  <a:pt x="645" y="12"/>
                </a:cubicBezTo>
                <a:cubicBezTo>
                  <a:pt x="645" y="13"/>
                  <a:pt x="644" y="13"/>
                  <a:pt x="643" y="13"/>
                </a:cubicBezTo>
                <a:cubicBezTo>
                  <a:pt x="641" y="14"/>
                  <a:pt x="638" y="13"/>
                  <a:pt x="636" y="15"/>
                </a:cubicBezTo>
                <a:cubicBezTo>
                  <a:pt x="633" y="19"/>
                  <a:pt x="629" y="23"/>
                  <a:pt x="625" y="27"/>
                </a:cubicBezTo>
                <a:cubicBezTo>
                  <a:pt x="624" y="29"/>
                  <a:pt x="623" y="32"/>
                  <a:pt x="622" y="34"/>
                </a:cubicBezTo>
                <a:cubicBezTo>
                  <a:pt x="622" y="34"/>
                  <a:pt x="622" y="35"/>
                  <a:pt x="622" y="36"/>
                </a:cubicBezTo>
                <a:cubicBezTo>
                  <a:pt x="623" y="38"/>
                  <a:pt x="624" y="40"/>
                  <a:pt x="626" y="42"/>
                </a:cubicBezTo>
                <a:cubicBezTo>
                  <a:pt x="627" y="40"/>
                  <a:pt x="628" y="38"/>
                  <a:pt x="629" y="37"/>
                </a:cubicBezTo>
                <a:cubicBezTo>
                  <a:pt x="629" y="38"/>
                  <a:pt x="629" y="40"/>
                  <a:pt x="628" y="41"/>
                </a:cubicBezTo>
                <a:cubicBezTo>
                  <a:pt x="627" y="42"/>
                  <a:pt x="626" y="44"/>
                  <a:pt x="626" y="45"/>
                </a:cubicBezTo>
                <a:cubicBezTo>
                  <a:pt x="626" y="46"/>
                  <a:pt x="626" y="47"/>
                  <a:pt x="626" y="48"/>
                </a:cubicBezTo>
                <a:cubicBezTo>
                  <a:pt x="629" y="51"/>
                  <a:pt x="632" y="51"/>
                  <a:pt x="636" y="49"/>
                </a:cubicBezTo>
                <a:cubicBezTo>
                  <a:pt x="638" y="48"/>
                  <a:pt x="641" y="47"/>
                  <a:pt x="644" y="46"/>
                </a:cubicBezTo>
                <a:cubicBezTo>
                  <a:pt x="645" y="45"/>
                  <a:pt x="646" y="45"/>
                  <a:pt x="646" y="43"/>
                </a:cubicBezTo>
                <a:cubicBezTo>
                  <a:pt x="646" y="40"/>
                  <a:pt x="646" y="36"/>
                  <a:pt x="646" y="33"/>
                </a:cubicBezTo>
                <a:cubicBezTo>
                  <a:pt x="646" y="30"/>
                  <a:pt x="646" y="27"/>
                  <a:pt x="646" y="24"/>
                </a:cubicBezTo>
                <a:cubicBezTo>
                  <a:pt x="647" y="27"/>
                  <a:pt x="648" y="30"/>
                  <a:pt x="648" y="32"/>
                </a:cubicBezTo>
                <a:cubicBezTo>
                  <a:pt x="649" y="37"/>
                  <a:pt x="649" y="41"/>
                  <a:pt x="648" y="45"/>
                </a:cubicBezTo>
                <a:cubicBezTo>
                  <a:pt x="647" y="46"/>
                  <a:pt x="646" y="47"/>
                  <a:pt x="646" y="47"/>
                </a:cubicBezTo>
                <a:cubicBezTo>
                  <a:pt x="642" y="47"/>
                  <a:pt x="639" y="49"/>
                  <a:pt x="636" y="51"/>
                </a:cubicBezTo>
                <a:cubicBezTo>
                  <a:pt x="631" y="54"/>
                  <a:pt x="628" y="52"/>
                  <a:pt x="624" y="48"/>
                </a:cubicBezTo>
                <a:cubicBezTo>
                  <a:pt x="624" y="48"/>
                  <a:pt x="624" y="47"/>
                  <a:pt x="624" y="46"/>
                </a:cubicBezTo>
                <a:cubicBezTo>
                  <a:pt x="625" y="44"/>
                  <a:pt x="624" y="42"/>
                  <a:pt x="622" y="40"/>
                </a:cubicBezTo>
                <a:cubicBezTo>
                  <a:pt x="621" y="38"/>
                  <a:pt x="619" y="36"/>
                  <a:pt x="620" y="33"/>
                </a:cubicBezTo>
                <a:cubicBezTo>
                  <a:pt x="621" y="31"/>
                  <a:pt x="622" y="29"/>
                  <a:pt x="623" y="28"/>
                </a:cubicBezTo>
                <a:cubicBezTo>
                  <a:pt x="625" y="25"/>
                  <a:pt x="627" y="23"/>
                  <a:pt x="629" y="20"/>
                </a:cubicBezTo>
                <a:cubicBezTo>
                  <a:pt x="629" y="20"/>
                  <a:pt x="628" y="20"/>
                  <a:pt x="628" y="20"/>
                </a:cubicBezTo>
                <a:cubicBezTo>
                  <a:pt x="623" y="21"/>
                  <a:pt x="619" y="23"/>
                  <a:pt x="615" y="26"/>
                </a:cubicBezTo>
                <a:cubicBezTo>
                  <a:pt x="610" y="30"/>
                  <a:pt x="607" y="35"/>
                  <a:pt x="607" y="42"/>
                </a:cubicBezTo>
                <a:cubicBezTo>
                  <a:pt x="606" y="49"/>
                  <a:pt x="609" y="55"/>
                  <a:pt x="612" y="61"/>
                </a:cubicBezTo>
                <a:cubicBezTo>
                  <a:pt x="613" y="61"/>
                  <a:pt x="613" y="63"/>
                  <a:pt x="613" y="64"/>
                </a:cubicBezTo>
                <a:cubicBezTo>
                  <a:pt x="613" y="66"/>
                  <a:pt x="613" y="67"/>
                  <a:pt x="612" y="68"/>
                </a:cubicBezTo>
                <a:cubicBezTo>
                  <a:pt x="611" y="70"/>
                  <a:pt x="612" y="71"/>
                  <a:pt x="613" y="72"/>
                </a:cubicBezTo>
                <a:cubicBezTo>
                  <a:pt x="616" y="72"/>
                  <a:pt x="619" y="73"/>
                  <a:pt x="622" y="73"/>
                </a:cubicBezTo>
                <a:cubicBezTo>
                  <a:pt x="622" y="73"/>
                  <a:pt x="623" y="72"/>
                  <a:pt x="623" y="72"/>
                </a:cubicBezTo>
                <a:cubicBezTo>
                  <a:pt x="624" y="71"/>
                  <a:pt x="624" y="69"/>
                  <a:pt x="624" y="68"/>
                </a:cubicBezTo>
                <a:cubicBezTo>
                  <a:pt x="626" y="66"/>
                  <a:pt x="626" y="63"/>
                  <a:pt x="626" y="61"/>
                </a:cubicBezTo>
                <a:cubicBezTo>
                  <a:pt x="626" y="60"/>
                  <a:pt x="626" y="60"/>
                  <a:pt x="626" y="59"/>
                </a:cubicBezTo>
                <a:cubicBezTo>
                  <a:pt x="626" y="59"/>
                  <a:pt x="626" y="59"/>
                  <a:pt x="626" y="59"/>
                </a:cubicBezTo>
                <a:cubicBezTo>
                  <a:pt x="627" y="61"/>
                  <a:pt x="628" y="61"/>
                  <a:pt x="630" y="61"/>
                </a:cubicBezTo>
                <a:cubicBezTo>
                  <a:pt x="631" y="61"/>
                  <a:pt x="632" y="61"/>
                  <a:pt x="633" y="61"/>
                </a:cubicBezTo>
                <a:cubicBezTo>
                  <a:pt x="635" y="61"/>
                  <a:pt x="639" y="62"/>
                  <a:pt x="639" y="58"/>
                </a:cubicBezTo>
                <a:cubicBezTo>
                  <a:pt x="639" y="60"/>
                  <a:pt x="639" y="62"/>
                  <a:pt x="639" y="63"/>
                </a:cubicBezTo>
                <a:cubicBezTo>
                  <a:pt x="638" y="63"/>
                  <a:pt x="637" y="64"/>
                  <a:pt x="635" y="64"/>
                </a:cubicBezTo>
                <a:cubicBezTo>
                  <a:pt x="634" y="65"/>
                  <a:pt x="633" y="67"/>
                  <a:pt x="634" y="68"/>
                </a:cubicBezTo>
                <a:cubicBezTo>
                  <a:pt x="635" y="70"/>
                  <a:pt x="637" y="72"/>
                  <a:pt x="638" y="74"/>
                </a:cubicBezTo>
                <a:cubicBezTo>
                  <a:pt x="640" y="75"/>
                  <a:pt x="642" y="75"/>
                  <a:pt x="643" y="73"/>
                </a:cubicBezTo>
                <a:cubicBezTo>
                  <a:pt x="644" y="72"/>
                  <a:pt x="644" y="72"/>
                  <a:pt x="645" y="71"/>
                </a:cubicBezTo>
                <a:cubicBezTo>
                  <a:pt x="647" y="70"/>
                  <a:pt x="648" y="68"/>
                  <a:pt x="650" y="67"/>
                </a:cubicBezTo>
                <a:cubicBezTo>
                  <a:pt x="654" y="63"/>
                  <a:pt x="656" y="57"/>
                  <a:pt x="658" y="51"/>
                </a:cubicBezTo>
                <a:cubicBezTo>
                  <a:pt x="658" y="51"/>
                  <a:pt x="657" y="50"/>
                  <a:pt x="657" y="49"/>
                </a:cubicBezTo>
                <a:cubicBezTo>
                  <a:pt x="656" y="48"/>
                  <a:pt x="655" y="47"/>
                  <a:pt x="653" y="47"/>
                </a:cubicBezTo>
                <a:close/>
                <a:moveTo>
                  <a:pt x="606" y="53"/>
                </a:moveTo>
                <a:cubicBezTo>
                  <a:pt x="606" y="54"/>
                  <a:pt x="604" y="55"/>
                  <a:pt x="603" y="56"/>
                </a:cubicBezTo>
                <a:cubicBezTo>
                  <a:pt x="602" y="56"/>
                  <a:pt x="602" y="57"/>
                  <a:pt x="602" y="58"/>
                </a:cubicBezTo>
                <a:cubicBezTo>
                  <a:pt x="602" y="61"/>
                  <a:pt x="606" y="65"/>
                  <a:pt x="609" y="64"/>
                </a:cubicBezTo>
                <a:cubicBezTo>
                  <a:pt x="611" y="64"/>
                  <a:pt x="612" y="63"/>
                  <a:pt x="611" y="62"/>
                </a:cubicBezTo>
                <a:cubicBezTo>
                  <a:pt x="609" y="59"/>
                  <a:pt x="608" y="56"/>
                  <a:pt x="606" y="53"/>
                </a:cubicBezTo>
                <a:close/>
                <a:moveTo>
                  <a:pt x="659" y="55"/>
                </a:moveTo>
                <a:cubicBezTo>
                  <a:pt x="657" y="60"/>
                  <a:pt x="654" y="64"/>
                  <a:pt x="652" y="68"/>
                </a:cubicBezTo>
                <a:cubicBezTo>
                  <a:pt x="655" y="68"/>
                  <a:pt x="657" y="69"/>
                  <a:pt x="660" y="68"/>
                </a:cubicBezTo>
                <a:cubicBezTo>
                  <a:pt x="660" y="68"/>
                  <a:pt x="660" y="67"/>
                  <a:pt x="660" y="67"/>
                </a:cubicBezTo>
                <a:cubicBezTo>
                  <a:pt x="660" y="64"/>
                  <a:pt x="660" y="62"/>
                  <a:pt x="660" y="59"/>
                </a:cubicBezTo>
                <a:cubicBezTo>
                  <a:pt x="660" y="58"/>
                  <a:pt x="659" y="57"/>
                  <a:pt x="659" y="55"/>
                </a:cubicBezTo>
                <a:close/>
                <a:moveTo>
                  <a:pt x="606" y="35"/>
                </a:moveTo>
                <a:cubicBezTo>
                  <a:pt x="606" y="35"/>
                  <a:pt x="605" y="36"/>
                  <a:pt x="604" y="36"/>
                </a:cubicBezTo>
                <a:cubicBezTo>
                  <a:pt x="604" y="36"/>
                  <a:pt x="603" y="36"/>
                  <a:pt x="603" y="35"/>
                </a:cubicBezTo>
                <a:cubicBezTo>
                  <a:pt x="602" y="35"/>
                  <a:pt x="602" y="34"/>
                  <a:pt x="602" y="33"/>
                </a:cubicBezTo>
                <a:cubicBezTo>
                  <a:pt x="603" y="31"/>
                  <a:pt x="603" y="29"/>
                  <a:pt x="604" y="27"/>
                </a:cubicBezTo>
                <a:cubicBezTo>
                  <a:pt x="604" y="27"/>
                  <a:pt x="604" y="27"/>
                  <a:pt x="603" y="27"/>
                </a:cubicBezTo>
                <a:cubicBezTo>
                  <a:pt x="602" y="28"/>
                  <a:pt x="601" y="29"/>
                  <a:pt x="600" y="30"/>
                </a:cubicBezTo>
                <a:cubicBezTo>
                  <a:pt x="600" y="31"/>
                  <a:pt x="601" y="36"/>
                  <a:pt x="603" y="37"/>
                </a:cubicBezTo>
                <a:cubicBezTo>
                  <a:pt x="604" y="38"/>
                  <a:pt x="606" y="37"/>
                  <a:pt x="606" y="35"/>
                </a:cubicBezTo>
                <a:close/>
                <a:moveTo>
                  <a:pt x="606" y="53"/>
                </a:moveTo>
                <a:cubicBezTo>
                  <a:pt x="605" y="54"/>
                  <a:pt x="604" y="55"/>
                  <a:pt x="603" y="56"/>
                </a:cubicBezTo>
                <a:cubicBezTo>
                  <a:pt x="602" y="56"/>
                  <a:pt x="602" y="57"/>
                  <a:pt x="602" y="58"/>
                </a:cubicBezTo>
                <a:cubicBezTo>
                  <a:pt x="602" y="61"/>
                  <a:pt x="606" y="65"/>
                  <a:pt x="609" y="65"/>
                </a:cubicBezTo>
                <a:cubicBezTo>
                  <a:pt x="611" y="65"/>
                  <a:pt x="612" y="64"/>
                  <a:pt x="611" y="62"/>
                </a:cubicBezTo>
                <a:cubicBezTo>
                  <a:pt x="609" y="59"/>
                  <a:pt x="608" y="56"/>
                  <a:pt x="606" y="53"/>
                </a:cubicBezTo>
                <a:close/>
                <a:moveTo>
                  <a:pt x="659" y="55"/>
                </a:moveTo>
                <a:cubicBezTo>
                  <a:pt x="656" y="60"/>
                  <a:pt x="654" y="64"/>
                  <a:pt x="652" y="69"/>
                </a:cubicBezTo>
                <a:cubicBezTo>
                  <a:pt x="654" y="69"/>
                  <a:pt x="657" y="69"/>
                  <a:pt x="660" y="69"/>
                </a:cubicBezTo>
                <a:cubicBezTo>
                  <a:pt x="660" y="69"/>
                  <a:pt x="660" y="67"/>
                  <a:pt x="660" y="67"/>
                </a:cubicBezTo>
                <a:cubicBezTo>
                  <a:pt x="660" y="64"/>
                  <a:pt x="660" y="62"/>
                  <a:pt x="660" y="59"/>
                </a:cubicBezTo>
                <a:cubicBezTo>
                  <a:pt x="660" y="58"/>
                  <a:pt x="659" y="57"/>
                  <a:pt x="659" y="55"/>
                </a:cubicBezTo>
                <a:close/>
                <a:moveTo>
                  <a:pt x="606" y="35"/>
                </a:moveTo>
                <a:cubicBezTo>
                  <a:pt x="605" y="35"/>
                  <a:pt x="605" y="36"/>
                  <a:pt x="604" y="36"/>
                </a:cubicBezTo>
                <a:cubicBezTo>
                  <a:pt x="603" y="36"/>
                  <a:pt x="603" y="36"/>
                  <a:pt x="603" y="35"/>
                </a:cubicBezTo>
                <a:cubicBezTo>
                  <a:pt x="602" y="35"/>
                  <a:pt x="602" y="34"/>
                  <a:pt x="602" y="33"/>
                </a:cubicBezTo>
                <a:cubicBezTo>
                  <a:pt x="603" y="31"/>
                  <a:pt x="603" y="29"/>
                  <a:pt x="604" y="27"/>
                </a:cubicBezTo>
                <a:cubicBezTo>
                  <a:pt x="603" y="27"/>
                  <a:pt x="603" y="27"/>
                  <a:pt x="603" y="27"/>
                </a:cubicBezTo>
                <a:cubicBezTo>
                  <a:pt x="602" y="28"/>
                  <a:pt x="601" y="29"/>
                  <a:pt x="600" y="30"/>
                </a:cubicBezTo>
                <a:cubicBezTo>
                  <a:pt x="599" y="31"/>
                  <a:pt x="601" y="37"/>
                  <a:pt x="603" y="37"/>
                </a:cubicBezTo>
                <a:cubicBezTo>
                  <a:pt x="604" y="38"/>
                  <a:pt x="606" y="37"/>
                  <a:pt x="606" y="35"/>
                </a:cubicBezTo>
                <a:close/>
                <a:moveTo>
                  <a:pt x="658" y="27"/>
                </a:moveTo>
                <a:cubicBezTo>
                  <a:pt x="661" y="23"/>
                  <a:pt x="661" y="23"/>
                  <a:pt x="665" y="22"/>
                </a:cubicBezTo>
                <a:cubicBezTo>
                  <a:pt x="665" y="24"/>
                  <a:pt x="666" y="25"/>
                  <a:pt x="668" y="25"/>
                </a:cubicBezTo>
                <a:cubicBezTo>
                  <a:pt x="666" y="26"/>
                  <a:pt x="664" y="28"/>
                  <a:pt x="662" y="29"/>
                </a:cubicBezTo>
                <a:cubicBezTo>
                  <a:pt x="661" y="28"/>
                  <a:pt x="661" y="28"/>
                  <a:pt x="660" y="26"/>
                </a:cubicBezTo>
                <a:cubicBezTo>
                  <a:pt x="660" y="26"/>
                  <a:pt x="659" y="26"/>
                  <a:pt x="658" y="27"/>
                </a:cubicBezTo>
                <a:close/>
                <a:moveTo>
                  <a:pt x="664" y="26"/>
                </a:moveTo>
                <a:cubicBezTo>
                  <a:pt x="663" y="26"/>
                  <a:pt x="663" y="26"/>
                  <a:pt x="662" y="26"/>
                </a:cubicBezTo>
                <a:cubicBezTo>
                  <a:pt x="662" y="26"/>
                  <a:pt x="661" y="26"/>
                  <a:pt x="661" y="27"/>
                </a:cubicBezTo>
                <a:cubicBezTo>
                  <a:pt x="661" y="27"/>
                  <a:pt x="661" y="28"/>
                  <a:pt x="662" y="28"/>
                </a:cubicBezTo>
                <a:cubicBezTo>
                  <a:pt x="663" y="28"/>
                  <a:pt x="663" y="27"/>
                  <a:pt x="664" y="26"/>
                </a:cubicBezTo>
                <a:close/>
                <a:moveTo>
                  <a:pt x="645" y="17"/>
                </a:moveTo>
                <a:cubicBezTo>
                  <a:pt x="639" y="16"/>
                  <a:pt x="636" y="19"/>
                  <a:pt x="635" y="26"/>
                </a:cubicBezTo>
                <a:cubicBezTo>
                  <a:pt x="636" y="24"/>
                  <a:pt x="637" y="22"/>
                  <a:pt x="638" y="20"/>
                </a:cubicBezTo>
                <a:cubicBezTo>
                  <a:pt x="639" y="20"/>
                  <a:pt x="639" y="20"/>
                  <a:pt x="639" y="20"/>
                </a:cubicBezTo>
                <a:cubicBezTo>
                  <a:pt x="639" y="21"/>
                  <a:pt x="639" y="22"/>
                  <a:pt x="639" y="22"/>
                </a:cubicBezTo>
                <a:cubicBezTo>
                  <a:pt x="640" y="19"/>
                  <a:pt x="642" y="17"/>
                  <a:pt x="645" y="17"/>
                </a:cubicBezTo>
                <a:close/>
                <a:moveTo>
                  <a:pt x="689" y="18"/>
                </a:moveTo>
                <a:cubicBezTo>
                  <a:pt x="687" y="19"/>
                  <a:pt x="685" y="21"/>
                  <a:pt x="684" y="22"/>
                </a:cubicBezTo>
                <a:cubicBezTo>
                  <a:pt x="686" y="23"/>
                  <a:pt x="688" y="21"/>
                  <a:pt x="689" y="18"/>
                </a:cubicBezTo>
                <a:close/>
                <a:moveTo>
                  <a:pt x="656" y="21"/>
                </a:moveTo>
                <a:cubicBezTo>
                  <a:pt x="657" y="19"/>
                  <a:pt x="658" y="18"/>
                  <a:pt x="659" y="17"/>
                </a:cubicBezTo>
                <a:cubicBezTo>
                  <a:pt x="656" y="18"/>
                  <a:pt x="656" y="19"/>
                  <a:pt x="656" y="21"/>
                </a:cubicBezTo>
                <a:close/>
                <a:moveTo>
                  <a:pt x="666" y="42"/>
                </a:moveTo>
                <a:cubicBezTo>
                  <a:pt x="664" y="42"/>
                  <a:pt x="663" y="43"/>
                  <a:pt x="663" y="44"/>
                </a:cubicBezTo>
                <a:cubicBezTo>
                  <a:pt x="664" y="43"/>
                  <a:pt x="665" y="42"/>
                  <a:pt x="666" y="42"/>
                </a:cubicBezTo>
                <a:close/>
                <a:moveTo>
                  <a:pt x="665" y="26"/>
                </a:moveTo>
                <a:cubicBezTo>
                  <a:pt x="664" y="26"/>
                  <a:pt x="663" y="25"/>
                  <a:pt x="663" y="25"/>
                </a:cubicBezTo>
                <a:cubicBezTo>
                  <a:pt x="662" y="25"/>
                  <a:pt x="661" y="26"/>
                  <a:pt x="661" y="27"/>
                </a:cubicBezTo>
                <a:cubicBezTo>
                  <a:pt x="661" y="27"/>
                  <a:pt x="662" y="27"/>
                  <a:pt x="662" y="28"/>
                </a:cubicBezTo>
                <a:cubicBezTo>
                  <a:pt x="663" y="27"/>
                  <a:pt x="663" y="27"/>
                  <a:pt x="665" y="26"/>
                </a:cubicBezTo>
                <a:close/>
                <a:moveTo>
                  <a:pt x="1318" y="4"/>
                </a:moveTo>
                <a:cubicBezTo>
                  <a:pt x="1318" y="4"/>
                  <a:pt x="1318" y="4"/>
                  <a:pt x="1318" y="4"/>
                </a:cubicBezTo>
                <a:cubicBezTo>
                  <a:pt x="1313" y="4"/>
                  <a:pt x="1313" y="4"/>
                  <a:pt x="1313" y="4"/>
                </a:cubicBezTo>
                <a:cubicBezTo>
                  <a:pt x="1311" y="5"/>
                  <a:pt x="1310" y="7"/>
                  <a:pt x="1307" y="7"/>
                </a:cubicBezTo>
                <a:cubicBezTo>
                  <a:pt x="1306" y="9"/>
                  <a:pt x="1304" y="10"/>
                  <a:pt x="1302" y="10"/>
                </a:cubicBezTo>
                <a:cubicBezTo>
                  <a:pt x="1301" y="12"/>
                  <a:pt x="1298" y="12"/>
                  <a:pt x="1297" y="13"/>
                </a:cubicBezTo>
                <a:cubicBezTo>
                  <a:pt x="1295" y="14"/>
                  <a:pt x="1293" y="15"/>
                  <a:pt x="1291" y="15"/>
                </a:cubicBezTo>
                <a:cubicBezTo>
                  <a:pt x="1291" y="15"/>
                  <a:pt x="1291" y="15"/>
                  <a:pt x="1291" y="25"/>
                </a:cubicBezTo>
                <a:cubicBezTo>
                  <a:pt x="1294" y="24"/>
                  <a:pt x="1297" y="23"/>
                  <a:pt x="1300" y="22"/>
                </a:cubicBezTo>
                <a:cubicBezTo>
                  <a:pt x="1302" y="21"/>
                  <a:pt x="1304" y="20"/>
                  <a:pt x="1307" y="18"/>
                </a:cubicBezTo>
                <a:cubicBezTo>
                  <a:pt x="1307" y="18"/>
                  <a:pt x="1307" y="18"/>
                  <a:pt x="1307" y="77"/>
                </a:cubicBezTo>
                <a:cubicBezTo>
                  <a:pt x="1307" y="77"/>
                  <a:pt x="1307" y="77"/>
                  <a:pt x="1318" y="77"/>
                </a:cubicBezTo>
                <a:cubicBezTo>
                  <a:pt x="1318" y="77"/>
                  <a:pt x="1318" y="77"/>
                  <a:pt x="1318" y="4"/>
                </a:cubicBezTo>
                <a:close/>
                <a:moveTo>
                  <a:pt x="1366" y="4"/>
                </a:moveTo>
                <a:cubicBezTo>
                  <a:pt x="1366" y="4"/>
                  <a:pt x="1366" y="4"/>
                  <a:pt x="1366" y="4"/>
                </a:cubicBezTo>
                <a:cubicBezTo>
                  <a:pt x="1361" y="4"/>
                  <a:pt x="1361" y="4"/>
                  <a:pt x="1361" y="4"/>
                </a:cubicBezTo>
                <a:cubicBezTo>
                  <a:pt x="1359" y="5"/>
                  <a:pt x="1357" y="7"/>
                  <a:pt x="1355" y="7"/>
                </a:cubicBezTo>
                <a:cubicBezTo>
                  <a:pt x="1353" y="9"/>
                  <a:pt x="1351" y="10"/>
                  <a:pt x="1350" y="10"/>
                </a:cubicBezTo>
                <a:cubicBezTo>
                  <a:pt x="1348" y="12"/>
                  <a:pt x="1346" y="12"/>
                  <a:pt x="1344" y="13"/>
                </a:cubicBezTo>
                <a:cubicBezTo>
                  <a:pt x="1342" y="14"/>
                  <a:pt x="1341" y="15"/>
                  <a:pt x="1339" y="15"/>
                </a:cubicBezTo>
                <a:cubicBezTo>
                  <a:pt x="1339" y="15"/>
                  <a:pt x="1339" y="15"/>
                  <a:pt x="1339" y="25"/>
                </a:cubicBezTo>
                <a:cubicBezTo>
                  <a:pt x="1342" y="24"/>
                  <a:pt x="1344" y="23"/>
                  <a:pt x="1347" y="22"/>
                </a:cubicBezTo>
                <a:cubicBezTo>
                  <a:pt x="1350" y="21"/>
                  <a:pt x="1352" y="20"/>
                  <a:pt x="1354" y="18"/>
                </a:cubicBezTo>
                <a:cubicBezTo>
                  <a:pt x="1354" y="18"/>
                  <a:pt x="1354" y="18"/>
                  <a:pt x="1354" y="77"/>
                </a:cubicBezTo>
                <a:cubicBezTo>
                  <a:pt x="1354" y="77"/>
                  <a:pt x="1354" y="77"/>
                  <a:pt x="1366" y="77"/>
                </a:cubicBezTo>
                <a:cubicBezTo>
                  <a:pt x="1366" y="77"/>
                  <a:pt x="1366" y="77"/>
                  <a:pt x="1366" y="4"/>
                </a:cubicBezTo>
                <a:close/>
                <a:moveTo>
                  <a:pt x="1412" y="4"/>
                </a:moveTo>
                <a:cubicBezTo>
                  <a:pt x="1412" y="4"/>
                  <a:pt x="1412" y="4"/>
                  <a:pt x="1412" y="4"/>
                </a:cubicBezTo>
                <a:cubicBezTo>
                  <a:pt x="1408" y="4"/>
                  <a:pt x="1408" y="4"/>
                  <a:pt x="1408" y="4"/>
                </a:cubicBezTo>
                <a:cubicBezTo>
                  <a:pt x="1406" y="5"/>
                  <a:pt x="1404" y="7"/>
                  <a:pt x="1402" y="7"/>
                </a:cubicBezTo>
                <a:cubicBezTo>
                  <a:pt x="1401" y="9"/>
                  <a:pt x="1399" y="10"/>
                  <a:pt x="1397" y="10"/>
                </a:cubicBezTo>
                <a:cubicBezTo>
                  <a:pt x="1395" y="11"/>
                  <a:pt x="1393" y="12"/>
                  <a:pt x="1391" y="12"/>
                </a:cubicBezTo>
                <a:cubicBezTo>
                  <a:pt x="1390" y="13"/>
                  <a:pt x="1388" y="14"/>
                  <a:pt x="1386" y="15"/>
                </a:cubicBezTo>
                <a:cubicBezTo>
                  <a:pt x="1386" y="15"/>
                  <a:pt x="1386" y="15"/>
                  <a:pt x="1386" y="25"/>
                </a:cubicBezTo>
                <a:cubicBezTo>
                  <a:pt x="1389" y="24"/>
                  <a:pt x="1392" y="23"/>
                  <a:pt x="1394" y="22"/>
                </a:cubicBezTo>
                <a:cubicBezTo>
                  <a:pt x="1396" y="21"/>
                  <a:pt x="1399" y="20"/>
                  <a:pt x="1401" y="18"/>
                </a:cubicBezTo>
                <a:cubicBezTo>
                  <a:pt x="1401" y="18"/>
                  <a:pt x="1401" y="18"/>
                  <a:pt x="1401" y="77"/>
                </a:cubicBezTo>
                <a:cubicBezTo>
                  <a:pt x="1401" y="77"/>
                  <a:pt x="1401" y="77"/>
                  <a:pt x="1412" y="77"/>
                </a:cubicBezTo>
                <a:cubicBezTo>
                  <a:pt x="1412" y="77"/>
                  <a:pt x="1412" y="77"/>
                  <a:pt x="1412" y="4"/>
                </a:cubicBezTo>
                <a:close/>
                <a:moveTo>
                  <a:pt x="47" y="3"/>
                </a:moveTo>
                <a:cubicBezTo>
                  <a:pt x="47" y="3"/>
                  <a:pt x="47" y="3"/>
                  <a:pt x="47" y="3"/>
                </a:cubicBezTo>
                <a:cubicBezTo>
                  <a:pt x="42" y="3"/>
                  <a:pt x="42" y="3"/>
                  <a:pt x="42" y="3"/>
                </a:cubicBezTo>
                <a:cubicBezTo>
                  <a:pt x="40" y="5"/>
                  <a:pt x="38" y="6"/>
                  <a:pt x="36" y="7"/>
                </a:cubicBezTo>
                <a:cubicBezTo>
                  <a:pt x="35" y="8"/>
                  <a:pt x="32" y="9"/>
                  <a:pt x="31" y="10"/>
                </a:cubicBezTo>
                <a:cubicBezTo>
                  <a:pt x="29" y="11"/>
                  <a:pt x="27" y="12"/>
                  <a:pt x="26" y="13"/>
                </a:cubicBezTo>
                <a:cubicBezTo>
                  <a:pt x="24" y="13"/>
                  <a:pt x="22" y="14"/>
                  <a:pt x="20" y="14"/>
                </a:cubicBezTo>
                <a:cubicBezTo>
                  <a:pt x="20" y="14"/>
                  <a:pt x="20" y="14"/>
                  <a:pt x="20" y="24"/>
                </a:cubicBezTo>
                <a:cubicBezTo>
                  <a:pt x="23" y="23"/>
                  <a:pt x="26" y="23"/>
                  <a:pt x="28" y="21"/>
                </a:cubicBezTo>
                <a:cubicBezTo>
                  <a:pt x="31" y="21"/>
                  <a:pt x="33" y="19"/>
                  <a:pt x="35" y="18"/>
                </a:cubicBezTo>
                <a:cubicBezTo>
                  <a:pt x="35" y="18"/>
                  <a:pt x="35" y="18"/>
                  <a:pt x="35" y="76"/>
                </a:cubicBezTo>
                <a:cubicBezTo>
                  <a:pt x="35" y="76"/>
                  <a:pt x="35" y="76"/>
                  <a:pt x="47" y="76"/>
                </a:cubicBezTo>
                <a:cubicBezTo>
                  <a:pt x="47" y="76"/>
                  <a:pt x="47" y="76"/>
                  <a:pt x="47" y="3"/>
                </a:cubicBezTo>
                <a:close/>
                <a:moveTo>
                  <a:pt x="2026" y="1078"/>
                </a:moveTo>
                <a:cubicBezTo>
                  <a:pt x="2019" y="1078"/>
                  <a:pt x="2012" y="1075"/>
                  <a:pt x="2008" y="1069"/>
                </a:cubicBezTo>
                <a:cubicBezTo>
                  <a:pt x="2004" y="1063"/>
                  <a:pt x="2002" y="1054"/>
                  <a:pt x="2002" y="1042"/>
                </a:cubicBezTo>
                <a:cubicBezTo>
                  <a:pt x="2002" y="1028"/>
                  <a:pt x="2004" y="1019"/>
                  <a:pt x="2009" y="1012"/>
                </a:cubicBezTo>
                <a:cubicBezTo>
                  <a:pt x="2013" y="1006"/>
                  <a:pt x="2019" y="1002"/>
                  <a:pt x="2028" y="1002"/>
                </a:cubicBezTo>
                <a:cubicBezTo>
                  <a:pt x="2044" y="1002"/>
                  <a:pt x="2052" y="1015"/>
                  <a:pt x="2052" y="1040"/>
                </a:cubicBezTo>
                <a:cubicBezTo>
                  <a:pt x="2052" y="1052"/>
                  <a:pt x="2050" y="1062"/>
                  <a:pt x="2045" y="1068"/>
                </a:cubicBezTo>
                <a:cubicBezTo>
                  <a:pt x="2041" y="1075"/>
                  <a:pt x="2034" y="1078"/>
                  <a:pt x="2026" y="1078"/>
                </a:cubicBezTo>
                <a:close/>
                <a:moveTo>
                  <a:pt x="2027" y="1012"/>
                </a:moveTo>
                <a:cubicBezTo>
                  <a:pt x="2018" y="1012"/>
                  <a:pt x="2014" y="1022"/>
                  <a:pt x="2014" y="1042"/>
                </a:cubicBezTo>
                <a:cubicBezTo>
                  <a:pt x="2014" y="1060"/>
                  <a:pt x="2018" y="1068"/>
                  <a:pt x="2027" y="1068"/>
                </a:cubicBezTo>
                <a:cubicBezTo>
                  <a:pt x="2036" y="1068"/>
                  <a:pt x="2040" y="1060"/>
                  <a:pt x="2040" y="1041"/>
                </a:cubicBezTo>
                <a:cubicBezTo>
                  <a:pt x="2040" y="1021"/>
                  <a:pt x="2036" y="1012"/>
                  <a:pt x="2027" y="1012"/>
                </a:cubicBezTo>
                <a:close/>
                <a:moveTo>
                  <a:pt x="2100" y="1005"/>
                </a:moveTo>
                <a:cubicBezTo>
                  <a:pt x="2100" y="1005"/>
                  <a:pt x="2100" y="1005"/>
                  <a:pt x="2100" y="1005"/>
                </a:cubicBezTo>
                <a:cubicBezTo>
                  <a:pt x="2095" y="1005"/>
                  <a:pt x="2095" y="1005"/>
                  <a:pt x="2095" y="1005"/>
                </a:cubicBezTo>
                <a:cubicBezTo>
                  <a:pt x="2093" y="1006"/>
                  <a:pt x="2091" y="1007"/>
                  <a:pt x="2089" y="1008"/>
                </a:cubicBezTo>
                <a:cubicBezTo>
                  <a:pt x="2088" y="1010"/>
                  <a:pt x="2085" y="1010"/>
                  <a:pt x="2084" y="1011"/>
                </a:cubicBezTo>
                <a:cubicBezTo>
                  <a:pt x="2082" y="1012"/>
                  <a:pt x="2080" y="1013"/>
                  <a:pt x="2079" y="1013"/>
                </a:cubicBezTo>
                <a:cubicBezTo>
                  <a:pt x="2077" y="1014"/>
                  <a:pt x="2075" y="1015"/>
                  <a:pt x="2073" y="1015"/>
                </a:cubicBezTo>
                <a:cubicBezTo>
                  <a:pt x="2073" y="1015"/>
                  <a:pt x="2073" y="1015"/>
                  <a:pt x="2073" y="1026"/>
                </a:cubicBezTo>
                <a:cubicBezTo>
                  <a:pt x="2076" y="1025"/>
                  <a:pt x="2079" y="1023"/>
                  <a:pt x="2081" y="1023"/>
                </a:cubicBezTo>
                <a:cubicBezTo>
                  <a:pt x="2084" y="1022"/>
                  <a:pt x="2086" y="1021"/>
                  <a:pt x="2088" y="1019"/>
                </a:cubicBezTo>
                <a:cubicBezTo>
                  <a:pt x="2088" y="1019"/>
                  <a:pt x="2088" y="1019"/>
                  <a:pt x="2088" y="1078"/>
                </a:cubicBezTo>
                <a:cubicBezTo>
                  <a:pt x="2088" y="1078"/>
                  <a:pt x="2088" y="1078"/>
                  <a:pt x="2100" y="1078"/>
                </a:cubicBezTo>
                <a:cubicBezTo>
                  <a:pt x="2100" y="1078"/>
                  <a:pt x="2100" y="1078"/>
                  <a:pt x="2100" y="1005"/>
                </a:cubicBezTo>
                <a:close/>
                <a:moveTo>
                  <a:pt x="2147" y="1005"/>
                </a:moveTo>
                <a:cubicBezTo>
                  <a:pt x="2147" y="1005"/>
                  <a:pt x="2147" y="1005"/>
                  <a:pt x="2147" y="1005"/>
                </a:cubicBezTo>
                <a:cubicBezTo>
                  <a:pt x="2142" y="1005"/>
                  <a:pt x="2142" y="1005"/>
                  <a:pt x="2142" y="1005"/>
                </a:cubicBezTo>
                <a:cubicBezTo>
                  <a:pt x="2140" y="1006"/>
                  <a:pt x="2138" y="1007"/>
                  <a:pt x="2136" y="1008"/>
                </a:cubicBezTo>
                <a:cubicBezTo>
                  <a:pt x="2135" y="1010"/>
                  <a:pt x="2133" y="1010"/>
                  <a:pt x="2131" y="1011"/>
                </a:cubicBezTo>
                <a:cubicBezTo>
                  <a:pt x="2130" y="1013"/>
                  <a:pt x="2128" y="1013"/>
                  <a:pt x="2126" y="1014"/>
                </a:cubicBezTo>
                <a:cubicBezTo>
                  <a:pt x="2124" y="1015"/>
                  <a:pt x="2123" y="1015"/>
                  <a:pt x="2120" y="1015"/>
                </a:cubicBezTo>
                <a:cubicBezTo>
                  <a:pt x="2120" y="1015"/>
                  <a:pt x="2120" y="1015"/>
                  <a:pt x="2120" y="1026"/>
                </a:cubicBezTo>
                <a:cubicBezTo>
                  <a:pt x="2123" y="1025"/>
                  <a:pt x="2126" y="1024"/>
                  <a:pt x="2128" y="1023"/>
                </a:cubicBezTo>
                <a:cubicBezTo>
                  <a:pt x="2131" y="1022"/>
                  <a:pt x="2133" y="1021"/>
                  <a:pt x="2135" y="1019"/>
                </a:cubicBezTo>
                <a:cubicBezTo>
                  <a:pt x="2135" y="1019"/>
                  <a:pt x="2135" y="1019"/>
                  <a:pt x="2135" y="1078"/>
                </a:cubicBezTo>
                <a:cubicBezTo>
                  <a:pt x="2135" y="1078"/>
                  <a:pt x="2135" y="1078"/>
                  <a:pt x="2147" y="1078"/>
                </a:cubicBezTo>
                <a:cubicBezTo>
                  <a:pt x="2147" y="1078"/>
                  <a:pt x="2147" y="1078"/>
                  <a:pt x="2147" y="1005"/>
                </a:cubicBezTo>
                <a:close/>
                <a:moveTo>
                  <a:pt x="2193" y="1005"/>
                </a:moveTo>
                <a:cubicBezTo>
                  <a:pt x="2193" y="1005"/>
                  <a:pt x="2193" y="1005"/>
                  <a:pt x="2193" y="1005"/>
                </a:cubicBezTo>
                <a:cubicBezTo>
                  <a:pt x="2189" y="1005"/>
                  <a:pt x="2189" y="1005"/>
                  <a:pt x="2189" y="1005"/>
                </a:cubicBezTo>
                <a:cubicBezTo>
                  <a:pt x="2187" y="1006"/>
                  <a:pt x="2186" y="1007"/>
                  <a:pt x="2183" y="1008"/>
                </a:cubicBezTo>
                <a:cubicBezTo>
                  <a:pt x="2182" y="1010"/>
                  <a:pt x="2180" y="1010"/>
                  <a:pt x="2178" y="1011"/>
                </a:cubicBezTo>
                <a:cubicBezTo>
                  <a:pt x="2176" y="1013"/>
                  <a:pt x="2175" y="1013"/>
                  <a:pt x="2173" y="1014"/>
                </a:cubicBezTo>
                <a:cubicBezTo>
                  <a:pt x="2171" y="1015"/>
                  <a:pt x="2169" y="1015"/>
                  <a:pt x="2168" y="1015"/>
                </a:cubicBezTo>
                <a:cubicBezTo>
                  <a:pt x="2168" y="1015"/>
                  <a:pt x="2168" y="1015"/>
                  <a:pt x="2168" y="1026"/>
                </a:cubicBezTo>
                <a:cubicBezTo>
                  <a:pt x="2170" y="1025"/>
                  <a:pt x="2173" y="1024"/>
                  <a:pt x="2175" y="1023"/>
                </a:cubicBezTo>
                <a:cubicBezTo>
                  <a:pt x="2178" y="1022"/>
                  <a:pt x="2180" y="1021"/>
                  <a:pt x="2182" y="1019"/>
                </a:cubicBezTo>
                <a:cubicBezTo>
                  <a:pt x="2182" y="1019"/>
                  <a:pt x="2182" y="1019"/>
                  <a:pt x="2182" y="1078"/>
                </a:cubicBezTo>
                <a:cubicBezTo>
                  <a:pt x="2182" y="1078"/>
                  <a:pt x="2182" y="1078"/>
                  <a:pt x="2193" y="1078"/>
                </a:cubicBezTo>
                <a:cubicBezTo>
                  <a:pt x="2193" y="1078"/>
                  <a:pt x="2193" y="1078"/>
                  <a:pt x="2193" y="1005"/>
                </a:cubicBezTo>
                <a:close/>
                <a:moveTo>
                  <a:pt x="2241" y="1005"/>
                </a:moveTo>
                <a:cubicBezTo>
                  <a:pt x="2241" y="1005"/>
                  <a:pt x="2241" y="1005"/>
                  <a:pt x="2241" y="1005"/>
                </a:cubicBezTo>
                <a:cubicBezTo>
                  <a:pt x="2236" y="1005"/>
                  <a:pt x="2236" y="1005"/>
                  <a:pt x="2236" y="1005"/>
                </a:cubicBezTo>
                <a:cubicBezTo>
                  <a:pt x="2234" y="1006"/>
                  <a:pt x="2232" y="1007"/>
                  <a:pt x="2230" y="1008"/>
                </a:cubicBezTo>
                <a:cubicBezTo>
                  <a:pt x="2228" y="1010"/>
                  <a:pt x="2227" y="1010"/>
                  <a:pt x="2225" y="1011"/>
                </a:cubicBezTo>
                <a:cubicBezTo>
                  <a:pt x="2223" y="1013"/>
                  <a:pt x="2221" y="1013"/>
                  <a:pt x="2220" y="1014"/>
                </a:cubicBezTo>
                <a:cubicBezTo>
                  <a:pt x="2217" y="1015"/>
                  <a:pt x="2216" y="1015"/>
                  <a:pt x="2214" y="1015"/>
                </a:cubicBezTo>
                <a:cubicBezTo>
                  <a:pt x="2214" y="1015"/>
                  <a:pt x="2214" y="1015"/>
                  <a:pt x="2214" y="1026"/>
                </a:cubicBezTo>
                <a:cubicBezTo>
                  <a:pt x="2217" y="1025"/>
                  <a:pt x="2220" y="1024"/>
                  <a:pt x="2222" y="1023"/>
                </a:cubicBezTo>
                <a:cubicBezTo>
                  <a:pt x="2225" y="1022"/>
                  <a:pt x="2227" y="1021"/>
                  <a:pt x="2229" y="1019"/>
                </a:cubicBezTo>
                <a:cubicBezTo>
                  <a:pt x="2229" y="1019"/>
                  <a:pt x="2229" y="1019"/>
                  <a:pt x="2229" y="1078"/>
                </a:cubicBezTo>
                <a:cubicBezTo>
                  <a:pt x="2229" y="1078"/>
                  <a:pt x="2229" y="1078"/>
                  <a:pt x="2241" y="1078"/>
                </a:cubicBezTo>
                <a:cubicBezTo>
                  <a:pt x="2241" y="1078"/>
                  <a:pt x="2241" y="1078"/>
                  <a:pt x="2241" y="1005"/>
                </a:cubicBezTo>
                <a:close/>
                <a:moveTo>
                  <a:pt x="2364" y="1005"/>
                </a:moveTo>
                <a:cubicBezTo>
                  <a:pt x="2364" y="1005"/>
                  <a:pt x="2364" y="1005"/>
                  <a:pt x="2364" y="1005"/>
                </a:cubicBezTo>
                <a:cubicBezTo>
                  <a:pt x="2359" y="1005"/>
                  <a:pt x="2359" y="1005"/>
                  <a:pt x="2359" y="1005"/>
                </a:cubicBezTo>
                <a:cubicBezTo>
                  <a:pt x="2357" y="1006"/>
                  <a:pt x="2355" y="1007"/>
                  <a:pt x="2353" y="1008"/>
                </a:cubicBezTo>
                <a:cubicBezTo>
                  <a:pt x="2352" y="1010"/>
                  <a:pt x="2350" y="1010"/>
                  <a:pt x="2348" y="1011"/>
                </a:cubicBezTo>
                <a:cubicBezTo>
                  <a:pt x="2346" y="1013"/>
                  <a:pt x="2344" y="1013"/>
                  <a:pt x="2343" y="1014"/>
                </a:cubicBezTo>
                <a:cubicBezTo>
                  <a:pt x="2341" y="1015"/>
                  <a:pt x="2339" y="1015"/>
                  <a:pt x="2337" y="1015"/>
                </a:cubicBezTo>
                <a:cubicBezTo>
                  <a:pt x="2337" y="1015"/>
                  <a:pt x="2337" y="1015"/>
                  <a:pt x="2337" y="1026"/>
                </a:cubicBezTo>
                <a:cubicBezTo>
                  <a:pt x="2340" y="1025"/>
                  <a:pt x="2343" y="1024"/>
                  <a:pt x="2346" y="1023"/>
                </a:cubicBezTo>
                <a:cubicBezTo>
                  <a:pt x="2348" y="1022"/>
                  <a:pt x="2350" y="1021"/>
                  <a:pt x="2352" y="1019"/>
                </a:cubicBezTo>
                <a:cubicBezTo>
                  <a:pt x="2352" y="1019"/>
                  <a:pt x="2352" y="1019"/>
                  <a:pt x="2352" y="1078"/>
                </a:cubicBezTo>
                <a:cubicBezTo>
                  <a:pt x="2352" y="1078"/>
                  <a:pt x="2352" y="1078"/>
                  <a:pt x="2364" y="1078"/>
                </a:cubicBezTo>
                <a:cubicBezTo>
                  <a:pt x="2364" y="1078"/>
                  <a:pt x="2364" y="1078"/>
                  <a:pt x="2364" y="1005"/>
                </a:cubicBezTo>
                <a:close/>
                <a:moveTo>
                  <a:pt x="2411" y="1005"/>
                </a:moveTo>
                <a:cubicBezTo>
                  <a:pt x="2411" y="1005"/>
                  <a:pt x="2411" y="1005"/>
                  <a:pt x="2411" y="1005"/>
                </a:cubicBezTo>
                <a:cubicBezTo>
                  <a:pt x="2406" y="1005"/>
                  <a:pt x="2406" y="1005"/>
                  <a:pt x="2406" y="1005"/>
                </a:cubicBezTo>
                <a:cubicBezTo>
                  <a:pt x="2404" y="1006"/>
                  <a:pt x="2403" y="1007"/>
                  <a:pt x="2400" y="1008"/>
                </a:cubicBezTo>
                <a:cubicBezTo>
                  <a:pt x="2399" y="1010"/>
                  <a:pt x="2397" y="1010"/>
                  <a:pt x="2395" y="1011"/>
                </a:cubicBezTo>
                <a:cubicBezTo>
                  <a:pt x="2394" y="1013"/>
                  <a:pt x="2392" y="1013"/>
                  <a:pt x="2390" y="1014"/>
                </a:cubicBezTo>
                <a:cubicBezTo>
                  <a:pt x="2388" y="1015"/>
                  <a:pt x="2387" y="1015"/>
                  <a:pt x="2384" y="1015"/>
                </a:cubicBezTo>
                <a:cubicBezTo>
                  <a:pt x="2384" y="1015"/>
                  <a:pt x="2384" y="1015"/>
                  <a:pt x="2384" y="1026"/>
                </a:cubicBezTo>
                <a:cubicBezTo>
                  <a:pt x="2387" y="1025"/>
                  <a:pt x="2390" y="1024"/>
                  <a:pt x="2392" y="1023"/>
                </a:cubicBezTo>
                <a:cubicBezTo>
                  <a:pt x="2395" y="1022"/>
                  <a:pt x="2398" y="1021"/>
                  <a:pt x="2400" y="1019"/>
                </a:cubicBezTo>
                <a:cubicBezTo>
                  <a:pt x="2400" y="1019"/>
                  <a:pt x="2400" y="1019"/>
                  <a:pt x="2400" y="1078"/>
                </a:cubicBezTo>
                <a:cubicBezTo>
                  <a:pt x="2400" y="1078"/>
                  <a:pt x="2400" y="1078"/>
                  <a:pt x="2411" y="1078"/>
                </a:cubicBezTo>
                <a:cubicBezTo>
                  <a:pt x="2411" y="1078"/>
                  <a:pt x="2411" y="1078"/>
                  <a:pt x="2411" y="1005"/>
                </a:cubicBezTo>
                <a:close/>
                <a:moveTo>
                  <a:pt x="2459" y="1005"/>
                </a:moveTo>
                <a:cubicBezTo>
                  <a:pt x="2459" y="1005"/>
                  <a:pt x="2459" y="1005"/>
                  <a:pt x="2459" y="1005"/>
                </a:cubicBezTo>
                <a:cubicBezTo>
                  <a:pt x="2454" y="1005"/>
                  <a:pt x="2454" y="1005"/>
                  <a:pt x="2454" y="1005"/>
                </a:cubicBezTo>
                <a:cubicBezTo>
                  <a:pt x="2452" y="1006"/>
                  <a:pt x="2450" y="1007"/>
                  <a:pt x="2449" y="1008"/>
                </a:cubicBezTo>
                <a:cubicBezTo>
                  <a:pt x="2447" y="1010"/>
                  <a:pt x="2445" y="1010"/>
                  <a:pt x="2443" y="1011"/>
                </a:cubicBezTo>
                <a:cubicBezTo>
                  <a:pt x="2441" y="1013"/>
                  <a:pt x="2439" y="1013"/>
                  <a:pt x="2438" y="1014"/>
                </a:cubicBezTo>
                <a:cubicBezTo>
                  <a:pt x="2436" y="1015"/>
                  <a:pt x="2434" y="1015"/>
                  <a:pt x="2432" y="1015"/>
                </a:cubicBezTo>
                <a:cubicBezTo>
                  <a:pt x="2432" y="1015"/>
                  <a:pt x="2432" y="1015"/>
                  <a:pt x="2432" y="1026"/>
                </a:cubicBezTo>
                <a:cubicBezTo>
                  <a:pt x="2435" y="1025"/>
                  <a:pt x="2438" y="1024"/>
                  <a:pt x="2441" y="1023"/>
                </a:cubicBezTo>
                <a:cubicBezTo>
                  <a:pt x="2443" y="1022"/>
                  <a:pt x="2445" y="1021"/>
                  <a:pt x="2447" y="1019"/>
                </a:cubicBezTo>
                <a:cubicBezTo>
                  <a:pt x="2447" y="1019"/>
                  <a:pt x="2447" y="1019"/>
                  <a:pt x="2447" y="1078"/>
                </a:cubicBezTo>
                <a:cubicBezTo>
                  <a:pt x="2447" y="1078"/>
                  <a:pt x="2447" y="1078"/>
                  <a:pt x="2459" y="1078"/>
                </a:cubicBezTo>
                <a:cubicBezTo>
                  <a:pt x="2459" y="1078"/>
                  <a:pt x="2459" y="1078"/>
                  <a:pt x="2459" y="1005"/>
                </a:cubicBezTo>
                <a:close/>
                <a:moveTo>
                  <a:pt x="2505" y="1005"/>
                </a:moveTo>
                <a:cubicBezTo>
                  <a:pt x="2505" y="1005"/>
                  <a:pt x="2505" y="1005"/>
                  <a:pt x="2505" y="1005"/>
                </a:cubicBezTo>
                <a:cubicBezTo>
                  <a:pt x="2501" y="1005"/>
                  <a:pt x="2501" y="1005"/>
                  <a:pt x="2501" y="1005"/>
                </a:cubicBezTo>
                <a:cubicBezTo>
                  <a:pt x="2499" y="1006"/>
                  <a:pt x="2498" y="1007"/>
                  <a:pt x="2495" y="1008"/>
                </a:cubicBezTo>
                <a:cubicBezTo>
                  <a:pt x="2494" y="1010"/>
                  <a:pt x="2492" y="1010"/>
                  <a:pt x="2490" y="1011"/>
                </a:cubicBezTo>
                <a:cubicBezTo>
                  <a:pt x="2488" y="1012"/>
                  <a:pt x="2487" y="1013"/>
                  <a:pt x="2485" y="1013"/>
                </a:cubicBezTo>
                <a:cubicBezTo>
                  <a:pt x="2483" y="1014"/>
                  <a:pt x="2481" y="1015"/>
                  <a:pt x="2480" y="1015"/>
                </a:cubicBezTo>
                <a:cubicBezTo>
                  <a:pt x="2480" y="1015"/>
                  <a:pt x="2480" y="1015"/>
                  <a:pt x="2480" y="1026"/>
                </a:cubicBezTo>
                <a:cubicBezTo>
                  <a:pt x="2482" y="1025"/>
                  <a:pt x="2485" y="1023"/>
                  <a:pt x="2487" y="1023"/>
                </a:cubicBezTo>
                <a:cubicBezTo>
                  <a:pt x="2490" y="1022"/>
                  <a:pt x="2492" y="1021"/>
                  <a:pt x="2494" y="1019"/>
                </a:cubicBezTo>
                <a:cubicBezTo>
                  <a:pt x="2494" y="1019"/>
                  <a:pt x="2494" y="1019"/>
                  <a:pt x="2494" y="1078"/>
                </a:cubicBezTo>
                <a:cubicBezTo>
                  <a:pt x="2494" y="1078"/>
                  <a:pt x="2494" y="1078"/>
                  <a:pt x="2505" y="1078"/>
                </a:cubicBezTo>
                <a:cubicBezTo>
                  <a:pt x="2505" y="1078"/>
                  <a:pt x="2505" y="1078"/>
                  <a:pt x="2505" y="1005"/>
                </a:cubicBezTo>
                <a:close/>
                <a:moveTo>
                  <a:pt x="2262" y="1037"/>
                </a:moveTo>
                <a:cubicBezTo>
                  <a:pt x="2262" y="1037"/>
                  <a:pt x="2262" y="1037"/>
                  <a:pt x="2262" y="1037"/>
                </a:cubicBezTo>
                <a:cubicBezTo>
                  <a:pt x="2261" y="1045"/>
                  <a:pt x="2261" y="1045"/>
                  <a:pt x="2261" y="1045"/>
                </a:cubicBezTo>
                <a:cubicBezTo>
                  <a:pt x="2268" y="1046"/>
                  <a:pt x="2268" y="1049"/>
                  <a:pt x="2268" y="1051"/>
                </a:cubicBezTo>
                <a:cubicBezTo>
                  <a:pt x="2268" y="1053"/>
                  <a:pt x="2268" y="1056"/>
                  <a:pt x="2268" y="1058"/>
                </a:cubicBezTo>
                <a:cubicBezTo>
                  <a:pt x="2268" y="1061"/>
                  <a:pt x="2267" y="1063"/>
                  <a:pt x="2267" y="1065"/>
                </a:cubicBezTo>
                <a:cubicBezTo>
                  <a:pt x="2267" y="1075"/>
                  <a:pt x="2273" y="1078"/>
                  <a:pt x="2282" y="1078"/>
                </a:cubicBezTo>
                <a:cubicBezTo>
                  <a:pt x="2282" y="1078"/>
                  <a:pt x="2282" y="1078"/>
                  <a:pt x="2286" y="1078"/>
                </a:cubicBezTo>
                <a:cubicBezTo>
                  <a:pt x="2286" y="1078"/>
                  <a:pt x="2286" y="1078"/>
                  <a:pt x="2286" y="1069"/>
                </a:cubicBezTo>
                <a:cubicBezTo>
                  <a:pt x="2286" y="1069"/>
                  <a:pt x="2286" y="1069"/>
                  <a:pt x="2284" y="1069"/>
                </a:cubicBezTo>
                <a:cubicBezTo>
                  <a:pt x="2280" y="1069"/>
                  <a:pt x="2279" y="1066"/>
                  <a:pt x="2279" y="1063"/>
                </a:cubicBezTo>
                <a:cubicBezTo>
                  <a:pt x="2279" y="1062"/>
                  <a:pt x="2279" y="1060"/>
                  <a:pt x="2280" y="1058"/>
                </a:cubicBezTo>
                <a:cubicBezTo>
                  <a:pt x="2280" y="1057"/>
                  <a:pt x="2280" y="1055"/>
                  <a:pt x="2280" y="1052"/>
                </a:cubicBezTo>
                <a:cubicBezTo>
                  <a:pt x="2280" y="1045"/>
                  <a:pt x="2277" y="1042"/>
                  <a:pt x="2271" y="1041"/>
                </a:cubicBezTo>
                <a:cubicBezTo>
                  <a:pt x="2271" y="1041"/>
                  <a:pt x="2271" y="1041"/>
                  <a:pt x="2271" y="1041"/>
                </a:cubicBezTo>
                <a:cubicBezTo>
                  <a:pt x="2277" y="1040"/>
                  <a:pt x="2280" y="1037"/>
                  <a:pt x="2280" y="1030"/>
                </a:cubicBezTo>
                <a:cubicBezTo>
                  <a:pt x="2280" y="1027"/>
                  <a:pt x="2280" y="1026"/>
                  <a:pt x="2280" y="1024"/>
                </a:cubicBezTo>
                <a:cubicBezTo>
                  <a:pt x="2279" y="1022"/>
                  <a:pt x="2279" y="1020"/>
                  <a:pt x="2279" y="1019"/>
                </a:cubicBezTo>
                <a:cubicBezTo>
                  <a:pt x="2279" y="1016"/>
                  <a:pt x="2280" y="1013"/>
                  <a:pt x="2284" y="1013"/>
                </a:cubicBezTo>
                <a:cubicBezTo>
                  <a:pt x="2284" y="1013"/>
                  <a:pt x="2284" y="1013"/>
                  <a:pt x="2286" y="1013"/>
                </a:cubicBezTo>
                <a:cubicBezTo>
                  <a:pt x="2286" y="1013"/>
                  <a:pt x="2286" y="1013"/>
                  <a:pt x="2286" y="1004"/>
                </a:cubicBezTo>
                <a:cubicBezTo>
                  <a:pt x="2286" y="1004"/>
                  <a:pt x="2286" y="1004"/>
                  <a:pt x="2282" y="1004"/>
                </a:cubicBezTo>
                <a:cubicBezTo>
                  <a:pt x="2273" y="1004"/>
                  <a:pt x="2267" y="1008"/>
                  <a:pt x="2267" y="1017"/>
                </a:cubicBezTo>
                <a:cubicBezTo>
                  <a:pt x="2267" y="1019"/>
                  <a:pt x="2268" y="1022"/>
                  <a:pt x="2268" y="1024"/>
                </a:cubicBezTo>
                <a:cubicBezTo>
                  <a:pt x="2268" y="1026"/>
                  <a:pt x="2268" y="1029"/>
                  <a:pt x="2268" y="1031"/>
                </a:cubicBezTo>
                <a:cubicBezTo>
                  <a:pt x="2268" y="1033"/>
                  <a:pt x="2268" y="1037"/>
                  <a:pt x="2262" y="1037"/>
                </a:cubicBezTo>
                <a:close/>
                <a:moveTo>
                  <a:pt x="2316" y="1045"/>
                </a:moveTo>
                <a:cubicBezTo>
                  <a:pt x="2316" y="1045"/>
                  <a:pt x="2316" y="1045"/>
                  <a:pt x="2316" y="1045"/>
                </a:cubicBezTo>
                <a:cubicBezTo>
                  <a:pt x="2316" y="1037"/>
                  <a:pt x="2316" y="1037"/>
                  <a:pt x="2316" y="1037"/>
                </a:cubicBezTo>
                <a:cubicBezTo>
                  <a:pt x="2310" y="1037"/>
                  <a:pt x="2310" y="1033"/>
                  <a:pt x="2310" y="1031"/>
                </a:cubicBezTo>
                <a:cubicBezTo>
                  <a:pt x="2310" y="1029"/>
                  <a:pt x="2310" y="1026"/>
                  <a:pt x="2310" y="1024"/>
                </a:cubicBezTo>
                <a:cubicBezTo>
                  <a:pt x="2310" y="1022"/>
                  <a:pt x="2310" y="1019"/>
                  <a:pt x="2310" y="1017"/>
                </a:cubicBezTo>
                <a:cubicBezTo>
                  <a:pt x="2310" y="1008"/>
                  <a:pt x="2305" y="1004"/>
                  <a:pt x="2296" y="1004"/>
                </a:cubicBezTo>
                <a:cubicBezTo>
                  <a:pt x="2296" y="1004"/>
                  <a:pt x="2296" y="1004"/>
                  <a:pt x="2292" y="1004"/>
                </a:cubicBezTo>
                <a:cubicBezTo>
                  <a:pt x="2292" y="1004"/>
                  <a:pt x="2292" y="1004"/>
                  <a:pt x="2292" y="1013"/>
                </a:cubicBezTo>
                <a:cubicBezTo>
                  <a:pt x="2292" y="1013"/>
                  <a:pt x="2292" y="1013"/>
                  <a:pt x="2294" y="1013"/>
                </a:cubicBezTo>
                <a:cubicBezTo>
                  <a:pt x="2298" y="1013"/>
                  <a:pt x="2299" y="1016"/>
                  <a:pt x="2299" y="1019"/>
                </a:cubicBezTo>
                <a:cubicBezTo>
                  <a:pt x="2299" y="1020"/>
                  <a:pt x="2299" y="1022"/>
                  <a:pt x="2299" y="1024"/>
                </a:cubicBezTo>
                <a:cubicBezTo>
                  <a:pt x="2298" y="1026"/>
                  <a:pt x="2298" y="1027"/>
                  <a:pt x="2298" y="1030"/>
                </a:cubicBezTo>
                <a:cubicBezTo>
                  <a:pt x="2298" y="1037"/>
                  <a:pt x="2301" y="1040"/>
                  <a:pt x="2307" y="1041"/>
                </a:cubicBezTo>
                <a:cubicBezTo>
                  <a:pt x="2307" y="1041"/>
                  <a:pt x="2307" y="1041"/>
                  <a:pt x="2307" y="1041"/>
                </a:cubicBezTo>
                <a:cubicBezTo>
                  <a:pt x="2301" y="1042"/>
                  <a:pt x="2298" y="1045"/>
                  <a:pt x="2298" y="1052"/>
                </a:cubicBezTo>
                <a:cubicBezTo>
                  <a:pt x="2298" y="1055"/>
                  <a:pt x="2298" y="1057"/>
                  <a:pt x="2299" y="1058"/>
                </a:cubicBezTo>
                <a:cubicBezTo>
                  <a:pt x="2299" y="1060"/>
                  <a:pt x="2299" y="1062"/>
                  <a:pt x="2299" y="1063"/>
                </a:cubicBezTo>
                <a:cubicBezTo>
                  <a:pt x="2299" y="1066"/>
                  <a:pt x="2298" y="1069"/>
                  <a:pt x="2294" y="1069"/>
                </a:cubicBezTo>
                <a:cubicBezTo>
                  <a:pt x="2294" y="1069"/>
                  <a:pt x="2294" y="1069"/>
                  <a:pt x="2292" y="1069"/>
                </a:cubicBezTo>
                <a:cubicBezTo>
                  <a:pt x="2292" y="1069"/>
                  <a:pt x="2292" y="1069"/>
                  <a:pt x="2292" y="1078"/>
                </a:cubicBezTo>
                <a:cubicBezTo>
                  <a:pt x="2292" y="1078"/>
                  <a:pt x="2292" y="1078"/>
                  <a:pt x="2296" y="1078"/>
                </a:cubicBezTo>
                <a:cubicBezTo>
                  <a:pt x="2305" y="1078"/>
                  <a:pt x="2310" y="1075"/>
                  <a:pt x="2310" y="1065"/>
                </a:cubicBezTo>
                <a:cubicBezTo>
                  <a:pt x="2310" y="1063"/>
                  <a:pt x="2310" y="1061"/>
                  <a:pt x="2310" y="1058"/>
                </a:cubicBezTo>
                <a:cubicBezTo>
                  <a:pt x="2310" y="1056"/>
                  <a:pt x="2310" y="1053"/>
                  <a:pt x="2310" y="1051"/>
                </a:cubicBezTo>
                <a:cubicBezTo>
                  <a:pt x="2310" y="1049"/>
                  <a:pt x="2310" y="1046"/>
                  <a:pt x="2316" y="1045"/>
                </a:cubicBezTo>
                <a:close/>
                <a:moveTo>
                  <a:pt x="2644" y="1037"/>
                </a:moveTo>
                <a:cubicBezTo>
                  <a:pt x="2644" y="1037"/>
                  <a:pt x="2644" y="1037"/>
                  <a:pt x="2644" y="1037"/>
                </a:cubicBezTo>
                <a:cubicBezTo>
                  <a:pt x="2643" y="1045"/>
                  <a:pt x="2643" y="1045"/>
                  <a:pt x="2643" y="1045"/>
                </a:cubicBezTo>
                <a:cubicBezTo>
                  <a:pt x="2649" y="1046"/>
                  <a:pt x="2650" y="1049"/>
                  <a:pt x="2650" y="1051"/>
                </a:cubicBezTo>
                <a:cubicBezTo>
                  <a:pt x="2650" y="1053"/>
                  <a:pt x="2650" y="1056"/>
                  <a:pt x="2650" y="1058"/>
                </a:cubicBezTo>
                <a:cubicBezTo>
                  <a:pt x="2649" y="1061"/>
                  <a:pt x="2649" y="1063"/>
                  <a:pt x="2649" y="1065"/>
                </a:cubicBezTo>
                <a:cubicBezTo>
                  <a:pt x="2649" y="1075"/>
                  <a:pt x="2655" y="1078"/>
                  <a:pt x="2664" y="1078"/>
                </a:cubicBezTo>
                <a:cubicBezTo>
                  <a:pt x="2664" y="1078"/>
                  <a:pt x="2664" y="1078"/>
                  <a:pt x="2667" y="1078"/>
                </a:cubicBezTo>
                <a:cubicBezTo>
                  <a:pt x="2667" y="1078"/>
                  <a:pt x="2667" y="1078"/>
                  <a:pt x="2667" y="1069"/>
                </a:cubicBezTo>
                <a:cubicBezTo>
                  <a:pt x="2667" y="1069"/>
                  <a:pt x="2667" y="1069"/>
                  <a:pt x="2666" y="1069"/>
                </a:cubicBezTo>
                <a:cubicBezTo>
                  <a:pt x="2662" y="1069"/>
                  <a:pt x="2661" y="1066"/>
                  <a:pt x="2661" y="1063"/>
                </a:cubicBezTo>
                <a:cubicBezTo>
                  <a:pt x="2661" y="1062"/>
                  <a:pt x="2661" y="1060"/>
                  <a:pt x="2661" y="1058"/>
                </a:cubicBezTo>
                <a:cubicBezTo>
                  <a:pt x="2661" y="1057"/>
                  <a:pt x="2662" y="1055"/>
                  <a:pt x="2662" y="1052"/>
                </a:cubicBezTo>
                <a:cubicBezTo>
                  <a:pt x="2662" y="1045"/>
                  <a:pt x="2659" y="1042"/>
                  <a:pt x="2653" y="1041"/>
                </a:cubicBezTo>
                <a:cubicBezTo>
                  <a:pt x="2653" y="1041"/>
                  <a:pt x="2653" y="1041"/>
                  <a:pt x="2653" y="1041"/>
                </a:cubicBezTo>
                <a:cubicBezTo>
                  <a:pt x="2659" y="1040"/>
                  <a:pt x="2662" y="1037"/>
                  <a:pt x="2662" y="1030"/>
                </a:cubicBezTo>
                <a:cubicBezTo>
                  <a:pt x="2662" y="1027"/>
                  <a:pt x="2661" y="1026"/>
                  <a:pt x="2661" y="1024"/>
                </a:cubicBezTo>
                <a:cubicBezTo>
                  <a:pt x="2661" y="1022"/>
                  <a:pt x="2661" y="1020"/>
                  <a:pt x="2661" y="1019"/>
                </a:cubicBezTo>
                <a:cubicBezTo>
                  <a:pt x="2661" y="1016"/>
                  <a:pt x="2662" y="1013"/>
                  <a:pt x="2666" y="1013"/>
                </a:cubicBezTo>
                <a:cubicBezTo>
                  <a:pt x="2666" y="1013"/>
                  <a:pt x="2666" y="1013"/>
                  <a:pt x="2667" y="1013"/>
                </a:cubicBezTo>
                <a:cubicBezTo>
                  <a:pt x="2667" y="1013"/>
                  <a:pt x="2667" y="1013"/>
                  <a:pt x="2667" y="1004"/>
                </a:cubicBezTo>
                <a:cubicBezTo>
                  <a:pt x="2667" y="1004"/>
                  <a:pt x="2667" y="1004"/>
                  <a:pt x="2664" y="1004"/>
                </a:cubicBezTo>
                <a:cubicBezTo>
                  <a:pt x="2655" y="1004"/>
                  <a:pt x="2649" y="1008"/>
                  <a:pt x="2649" y="1017"/>
                </a:cubicBezTo>
                <a:cubicBezTo>
                  <a:pt x="2649" y="1019"/>
                  <a:pt x="2649" y="1022"/>
                  <a:pt x="2649" y="1024"/>
                </a:cubicBezTo>
                <a:cubicBezTo>
                  <a:pt x="2650" y="1026"/>
                  <a:pt x="2650" y="1029"/>
                  <a:pt x="2650" y="1031"/>
                </a:cubicBezTo>
                <a:cubicBezTo>
                  <a:pt x="2650" y="1033"/>
                  <a:pt x="2649" y="1037"/>
                  <a:pt x="2644" y="1037"/>
                </a:cubicBezTo>
                <a:close/>
                <a:moveTo>
                  <a:pt x="2698" y="1045"/>
                </a:moveTo>
                <a:cubicBezTo>
                  <a:pt x="2698" y="1045"/>
                  <a:pt x="2698" y="1045"/>
                  <a:pt x="2698" y="1045"/>
                </a:cubicBezTo>
                <a:cubicBezTo>
                  <a:pt x="2698" y="1037"/>
                  <a:pt x="2698" y="1037"/>
                  <a:pt x="2698" y="1037"/>
                </a:cubicBezTo>
                <a:cubicBezTo>
                  <a:pt x="2692" y="1037"/>
                  <a:pt x="2691" y="1033"/>
                  <a:pt x="2691" y="1031"/>
                </a:cubicBezTo>
                <a:cubicBezTo>
                  <a:pt x="2691" y="1029"/>
                  <a:pt x="2691" y="1026"/>
                  <a:pt x="2692" y="1024"/>
                </a:cubicBezTo>
                <a:cubicBezTo>
                  <a:pt x="2692" y="1022"/>
                  <a:pt x="2692" y="1019"/>
                  <a:pt x="2692" y="1017"/>
                </a:cubicBezTo>
                <a:cubicBezTo>
                  <a:pt x="2692" y="1008"/>
                  <a:pt x="2687" y="1004"/>
                  <a:pt x="2678" y="1004"/>
                </a:cubicBezTo>
                <a:cubicBezTo>
                  <a:pt x="2678" y="1004"/>
                  <a:pt x="2678" y="1004"/>
                  <a:pt x="2674" y="1004"/>
                </a:cubicBezTo>
                <a:cubicBezTo>
                  <a:pt x="2674" y="1004"/>
                  <a:pt x="2674" y="1004"/>
                  <a:pt x="2674" y="1013"/>
                </a:cubicBezTo>
                <a:cubicBezTo>
                  <a:pt x="2674" y="1013"/>
                  <a:pt x="2674" y="1013"/>
                  <a:pt x="2675" y="1013"/>
                </a:cubicBezTo>
                <a:cubicBezTo>
                  <a:pt x="2679" y="1013"/>
                  <a:pt x="2681" y="1016"/>
                  <a:pt x="2681" y="1019"/>
                </a:cubicBezTo>
                <a:cubicBezTo>
                  <a:pt x="2681" y="1020"/>
                  <a:pt x="2680" y="1022"/>
                  <a:pt x="2680" y="1024"/>
                </a:cubicBezTo>
                <a:cubicBezTo>
                  <a:pt x="2680" y="1026"/>
                  <a:pt x="2680" y="1027"/>
                  <a:pt x="2680" y="1030"/>
                </a:cubicBezTo>
                <a:cubicBezTo>
                  <a:pt x="2680" y="1037"/>
                  <a:pt x="2682" y="1040"/>
                  <a:pt x="2688" y="1041"/>
                </a:cubicBezTo>
                <a:cubicBezTo>
                  <a:pt x="2688" y="1041"/>
                  <a:pt x="2688" y="1041"/>
                  <a:pt x="2688" y="1041"/>
                </a:cubicBezTo>
                <a:cubicBezTo>
                  <a:pt x="2682" y="1042"/>
                  <a:pt x="2680" y="1045"/>
                  <a:pt x="2680" y="1052"/>
                </a:cubicBezTo>
                <a:cubicBezTo>
                  <a:pt x="2680" y="1055"/>
                  <a:pt x="2680" y="1057"/>
                  <a:pt x="2680" y="1058"/>
                </a:cubicBezTo>
                <a:cubicBezTo>
                  <a:pt x="2680" y="1060"/>
                  <a:pt x="2681" y="1062"/>
                  <a:pt x="2681" y="1063"/>
                </a:cubicBezTo>
                <a:cubicBezTo>
                  <a:pt x="2681" y="1066"/>
                  <a:pt x="2679" y="1069"/>
                  <a:pt x="2675" y="1069"/>
                </a:cubicBezTo>
                <a:cubicBezTo>
                  <a:pt x="2675" y="1069"/>
                  <a:pt x="2675" y="1069"/>
                  <a:pt x="2674" y="1069"/>
                </a:cubicBezTo>
                <a:cubicBezTo>
                  <a:pt x="2674" y="1069"/>
                  <a:pt x="2674" y="1069"/>
                  <a:pt x="2674" y="1078"/>
                </a:cubicBezTo>
                <a:cubicBezTo>
                  <a:pt x="2674" y="1078"/>
                  <a:pt x="2674" y="1078"/>
                  <a:pt x="2678" y="1078"/>
                </a:cubicBezTo>
                <a:cubicBezTo>
                  <a:pt x="2686" y="1078"/>
                  <a:pt x="2692" y="1075"/>
                  <a:pt x="2692" y="1065"/>
                </a:cubicBezTo>
                <a:cubicBezTo>
                  <a:pt x="2692" y="1063"/>
                  <a:pt x="2692" y="1061"/>
                  <a:pt x="2692" y="1058"/>
                </a:cubicBezTo>
                <a:cubicBezTo>
                  <a:pt x="2691" y="1056"/>
                  <a:pt x="2691" y="1053"/>
                  <a:pt x="2691" y="1051"/>
                </a:cubicBezTo>
                <a:cubicBezTo>
                  <a:pt x="2691" y="1049"/>
                  <a:pt x="2692" y="1046"/>
                  <a:pt x="2698" y="1045"/>
                </a:cubicBezTo>
                <a:close/>
                <a:moveTo>
                  <a:pt x="2745" y="1005"/>
                </a:moveTo>
                <a:cubicBezTo>
                  <a:pt x="2745" y="1005"/>
                  <a:pt x="2745" y="1005"/>
                  <a:pt x="2745" y="1005"/>
                </a:cubicBezTo>
                <a:cubicBezTo>
                  <a:pt x="2740" y="1005"/>
                  <a:pt x="2740" y="1005"/>
                  <a:pt x="2740" y="1005"/>
                </a:cubicBezTo>
                <a:cubicBezTo>
                  <a:pt x="2738" y="1006"/>
                  <a:pt x="2737" y="1007"/>
                  <a:pt x="2735" y="1008"/>
                </a:cubicBezTo>
                <a:cubicBezTo>
                  <a:pt x="2733" y="1010"/>
                  <a:pt x="2731" y="1010"/>
                  <a:pt x="2729" y="1011"/>
                </a:cubicBezTo>
                <a:cubicBezTo>
                  <a:pt x="2727" y="1012"/>
                  <a:pt x="2726" y="1013"/>
                  <a:pt x="2724" y="1013"/>
                </a:cubicBezTo>
                <a:cubicBezTo>
                  <a:pt x="2722" y="1014"/>
                  <a:pt x="2721" y="1015"/>
                  <a:pt x="2719" y="1015"/>
                </a:cubicBezTo>
                <a:cubicBezTo>
                  <a:pt x="2719" y="1015"/>
                  <a:pt x="2719" y="1015"/>
                  <a:pt x="2719" y="1026"/>
                </a:cubicBezTo>
                <a:cubicBezTo>
                  <a:pt x="2721" y="1025"/>
                  <a:pt x="2724" y="1023"/>
                  <a:pt x="2727" y="1023"/>
                </a:cubicBezTo>
                <a:cubicBezTo>
                  <a:pt x="2729" y="1022"/>
                  <a:pt x="2732" y="1021"/>
                  <a:pt x="2734" y="1019"/>
                </a:cubicBezTo>
                <a:cubicBezTo>
                  <a:pt x="2734" y="1019"/>
                  <a:pt x="2734" y="1019"/>
                  <a:pt x="2734" y="1078"/>
                </a:cubicBezTo>
                <a:cubicBezTo>
                  <a:pt x="2734" y="1078"/>
                  <a:pt x="2734" y="1078"/>
                  <a:pt x="2745" y="1078"/>
                </a:cubicBezTo>
                <a:cubicBezTo>
                  <a:pt x="2745" y="1078"/>
                  <a:pt x="2745" y="1078"/>
                  <a:pt x="2745" y="1005"/>
                </a:cubicBezTo>
                <a:close/>
                <a:moveTo>
                  <a:pt x="2792" y="1005"/>
                </a:moveTo>
                <a:cubicBezTo>
                  <a:pt x="2792" y="1005"/>
                  <a:pt x="2792" y="1005"/>
                  <a:pt x="2792" y="1005"/>
                </a:cubicBezTo>
                <a:cubicBezTo>
                  <a:pt x="2787" y="1005"/>
                  <a:pt x="2787" y="1005"/>
                  <a:pt x="2787" y="1005"/>
                </a:cubicBezTo>
                <a:cubicBezTo>
                  <a:pt x="2785" y="1006"/>
                  <a:pt x="2784" y="1007"/>
                  <a:pt x="2782" y="1008"/>
                </a:cubicBezTo>
                <a:cubicBezTo>
                  <a:pt x="2780" y="1010"/>
                  <a:pt x="2778" y="1010"/>
                  <a:pt x="2777" y="1011"/>
                </a:cubicBezTo>
                <a:cubicBezTo>
                  <a:pt x="2775" y="1013"/>
                  <a:pt x="2773" y="1013"/>
                  <a:pt x="2772" y="1014"/>
                </a:cubicBezTo>
                <a:cubicBezTo>
                  <a:pt x="2770" y="1015"/>
                  <a:pt x="2768" y="1015"/>
                  <a:pt x="2766" y="1015"/>
                </a:cubicBezTo>
                <a:cubicBezTo>
                  <a:pt x="2766" y="1015"/>
                  <a:pt x="2766" y="1015"/>
                  <a:pt x="2766" y="1026"/>
                </a:cubicBezTo>
                <a:cubicBezTo>
                  <a:pt x="2769" y="1025"/>
                  <a:pt x="2772" y="1024"/>
                  <a:pt x="2774" y="1023"/>
                </a:cubicBezTo>
                <a:cubicBezTo>
                  <a:pt x="2777" y="1022"/>
                  <a:pt x="2779" y="1021"/>
                  <a:pt x="2781" y="1019"/>
                </a:cubicBezTo>
                <a:cubicBezTo>
                  <a:pt x="2781" y="1019"/>
                  <a:pt x="2781" y="1019"/>
                  <a:pt x="2781" y="1078"/>
                </a:cubicBezTo>
                <a:cubicBezTo>
                  <a:pt x="2781" y="1078"/>
                  <a:pt x="2781" y="1078"/>
                  <a:pt x="2792" y="1078"/>
                </a:cubicBezTo>
                <a:cubicBezTo>
                  <a:pt x="2792" y="1078"/>
                  <a:pt x="2792" y="1078"/>
                  <a:pt x="2792" y="1005"/>
                </a:cubicBezTo>
                <a:close/>
                <a:moveTo>
                  <a:pt x="2839" y="1005"/>
                </a:moveTo>
                <a:cubicBezTo>
                  <a:pt x="2839" y="1005"/>
                  <a:pt x="2839" y="1005"/>
                  <a:pt x="2839" y="1005"/>
                </a:cubicBezTo>
                <a:cubicBezTo>
                  <a:pt x="2835" y="1005"/>
                  <a:pt x="2835" y="1005"/>
                  <a:pt x="2835" y="1005"/>
                </a:cubicBezTo>
                <a:cubicBezTo>
                  <a:pt x="2833" y="1006"/>
                  <a:pt x="2831" y="1007"/>
                  <a:pt x="2829" y="1008"/>
                </a:cubicBezTo>
                <a:cubicBezTo>
                  <a:pt x="2828" y="1010"/>
                  <a:pt x="2825" y="1010"/>
                  <a:pt x="2824" y="1011"/>
                </a:cubicBezTo>
                <a:cubicBezTo>
                  <a:pt x="2822" y="1013"/>
                  <a:pt x="2820" y="1013"/>
                  <a:pt x="2818" y="1014"/>
                </a:cubicBezTo>
                <a:cubicBezTo>
                  <a:pt x="2817" y="1015"/>
                  <a:pt x="2815" y="1015"/>
                  <a:pt x="2813" y="1015"/>
                </a:cubicBezTo>
                <a:cubicBezTo>
                  <a:pt x="2813" y="1015"/>
                  <a:pt x="2813" y="1015"/>
                  <a:pt x="2813" y="1026"/>
                </a:cubicBezTo>
                <a:cubicBezTo>
                  <a:pt x="2816" y="1025"/>
                  <a:pt x="2819" y="1024"/>
                  <a:pt x="2821" y="1023"/>
                </a:cubicBezTo>
                <a:cubicBezTo>
                  <a:pt x="2823" y="1022"/>
                  <a:pt x="2826" y="1021"/>
                  <a:pt x="2828" y="1019"/>
                </a:cubicBezTo>
                <a:cubicBezTo>
                  <a:pt x="2828" y="1019"/>
                  <a:pt x="2828" y="1019"/>
                  <a:pt x="2828" y="1078"/>
                </a:cubicBezTo>
                <a:cubicBezTo>
                  <a:pt x="2828" y="1078"/>
                  <a:pt x="2828" y="1078"/>
                  <a:pt x="2839" y="1078"/>
                </a:cubicBezTo>
                <a:cubicBezTo>
                  <a:pt x="2839" y="1078"/>
                  <a:pt x="2839" y="1078"/>
                  <a:pt x="2839" y="1005"/>
                </a:cubicBezTo>
                <a:close/>
                <a:moveTo>
                  <a:pt x="2962" y="1005"/>
                </a:moveTo>
                <a:cubicBezTo>
                  <a:pt x="2962" y="1005"/>
                  <a:pt x="2962" y="1005"/>
                  <a:pt x="2962" y="1005"/>
                </a:cubicBezTo>
                <a:cubicBezTo>
                  <a:pt x="2957" y="1005"/>
                  <a:pt x="2957" y="1005"/>
                  <a:pt x="2957" y="1005"/>
                </a:cubicBezTo>
                <a:cubicBezTo>
                  <a:pt x="2955" y="1006"/>
                  <a:pt x="2953" y="1007"/>
                  <a:pt x="2951" y="1008"/>
                </a:cubicBezTo>
                <a:cubicBezTo>
                  <a:pt x="2950" y="1010"/>
                  <a:pt x="2948" y="1010"/>
                  <a:pt x="2946" y="1011"/>
                </a:cubicBezTo>
                <a:cubicBezTo>
                  <a:pt x="2944" y="1013"/>
                  <a:pt x="2942" y="1013"/>
                  <a:pt x="2941" y="1014"/>
                </a:cubicBezTo>
                <a:cubicBezTo>
                  <a:pt x="2939" y="1015"/>
                  <a:pt x="2937" y="1015"/>
                  <a:pt x="2935" y="1015"/>
                </a:cubicBezTo>
                <a:cubicBezTo>
                  <a:pt x="2935" y="1015"/>
                  <a:pt x="2935" y="1015"/>
                  <a:pt x="2935" y="1026"/>
                </a:cubicBezTo>
                <a:cubicBezTo>
                  <a:pt x="2938" y="1025"/>
                  <a:pt x="2941" y="1024"/>
                  <a:pt x="2944" y="1023"/>
                </a:cubicBezTo>
                <a:cubicBezTo>
                  <a:pt x="2946" y="1022"/>
                  <a:pt x="2948" y="1021"/>
                  <a:pt x="2950" y="1019"/>
                </a:cubicBezTo>
                <a:cubicBezTo>
                  <a:pt x="2950" y="1019"/>
                  <a:pt x="2950" y="1019"/>
                  <a:pt x="2950" y="1078"/>
                </a:cubicBezTo>
                <a:cubicBezTo>
                  <a:pt x="2950" y="1078"/>
                  <a:pt x="2950" y="1078"/>
                  <a:pt x="2962" y="1078"/>
                </a:cubicBezTo>
                <a:cubicBezTo>
                  <a:pt x="2962" y="1078"/>
                  <a:pt x="2962" y="1078"/>
                  <a:pt x="2962" y="1005"/>
                </a:cubicBezTo>
                <a:close/>
                <a:moveTo>
                  <a:pt x="3009" y="1005"/>
                </a:moveTo>
                <a:cubicBezTo>
                  <a:pt x="3009" y="1005"/>
                  <a:pt x="3009" y="1005"/>
                  <a:pt x="3009" y="1005"/>
                </a:cubicBezTo>
                <a:cubicBezTo>
                  <a:pt x="3004" y="1005"/>
                  <a:pt x="3004" y="1005"/>
                  <a:pt x="3004" y="1005"/>
                </a:cubicBezTo>
                <a:cubicBezTo>
                  <a:pt x="3002" y="1006"/>
                  <a:pt x="3001" y="1007"/>
                  <a:pt x="2999" y="1008"/>
                </a:cubicBezTo>
                <a:cubicBezTo>
                  <a:pt x="2997" y="1010"/>
                  <a:pt x="2995" y="1010"/>
                  <a:pt x="2993" y="1011"/>
                </a:cubicBezTo>
                <a:cubicBezTo>
                  <a:pt x="2992" y="1013"/>
                  <a:pt x="2990" y="1013"/>
                  <a:pt x="2988" y="1014"/>
                </a:cubicBezTo>
                <a:cubicBezTo>
                  <a:pt x="2986" y="1015"/>
                  <a:pt x="2985" y="1015"/>
                  <a:pt x="2983" y="1015"/>
                </a:cubicBezTo>
                <a:cubicBezTo>
                  <a:pt x="2983" y="1015"/>
                  <a:pt x="2983" y="1015"/>
                  <a:pt x="2983" y="1026"/>
                </a:cubicBezTo>
                <a:cubicBezTo>
                  <a:pt x="2985" y="1025"/>
                  <a:pt x="2988" y="1024"/>
                  <a:pt x="2991" y="1023"/>
                </a:cubicBezTo>
                <a:cubicBezTo>
                  <a:pt x="2993" y="1022"/>
                  <a:pt x="2996" y="1021"/>
                  <a:pt x="2998" y="1019"/>
                </a:cubicBezTo>
                <a:cubicBezTo>
                  <a:pt x="2998" y="1019"/>
                  <a:pt x="2998" y="1019"/>
                  <a:pt x="2998" y="1078"/>
                </a:cubicBezTo>
                <a:cubicBezTo>
                  <a:pt x="2998" y="1078"/>
                  <a:pt x="2998" y="1078"/>
                  <a:pt x="3009" y="1078"/>
                </a:cubicBezTo>
                <a:cubicBezTo>
                  <a:pt x="3009" y="1078"/>
                  <a:pt x="3009" y="1078"/>
                  <a:pt x="3009" y="1005"/>
                </a:cubicBezTo>
                <a:close/>
                <a:moveTo>
                  <a:pt x="3056" y="1005"/>
                </a:moveTo>
                <a:cubicBezTo>
                  <a:pt x="3056" y="1005"/>
                  <a:pt x="3056" y="1005"/>
                  <a:pt x="3056" y="1005"/>
                </a:cubicBezTo>
                <a:cubicBezTo>
                  <a:pt x="3052" y="1005"/>
                  <a:pt x="3052" y="1005"/>
                  <a:pt x="3052" y="1005"/>
                </a:cubicBezTo>
                <a:cubicBezTo>
                  <a:pt x="3050" y="1006"/>
                  <a:pt x="3048" y="1007"/>
                  <a:pt x="3046" y="1008"/>
                </a:cubicBezTo>
                <a:cubicBezTo>
                  <a:pt x="3044" y="1010"/>
                  <a:pt x="3042" y="1010"/>
                  <a:pt x="3041" y="1011"/>
                </a:cubicBezTo>
                <a:cubicBezTo>
                  <a:pt x="3039" y="1012"/>
                  <a:pt x="3037" y="1013"/>
                  <a:pt x="3035" y="1013"/>
                </a:cubicBezTo>
                <a:cubicBezTo>
                  <a:pt x="3034" y="1014"/>
                  <a:pt x="3032" y="1015"/>
                  <a:pt x="3030" y="1015"/>
                </a:cubicBezTo>
                <a:cubicBezTo>
                  <a:pt x="3030" y="1015"/>
                  <a:pt x="3030" y="1015"/>
                  <a:pt x="3030" y="1026"/>
                </a:cubicBezTo>
                <a:cubicBezTo>
                  <a:pt x="3033" y="1025"/>
                  <a:pt x="3036" y="1023"/>
                  <a:pt x="3038" y="1023"/>
                </a:cubicBezTo>
                <a:cubicBezTo>
                  <a:pt x="3040" y="1022"/>
                  <a:pt x="3043" y="1021"/>
                  <a:pt x="3044" y="1019"/>
                </a:cubicBezTo>
                <a:cubicBezTo>
                  <a:pt x="3044" y="1019"/>
                  <a:pt x="3044" y="1019"/>
                  <a:pt x="3044" y="1078"/>
                </a:cubicBezTo>
                <a:cubicBezTo>
                  <a:pt x="3044" y="1078"/>
                  <a:pt x="3044" y="1078"/>
                  <a:pt x="3056" y="1078"/>
                </a:cubicBezTo>
                <a:cubicBezTo>
                  <a:pt x="3056" y="1078"/>
                  <a:pt x="3056" y="1078"/>
                  <a:pt x="3056" y="1005"/>
                </a:cubicBezTo>
                <a:close/>
                <a:moveTo>
                  <a:pt x="3101" y="1078"/>
                </a:moveTo>
                <a:cubicBezTo>
                  <a:pt x="3093" y="1078"/>
                  <a:pt x="3087" y="1075"/>
                  <a:pt x="3082" y="1069"/>
                </a:cubicBezTo>
                <a:cubicBezTo>
                  <a:pt x="3079" y="1063"/>
                  <a:pt x="3077" y="1054"/>
                  <a:pt x="3077" y="1042"/>
                </a:cubicBezTo>
                <a:cubicBezTo>
                  <a:pt x="3077" y="1028"/>
                  <a:pt x="3079" y="1019"/>
                  <a:pt x="3083" y="1012"/>
                </a:cubicBezTo>
                <a:cubicBezTo>
                  <a:pt x="3088" y="1006"/>
                  <a:pt x="3094" y="1002"/>
                  <a:pt x="3103" y="1002"/>
                </a:cubicBezTo>
                <a:cubicBezTo>
                  <a:pt x="3119" y="1002"/>
                  <a:pt x="3127" y="1015"/>
                  <a:pt x="3127" y="1040"/>
                </a:cubicBezTo>
                <a:cubicBezTo>
                  <a:pt x="3127" y="1052"/>
                  <a:pt x="3125" y="1062"/>
                  <a:pt x="3120" y="1068"/>
                </a:cubicBezTo>
                <a:cubicBezTo>
                  <a:pt x="3115" y="1075"/>
                  <a:pt x="3109" y="1078"/>
                  <a:pt x="3101" y="1078"/>
                </a:cubicBezTo>
                <a:close/>
                <a:moveTo>
                  <a:pt x="3102" y="1012"/>
                </a:moveTo>
                <a:cubicBezTo>
                  <a:pt x="3093" y="1012"/>
                  <a:pt x="3088" y="1022"/>
                  <a:pt x="3088" y="1042"/>
                </a:cubicBezTo>
                <a:cubicBezTo>
                  <a:pt x="3088" y="1060"/>
                  <a:pt x="3093" y="1068"/>
                  <a:pt x="3101" y="1068"/>
                </a:cubicBezTo>
                <a:cubicBezTo>
                  <a:pt x="3110" y="1068"/>
                  <a:pt x="3115" y="1060"/>
                  <a:pt x="3115" y="1041"/>
                </a:cubicBezTo>
                <a:cubicBezTo>
                  <a:pt x="3115" y="1021"/>
                  <a:pt x="3110" y="1012"/>
                  <a:pt x="3102" y="1012"/>
                </a:cubicBezTo>
                <a:close/>
                <a:moveTo>
                  <a:pt x="3172" y="1078"/>
                </a:moveTo>
                <a:cubicBezTo>
                  <a:pt x="3164" y="1078"/>
                  <a:pt x="3158" y="1075"/>
                  <a:pt x="3154" y="1069"/>
                </a:cubicBezTo>
                <a:cubicBezTo>
                  <a:pt x="3149" y="1063"/>
                  <a:pt x="3147" y="1054"/>
                  <a:pt x="3147" y="1042"/>
                </a:cubicBezTo>
                <a:cubicBezTo>
                  <a:pt x="3147" y="1028"/>
                  <a:pt x="3149" y="1019"/>
                  <a:pt x="3154" y="1012"/>
                </a:cubicBezTo>
                <a:cubicBezTo>
                  <a:pt x="3158" y="1006"/>
                  <a:pt x="3165" y="1002"/>
                  <a:pt x="3174" y="1002"/>
                </a:cubicBezTo>
                <a:cubicBezTo>
                  <a:pt x="3190" y="1002"/>
                  <a:pt x="3198" y="1015"/>
                  <a:pt x="3198" y="1040"/>
                </a:cubicBezTo>
                <a:cubicBezTo>
                  <a:pt x="3198" y="1052"/>
                  <a:pt x="3196" y="1062"/>
                  <a:pt x="3191" y="1068"/>
                </a:cubicBezTo>
                <a:cubicBezTo>
                  <a:pt x="3186" y="1075"/>
                  <a:pt x="3180" y="1078"/>
                  <a:pt x="3172" y="1078"/>
                </a:cubicBezTo>
                <a:close/>
                <a:moveTo>
                  <a:pt x="3173" y="1012"/>
                </a:moveTo>
                <a:cubicBezTo>
                  <a:pt x="3164" y="1012"/>
                  <a:pt x="3159" y="1022"/>
                  <a:pt x="3159" y="1042"/>
                </a:cubicBezTo>
                <a:cubicBezTo>
                  <a:pt x="3159" y="1060"/>
                  <a:pt x="3163" y="1068"/>
                  <a:pt x="3172" y="1068"/>
                </a:cubicBezTo>
                <a:cubicBezTo>
                  <a:pt x="3181" y="1068"/>
                  <a:pt x="3186" y="1060"/>
                  <a:pt x="3186" y="1041"/>
                </a:cubicBezTo>
                <a:cubicBezTo>
                  <a:pt x="3186" y="1021"/>
                  <a:pt x="3181" y="1012"/>
                  <a:pt x="3173" y="1012"/>
                </a:cubicBezTo>
                <a:close/>
                <a:moveTo>
                  <a:pt x="2860" y="1037"/>
                </a:moveTo>
                <a:cubicBezTo>
                  <a:pt x="2860" y="1037"/>
                  <a:pt x="2860" y="1037"/>
                  <a:pt x="2860" y="1037"/>
                </a:cubicBezTo>
                <a:cubicBezTo>
                  <a:pt x="2860" y="1045"/>
                  <a:pt x="2860" y="1045"/>
                  <a:pt x="2860" y="1045"/>
                </a:cubicBezTo>
                <a:cubicBezTo>
                  <a:pt x="2866" y="1046"/>
                  <a:pt x="2867" y="1049"/>
                  <a:pt x="2867" y="1051"/>
                </a:cubicBezTo>
                <a:cubicBezTo>
                  <a:pt x="2867" y="1053"/>
                  <a:pt x="2866" y="1056"/>
                  <a:pt x="2866" y="1058"/>
                </a:cubicBezTo>
                <a:cubicBezTo>
                  <a:pt x="2866" y="1061"/>
                  <a:pt x="2866" y="1063"/>
                  <a:pt x="2866" y="1065"/>
                </a:cubicBezTo>
                <a:cubicBezTo>
                  <a:pt x="2866" y="1075"/>
                  <a:pt x="2872" y="1078"/>
                  <a:pt x="2880" y="1078"/>
                </a:cubicBezTo>
                <a:cubicBezTo>
                  <a:pt x="2880" y="1078"/>
                  <a:pt x="2880" y="1078"/>
                  <a:pt x="2884" y="1078"/>
                </a:cubicBezTo>
                <a:cubicBezTo>
                  <a:pt x="2884" y="1078"/>
                  <a:pt x="2884" y="1078"/>
                  <a:pt x="2884" y="1069"/>
                </a:cubicBezTo>
                <a:cubicBezTo>
                  <a:pt x="2884" y="1069"/>
                  <a:pt x="2884" y="1069"/>
                  <a:pt x="2882" y="1069"/>
                </a:cubicBezTo>
                <a:cubicBezTo>
                  <a:pt x="2879" y="1069"/>
                  <a:pt x="2877" y="1066"/>
                  <a:pt x="2877" y="1063"/>
                </a:cubicBezTo>
                <a:cubicBezTo>
                  <a:pt x="2877" y="1062"/>
                  <a:pt x="2877" y="1060"/>
                  <a:pt x="2878" y="1058"/>
                </a:cubicBezTo>
                <a:cubicBezTo>
                  <a:pt x="2878" y="1057"/>
                  <a:pt x="2878" y="1055"/>
                  <a:pt x="2878" y="1052"/>
                </a:cubicBezTo>
                <a:cubicBezTo>
                  <a:pt x="2878" y="1045"/>
                  <a:pt x="2875" y="1042"/>
                  <a:pt x="2870" y="1041"/>
                </a:cubicBezTo>
                <a:cubicBezTo>
                  <a:pt x="2870" y="1041"/>
                  <a:pt x="2870" y="1041"/>
                  <a:pt x="2870" y="1041"/>
                </a:cubicBezTo>
                <a:cubicBezTo>
                  <a:pt x="2875" y="1040"/>
                  <a:pt x="2878" y="1037"/>
                  <a:pt x="2878" y="1030"/>
                </a:cubicBezTo>
                <a:cubicBezTo>
                  <a:pt x="2878" y="1027"/>
                  <a:pt x="2878" y="1026"/>
                  <a:pt x="2878" y="1024"/>
                </a:cubicBezTo>
                <a:cubicBezTo>
                  <a:pt x="2877" y="1022"/>
                  <a:pt x="2877" y="1020"/>
                  <a:pt x="2877" y="1019"/>
                </a:cubicBezTo>
                <a:cubicBezTo>
                  <a:pt x="2877" y="1016"/>
                  <a:pt x="2879" y="1013"/>
                  <a:pt x="2882" y="1013"/>
                </a:cubicBezTo>
                <a:cubicBezTo>
                  <a:pt x="2882" y="1013"/>
                  <a:pt x="2882" y="1013"/>
                  <a:pt x="2884" y="1013"/>
                </a:cubicBezTo>
                <a:cubicBezTo>
                  <a:pt x="2884" y="1013"/>
                  <a:pt x="2884" y="1013"/>
                  <a:pt x="2884" y="1004"/>
                </a:cubicBezTo>
                <a:cubicBezTo>
                  <a:pt x="2884" y="1004"/>
                  <a:pt x="2884" y="1004"/>
                  <a:pt x="2880" y="1004"/>
                </a:cubicBezTo>
                <a:cubicBezTo>
                  <a:pt x="2871" y="1004"/>
                  <a:pt x="2866" y="1008"/>
                  <a:pt x="2866" y="1017"/>
                </a:cubicBezTo>
                <a:cubicBezTo>
                  <a:pt x="2866" y="1019"/>
                  <a:pt x="2866" y="1022"/>
                  <a:pt x="2866" y="1024"/>
                </a:cubicBezTo>
                <a:cubicBezTo>
                  <a:pt x="2866" y="1026"/>
                  <a:pt x="2867" y="1029"/>
                  <a:pt x="2867" y="1031"/>
                </a:cubicBezTo>
                <a:cubicBezTo>
                  <a:pt x="2867" y="1033"/>
                  <a:pt x="2866" y="1037"/>
                  <a:pt x="2860" y="1037"/>
                </a:cubicBezTo>
                <a:close/>
                <a:moveTo>
                  <a:pt x="2914" y="1045"/>
                </a:moveTo>
                <a:cubicBezTo>
                  <a:pt x="2914" y="1045"/>
                  <a:pt x="2914" y="1045"/>
                  <a:pt x="2914" y="1045"/>
                </a:cubicBezTo>
                <a:cubicBezTo>
                  <a:pt x="2914" y="1037"/>
                  <a:pt x="2914" y="1037"/>
                  <a:pt x="2914" y="1037"/>
                </a:cubicBezTo>
                <a:cubicBezTo>
                  <a:pt x="2908" y="1037"/>
                  <a:pt x="2908" y="1033"/>
                  <a:pt x="2908" y="1031"/>
                </a:cubicBezTo>
                <a:cubicBezTo>
                  <a:pt x="2908" y="1029"/>
                  <a:pt x="2908" y="1026"/>
                  <a:pt x="2908" y="1024"/>
                </a:cubicBezTo>
                <a:cubicBezTo>
                  <a:pt x="2909" y="1022"/>
                  <a:pt x="2909" y="1019"/>
                  <a:pt x="2909" y="1017"/>
                </a:cubicBezTo>
                <a:cubicBezTo>
                  <a:pt x="2909" y="1008"/>
                  <a:pt x="2903" y="1004"/>
                  <a:pt x="2894" y="1004"/>
                </a:cubicBezTo>
                <a:cubicBezTo>
                  <a:pt x="2894" y="1004"/>
                  <a:pt x="2894" y="1004"/>
                  <a:pt x="2890" y="1004"/>
                </a:cubicBezTo>
                <a:cubicBezTo>
                  <a:pt x="2890" y="1004"/>
                  <a:pt x="2890" y="1004"/>
                  <a:pt x="2890" y="1013"/>
                </a:cubicBezTo>
                <a:cubicBezTo>
                  <a:pt x="2890" y="1013"/>
                  <a:pt x="2890" y="1013"/>
                  <a:pt x="2892" y="1013"/>
                </a:cubicBezTo>
                <a:cubicBezTo>
                  <a:pt x="2896" y="1013"/>
                  <a:pt x="2897" y="1016"/>
                  <a:pt x="2897" y="1019"/>
                </a:cubicBezTo>
                <a:cubicBezTo>
                  <a:pt x="2897" y="1020"/>
                  <a:pt x="2897" y="1022"/>
                  <a:pt x="2897" y="1024"/>
                </a:cubicBezTo>
                <a:cubicBezTo>
                  <a:pt x="2896" y="1026"/>
                  <a:pt x="2896" y="1027"/>
                  <a:pt x="2896" y="1030"/>
                </a:cubicBezTo>
                <a:cubicBezTo>
                  <a:pt x="2896" y="1037"/>
                  <a:pt x="2899" y="1040"/>
                  <a:pt x="2905" y="1041"/>
                </a:cubicBezTo>
                <a:cubicBezTo>
                  <a:pt x="2905" y="1041"/>
                  <a:pt x="2905" y="1041"/>
                  <a:pt x="2905" y="1041"/>
                </a:cubicBezTo>
                <a:cubicBezTo>
                  <a:pt x="2899" y="1042"/>
                  <a:pt x="2896" y="1045"/>
                  <a:pt x="2896" y="1052"/>
                </a:cubicBezTo>
                <a:cubicBezTo>
                  <a:pt x="2896" y="1055"/>
                  <a:pt x="2896" y="1057"/>
                  <a:pt x="2897" y="1058"/>
                </a:cubicBezTo>
                <a:cubicBezTo>
                  <a:pt x="2897" y="1060"/>
                  <a:pt x="2897" y="1062"/>
                  <a:pt x="2897" y="1063"/>
                </a:cubicBezTo>
                <a:cubicBezTo>
                  <a:pt x="2897" y="1066"/>
                  <a:pt x="2896" y="1069"/>
                  <a:pt x="2892" y="1069"/>
                </a:cubicBezTo>
                <a:cubicBezTo>
                  <a:pt x="2892" y="1069"/>
                  <a:pt x="2892" y="1069"/>
                  <a:pt x="2890" y="1069"/>
                </a:cubicBezTo>
                <a:cubicBezTo>
                  <a:pt x="2890" y="1069"/>
                  <a:pt x="2890" y="1069"/>
                  <a:pt x="2890" y="1078"/>
                </a:cubicBezTo>
                <a:cubicBezTo>
                  <a:pt x="2890" y="1078"/>
                  <a:pt x="2890" y="1078"/>
                  <a:pt x="2894" y="1078"/>
                </a:cubicBezTo>
                <a:cubicBezTo>
                  <a:pt x="2903" y="1078"/>
                  <a:pt x="2909" y="1075"/>
                  <a:pt x="2909" y="1065"/>
                </a:cubicBezTo>
                <a:cubicBezTo>
                  <a:pt x="2909" y="1063"/>
                  <a:pt x="2909" y="1061"/>
                  <a:pt x="2908" y="1058"/>
                </a:cubicBezTo>
                <a:cubicBezTo>
                  <a:pt x="2908" y="1056"/>
                  <a:pt x="2908" y="1053"/>
                  <a:pt x="2908" y="1051"/>
                </a:cubicBezTo>
                <a:cubicBezTo>
                  <a:pt x="2908" y="1049"/>
                  <a:pt x="2908" y="1046"/>
                  <a:pt x="2914" y="1045"/>
                </a:cubicBezTo>
                <a:close/>
                <a:moveTo>
                  <a:pt x="3384" y="1078"/>
                </a:moveTo>
                <a:cubicBezTo>
                  <a:pt x="3377" y="1078"/>
                  <a:pt x="3371" y="1075"/>
                  <a:pt x="3366" y="1068"/>
                </a:cubicBezTo>
                <a:cubicBezTo>
                  <a:pt x="3362" y="1063"/>
                  <a:pt x="3360" y="1053"/>
                  <a:pt x="3360" y="1042"/>
                </a:cubicBezTo>
                <a:cubicBezTo>
                  <a:pt x="3360" y="1028"/>
                  <a:pt x="3362" y="1019"/>
                  <a:pt x="3366" y="1012"/>
                </a:cubicBezTo>
                <a:cubicBezTo>
                  <a:pt x="3371" y="1005"/>
                  <a:pt x="3377" y="1002"/>
                  <a:pt x="3386" y="1002"/>
                </a:cubicBezTo>
                <a:cubicBezTo>
                  <a:pt x="3402" y="1002"/>
                  <a:pt x="3410" y="1015"/>
                  <a:pt x="3410" y="1039"/>
                </a:cubicBezTo>
                <a:cubicBezTo>
                  <a:pt x="3410" y="1052"/>
                  <a:pt x="3408" y="1062"/>
                  <a:pt x="3404" y="1068"/>
                </a:cubicBezTo>
                <a:cubicBezTo>
                  <a:pt x="3399" y="1075"/>
                  <a:pt x="3393" y="1078"/>
                  <a:pt x="3384" y="1078"/>
                </a:cubicBezTo>
                <a:close/>
                <a:moveTo>
                  <a:pt x="3385" y="1012"/>
                </a:moveTo>
                <a:cubicBezTo>
                  <a:pt x="3377" y="1012"/>
                  <a:pt x="3372" y="1021"/>
                  <a:pt x="3372" y="1041"/>
                </a:cubicBezTo>
                <a:cubicBezTo>
                  <a:pt x="3372" y="1059"/>
                  <a:pt x="3377" y="1068"/>
                  <a:pt x="3385" y="1068"/>
                </a:cubicBezTo>
                <a:cubicBezTo>
                  <a:pt x="3393" y="1068"/>
                  <a:pt x="3398" y="1059"/>
                  <a:pt x="3398" y="1041"/>
                </a:cubicBezTo>
                <a:cubicBezTo>
                  <a:pt x="3398" y="1021"/>
                  <a:pt x="3394" y="1012"/>
                  <a:pt x="3385" y="1012"/>
                </a:cubicBezTo>
                <a:close/>
                <a:moveTo>
                  <a:pt x="3502" y="1078"/>
                </a:moveTo>
                <a:cubicBezTo>
                  <a:pt x="3495" y="1078"/>
                  <a:pt x="3489" y="1075"/>
                  <a:pt x="3485" y="1068"/>
                </a:cubicBezTo>
                <a:cubicBezTo>
                  <a:pt x="3480" y="1063"/>
                  <a:pt x="3478" y="1053"/>
                  <a:pt x="3478" y="1042"/>
                </a:cubicBezTo>
                <a:cubicBezTo>
                  <a:pt x="3478" y="1028"/>
                  <a:pt x="3480" y="1019"/>
                  <a:pt x="3485" y="1012"/>
                </a:cubicBezTo>
                <a:cubicBezTo>
                  <a:pt x="3489" y="1005"/>
                  <a:pt x="3495" y="1002"/>
                  <a:pt x="3504" y="1002"/>
                </a:cubicBezTo>
                <a:cubicBezTo>
                  <a:pt x="3520" y="1002"/>
                  <a:pt x="3528" y="1015"/>
                  <a:pt x="3528" y="1039"/>
                </a:cubicBezTo>
                <a:cubicBezTo>
                  <a:pt x="3528" y="1052"/>
                  <a:pt x="3526" y="1062"/>
                  <a:pt x="3522" y="1068"/>
                </a:cubicBezTo>
                <a:cubicBezTo>
                  <a:pt x="3517" y="1075"/>
                  <a:pt x="3511" y="1078"/>
                  <a:pt x="3502" y="1078"/>
                </a:cubicBezTo>
                <a:close/>
                <a:moveTo>
                  <a:pt x="3503" y="1012"/>
                </a:moveTo>
                <a:cubicBezTo>
                  <a:pt x="3495" y="1012"/>
                  <a:pt x="3490" y="1021"/>
                  <a:pt x="3490" y="1041"/>
                </a:cubicBezTo>
                <a:cubicBezTo>
                  <a:pt x="3490" y="1059"/>
                  <a:pt x="3495" y="1068"/>
                  <a:pt x="3503" y="1068"/>
                </a:cubicBezTo>
                <a:cubicBezTo>
                  <a:pt x="3512" y="1068"/>
                  <a:pt x="3516" y="1059"/>
                  <a:pt x="3516" y="1041"/>
                </a:cubicBezTo>
                <a:cubicBezTo>
                  <a:pt x="3516" y="1021"/>
                  <a:pt x="3512" y="1012"/>
                  <a:pt x="3503" y="1012"/>
                </a:cubicBezTo>
                <a:close/>
                <a:moveTo>
                  <a:pt x="3457" y="1005"/>
                </a:moveTo>
                <a:cubicBezTo>
                  <a:pt x="3457" y="1005"/>
                  <a:pt x="3457" y="1005"/>
                  <a:pt x="3457" y="1005"/>
                </a:cubicBezTo>
                <a:cubicBezTo>
                  <a:pt x="3452" y="1005"/>
                  <a:pt x="3452" y="1005"/>
                  <a:pt x="3452" y="1005"/>
                </a:cubicBezTo>
                <a:cubicBezTo>
                  <a:pt x="3450" y="1006"/>
                  <a:pt x="3449" y="1007"/>
                  <a:pt x="3447" y="1008"/>
                </a:cubicBezTo>
                <a:cubicBezTo>
                  <a:pt x="3445" y="1010"/>
                  <a:pt x="3443" y="1010"/>
                  <a:pt x="3442" y="1011"/>
                </a:cubicBezTo>
                <a:cubicBezTo>
                  <a:pt x="3440" y="1012"/>
                  <a:pt x="3438" y="1013"/>
                  <a:pt x="3437" y="1013"/>
                </a:cubicBezTo>
                <a:cubicBezTo>
                  <a:pt x="3434" y="1014"/>
                  <a:pt x="3433" y="1015"/>
                  <a:pt x="3431" y="1015"/>
                </a:cubicBezTo>
                <a:cubicBezTo>
                  <a:pt x="3431" y="1015"/>
                  <a:pt x="3431" y="1015"/>
                  <a:pt x="3431" y="1026"/>
                </a:cubicBezTo>
                <a:cubicBezTo>
                  <a:pt x="3434" y="1025"/>
                  <a:pt x="3437" y="1023"/>
                  <a:pt x="3439" y="1023"/>
                </a:cubicBezTo>
                <a:cubicBezTo>
                  <a:pt x="3442" y="1022"/>
                  <a:pt x="3444" y="1021"/>
                  <a:pt x="3446" y="1019"/>
                </a:cubicBezTo>
                <a:cubicBezTo>
                  <a:pt x="3446" y="1019"/>
                  <a:pt x="3446" y="1019"/>
                  <a:pt x="3446" y="1078"/>
                </a:cubicBezTo>
                <a:cubicBezTo>
                  <a:pt x="3446" y="1078"/>
                  <a:pt x="3446" y="1078"/>
                  <a:pt x="3457" y="1078"/>
                </a:cubicBezTo>
                <a:cubicBezTo>
                  <a:pt x="3457" y="1078"/>
                  <a:pt x="3457" y="1078"/>
                  <a:pt x="3457" y="1005"/>
                </a:cubicBezTo>
                <a:close/>
                <a:moveTo>
                  <a:pt x="3573" y="1078"/>
                </a:moveTo>
                <a:cubicBezTo>
                  <a:pt x="3566" y="1078"/>
                  <a:pt x="3559" y="1075"/>
                  <a:pt x="3556" y="1069"/>
                </a:cubicBezTo>
                <a:cubicBezTo>
                  <a:pt x="3551" y="1063"/>
                  <a:pt x="3549" y="1054"/>
                  <a:pt x="3549" y="1042"/>
                </a:cubicBezTo>
                <a:cubicBezTo>
                  <a:pt x="3549" y="1028"/>
                  <a:pt x="3551" y="1019"/>
                  <a:pt x="3556" y="1012"/>
                </a:cubicBezTo>
                <a:cubicBezTo>
                  <a:pt x="3560" y="1006"/>
                  <a:pt x="3567" y="1002"/>
                  <a:pt x="3575" y="1002"/>
                </a:cubicBezTo>
                <a:cubicBezTo>
                  <a:pt x="3591" y="1002"/>
                  <a:pt x="3599" y="1015"/>
                  <a:pt x="3599" y="1040"/>
                </a:cubicBezTo>
                <a:cubicBezTo>
                  <a:pt x="3599" y="1052"/>
                  <a:pt x="3597" y="1062"/>
                  <a:pt x="3593" y="1068"/>
                </a:cubicBezTo>
                <a:cubicBezTo>
                  <a:pt x="3588" y="1075"/>
                  <a:pt x="3582" y="1078"/>
                  <a:pt x="3573" y="1078"/>
                </a:cubicBezTo>
                <a:close/>
                <a:moveTo>
                  <a:pt x="3575" y="1012"/>
                </a:moveTo>
                <a:cubicBezTo>
                  <a:pt x="3566" y="1012"/>
                  <a:pt x="3561" y="1022"/>
                  <a:pt x="3561" y="1042"/>
                </a:cubicBezTo>
                <a:cubicBezTo>
                  <a:pt x="3561" y="1060"/>
                  <a:pt x="3565" y="1068"/>
                  <a:pt x="3574" y="1068"/>
                </a:cubicBezTo>
                <a:cubicBezTo>
                  <a:pt x="3583" y="1068"/>
                  <a:pt x="3587" y="1060"/>
                  <a:pt x="3587" y="1041"/>
                </a:cubicBezTo>
                <a:cubicBezTo>
                  <a:pt x="3587" y="1021"/>
                  <a:pt x="3583" y="1012"/>
                  <a:pt x="3575" y="1012"/>
                </a:cubicBezTo>
                <a:close/>
                <a:moveTo>
                  <a:pt x="3620" y="1037"/>
                </a:moveTo>
                <a:cubicBezTo>
                  <a:pt x="3620" y="1037"/>
                  <a:pt x="3620" y="1037"/>
                  <a:pt x="3620" y="1037"/>
                </a:cubicBezTo>
                <a:cubicBezTo>
                  <a:pt x="3620" y="1045"/>
                  <a:pt x="3620" y="1045"/>
                  <a:pt x="3620" y="1045"/>
                </a:cubicBezTo>
                <a:cubicBezTo>
                  <a:pt x="3626" y="1046"/>
                  <a:pt x="3627" y="1049"/>
                  <a:pt x="3627" y="1051"/>
                </a:cubicBezTo>
                <a:cubicBezTo>
                  <a:pt x="3627" y="1053"/>
                  <a:pt x="3627" y="1056"/>
                  <a:pt x="3627" y="1058"/>
                </a:cubicBezTo>
                <a:cubicBezTo>
                  <a:pt x="3626" y="1061"/>
                  <a:pt x="3626" y="1063"/>
                  <a:pt x="3626" y="1065"/>
                </a:cubicBezTo>
                <a:cubicBezTo>
                  <a:pt x="3626" y="1075"/>
                  <a:pt x="3632" y="1078"/>
                  <a:pt x="3640" y="1078"/>
                </a:cubicBezTo>
                <a:cubicBezTo>
                  <a:pt x="3640" y="1078"/>
                  <a:pt x="3640" y="1078"/>
                  <a:pt x="3644" y="1078"/>
                </a:cubicBezTo>
                <a:cubicBezTo>
                  <a:pt x="3644" y="1078"/>
                  <a:pt x="3644" y="1078"/>
                  <a:pt x="3644" y="1069"/>
                </a:cubicBezTo>
                <a:cubicBezTo>
                  <a:pt x="3644" y="1069"/>
                  <a:pt x="3644" y="1069"/>
                  <a:pt x="3643" y="1069"/>
                </a:cubicBezTo>
                <a:cubicBezTo>
                  <a:pt x="3639" y="1069"/>
                  <a:pt x="3638" y="1066"/>
                  <a:pt x="3638" y="1063"/>
                </a:cubicBezTo>
                <a:cubicBezTo>
                  <a:pt x="3638" y="1062"/>
                  <a:pt x="3638" y="1060"/>
                  <a:pt x="3638" y="1058"/>
                </a:cubicBezTo>
                <a:cubicBezTo>
                  <a:pt x="3638" y="1057"/>
                  <a:pt x="3638" y="1055"/>
                  <a:pt x="3638" y="1052"/>
                </a:cubicBezTo>
                <a:cubicBezTo>
                  <a:pt x="3638" y="1045"/>
                  <a:pt x="3636" y="1042"/>
                  <a:pt x="3630" y="1041"/>
                </a:cubicBezTo>
                <a:cubicBezTo>
                  <a:pt x="3630" y="1041"/>
                  <a:pt x="3630" y="1041"/>
                  <a:pt x="3630" y="1041"/>
                </a:cubicBezTo>
                <a:cubicBezTo>
                  <a:pt x="3636" y="1040"/>
                  <a:pt x="3638" y="1037"/>
                  <a:pt x="3638" y="1030"/>
                </a:cubicBezTo>
                <a:cubicBezTo>
                  <a:pt x="3638" y="1027"/>
                  <a:pt x="3638" y="1026"/>
                  <a:pt x="3638" y="1024"/>
                </a:cubicBezTo>
                <a:cubicBezTo>
                  <a:pt x="3638" y="1022"/>
                  <a:pt x="3638" y="1020"/>
                  <a:pt x="3638" y="1019"/>
                </a:cubicBezTo>
                <a:cubicBezTo>
                  <a:pt x="3638" y="1016"/>
                  <a:pt x="3639" y="1013"/>
                  <a:pt x="3643" y="1013"/>
                </a:cubicBezTo>
                <a:cubicBezTo>
                  <a:pt x="3643" y="1013"/>
                  <a:pt x="3643" y="1013"/>
                  <a:pt x="3644" y="1013"/>
                </a:cubicBezTo>
                <a:cubicBezTo>
                  <a:pt x="3644" y="1013"/>
                  <a:pt x="3644" y="1013"/>
                  <a:pt x="3644" y="1004"/>
                </a:cubicBezTo>
                <a:cubicBezTo>
                  <a:pt x="3644" y="1004"/>
                  <a:pt x="3644" y="1004"/>
                  <a:pt x="3640" y="1004"/>
                </a:cubicBezTo>
                <a:cubicBezTo>
                  <a:pt x="3631" y="1004"/>
                  <a:pt x="3626" y="1008"/>
                  <a:pt x="3626" y="1017"/>
                </a:cubicBezTo>
                <a:cubicBezTo>
                  <a:pt x="3626" y="1019"/>
                  <a:pt x="3626" y="1022"/>
                  <a:pt x="3626" y="1024"/>
                </a:cubicBezTo>
                <a:cubicBezTo>
                  <a:pt x="3627" y="1026"/>
                  <a:pt x="3627" y="1029"/>
                  <a:pt x="3627" y="1031"/>
                </a:cubicBezTo>
                <a:cubicBezTo>
                  <a:pt x="3627" y="1033"/>
                  <a:pt x="3626" y="1037"/>
                  <a:pt x="3620" y="1037"/>
                </a:cubicBezTo>
                <a:close/>
                <a:moveTo>
                  <a:pt x="3675" y="1045"/>
                </a:moveTo>
                <a:cubicBezTo>
                  <a:pt x="3675" y="1045"/>
                  <a:pt x="3675" y="1045"/>
                  <a:pt x="3675" y="1045"/>
                </a:cubicBezTo>
                <a:cubicBezTo>
                  <a:pt x="3675" y="1037"/>
                  <a:pt x="3675" y="1037"/>
                  <a:pt x="3675" y="1037"/>
                </a:cubicBezTo>
                <a:cubicBezTo>
                  <a:pt x="3668" y="1037"/>
                  <a:pt x="3668" y="1033"/>
                  <a:pt x="3668" y="1031"/>
                </a:cubicBezTo>
                <a:cubicBezTo>
                  <a:pt x="3668" y="1029"/>
                  <a:pt x="3668" y="1026"/>
                  <a:pt x="3668" y="1024"/>
                </a:cubicBezTo>
                <a:cubicBezTo>
                  <a:pt x="3669" y="1022"/>
                  <a:pt x="3669" y="1019"/>
                  <a:pt x="3669" y="1017"/>
                </a:cubicBezTo>
                <a:cubicBezTo>
                  <a:pt x="3669" y="1008"/>
                  <a:pt x="3664" y="1004"/>
                  <a:pt x="3654" y="1004"/>
                </a:cubicBezTo>
                <a:cubicBezTo>
                  <a:pt x="3654" y="1004"/>
                  <a:pt x="3654" y="1004"/>
                  <a:pt x="3651" y="1004"/>
                </a:cubicBezTo>
                <a:cubicBezTo>
                  <a:pt x="3651" y="1004"/>
                  <a:pt x="3651" y="1004"/>
                  <a:pt x="3651" y="1013"/>
                </a:cubicBezTo>
                <a:cubicBezTo>
                  <a:pt x="3651" y="1013"/>
                  <a:pt x="3651" y="1013"/>
                  <a:pt x="3652" y="1013"/>
                </a:cubicBezTo>
                <a:cubicBezTo>
                  <a:pt x="3656" y="1013"/>
                  <a:pt x="3657" y="1016"/>
                  <a:pt x="3657" y="1019"/>
                </a:cubicBezTo>
                <a:cubicBezTo>
                  <a:pt x="3657" y="1020"/>
                  <a:pt x="3657" y="1022"/>
                  <a:pt x="3657" y="1024"/>
                </a:cubicBezTo>
                <a:cubicBezTo>
                  <a:pt x="3657" y="1026"/>
                  <a:pt x="3657" y="1027"/>
                  <a:pt x="3657" y="1030"/>
                </a:cubicBezTo>
                <a:cubicBezTo>
                  <a:pt x="3657" y="1037"/>
                  <a:pt x="3659" y="1040"/>
                  <a:pt x="3665" y="1041"/>
                </a:cubicBezTo>
                <a:cubicBezTo>
                  <a:pt x="3665" y="1041"/>
                  <a:pt x="3665" y="1041"/>
                  <a:pt x="3665" y="1041"/>
                </a:cubicBezTo>
                <a:cubicBezTo>
                  <a:pt x="3659" y="1042"/>
                  <a:pt x="3657" y="1045"/>
                  <a:pt x="3657" y="1052"/>
                </a:cubicBezTo>
                <a:cubicBezTo>
                  <a:pt x="3657" y="1055"/>
                  <a:pt x="3657" y="1057"/>
                  <a:pt x="3657" y="1058"/>
                </a:cubicBezTo>
                <a:cubicBezTo>
                  <a:pt x="3657" y="1060"/>
                  <a:pt x="3657" y="1062"/>
                  <a:pt x="3657" y="1063"/>
                </a:cubicBezTo>
                <a:cubicBezTo>
                  <a:pt x="3657" y="1066"/>
                  <a:pt x="3656" y="1069"/>
                  <a:pt x="3652" y="1069"/>
                </a:cubicBezTo>
                <a:cubicBezTo>
                  <a:pt x="3652" y="1069"/>
                  <a:pt x="3652" y="1069"/>
                  <a:pt x="3651" y="1069"/>
                </a:cubicBezTo>
                <a:cubicBezTo>
                  <a:pt x="3651" y="1069"/>
                  <a:pt x="3651" y="1069"/>
                  <a:pt x="3651" y="1078"/>
                </a:cubicBezTo>
                <a:cubicBezTo>
                  <a:pt x="3651" y="1078"/>
                  <a:pt x="3651" y="1078"/>
                  <a:pt x="3654" y="1078"/>
                </a:cubicBezTo>
                <a:cubicBezTo>
                  <a:pt x="3663" y="1078"/>
                  <a:pt x="3669" y="1075"/>
                  <a:pt x="3669" y="1065"/>
                </a:cubicBezTo>
                <a:cubicBezTo>
                  <a:pt x="3669" y="1063"/>
                  <a:pt x="3669" y="1061"/>
                  <a:pt x="3668" y="1058"/>
                </a:cubicBezTo>
                <a:cubicBezTo>
                  <a:pt x="3668" y="1056"/>
                  <a:pt x="3668" y="1053"/>
                  <a:pt x="3668" y="1051"/>
                </a:cubicBezTo>
                <a:cubicBezTo>
                  <a:pt x="3668" y="1049"/>
                  <a:pt x="3668" y="1046"/>
                  <a:pt x="3675" y="1045"/>
                </a:cubicBezTo>
                <a:close/>
                <a:moveTo>
                  <a:pt x="3795" y="1078"/>
                </a:moveTo>
                <a:cubicBezTo>
                  <a:pt x="3788" y="1078"/>
                  <a:pt x="3781" y="1075"/>
                  <a:pt x="3777" y="1069"/>
                </a:cubicBezTo>
                <a:cubicBezTo>
                  <a:pt x="3773" y="1063"/>
                  <a:pt x="3771" y="1054"/>
                  <a:pt x="3771" y="1042"/>
                </a:cubicBezTo>
                <a:cubicBezTo>
                  <a:pt x="3771" y="1028"/>
                  <a:pt x="3773" y="1019"/>
                  <a:pt x="3777" y="1012"/>
                </a:cubicBezTo>
                <a:cubicBezTo>
                  <a:pt x="3782" y="1006"/>
                  <a:pt x="3788" y="1002"/>
                  <a:pt x="3797" y="1002"/>
                </a:cubicBezTo>
                <a:cubicBezTo>
                  <a:pt x="3813" y="1002"/>
                  <a:pt x="3821" y="1015"/>
                  <a:pt x="3821" y="1040"/>
                </a:cubicBezTo>
                <a:cubicBezTo>
                  <a:pt x="3821" y="1052"/>
                  <a:pt x="3819" y="1062"/>
                  <a:pt x="3814" y="1068"/>
                </a:cubicBezTo>
                <a:cubicBezTo>
                  <a:pt x="3809" y="1075"/>
                  <a:pt x="3803" y="1078"/>
                  <a:pt x="3795" y="1078"/>
                </a:cubicBezTo>
                <a:close/>
                <a:moveTo>
                  <a:pt x="3796" y="1012"/>
                </a:moveTo>
                <a:cubicBezTo>
                  <a:pt x="3787" y="1012"/>
                  <a:pt x="3782" y="1022"/>
                  <a:pt x="3782" y="1042"/>
                </a:cubicBezTo>
                <a:cubicBezTo>
                  <a:pt x="3782" y="1060"/>
                  <a:pt x="3787" y="1068"/>
                  <a:pt x="3796" y="1068"/>
                </a:cubicBezTo>
                <a:cubicBezTo>
                  <a:pt x="3804" y="1068"/>
                  <a:pt x="3809" y="1060"/>
                  <a:pt x="3809" y="1041"/>
                </a:cubicBezTo>
                <a:cubicBezTo>
                  <a:pt x="3809" y="1021"/>
                  <a:pt x="3804" y="1012"/>
                  <a:pt x="3796" y="1012"/>
                </a:cubicBezTo>
                <a:close/>
                <a:moveTo>
                  <a:pt x="3869" y="1005"/>
                </a:moveTo>
                <a:cubicBezTo>
                  <a:pt x="3869" y="1005"/>
                  <a:pt x="3869" y="1005"/>
                  <a:pt x="3869" y="1005"/>
                </a:cubicBezTo>
                <a:cubicBezTo>
                  <a:pt x="3864" y="1005"/>
                  <a:pt x="3864" y="1005"/>
                  <a:pt x="3864" y="1005"/>
                </a:cubicBezTo>
                <a:cubicBezTo>
                  <a:pt x="3861" y="1006"/>
                  <a:pt x="3860" y="1007"/>
                  <a:pt x="3858" y="1008"/>
                </a:cubicBezTo>
                <a:cubicBezTo>
                  <a:pt x="3856" y="1010"/>
                  <a:pt x="3854" y="1010"/>
                  <a:pt x="3853" y="1011"/>
                </a:cubicBezTo>
                <a:cubicBezTo>
                  <a:pt x="3850" y="1012"/>
                  <a:pt x="3849" y="1013"/>
                  <a:pt x="3848" y="1013"/>
                </a:cubicBezTo>
                <a:cubicBezTo>
                  <a:pt x="3845" y="1014"/>
                  <a:pt x="3844" y="1015"/>
                  <a:pt x="3842" y="1015"/>
                </a:cubicBezTo>
                <a:cubicBezTo>
                  <a:pt x="3842" y="1015"/>
                  <a:pt x="3842" y="1015"/>
                  <a:pt x="3842" y="1026"/>
                </a:cubicBezTo>
                <a:cubicBezTo>
                  <a:pt x="3845" y="1025"/>
                  <a:pt x="3848" y="1023"/>
                  <a:pt x="3850" y="1023"/>
                </a:cubicBezTo>
                <a:cubicBezTo>
                  <a:pt x="3853" y="1022"/>
                  <a:pt x="3855" y="1021"/>
                  <a:pt x="3857" y="1019"/>
                </a:cubicBezTo>
                <a:cubicBezTo>
                  <a:pt x="3857" y="1019"/>
                  <a:pt x="3857" y="1019"/>
                  <a:pt x="3857" y="1078"/>
                </a:cubicBezTo>
                <a:cubicBezTo>
                  <a:pt x="3857" y="1078"/>
                  <a:pt x="3857" y="1078"/>
                  <a:pt x="3869" y="1078"/>
                </a:cubicBezTo>
                <a:cubicBezTo>
                  <a:pt x="3869" y="1078"/>
                  <a:pt x="3869" y="1078"/>
                  <a:pt x="3869" y="1005"/>
                </a:cubicBezTo>
                <a:close/>
                <a:moveTo>
                  <a:pt x="2065" y="957"/>
                </a:moveTo>
                <a:cubicBezTo>
                  <a:pt x="2066" y="958"/>
                  <a:pt x="2066" y="960"/>
                  <a:pt x="2067" y="961"/>
                </a:cubicBezTo>
                <a:cubicBezTo>
                  <a:pt x="2067" y="963"/>
                  <a:pt x="2068" y="965"/>
                  <a:pt x="2068" y="966"/>
                </a:cubicBezTo>
                <a:cubicBezTo>
                  <a:pt x="2068" y="968"/>
                  <a:pt x="2068" y="969"/>
                  <a:pt x="2068" y="971"/>
                </a:cubicBezTo>
                <a:cubicBezTo>
                  <a:pt x="2069" y="974"/>
                  <a:pt x="2068" y="976"/>
                  <a:pt x="2065" y="976"/>
                </a:cubicBezTo>
                <a:cubicBezTo>
                  <a:pt x="2062" y="976"/>
                  <a:pt x="2059" y="975"/>
                  <a:pt x="2057" y="975"/>
                </a:cubicBezTo>
                <a:cubicBezTo>
                  <a:pt x="2056" y="975"/>
                  <a:pt x="2055" y="975"/>
                  <a:pt x="2055" y="976"/>
                </a:cubicBezTo>
                <a:cubicBezTo>
                  <a:pt x="2054" y="977"/>
                  <a:pt x="2052" y="979"/>
                  <a:pt x="2051" y="980"/>
                </a:cubicBezTo>
                <a:cubicBezTo>
                  <a:pt x="2049" y="983"/>
                  <a:pt x="2046" y="983"/>
                  <a:pt x="2043" y="981"/>
                </a:cubicBezTo>
                <a:cubicBezTo>
                  <a:pt x="2041" y="979"/>
                  <a:pt x="2040" y="976"/>
                  <a:pt x="2039" y="973"/>
                </a:cubicBezTo>
                <a:cubicBezTo>
                  <a:pt x="2038" y="972"/>
                  <a:pt x="2038" y="970"/>
                  <a:pt x="2041" y="969"/>
                </a:cubicBezTo>
                <a:cubicBezTo>
                  <a:pt x="2038" y="969"/>
                  <a:pt x="2036" y="969"/>
                  <a:pt x="2035" y="969"/>
                </a:cubicBezTo>
                <a:cubicBezTo>
                  <a:pt x="2034" y="971"/>
                  <a:pt x="2033" y="973"/>
                  <a:pt x="2032" y="975"/>
                </a:cubicBezTo>
                <a:cubicBezTo>
                  <a:pt x="2032" y="975"/>
                  <a:pt x="2032" y="976"/>
                  <a:pt x="2032" y="977"/>
                </a:cubicBezTo>
                <a:cubicBezTo>
                  <a:pt x="2032" y="980"/>
                  <a:pt x="2030" y="981"/>
                  <a:pt x="2027" y="981"/>
                </a:cubicBezTo>
                <a:cubicBezTo>
                  <a:pt x="2024" y="981"/>
                  <a:pt x="2021" y="980"/>
                  <a:pt x="2018" y="979"/>
                </a:cubicBezTo>
                <a:cubicBezTo>
                  <a:pt x="2016" y="978"/>
                  <a:pt x="2016" y="977"/>
                  <a:pt x="2016" y="975"/>
                </a:cubicBezTo>
                <a:cubicBezTo>
                  <a:pt x="2017" y="974"/>
                  <a:pt x="2017" y="973"/>
                  <a:pt x="2017" y="973"/>
                </a:cubicBezTo>
                <a:cubicBezTo>
                  <a:pt x="2015" y="972"/>
                  <a:pt x="2012" y="971"/>
                  <a:pt x="2010" y="969"/>
                </a:cubicBezTo>
                <a:cubicBezTo>
                  <a:pt x="2009" y="969"/>
                  <a:pt x="2008" y="967"/>
                  <a:pt x="2007" y="965"/>
                </a:cubicBezTo>
                <a:cubicBezTo>
                  <a:pt x="2006" y="963"/>
                  <a:pt x="2006" y="962"/>
                  <a:pt x="2008" y="960"/>
                </a:cubicBezTo>
                <a:cubicBezTo>
                  <a:pt x="2012" y="958"/>
                  <a:pt x="2012" y="955"/>
                  <a:pt x="2012" y="951"/>
                </a:cubicBezTo>
                <a:cubicBezTo>
                  <a:pt x="2012" y="949"/>
                  <a:pt x="2012" y="947"/>
                  <a:pt x="2012" y="945"/>
                </a:cubicBezTo>
                <a:cubicBezTo>
                  <a:pt x="2010" y="944"/>
                  <a:pt x="2008" y="944"/>
                  <a:pt x="2008" y="943"/>
                </a:cubicBezTo>
                <a:cubicBezTo>
                  <a:pt x="2006" y="941"/>
                  <a:pt x="2006" y="939"/>
                  <a:pt x="2006" y="937"/>
                </a:cubicBezTo>
                <a:cubicBezTo>
                  <a:pt x="2005" y="934"/>
                  <a:pt x="2009" y="931"/>
                  <a:pt x="2012" y="931"/>
                </a:cubicBezTo>
                <a:cubicBezTo>
                  <a:pt x="2012" y="931"/>
                  <a:pt x="2012" y="932"/>
                  <a:pt x="2012" y="933"/>
                </a:cubicBezTo>
                <a:cubicBezTo>
                  <a:pt x="2012" y="934"/>
                  <a:pt x="2012" y="935"/>
                  <a:pt x="2013" y="936"/>
                </a:cubicBezTo>
                <a:cubicBezTo>
                  <a:pt x="2012" y="936"/>
                  <a:pt x="2012" y="936"/>
                  <a:pt x="2011" y="936"/>
                </a:cubicBezTo>
                <a:cubicBezTo>
                  <a:pt x="2011" y="937"/>
                  <a:pt x="2010" y="938"/>
                  <a:pt x="2010" y="940"/>
                </a:cubicBezTo>
                <a:cubicBezTo>
                  <a:pt x="2011" y="940"/>
                  <a:pt x="2012" y="940"/>
                  <a:pt x="2012" y="939"/>
                </a:cubicBezTo>
                <a:cubicBezTo>
                  <a:pt x="2013" y="938"/>
                  <a:pt x="2014" y="937"/>
                  <a:pt x="2015" y="936"/>
                </a:cubicBezTo>
                <a:cubicBezTo>
                  <a:pt x="2019" y="929"/>
                  <a:pt x="2025" y="926"/>
                  <a:pt x="2033" y="924"/>
                </a:cubicBezTo>
                <a:cubicBezTo>
                  <a:pt x="2036" y="924"/>
                  <a:pt x="2039" y="922"/>
                  <a:pt x="2041" y="920"/>
                </a:cubicBezTo>
                <a:cubicBezTo>
                  <a:pt x="2041" y="919"/>
                  <a:pt x="2042" y="919"/>
                  <a:pt x="2043" y="919"/>
                </a:cubicBezTo>
                <a:cubicBezTo>
                  <a:pt x="2045" y="918"/>
                  <a:pt x="2047" y="916"/>
                  <a:pt x="2049" y="914"/>
                </a:cubicBezTo>
                <a:cubicBezTo>
                  <a:pt x="2056" y="907"/>
                  <a:pt x="2068" y="906"/>
                  <a:pt x="2076" y="913"/>
                </a:cubicBezTo>
                <a:cubicBezTo>
                  <a:pt x="2078" y="915"/>
                  <a:pt x="2081" y="917"/>
                  <a:pt x="2083" y="919"/>
                </a:cubicBezTo>
                <a:cubicBezTo>
                  <a:pt x="2085" y="920"/>
                  <a:pt x="2086" y="922"/>
                  <a:pt x="2087" y="924"/>
                </a:cubicBezTo>
                <a:cubicBezTo>
                  <a:pt x="2088" y="925"/>
                  <a:pt x="2089" y="925"/>
                  <a:pt x="2090" y="924"/>
                </a:cubicBezTo>
                <a:cubicBezTo>
                  <a:pt x="2091" y="924"/>
                  <a:pt x="2092" y="923"/>
                  <a:pt x="2092" y="922"/>
                </a:cubicBezTo>
                <a:cubicBezTo>
                  <a:pt x="2094" y="919"/>
                  <a:pt x="2097" y="919"/>
                  <a:pt x="2099" y="922"/>
                </a:cubicBezTo>
                <a:cubicBezTo>
                  <a:pt x="2100" y="926"/>
                  <a:pt x="2101" y="928"/>
                  <a:pt x="2101" y="931"/>
                </a:cubicBezTo>
                <a:cubicBezTo>
                  <a:pt x="2102" y="936"/>
                  <a:pt x="2101" y="940"/>
                  <a:pt x="2100" y="945"/>
                </a:cubicBezTo>
                <a:cubicBezTo>
                  <a:pt x="2097" y="951"/>
                  <a:pt x="2093" y="954"/>
                  <a:pt x="2086" y="954"/>
                </a:cubicBezTo>
                <a:cubicBezTo>
                  <a:pt x="2085" y="954"/>
                  <a:pt x="2085" y="954"/>
                  <a:pt x="2084" y="954"/>
                </a:cubicBezTo>
                <a:cubicBezTo>
                  <a:pt x="2082" y="954"/>
                  <a:pt x="2081" y="954"/>
                  <a:pt x="2080" y="957"/>
                </a:cubicBezTo>
                <a:cubicBezTo>
                  <a:pt x="2078" y="961"/>
                  <a:pt x="2073" y="963"/>
                  <a:pt x="2069" y="960"/>
                </a:cubicBezTo>
                <a:cubicBezTo>
                  <a:pt x="2068" y="958"/>
                  <a:pt x="2067" y="958"/>
                  <a:pt x="2066" y="956"/>
                </a:cubicBezTo>
                <a:cubicBezTo>
                  <a:pt x="2066" y="957"/>
                  <a:pt x="2066" y="957"/>
                  <a:pt x="2065" y="957"/>
                </a:cubicBezTo>
                <a:close/>
                <a:moveTo>
                  <a:pt x="2060" y="952"/>
                </a:moveTo>
                <a:cubicBezTo>
                  <a:pt x="2063" y="954"/>
                  <a:pt x="2067" y="955"/>
                  <a:pt x="2070" y="958"/>
                </a:cubicBezTo>
                <a:cubicBezTo>
                  <a:pt x="2071" y="960"/>
                  <a:pt x="2073" y="960"/>
                  <a:pt x="2075" y="960"/>
                </a:cubicBezTo>
                <a:cubicBezTo>
                  <a:pt x="2078" y="959"/>
                  <a:pt x="2079" y="957"/>
                  <a:pt x="2079" y="954"/>
                </a:cubicBezTo>
                <a:cubicBezTo>
                  <a:pt x="2079" y="954"/>
                  <a:pt x="2078" y="954"/>
                  <a:pt x="2078" y="954"/>
                </a:cubicBezTo>
                <a:cubicBezTo>
                  <a:pt x="2078" y="956"/>
                  <a:pt x="2077" y="957"/>
                  <a:pt x="2076" y="958"/>
                </a:cubicBezTo>
                <a:cubicBezTo>
                  <a:pt x="2075" y="959"/>
                  <a:pt x="2074" y="959"/>
                  <a:pt x="2073" y="958"/>
                </a:cubicBezTo>
                <a:cubicBezTo>
                  <a:pt x="2072" y="958"/>
                  <a:pt x="2072" y="957"/>
                  <a:pt x="2072" y="956"/>
                </a:cubicBezTo>
                <a:cubicBezTo>
                  <a:pt x="2072" y="954"/>
                  <a:pt x="2072" y="952"/>
                  <a:pt x="2072" y="950"/>
                </a:cubicBezTo>
                <a:cubicBezTo>
                  <a:pt x="2075" y="951"/>
                  <a:pt x="2079" y="952"/>
                  <a:pt x="2082" y="952"/>
                </a:cubicBezTo>
                <a:cubicBezTo>
                  <a:pt x="2090" y="954"/>
                  <a:pt x="2095" y="952"/>
                  <a:pt x="2099" y="943"/>
                </a:cubicBezTo>
                <a:cubicBezTo>
                  <a:pt x="2100" y="939"/>
                  <a:pt x="2100" y="934"/>
                  <a:pt x="2099" y="929"/>
                </a:cubicBezTo>
                <a:cubicBezTo>
                  <a:pt x="2099" y="927"/>
                  <a:pt x="2098" y="925"/>
                  <a:pt x="2097" y="923"/>
                </a:cubicBezTo>
                <a:cubicBezTo>
                  <a:pt x="2096" y="922"/>
                  <a:pt x="2095" y="921"/>
                  <a:pt x="2094" y="923"/>
                </a:cubicBezTo>
                <a:cubicBezTo>
                  <a:pt x="2092" y="924"/>
                  <a:pt x="2091" y="926"/>
                  <a:pt x="2089" y="927"/>
                </a:cubicBezTo>
                <a:cubicBezTo>
                  <a:pt x="2088" y="927"/>
                  <a:pt x="2087" y="928"/>
                  <a:pt x="2088" y="929"/>
                </a:cubicBezTo>
                <a:cubicBezTo>
                  <a:pt x="2088" y="932"/>
                  <a:pt x="2088" y="935"/>
                  <a:pt x="2086" y="939"/>
                </a:cubicBezTo>
                <a:cubicBezTo>
                  <a:pt x="2086" y="937"/>
                  <a:pt x="2087" y="935"/>
                  <a:pt x="2087" y="933"/>
                </a:cubicBezTo>
                <a:cubicBezTo>
                  <a:pt x="2087" y="932"/>
                  <a:pt x="2086" y="932"/>
                  <a:pt x="2086" y="931"/>
                </a:cubicBezTo>
                <a:cubicBezTo>
                  <a:pt x="2086" y="932"/>
                  <a:pt x="2085" y="932"/>
                  <a:pt x="2085" y="932"/>
                </a:cubicBezTo>
                <a:cubicBezTo>
                  <a:pt x="2084" y="933"/>
                  <a:pt x="2083" y="935"/>
                  <a:pt x="2083" y="936"/>
                </a:cubicBezTo>
                <a:cubicBezTo>
                  <a:pt x="2082" y="936"/>
                  <a:pt x="2082" y="936"/>
                  <a:pt x="2082" y="936"/>
                </a:cubicBezTo>
                <a:cubicBezTo>
                  <a:pt x="2083" y="935"/>
                  <a:pt x="2083" y="933"/>
                  <a:pt x="2083" y="931"/>
                </a:cubicBezTo>
                <a:cubicBezTo>
                  <a:pt x="2082" y="931"/>
                  <a:pt x="2082" y="932"/>
                  <a:pt x="2081" y="933"/>
                </a:cubicBezTo>
                <a:cubicBezTo>
                  <a:pt x="2081" y="933"/>
                  <a:pt x="2080" y="934"/>
                  <a:pt x="2080" y="935"/>
                </a:cubicBezTo>
                <a:cubicBezTo>
                  <a:pt x="2080" y="931"/>
                  <a:pt x="2081" y="931"/>
                  <a:pt x="2086" y="930"/>
                </a:cubicBezTo>
                <a:cubicBezTo>
                  <a:pt x="2086" y="929"/>
                  <a:pt x="2085" y="929"/>
                  <a:pt x="2085" y="929"/>
                </a:cubicBezTo>
                <a:cubicBezTo>
                  <a:pt x="2083" y="929"/>
                  <a:pt x="2082" y="928"/>
                  <a:pt x="2081" y="926"/>
                </a:cubicBezTo>
                <a:cubicBezTo>
                  <a:pt x="2083" y="925"/>
                  <a:pt x="2085" y="925"/>
                  <a:pt x="2086" y="924"/>
                </a:cubicBezTo>
                <a:cubicBezTo>
                  <a:pt x="2085" y="922"/>
                  <a:pt x="2083" y="919"/>
                  <a:pt x="2080" y="919"/>
                </a:cubicBezTo>
                <a:cubicBezTo>
                  <a:pt x="2079" y="919"/>
                  <a:pt x="2079" y="918"/>
                  <a:pt x="2079" y="918"/>
                </a:cubicBezTo>
                <a:cubicBezTo>
                  <a:pt x="2077" y="916"/>
                  <a:pt x="2074" y="914"/>
                  <a:pt x="2072" y="912"/>
                </a:cubicBezTo>
                <a:cubicBezTo>
                  <a:pt x="2069" y="910"/>
                  <a:pt x="2066" y="910"/>
                  <a:pt x="2064" y="910"/>
                </a:cubicBezTo>
                <a:cubicBezTo>
                  <a:pt x="2061" y="910"/>
                  <a:pt x="2058" y="911"/>
                  <a:pt x="2055" y="912"/>
                </a:cubicBezTo>
                <a:cubicBezTo>
                  <a:pt x="2052" y="913"/>
                  <a:pt x="2049" y="915"/>
                  <a:pt x="2048" y="918"/>
                </a:cubicBezTo>
                <a:cubicBezTo>
                  <a:pt x="2049" y="918"/>
                  <a:pt x="2050" y="918"/>
                  <a:pt x="2052" y="918"/>
                </a:cubicBezTo>
                <a:cubicBezTo>
                  <a:pt x="2051" y="918"/>
                  <a:pt x="2050" y="919"/>
                  <a:pt x="2050" y="919"/>
                </a:cubicBezTo>
                <a:cubicBezTo>
                  <a:pt x="2047" y="920"/>
                  <a:pt x="2045" y="919"/>
                  <a:pt x="2043" y="921"/>
                </a:cubicBezTo>
                <a:cubicBezTo>
                  <a:pt x="2039" y="925"/>
                  <a:pt x="2035" y="929"/>
                  <a:pt x="2032" y="933"/>
                </a:cubicBezTo>
                <a:cubicBezTo>
                  <a:pt x="2030" y="935"/>
                  <a:pt x="2029" y="937"/>
                  <a:pt x="2028" y="940"/>
                </a:cubicBezTo>
                <a:cubicBezTo>
                  <a:pt x="2028" y="940"/>
                  <a:pt x="2028" y="941"/>
                  <a:pt x="2028" y="941"/>
                </a:cubicBezTo>
                <a:cubicBezTo>
                  <a:pt x="2030" y="943"/>
                  <a:pt x="2031" y="945"/>
                  <a:pt x="2032" y="947"/>
                </a:cubicBezTo>
                <a:cubicBezTo>
                  <a:pt x="2034" y="946"/>
                  <a:pt x="2035" y="944"/>
                  <a:pt x="2036" y="943"/>
                </a:cubicBezTo>
                <a:cubicBezTo>
                  <a:pt x="2035" y="944"/>
                  <a:pt x="2035" y="945"/>
                  <a:pt x="2034" y="947"/>
                </a:cubicBezTo>
                <a:cubicBezTo>
                  <a:pt x="2034" y="948"/>
                  <a:pt x="2033" y="949"/>
                  <a:pt x="2032" y="951"/>
                </a:cubicBezTo>
                <a:cubicBezTo>
                  <a:pt x="2032" y="952"/>
                  <a:pt x="2032" y="953"/>
                  <a:pt x="2033" y="954"/>
                </a:cubicBezTo>
                <a:cubicBezTo>
                  <a:pt x="2035" y="957"/>
                  <a:pt x="2038" y="957"/>
                  <a:pt x="2042" y="955"/>
                </a:cubicBezTo>
                <a:cubicBezTo>
                  <a:pt x="2045" y="954"/>
                  <a:pt x="2047" y="952"/>
                  <a:pt x="2050" y="952"/>
                </a:cubicBezTo>
                <a:cubicBezTo>
                  <a:pt x="2052" y="951"/>
                  <a:pt x="2053" y="950"/>
                  <a:pt x="2053" y="949"/>
                </a:cubicBezTo>
                <a:cubicBezTo>
                  <a:pt x="2053" y="946"/>
                  <a:pt x="2053" y="942"/>
                  <a:pt x="2053" y="939"/>
                </a:cubicBezTo>
                <a:cubicBezTo>
                  <a:pt x="2053" y="936"/>
                  <a:pt x="2053" y="933"/>
                  <a:pt x="2053" y="930"/>
                </a:cubicBezTo>
                <a:cubicBezTo>
                  <a:pt x="2054" y="933"/>
                  <a:pt x="2054" y="935"/>
                  <a:pt x="2054" y="938"/>
                </a:cubicBezTo>
                <a:cubicBezTo>
                  <a:pt x="2055" y="943"/>
                  <a:pt x="2055" y="947"/>
                  <a:pt x="2054" y="951"/>
                </a:cubicBezTo>
                <a:cubicBezTo>
                  <a:pt x="2054" y="952"/>
                  <a:pt x="2053" y="953"/>
                  <a:pt x="2052" y="953"/>
                </a:cubicBezTo>
                <a:cubicBezTo>
                  <a:pt x="2049" y="953"/>
                  <a:pt x="2046" y="955"/>
                  <a:pt x="2043" y="957"/>
                </a:cubicBezTo>
                <a:cubicBezTo>
                  <a:pt x="2037" y="960"/>
                  <a:pt x="2034" y="958"/>
                  <a:pt x="2030" y="954"/>
                </a:cubicBezTo>
                <a:cubicBezTo>
                  <a:pt x="2030" y="954"/>
                  <a:pt x="2030" y="952"/>
                  <a:pt x="2030" y="952"/>
                </a:cubicBezTo>
                <a:cubicBezTo>
                  <a:pt x="2032" y="950"/>
                  <a:pt x="2030" y="948"/>
                  <a:pt x="2029" y="946"/>
                </a:cubicBezTo>
                <a:cubicBezTo>
                  <a:pt x="2027" y="944"/>
                  <a:pt x="2026" y="941"/>
                  <a:pt x="2027" y="939"/>
                </a:cubicBezTo>
                <a:cubicBezTo>
                  <a:pt x="2027" y="937"/>
                  <a:pt x="2028" y="935"/>
                  <a:pt x="2030" y="933"/>
                </a:cubicBezTo>
                <a:cubicBezTo>
                  <a:pt x="2031" y="931"/>
                  <a:pt x="2034" y="928"/>
                  <a:pt x="2035" y="926"/>
                </a:cubicBezTo>
                <a:cubicBezTo>
                  <a:pt x="2035" y="926"/>
                  <a:pt x="2034" y="926"/>
                  <a:pt x="2034" y="926"/>
                </a:cubicBezTo>
                <a:cubicBezTo>
                  <a:pt x="2029" y="927"/>
                  <a:pt x="2025" y="928"/>
                  <a:pt x="2021" y="931"/>
                </a:cubicBezTo>
                <a:cubicBezTo>
                  <a:pt x="2016" y="936"/>
                  <a:pt x="2014" y="941"/>
                  <a:pt x="2013" y="948"/>
                </a:cubicBezTo>
                <a:cubicBezTo>
                  <a:pt x="2013" y="954"/>
                  <a:pt x="2015" y="960"/>
                  <a:pt x="2019" y="966"/>
                </a:cubicBezTo>
                <a:cubicBezTo>
                  <a:pt x="2019" y="967"/>
                  <a:pt x="2020" y="969"/>
                  <a:pt x="2019" y="970"/>
                </a:cubicBezTo>
                <a:cubicBezTo>
                  <a:pt x="2019" y="971"/>
                  <a:pt x="2019" y="973"/>
                  <a:pt x="2018" y="974"/>
                </a:cubicBezTo>
                <a:cubicBezTo>
                  <a:pt x="2018" y="976"/>
                  <a:pt x="2018" y="977"/>
                  <a:pt x="2019" y="977"/>
                </a:cubicBezTo>
                <a:cubicBezTo>
                  <a:pt x="2023" y="978"/>
                  <a:pt x="2025" y="979"/>
                  <a:pt x="2028" y="979"/>
                </a:cubicBezTo>
                <a:cubicBezTo>
                  <a:pt x="2029" y="979"/>
                  <a:pt x="2030" y="978"/>
                  <a:pt x="2030" y="978"/>
                </a:cubicBezTo>
                <a:cubicBezTo>
                  <a:pt x="2030" y="977"/>
                  <a:pt x="2030" y="975"/>
                  <a:pt x="2031" y="974"/>
                </a:cubicBezTo>
                <a:cubicBezTo>
                  <a:pt x="2033" y="972"/>
                  <a:pt x="2033" y="969"/>
                  <a:pt x="2033" y="966"/>
                </a:cubicBezTo>
                <a:cubicBezTo>
                  <a:pt x="2033" y="966"/>
                  <a:pt x="2033" y="966"/>
                  <a:pt x="2033" y="965"/>
                </a:cubicBezTo>
                <a:cubicBezTo>
                  <a:pt x="2033" y="965"/>
                  <a:pt x="2033" y="965"/>
                  <a:pt x="2033" y="964"/>
                </a:cubicBezTo>
                <a:cubicBezTo>
                  <a:pt x="2033" y="967"/>
                  <a:pt x="2035" y="967"/>
                  <a:pt x="2037" y="967"/>
                </a:cubicBezTo>
                <a:cubicBezTo>
                  <a:pt x="2037" y="967"/>
                  <a:pt x="2039" y="967"/>
                  <a:pt x="2039" y="967"/>
                </a:cubicBezTo>
                <a:cubicBezTo>
                  <a:pt x="2042" y="967"/>
                  <a:pt x="2045" y="968"/>
                  <a:pt x="2046" y="964"/>
                </a:cubicBezTo>
                <a:cubicBezTo>
                  <a:pt x="2046" y="966"/>
                  <a:pt x="2046" y="967"/>
                  <a:pt x="2046" y="968"/>
                </a:cubicBezTo>
                <a:cubicBezTo>
                  <a:pt x="2044" y="969"/>
                  <a:pt x="2043" y="970"/>
                  <a:pt x="2042" y="970"/>
                </a:cubicBezTo>
                <a:cubicBezTo>
                  <a:pt x="2040" y="971"/>
                  <a:pt x="2040" y="973"/>
                  <a:pt x="2041" y="973"/>
                </a:cubicBezTo>
                <a:cubicBezTo>
                  <a:pt x="2042" y="976"/>
                  <a:pt x="2043" y="978"/>
                  <a:pt x="2045" y="980"/>
                </a:cubicBezTo>
                <a:cubicBezTo>
                  <a:pt x="2046" y="981"/>
                  <a:pt x="2048" y="981"/>
                  <a:pt x="2050" y="979"/>
                </a:cubicBezTo>
                <a:cubicBezTo>
                  <a:pt x="2050" y="978"/>
                  <a:pt x="2051" y="977"/>
                  <a:pt x="2052" y="977"/>
                </a:cubicBezTo>
                <a:cubicBezTo>
                  <a:pt x="2053" y="975"/>
                  <a:pt x="2055" y="974"/>
                  <a:pt x="2056" y="973"/>
                </a:cubicBezTo>
                <a:cubicBezTo>
                  <a:pt x="2061" y="969"/>
                  <a:pt x="2063" y="963"/>
                  <a:pt x="2064" y="957"/>
                </a:cubicBezTo>
                <a:cubicBezTo>
                  <a:pt x="2064" y="956"/>
                  <a:pt x="2063" y="956"/>
                  <a:pt x="2063" y="955"/>
                </a:cubicBezTo>
                <a:cubicBezTo>
                  <a:pt x="2062" y="954"/>
                  <a:pt x="2061" y="953"/>
                  <a:pt x="2060" y="952"/>
                </a:cubicBezTo>
                <a:close/>
                <a:moveTo>
                  <a:pt x="2013" y="959"/>
                </a:moveTo>
                <a:cubicBezTo>
                  <a:pt x="2012" y="960"/>
                  <a:pt x="2010" y="960"/>
                  <a:pt x="2009" y="962"/>
                </a:cubicBezTo>
                <a:cubicBezTo>
                  <a:pt x="2009" y="962"/>
                  <a:pt x="2008" y="963"/>
                  <a:pt x="2008" y="964"/>
                </a:cubicBezTo>
                <a:cubicBezTo>
                  <a:pt x="2008" y="966"/>
                  <a:pt x="2013" y="971"/>
                  <a:pt x="2016" y="970"/>
                </a:cubicBezTo>
                <a:cubicBezTo>
                  <a:pt x="2017" y="970"/>
                  <a:pt x="2018" y="969"/>
                  <a:pt x="2017" y="967"/>
                </a:cubicBezTo>
                <a:cubicBezTo>
                  <a:pt x="2016" y="964"/>
                  <a:pt x="2014" y="962"/>
                  <a:pt x="2013" y="959"/>
                </a:cubicBezTo>
                <a:close/>
                <a:moveTo>
                  <a:pt x="2065" y="961"/>
                </a:moveTo>
                <a:cubicBezTo>
                  <a:pt x="2063" y="966"/>
                  <a:pt x="2061" y="970"/>
                  <a:pt x="2058" y="974"/>
                </a:cubicBezTo>
                <a:cubicBezTo>
                  <a:pt x="2061" y="974"/>
                  <a:pt x="2063" y="975"/>
                  <a:pt x="2066" y="974"/>
                </a:cubicBezTo>
                <a:cubicBezTo>
                  <a:pt x="2066" y="974"/>
                  <a:pt x="2067" y="973"/>
                  <a:pt x="2067" y="973"/>
                </a:cubicBezTo>
                <a:cubicBezTo>
                  <a:pt x="2067" y="970"/>
                  <a:pt x="2067" y="967"/>
                  <a:pt x="2066" y="965"/>
                </a:cubicBezTo>
                <a:cubicBezTo>
                  <a:pt x="2066" y="964"/>
                  <a:pt x="2066" y="962"/>
                  <a:pt x="2065" y="961"/>
                </a:cubicBezTo>
                <a:close/>
                <a:moveTo>
                  <a:pt x="2013" y="941"/>
                </a:moveTo>
                <a:cubicBezTo>
                  <a:pt x="2012" y="941"/>
                  <a:pt x="2011" y="941"/>
                  <a:pt x="2011" y="941"/>
                </a:cubicBezTo>
                <a:cubicBezTo>
                  <a:pt x="2010" y="941"/>
                  <a:pt x="2009" y="941"/>
                  <a:pt x="2009" y="941"/>
                </a:cubicBezTo>
                <a:cubicBezTo>
                  <a:pt x="2009" y="941"/>
                  <a:pt x="2008" y="940"/>
                  <a:pt x="2008" y="939"/>
                </a:cubicBezTo>
                <a:cubicBezTo>
                  <a:pt x="2009" y="937"/>
                  <a:pt x="2010" y="935"/>
                  <a:pt x="2010" y="933"/>
                </a:cubicBezTo>
                <a:cubicBezTo>
                  <a:pt x="2010" y="933"/>
                  <a:pt x="2010" y="933"/>
                  <a:pt x="2010" y="933"/>
                </a:cubicBezTo>
                <a:cubicBezTo>
                  <a:pt x="2009" y="934"/>
                  <a:pt x="2008" y="935"/>
                  <a:pt x="2007" y="936"/>
                </a:cubicBezTo>
                <a:cubicBezTo>
                  <a:pt x="2006" y="937"/>
                  <a:pt x="2008" y="942"/>
                  <a:pt x="2009" y="943"/>
                </a:cubicBezTo>
                <a:cubicBezTo>
                  <a:pt x="2011" y="944"/>
                  <a:pt x="2013" y="943"/>
                  <a:pt x="2013" y="941"/>
                </a:cubicBezTo>
                <a:close/>
                <a:moveTo>
                  <a:pt x="2013" y="959"/>
                </a:moveTo>
                <a:cubicBezTo>
                  <a:pt x="2012" y="960"/>
                  <a:pt x="2010" y="961"/>
                  <a:pt x="2009" y="962"/>
                </a:cubicBezTo>
                <a:cubicBezTo>
                  <a:pt x="2009" y="962"/>
                  <a:pt x="2008" y="963"/>
                  <a:pt x="2008" y="964"/>
                </a:cubicBezTo>
                <a:cubicBezTo>
                  <a:pt x="2008" y="967"/>
                  <a:pt x="2013" y="971"/>
                  <a:pt x="2016" y="971"/>
                </a:cubicBezTo>
                <a:cubicBezTo>
                  <a:pt x="2017" y="971"/>
                  <a:pt x="2018" y="969"/>
                  <a:pt x="2017" y="968"/>
                </a:cubicBezTo>
                <a:cubicBezTo>
                  <a:pt x="2016" y="965"/>
                  <a:pt x="2014" y="962"/>
                  <a:pt x="2013" y="959"/>
                </a:cubicBezTo>
                <a:close/>
                <a:moveTo>
                  <a:pt x="2065" y="961"/>
                </a:moveTo>
                <a:cubicBezTo>
                  <a:pt x="2063" y="966"/>
                  <a:pt x="2060" y="970"/>
                  <a:pt x="2058" y="974"/>
                </a:cubicBezTo>
                <a:cubicBezTo>
                  <a:pt x="2061" y="974"/>
                  <a:pt x="2063" y="975"/>
                  <a:pt x="2066" y="974"/>
                </a:cubicBezTo>
                <a:cubicBezTo>
                  <a:pt x="2066" y="974"/>
                  <a:pt x="2067" y="973"/>
                  <a:pt x="2067" y="973"/>
                </a:cubicBezTo>
                <a:cubicBezTo>
                  <a:pt x="2067" y="970"/>
                  <a:pt x="2067" y="968"/>
                  <a:pt x="2066" y="965"/>
                </a:cubicBezTo>
                <a:cubicBezTo>
                  <a:pt x="2066" y="964"/>
                  <a:pt x="2066" y="962"/>
                  <a:pt x="2065" y="961"/>
                </a:cubicBezTo>
                <a:close/>
                <a:moveTo>
                  <a:pt x="2012" y="941"/>
                </a:moveTo>
                <a:cubicBezTo>
                  <a:pt x="2012" y="941"/>
                  <a:pt x="2011" y="942"/>
                  <a:pt x="2011" y="942"/>
                </a:cubicBezTo>
                <a:cubicBezTo>
                  <a:pt x="2010" y="942"/>
                  <a:pt x="2009" y="942"/>
                  <a:pt x="2009" y="941"/>
                </a:cubicBezTo>
                <a:cubicBezTo>
                  <a:pt x="2009" y="941"/>
                  <a:pt x="2008" y="940"/>
                  <a:pt x="2008" y="939"/>
                </a:cubicBezTo>
                <a:cubicBezTo>
                  <a:pt x="2009" y="937"/>
                  <a:pt x="2009" y="935"/>
                  <a:pt x="2010" y="933"/>
                </a:cubicBezTo>
                <a:cubicBezTo>
                  <a:pt x="2010" y="933"/>
                  <a:pt x="2010" y="933"/>
                  <a:pt x="2009" y="933"/>
                </a:cubicBezTo>
                <a:cubicBezTo>
                  <a:pt x="2009" y="934"/>
                  <a:pt x="2007" y="935"/>
                  <a:pt x="2007" y="936"/>
                </a:cubicBezTo>
                <a:cubicBezTo>
                  <a:pt x="2006" y="937"/>
                  <a:pt x="2007" y="942"/>
                  <a:pt x="2009" y="943"/>
                </a:cubicBezTo>
                <a:cubicBezTo>
                  <a:pt x="2011" y="944"/>
                  <a:pt x="2012" y="943"/>
                  <a:pt x="2012" y="941"/>
                </a:cubicBezTo>
                <a:close/>
                <a:moveTo>
                  <a:pt x="2065" y="933"/>
                </a:moveTo>
                <a:cubicBezTo>
                  <a:pt x="2068" y="929"/>
                  <a:pt x="2068" y="929"/>
                  <a:pt x="2072" y="928"/>
                </a:cubicBezTo>
                <a:cubicBezTo>
                  <a:pt x="2072" y="930"/>
                  <a:pt x="2073" y="931"/>
                  <a:pt x="2074" y="931"/>
                </a:cubicBezTo>
                <a:cubicBezTo>
                  <a:pt x="2072" y="932"/>
                  <a:pt x="2070" y="934"/>
                  <a:pt x="2068" y="935"/>
                </a:cubicBezTo>
                <a:cubicBezTo>
                  <a:pt x="2068" y="934"/>
                  <a:pt x="2067" y="933"/>
                  <a:pt x="2066" y="932"/>
                </a:cubicBezTo>
                <a:cubicBezTo>
                  <a:pt x="2066" y="932"/>
                  <a:pt x="2066" y="932"/>
                  <a:pt x="2065" y="933"/>
                </a:cubicBezTo>
                <a:close/>
                <a:moveTo>
                  <a:pt x="2071" y="932"/>
                </a:moveTo>
                <a:cubicBezTo>
                  <a:pt x="2070" y="932"/>
                  <a:pt x="2069" y="931"/>
                  <a:pt x="2069" y="931"/>
                </a:cubicBezTo>
                <a:cubicBezTo>
                  <a:pt x="2068" y="931"/>
                  <a:pt x="2068" y="932"/>
                  <a:pt x="2068" y="933"/>
                </a:cubicBezTo>
                <a:cubicBezTo>
                  <a:pt x="2068" y="933"/>
                  <a:pt x="2068" y="933"/>
                  <a:pt x="2068" y="934"/>
                </a:cubicBezTo>
                <a:cubicBezTo>
                  <a:pt x="2069" y="933"/>
                  <a:pt x="2069" y="933"/>
                  <a:pt x="2071" y="932"/>
                </a:cubicBezTo>
                <a:close/>
                <a:moveTo>
                  <a:pt x="2052" y="922"/>
                </a:moveTo>
                <a:cubicBezTo>
                  <a:pt x="2045" y="921"/>
                  <a:pt x="2042" y="924"/>
                  <a:pt x="2041" y="932"/>
                </a:cubicBezTo>
                <a:cubicBezTo>
                  <a:pt x="2042" y="930"/>
                  <a:pt x="2044" y="928"/>
                  <a:pt x="2045" y="925"/>
                </a:cubicBezTo>
                <a:cubicBezTo>
                  <a:pt x="2045" y="925"/>
                  <a:pt x="2045" y="925"/>
                  <a:pt x="2045" y="925"/>
                </a:cubicBezTo>
                <a:cubicBezTo>
                  <a:pt x="2045" y="926"/>
                  <a:pt x="2046" y="927"/>
                  <a:pt x="2046" y="928"/>
                </a:cubicBezTo>
                <a:cubicBezTo>
                  <a:pt x="2047" y="925"/>
                  <a:pt x="2048" y="923"/>
                  <a:pt x="2052" y="922"/>
                </a:cubicBezTo>
                <a:close/>
                <a:moveTo>
                  <a:pt x="2096" y="924"/>
                </a:moveTo>
                <a:cubicBezTo>
                  <a:pt x="2094" y="925"/>
                  <a:pt x="2092" y="927"/>
                  <a:pt x="2090" y="928"/>
                </a:cubicBezTo>
                <a:cubicBezTo>
                  <a:pt x="2092" y="928"/>
                  <a:pt x="2094" y="927"/>
                  <a:pt x="2096" y="924"/>
                </a:cubicBezTo>
                <a:close/>
                <a:moveTo>
                  <a:pt x="2062" y="926"/>
                </a:moveTo>
                <a:cubicBezTo>
                  <a:pt x="2063" y="925"/>
                  <a:pt x="2064" y="923"/>
                  <a:pt x="2066" y="922"/>
                </a:cubicBezTo>
                <a:cubicBezTo>
                  <a:pt x="2062" y="923"/>
                  <a:pt x="2061" y="924"/>
                  <a:pt x="2062" y="926"/>
                </a:cubicBezTo>
                <a:close/>
                <a:moveTo>
                  <a:pt x="2072" y="947"/>
                </a:moveTo>
                <a:cubicBezTo>
                  <a:pt x="2070" y="948"/>
                  <a:pt x="2070" y="949"/>
                  <a:pt x="2070" y="949"/>
                </a:cubicBezTo>
                <a:cubicBezTo>
                  <a:pt x="2070" y="949"/>
                  <a:pt x="2071" y="948"/>
                  <a:pt x="2072" y="947"/>
                </a:cubicBezTo>
                <a:close/>
                <a:moveTo>
                  <a:pt x="2071" y="932"/>
                </a:moveTo>
                <a:cubicBezTo>
                  <a:pt x="2070" y="931"/>
                  <a:pt x="2069" y="931"/>
                  <a:pt x="2069" y="931"/>
                </a:cubicBezTo>
                <a:cubicBezTo>
                  <a:pt x="2068" y="931"/>
                  <a:pt x="2068" y="932"/>
                  <a:pt x="2068" y="932"/>
                </a:cubicBezTo>
                <a:cubicBezTo>
                  <a:pt x="2068" y="933"/>
                  <a:pt x="2068" y="933"/>
                  <a:pt x="2068" y="933"/>
                </a:cubicBezTo>
                <a:cubicBezTo>
                  <a:pt x="2069" y="933"/>
                  <a:pt x="2069" y="933"/>
                  <a:pt x="2071" y="932"/>
                </a:cubicBezTo>
                <a:close/>
                <a:moveTo>
                  <a:pt x="3701" y="1078"/>
                </a:moveTo>
                <a:cubicBezTo>
                  <a:pt x="3704" y="1059"/>
                  <a:pt x="3704" y="1059"/>
                  <a:pt x="3704" y="1059"/>
                </a:cubicBezTo>
                <a:cubicBezTo>
                  <a:pt x="3695" y="1059"/>
                  <a:pt x="3695" y="1059"/>
                  <a:pt x="3695" y="1059"/>
                </a:cubicBezTo>
                <a:cubicBezTo>
                  <a:pt x="3695" y="1047"/>
                  <a:pt x="3695" y="1047"/>
                  <a:pt x="3695" y="1047"/>
                </a:cubicBezTo>
                <a:cubicBezTo>
                  <a:pt x="3706" y="1047"/>
                  <a:pt x="3706" y="1047"/>
                  <a:pt x="3706" y="1047"/>
                </a:cubicBezTo>
                <a:cubicBezTo>
                  <a:pt x="3708" y="1036"/>
                  <a:pt x="3708" y="1036"/>
                  <a:pt x="3708" y="1036"/>
                </a:cubicBezTo>
                <a:cubicBezTo>
                  <a:pt x="3698" y="1036"/>
                  <a:pt x="3698" y="1036"/>
                  <a:pt x="3698" y="1036"/>
                </a:cubicBezTo>
                <a:cubicBezTo>
                  <a:pt x="3698" y="1024"/>
                  <a:pt x="3698" y="1024"/>
                  <a:pt x="3698" y="1024"/>
                </a:cubicBezTo>
                <a:cubicBezTo>
                  <a:pt x="3710" y="1024"/>
                  <a:pt x="3710" y="1024"/>
                  <a:pt x="3710" y="1024"/>
                </a:cubicBezTo>
                <a:cubicBezTo>
                  <a:pt x="3712" y="1006"/>
                  <a:pt x="3712" y="1006"/>
                  <a:pt x="3712" y="1006"/>
                </a:cubicBezTo>
                <a:cubicBezTo>
                  <a:pt x="3724" y="1006"/>
                  <a:pt x="3724" y="1006"/>
                  <a:pt x="3724" y="1006"/>
                </a:cubicBezTo>
                <a:cubicBezTo>
                  <a:pt x="3721" y="1024"/>
                  <a:pt x="3721" y="1024"/>
                  <a:pt x="3721" y="1024"/>
                </a:cubicBezTo>
                <a:cubicBezTo>
                  <a:pt x="3730" y="1024"/>
                  <a:pt x="3730" y="1024"/>
                  <a:pt x="3730" y="1024"/>
                </a:cubicBezTo>
                <a:cubicBezTo>
                  <a:pt x="3733" y="1006"/>
                  <a:pt x="3733" y="1006"/>
                  <a:pt x="3733" y="1006"/>
                </a:cubicBezTo>
                <a:cubicBezTo>
                  <a:pt x="3745" y="1006"/>
                  <a:pt x="3745" y="1006"/>
                  <a:pt x="3745" y="1006"/>
                </a:cubicBezTo>
                <a:cubicBezTo>
                  <a:pt x="3742" y="1024"/>
                  <a:pt x="3742" y="1024"/>
                  <a:pt x="3742" y="1024"/>
                </a:cubicBezTo>
                <a:cubicBezTo>
                  <a:pt x="3751" y="1024"/>
                  <a:pt x="3751" y="1024"/>
                  <a:pt x="3751" y="1024"/>
                </a:cubicBezTo>
                <a:cubicBezTo>
                  <a:pt x="3751" y="1036"/>
                  <a:pt x="3751" y="1036"/>
                  <a:pt x="3751" y="1036"/>
                </a:cubicBezTo>
                <a:cubicBezTo>
                  <a:pt x="3740" y="1036"/>
                  <a:pt x="3740" y="1036"/>
                  <a:pt x="3740" y="1036"/>
                </a:cubicBezTo>
                <a:cubicBezTo>
                  <a:pt x="3738" y="1047"/>
                  <a:pt x="3738" y="1047"/>
                  <a:pt x="3738" y="1047"/>
                </a:cubicBezTo>
                <a:cubicBezTo>
                  <a:pt x="3747" y="1047"/>
                  <a:pt x="3747" y="1047"/>
                  <a:pt x="3747" y="1047"/>
                </a:cubicBezTo>
                <a:cubicBezTo>
                  <a:pt x="3747" y="1059"/>
                  <a:pt x="3747" y="1059"/>
                  <a:pt x="3747" y="1059"/>
                </a:cubicBezTo>
                <a:cubicBezTo>
                  <a:pt x="3736" y="1059"/>
                  <a:pt x="3736" y="1059"/>
                  <a:pt x="3736" y="1059"/>
                </a:cubicBezTo>
                <a:cubicBezTo>
                  <a:pt x="3734" y="1078"/>
                  <a:pt x="3734" y="1078"/>
                  <a:pt x="3734" y="1078"/>
                </a:cubicBezTo>
                <a:cubicBezTo>
                  <a:pt x="3722" y="1078"/>
                  <a:pt x="3722" y="1078"/>
                  <a:pt x="3722" y="1078"/>
                </a:cubicBezTo>
                <a:cubicBezTo>
                  <a:pt x="3725" y="1059"/>
                  <a:pt x="3725" y="1059"/>
                  <a:pt x="3725" y="1059"/>
                </a:cubicBezTo>
                <a:cubicBezTo>
                  <a:pt x="3715" y="1059"/>
                  <a:pt x="3715" y="1059"/>
                  <a:pt x="3715" y="1059"/>
                </a:cubicBezTo>
                <a:cubicBezTo>
                  <a:pt x="3713" y="1078"/>
                  <a:pt x="3713" y="1078"/>
                  <a:pt x="3713" y="1078"/>
                </a:cubicBezTo>
                <a:cubicBezTo>
                  <a:pt x="3701" y="1078"/>
                  <a:pt x="3701" y="1078"/>
                  <a:pt x="3701" y="1078"/>
                </a:cubicBezTo>
                <a:cubicBezTo>
                  <a:pt x="3701" y="1078"/>
                  <a:pt x="3701" y="1078"/>
                  <a:pt x="3701" y="1078"/>
                </a:cubicBezTo>
                <a:close/>
                <a:moveTo>
                  <a:pt x="3727" y="1047"/>
                </a:moveTo>
                <a:cubicBezTo>
                  <a:pt x="3729" y="1036"/>
                  <a:pt x="3729" y="1036"/>
                  <a:pt x="3729" y="1036"/>
                </a:cubicBezTo>
                <a:cubicBezTo>
                  <a:pt x="3719" y="1036"/>
                  <a:pt x="3719" y="1036"/>
                  <a:pt x="3719" y="1036"/>
                </a:cubicBezTo>
                <a:cubicBezTo>
                  <a:pt x="3718" y="1047"/>
                  <a:pt x="3718" y="1047"/>
                  <a:pt x="3718" y="1047"/>
                </a:cubicBezTo>
                <a:cubicBezTo>
                  <a:pt x="3727" y="1047"/>
                  <a:pt x="3727" y="1047"/>
                  <a:pt x="3727" y="1047"/>
                </a:cubicBezTo>
                <a:cubicBezTo>
                  <a:pt x="3727" y="1047"/>
                  <a:pt x="3727" y="1047"/>
                  <a:pt x="3727" y="1047"/>
                </a:cubicBezTo>
                <a:close/>
                <a:moveTo>
                  <a:pt x="2586" y="1052"/>
                </a:moveTo>
                <a:cubicBezTo>
                  <a:pt x="2586" y="1053"/>
                  <a:pt x="2587" y="1055"/>
                  <a:pt x="2588" y="1056"/>
                </a:cubicBezTo>
                <a:cubicBezTo>
                  <a:pt x="2588" y="1058"/>
                  <a:pt x="2588" y="1060"/>
                  <a:pt x="2589" y="1061"/>
                </a:cubicBezTo>
                <a:cubicBezTo>
                  <a:pt x="2589" y="1063"/>
                  <a:pt x="2589" y="1065"/>
                  <a:pt x="2589" y="1066"/>
                </a:cubicBezTo>
                <a:cubicBezTo>
                  <a:pt x="2590" y="1069"/>
                  <a:pt x="2589" y="1071"/>
                  <a:pt x="2586" y="1071"/>
                </a:cubicBezTo>
                <a:cubicBezTo>
                  <a:pt x="2583" y="1071"/>
                  <a:pt x="2580" y="1070"/>
                  <a:pt x="2577" y="1070"/>
                </a:cubicBezTo>
                <a:cubicBezTo>
                  <a:pt x="2577" y="1070"/>
                  <a:pt x="2576" y="1070"/>
                  <a:pt x="2576" y="1071"/>
                </a:cubicBezTo>
                <a:cubicBezTo>
                  <a:pt x="2574" y="1072"/>
                  <a:pt x="2573" y="1074"/>
                  <a:pt x="2572" y="1075"/>
                </a:cubicBezTo>
                <a:cubicBezTo>
                  <a:pt x="2570" y="1078"/>
                  <a:pt x="2566" y="1078"/>
                  <a:pt x="2564" y="1076"/>
                </a:cubicBezTo>
                <a:cubicBezTo>
                  <a:pt x="2562" y="1074"/>
                  <a:pt x="2561" y="1071"/>
                  <a:pt x="2559" y="1068"/>
                </a:cubicBezTo>
                <a:cubicBezTo>
                  <a:pt x="2559" y="1067"/>
                  <a:pt x="2559" y="1065"/>
                  <a:pt x="2561" y="1064"/>
                </a:cubicBezTo>
                <a:cubicBezTo>
                  <a:pt x="2559" y="1064"/>
                  <a:pt x="2557" y="1064"/>
                  <a:pt x="2556" y="1064"/>
                </a:cubicBezTo>
                <a:cubicBezTo>
                  <a:pt x="2555" y="1066"/>
                  <a:pt x="2554" y="1068"/>
                  <a:pt x="2553" y="1070"/>
                </a:cubicBezTo>
                <a:cubicBezTo>
                  <a:pt x="2553" y="1070"/>
                  <a:pt x="2552" y="1071"/>
                  <a:pt x="2552" y="1072"/>
                </a:cubicBezTo>
                <a:cubicBezTo>
                  <a:pt x="2552" y="1075"/>
                  <a:pt x="2551" y="1076"/>
                  <a:pt x="2548" y="1076"/>
                </a:cubicBezTo>
                <a:cubicBezTo>
                  <a:pt x="2545" y="1076"/>
                  <a:pt x="2542" y="1075"/>
                  <a:pt x="2539" y="1074"/>
                </a:cubicBezTo>
                <a:cubicBezTo>
                  <a:pt x="2537" y="1073"/>
                  <a:pt x="2537" y="1072"/>
                  <a:pt x="2537" y="1070"/>
                </a:cubicBezTo>
                <a:cubicBezTo>
                  <a:pt x="2537" y="1069"/>
                  <a:pt x="2537" y="1068"/>
                  <a:pt x="2538" y="1068"/>
                </a:cubicBezTo>
                <a:cubicBezTo>
                  <a:pt x="2536" y="1067"/>
                  <a:pt x="2533" y="1066"/>
                  <a:pt x="2531" y="1065"/>
                </a:cubicBezTo>
                <a:cubicBezTo>
                  <a:pt x="2530" y="1064"/>
                  <a:pt x="2529" y="1062"/>
                  <a:pt x="2528" y="1060"/>
                </a:cubicBezTo>
                <a:cubicBezTo>
                  <a:pt x="2527" y="1058"/>
                  <a:pt x="2527" y="1057"/>
                  <a:pt x="2529" y="1055"/>
                </a:cubicBezTo>
                <a:cubicBezTo>
                  <a:pt x="2532" y="1053"/>
                  <a:pt x="2533" y="1050"/>
                  <a:pt x="2532" y="1046"/>
                </a:cubicBezTo>
                <a:cubicBezTo>
                  <a:pt x="2532" y="1044"/>
                  <a:pt x="2532" y="1042"/>
                  <a:pt x="2532" y="1040"/>
                </a:cubicBezTo>
                <a:cubicBezTo>
                  <a:pt x="2531" y="1039"/>
                  <a:pt x="2529" y="1039"/>
                  <a:pt x="2528" y="1038"/>
                </a:cubicBezTo>
                <a:cubicBezTo>
                  <a:pt x="2527" y="1036"/>
                  <a:pt x="2526" y="1034"/>
                  <a:pt x="2526" y="1032"/>
                </a:cubicBezTo>
                <a:cubicBezTo>
                  <a:pt x="2526" y="1029"/>
                  <a:pt x="2530" y="1026"/>
                  <a:pt x="2532" y="1026"/>
                </a:cubicBezTo>
                <a:cubicBezTo>
                  <a:pt x="2533" y="1026"/>
                  <a:pt x="2533" y="1027"/>
                  <a:pt x="2533" y="1028"/>
                </a:cubicBezTo>
                <a:cubicBezTo>
                  <a:pt x="2533" y="1029"/>
                  <a:pt x="2533" y="1030"/>
                  <a:pt x="2534" y="1031"/>
                </a:cubicBezTo>
                <a:cubicBezTo>
                  <a:pt x="2533" y="1031"/>
                  <a:pt x="2532" y="1031"/>
                  <a:pt x="2532" y="1031"/>
                </a:cubicBezTo>
                <a:cubicBezTo>
                  <a:pt x="2532" y="1032"/>
                  <a:pt x="2531" y="1033"/>
                  <a:pt x="2530" y="1035"/>
                </a:cubicBezTo>
                <a:cubicBezTo>
                  <a:pt x="2532" y="1035"/>
                  <a:pt x="2532" y="1035"/>
                  <a:pt x="2533" y="1034"/>
                </a:cubicBezTo>
                <a:cubicBezTo>
                  <a:pt x="2534" y="1033"/>
                  <a:pt x="2535" y="1032"/>
                  <a:pt x="2536" y="1031"/>
                </a:cubicBezTo>
                <a:cubicBezTo>
                  <a:pt x="2540" y="1025"/>
                  <a:pt x="2546" y="1021"/>
                  <a:pt x="2554" y="1019"/>
                </a:cubicBezTo>
                <a:cubicBezTo>
                  <a:pt x="2557" y="1019"/>
                  <a:pt x="2560" y="1017"/>
                  <a:pt x="2562" y="1015"/>
                </a:cubicBezTo>
                <a:cubicBezTo>
                  <a:pt x="2562" y="1014"/>
                  <a:pt x="2563" y="1014"/>
                  <a:pt x="2563" y="1014"/>
                </a:cubicBezTo>
                <a:cubicBezTo>
                  <a:pt x="2566" y="1013"/>
                  <a:pt x="2568" y="1011"/>
                  <a:pt x="2570" y="1009"/>
                </a:cubicBezTo>
                <a:cubicBezTo>
                  <a:pt x="2577" y="1002"/>
                  <a:pt x="2589" y="1001"/>
                  <a:pt x="2597" y="1008"/>
                </a:cubicBezTo>
                <a:cubicBezTo>
                  <a:pt x="2599" y="1010"/>
                  <a:pt x="2602" y="1012"/>
                  <a:pt x="2604" y="1014"/>
                </a:cubicBezTo>
                <a:cubicBezTo>
                  <a:pt x="2606" y="1015"/>
                  <a:pt x="2607" y="1017"/>
                  <a:pt x="2608" y="1019"/>
                </a:cubicBezTo>
                <a:cubicBezTo>
                  <a:pt x="2609" y="1020"/>
                  <a:pt x="2610" y="1020"/>
                  <a:pt x="2611" y="1019"/>
                </a:cubicBezTo>
                <a:cubicBezTo>
                  <a:pt x="2612" y="1019"/>
                  <a:pt x="2612" y="1018"/>
                  <a:pt x="2613" y="1017"/>
                </a:cubicBezTo>
                <a:cubicBezTo>
                  <a:pt x="2615" y="1014"/>
                  <a:pt x="2618" y="1014"/>
                  <a:pt x="2619" y="1017"/>
                </a:cubicBezTo>
                <a:cubicBezTo>
                  <a:pt x="2621" y="1021"/>
                  <a:pt x="2621" y="1023"/>
                  <a:pt x="2622" y="1026"/>
                </a:cubicBezTo>
                <a:cubicBezTo>
                  <a:pt x="2623" y="1031"/>
                  <a:pt x="2622" y="1035"/>
                  <a:pt x="2621" y="1040"/>
                </a:cubicBezTo>
                <a:cubicBezTo>
                  <a:pt x="2618" y="1046"/>
                  <a:pt x="2614" y="1049"/>
                  <a:pt x="2607" y="1049"/>
                </a:cubicBezTo>
                <a:cubicBezTo>
                  <a:pt x="2606" y="1049"/>
                  <a:pt x="2606" y="1049"/>
                  <a:pt x="2605" y="1049"/>
                </a:cubicBezTo>
                <a:cubicBezTo>
                  <a:pt x="2603" y="1049"/>
                  <a:pt x="2601" y="1049"/>
                  <a:pt x="2601" y="1052"/>
                </a:cubicBezTo>
                <a:cubicBezTo>
                  <a:pt x="2599" y="1056"/>
                  <a:pt x="2594" y="1058"/>
                  <a:pt x="2590" y="1055"/>
                </a:cubicBezTo>
                <a:cubicBezTo>
                  <a:pt x="2589" y="1053"/>
                  <a:pt x="2588" y="1053"/>
                  <a:pt x="2587" y="1051"/>
                </a:cubicBezTo>
                <a:cubicBezTo>
                  <a:pt x="2586" y="1052"/>
                  <a:pt x="2586" y="1052"/>
                  <a:pt x="2586" y="1052"/>
                </a:cubicBezTo>
                <a:close/>
                <a:moveTo>
                  <a:pt x="2581" y="1047"/>
                </a:moveTo>
                <a:cubicBezTo>
                  <a:pt x="2584" y="1049"/>
                  <a:pt x="2588" y="1050"/>
                  <a:pt x="2590" y="1053"/>
                </a:cubicBezTo>
                <a:cubicBezTo>
                  <a:pt x="2592" y="1055"/>
                  <a:pt x="2594" y="1055"/>
                  <a:pt x="2596" y="1055"/>
                </a:cubicBezTo>
                <a:cubicBezTo>
                  <a:pt x="2599" y="1054"/>
                  <a:pt x="2600" y="1052"/>
                  <a:pt x="2600" y="1049"/>
                </a:cubicBezTo>
                <a:cubicBezTo>
                  <a:pt x="2600" y="1049"/>
                  <a:pt x="2599" y="1049"/>
                  <a:pt x="2599" y="1049"/>
                </a:cubicBezTo>
                <a:cubicBezTo>
                  <a:pt x="2599" y="1051"/>
                  <a:pt x="2597" y="1052"/>
                  <a:pt x="2597" y="1053"/>
                </a:cubicBezTo>
                <a:cubicBezTo>
                  <a:pt x="2596" y="1054"/>
                  <a:pt x="2594" y="1054"/>
                  <a:pt x="2594" y="1053"/>
                </a:cubicBezTo>
                <a:cubicBezTo>
                  <a:pt x="2593" y="1053"/>
                  <a:pt x="2592" y="1052"/>
                  <a:pt x="2592" y="1051"/>
                </a:cubicBezTo>
                <a:cubicBezTo>
                  <a:pt x="2592" y="1049"/>
                  <a:pt x="2593" y="1047"/>
                  <a:pt x="2593" y="1045"/>
                </a:cubicBezTo>
                <a:cubicBezTo>
                  <a:pt x="2596" y="1046"/>
                  <a:pt x="2599" y="1047"/>
                  <a:pt x="2603" y="1047"/>
                </a:cubicBezTo>
                <a:cubicBezTo>
                  <a:pt x="2610" y="1049"/>
                  <a:pt x="2616" y="1047"/>
                  <a:pt x="2619" y="1038"/>
                </a:cubicBezTo>
                <a:cubicBezTo>
                  <a:pt x="2621" y="1034"/>
                  <a:pt x="2621" y="1029"/>
                  <a:pt x="2620" y="1024"/>
                </a:cubicBezTo>
                <a:cubicBezTo>
                  <a:pt x="2619" y="1022"/>
                  <a:pt x="2619" y="1020"/>
                  <a:pt x="2618" y="1018"/>
                </a:cubicBezTo>
                <a:cubicBezTo>
                  <a:pt x="2617" y="1017"/>
                  <a:pt x="2616" y="1016"/>
                  <a:pt x="2615" y="1018"/>
                </a:cubicBezTo>
                <a:cubicBezTo>
                  <a:pt x="2613" y="1019"/>
                  <a:pt x="2612" y="1021"/>
                  <a:pt x="2610" y="1022"/>
                </a:cubicBezTo>
                <a:cubicBezTo>
                  <a:pt x="2609" y="1022"/>
                  <a:pt x="2608" y="1023"/>
                  <a:pt x="2608" y="1024"/>
                </a:cubicBezTo>
                <a:cubicBezTo>
                  <a:pt x="2609" y="1027"/>
                  <a:pt x="2608" y="1030"/>
                  <a:pt x="2607" y="1034"/>
                </a:cubicBezTo>
                <a:cubicBezTo>
                  <a:pt x="2607" y="1032"/>
                  <a:pt x="2608" y="1030"/>
                  <a:pt x="2608" y="1028"/>
                </a:cubicBezTo>
                <a:cubicBezTo>
                  <a:pt x="2608" y="1027"/>
                  <a:pt x="2607" y="1027"/>
                  <a:pt x="2607" y="1026"/>
                </a:cubicBezTo>
                <a:cubicBezTo>
                  <a:pt x="2606" y="1027"/>
                  <a:pt x="2606" y="1027"/>
                  <a:pt x="2606" y="1027"/>
                </a:cubicBezTo>
                <a:cubicBezTo>
                  <a:pt x="2605" y="1028"/>
                  <a:pt x="2604" y="1030"/>
                  <a:pt x="2603" y="1031"/>
                </a:cubicBezTo>
                <a:cubicBezTo>
                  <a:pt x="2603" y="1031"/>
                  <a:pt x="2603" y="1031"/>
                  <a:pt x="2603" y="1031"/>
                </a:cubicBezTo>
                <a:cubicBezTo>
                  <a:pt x="2603" y="1030"/>
                  <a:pt x="2604" y="1028"/>
                  <a:pt x="2604" y="1026"/>
                </a:cubicBezTo>
                <a:cubicBezTo>
                  <a:pt x="2603" y="1026"/>
                  <a:pt x="2603" y="1027"/>
                  <a:pt x="2602" y="1028"/>
                </a:cubicBezTo>
                <a:cubicBezTo>
                  <a:pt x="2601" y="1028"/>
                  <a:pt x="2601" y="1029"/>
                  <a:pt x="2601" y="1030"/>
                </a:cubicBezTo>
                <a:cubicBezTo>
                  <a:pt x="2601" y="1026"/>
                  <a:pt x="2601" y="1026"/>
                  <a:pt x="2607" y="1025"/>
                </a:cubicBezTo>
                <a:cubicBezTo>
                  <a:pt x="2607" y="1025"/>
                  <a:pt x="2606" y="1024"/>
                  <a:pt x="2606" y="1024"/>
                </a:cubicBezTo>
                <a:cubicBezTo>
                  <a:pt x="2603" y="1025"/>
                  <a:pt x="2603" y="1023"/>
                  <a:pt x="2602" y="1021"/>
                </a:cubicBezTo>
                <a:cubicBezTo>
                  <a:pt x="2604" y="1020"/>
                  <a:pt x="2605" y="1020"/>
                  <a:pt x="2607" y="1019"/>
                </a:cubicBezTo>
                <a:cubicBezTo>
                  <a:pt x="2605" y="1017"/>
                  <a:pt x="2604" y="1014"/>
                  <a:pt x="2601" y="1014"/>
                </a:cubicBezTo>
                <a:cubicBezTo>
                  <a:pt x="2600" y="1014"/>
                  <a:pt x="2600" y="1013"/>
                  <a:pt x="2600" y="1013"/>
                </a:cubicBezTo>
                <a:cubicBezTo>
                  <a:pt x="2597" y="1011"/>
                  <a:pt x="2595" y="1009"/>
                  <a:pt x="2592" y="1007"/>
                </a:cubicBezTo>
                <a:cubicBezTo>
                  <a:pt x="2590" y="1006"/>
                  <a:pt x="2587" y="1005"/>
                  <a:pt x="2585" y="1005"/>
                </a:cubicBezTo>
                <a:cubicBezTo>
                  <a:pt x="2582" y="1005"/>
                  <a:pt x="2579" y="1006"/>
                  <a:pt x="2576" y="1007"/>
                </a:cubicBezTo>
                <a:cubicBezTo>
                  <a:pt x="2573" y="1008"/>
                  <a:pt x="2570" y="1010"/>
                  <a:pt x="2568" y="1013"/>
                </a:cubicBezTo>
                <a:cubicBezTo>
                  <a:pt x="2570" y="1013"/>
                  <a:pt x="2571" y="1013"/>
                  <a:pt x="2572" y="1013"/>
                </a:cubicBezTo>
                <a:cubicBezTo>
                  <a:pt x="2572" y="1013"/>
                  <a:pt x="2571" y="1014"/>
                  <a:pt x="2570" y="1014"/>
                </a:cubicBezTo>
                <a:cubicBezTo>
                  <a:pt x="2568" y="1015"/>
                  <a:pt x="2565" y="1014"/>
                  <a:pt x="2563" y="1016"/>
                </a:cubicBezTo>
                <a:cubicBezTo>
                  <a:pt x="2560" y="1020"/>
                  <a:pt x="2556" y="1024"/>
                  <a:pt x="2552" y="1028"/>
                </a:cubicBezTo>
                <a:cubicBezTo>
                  <a:pt x="2551" y="1030"/>
                  <a:pt x="2550" y="1032"/>
                  <a:pt x="2549" y="1035"/>
                </a:cubicBezTo>
                <a:cubicBezTo>
                  <a:pt x="2549" y="1035"/>
                  <a:pt x="2549" y="1036"/>
                  <a:pt x="2549" y="1036"/>
                </a:cubicBezTo>
                <a:cubicBezTo>
                  <a:pt x="2550" y="1038"/>
                  <a:pt x="2552" y="1040"/>
                  <a:pt x="2553" y="1042"/>
                </a:cubicBezTo>
                <a:cubicBezTo>
                  <a:pt x="2554" y="1041"/>
                  <a:pt x="2556" y="1039"/>
                  <a:pt x="2557" y="1038"/>
                </a:cubicBezTo>
                <a:cubicBezTo>
                  <a:pt x="2556" y="1039"/>
                  <a:pt x="2556" y="1040"/>
                  <a:pt x="2555" y="1042"/>
                </a:cubicBezTo>
                <a:cubicBezTo>
                  <a:pt x="2554" y="1043"/>
                  <a:pt x="2554" y="1044"/>
                  <a:pt x="2553" y="1046"/>
                </a:cubicBezTo>
                <a:cubicBezTo>
                  <a:pt x="2553" y="1047"/>
                  <a:pt x="2553" y="1048"/>
                  <a:pt x="2554" y="1049"/>
                </a:cubicBezTo>
                <a:cubicBezTo>
                  <a:pt x="2556" y="1052"/>
                  <a:pt x="2559" y="1052"/>
                  <a:pt x="2563" y="1050"/>
                </a:cubicBezTo>
                <a:cubicBezTo>
                  <a:pt x="2565" y="1049"/>
                  <a:pt x="2568" y="1047"/>
                  <a:pt x="2571" y="1047"/>
                </a:cubicBezTo>
                <a:cubicBezTo>
                  <a:pt x="2572" y="1046"/>
                  <a:pt x="2574" y="1045"/>
                  <a:pt x="2574" y="1044"/>
                </a:cubicBezTo>
                <a:cubicBezTo>
                  <a:pt x="2574" y="1041"/>
                  <a:pt x="2574" y="1037"/>
                  <a:pt x="2574" y="1034"/>
                </a:cubicBezTo>
                <a:cubicBezTo>
                  <a:pt x="2574" y="1031"/>
                  <a:pt x="2574" y="1028"/>
                  <a:pt x="2574" y="1025"/>
                </a:cubicBezTo>
                <a:cubicBezTo>
                  <a:pt x="2574" y="1028"/>
                  <a:pt x="2575" y="1030"/>
                  <a:pt x="2575" y="1033"/>
                </a:cubicBezTo>
                <a:cubicBezTo>
                  <a:pt x="2576" y="1038"/>
                  <a:pt x="2576" y="1042"/>
                  <a:pt x="2575" y="1046"/>
                </a:cubicBezTo>
                <a:cubicBezTo>
                  <a:pt x="2574" y="1047"/>
                  <a:pt x="2574" y="1048"/>
                  <a:pt x="2573" y="1048"/>
                </a:cubicBezTo>
                <a:cubicBezTo>
                  <a:pt x="2570" y="1048"/>
                  <a:pt x="2566" y="1050"/>
                  <a:pt x="2563" y="1052"/>
                </a:cubicBezTo>
                <a:cubicBezTo>
                  <a:pt x="2558" y="1055"/>
                  <a:pt x="2555" y="1053"/>
                  <a:pt x="2551" y="1049"/>
                </a:cubicBezTo>
                <a:cubicBezTo>
                  <a:pt x="2551" y="1049"/>
                  <a:pt x="2551" y="1047"/>
                  <a:pt x="2551" y="1047"/>
                </a:cubicBezTo>
                <a:cubicBezTo>
                  <a:pt x="2552" y="1045"/>
                  <a:pt x="2551" y="1043"/>
                  <a:pt x="2550" y="1041"/>
                </a:cubicBezTo>
                <a:cubicBezTo>
                  <a:pt x="2548" y="1039"/>
                  <a:pt x="2546" y="1036"/>
                  <a:pt x="2548" y="1034"/>
                </a:cubicBezTo>
                <a:cubicBezTo>
                  <a:pt x="2548" y="1032"/>
                  <a:pt x="2549" y="1030"/>
                  <a:pt x="2550" y="1028"/>
                </a:cubicBezTo>
                <a:cubicBezTo>
                  <a:pt x="2552" y="1026"/>
                  <a:pt x="2554" y="1023"/>
                  <a:pt x="2556" y="1021"/>
                </a:cubicBezTo>
                <a:cubicBezTo>
                  <a:pt x="2556" y="1021"/>
                  <a:pt x="2555" y="1021"/>
                  <a:pt x="2555" y="1021"/>
                </a:cubicBezTo>
                <a:cubicBezTo>
                  <a:pt x="2550" y="1022"/>
                  <a:pt x="2546" y="1023"/>
                  <a:pt x="2542" y="1026"/>
                </a:cubicBezTo>
                <a:cubicBezTo>
                  <a:pt x="2537" y="1031"/>
                  <a:pt x="2534" y="1036"/>
                  <a:pt x="2534" y="1043"/>
                </a:cubicBezTo>
                <a:cubicBezTo>
                  <a:pt x="2534" y="1049"/>
                  <a:pt x="2536" y="1055"/>
                  <a:pt x="2539" y="1061"/>
                </a:cubicBezTo>
                <a:cubicBezTo>
                  <a:pt x="2540" y="1062"/>
                  <a:pt x="2541" y="1064"/>
                  <a:pt x="2540" y="1065"/>
                </a:cubicBezTo>
                <a:cubicBezTo>
                  <a:pt x="2540" y="1066"/>
                  <a:pt x="2540" y="1068"/>
                  <a:pt x="2539" y="1069"/>
                </a:cubicBezTo>
                <a:cubicBezTo>
                  <a:pt x="2539" y="1071"/>
                  <a:pt x="2539" y="1072"/>
                  <a:pt x="2540" y="1072"/>
                </a:cubicBezTo>
                <a:cubicBezTo>
                  <a:pt x="2543" y="1073"/>
                  <a:pt x="2546" y="1074"/>
                  <a:pt x="2549" y="1074"/>
                </a:cubicBezTo>
                <a:cubicBezTo>
                  <a:pt x="2550" y="1074"/>
                  <a:pt x="2550" y="1073"/>
                  <a:pt x="2550" y="1073"/>
                </a:cubicBezTo>
                <a:cubicBezTo>
                  <a:pt x="2551" y="1072"/>
                  <a:pt x="2551" y="1070"/>
                  <a:pt x="2552" y="1069"/>
                </a:cubicBezTo>
                <a:cubicBezTo>
                  <a:pt x="2554" y="1067"/>
                  <a:pt x="2554" y="1064"/>
                  <a:pt x="2554" y="1061"/>
                </a:cubicBezTo>
                <a:cubicBezTo>
                  <a:pt x="2554" y="1061"/>
                  <a:pt x="2554" y="1061"/>
                  <a:pt x="2554" y="1060"/>
                </a:cubicBezTo>
                <a:cubicBezTo>
                  <a:pt x="2554" y="1060"/>
                  <a:pt x="2554" y="1060"/>
                  <a:pt x="2554" y="1059"/>
                </a:cubicBezTo>
                <a:cubicBezTo>
                  <a:pt x="2554" y="1062"/>
                  <a:pt x="2556" y="1062"/>
                  <a:pt x="2557" y="1062"/>
                </a:cubicBezTo>
                <a:cubicBezTo>
                  <a:pt x="2558" y="1062"/>
                  <a:pt x="2559" y="1062"/>
                  <a:pt x="2560" y="1062"/>
                </a:cubicBezTo>
                <a:cubicBezTo>
                  <a:pt x="2563" y="1062"/>
                  <a:pt x="2566" y="1063"/>
                  <a:pt x="2566" y="1059"/>
                </a:cubicBezTo>
                <a:cubicBezTo>
                  <a:pt x="2566" y="1061"/>
                  <a:pt x="2566" y="1063"/>
                  <a:pt x="2566" y="1063"/>
                </a:cubicBezTo>
                <a:cubicBezTo>
                  <a:pt x="2565" y="1064"/>
                  <a:pt x="2564" y="1065"/>
                  <a:pt x="2563" y="1065"/>
                </a:cubicBezTo>
                <a:cubicBezTo>
                  <a:pt x="2561" y="1066"/>
                  <a:pt x="2561" y="1068"/>
                  <a:pt x="2561" y="1068"/>
                </a:cubicBezTo>
                <a:cubicBezTo>
                  <a:pt x="2563" y="1071"/>
                  <a:pt x="2564" y="1073"/>
                  <a:pt x="2565" y="1075"/>
                </a:cubicBezTo>
                <a:cubicBezTo>
                  <a:pt x="2567" y="1076"/>
                  <a:pt x="2569" y="1076"/>
                  <a:pt x="2570" y="1074"/>
                </a:cubicBezTo>
                <a:cubicBezTo>
                  <a:pt x="2571" y="1073"/>
                  <a:pt x="2572" y="1072"/>
                  <a:pt x="2572" y="1072"/>
                </a:cubicBezTo>
                <a:cubicBezTo>
                  <a:pt x="2574" y="1070"/>
                  <a:pt x="2576" y="1069"/>
                  <a:pt x="2577" y="1068"/>
                </a:cubicBezTo>
                <a:cubicBezTo>
                  <a:pt x="2581" y="1064"/>
                  <a:pt x="2583" y="1058"/>
                  <a:pt x="2585" y="1052"/>
                </a:cubicBezTo>
                <a:cubicBezTo>
                  <a:pt x="2585" y="1051"/>
                  <a:pt x="2584" y="1051"/>
                  <a:pt x="2584" y="1050"/>
                </a:cubicBezTo>
                <a:cubicBezTo>
                  <a:pt x="2583" y="1049"/>
                  <a:pt x="2582" y="1048"/>
                  <a:pt x="2581" y="1047"/>
                </a:cubicBezTo>
                <a:close/>
                <a:moveTo>
                  <a:pt x="2534" y="1054"/>
                </a:moveTo>
                <a:cubicBezTo>
                  <a:pt x="2533" y="1055"/>
                  <a:pt x="2531" y="1055"/>
                  <a:pt x="2530" y="1057"/>
                </a:cubicBezTo>
                <a:cubicBezTo>
                  <a:pt x="2530" y="1057"/>
                  <a:pt x="2529" y="1058"/>
                  <a:pt x="2529" y="1059"/>
                </a:cubicBezTo>
                <a:cubicBezTo>
                  <a:pt x="2529" y="1061"/>
                  <a:pt x="2534" y="1066"/>
                  <a:pt x="2537" y="1065"/>
                </a:cubicBezTo>
                <a:cubicBezTo>
                  <a:pt x="2538" y="1065"/>
                  <a:pt x="2539" y="1064"/>
                  <a:pt x="2538" y="1063"/>
                </a:cubicBezTo>
                <a:cubicBezTo>
                  <a:pt x="2537" y="1059"/>
                  <a:pt x="2535" y="1057"/>
                  <a:pt x="2534"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4" y="1036"/>
                </a:moveTo>
                <a:cubicBezTo>
                  <a:pt x="2533" y="1036"/>
                  <a:pt x="2532" y="1036"/>
                  <a:pt x="2532" y="1036"/>
                </a:cubicBezTo>
                <a:cubicBezTo>
                  <a:pt x="2531" y="1036"/>
                  <a:pt x="2530" y="1036"/>
                  <a:pt x="2530" y="1036"/>
                </a:cubicBezTo>
                <a:cubicBezTo>
                  <a:pt x="2530" y="1036"/>
                  <a:pt x="2529" y="1035"/>
                  <a:pt x="2529" y="1034"/>
                </a:cubicBezTo>
                <a:cubicBezTo>
                  <a:pt x="2530" y="1032"/>
                  <a:pt x="2530" y="1030"/>
                  <a:pt x="2531" y="1028"/>
                </a:cubicBezTo>
                <a:cubicBezTo>
                  <a:pt x="2531" y="1028"/>
                  <a:pt x="2531" y="1028"/>
                  <a:pt x="2530" y="1028"/>
                </a:cubicBezTo>
                <a:cubicBezTo>
                  <a:pt x="2530" y="1029"/>
                  <a:pt x="2528" y="1030"/>
                  <a:pt x="2528" y="1031"/>
                </a:cubicBezTo>
                <a:cubicBezTo>
                  <a:pt x="2527" y="1032"/>
                  <a:pt x="2528" y="1037"/>
                  <a:pt x="2530" y="1038"/>
                </a:cubicBezTo>
                <a:cubicBezTo>
                  <a:pt x="2532" y="1039"/>
                  <a:pt x="2534" y="1038"/>
                  <a:pt x="2534" y="1036"/>
                </a:cubicBezTo>
                <a:close/>
                <a:moveTo>
                  <a:pt x="2533" y="1054"/>
                </a:moveTo>
                <a:cubicBezTo>
                  <a:pt x="2532" y="1055"/>
                  <a:pt x="2531" y="1056"/>
                  <a:pt x="2530" y="1057"/>
                </a:cubicBezTo>
                <a:cubicBezTo>
                  <a:pt x="2529" y="1057"/>
                  <a:pt x="2529" y="1058"/>
                  <a:pt x="2529" y="1059"/>
                </a:cubicBezTo>
                <a:cubicBezTo>
                  <a:pt x="2529" y="1062"/>
                  <a:pt x="2533" y="1066"/>
                  <a:pt x="2536" y="1066"/>
                </a:cubicBezTo>
                <a:cubicBezTo>
                  <a:pt x="2538" y="1066"/>
                  <a:pt x="2539" y="1064"/>
                  <a:pt x="2538" y="1063"/>
                </a:cubicBezTo>
                <a:cubicBezTo>
                  <a:pt x="2536" y="1060"/>
                  <a:pt x="2535" y="1057"/>
                  <a:pt x="2533"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3" y="1036"/>
                </a:moveTo>
                <a:cubicBezTo>
                  <a:pt x="2533" y="1036"/>
                  <a:pt x="2532" y="1037"/>
                  <a:pt x="2531" y="1037"/>
                </a:cubicBezTo>
                <a:cubicBezTo>
                  <a:pt x="2531" y="1037"/>
                  <a:pt x="2530" y="1037"/>
                  <a:pt x="2530" y="1036"/>
                </a:cubicBezTo>
                <a:cubicBezTo>
                  <a:pt x="2529" y="1036"/>
                  <a:pt x="2529" y="1035"/>
                  <a:pt x="2529" y="1034"/>
                </a:cubicBezTo>
                <a:cubicBezTo>
                  <a:pt x="2530" y="1032"/>
                  <a:pt x="2530" y="1030"/>
                  <a:pt x="2531" y="1028"/>
                </a:cubicBezTo>
                <a:cubicBezTo>
                  <a:pt x="2531" y="1028"/>
                  <a:pt x="2531" y="1028"/>
                  <a:pt x="2530" y="1028"/>
                </a:cubicBezTo>
                <a:cubicBezTo>
                  <a:pt x="2529" y="1029"/>
                  <a:pt x="2528" y="1030"/>
                  <a:pt x="2527" y="1031"/>
                </a:cubicBezTo>
                <a:cubicBezTo>
                  <a:pt x="2527" y="1032"/>
                  <a:pt x="2528" y="1037"/>
                  <a:pt x="2530" y="1038"/>
                </a:cubicBezTo>
                <a:cubicBezTo>
                  <a:pt x="2531" y="1039"/>
                  <a:pt x="2533" y="1038"/>
                  <a:pt x="2533" y="1036"/>
                </a:cubicBezTo>
                <a:close/>
                <a:moveTo>
                  <a:pt x="2586" y="1028"/>
                </a:moveTo>
                <a:cubicBezTo>
                  <a:pt x="2589" y="1024"/>
                  <a:pt x="2589" y="1024"/>
                  <a:pt x="2593" y="1023"/>
                </a:cubicBezTo>
                <a:cubicBezTo>
                  <a:pt x="2593" y="1025"/>
                  <a:pt x="2594" y="1026"/>
                  <a:pt x="2595" y="1026"/>
                </a:cubicBezTo>
                <a:cubicBezTo>
                  <a:pt x="2593" y="1027"/>
                  <a:pt x="2591" y="1029"/>
                  <a:pt x="2589" y="1030"/>
                </a:cubicBezTo>
                <a:cubicBezTo>
                  <a:pt x="2588" y="1029"/>
                  <a:pt x="2588" y="1028"/>
                  <a:pt x="2587" y="1027"/>
                </a:cubicBezTo>
                <a:cubicBezTo>
                  <a:pt x="2587" y="1027"/>
                  <a:pt x="2586" y="1027"/>
                  <a:pt x="2586" y="1028"/>
                </a:cubicBezTo>
                <a:close/>
                <a:moveTo>
                  <a:pt x="2591" y="1027"/>
                </a:moveTo>
                <a:cubicBezTo>
                  <a:pt x="2591" y="1027"/>
                  <a:pt x="2590" y="1026"/>
                  <a:pt x="2589" y="1026"/>
                </a:cubicBezTo>
                <a:cubicBezTo>
                  <a:pt x="2589" y="1026"/>
                  <a:pt x="2588" y="1027"/>
                  <a:pt x="2588" y="1028"/>
                </a:cubicBezTo>
                <a:cubicBezTo>
                  <a:pt x="2588" y="1028"/>
                  <a:pt x="2589" y="1028"/>
                  <a:pt x="2589" y="1029"/>
                </a:cubicBezTo>
                <a:cubicBezTo>
                  <a:pt x="2590" y="1028"/>
                  <a:pt x="2590" y="1028"/>
                  <a:pt x="2591" y="1027"/>
                </a:cubicBezTo>
                <a:close/>
                <a:moveTo>
                  <a:pt x="2573" y="1018"/>
                </a:moveTo>
                <a:cubicBezTo>
                  <a:pt x="2566" y="1017"/>
                  <a:pt x="2563" y="1019"/>
                  <a:pt x="2562" y="1027"/>
                </a:cubicBezTo>
                <a:cubicBezTo>
                  <a:pt x="2563" y="1025"/>
                  <a:pt x="2564" y="1023"/>
                  <a:pt x="2566" y="1020"/>
                </a:cubicBezTo>
                <a:cubicBezTo>
                  <a:pt x="2566" y="1020"/>
                  <a:pt x="2566" y="1020"/>
                  <a:pt x="2566" y="1020"/>
                </a:cubicBezTo>
                <a:cubicBezTo>
                  <a:pt x="2566" y="1022"/>
                  <a:pt x="2566" y="1022"/>
                  <a:pt x="2566" y="1023"/>
                </a:cubicBezTo>
                <a:cubicBezTo>
                  <a:pt x="2568" y="1020"/>
                  <a:pt x="2569" y="1018"/>
                  <a:pt x="2573" y="1018"/>
                </a:cubicBezTo>
                <a:close/>
                <a:moveTo>
                  <a:pt x="2616" y="1019"/>
                </a:moveTo>
                <a:cubicBezTo>
                  <a:pt x="2614" y="1020"/>
                  <a:pt x="2612" y="1022"/>
                  <a:pt x="2611" y="1023"/>
                </a:cubicBezTo>
                <a:cubicBezTo>
                  <a:pt x="2613" y="1024"/>
                  <a:pt x="2615" y="1022"/>
                  <a:pt x="2616" y="1019"/>
                </a:cubicBezTo>
                <a:close/>
                <a:moveTo>
                  <a:pt x="2583" y="1021"/>
                </a:moveTo>
                <a:cubicBezTo>
                  <a:pt x="2584" y="1020"/>
                  <a:pt x="2585" y="1019"/>
                  <a:pt x="2587" y="1017"/>
                </a:cubicBezTo>
                <a:cubicBezTo>
                  <a:pt x="2583" y="1019"/>
                  <a:pt x="2582" y="1019"/>
                  <a:pt x="2583" y="1021"/>
                </a:cubicBezTo>
                <a:close/>
                <a:moveTo>
                  <a:pt x="2593" y="1042"/>
                </a:moveTo>
                <a:cubicBezTo>
                  <a:pt x="2591" y="1043"/>
                  <a:pt x="2590" y="1044"/>
                  <a:pt x="2590" y="1044"/>
                </a:cubicBezTo>
                <a:cubicBezTo>
                  <a:pt x="2591" y="1044"/>
                  <a:pt x="2592" y="1043"/>
                  <a:pt x="2593" y="1042"/>
                </a:cubicBezTo>
                <a:close/>
                <a:moveTo>
                  <a:pt x="2591" y="1027"/>
                </a:moveTo>
                <a:cubicBezTo>
                  <a:pt x="2591" y="1027"/>
                  <a:pt x="2590" y="1026"/>
                  <a:pt x="2590" y="1026"/>
                </a:cubicBezTo>
                <a:cubicBezTo>
                  <a:pt x="2589" y="1026"/>
                  <a:pt x="2588" y="1027"/>
                  <a:pt x="2588" y="1027"/>
                </a:cubicBezTo>
                <a:cubicBezTo>
                  <a:pt x="2588" y="1028"/>
                  <a:pt x="2589" y="1028"/>
                  <a:pt x="2589" y="1029"/>
                </a:cubicBezTo>
                <a:cubicBezTo>
                  <a:pt x="2590" y="1028"/>
                  <a:pt x="2590" y="1028"/>
                  <a:pt x="2591" y="1027"/>
                </a:cubicBezTo>
                <a:close/>
                <a:moveTo>
                  <a:pt x="3246" y="1005"/>
                </a:moveTo>
                <a:cubicBezTo>
                  <a:pt x="3246" y="1005"/>
                  <a:pt x="3246" y="1005"/>
                  <a:pt x="3246" y="1005"/>
                </a:cubicBezTo>
                <a:cubicBezTo>
                  <a:pt x="3240" y="1005"/>
                  <a:pt x="3240" y="1005"/>
                  <a:pt x="3240" y="1005"/>
                </a:cubicBezTo>
                <a:cubicBezTo>
                  <a:pt x="3238" y="1006"/>
                  <a:pt x="3237" y="1007"/>
                  <a:pt x="3235" y="1008"/>
                </a:cubicBezTo>
                <a:cubicBezTo>
                  <a:pt x="3233" y="1010"/>
                  <a:pt x="3232" y="1010"/>
                  <a:pt x="3229" y="1011"/>
                </a:cubicBezTo>
                <a:cubicBezTo>
                  <a:pt x="3228" y="1013"/>
                  <a:pt x="3226" y="1013"/>
                  <a:pt x="3224" y="1014"/>
                </a:cubicBezTo>
                <a:cubicBezTo>
                  <a:pt x="3222" y="1015"/>
                  <a:pt x="3220" y="1015"/>
                  <a:pt x="3218" y="1015"/>
                </a:cubicBezTo>
                <a:cubicBezTo>
                  <a:pt x="3218" y="1015"/>
                  <a:pt x="3218" y="1015"/>
                  <a:pt x="3218" y="1026"/>
                </a:cubicBezTo>
                <a:cubicBezTo>
                  <a:pt x="3221" y="1025"/>
                  <a:pt x="3224" y="1024"/>
                  <a:pt x="3227" y="1023"/>
                </a:cubicBezTo>
                <a:cubicBezTo>
                  <a:pt x="3229" y="1022"/>
                  <a:pt x="3232" y="1021"/>
                  <a:pt x="3234" y="1019"/>
                </a:cubicBezTo>
                <a:cubicBezTo>
                  <a:pt x="3234" y="1019"/>
                  <a:pt x="3234" y="1019"/>
                  <a:pt x="3234" y="1078"/>
                </a:cubicBezTo>
                <a:cubicBezTo>
                  <a:pt x="3234" y="1078"/>
                  <a:pt x="3234" y="1078"/>
                  <a:pt x="3246" y="1078"/>
                </a:cubicBezTo>
                <a:cubicBezTo>
                  <a:pt x="3246" y="1078"/>
                  <a:pt x="3246" y="1078"/>
                  <a:pt x="3246" y="1005"/>
                </a:cubicBezTo>
                <a:close/>
                <a:moveTo>
                  <a:pt x="3293" y="1005"/>
                </a:moveTo>
                <a:cubicBezTo>
                  <a:pt x="3293" y="1005"/>
                  <a:pt x="3293" y="1005"/>
                  <a:pt x="3293" y="1005"/>
                </a:cubicBezTo>
                <a:cubicBezTo>
                  <a:pt x="3288" y="1005"/>
                  <a:pt x="3288" y="1005"/>
                  <a:pt x="3288" y="1005"/>
                </a:cubicBezTo>
                <a:cubicBezTo>
                  <a:pt x="3286" y="1006"/>
                  <a:pt x="3284" y="1007"/>
                  <a:pt x="3282" y="1008"/>
                </a:cubicBezTo>
                <a:cubicBezTo>
                  <a:pt x="3281" y="1010"/>
                  <a:pt x="3278" y="1010"/>
                  <a:pt x="3277" y="1011"/>
                </a:cubicBezTo>
                <a:cubicBezTo>
                  <a:pt x="3275" y="1013"/>
                  <a:pt x="3273" y="1013"/>
                  <a:pt x="3272" y="1014"/>
                </a:cubicBezTo>
                <a:cubicBezTo>
                  <a:pt x="3269" y="1015"/>
                  <a:pt x="3268" y="1015"/>
                  <a:pt x="3266" y="1015"/>
                </a:cubicBezTo>
                <a:cubicBezTo>
                  <a:pt x="3266" y="1015"/>
                  <a:pt x="3266" y="1015"/>
                  <a:pt x="3266" y="1026"/>
                </a:cubicBezTo>
                <a:cubicBezTo>
                  <a:pt x="3269" y="1025"/>
                  <a:pt x="3272" y="1024"/>
                  <a:pt x="3274" y="1023"/>
                </a:cubicBezTo>
                <a:cubicBezTo>
                  <a:pt x="3277" y="1022"/>
                  <a:pt x="3279" y="1021"/>
                  <a:pt x="3281" y="1019"/>
                </a:cubicBezTo>
                <a:cubicBezTo>
                  <a:pt x="3281" y="1019"/>
                  <a:pt x="3281" y="1019"/>
                  <a:pt x="3281" y="1078"/>
                </a:cubicBezTo>
                <a:cubicBezTo>
                  <a:pt x="3281" y="1078"/>
                  <a:pt x="3281" y="1078"/>
                  <a:pt x="3293" y="1078"/>
                </a:cubicBezTo>
                <a:cubicBezTo>
                  <a:pt x="3293" y="1078"/>
                  <a:pt x="3293" y="1078"/>
                  <a:pt x="3293" y="1005"/>
                </a:cubicBezTo>
                <a:close/>
                <a:moveTo>
                  <a:pt x="3340" y="1005"/>
                </a:moveTo>
                <a:cubicBezTo>
                  <a:pt x="3340" y="1005"/>
                  <a:pt x="3340" y="1005"/>
                  <a:pt x="3340" y="1005"/>
                </a:cubicBezTo>
                <a:cubicBezTo>
                  <a:pt x="3335" y="1005"/>
                  <a:pt x="3335" y="1005"/>
                  <a:pt x="3335" y="1005"/>
                </a:cubicBezTo>
                <a:cubicBezTo>
                  <a:pt x="3333" y="1006"/>
                  <a:pt x="3332" y="1007"/>
                  <a:pt x="3329" y="1008"/>
                </a:cubicBezTo>
                <a:cubicBezTo>
                  <a:pt x="3328" y="1010"/>
                  <a:pt x="3326" y="1010"/>
                  <a:pt x="3324" y="1011"/>
                </a:cubicBezTo>
                <a:cubicBezTo>
                  <a:pt x="3322" y="1012"/>
                  <a:pt x="3321" y="1013"/>
                  <a:pt x="3318" y="1013"/>
                </a:cubicBezTo>
                <a:cubicBezTo>
                  <a:pt x="3317" y="1014"/>
                  <a:pt x="3315" y="1015"/>
                  <a:pt x="3313" y="1015"/>
                </a:cubicBezTo>
                <a:cubicBezTo>
                  <a:pt x="3313" y="1015"/>
                  <a:pt x="3313" y="1015"/>
                  <a:pt x="3313" y="1026"/>
                </a:cubicBezTo>
                <a:cubicBezTo>
                  <a:pt x="3316" y="1025"/>
                  <a:pt x="3319" y="1023"/>
                  <a:pt x="3321" y="1023"/>
                </a:cubicBezTo>
                <a:cubicBezTo>
                  <a:pt x="3324" y="1022"/>
                  <a:pt x="3326" y="1021"/>
                  <a:pt x="3328" y="1019"/>
                </a:cubicBezTo>
                <a:cubicBezTo>
                  <a:pt x="3328" y="1019"/>
                  <a:pt x="3328" y="1019"/>
                  <a:pt x="3328" y="1078"/>
                </a:cubicBezTo>
                <a:cubicBezTo>
                  <a:pt x="3328" y="1078"/>
                  <a:pt x="3328" y="1078"/>
                  <a:pt x="3340" y="1078"/>
                </a:cubicBezTo>
                <a:cubicBezTo>
                  <a:pt x="3340" y="1078"/>
                  <a:pt x="3340" y="1078"/>
                  <a:pt x="3340" y="1005"/>
                </a:cubicBezTo>
                <a:close/>
                <a:moveTo>
                  <a:pt x="3550" y="909"/>
                </a:moveTo>
                <a:cubicBezTo>
                  <a:pt x="3550" y="909"/>
                  <a:pt x="3550" y="909"/>
                  <a:pt x="3550" y="909"/>
                </a:cubicBezTo>
                <a:cubicBezTo>
                  <a:pt x="3545" y="909"/>
                  <a:pt x="3545" y="909"/>
                  <a:pt x="3545" y="909"/>
                </a:cubicBezTo>
                <a:cubicBezTo>
                  <a:pt x="3543" y="911"/>
                  <a:pt x="3542" y="912"/>
                  <a:pt x="3539" y="913"/>
                </a:cubicBezTo>
                <a:cubicBezTo>
                  <a:pt x="3538" y="915"/>
                  <a:pt x="3536" y="915"/>
                  <a:pt x="3534" y="916"/>
                </a:cubicBezTo>
                <a:cubicBezTo>
                  <a:pt x="3532" y="917"/>
                  <a:pt x="3530" y="917"/>
                  <a:pt x="3529" y="918"/>
                </a:cubicBezTo>
                <a:cubicBezTo>
                  <a:pt x="3527" y="919"/>
                  <a:pt x="3525" y="920"/>
                  <a:pt x="3523" y="920"/>
                </a:cubicBezTo>
                <a:cubicBezTo>
                  <a:pt x="3523" y="920"/>
                  <a:pt x="3523" y="920"/>
                  <a:pt x="3523" y="931"/>
                </a:cubicBezTo>
                <a:cubicBezTo>
                  <a:pt x="3526" y="930"/>
                  <a:pt x="3529" y="928"/>
                  <a:pt x="3531" y="928"/>
                </a:cubicBezTo>
                <a:cubicBezTo>
                  <a:pt x="3534" y="927"/>
                  <a:pt x="3536" y="925"/>
                  <a:pt x="3539" y="924"/>
                </a:cubicBezTo>
                <a:cubicBezTo>
                  <a:pt x="3539" y="924"/>
                  <a:pt x="3539" y="924"/>
                  <a:pt x="3539" y="983"/>
                </a:cubicBezTo>
                <a:cubicBezTo>
                  <a:pt x="3539" y="983"/>
                  <a:pt x="3539" y="983"/>
                  <a:pt x="3550" y="983"/>
                </a:cubicBezTo>
                <a:cubicBezTo>
                  <a:pt x="3550" y="983"/>
                  <a:pt x="3550" y="983"/>
                  <a:pt x="3550" y="909"/>
                </a:cubicBezTo>
                <a:close/>
                <a:moveTo>
                  <a:pt x="3596" y="909"/>
                </a:moveTo>
                <a:cubicBezTo>
                  <a:pt x="3596" y="909"/>
                  <a:pt x="3596" y="909"/>
                  <a:pt x="3596" y="909"/>
                </a:cubicBezTo>
                <a:cubicBezTo>
                  <a:pt x="3591" y="909"/>
                  <a:pt x="3591" y="909"/>
                  <a:pt x="3591" y="909"/>
                </a:cubicBezTo>
                <a:cubicBezTo>
                  <a:pt x="3589" y="911"/>
                  <a:pt x="3588" y="912"/>
                  <a:pt x="3586" y="913"/>
                </a:cubicBezTo>
                <a:cubicBezTo>
                  <a:pt x="3584" y="915"/>
                  <a:pt x="3582" y="915"/>
                  <a:pt x="3581" y="916"/>
                </a:cubicBezTo>
                <a:cubicBezTo>
                  <a:pt x="3579" y="917"/>
                  <a:pt x="3577" y="918"/>
                  <a:pt x="3576" y="919"/>
                </a:cubicBezTo>
                <a:cubicBezTo>
                  <a:pt x="3574" y="920"/>
                  <a:pt x="3572" y="920"/>
                  <a:pt x="3570" y="920"/>
                </a:cubicBezTo>
                <a:cubicBezTo>
                  <a:pt x="3570" y="920"/>
                  <a:pt x="3570" y="920"/>
                  <a:pt x="3570" y="931"/>
                </a:cubicBezTo>
                <a:cubicBezTo>
                  <a:pt x="3573" y="930"/>
                  <a:pt x="3576" y="929"/>
                  <a:pt x="3578" y="928"/>
                </a:cubicBezTo>
                <a:cubicBezTo>
                  <a:pt x="3581" y="927"/>
                  <a:pt x="3583" y="925"/>
                  <a:pt x="3585" y="924"/>
                </a:cubicBezTo>
                <a:cubicBezTo>
                  <a:pt x="3585" y="924"/>
                  <a:pt x="3585" y="924"/>
                  <a:pt x="3585" y="983"/>
                </a:cubicBezTo>
                <a:cubicBezTo>
                  <a:pt x="3585" y="983"/>
                  <a:pt x="3585" y="983"/>
                  <a:pt x="3596" y="983"/>
                </a:cubicBezTo>
                <a:cubicBezTo>
                  <a:pt x="3596" y="983"/>
                  <a:pt x="3596" y="983"/>
                  <a:pt x="3596" y="909"/>
                </a:cubicBezTo>
                <a:close/>
                <a:moveTo>
                  <a:pt x="3643" y="909"/>
                </a:moveTo>
                <a:cubicBezTo>
                  <a:pt x="3643" y="909"/>
                  <a:pt x="3643" y="909"/>
                  <a:pt x="3643" y="909"/>
                </a:cubicBezTo>
                <a:cubicBezTo>
                  <a:pt x="3638" y="909"/>
                  <a:pt x="3638" y="909"/>
                  <a:pt x="3638" y="909"/>
                </a:cubicBezTo>
                <a:cubicBezTo>
                  <a:pt x="3636" y="911"/>
                  <a:pt x="3635" y="912"/>
                  <a:pt x="3632" y="913"/>
                </a:cubicBezTo>
                <a:cubicBezTo>
                  <a:pt x="3631" y="915"/>
                  <a:pt x="3629" y="915"/>
                  <a:pt x="3627" y="916"/>
                </a:cubicBezTo>
                <a:cubicBezTo>
                  <a:pt x="3625" y="917"/>
                  <a:pt x="3624" y="918"/>
                  <a:pt x="3621" y="919"/>
                </a:cubicBezTo>
                <a:cubicBezTo>
                  <a:pt x="3620" y="920"/>
                  <a:pt x="3618" y="920"/>
                  <a:pt x="3616" y="920"/>
                </a:cubicBezTo>
                <a:cubicBezTo>
                  <a:pt x="3616" y="920"/>
                  <a:pt x="3616" y="920"/>
                  <a:pt x="3616" y="931"/>
                </a:cubicBezTo>
                <a:cubicBezTo>
                  <a:pt x="3619" y="930"/>
                  <a:pt x="3622" y="929"/>
                  <a:pt x="3624" y="928"/>
                </a:cubicBezTo>
                <a:cubicBezTo>
                  <a:pt x="3626" y="927"/>
                  <a:pt x="3629" y="925"/>
                  <a:pt x="3631" y="924"/>
                </a:cubicBezTo>
                <a:cubicBezTo>
                  <a:pt x="3631" y="924"/>
                  <a:pt x="3631" y="924"/>
                  <a:pt x="3631" y="983"/>
                </a:cubicBezTo>
                <a:cubicBezTo>
                  <a:pt x="3631" y="983"/>
                  <a:pt x="3631" y="983"/>
                  <a:pt x="3643" y="983"/>
                </a:cubicBezTo>
                <a:cubicBezTo>
                  <a:pt x="3643" y="983"/>
                  <a:pt x="3643" y="983"/>
                  <a:pt x="3643" y="909"/>
                </a:cubicBezTo>
                <a:close/>
                <a:moveTo>
                  <a:pt x="3689" y="909"/>
                </a:moveTo>
                <a:cubicBezTo>
                  <a:pt x="3689" y="909"/>
                  <a:pt x="3689" y="909"/>
                  <a:pt x="3689" y="909"/>
                </a:cubicBezTo>
                <a:cubicBezTo>
                  <a:pt x="3684" y="909"/>
                  <a:pt x="3684" y="909"/>
                  <a:pt x="3684" y="909"/>
                </a:cubicBezTo>
                <a:cubicBezTo>
                  <a:pt x="3682" y="911"/>
                  <a:pt x="3680" y="912"/>
                  <a:pt x="3678" y="913"/>
                </a:cubicBezTo>
                <a:cubicBezTo>
                  <a:pt x="3677" y="915"/>
                  <a:pt x="3675" y="915"/>
                  <a:pt x="3673" y="916"/>
                </a:cubicBezTo>
                <a:cubicBezTo>
                  <a:pt x="3672" y="917"/>
                  <a:pt x="3670" y="918"/>
                  <a:pt x="3668" y="919"/>
                </a:cubicBezTo>
                <a:cubicBezTo>
                  <a:pt x="3666" y="920"/>
                  <a:pt x="3664" y="920"/>
                  <a:pt x="3662" y="920"/>
                </a:cubicBezTo>
                <a:cubicBezTo>
                  <a:pt x="3662" y="920"/>
                  <a:pt x="3662" y="920"/>
                  <a:pt x="3662" y="931"/>
                </a:cubicBezTo>
                <a:cubicBezTo>
                  <a:pt x="3665" y="930"/>
                  <a:pt x="3668" y="929"/>
                  <a:pt x="3670" y="928"/>
                </a:cubicBezTo>
                <a:cubicBezTo>
                  <a:pt x="3673" y="927"/>
                  <a:pt x="3675" y="925"/>
                  <a:pt x="3678" y="924"/>
                </a:cubicBezTo>
                <a:cubicBezTo>
                  <a:pt x="3678" y="924"/>
                  <a:pt x="3678" y="924"/>
                  <a:pt x="3678" y="983"/>
                </a:cubicBezTo>
                <a:cubicBezTo>
                  <a:pt x="3678" y="983"/>
                  <a:pt x="3678" y="983"/>
                  <a:pt x="3689" y="983"/>
                </a:cubicBezTo>
                <a:cubicBezTo>
                  <a:pt x="3689" y="983"/>
                  <a:pt x="3689" y="983"/>
                  <a:pt x="3689" y="909"/>
                </a:cubicBezTo>
                <a:close/>
                <a:moveTo>
                  <a:pt x="3811" y="909"/>
                </a:moveTo>
                <a:cubicBezTo>
                  <a:pt x="3811" y="909"/>
                  <a:pt x="3811" y="909"/>
                  <a:pt x="3811" y="909"/>
                </a:cubicBezTo>
                <a:cubicBezTo>
                  <a:pt x="3806" y="909"/>
                  <a:pt x="3806" y="909"/>
                  <a:pt x="3806" y="909"/>
                </a:cubicBezTo>
                <a:cubicBezTo>
                  <a:pt x="3804" y="911"/>
                  <a:pt x="3802" y="912"/>
                  <a:pt x="3800" y="913"/>
                </a:cubicBezTo>
                <a:cubicBezTo>
                  <a:pt x="3798" y="915"/>
                  <a:pt x="3797" y="915"/>
                  <a:pt x="3795" y="916"/>
                </a:cubicBezTo>
                <a:cubicBezTo>
                  <a:pt x="3793" y="917"/>
                  <a:pt x="3791" y="918"/>
                  <a:pt x="3790" y="919"/>
                </a:cubicBezTo>
                <a:cubicBezTo>
                  <a:pt x="3787" y="920"/>
                  <a:pt x="3786" y="920"/>
                  <a:pt x="3784" y="920"/>
                </a:cubicBezTo>
                <a:cubicBezTo>
                  <a:pt x="3784" y="920"/>
                  <a:pt x="3784" y="920"/>
                  <a:pt x="3784" y="931"/>
                </a:cubicBezTo>
                <a:cubicBezTo>
                  <a:pt x="3787" y="930"/>
                  <a:pt x="3790" y="929"/>
                  <a:pt x="3793" y="928"/>
                </a:cubicBezTo>
                <a:cubicBezTo>
                  <a:pt x="3795" y="927"/>
                  <a:pt x="3797" y="925"/>
                  <a:pt x="3799" y="924"/>
                </a:cubicBezTo>
                <a:cubicBezTo>
                  <a:pt x="3799" y="924"/>
                  <a:pt x="3799" y="924"/>
                  <a:pt x="3799" y="983"/>
                </a:cubicBezTo>
                <a:cubicBezTo>
                  <a:pt x="3799" y="983"/>
                  <a:pt x="3799" y="983"/>
                  <a:pt x="3811" y="983"/>
                </a:cubicBezTo>
                <a:cubicBezTo>
                  <a:pt x="3811" y="983"/>
                  <a:pt x="3811" y="983"/>
                  <a:pt x="3811" y="909"/>
                </a:cubicBezTo>
                <a:close/>
                <a:moveTo>
                  <a:pt x="3858" y="909"/>
                </a:moveTo>
                <a:cubicBezTo>
                  <a:pt x="3858" y="909"/>
                  <a:pt x="3858" y="909"/>
                  <a:pt x="3858" y="909"/>
                </a:cubicBezTo>
                <a:cubicBezTo>
                  <a:pt x="3853" y="909"/>
                  <a:pt x="3853" y="909"/>
                  <a:pt x="3853" y="909"/>
                </a:cubicBezTo>
                <a:cubicBezTo>
                  <a:pt x="3850" y="911"/>
                  <a:pt x="3849" y="912"/>
                  <a:pt x="3847" y="913"/>
                </a:cubicBezTo>
                <a:cubicBezTo>
                  <a:pt x="3845" y="915"/>
                  <a:pt x="3843" y="915"/>
                  <a:pt x="3842" y="916"/>
                </a:cubicBezTo>
                <a:cubicBezTo>
                  <a:pt x="3840" y="917"/>
                  <a:pt x="3838" y="918"/>
                  <a:pt x="3837" y="919"/>
                </a:cubicBezTo>
                <a:cubicBezTo>
                  <a:pt x="3834" y="920"/>
                  <a:pt x="3833" y="920"/>
                  <a:pt x="3831" y="920"/>
                </a:cubicBezTo>
                <a:cubicBezTo>
                  <a:pt x="3831" y="920"/>
                  <a:pt x="3831" y="920"/>
                  <a:pt x="3831" y="931"/>
                </a:cubicBezTo>
                <a:cubicBezTo>
                  <a:pt x="3834" y="930"/>
                  <a:pt x="3837" y="929"/>
                  <a:pt x="3839" y="928"/>
                </a:cubicBezTo>
                <a:cubicBezTo>
                  <a:pt x="3842" y="927"/>
                  <a:pt x="3844" y="925"/>
                  <a:pt x="3846" y="924"/>
                </a:cubicBezTo>
                <a:cubicBezTo>
                  <a:pt x="3846" y="924"/>
                  <a:pt x="3846" y="924"/>
                  <a:pt x="3846" y="983"/>
                </a:cubicBezTo>
                <a:cubicBezTo>
                  <a:pt x="3846" y="983"/>
                  <a:pt x="3846" y="983"/>
                  <a:pt x="3858" y="983"/>
                </a:cubicBezTo>
                <a:cubicBezTo>
                  <a:pt x="3858" y="983"/>
                  <a:pt x="3858" y="983"/>
                  <a:pt x="3858" y="909"/>
                </a:cubicBezTo>
                <a:close/>
                <a:moveTo>
                  <a:pt x="3709" y="942"/>
                </a:moveTo>
                <a:cubicBezTo>
                  <a:pt x="3709" y="942"/>
                  <a:pt x="3709" y="942"/>
                  <a:pt x="3709" y="942"/>
                </a:cubicBezTo>
                <a:cubicBezTo>
                  <a:pt x="3709" y="950"/>
                  <a:pt x="3709" y="950"/>
                  <a:pt x="3709" y="950"/>
                </a:cubicBezTo>
                <a:cubicBezTo>
                  <a:pt x="3715" y="950"/>
                  <a:pt x="3716" y="953"/>
                  <a:pt x="3716" y="956"/>
                </a:cubicBezTo>
                <a:cubicBezTo>
                  <a:pt x="3716" y="958"/>
                  <a:pt x="3716" y="960"/>
                  <a:pt x="3716" y="963"/>
                </a:cubicBezTo>
                <a:cubicBezTo>
                  <a:pt x="3715" y="966"/>
                  <a:pt x="3715" y="968"/>
                  <a:pt x="3715" y="970"/>
                </a:cubicBezTo>
                <a:cubicBezTo>
                  <a:pt x="3715" y="980"/>
                  <a:pt x="3721" y="983"/>
                  <a:pt x="3730" y="983"/>
                </a:cubicBezTo>
                <a:cubicBezTo>
                  <a:pt x="3730" y="983"/>
                  <a:pt x="3730" y="983"/>
                  <a:pt x="3733" y="983"/>
                </a:cubicBezTo>
                <a:cubicBezTo>
                  <a:pt x="3733" y="983"/>
                  <a:pt x="3733" y="983"/>
                  <a:pt x="3733" y="974"/>
                </a:cubicBezTo>
                <a:cubicBezTo>
                  <a:pt x="3733" y="974"/>
                  <a:pt x="3733" y="974"/>
                  <a:pt x="3732" y="974"/>
                </a:cubicBezTo>
                <a:cubicBezTo>
                  <a:pt x="3728" y="974"/>
                  <a:pt x="3727" y="971"/>
                  <a:pt x="3727" y="968"/>
                </a:cubicBezTo>
                <a:cubicBezTo>
                  <a:pt x="3727" y="966"/>
                  <a:pt x="3727" y="965"/>
                  <a:pt x="3727" y="963"/>
                </a:cubicBezTo>
                <a:cubicBezTo>
                  <a:pt x="3727" y="962"/>
                  <a:pt x="3728" y="959"/>
                  <a:pt x="3728" y="957"/>
                </a:cubicBezTo>
                <a:cubicBezTo>
                  <a:pt x="3728" y="950"/>
                  <a:pt x="3725" y="947"/>
                  <a:pt x="3719" y="946"/>
                </a:cubicBezTo>
                <a:cubicBezTo>
                  <a:pt x="3719" y="946"/>
                  <a:pt x="3719" y="946"/>
                  <a:pt x="3719" y="946"/>
                </a:cubicBezTo>
                <a:cubicBezTo>
                  <a:pt x="3725" y="944"/>
                  <a:pt x="3728" y="942"/>
                  <a:pt x="3728" y="935"/>
                </a:cubicBezTo>
                <a:cubicBezTo>
                  <a:pt x="3728" y="932"/>
                  <a:pt x="3727" y="930"/>
                  <a:pt x="3727" y="928"/>
                </a:cubicBezTo>
                <a:cubicBezTo>
                  <a:pt x="3727" y="927"/>
                  <a:pt x="3727" y="925"/>
                  <a:pt x="3727" y="924"/>
                </a:cubicBezTo>
                <a:cubicBezTo>
                  <a:pt x="3727" y="920"/>
                  <a:pt x="3728" y="918"/>
                  <a:pt x="3732" y="918"/>
                </a:cubicBezTo>
                <a:cubicBezTo>
                  <a:pt x="3732" y="918"/>
                  <a:pt x="3732" y="918"/>
                  <a:pt x="3733" y="918"/>
                </a:cubicBezTo>
                <a:cubicBezTo>
                  <a:pt x="3733" y="918"/>
                  <a:pt x="3733" y="918"/>
                  <a:pt x="3733" y="909"/>
                </a:cubicBezTo>
                <a:cubicBezTo>
                  <a:pt x="3733" y="909"/>
                  <a:pt x="3733" y="909"/>
                  <a:pt x="3730" y="909"/>
                </a:cubicBezTo>
                <a:cubicBezTo>
                  <a:pt x="3720" y="909"/>
                  <a:pt x="3715" y="913"/>
                  <a:pt x="3715" y="921"/>
                </a:cubicBezTo>
                <a:cubicBezTo>
                  <a:pt x="3715" y="923"/>
                  <a:pt x="3715" y="926"/>
                  <a:pt x="3715" y="929"/>
                </a:cubicBezTo>
                <a:cubicBezTo>
                  <a:pt x="3716" y="931"/>
                  <a:pt x="3716" y="934"/>
                  <a:pt x="3716" y="935"/>
                </a:cubicBezTo>
                <a:cubicBezTo>
                  <a:pt x="3716" y="938"/>
                  <a:pt x="3715" y="941"/>
                  <a:pt x="3709" y="942"/>
                </a:cubicBezTo>
                <a:close/>
                <a:moveTo>
                  <a:pt x="3764" y="950"/>
                </a:moveTo>
                <a:cubicBezTo>
                  <a:pt x="3764" y="950"/>
                  <a:pt x="3764" y="950"/>
                  <a:pt x="3764" y="950"/>
                </a:cubicBezTo>
                <a:cubicBezTo>
                  <a:pt x="3764" y="942"/>
                  <a:pt x="3764" y="942"/>
                  <a:pt x="3764" y="942"/>
                </a:cubicBezTo>
                <a:cubicBezTo>
                  <a:pt x="3758" y="941"/>
                  <a:pt x="3757" y="938"/>
                  <a:pt x="3757" y="935"/>
                </a:cubicBezTo>
                <a:cubicBezTo>
                  <a:pt x="3757" y="934"/>
                  <a:pt x="3757" y="931"/>
                  <a:pt x="3758" y="929"/>
                </a:cubicBezTo>
                <a:cubicBezTo>
                  <a:pt x="3758" y="926"/>
                  <a:pt x="3758" y="923"/>
                  <a:pt x="3758" y="921"/>
                </a:cubicBezTo>
                <a:cubicBezTo>
                  <a:pt x="3758" y="913"/>
                  <a:pt x="3753" y="909"/>
                  <a:pt x="3744" y="909"/>
                </a:cubicBezTo>
                <a:cubicBezTo>
                  <a:pt x="3744" y="909"/>
                  <a:pt x="3744" y="909"/>
                  <a:pt x="3740" y="909"/>
                </a:cubicBezTo>
                <a:cubicBezTo>
                  <a:pt x="3740" y="909"/>
                  <a:pt x="3740" y="909"/>
                  <a:pt x="3740" y="918"/>
                </a:cubicBezTo>
                <a:cubicBezTo>
                  <a:pt x="3740" y="918"/>
                  <a:pt x="3740" y="918"/>
                  <a:pt x="3741" y="918"/>
                </a:cubicBezTo>
                <a:cubicBezTo>
                  <a:pt x="3745" y="918"/>
                  <a:pt x="3747" y="920"/>
                  <a:pt x="3747" y="924"/>
                </a:cubicBezTo>
                <a:cubicBezTo>
                  <a:pt x="3747" y="925"/>
                  <a:pt x="3746" y="927"/>
                  <a:pt x="3746" y="928"/>
                </a:cubicBezTo>
                <a:cubicBezTo>
                  <a:pt x="3746" y="930"/>
                  <a:pt x="3746" y="932"/>
                  <a:pt x="3746" y="935"/>
                </a:cubicBezTo>
                <a:cubicBezTo>
                  <a:pt x="3746" y="942"/>
                  <a:pt x="3749" y="944"/>
                  <a:pt x="3754" y="946"/>
                </a:cubicBezTo>
                <a:cubicBezTo>
                  <a:pt x="3754" y="946"/>
                  <a:pt x="3754" y="946"/>
                  <a:pt x="3754" y="946"/>
                </a:cubicBezTo>
                <a:cubicBezTo>
                  <a:pt x="3749" y="947"/>
                  <a:pt x="3746" y="950"/>
                  <a:pt x="3746" y="957"/>
                </a:cubicBezTo>
                <a:cubicBezTo>
                  <a:pt x="3746" y="959"/>
                  <a:pt x="3746" y="962"/>
                  <a:pt x="3746" y="963"/>
                </a:cubicBezTo>
                <a:cubicBezTo>
                  <a:pt x="3746" y="965"/>
                  <a:pt x="3747" y="966"/>
                  <a:pt x="3747" y="968"/>
                </a:cubicBezTo>
                <a:cubicBezTo>
                  <a:pt x="3747" y="971"/>
                  <a:pt x="3746" y="974"/>
                  <a:pt x="3741" y="974"/>
                </a:cubicBezTo>
                <a:cubicBezTo>
                  <a:pt x="3741" y="974"/>
                  <a:pt x="3741" y="974"/>
                  <a:pt x="3740" y="974"/>
                </a:cubicBezTo>
                <a:cubicBezTo>
                  <a:pt x="3740" y="974"/>
                  <a:pt x="3740" y="974"/>
                  <a:pt x="3740" y="983"/>
                </a:cubicBezTo>
                <a:cubicBezTo>
                  <a:pt x="3740" y="983"/>
                  <a:pt x="3740" y="983"/>
                  <a:pt x="3744" y="983"/>
                </a:cubicBezTo>
                <a:cubicBezTo>
                  <a:pt x="3753" y="983"/>
                  <a:pt x="3758" y="980"/>
                  <a:pt x="3758" y="970"/>
                </a:cubicBezTo>
                <a:cubicBezTo>
                  <a:pt x="3758" y="968"/>
                  <a:pt x="3758" y="966"/>
                  <a:pt x="3758" y="963"/>
                </a:cubicBezTo>
                <a:cubicBezTo>
                  <a:pt x="3757" y="960"/>
                  <a:pt x="3757" y="958"/>
                  <a:pt x="3757" y="956"/>
                </a:cubicBezTo>
                <a:cubicBezTo>
                  <a:pt x="3757" y="953"/>
                  <a:pt x="3758" y="950"/>
                  <a:pt x="3764" y="950"/>
                </a:cubicBezTo>
                <a:close/>
                <a:moveTo>
                  <a:pt x="3151" y="983"/>
                </a:moveTo>
                <a:cubicBezTo>
                  <a:pt x="3144" y="983"/>
                  <a:pt x="3137" y="980"/>
                  <a:pt x="3133" y="974"/>
                </a:cubicBezTo>
                <a:cubicBezTo>
                  <a:pt x="3129" y="968"/>
                  <a:pt x="3127" y="959"/>
                  <a:pt x="3127" y="946"/>
                </a:cubicBezTo>
                <a:cubicBezTo>
                  <a:pt x="3127" y="933"/>
                  <a:pt x="3129" y="924"/>
                  <a:pt x="3134" y="917"/>
                </a:cubicBezTo>
                <a:cubicBezTo>
                  <a:pt x="3138" y="911"/>
                  <a:pt x="3145" y="907"/>
                  <a:pt x="3153" y="907"/>
                </a:cubicBezTo>
                <a:cubicBezTo>
                  <a:pt x="3169" y="907"/>
                  <a:pt x="3177" y="919"/>
                  <a:pt x="3177" y="945"/>
                </a:cubicBezTo>
                <a:cubicBezTo>
                  <a:pt x="3177" y="957"/>
                  <a:pt x="3175" y="967"/>
                  <a:pt x="3170" y="973"/>
                </a:cubicBezTo>
                <a:cubicBezTo>
                  <a:pt x="3166" y="980"/>
                  <a:pt x="3159" y="983"/>
                  <a:pt x="3151" y="983"/>
                </a:cubicBezTo>
                <a:close/>
                <a:moveTo>
                  <a:pt x="3153" y="917"/>
                </a:moveTo>
                <a:cubicBezTo>
                  <a:pt x="3143" y="917"/>
                  <a:pt x="3139" y="927"/>
                  <a:pt x="3139" y="946"/>
                </a:cubicBezTo>
                <a:cubicBezTo>
                  <a:pt x="3139" y="965"/>
                  <a:pt x="3143" y="973"/>
                  <a:pt x="3152" y="973"/>
                </a:cubicBezTo>
                <a:cubicBezTo>
                  <a:pt x="3161" y="973"/>
                  <a:pt x="3165" y="965"/>
                  <a:pt x="3165" y="946"/>
                </a:cubicBezTo>
                <a:cubicBezTo>
                  <a:pt x="3165" y="926"/>
                  <a:pt x="3161" y="917"/>
                  <a:pt x="3153" y="917"/>
                </a:cubicBezTo>
                <a:close/>
                <a:moveTo>
                  <a:pt x="3221" y="983"/>
                </a:moveTo>
                <a:cubicBezTo>
                  <a:pt x="3214" y="983"/>
                  <a:pt x="3207" y="980"/>
                  <a:pt x="3204" y="974"/>
                </a:cubicBezTo>
                <a:cubicBezTo>
                  <a:pt x="3199" y="968"/>
                  <a:pt x="3197" y="959"/>
                  <a:pt x="3197" y="946"/>
                </a:cubicBezTo>
                <a:cubicBezTo>
                  <a:pt x="3197" y="933"/>
                  <a:pt x="3199" y="924"/>
                  <a:pt x="3204" y="917"/>
                </a:cubicBezTo>
                <a:cubicBezTo>
                  <a:pt x="3208" y="911"/>
                  <a:pt x="3215" y="907"/>
                  <a:pt x="3223" y="907"/>
                </a:cubicBezTo>
                <a:cubicBezTo>
                  <a:pt x="3239" y="907"/>
                  <a:pt x="3248" y="919"/>
                  <a:pt x="3248" y="945"/>
                </a:cubicBezTo>
                <a:cubicBezTo>
                  <a:pt x="3248" y="957"/>
                  <a:pt x="3245" y="967"/>
                  <a:pt x="3241" y="973"/>
                </a:cubicBezTo>
                <a:cubicBezTo>
                  <a:pt x="3236" y="980"/>
                  <a:pt x="3230" y="983"/>
                  <a:pt x="3221" y="983"/>
                </a:cubicBezTo>
                <a:close/>
                <a:moveTo>
                  <a:pt x="3223" y="917"/>
                </a:moveTo>
                <a:cubicBezTo>
                  <a:pt x="3214" y="917"/>
                  <a:pt x="3209" y="927"/>
                  <a:pt x="3209" y="946"/>
                </a:cubicBezTo>
                <a:cubicBezTo>
                  <a:pt x="3209" y="965"/>
                  <a:pt x="3213" y="973"/>
                  <a:pt x="3222" y="973"/>
                </a:cubicBezTo>
                <a:cubicBezTo>
                  <a:pt x="3231" y="973"/>
                  <a:pt x="3235" y="965"/>
                  <a:pt x="3235" y="946"/>
                </a:cubicBezTo>
                <a:cubicBezTo>
                  <a:pt x="3235" y="926"/>
                  <a:pt x="3231" y="917"/>
                  <a:pt x="3223" y="917"/>
                </a:cubicBezTo>
                <a:close/>
                <a:moveTo>
                  <a:pt x="3431" y="983"/>
                </a:moveTo>
                <a:cubicBezTo>
                  <a:pt x="3424" y="983"/>
                  <a:pt x="3418" y="980"/>
                  <a:pt x="3413" y="973"/>
                </a:cubicBezTo>
                <a:cubicBezTo>
                  <a:pt x="3409" y="968"/>
                  <a:pt x="3407" y="958"/>
                  <a:pt x="3407" y="946"/>
                </a:cubicBezTo>
                <a:cubicBezTo>
                  <a:pt x="3407" y="933"/>
                  <a:pt x="3409" y="924"/>
                  <a:pt x="3413" y="917"/>
                </a:cubicBezTo>
                <a:cubicBezTo>
                  <a:pt x="3418" y="910"/>
                  <a:pt x="3424" y="907"/>
                  <a:pt x="3433" y="907"/>
                </a:cubicBezTo>
                <a:cubicBezTo>
                  <a:pt x="3449" y="907"/>
                  <a:pt x="3457" y="919"/>
                  <a:pt x="3457" y="944"/>
                </a:cubicBezTo>
                <a:cubicBezTo>
                  <a:pt x="3457" y="957"/>
                  <a:pt x="3455" y="967"/>
                  <a:pt x="3451" y="973"/>
                </a:cubicBezTo>
                <a:cubicBezTo>
                  <a:pt x="3446" y="980"/>
                  <a:pt x="3440" y="983"/>
                  <a:pt x="3431" y="983"/>
                </a:cubicBezTo>
                <a:close/>
                <a:moveTo>
                  <a:pt x="3432" y="917"/>
                </a:moveTo>
                <a:cubicBezTo>
                  <a:pt x="3424" y="917"/>
                  <a:pt x="3419" y="926"/>
                  <a:pt x="3419" y="946"/>
                </a:cubicBezTo>
                <a:cubicBezTo>
                  <a:pt x="3419" y="964"/>
                  <a:pt x="3424" y="973"/>
                  <a:pt x="3432" y="973"/>
                </a:cubicBezTo>
                <a:cubicBezTo>
                  <a:pt x="3440" y="973"/>
                  <a:pt x="3445" y="964"/>
                  <a:pt x="3445" y="946"/>
                </a:cubicBezTo>
                <a:cubicBezTo>
                  <a:pt x="3445" y="926"/>
                  <a:pt x="3441" y="917"/>
                  <a:pt x="3432" y="917"/>
                </a:cubicBezTo>
                <a:close/>
                <a:moveTo>
                  <a:pt x="3503" y="909"/>
                </a:moveTo>
                <a:cubicBezTo>
                  <a:pt x="3503" y="909"/>
                  <a:pt x="3503" y="909"/>
                  <a:pt x="3503" y="909"/>
                </a:cubicBezTo>
                <a:cubicBezTo>
                  <a:pt x="3498" y="909"/>
                  <a:pt x="3498" y="909"/>
                  <a:pt x="3498" y="909"/>
                </a:cubicBezTo>
                <a:cubicBezTo>
                  <a:pt x="3496" y="911"/>
                  <a:pt x="3495" y="912"/>
                  <a:pt x="3493" y="913"/>
                </a:cubicBezTo>
                <a:cubicBezTo>
                  <a:pt x="3491" y="915"/>
                  <a:pt x="3489" y="915"/>
                  <a:pt x="3488" y="916"/>
                </a:cubicBezTo>
                <a:cubicBezTo>
                  <a:pt x="3486" y="917"/>
                  <a:pt x="3484" y="917"/>
                  <a:pt x="3483" y="918"/>
                </a:cubicBezTo>
                <a:cubicBezTo>
                  <a:pt x="3481" y="919"/>
                  <a:pt x="3479" y="920"/>
                  <a:pt x="3477" y="920"/>
                </a:cubicBezTo>
                <a:cubicBezTo>
                  <a:pt x="3477" y="920"/>
                  <a:pt x="3477" y="920"/>
                  <a:pt x="3477" y="931"/>
                </a:cubicBezTo>
                <a:cubicBezTo>
                  <a:pt x="3480" y="930"/>
                  <a:pt x="3483" y="928"/>
                  <a:pt x="3485" y="928"/>
                </a:cubicBezTo>
                <a:cubicBezTo>
                  <a:pt x="3488" y="927"/>
                  <a:pt x="3490" y="925"/>
                  <a:pt x="3492" y="924"/>
                </a:cubicBezTo>
                <a:cubicBezTo>
                  <a:pt x="3492" y="924"/>
                  <a:pt x="3492" y="924"/>
                  <a:pt x="3492" y="983"/>
                </a:cubicBezTo>
                <a:cubicBezTo>
                  <a:pt x="3492" y="983"/>
                  <a:pt x="3492" y="983"/>
                  <a:pt x="3503" y="983"/>
                </a:cubicBezTo>
                <a:cubicBezTo>
                  <a:pt x="3503" y="983"/>
                  <a:pt x="3503" y="983"/>
                  <a:pt x="3503" y="909"/>
                </a:cubicBezTo>
                <a:close/>
                <a:moveTo>
                  <a:pt x="3295" y="909"/>
                </a:moveTo>
                <a:cubicBezTo>
                  <a:pt x="3295" y="909"/>
                  <a:pt x="3295" y="909"/>
                  <a:pt x="3295" y="909"/>
                </a:cubicBezTo>
                <a:cubicBezTo>
                  <a:pt x="3289" y="909"/>
                  <a:pt x="3289" y="909"/>
                  <a:pt x="3289" y="909"/>
                </a:cubicBezTo>
                <a:cubicBezTo>
                  <a:pt x="3287" y="911"/>
                  <a:pt x="3286" y="912"/>
                  <a:pt x="3283" y="913"/>
                </a:cubicBezTo>
                <a:cubicBezTo>
                  <a:pt x="3282" y="915"/>
                  <a:pt x="3281" y="915"/>
                  <a:pt x="3278" y="916"/>
                </a:cubicBezTo>
                <a:cubicBezTo>
                  <a:pt x="3277" y="917"/>
                  <a:pt x="3275" y="918"/>
                  <a:pt x="3273" y="919"/>
                </a:cubicBezTo>
                <a:cubicBezTo>
                  <a:pt x="3271" y="920"/>
                  <a:pt x="3269" y="920"/>
                  <a:pt x="3267" y="920"/>
                </a:cubicBezTo>
                <a:cubicBezTo>
                  <a:pt x="3267" y="920"/>
                  <a:pt x="3267" y="920"/>
                  <a:pt x="3267" y="931"/>
                </a:cubicBezTo>
                <a:cubicBezTo>
                  <a:pt x="3270" y="930"/>
                  <a:pt x="3273" y="929"/>
                  <a:pt x="3276" y="928"/>
                </a:cubicBezTo>
                <a:cubicBezTo>
                  <a:pt x="3278" y="927"/>
                  <a:pt x="3281" y="925"/>
                  <a:pt x="3283" y="924"/>
                </a:cubicBezTo>
                <a:cubicBezTo>
                  <a:pt x="3283" y="924"/>
                  <a:pt x="3283" y="924"/>
                  <a:pt x="3283" y="983"/>
                </a:cubicBezTo>
                <a:cubicBezTo>
                  <a:pt x="3283" y="983"/>
                  <a:pt x="3283" y="983"/>
                  <a:pt x="3295" y="983"/>
                </a:cubicBezTo>
                <a:cubicBezTo>
                  <a:pt x="3295" y="983"/>
                  <a:pt x="3295" y="983"/>
                  <a:pt x="3295" y="909"/>
                </a:cubicBezTo>
                <a:close/>
                <a:moveTo>
                  <a:pt x="3341" y="909"/>
                </a:moveTo>
                <a:cubicBezTo>
                  <a:pt x="3341" y="909"/>
                  <a:pt x="3341" y="909"/>
                  <a:pt x="3341" y="909"/>
                </a:cubicBezTo>
                <a:cubicBezTo>
                  <a:pt x="3336" y="909"/>
                  <a:pt x="3336" y="909"/>
                  <a:pt x="3336" y="909"/>
                </a:cubicBezTo>
                <a:cubicBezTo>
                  <a:pt x="3334" y="911"/>
                  <a:pt x="3332" y="912"/>
                  <a:pt x="3330" y="913"/>
                </a:cubicBezTo>
                <a:cubicBezTo>
                  <a:pt x="3329" y="915"/>
                  <a:pt x="3327" y="915"/>
                  <a:pt x="3325" y="916"/>
                </a:cubicBezTo>
                <a:cubicBezTo>
                  <a:pt x="3324" y="917"/>
                  <a:pt x="3322" y="918"/>
                  <a:pt x="3320" y="919"/>
                </a:cubicBezTo>
                <a:cubicBezTo>
                  <a:pt x="3318" y="920"/>
                  <a:pt x="3316" y="920"/>
                  <a:pt x="3314" y="920"/>
                </a:cubicBezTo>
                <a:cubicBezTo>
                  <a:pt x="3314" y="920"/>
                  <a:pt x="3314" y="920"/>
                  <a:pt x="3314" y="931"/>
                </a:cubicBezTo>
                <a:cubicBezTo>
                  <a:pt x="3317" y="930"/>
                  <a:pt x="3320" y="929"/>
                  <a:pt x="3322" y="928"/>
                </a:cubicBezTo>
                <a:cubicBezTo>
                  <a:pt x="3325" y="927"/>
                  <a:pt x="3327" y="925"/>
                  <a:pt x="3330" y="924"/>
                </a:cubicBezTo>
                <a:cubicBezTo>
                  <a:pt x="3330" y="924"/>
                  <a:pt x="3330" y="924"/>
                  <a:pt x="3330" y="983"/>
                </a:cubicBezTo>
                <a:cubicBezTo>
                  <a:pt x="3330" y="983"/>
                  <a:pt x="3330" y="983"/>
                  <a:pt x="3341" y="983"/>
                </a:cubicBezTo>
                <a:cubicBezTo>
                  <a:pt x="3341" y="983"/>
                  <a:pt x="3341" y="983"/>
                  <a:pt x="3341" y="909"/>
                </a:cubicBezTo>
                <a:close/>
                <a:moveTo>
                  <a:pt x="3387" y="909"/>
                </a:moveTo>
                <a:cubicBezTo>
                  <a:pt x="3387" y="909"/>
                  <a:pt x="3387" y="909"/>
                  <a:pt x="3387" y="909"/>
                </a:cubicBezTo>
                <a:cubicBezTo>
                  <a:pt x="3383" y="909"/>
                  <a:pt x="3383" y="909"/>
                  <a:pt x="3383" y="909"/>
                </a:cubicBezTo>
                <a:cubicBezTo>
                  <a:pt x="3381" y="911"/>
                  <a:pt x="3379" y="912"/>
                  <a:pt x="3377" y="913"/>
                </a:cubicBezTo>
                <a:cubicBezTo>
                  <a:pt x="3375" y="915"/>
                  <a:pt x="3373" y="915"/>
                  <a:pt x="3372" y="916"/>
                </a:cubicBezTo>
                <a:cubicBezTo>
                  <a:pt x="3370" y="917"/>
                  <a:pt x="3368" y="917"/>
                  <a:pt x="3366" y="918"/>
                </a:cubicBezTo>
                <a:cubicBezTo>
                  <a:pt x="3364" y="919"/>
                  <a:pt x="3362" y="920"/>
                  <a:pt x="3361" y="920"/>
                </a:cubicBezTo>
                <a:cubicBezTo>
                  <a:pt x="3361" y="920"/>
                  <a:pt x="3361" y="920"/>
                  <a:pt x="3361" y="931"/>
                </a:cubicBezTo>
                <a:cubicBezTo>
                  <a:pt x="3364" y="930"/>
                  <a:pt x="3367" y="928"/>
                  <a:pt x="3369" y="928"/>
                </a:cubicBezTo>
                <a:cubicBezTo>
                  <a:pt x="3371" y="927"/>
                  <a:pt x="3374" y="925"/>
                  <a:pt x="3375" y="924"/>
                </a:cubicBezTo>
                <a:cubicBezTo>
                  <a:pt x="3375" y="924"/>
                  <a:pt x="3375" y="924"/>
                  <a:pt x="3375" y="983"/>
                </a:cubicBezTo>
                <a:cubicBezTo>
                  <a:pt x="3375" y="983"/>
                  <a:pt x="3375" y="983"/>
                  <a:pt x="3387" y="983"/>
                </a:cubicBezTo>
                <a:cubicBezTo>
                  <a:pt x="3387" y="983"/>
                  <a:pt x="3387" y="983"/>
                  <a:pt x="3387" y="909"/>
                </a:cubicBezTo>
                <a:close/>
                <a:moveTo>
                  <a:pt x="2144" y="909"/>
                </a:moveTo>
                <a:cubicBezTo>
                  <a:pt x="2144" y="909"/>
                  <a:pt x="2144" y="909"/>
                  <a:pt x="2144" y="909"/>
                </a:cubicBezTo>
                <a:cubicBezTo>
                  <a:pt x="2139" y="909"/>
                  <a:pt x="2139" y="909"/>
                  <a:pt x="2139" y="909"/>
                </a:cubicBezTo>
                <a:cubicBezTo>
                  <a:pt x="2137" y="911"/>
                  <a:pt x="2136" y="912"/>
                  <a:pt x="2134" y="913"/>
                </a:cubicBezTo>
                <a:cubicBezTo>
                  <a:pt x="2132" y="915"/>
                  <a:pt x="2130" y="915"/>
                  <a:pt x="2129" y="916"/>
                </a:cubicBezTo>
                <a:cubicBezTo>
                  <a:pt x="2127" y="917"/>
                  <a:pt x="2125" y="918"/>
                  <a:pt x="2123" y="919"/>
                </a:cubicBezTo>
                <a:cubicBezTo>
                  <a:pt x="2121" y="920"/>
                  <a:pt x="2120" y="920"/>
                  <a:pt x="2118" y="920"/>
                </a:cubicBezTo>
                <a:cubicBezTo>
                  <a:pt x="2118" y="920"/>
                  <a:pt x="2118" y="920"/>
                  <a:pt x="2118" y="931"/>
                </a:cubicBezTo>
                <a:cubicBezTo>
                  <a:pt x="2121" y="930"/>
                  <a:pt x="2123" y="929"/>
                  <a:pt x="2126" y="928"/>
                </a:cubicBezTo>
                <a:cubicBezTo>
                  <a:pt x="2129" y="927"/>
                  <a:pt x="2131" y="925"/>
                  <a:pt x="2133" y="924"/>
                </a:cubicBezTo>
                <a:cubicBezTo>
                  <a:pt x="2133" y="924"/>
                  <a:pt x="2133" y="924"/>
                  <a:pt x="2133" y="983"/>
                </a:cubicBezTo>
                <a:cubicBezTo>
                  <a:pt x="2133" y="983"/>
                  <a:pt x="2133" y="983"/>
                  <a:pt x="2144" y="983"/>
                </a:cubicBezTo>
                <a:cubicBezTo>
                  <a:pt x="2144" y="983"/>
                  <a:pt x="2144" y="983"/>
                  <a:pt x="2144" y="909"/>
                </a:cubicBezTo>
                <a:close/>
                <a:moveTo>
                  <a:pt x="2192" y="909"/>
                </a:moveTo>
                <a:cubicBezTo>
                  <a:pt x="2192" y="909"/>
                  <a:pt x="2192" y="909"/>
                  <a:pt x="2192" y="909"/>
                </a:cubicBezTo>
                <a:cubicBezTo>
                  <a:pt x="2186" y="909"/>
                  <a:pt x="2186" y="909"/>
                  <a:pt x="2186" y="909"/>
                </a:cubicBezTo>
                <a:cubicBezTo>
                  <a:pt x="2185" y="911"/>
                  <a:pt x="2183" y="912"/>
                  <a:pt x="2181" y="913"/>
                </a:cubicBezTo>
                <a:cubicBezTo>
                  <a:pt x="2179" y="915"/>
                  <a:pt x="2177" y="915"/>
                  <a:pt x="2175" y="916"/>
                </a:cubicBezTo>
                <a:cubicBezTo>
                  <a:pt x="2174" y="917"/>
                  <a:pt x="2172" y="918"/>
                  <a:pt x="2170" y="919"/>
                </a:cubicBezTo>
                <a:cubicBezTo>
                  <a:pt x="2168" y="920"/>
                  <a:pt x="2166" y="920"/>
                  <a:pt x="2164" y="920"/>
                </a:cubicBezTo>
                <a:cubicBezTo>
                  <a:pt x="2164" y="920"/>
                  <a:pt x="2164" y="920"/>
                  <a:pt x="2164" y="931"/>
                </a:cubicBezTo>
                <a:cubicBezTo>
                  <a:pt x="2167" y="930"/>
                  <a:pt x="2170" y="929"/>
                  <a:pt x="2173" y="928"/>
                </a:cubicBezTo>
                <a:cubicBezTo>
                  <a:pt x="2175" y="927"/>
                  <a:pt x="2177" y="925"/>
                  <a:pt x="2180" y="924"/>
                </a:cubicBezTo>
                <a:cubicBezTo>
                  <a:pt x="2180" y="924"/>
                  <a:pt x="2180" y="924"/>
                  <a:pt x="2180" y="983"/>
                </a:cubicBezTo>
                <a:cubicBezTo>
                  <a:pt x="2180" y="983"/>
                  <a:pt x="2180" y="983"/>
                  <a:pt x="2192" y="983"/>
                </a:cubicBezTo>
                <a:cubicBezTo>
                  <a:pt x="2192" y="983"/>
                  <a:pt x="2192" y="983"/>
                  <a:pt x="2192" y="909"/>
                </a:cubicBezTo>
                <a:close/>
                <a:moveTo>
                  <a:pt x="2237" y="909"/>
                </a:moveTo>
                <a:cubicBezTo>
                  <a:pt x="2237" y="909"/>
                  <a:pt x="2237" y="909"/>
                  <a:pt x="2237" y="909"/>
                </a:cubicBezTo>
                <a:cubicBezTo>
                  <a:pt x="2233" y="909"/>
                  <a:pt x="2233" y="909"/>
                  <a:pt x="2233" y="909"/>
                </a:cubicBezTo>
                <a:cubicBezTo>
                  <a:pt x="2231" y="911"/>
                  <a:pt x="2229" y="912"/>
                  <a:pt x="2227" y="913"/>
                </a:cubicBezTo>
                <a:cubicBezTo>
                  <a:pt x="2226" y="915"/>
                  <a:pt x="2223" y="915"/>
                  <a:pt x="2222" y="916"/>
                </a:cubicBezTo>
                <a:cubicBezTo>
                  <a:pt x="2220" y="917"/>
                  <a:pt x="2218" y="917"/>
                  <a:pt x="2216" y="918"/>
                </a:cubicBezTo>
                <a:cubicBezTo>
                  <a:pt x="2215" y="919"/>
                  <a:pt x="2213" y="920"/>
                  <a:pt x="2211" y="920"/>
                </a:cubicBezTo>
                <a:cubicBezTo>
                  <a:pt x="2211" y="920"/>
                  <a:pt x="2211" y="920"/>
                  <a:pt x="2211" y="931"/>
                </a:cubicBezTo>
                <a:cubicBezTo>
                  <a:pt x="2214" y="930"/>
                  <a:pt x="2217" y="928"/>
                  <a:pt x="2219" y="928"/>
                </a:cubicBezTo>
                <a:cubicBezTo>
                  <a:pt x="2221" y="927"/>
                  <a:pt x="2224" y="925"/>
                  <a:pt x="2226" y="924"/>
                </a:cubicBezTo>
                <a:cubicBezTo>
                  <a:pt x="2226" y="924"/>
                  <a:pt x="2226" y="924"/>
                  <a:pt x="2226" y="983"/>
                </a:cubicBezTo>
                <a:cubicBezTo>
                  <a:pt x="2226" y="983"/>
                  <a:pt x="2226" y="983"/>
                  <a:pt x="2237" y="983"/>
                </a:cubicBezTo>
                <a:cubicBezTo>
                  <a:pt x="2237" y="983"/>
                  <a:pt x="2237" y="983"/>
                  <a:pt x="2237" y="909"/>
                </a:cubicBezTo>
                <a:close/>
                <a:moveTo>
                  <a:pt x="2374" y="942"/>
                </a:moveTo>
                <a:cubicBezTo>
                  <a:pt x="2374" y="942"/>
                  <a:pt x="2374" y="942"/>
                  <a:pt x="2374" y="942"/>
                </a:cubicBezTo>
                <a:cubicBezTo>
                  <a:pt x="2373" y="950"/>
                  <a:pt x="2373" y="950"/>
                  <a:pt x="2373" y="950"/>
                </a:cubicBezTo>
                <a:cubicBezTo>
                  <a:pt x="2380" y="950"/>
                  <a:pt x="2380" y="953"/>
                  <a:pt x="2380" y="956"/>
                </a:cubicBezTo>
                <a:cubicBezTo>
                  <a:pt x="2380" y="958"/>
                  <a:pt x="2380" y="960"/>
                  <a:pt x="2380" y="963"/>
                </a:cubicBezTo>
                <a:cubicBezTo>
                  <a:pt x="2380" y="966"/>
                  <a:pt x="2379" y="968"/>
                  <a:pt x="2379" y="970"/>
                </a:cubicBezTo>
                <a:cubicBezTo>
                  <a:pt x="2379" y="980"/>
                  <a:pt x="2385" y="983"/>
                  <a:pt x="2394" y="983"/>
                </a:cubicBezTo>
                <a:cubicBezTo>
                  <a:pt x="2394" y="983"/>
                  <a:pt x="2394" y="983"/>
                  <a:pt x="2397" y="983"/>
                </a:cubicBezTo>
                <a:cubicBezTo>
                  <a:pt x="2397" y="983"/>
                  <a:pt x="2397" y="983"/>
                  <a:pt x="2397" y="974"/>
                </a:cubicBezTo>
                <a:cubicBezTo>
                  <a:pt x="2397" y="974"/>
                  <a:pt x="2397" y="974"/>
                  <a:pt x="2396" y="974"/>
                </a:cubicBezTo>
                <a:cubicBezTo>
                  <a:pt x="2392" y="974"/>
                  <a:pt x="2391" y="971"/>
                  <a:pt x="2391" y="968"/>
                </a:cubicBezTo>
                <a:cubicBezTo>
                  <a:pt x="2391" y="966"/>
                  <a:pt x="2391" y="965"/>
                  <a:pt x="2392" y="963"/>
                </a:cubicBezTo>
                <a:cubicBezTo>
                  <a:pt x="2392" y="962"/>
                  <a:pt x="2392" y="959"/>
                  <a:pt x="2392" y="957"/>
                </a:cubicBezTo>
                <a:cubicBezTo>
                  <a:pt x="2392" y="950"/>
                  <a:pt x="2389" y="947"/>
                  <a:pt x="2383" y="946"/>
                </a:cubicBezTo>
                <a:cubicBezTo>
                  <a:pt x="2383" y="946"/>
                  <a:pt x="2383" y="946"/>
                  <a:pt x="2383" y="946"/>
                </a:cubicBezTo>
                <a:cubicBezTo>
                  <a:pt x="2389" y="944"/>
                  <a:pt x="2392" y="942"/>
                  <a:pt x="2392" y="935"/>
                </a:cubicBezTo>
                <a:cubicBezTo>
                  <a:pt x="2392" y="932"/>
                  <a:pt x="2392" y="930"/>
                  <a:pt x="2392" y="928"/>
                </a:cubicBezTo>
                <a:cubicBezTo>
                  <a:pt x="2391" y="927"/>
                  <a:pt x="2391" y="925"/>
                  <a:pt x="2391" y="924"/>
                </a:cubicBezTo>
                <a:cubicBezTo>
                  <a:pt x="2391" y="920"/>
                  <a:pt x="2392" y="918"/>
                  <a:pt x="2396" y="918"/>
                </a:cubicBezTo>
                <a:cubicBezTo>
                  <a:pt x="2396" y="918"/>
                  <a:pt x="2396" y="918"/>
                  <a:pt x="2397" y="918"/>
                </a:cubicBezTo>
                <a:cubicBezTo>
                  <a:pt x="2397" y="918"/>
                  <a:pt x="2397" y="918"/>
                  <a:pt x="2397" y="909"/>
                </a:cubicBezTo>
                <a:cubicBezTo>
                  <a:pt x="2397" y="909"/>
                  <a:pt x="2397" y="909"/>
                  <a:pt x="2394" y="909"/>
                </a:cubicBezTo>
                <a:cubicBezTo>
                  <a:pt x="2385" y="909"/>
                  <a:pt x="2379" y="913"/>
                  <a:pt x="2379" y="921"/>
                </a:cubicBezTo>
                <a:cubicBezTo>
                  <a:pt x="2379" y="923"/>
                  <a:pt x="2380" y="926"/>
                  <a:pt x="2380" y="929"/>
                </a:cubicBezTo>
                <a:cubicBezTo>
                  <a:pt x="2380" y="931"/>
                  <a:pt x="2380" y="934"/>
                  <a:pt x="2380" y="935"/>
                </a:cubicBezTo>
                <a:cubicBezTo>
                  <a:pt x="2380" y="938"/>
                  <a:pt x="2380" y="941"/>
                  <a:pt x="2374" y="942"/>
                </a:cubicBezTo>
                <a:close/>
                <a:moveTo>
                  <a:pt x="2428" y="950"/>
                </a:moveTo>
                <a:cubicBezTo>
                  <a:pt x="2428" y="950"/>
                  <a:pt x="2428" y="950"/>
                  <a:pt x="2428" y="950"/>
                </a:cubicBezTo>
                <a:cubicBezTo>
                  <a:pt x="2428" y="942"/>
                  <a:pt x="2428" y="942"/>
                  <a:pt x="2428" y="942"/>
                </a:cubicBezTo>
                <a:cubicBezTo>
                  <a:pt x="2422" y="941"/>
                  <a:pt x="2422" y="938"/>
                  <a:pt x="2422" y="935"/>
                </a:cubicBezTo>
                <a:cubicBezTo>
                  <a:pt x="2422" y="934"/>
                  <a:pt x="2422" y="931"/>
                  <a:pt x="2422" y="929"/>
                </a:cubicBezTo>
                <a:cubicBezTo>
                  <a:pt x="2422" y="926"/>
                  <a:pt x="2422" y="923"/>
                  <a:pt x="2422" y="921"/>
                </a:cubicBezTo>
                <a:cubicBezTo>
                  <a:pt x="2422" y="913"/>
                  <a:pt x="2417" y="909"/>
                  <a:pt x="2408" y="909"/>
                </a:cubicBezTo>
                <a:cubicBezTo>
                  <a:pt x="2408" y="909"/>
                  <a:pt x="2408" y="909"/>
                  <a:pt x="2404" y="909"/>
                </a:cubicBezTo>
                <a:cubicBezTo>
                  <a:pt x="2404" y="909"/>
                  <a:pt x="2404" y="909"/>
                  <a:pt x="2404" y="918"/>
                </a:cubicBezTo>
                <a:cubicBezTo>
                  <a:pt x="2404" y="918"/>
                  <a:pt x="2404" y="918"/>
                  <a:pt x="2406" y="918"/>
                </a:cubicBezTo>
                <a:cubicBezTo>
                  <a:pt x="2409" y="918"/>
                  <a:pt x="2411" y="920"/>
                  <a:pt x="2411" y="924"/>
                </a:cubicBezTo>
                <a:cubicBezTo>
                  <a:pt x="2411" y="925"/>
                  <a:pt x="2410" y="927"/>
                  <a:pt x="2410" y="928"/>
                </a:cubicBezTo>
                <a:cubicBezTo>
                  <a:pt x="2410" y="930"/>
                  <a:pt x="2410" y="932"/>
                  <a:pt x="2410" y="935"/>
                </a:cubicBezTo>
                <a:cubicBezTo>
                  <a:pt x="2410" y="942"/>
                  <a:pt x="2413" y="944"/>
                  <a:pt x="2419" y="946"/>
                </a:cubicBezTo>
                <a:cubicBezTo>
                  <a:pt x="2419" y="946"/>
                  <a:pt x="2419" y="946"/>
                  <a:pt x="2419" y="946"/>
                </a:cubicBezTo>
                <a:cubicBezTo>
                  <a:pt x="2413" y="947"/>
                  <a:pt x="2410" y="950"/>
                  <a:pt x="2410" y="957"/>
                </a:cubicBezTo>
                <a:cubicBezTo>
                  <a:pt x="2410" y="959"/>
                  <a:pt x="2410" y="962"/>
                  <a:pt x="2410" y="963"/>
                </a:cubicBezTo>
                <a:cubicBezTo>
                  <a:pt x="2410" y="965"/>
                  <a:pt x="2411" y="966"/>
                  <a:pt x="2411" y="968"/>
                </a:cubicBezTo>
                <a:cubicBezTo>
                  <a:pt x="2411" y="971"/>
                  <a:pt x="2410" y="974"/>
                  <a:pt x="2406" y="974"/>
                </a:cubicBezTo>
                <a:cubicBezTo>
                  <a:pt x="2406" y="974"/>
                  <a:pt x="2406" y="974"/>
                  <a:pt x="2404" y="974"/>
                </a:cubicBezTo>
                <a:cubicBezTo>
                  <a:pt x="2404" y="974"/>
                  <a:pt x="2404" y="974"/>
                  <a:pt x="2404" y="983"/>
                </a:cubicBezTo>
                <a:cubicBezTo>
                  <a:pt x="2404" y="983"/>
                  <a:pt x="2404" y="983"/>
                  <a:pt x="2408" y="983"/>
                </a:cubicBezTo>
                <a:cubicBezTo>
                  <a:pt x="2417" y="983"/>
                  <a:pt x="2422" y="980"/>
                  <a:pt x="2422" y="970"/>
                </a:cubicBezTo>
                <a:cubicBezTo>
                  <a:pt x="2422" y="968"/>
                  <a:pt x="2422" y="966"/>
                  <a:pt x="2422" y="963"/>
                </a:cubicBezTo>
                <a:cubicBezTo>
                  <a:pt x="2422" y="960"/>
                  <a:pt x="2422" y="958"/>
                  <a:pt x="2422" y="956"/>
                </a:cubicBezTo>
                <a:cubicBezTo>
                  <a:pt x="2422" y="953"/>
                  <a:pt x="2422" y="950"/>
                  <a:pt x="2428" y="950"/>
                </a:cubicBezTo>
                <a:close/>
                <a:moveTo>
                  <a:pt x="2475" y="909"/>
                </a:moveTo>
                <a:cubicBezTo>
                  <a:pt x="2475" y="909"/>
                  <a:pt x="2475" y="909"/>
                  <a:pt x="2475" y="909"/>
                </a:cubicBezTo>
                <a:cubicBezTo>
                  <a:pt x="2470" y="909"/>
                  <a:pt x="2470" y="909"/>
                  <a:pt x="2470" y="909"/>
                </a:cubicBezTo>
                <a:cubicBezTo>
                  <a:pt x="2468" y="911"/>
                  <a:pt x="2466" y="912"/>
                  <a:pt x="2464" y="913"/>
                </a:cubicBezTo>
                <a:cubicBezTo>
                  <a:pt x="2463" y="915"/>
                  <a:pt x="2461" y="915"/>
                  <a:pt x="2459" y="916"/>
                </a:cubicBezTo>
                <a:cubicBezTo>
                  <a:pt x="2457" y="917"/>
                  <a:pt x="2456" y="917"/>
                  <a:pt x="2454" y="918"/>
                </a:cubicBezTo>
                <a:cubicBezTo>
                  <a:pt x="2452" y="919"/>
                  <a:pt x="2451" y="920"/>
                  <a:pt x="2448" y="920"/>
                </a:cubicBezTo>
                <a:cubicBezTo>
                  <a:pt x="2448" y="920"/>
                  <a:pt x="2448" y="920"/>
                  <a:pt x="2448" y="931"/>
                </a:cubicBezTo>
                <a:cubicBezTo>
                  <a:pt x="2451" y="930"/>
                  <a:pt x="2454" y="928"/>
                  <a:pt x="2456" y="928"/>
                </a:cubicBezTo>
                <a:cubicBezTo>
                  <a:pt x="2459" y="927"/>
                  <a:pt x="2461" y="925"/>
                  <a:pt x="2464" y="924"/>
                </a:cubicBezTo>
                <a:cubicBezTo>
                  <a:pt x="2464" y="924"/>
                  <a:pt x="2464" y="924"/>
                  <a:pt x="2464" y="983"/>
                </a:cubicBezTo>
                <a:cubicBezTo>
                  <a:pt x="2464" y="983"/>
                  <a:pt x="2464" y="983"/>
                  <a:pt x="2475" y="983"/>
                </a:cubicBezTo>
                <a:cubicBezTo>
                  <a:pt x="2475" y="983"/>
                  <a:pt x="2475" y="983"/>
                  <a:pt x="2475" y="909"/>
                </a:cubicBezTo>
                <a:close/>
                <a:moveTo>
                  <a:pt x="2521" y="909"/>
                </a:moveTo>
                <a:cubicBezTo>
                  <a:pt x="2521" y="909"/>
                  <a:pt x="2521" y="909"/>
                  <a:pt x="2521" y="909"/>
                </a:cubicBezTo>
                <a:cubicBezTo>
                  <a:pt x="2516" y="909"/>
                  <a:pt x="2516" y="909"/>
                  <a:pt x="2516" y="909"/>
                </a:cubicBezTo>
                <a:cubicBezTo>
                  <a:pt x="2514" y="911"/>
                  <a:pt x="2513" y="912"/>
                  <a:pt x="2511" y="913"/>
                </a:cubicBezTo>
                <a:cubicBezTo>
                  <a:pt x="2509" y="915"/>
                  <a:pt x="2507" y="915"/>
                  <a:pt x="2506" y="916"/>
                </a:cubicBezTo>
                <a:cubicBezTo>
                  <a:pt x="2504" y="917"/>
                  <a:pt x="2502" y="918"/>
                  <a:pt x="2501" y="919"/>
                </a:cubicBezTo>
                <a:cubicBezTo>
                  <a:pt x="2498" y="920"/>
                  <a:pt x="2497" y="920"/>
                  <a:pt x="2495" y="920"/>
                </a:cubicBezTo>
                <a:cubicBezTo>
                  <a:pt x="2495" y="920"/>
                  <a:pt x="2495" y="920"/>
                  <a:pt x="2495" y="931"/>
                </a:cubicBezTo>
                <a:cubicBezTo>
                  <a:pt x="2498" y="930"/>
                  <a:pt x="2501" y="929"/>
                  <a:pt x="2503" y="928"/>
                </a:cubicBezTo>
                <a:cubicBezTo>
                  <a:pt x="2506" y="927"/>
                  <a:pt x="2508" y="925"/>
                  <a:pt x="2510" y="924"/>
                </a:cubicBezTo>
                <a:cubicBezTo>
                  <a:pt x="2510" y="924"/>
                  <a:pt x="2510" y="924"/>
                  <a:pt x="2510" y="983"/>
                </a:cubicBezTo>
                <a:cubicBezTo>
                  <a:pt x="2510" y="983"/>
                  <a:pt x="2510" y="983"/>
                  <a:pt x="2521" y="983"/>
                </a:cubicBezTo>
                <a:cubicBezTo>
                  <a:pt x="2521" y="983"/>
                  <a:pt x="2521" y="983"/>
                  <a:pt x="2521" y="909"/>
                </a:cubicBezTo>
                <a:close/>
                <a:moveTo>
                  <a:pt x="2567" y="909"/>
                </a:moveTo>
                <a:cubicBezTo>
                  <a:pt x="2567" y="909"/>
                  <a:pt x="2567" y="909"/>
                  <a:pt x="2567" y="909"/>
                </a:cubicBezTo>
                <a:cubicBezTo>
                  <a:pt x="2563" y="909"/>
                  <a:pt x="2563" y="909"/>
                  <a:pt x="2563" y="909"/>
                </a:cubicBezTo>
                <a:cubicBezTo>
                  <a:pt x="2561" y="911"/>
                  <a:pt x="2559" y="912"/>
                  <a:pt x="2557" y="913"/>
                </a:cubicBezTo>
                <a:cubicBezTo>
                  <a:pt x="2556" y="915"/>
                  <a:pt x="2554" y="915"/>
                  <a:pt x="2552" y="916"/>
                </a:cubicBezTo>
                <a:cubicBezTo>
                  <a:pt x="2550" y="917"/>
                  <a:pt x="2549" y="918"/>
                  <a:pt x="2546" y="919"/>
                </a:cubicBezTo>
                <a:cubicBezTo>
                  <a:pt x="2545" y="920"/>
                  <a:pt x="2543" y="920"/>
                  <a:pt x="2541" y="920"/>
                </a:cubicBezTo>
                <a:cubicBezTo>
                  <a:pt x="2541" y="920"/>
                  <a:pt x="2541" y="920"/>
                  <a:pt x="2541" y="931"/>
                </a:cubicBezTo>
                <a:cubicBezTo>
                  <a:pt x="2544" y="930"/>
                  <a:pt x="2547" y="929"/>
                  <a:pt x="2549" y="928"/>
                </a:cubicBezTo>
                <a:cubicBezTo>
                  <a:pt x="2552" y="927"/>
                  <a:pt x="2554" y="925"/>
                  <a:pt x="2556" y="924"/>
                </a:cubicBezTo>
                <a:cubicBezTo>
                  <a:pt x="2556" y="924"/>
                  <a:pt x="2556" y="924"/>
                  <a:pt x="2556" y="983"/>
                </a:cubicBezTo>
                <a:cubicBezTo>
                  <a:pt x="2556" y="983"/>
                  <a:pt x="2556" y="983"/>
                  <a:pt x="2567" y="983"/>
                </a:cubicBezTo>
                <a:cubicBezTo>
                  <a:pt x="2567" y="983"/>
                  <a:pt x="2567" y="983"/>
                  <a:pt x="2567" y="909"/>
                </a:cubicBezTo>
                <a:close/>
                <a:moveTo>
                  <a:pt x="2317" y="957"/>
                </a:moveTo>
                <a:cubicBezTo>
                  <a:pt x="2318" y="958"/>
                  <a:pt x="2318" y="960"/>
                  <a:pt x="2319" y="961"/>
                </a:cubicBezTo>
                <a:cubicBezTo>
                  <a:pt x="2319" y="963"/>
                  <a:pt x="2319" y="965"/>
                  <a:pt x="2320" y="966"/>
                </a:cubicBezTo>
                <a:cubicBezTo>
                  <a:pt x="2320" y="968"/>
                  <a:pt x="2320" y="969"/>
                  <a:pt x="2320" y="971"/>
                </a:cubicBezTo>
                <a:cubicBezTo>
                  <a:pt x="2321" y="974"/>
                  <a:pt x="2320" y="976"/>
                  <a:pt x="2317" y="976"/>
                </a:cubicBezTo>
                <a:cubicBezTo>
                  <a:pt x="2314" y="976"/>
                  <a:pt x="2311" y="975"/>
                  <a:pt x="2308" y="975"/>
                </a:cubicBezTo>
                <a:cubicBezTo>
                  <a:pt x="2308" y="975"/>
                  <a:pt x="2307" y="975"/>
                  <a:pt x="2307" y="976"/>
                </a:cubicBezTo>
                <a:cubicBezTo>
                  <a:pt x="2305" y="977"/>
                  <a:pt x="2304" y="979"/>
                  <a:pt x="2303" y="980"/>
                </a:cubicBezTo>
                <a:cubicBezTo>
                  <a:pt x="2301" y="983"/>
                  <a:pt x="2297" y="983"/>
                  <a:pt x="2295" y="981"/>
                </a:cubicBezTo>
                <a:cubicBezTo>
                  <a:pt x="2293" y="979"/>
                  <a:pt x="2292" y="976"/>
                  <a:pt x="2290" y="973"/>
                </a:cubicBezTo>
                <a:cubicBezTo>
                  <a:pt x="2290" y="972"/>
                  <a:pt x="2290" y="970"/>
                  <a:pt x="2292" y="969"/>
                </a:cubicBezTo>
                <a:cubicBezTo>
                  <a:pt x="2290" y="969"/>
                  <a:pt x="2288" y="969"/>
                  <a:pt x="2286" y="969"/>
                </a:cubicBezTo>
                <a:cubicBezTo>
                  <a:pt x="2286" y="971"/>
                  <a:pt x="2284" y="973"/>
                  <a:pt x="2284" y="975"/>
                </a:cubicBezTo>
                <a:cubicBezTo>
                  <a:pt x="2284" y="975"/>
                  <a:pt x="2283" y="976"/>
                  <a:pt x="2283" y="977"/>
                </a:cubicBezTo>
                <a:cubicBezTo>
                  <a:pt x="2283" y="980"/>
                  <a:pt x="2282" y="981"/>
                  <a:pt x="2279" y="981"/>
                </a:cubicBezTo>
                <a:cubicBezTo>
                  <a:pt x="2276" y="981"/>
                  <a:pt x="2273" y="980"/>
                  <a:pt x="2270" y="979"/>
                </a:cubicBezTo>
                <a:cubicBezTo>
                  <a:pt x="2268" y="978"/>
                  <a:pt x="2267" y="977"/>
                  <a:pt x="2268" y="975"/>
                </a:cubicBezTo>
                <a:cubicBezTo>
                  <a:pt x="2268" y="974"/>
                  <a:pt x="2268" y="973"/>
                  <a:pt x="2269" y="973"/>
                </a:cubicBezTo>
                <a:cubicBezTo>
                  <a:pt x="2266" y="972"/>
                  <a:pt x="2264" y="971"/>
                  <a:pt x="2262" y="969"/>
                </a:cubicBezTo>
                <a:cubicBezTo>
                  <a:pt x="2261" y="969"/>
                  <a:pt x="2260" y="967"/>
                  <a:pt x="2259" y="965"/>
                </a:cubicBezTo>
                <a:cubicBezTo>
                  <a:pt x="2258" y="963"/>
                  <a:pt x="2258" y="962"/>
                  <a:pt x="2260" y="960"/>
                </a:cubicBezTo>
                <a:cubicBezTo>
                  <a:pt x="2263" y="958"/>
                  <a:pt x="2264" y="955"/>
                  <a:pt x="2263" y="951"/>
                </a:cubicBezTo>
                <a:cubicBezTo>
                  <a:pt x="2263" y="949"/>
                  <a:pt x="2263" y="947"/>
                  <a:pt x="2263" y="945"/>
                </a:cubicBezTo>
                <a:cubicBezTo>
                  <a:pt x="2262" y="944"/>
                  <a:pt x="2260" y="944"/>
                  <a:pt x="2259" y="943"/>
                </a:cubicBezTo>
                <a:cubicBezTo>
                  <a:pt x="2258" y="941"/>
                  <a:pt x="2257" y="939"/>
                  <a:pt x="2257" y="937"/>
                </a:cubicBezTo>
                <a:cubicBezTo>
                  <a:pt x="2257" y="934"/>
                  <a:pt x="2260" y="931"/>
                  <a:pt x="2263" y="931"/>
                </a:cubicBezTo>
                <a:cubicBezTo>
                  <a:pt x="2264" y="931"/>
                  <a:pt x="2264" y="932"/>
                  <a:pt x="2264" y="933"/>
                </a:cubicBezTo>
                <a:cubicBezTo>
                  <a:pt x="2264" y="934"/>
                  <a:pt x="2264" y="935"/>
                  <a:pt x="2264" y="936"/>
                </a:cubicBezTo>
                <a:cubicBezTo>
                  <a:pt x="2264" y="936"/>
                  <a:pt x="2263" y="936"/>
                  <a:pt x="2263" y="936"/>
                </a:cubicBezTo>
                <a:cubicBezTo>
                  <a:pt x="2262" y="937"/>
                  <a:pt x="2262" y="938"/>
                  <a:pt x="2261" y="940"/>
                </a:cubicBezTo>
                <a:cubicBezTo>
                  <a:pt x="2262" y="940"/>
                  <a:pt x="2263" y="940"/>
                  <a:pt x="2264" y="939"/>
                </a:cubicBezTo>
                <a:cubicBezTo>
                  <a:pt x="2265" y="938"/>
                  <a:pt x="2265" y="937"/>
                  <a:pt x="2266" y="936"/>
                </a:cubicBezTo>
                <a:cubicBezTo>
                  <a:pt x="2271" y="929"/>
                  <a:pt x="2277" y="926"/>
                  <a:pt x="2284" y="924"/>
                </a:cubicBezTo>
                <a:cubicBezTo>
                  <a:pt x="2288" y="924"/>
                  <a:pt x="2291" y="922"/>
                  <a:pt x="2293" y="920"/>
                </a:cubicBezTo>
                <a:cubicBezTo>
                  <a:pt x="2293" y="919"/>
                  <a:pt x="2294" y="919"/>
                  <a:pt x="2294" y="919"/>
                </a:cubicBezTo>
                <a:cubicBezTo>
                  <a:pt x="2297" y="918"/>
                  <a:pt x="2299" y="916"/>
                  <a:pt x="2301" y="914"/>
                </a:cubicBezTo>
                <a:cubicBezTo>
                  <a:pt x="2308" y="907"/>
                  <a:pt x="2320" y="906"/>
                  <a:pt x="2328" y="913"/>
                </a:cubicBezTo>
                <a:cubicBezTo>
                  <a:pt x="2330" y="915"/>
                  <a:pt x="2333" y="917"/>
                  <a:pt x="2335" y="919"/>
                </a:cubicBezTo>
                <a:cubicBezTo>
                  <a:pt x="2337" y="920"/>
                  <a:pt x="2338" y="922"/>
                  <a:pt x="2339" y="924"/>
                </a:cubicBezTo>
                <a:cubicBezTo>
                  <a:pt x="2340" y="925"/>
                  <a:pt x="2341" y="925"/>
                  <a:pt x="2342" y="924"/>
                </a:cubicBezTo>
                <a:cubicBezTo>
                  <a:pt x="2343" y="924"/>
                  <a:pt x="2344" y="923"/>
                  <a:pt x="2344" y="922"/>
                </a:cubicBezTo>
                <a:cubicBezTo>
                  <a:pt x="2346" y="919"/>
                  <a:pt x="2349" y="919"/>
                  <a:pt x="2351" y="922"/>
                </a:cubicBezTo>
                <a:cubicBezTo>
                  <a:pt x="2352" y="926"/>
                  <a:pt x="2353" y="928"/>
                  <a:pt x="2353" y="931"/>
                </a:cubicBezTo>
                <a:cubicBezTo>
                  <a:pt x="2354" y="936"/>
                  <a:pt x="2353" y="940"/>
                  <a:pt x="2352" y="945"/>
                </a:cubicBezTo>
                <a:cubicBezTo>
                  <a:pt x="2349" y="951"/>
                  <a:pt x="2345" y="954"/>
                  <a:pt x="2338" y="954"/>
                </a:cubicBezTo>
                <a:cubicBezTo>
                  <a:pt x="2337" y="954"/>
                  <a:pt x="2337" y="954"/>
                  <a:pt x="2336" y="954"/>
                </a:cubicBezTo>
                <a:cubicBezTo>
                  <a:pt x="2334" y="954"/>
                  <a:pt x="2332" y="954"/>
                  <a:pt x="2332" y="957"/>
                </a:cubicBezTo>
                <a:cubicBezTo>
                  <a:pt x="2330" y="961"/>
                  <a:pt x="2325" y="963"/>
                  <a:pt x="2321" y="960"/>
                </a:cubicBezTo>
                <a:cubicBezTo>
                  <a:pt x="2320" y="958"/>
                  <a:pt x="2319" y="958"/>
                  <a:pt x="2318" y="956"/>
                </a:cubicBezTo>
                <a:cubicBezTo>
                  <a:pt x="2318" y="957"/>
                  <a:pt x="2318" y="957"/>
                  <a:pt x="2317" y="957"/>
                </a:cubicBezTo>
                <a:close/>
                <a:moveTo>
                  <a:pt x="2312" y="952"/>
                </a:moveTo>
                <a:cubicBezTo>
                  <a:pt x="2315" y="954"/>
                  <a:pt x="2319" y="955"/>
                  <a:pt x="2321" y="958"/>
                </a:cubicBezTo>
                <a:cubicBezTo>
                  <a:pt x="2323" y="960"/>
                  <a:pt x="2325" y="960"/>
                  <a:pt x="2327" y="960"/>
                </a:cubicBezTo>
                <a:cubicBezTo>
                  <a:pt x="2330" y="959"/>
                  <a:pt x="2331" y="957"/>
                  <a:pt x="2331" y="954"/>
                </a:cubicBezTo>
                <a:cubicBezTo>
                  <a:pt x="2331" y="954"/>
                  <a:pt x="2330" y="954"/>
                  <a:pt x="2330" y="954"/>
                </a:cubicBezTo>
                <a:cubicBezTo>
                  <a:pt x="2330" y="956"/>
                  <a:pt x="2329" y="957"/>
                  <a:pt x="2328" y="958"/>
                </a:cubicBezTo>
                <a:cubicBezTo>
                  <a:pt x="2327" y="959"/>
                  <a:pt x="2325" y="959"/>
                  <a:pt x="2325" y="958"/>
                </a:cubicBezTo>
                <a:cubicBezTo>
                  <a:pt x="2324" y="958"/>
                  <a:pt x="2323" y="957"/>
                  <a:pt x="2323" y="956"/>
                </a:cubicBezTo>
                <a:cubicBezTo>
                  <a:pt x="2323" y="954"/>
                  <a:pt x="2324" y="952"/>
                  <a:pt x="2324" y="950"/>
                </a:cubicBezTo>
                <a:cubicBezTo>
                  <a:pt x="2327" y="951"/>
                  <a:pt x="2331" y="952"/>
                  <a:pt x="2334" y="952"/>
                </a:cubicBezTo>
                <a:cubicBezTo>
                  <a:pt x="2342" y="954"/>
                  <a:pt x="2347" y="952"/>
                  <a:pt x="2351" y="943"/>
                </a:cubicBezTo>
                <a:cubicBezTo>
                  <a:pt x="2352" y="939"/>
                  <a:pt x="2352" y="934"/>
                  <a:pt x="2351" y="929"/>
                </a:cubicBezTo>
                <a:cubicBezTo>
                  <a:pt x="2351" y="927"/>
                  <a:pt x="2350" y="925"/>
                  <a:pt x="2349" y="923"/>
                </a:cubicBezTo>
                <a:cubicBezTo>
                  <a:pt x="2348" y="922"/>
                  <a:pt x="2347" y="921"/>
                  <a:pt x="2346" y="923"/>
                </a:cubicBezTo>
                <a:cubicBezTo>
                  <a:pt x="2344" y="924"/>
                  <a:pt x="2343" y="926"/>
                  <a:pt x="2341" y="927"/>
                </a:cubicBezTo>
                <a:cubicBezTo>
                  <a:pt x="2340" y="927"/>
                  <a:pt x="2339" y="928"/>
                  <a:pt x="2340" y="929"/>
                </a:cubicBezTo>
                <a:cubicBezTo>
                  <a:pt x="2340" y="932"/>
                  <a:pt x="2340" y="935"/>
                  <a:pt x="2338" y="939"/>
                </a:cubicBezTo>
                <a:cubicBezTo>
                  <a:pt x="2338" y="937"/>
                  <a:pt x="2339" y="935"/>
                  <a:pt x="2339" y="933"/>
                </a:cubicBezTo>
                <a:cubicBezTo>
                  <a:pt x="2339" y="932"/>
                  <a:pt x="2338" y="932"/>
                  <a:pt x="2338" y="931"/>
                </a:cubicBezTo>
                <a:cubicBezTo>
                  <a:pt x="2338" y="932"/>
                  <a:pt x="2337" y="932"/>
                  <a:pt x="2337" y="932"/>
                </a:cubicBezTo>
                <a:cubicBezTo>
                  <a:pt x="2336" y="933"/>
                  <a:pt x="2335" y="935"/>
                  <a:pt x="2334" y="936"/>
                </a:cubicBezTo>
                <a:cubicBezTo>
                  <a:pt x="2334" y="936"/>
                  <a:pt x="2334" y="936"/>
                  <a:pt x="2334" y="936"/>
                </a:cubicBezTo>
                <a:cubicBezTo>
                  <a:pt x="2334" y="935"/>
                  <a:pt x="2335" y="933"/>
                  <a:pt x="2335" y="931"/>
                </a:cubicBezTo>
                <a:cubicBezTo>
                  <a:pt x="2334" y="931"/>
                  <a:pt x="2334" y="932"/>
                  <a:pt x="2333" y="933"/>
                </a:cubicBezTo>
                <a:cubicBezTo>
                  <a:pt x="2332" y="933"/>
                  <a:pt x="2332" y="934"/>
                  <a:pt x="2332" y="935"/>
                </a:cubicBezTo>
                <a:cubicBezTo>
                  <a:pt x="2332" y="931"/>
                  <a:pt x="2332" y="931"/>
                  <a:pt x="2338" y="930"/>
                </a:cubicBezTo>
                <a:cubicBezTo>
                  <a:pt x="2338" y="929"/>
                  <a:pt x="2337" y="929"/>
                  <a:pt x="2337" y="929"/>
                </a:cubicBezTo>
                <a:cubicBezTo>
                  <a:pt x="2334" y="929"/>
                  <a:pt x="2334" y="928"/>
                  <a:pt x="2333" y="926"/>
                </a:cubicBezTo>
                <a:cubicBezTo>
                  <a:pt x="2335" y="925"/>
                  <a:pt x="2336" y="925"/>
                  <a:pt x="2338" y="924"/>
                </a:cubicBezTo>
                <a:cubicBezTo>
                  <a:pt x="2336" y="922"/>
                  <a:pt x="2335" y="919"/>
                  <a:pt x="2332" y="919"/>
                </a:cubicBezTo>
                <a:cubicBezTo>
                  <a:pt x="2331" y="919"/>
                  <a:pt x="2331" y="918"/>
                  <a:pt x="2331" y="918"/>
                </a:cubicBezTo>
                <a:cubicBezTo>
                  <a:pt x="2329" y="916"/>
                  <a:pt x="2326" y="914"/>
                  <a:pt x="2323" y="912"/>
                </a:cubicBezTo>
                <a:cubicBezTo>
                  <a:pt x="2321" y="910"/>
                  <a:pt x="2318" y="910"/>
                  <a:pt x="2316" y="910"/>
                </a:cubicBezTo>
                <a:cubicBezTo>
                  <a:pt x="2313" y="910"/>
                  <a:pt x="2310" y="911"/>
                  <a:pt x="2306" y="912"/>
                </a:cubicBezTo>
                <a:cubicBezTo>
                  <a:pt x="2304" y="913"/>
                  <a:pt x="2301" y="915"/>
                  <a:pt x="2299" y="918"/>
                </a:cubicBezTo>
                <a:cubicBezTo>
                  <a:pt x="2301" y="918"/>
                  <a:pt x="2302" y="918"/>
                  <a:pt x="2303" y="918"/>
                </a:cubicBezTo>
                <a:cubicBezTo>
                  <a:pt x="2303" y="918"/>
                  <a:pt x="2302" y="919"/>
                  <a:pt x="2301" y="919"/>
                </a:cubicBezTo>
                <a:cubicBezTo>
                  <a:pt x="2299" y="920"/>
                  <a:pt x="2296" y="919"/>
                  <a:pt x="2294" y="921"/>
                </a:cubicBezTo>
                <a:cubicBezTo>
                  <a:pt x="2291" y="925"/>
                  <a:pt x="2287" y="929"/>
                  <a:pt x="2283" y="933"/>
                </a:cubicBezTo>
                <a:cubicBezTo>
                  <a:pt x="2282" y="935"/>
                  <a:pt x="2281" y="937"/>
                  <a:pt x="2280" y="940"/>
                </a:cubicBezTo>
                <a:cubicBezTo>
                  <a:pt x="2280" y="940"/>
                  <a:pt x="2280" y="941"/>
                  <a:pt x="2280" y="941"/>
                </a:cubicBezTo>
                <a:cubicBezTo>
                  <a:pt x="2281" y="943"/>
                  <a:pt x="2282" y="945"/>
                  <a:pt x="2284" y="947"/>
                </a:cubicBezTo>
                <a:cubicBezTo>
                  <a:pt x="2285" y="946"/>
                  <a:pt x="2286" y="944"/>
                  <a:pt x="2288" y="943"/>
                </a:cubicBezTo>
                <a:cubicBezTo>
                  <a:pt x="2287" y="944"/>
                  <a:pt x="2287" y="945"/>
                  <a:pt x="2286" y="947"/>
                </a:cubicBezTo>
                <a:cubicBezTo>
                  <a:pt x="2285" y="948"/>
                  <a:pt x="2284" y="949"/>
                  <a:pt x="2284" y="951"/>
                </a:cubicBezTo>
                <a:cubicBezTo>
                  <a:pt x="2284" y="952"/>
                  <a:pt x="2284" y="953"/>
                  <a:pt x="2284" y="954"/>
                </a:cubicBezTo>
                <a:cubicBezTo>
                  <a:pt x="2287" y="957"/>
                  <a:pt x="2290" y="957"/>
                  <a:pt x="2294" y="955"/>
                </a:cubicBezTo>
                <a:cubicBezTo>
                  <a:pt x="2296" y="954"/>
                  <a:pt x="2299" y="952"/>
                  <a:pt x="2302" y="952"/>
                </a:cubicBezTo>
                <a:cubicBezTo>
                  <a:pt x="2303" y="951"/>
                  <a:pt x="2305" y="950"/>
                  <a:pt x="2305" y="949"/>
                </a:cubicBezTo>
                <a:cubicBezTo>
                  <a:pt x="2305" y="946"/>
                  <a:pt x="2305" y="942"/>
                  <a:pt x="2305" y="939"/>
                </a:cubicBezTo>
                <a:cubicBezTo>
                  <a:pt x="2305" y="936"/>
                  <a:pt x="2305" y="933"/>
                  <a:pt x="2305" y="930"/>
                </a:cubicBezTo>
                <a:cubicBezTo>
                  <a:pt x="2305" y="933"/>
                  <a:pt x="2306" y="935"/>
                  <a:pt x="2306" y="938"/>
                </a:cubicBezTo>
                <a:cubicBezTo>
                  <a:pt x="2307" y="943"/>
                  <a:pt x="2307" y="947"/>
                  <a:pt x="2306" y="951"/>
                </a:cubicBezTo>
                <a:cubicBezTo>
                  <a:pt x="2305" y="952"/>
                  <a:pt x="2305" y="953"/>
                  <a:pt x="2304" y="953"/>
                </a:cubicBezTo>
                <a:cubicBezTo>
                  <a:pt x="2301" y="953"/>
                  <a:pt x="2297" y="955"/>
                  <a:pt x="2294" y="957"/>
                </a:cubicBezTo>
                <a:cubicBezTo>
                  <a:pt x="2289" y="960"/>
                  <a:pt x="2286" y="958"/>
                  <a:pt x="2282" y="954"/>
                </a:cubicBezTo>
                <a:cubicBezTo>
                  <a:pt x="2282" y="954"/>
                  <a:pt x="2282" y="952"/>
                  <a:pt x="2282" y="952"/>
                </a:cubicBezTo>
                <a:cubicBezTo>
                  <a:pt x="2283" y="950"/>
                  <a:pt x="2282" y="948"/>
                  <a:pt x="2280" y="946"/>
                </a:cubicBezTo>
                <a:cubicBezTo>
                  <a:pt x="2279" y="944"/>
                  <a:pt x="2277" y="941"/>
                  <a:pt x="2278" y="939"/>
                </a:cubicBezTo>
                <a:cubicBezTo>
                  <a:pt x="2279" y="937"/>
                  <a:pt x="2280" y="935"/>
                  <a:pt x="2281" y="933"/>
                </a:cubicBezTo>
                <a:cubicBezTo>
                  <a:pt x="2283" y="931"/>
                  <a:pt x="2285" y="928"/>
                  <a:pt x="2287" y="926"/>
                </a:cubicBezTo>
                <a:cubicBezTo>
                  <a:pt x="2287" y="926"/>
                  <a:pt x="2286" y="926"/>
                  <a:pt x="2286" y="926"/>
                </a:cubicBezTo>
                <a:cubicBezTo>
                  <a:pt x="2281" y="927"/>
                  <a:pt x="2277" y="928"/>
                  <a:pt x="2273" y="931"/>
                </a:cubicBezTo>
                <a:cubicBezTo>
                  <a:pt x="2268" y="936"/>
                  <a:pt x="2265" y="941"/>
                  <a:pt x="2265" y="948"/>
                </a:cubicBezTo>
                <a:cubicBezTo>
                  <a:pt x="2264" y="954"/>
                  <a:pt x="2267" y="960"/>
                  <a:pt x="2270" y="966"/>
                </a:cubicBezTo>
                <a:cubicBezTo>
                  <a:pt x="2271" y="967"/>
                  <a:pt x="2271" y="969"/>
                  <a:pt x="2271" y="970"/>
                </a:cubicBezTo>
                <a:cubicBezTo>
                  <a:pt x="2271" y="971"/>
                  <a:pt x="2271" y="973"/>
                  <a:pt x="2270" y="974"/>
                </a:cubicBezTo>
                <a:cubicBezTo>
                  <a:pt x="2269" y="976"/>
                  <a:pt x="2270" y="977"/>
                  <a:pt x="2271" y="977"/>
                </a:cubicBezTo>
                <a:cubicBezTo>
                  <a:pt x="2274" y="978"/>
                  <a:pt x="2277" y="979"/>
                  <a:pt x="2280" y="979"/>
                </a:cubicBezTo>
                <a:cubicBezTo>
                  <a:pt x="2280" y="979"/>
                  <a:pt x="2281" y="978"/>
                  <a:pt x="2281" y="978"/>
                </a:cubicBezTo>
                <a:cubicBezTo>
                  <a:pt x="2282" y="977"/>
                  <a:pt x="2282" y="975"/>
                  <a:pt x="2282" y="974"/>
                </a:cubicBezTo>
                <a:cubicBezTo>
                  <a:pt x="2284" y="972"/>
                  <a:pt x="2284" y="969"/>
                  <a:pt x="2284" y="966"/>
                </a:cubicBezTo>
                <a:cubicBezTo>
                  <a:pt x="2284" y="966"/>
                  <a:pt x="2284" y="966"/>
                  <a:pt x="2284" y="965"/>
                </a:cubicBezTo>
                <a:cubicBezTo>
                  <a:pt x="2284" y="965"/>
                  <a:pt x="2284" y="965"/>
                  <a:pt x="2284" y="964"/>
                </a:cubicBezTo>
                <a:cubicBezTo>
                  <a:pt x="2285" y="967"/>
                  <a:pt x="2286" y="967"/>
                  <a:pt x="2288" y="967"/>
                </a:cubicBezTo>
                <a:cubicBezTo>
                  <a:pt x="2289" y="967"/>
                  <a:pt x="2290" y="967"/>
                  <a:pt x="2291" y="967"/>
                </a:cubicBezTo>
                <a:cubicBezTo>
                  <a:pt x="2293" y="967"/>
                  <a:pt x="2297" y="968"/>
                  <a:pt x="2297" y="964"/>
                </a:cubicBezTo>
                <a:cubicBezTo>
                  <a:pt x="2297" y="966"/>
                  <a:pt x="2297" y="967"/>
                  <a:pt x="2297" y="968"/>
                </a:cubicBezTo>
                <a:cubicBezTo>
                  <a:pt x="2296" y="969"/>
                  <a:pt x="2295" y="970"/>
                  <a:pt x="2293" y="970"/>
                </a:cubicBezTo>
                <a:cubicBezTo>
                  <a:pt x="2292" y="971"/>
                  <a:pt x="2291" y="973"/>
                  <a:pt x="2292" y="973"/>
                </a:cubicBezTo>
                <a:cubicBezTo>
                  <a:pt x="2293" y="976"/>
                  <a:pt x="2295" y="978"/>
                  <a:pt x="2296" y="980"/>
                </a:cubicBezTo>
                <a:cubicBezTo>
                  <a:pt x="2298" y="981"/>
                  <a:pt x="2300" y="981"/>
                  <a:pt x="2301" y="979"/>
                </a:cubicBezTo>
                <a:cubicBezTo>
                  <a:pt x="2302" y="978"/>
                  <a:pt x="2303" y="977"/>
                  <a:pt x="2303" y="977"/>
                </a:cubicBezTo>
                <a:cubicBezTo>
                  <a:pt x="2305" y="975"/>
                  <a:pt x="2306" y="974"/>
                  <a:pt x="2308" y="973"/>
                </a:cubicBezTo>
                <a:cubicBezTo>
                  <a:pt x="2312" y="969"/>
                  <a:pt x="2314" y="963"/>
                  <a:pt x="2316" y="957"/>
                </a:cubicBezTo>
                <a:cubicBezTo>
                  <a:pt x="2316" y="956"/>
                  <a:pt x="2315" y="956"/>
                  <a:pt x="2315" y="955"/>
                </a:cubicBezTo>
                <a:cubicBezTo>
                  <a:pt x="2314" y="954"/>
                  <a:pt x="2313" y="953"/>
                  <a:pt x="2312" y="952"/>
                </a:cubicBezTo>
                <a:close/>
                <a:moveTo>
                  <a:pt x="2264" y="959"/>
                </a:moveTo>
                <a:cubicBezTo>
                  <a:pt x="2264" y="960"/>
                  <a:pt x="2262" y="960"/>
                  <a:pt x="2261" y="962"/>
                </a:cubicBezTo>
                <a:cubicBezTo>
                  <a:pt x="2260" y="962"/>
                  <a:pt x="2260" y="963"/>
                  <a:pt x="2260" y="964"/>
                </a:cubicBezTo>
                <a:cubicBezTo>
                  <a:pt x="2260" y="966"/>
                  <a:pt x="2264" y="971"/>
                  <a:pt x="2267" y="970"/>
                </a:cubicBezTo>
                <a:cubicBezTo>
                  <a:pt x="2269" y="970"/>
                  <a:pt x="2270" y="969"/>
                  <a:pt x="2269" y="967"/>
                </a:cubicBezTo>
                <a:cubicBezTo>
                  <a:pt x="2267" y="964"/>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7"/>
                  <a:pt x="2318" y="965"/>
                </a:cubicBezTo>
                <a:cubicBezTo>
                  <a:pt x="2318" y="964"/>
                  <a:pt x="2318" y="962"/>
                  <a:pt x="2317" y="961"/>
                </a:cubicBezTo>
                <a:close/>
                <a:moveTo>
                  <a:pt x="2264" y="941"/>
                </a:moveTo>
                <a:cubicBezTo>
                  <a:pt x="2264" y="941"/>
                  <a:pt x="2263" y="941"/>
                  <a:pt x="2262" y="941"/>
                </a:cubicBezTo>
                <a:cubicBezTo>
                  <a:pt x="2262" y="941"/>
                  <a:pt x="2261" y="941"/>
                  <a:pt x="2261" y="941"/>
                </a:cubicBezTo>
                <a:cubicBezTo>
                  <a:pt x="2260" y="941"/>
                  <a:pt x="2260" y="940"/>
                  <a:pt x="2260" y="939"/>
                </a:cubicBezTo>
                <a:cubicBezTo>
                  <a:pt x="2261" y="937"/>
                  <a:pt x="2261" y="935"/>
                  <a:pt x="2262" y="933"/>
                </a:cubicBezTo>
                <a:cubicBezTo>
                  <a:pt x="2262" y="933"/>
                  <a:pt x="2262" y="933"/>
                  <a:pt x="2261" y="933"/>
                </a:cubicBezTo>
                <a:cubicBezTo>
                  <a:pt x="2260" y="934"/>
                  <a:pt x="2259" y="935"/>
                  <a:pt x="2258" y="936"/>
                </a:cubicBezTo>
                <a:cubicBezTo>
                  <a:pt x="2258" y="937"/>
                  <a:pt x="2259" y="942"/>
                  <a:pt x="2261" y="943"/>
                </a:cubicBezTo>
                <a:cubicBezTo>
                  <a:pt x="2262" y="944"/>
                  <a:pt x="2264" y="943"/>
                  <a:pt x="2264" y="941"/>
                </a:cubicBezTo>
                <a:close/>
                <a:moveTo>
                  <a:pt x="2264" y="959"/>
                </a:moveTo>
                <a:cubicBezTo>
                  <a:pt x="2264" y="960"/>
                  <a:pt x="2262" y="961"/>
                  <a:pt x="2261" y="962"/>
                </a:cubicBezTo>
                <a:cubicBezTo>
                  <a:pt x="2261" y="962"/>
                  <a:pt x="2260" y="963"/>
                  <a:pt x="2260" y="964"/>
                </a:cubicBezTo>
                <a:cubicBezTo>
                  <a:pt x="2260" y="967"/>
                  <a:pt x="2264" y="971"/>
                  <a:pt x="2267" y="971"/>
                </a:cubicBezTo>
                <a:cubicBezTo>
                  <a:pt x="2269" y="971"/>
                  <a:pt x="2270" y="969"/>
                  <a:pt x="2269" y="968"/>
                </a:cubicBezTo>
                <a:cubicBezTo>
                  <a:pt x="2267" y="965"/>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8"/>
                  <a:pt x="2318" y="965"/>
                </a:cubicBezTo>
                <a:cubicBezTo>
                  <a:pt x="2318" y="964"/>
                  <a:pt x="2318" y="962"/>
                  <a:pt x="2317" y="961"/>
                </a:cubicBezTo>
                <a:close/>
                <a:moveTo>
                  <a:pt x="2264" y="941"/>
                </a:moveTo>
                <a:cubicBezTo>
                  <a:pt x="2264" y="941"/>
                  <a:pt x="2263" y="942"/>
                  <a:pt x="2263" y="942"/>
                </a:cubicBezTo>
                <a:cubicBezTo>
                  <a:pt x="2262" y="942"/>
                  <a:pt x="2261" y="942"/>
                  <a:pt x="2261" y="941"/>
                </a:cubicBezTo>
                <a:cubicBezTo>
                  <a:pt x="2261" y="941"/>
                  <a:pt x="2260" y="940"/>
                  <a:pt x="2260" y="939"/>
                </a:cubicBezTo>
                <a:cubicBezTo>
                  <a:pt x="2261" y="937"/>
                  <a:pt x="2261" y="935"/>
                  <a:pt x="2262" y="933"/>
                </a:cubicBezTo>
                <a:cubicBezTo>
                  <a:pt x="2262" y="933"/>
                  <a:pt x="2262" y="933"/>
                  <a:pt x="2261" y="933"/>
                </a:cubicBezTo>
                <a:cubicBezTo>
                  <a:pt x="2261" y="934"/>
                  <a:pt x="2259" y="935"/>
                  <a:pt x="2259" y="936"/>
                </a:cubicBezTo>
                <a:cubicBezTo>
                  <a:pt x="2258" y="937"/>
                  <a:pt x="2259" y="942"/>
                  <a:pt x="2261" y="943"/>
                </a:cubicBezTo>
                <a:cubicBezTo>
                  <a:pt x="2263" y="944"/>
                  <a:pt x="2264" y="943"/>
                  <a:pt x="2264" y="941"/>
                </a:cubicBezTo>
                <a:close/>
                <a:moveTo>
                  <a:pt x="2317" y="933"/>
                </a:moveTo>
                <a:cubicBezTo>
                  <a:pt x="2320" y="929"/>
                  <a:pt x="2320" y="929"/>
                  <a:pt x="2324" y="928"/>
                </a:cubicBezTo>
                <a:cubicBezTo>
                  <a:pt x="2324" y="930"/>
                  <a:pt x="2325" y="931"/>
                  <a:pt x="2326" y="931"/>
                </a:cubicBezTo>
                <a:cubicBezTo>
                  <a:pt x="2324" y="932"/>
                  <a:pt x="2322" y="934"/>
                  <a:pt x="2320" y="935"/>
                </a:cubicBezTo>
                <a:cubicBezTo>
                  <a:pt x="2320" y="934"/>
                  <a:pt x="2319" y="933"/>
                  <a:pt x="2318" y="932"/>
                </a:cubicBezTo>
                <a:cubicBezTo>
                  <a:pt x="2318" y="932"/>
                  <a:pt x="2318" y="932"/>
                  <a:pt x="2317" y="933"/>
                </a:cubicBezTo>
                <a:close/>
                <a:moveTo>
                  <a:pt x="2323" y="932"/>
                </a:moveTo>
                <a:cubicBezTo>
                  <a:pt x="2322" y="932"/>
                  <a:pt x="2321" y="931"/>
                  <a:pt x="2321" y="931"/>
                </a:cubicBezTo>
                <a:cubicBezTo>
                  <a:pt x="2320" y="931"/>
                  <a:pt x="2320" y="932"/>
                  <a:pt x="2320" y="933"/>
                </a:cubicBezTo>
                <a:cubicBezTo>
                  <a:pt x="2320" y="933"/>
                  <a:pt x="2320" y="933"/>
                  <a:pt x="2320" y="934"/>
                </a:cubicBezTo>
                <a:cubicBezTo>
                  <a:pt x="2321" y="933"/>
                  <a:pt x="2321" y="933"/>
                  <a:pt x="2323" y="932"/>
                </a:cubicBezTo>
                <a:close/>
                <a:moveTo>
                  <a:pt x="2304" y="922"/>
                </a:moveTo>
                <a:cubicBezTo>
                  <a:pt x="2297" y="921"/>
                  <a:pt x="2294" y="924"/>
                  <a:pt x="2293" y="932"/>
                </a:cubicBezTo>
                <a:cubicBezTo>
                  <a:pt x="2294" y="930"/>
                  <a:pt x="2296" y="928"/>
                  <a:pt x="2297" y="925"/>
                </a:cubicBezTo>
                <a:cubicBezTo>
                  <a:pt x="2297" y="925"/>
                  <a:pt x="2297" y="925"/>
                  <a:pt x="2297" y="925"/>
                </a:cubicBezTo>
                <a:cubicBezTo>
                  <a:pt x="2297" y="926"/>
                  <a:pt x="2298" y="927"/>
                  <a:pt x="2298" y="928"/>
                </a:cubicBezTo>
                <a:cubicBezTo>
                  <a:pt x="2299" y="925"/>
                  <a:pt x="2300" y="923"/>
                  <a:pt x="2304" y="922"/>
                </a:cubicBezTo>
                <a:close/>
                <a:moveTo>
                  <a:pt x="2348" y="924"/>
                </a:moveTo>
                <a:cubicBezTo>
                  <a:pt x="2345" y="925"/>
                  <a:pt x="2343" y="927"/>
                  <a:pt x="2342" y="928"/>
                </a:cubicBezTo>
                <a:cubicBezTo>
                  <a:pt x="2344" y="928"/>
                  <a:pt x="2346" y="927"/>
                  <a:pt x="2348" y="924"/>
                </a:cubicBezTo>
                <a:close/>
                <a:moveTo>
                  <a:pt x="2314" y="926"/>
                </a:moveTo>
                <a:cubicBezTo>
                  <a:pt x="2315" y="925"/>
                  <a:pt x="2316" y="923"/>
                  <a:pt x="2317" y="922"/>
                </a:cubicBezTo>
                <a:cubicBezTo>
                  <a:pt x="2314" y="923"/>
                  <a:pt x="2313" y="924"/>
                  <a:pt x="2314" y="926"/>
                </a:cubicBezTo>
                <a:close/>
                <a:moveTo>
                  <a:pt x="2324" y="947"/>
                </a:moveTo>
                <a:cubicBezTo>
                  <a:pt x="2322" y="948"/>
                  <a:pt x="2321" y="949"/>
                  <a:pt x="2321" y="949"/>
                </a:cubicBezTo>
                <a:cubicBezTo>
                  <a:pt x="2322" y="949"/>
                  <a:pt x="2323" y="948"/>
                  <a:pt x="2324" y="947"/>
                </a:cubicBezTo>
                <a:close/>
                <a:moveTo>
                  <a:pt x="2323" y="932"/>
                </a:moveTo>
                <a:cubicBezTo>
                  <a:pt x="2322" y="931"/>
                  <a:pt x="2321" y="931"/>
                  <a:pt x="2321" y="931"/>
                </a:cubicBezTo>
                <a:cubicBezTo>
                  <a:pt x="2320" y="931"/>
                  <a:pt x="2320" y="932"/>
                  <a:pt x="2320" y="932"/>
                </a:cubicBezTo>
                <a:cubicBezTo>
                  <a:pt x="2320" y="933"/>
                  <a:pt x="2320" y="933"/>
                  <a:pt x="2320" y="933"/>
                </a:cubicBezTo>
                <a:cubicBezTo>
                  <a:pt x="2321" y="933"/>
                  <a:pt x="2321" y="933"/>
                  <a:pt x="2323" y="932"/>
                </a:cubicBezTo>
                <a:close/>
                <a:moveTo>
                  <a:pt x="2613" y="909"/>
                </a:moveTo>
                <a:cubicBezTo>
                  <a:pt x="2613" y="909"/>
                  <a:pt x="2613" y="909"/>
                  <a:pt x="2613" y="909"/>
                </a:cubicBezTo>
                <a:cubicBezTo>
                  <a:pt x="2609" y="909"/>
                  <a:pt x="2609" y="909"/>
                  <a:pt x="2609" y="909"/>
                </a:cubicBezTo>
                <a:cubicBezTo>
                  <a:pt x="2606" y="911"/>
                  <a:pt x="2605" y="912"/>
                  <a:pt x="2603" y="913"/>
                </a:cubicBezTo>
                <a:cubicBezTo>
                  <a:pt x="2601" y="915"/>
                  <a:pt x="2599" y="915"/>
                  <a:pt x="2598" y="916"/>
                </a:cubicBezTo>
                <a:cubicBezTo>
                  <a:pt x="2596" y="917"/>
                  <a:pt x="2594" y="918"/>
                  <a:pt x="2592" y="919"/>
                </a:cubicBezTo>
                <a:cubicBezTo>
                  <a:pt x="2591" y="920"/>
                  <a:pt x="2588" y="920"/>
                  <a:pt x="2587" y="920"/>
                </a:cubicBezTo>
                <a:cubicBezTo>
                  <a:pt x="2587" y="920"/>
                  <a:pt x="2587" y="920"/>
                  <a:pt x="2587" y="931"/>
                </a:cubicBezTo>
                <a:cubicBezTo>
                  <a:pt x="2590" y="930"/>
                  <a:pt x="2593" y="929"/>
                  <a:pt x="2595" y="928"/>
                </a:cubicBezTo>
                <a:cubicBezTo>
                  <a:pt x="2597" y="927"/>
                  <a:pt x="2600" y="925"/>
                  <a:pt x="2601" y="924"/>
                </a:cubicBezTo>
                <a:cubicBezTo>
                  <a:pt x="2601" y="924"/>
                  <a:pt x="2601" y="924"/>
                  <a:pt x="2601" y="983"/>
                </a:cubicBezTo>
                <a:cubicBezTo>
                  <a:pt x="2601" y="983"/>
                  <a:pt x="2601" y="983"/>
                  <a:pt x="2613" y="983"/>
                </a:cubicBezTo>
                <a:cubicBezTo>
                  <a:pt x="2613" y="983"/>
                  <a:pt x="2613" y="983"/>
                  <a:pt x="2613" y="909"/>
                </a:cubicBezTo>
                <a:close/>
                <a:moveTo>
                  <a:pt x="2734" y="909"/>
                </a:moveTo>
                <a:cubicBezTo>
                  <a:pt x="2734" y="909"/>
                  <a:pt x="2734" y="909"/>
                  <a:pt x="2734" y="909"/>
                </a:cubicBezTo>
                <a:cubicBezTo>
                  <a:pt x="2729" y="909"/>
                  <a:pt x="2729" y="909"/>
                  <a:pt x="2729" y="909"/>
                </a:cubicBezTo>
                <a:cubicBezTo>
                  <a:pt x="2727" y="911"/>
                  <a:pt x="2726" y="912"/>
                  <a:pt x="2724" y="913"/>
                </a:cubicBezTo>
                <a:cubicBezTo>
                  <a:pt x="2722" y="915"/>
                  <a:pt x="2721" y="915"/>
                  <a:pt x="2718" y="916"/>
                </a:cubicBezTo>
                <a:cubicBezTo>
                  <a:pt x="2717" y="917"/>
                  <a:pt x="2715" y="918"/>
                  <a:pt x="2713" y="919"/>
                </a:cubicBezTo>
                <a:cubicBezTo>
                  <a:pt x="2711" y="920"/>
                  <a:pt x="2710" y="920"/>
                  <a:pt x="2708" y="920"/>
                </a:cubicBezTo>
                <a:cubicBezTo>
                  <a:pt x="2708" y="920"/>
                  <a:pt x="2708" y="920"/>
                  <a:pt x="2708" y="931"/>
                </a:cubicBezTo>
                <a:cubicBezTo>
                  <a:pt x="2710" y="930"/>
                  <a:pt x="2713" y="929"/>
                  <a:pt x="2716" y="928"/>
                </a:cubicBezTo>
                <a:cubicBezTo>
                  <a:pt x="2718" y="927"/>
                  <a:pt x="2721" y="925"/>
                  <a:pt x="2723" y="924"/>
                </a:cubicBezTo>
                <a:cubicBezTo>
                  <a:pt x="2723" y="924"/>
                  <a:pt x="2723" y="924"/>
                  <a:pt x="2723" y="983"/>
                </a:cubicBezTo>
                <a:cubicBezTo>
                  <a:pt x="2723" y="983"/>
                  <a:pt x="2723" y="983"/>
                  <a:pt x="2734" y="983"/>
                </a:cubicBezTo>
                <a:cubicBezTo>
                  <a:pt x="2734" y="983"/>
                  <a:pt x="2734" y="983"/>
                  <a:pt x="2734" y="909"/>
                </a:cubicBezTo>
                <a:close/>
                <a:moveTo>
                  <a:pt x="2781" y="909"/>
                </a:moveTo>
                <a:cubicBezTo>
                  <a:pt x="2781" y="909"/>
                  <a:pt x="2781" y="909"/>
                  <a:pt x="2781" y="909"/>
                </a:cubicBezTo>
                <a:cubicBezTo>
                  <a:pt x="2776" y="909"/>
                  <a:pt x="2776" y="909"/>
                  <a:pt x="2776" y="909"/>
                </a:cubicBezTo>
                <a:cubicBezTo>
                  <a:pt x="2774" y="911"/>
                  <a:pt x="2773" y="912"/>
                  <a:pt x="2771" y="913"/>
                </a:cubicBezTo>
                <a:cubicBezTo>
                  <a:pt x="2769" y="915"/>
                  <a:pt x="2767" y="915"/>
                  <a:pt x="2765" y="916"/>
                </a:cubicBezTo>
                <a:cubicBezTo>
                  <a:pt x="2764" y="917"/>
                  <a:pt x="2762" y="918"/>
                  <a:pt x="2760" y="919"/>
                </a:cubicBezTo>
                <a:cubicBezTo>
                  <a:pt x="2758" y="920"/>
                  <a:pt x="2757" y="920"/>
                  <a:pt x="2755" y="920"/>
                </a:cubicBezTo>
                <a:cubicBezTo>
                  <a:pt x="2755" y="920"/>
                  <a:pt x="2755" y="920"/>
                  <a:pt x="2755" y="931"/>
                </a:cubicBezTo>
                <a:cubicBezTo>
                  <a:pt x="2757" y="930"/>
                  <a:pt x="2760" y="929"/>
                  <a:pt x="2763" y="928"/>
                </a:cubicBezTo>
                <a:cubicBezTo>
                  <a:pt x="2765" y="927"/>
                  <a:pt x="2768" y="925"/>
                  <a:pt x="2770" y="924"/>
                </a:cubicBezTo>
                <a:cubicBezTo>
                  <a:pt x="2770" y="924"/>
                  <a:pt x="2770" y="924"/>
                  <a:pt x="2770" y="983"/>
                </a:cubicBezTo>
                <a:cubicBezTo>
                  <a:pt x="2770" y="983"/>
                  <a:pt x="2770" y="983"/>
                  <a:pt x="2781" y="983"/>
                </a:cubicBezTo>
                <a:cubicBezTo>
                  <a:pt x="2781" y="983"/>
                  <a:pt x="2781" y="983"/>
                  <a:pt x="2781" y="909"/>
                </a:cubicBezTo>
                <a:close/>
                <a:moveTo>
                  <a:pt x="2827" y="909"/>
                </a:moveTo>
                <a:cubicBezTo>
                  <a:pt x="2827" y="909"/>
                  <a:pt x="2827" y="909"/>
                  <a:pt x="2827" y="909"/>
                </a:cubicBezTo>
                <a:cubicBezTo>
                  <a:pt x="2823" y="909"/>
                  <a:pt x="2823" y="909"/>
                  <a:pt x="2823" y="909"/>
                </a:cubicBezTo>
                <a:cubicBezTo>
                  <a:pt x="2821" y="911"/>
                  <a:pt x="2819" y="912"/>
                  <a:pt x="2817" y="913"/>
                </a:cubicBezTo>
                <a:cubicBezTo>
                  <a:pt x="2816" y="915"/>
                  <a:pt x="2813" y="915"/>
                  <a:pt x="2812" y="916"/>
                </a:cubicBezTo>
                <a:cubicBezTo>
                  <a:pt x="2810" y="917"/>
                  <a:pt x="2808" y="917"/>
                  <a:pt x="2806" y="918"/>
                </a:cubicBezTo>
                <a:cubicBezTo>
                  <a:pt x="2805" y="919"/>
                  <a:pt x="2803" y="920"/>
                  <a:pt x="2801" y="920"/>
                </a:cubicBezTo>
                <a:cubicBezTo>
                  <a:pt x="2801" y="920"/>
                  <a:pt x="2801" y="920"/>
                  <a:pt x="2801" y="931"/>
                </a:cubicBezTo>
                <a:cubicBezTo>
                  <a:pt x="2804" y="930"/>
                  <a:pt x="2807" y="928"/>
                  <a:pt x="2809" y="928"/>
                </a:cubicBezTo>
                <a:cubicBezTo>
                  <a:pt x="2811" y="927"/>
                  <a:pt x="2814" y="925"/>
                  <a:pt x="2816" y="924"/>
                </a:cubicBezTo>
                <a:cubicBezTo>
                  <a:pt x="2816" y="924"/>
                  <a:pt x="2816" y="924"/>
                  <a:pt x="2816" y="983"/>
                </a:cubicBezTo>
                <a:cubicBezTo>
                  <a:pt x="2816" y="983"/>
                  <a:pt x="2816" y="983"/>
                  <a:pt x="2827" y="983"/>
                </a:cubicBezTo>
                <a:cubicBezTo>
                  <a:pt x="2827" y="983"/>
                  <a:pt x="2827" y="983"/>
                  <a:pt x="2827" y="909"/>
                </a:cubicBezTo>
                <a:close/>
                <a:moveTo>
                  <a:pt x="2633" y="942"/>
                </a:moveTo>
                <a:cubicBezTo>
                  <a:pt x="2633" y="942"/>
                  <a:pt x="2633" y="942"/>
                  <a:pt x="2633" y="942"/>
                </a:cubicBezTo>
                <a:cubicBezTo>
                  <a:pt x="2633" y="950"/>
                  <a:pt x="2633" y="950"/>
                  <a:pt x="2633" y="950"/>
                </a:cubicBezTo>
                <a:cubicBezTo>
                  <a:pt x="2639" y="950"/>
                  <a:pt x="2640" y="953"/>
                  <a:pt x="2640" y="956"/>
                </a:cubicBezTo>
                <a:cubicBezTo>
                  <a:pt x="2640" y="958"/>
                  <a:pt x="2639" y="960"/>
                  <a:pt x="2639" y="963"/>
                </a:cubicBezTo>
                <a:cubicBezTo>
                  <a:pt x="2639" y="966"/>
                  <a:pt x="2639" y="968"/>
                  <a:pt x="2639" y="970"/>
                </a:cubicBezTo>
                <a:cubicBezTo>
                  <a:pt x="2639" y="980"/>
                  <a:pt x="2645" y="983"/>
                  <a:pt x="2653" y="983"/>
                </a:cubicBezTo>
                <a:cubicBezTo>
                  <a:pt x="2653" y="983"/>
                  <a:pt x="2653" y="983"/>
                  <a:pt x="2657" y="983"/>
                </a:cubicBezTo>
                <a:cubicBezTo>
                  <a:pt x="2657" y="983"/>
                  <a:pt x="2657" y="983"/>
                  <a:pt x="2657" y="974"/>
                </a:cubicBezTo>
                <a:cubicBezTo>
                  <a:pt x="2657" y="974"/>
                  <a:pt x="2657" y="974"/>
                  <a:pt x="2656" y="974"/>
                </a:cubicBezTo>
                <a:cubicBezTo>
                  <a:pt x="2652" y="974"/>
                  <a:pt x="2651" y="971"/>
                  <a:pt x="2651" y="968"/>
                </a:cubicBezTo>
                <a:cubicBezTo>
                  <a:pt x="2651" y="966"/>
                  <a:pt x="2651" y="965"/>
                  <a:pt x="2651" y="963"/>
                </a:cubicBezTo>
                <a:cubicBezTo>
                  <a:pt x="2651" y="962"/>
                  <a:pt x="2651" y="959"/>
                  <a:pt x="2651" y="957"/>
                </a:cubicBezTo>
                <a:cubicBezTo>
                  <a:pt x="2651" y="950"/>
                  <a:pt x="2648" y="947"/>
                  <a:pt x="2643" y="946"/>
                </a:cubicBezTo>
                <a:cubicBezTo>
                  <a:pt x="2643" y="946"/>
                  <a:pt x="2643" y="946"/>
                  <a:pt x="2643" y="946"/>
                </a:cubicBezTo>
                <a:cubicBezTo>
                  <a:pt x="2648" y="944"/>
                  <a:pt x="2651" y="942"/>
                  <a:pt x="2651" y="935"/>
                </a:cubicBezTo>
                <a:cubicBezTo>
                  <a:pt x="2651" y="932"/>
                  <a:pt x="2651" y="930"/>
                  <a:pt x="2651" y="928"/>
                </a:cubicBezTo>
                <a:cubicBezTo>
                  <a:pt x="2651" y="927"/>
                  <a:pt x="2651" y="925"/>
                  <a:pt x="2651" y="924"/>
                </a:cubicBezTo>
                <a:cubicBezTo>
                  <a:pt x="2651" y="920"/>
                  <a:pt x="2652" y="918"/>
                  <a:pt x="2656" y="918"/>
                </a:cubicBezTo>
                <a:cubicBezTo>
                  <a:pt x="2656" y="918"/>
                  <a:pt x="2656" y="918"/>
                  <a:pt x="2657" y="918"/>
                </a:cubicBezTo>
                <a:cubicBezTo>
                  <a:pt x="2657" y="918"/>
                  <a:pt x="2657" y="918"/>
                  <a:pt x="2657" y="909"/>
                </a:cubicBezTo>
                <a:cubicBezTo>
                  <a:pt x="2657" y="909"/>
                  <a:pt x="2657" y="909"/>
                  <a:pt x="2653" y="909"/>
                </a:cubicBezTo>
                <a:cubicBezTo>
                  <a:pt x="2644" y="909"/>
                  <a:pt x="2639" y="913"/>
                  <a:pt x="2639" y="921"/>
                </a:cubicBezTo>
                <a:cubicBezTo>
                  <a:pt x="2639" y="923"/>
                  <a:pt x="2639" y="926"/>
                  <a:pt x="2639" y="929"/>
                </a:cubicBezTo>
                <a:cubicBezTo>
                  <a:pt x="2639" y="931"/>
                  <a:pt x="2640" y="934"/>
                  <a:pt x="2640" y="935"/>
                </a:cubicBezTo>
                <a:cubicBezTo>
                  <a:pt x="2640" y="938"/>
                  <a:pt x="2639" y="941"/>
                  <a:pt x="2633" y="942"/>
                </a:cubicBezTo>
                <a:close/>
                <a:moveTo>
                  <a:pt x="2688" y="950"/>
                </a:moveTo>
                <a:cubicBezTo>
                  <a:pt x="2688" y="950"/>
                  <a:pt x="2688" y="950"/>
                  <a:pt x="2688" y="950"/>
                </a:cubicBezTo>
                <a:cubicBezTo>
                  <a:pt x="2688" y="942"/>
                  <a:pt x="2688" y="942"/>
                  <a:pt x="2688" y="942"/>
                </a:cubicBezTo>
                <a:cubicBezTo>
                  <a:pt x="2682" y="941"/>
                  <a:pt x="2681" y="938"/>
                  <a:pt x="2681" y="935"/>
                </a:cubicBezTo>
                <a:cubicBezTo>
                  <a:pt x="2681" y="934"/>
                  <a:pt x="2681" y="931"/>
                  <a:pt x="2682" y="929"/>
                </a:cubicBezTo>
                <a:cubicBezTo>
                  <a:pt x="2682" y="926"/>
                  <a:pt x="2682" y="923"/>
                  <a:pt x="2682" y="921"/>
                </a:cubicBezTo>
                <a:cubicBezTo>
                  <a:pt x="2682" y="913"/>
                  <a:pt x="2677" y="909"/>
                  <a:pt x="2668" y="909"/>
                </a:cubicBezTo>
                <a:cubicBezTo>
                  <a:pt x="2668" y="909"/>
                  <a:pt x="2668" y="909"/>
                  <a:pt x="2664" y="909"/>
                </a:cubicBezTo>
                <a:cubicBezTo>
                  <a:pt x="2664" y="909"/>
                  <a:pt x="2664" y="909"/>
                  <a:pt x="2664" y="918"/>
                </a:cubicBezTo>
                <a:cubicBezTo>
                  <a:pt x="2664" y="918"/>
                  <a:pt x="2664" y="918"/>
                  <a:pt x="2665" y="918"/>
                </a:cubicBezTo>
                <a:cubicBezTo>
                  <a:pt x="2669" y="918"/>
                  <a:pt x="2670" y="920"/>
                  <a:pt x="2670" y="924"/>
                </a:cubicBezTo>
                <a:cubicBezTo>
                  <a:pt x="2670" y="925"/>
                  <a:pt x="2670" y="927"/>
                  <a:pt x="2670" y="928"/>
                </a:cubicBezTo>
                <a:cubicBezTo>
                  <a:pt x="2670" y="930"/>
                  <a:pt x="2670" y="932"/>
                  <a:pt x="2670" y="935"/>
                </a:cubicBezTo>
                <a:cubicBezTo>
                  <a:pt x="2670" y="942"/>
                  <a:pt x="2672" y="944"/>
                  <a:pt x="2678" y="946"/>
                </a:cubicBezTo>
                <a:cubicBezTo>
                  <a:pt x="2678" y="946"/>
                  <a:pt x="2678" y="946"/>
                  <a:pt x="2678" y="946"/>
                </a:cubicBezTo>
                <a:cubicBezTo>
                  <a:pt x="2672" y="947"/>
                  <a:pt x="2670" y="950"/>
                  <a:pt x="2670" y="957"/>
                </a:cubicBezTo>
                <a:cubicBezTo>
                  <a:pt x="2670" y="959"/>
                  <a:pt x="2670" y="962"/>
                  <a:pt x="2670" y="963"/>
                </a:cubicBezTo>
                <a:cubicBezTo>
                  <a:pt x="2670" y="965"/>
                  <a:pt x="2670" y="966"/>
                  <a:pt x="2670" y="968"/>
                </a:cubicBezTo>
                <a:cubicBezTo>
                  <a:pt x="2670" y="971"/>
                  <a:pt x="2669" y="974"/>
                  <a:pt x="2665" y="974"/>
                </a:cubicBezTo>
                <a:cubicBezTo>
                  <a:pt x="2665" y="974"/>
                  <a:pt x="2665" y="974"/>
                  <a:pt x="2664" y="974"/>
                </a:cubicBezTo>
                <a:cubicBezTo>
                  <a:pt x="2664" y="974"/>
                  <a:pt x="2664" y="974"/>
                  <a:pt x="2664" y="983"/>
                </a:cubicBezTo>
                <a:cubicBezTo>
                  <a:pt x="2664" y="983"/>
                  <a:pt x="2664" y="983"/>
                  <a:pt x="2668" y="983"/>
                </a:cubicBezTo>
                <a:cubicBezTo>
                  <a:pt x="2676" y="983"/>
                  <a:pt x="2682" y="980"/>
                  <a:pt x="2682" y="970"/>
                </a:cubicBezTo>
                <a:cubicBezTo>
                  <a:pt x="2682" y="968"/>
                  <a:pt x="2682" y="966"/>
                  <a:pt x="2682" y="963"/>
                </a:cubicBezTo>
                <a:cubicBezTo>
                  <a:pt x="2681" y="960"/>
                  <a:pt x="2681" y="958"/>
                  <a:pt x="2681" y="956"/>
                </a:cubicBezTo>
                <a:cubicBezTo>
                  <a:pt x="2681" y="953"/>
                  <a:pt x="2682" y="950"/>
                  <a:pt x="2688" y="950"/>
                </a:cubicBezTo>
                <a:close/>
                <a:moveTo>
                  <a:pt x="2871" y="983"/>
                </a:moveTo>
                <a:cubicBezTo>
                  <a:pt x="2864" y="983"/>
                  <a:pt x="2857" y="980"/>
                  <a:pt x="2853" y="974"/>
                </a:cubicBezTo>
                <a:cubicBezTo>
                  <a:pt x="2849" y="968"/>
                  <a:pt x="2847" y="959"/>
                  <a:pt x="2847" y="946"/>
                </a:cubicBezTo>
                <a:cubicBezTo>
                  <a:pt x="2847" y="933"/>
                  <a:pt x="2849" y="924"/>
                  <a:pt x="2853" y="917"/>
                </a:cubicBezTo>
                <a:cubicBezTo>
                  <a:pt x="2858" y="911"/>
                  <a:pt x="2864" y="907"/>
                  <a:pt x="2873" y="907"/>
                </a:cubicBezTo>
                <a:cubicBezTo>
                  <a:pt x="2890" y="907"/>
                  <a:pt x="2898" y="919"/>
                  <a:pt x="2898" y="945"/>
                </a:cubicBezTo>
                <a:cubicBezTo>
                  <a:pt x="2898" y="957"/>
                  <a:pt x="2895" y="967"/>
                  <a:pt x="2890" y="973"/>
                </a:cubicBezTo>
                <a:cubicBezTo>
                  <a:pt x="2886" y="980"/>
                  <a:pt x="2879" y="983"/>
                  <a:pt x="2871" y="983"/>
                </a:cubicBezTo>
                <a:close/>
                <a:moveTo>
                  <a:pt x="2873" y="917"/>
                </a:moveTo>
                <a:cubicBezTo>
                  <a:pt x="2863" y="917"/>
                  <a:pt x="2859" y="927"/>
                  <a:pt x="2859" y="946"/>
                </a:cubicBezTo>
                <a:cubicBezTo>
                  <a:pt x="2859" y="965"/>
                  <a:pt x="2863" y="973"/>
                  <a:pt x="2872" y="973"/>
                </a:cubicBezTo>
                <a:cubicBezTo>
                  <a:pt x="2881" y="973"/>
                  <a:pt x="2885" y="965"/>
                  <a:pt x="2885" y="946"/>
                </a:cubicBezTo>
                <a:cubicBezTo>
                  <a:pt x="2885" y="926"/>
                  <a:pt x="2881" y="917"/>
                  <a:pt x="2873" y="917"/>
                </a:cubicBezTo>
                <a:close/>
                <a:moveTo>
                  <a:pt x="2941" y="983"/>
                </a:moveTo>
                <a:cubicBezTo>
                  <a:pt x="2934" y="983"/>
                  <a:pt x="2928" y="980"/>
                  <a:pt x="2924" y="974"/>
                </a:cubicBezTo>
                <a:cubicBezTo>
                  <a:pt x="2919" y="968"/>
                  <a:pt x="2917" y="959"/>
                  <a:pt x="2917" y="946"/>
                </a:cubicBezTo>
                <a:cubicBezTo>
                  <a:pt x="2917" y="933"/>
                  <a:pt x="2919" y="924"/>
                  <a:pt x="2924" y="917"/>
                </a:cubicBezTo>
                <a:cubicBezTo>
                  <a:pt x="2928" y="911"/>
                  <a:pt x="2935" y="907"/>
                  <a:pt x="2944" y="907"/>
                </a:cubicBezTo>
                <a:cubicBezTo>
                  <a:pt x="2960" y="907"/>
                  <a:pt x="2968" y="919"/>
                  <a:pt x="2968" y="945"/>
                </a:cubicBezTo>
                <a:cubicBezTo>
                  <a:pt x="2968" y="957"/>
                  <a:pt x="2966" y="967"/>
                  <a:pt x="2961" y="973"/>
                </a:cubicBezTo>
                <a:cubicBezTo>
                  <a:pt x="2956" y="980"/>
                  <a:pt x="2950" y="983"/>
                  <a:pt x="2941" y="983"/>
                </a:cubicBezTo>
                <a:close/>
                <a:moveTo>
                  <a:pt x="2943" y="917"/>
                </a:moveTo>
                <a:cubicBezTo>
                  <a:pt x="2934" y="917"/>
                  <a:pt x="2929" y="927"/>
                  <a:pt x="2929" y="946"/>
                </a:cubicBezTo>
                <a:cubicBezTo>
                  <a:pt x="2929" y="965"/>
                  <a:pt x="2933" y="973"/>
                  <a:pt x="2942" y="973"/>
                </a:cubicBezTo>
                <a:cubicBezTo>
                  <a:pt x="2951" y="973"/>
                  <a:pt x="2955" y="965"/>
                  <a:pt x="2955" y="946"/>
                </a:cubicBezTo>
                <a:cubicBezTo>
                  <a:pt x="2955" y="926"/>
                  <a:pt x="2951" y="917"/>
                  <a:pt x="2943" y="917"/>
                </a:cubicBezTo>
                <a:close/>
                <a:moveTo>
                  <a:pt x="3015" y="909"/>
                </a:moveTo>
                <a:cubicBezTo>
                  <a:pt x="3015" y="909"/>
                  <a:pt x="3015" y="909"/>
                  <a:pt x="3015" y="909"/>
                </a:cubicBezTo>
                <a:cubicBezTo>
                  <a:pt x="3010" y="909"/>
                  <a:pt x="3010" y="909"/>
                  <a:pt x="3010" y="909"/>
                </a:cubicBezTo>
                <a:cubicBezTo>
                  <a:pt x="3007" y="911"/>
                  <a:pt x="3006" y="912"/>
                  <a:pt x="3004" y="913"/>
                </a:cubicBezTo>
                <a:cubicBezTo>
                  <a:pt x="3002" y="915"/>
                  <a:pt x="3001" y="915"/>
                  <a:pt x="2998" y="916"/>
                </a:cubicBezTo>
                <a:cubicBezTo>
                  <a:pt x="2997" y="917"/>
                  <a:pt x="2995" y="918"/>
                  <a:pt x="2993" y="919"/>
                </a:cubicBezTo>
                <a:cubicBezTo>
                  <a:pt x="2991" y="920"/>
                  <a:pt x="2990" y="920"/>
                  <a:pt x="2987" y="920"/>
                </a:cubicBezTo>
                <a:cubicBezTo>
                  <a:pt x="2987" y="920"/>
                  <a:pt x="2987" y="920"/>
                  <a:pt x="2987" y="931"/>
                </a:cubicBezTo>
                <a:cubicBezTo>
                  <a:pt x="2990" y="930"/>
                  <a:pt x="2993" y="929"/>
                  <a:pt x="2996" y="928"/>
                </a:cubicBezTo>
                <a:cubicBezTo>
                  <a:pt x="2998" y="927"/>
                  <a:pt x="3001" y="925"/>
                  <a:pt x="3003" y="924"/>
                </a:cubicBezTo>
                <a:cubicBezTo>
                  <a:pt x="3003" y="924"/>
                  <a:pt x="3003" y="924"/>
                  <a:pt x="3003" y="983"/>
                </a:cubicBezTo>
                <a:cubicBezTo>
                  <a:pt x="3003" y="983"/>
                  <a:pt x="3003" y="983"/>
                  <a:pt x="3015" y="983"/>
                </a:cubicBezTo>
                <a:cubicBezTo>
                  <a:pt x="3015" y="983"/>
                  <a:pt x="3015" y="983"/>
                  <a:pt x="3015" y="909"/>
                </a:cubicBezTo>
                <a:close/>
                <a:moveTo>
                  <a:pt x="3061" y="909"/>
                </a:moveTo>
                <a:cubicBezTo>
                  <a:pt x="3061" y="909"/>
                  <a:pt x="3061" y="909"/>
                  <a:pt x="3061" y="909"/>
                </a:cubicBezTo>
                <a:cubicBezTo>
                  <a:pt x="3056" y="909"/>
                  <a:pt x="3056" y="909"/>
                  <a:pt x="3056" y="909"/>
                </a:cubicBezTo>
                <a:cubicBezTo>
                  <a:pt x="3054" y="911"/>
                  <a:pt x="3053" y="912"/>
                  <a:pt x="3050" y="913"/>
                </a:cubicBezTo>
                <a:cubicBezTo>
                  <a:pt x="3049" y="915"/>
                  <a:pt x="3047" y="915"/>
                  <a:pt x="3045" y="916"/>
                </a:cubicBezTo>
                <a:cubicBezTo>
                  <a:pt x="3044" y="917"/>
                  <a:pt x="3042" y="918"/>
                  <a:pt x="3040" y="919"/>
                </a:cubicBezTo>
                <a:cubicBezTo>
                  <a:pt x="3038" y="920"/>
                  <a:pt x="3037" y="920"/>
                  <a:pt x="3034" y="920"/>
                </a:cubicBezTo>
                <a:cubicBezTo>
                  <a:pt x="3034" y="920"/>
                  <a:pt x="3034" y="920"/>
                  <a:pt x="3034" y="931"/>
                </a:cubicBezTo>
                <a:cubicBezTo>
                  <a:pt x="3037" y="930"/>
                  <a:pt x="3040" y="929"/>
                  <a:pt x="3042" y="928"/>
                </a:cubicBezTo>
                <a:cubicBezTo>
                  <a:pt x="3045" y="927"/>
                  <a:pt x="3047" y="925"/>
                  <a:pt x="3050" y="924"/>
                </a:cubicBezTo>
                <a:cubicBezTo>
                  <a:pt x="3050" y="924"/>
                  <a:pt x="3050" y="924"/>
                  <a:pt x="3050" y="983"/>
                </a:cubicBezTo>
                <a:cubicBezTo>
                  <a:pt x="3050" y="983"/>
                  <a:pt x="3050" y="983"/>
                  <a:pt x="3061" y="983"/>
                </a:cubicBezTo>
                <a:cubicBezTo>
                  <a:pt x="3061" y="983"/>
                  <a:pt x="3061" y="983"/>
                  <a:pt x="3061" y="909"/>
                </a:cubicBezTo>
                <a:close/>
                <a:moveTo>
                  <a:pt x="3107" y="909"/>
                </a:moveTo>
                <a:cubicBezTo>
                  <a:pt x="3107" y="909"/>
                  <a:pt x="3107" y="909"/>
                  <a:pt x="3107" y="909"/>
                </a:cubicBezTo>
                <a:cubicBezTo>
                  <a:pt x="3103" y="909"/>
                  <a:pt x="3103" y="909"/>
                  <a:pt x="3103" y="909"/>
                </a:cubicBezTo>
                <a:cubicBezTo>
                  <a:pt x="3100" y="911"/>
                  <a:pt x="3099" y="912"/>
                  <a:pt x="3097" y="913"/>
                </a:cubicBezTo>
                <a:cubicBezTo>
                  <a:pt x="3095" y="915"/>
                  <a:pt x="3093" y="915"/>
                  <a:pt x="3092" y="916"/>
                </a:cubicBezTo>
                <a:cubicBezTo>
                  <a:pt x="3090" y="917"/>
                  <a:pt x="3088" y="917"/>
                  <a:pt x="3086" y="918"/>
                </a:cubicBezTo>
                <a:cubicBezTo>
                  <a:pt x="3085" y="919"/>
                  <a:pt x="3082" y="920"/>
                  <a:pt x="3081" y="920"/>
                </a:cubicBezTo>
                <a:cubicBezTo>
                  <a:pt x="3081" y="920"/>
                  <a:pt x="3081" y="920"/>
                  <a:pt x="3081" y="931"/>
                </a:cubicBezTo>
                <a:cubicBezTo>
                  <a:pt x="3084" y="930"/>
                  <a:pt x="3087" y="928"/>
                  <a:pt x="3089" y="928"/>
                </a:cubicBezTo>
                <a:cubicBezTo>
                  <a:pt x="3091" y="927"/>
                  <a:pt x="3094" y="925"/>
                  <a:pt x="3095" y="924"/>
                </a:cubicBezTo>
                <a:cubicBezTo>
                  <a:pt x="3095" y="924"/>
                  <a:pt x="3095" y="924"/>
                  <a:pt x="3095" y="983"/>
                </a:cubicBezTo>
                <a:cubicBezTo>
                  <a:pt x="3095" y="983"/>
                  <a:pt x="3095" y="983"/>
                  <a:pt x="3107" y="983"/>
                </a:cubicBezTo>
                <a:cubicBezTo>
                  <a:pt x="3107" y="983"/>
                  <a:pt x="3107" y="983"/>
                  <a:pt x="3107" y="909"/>
                </a:cubicBezTo>
                <a:close/>
                <a:moveTo>
                  <a:pt x="2916" y="874"/>
                </a:moveTo>
                <a:cubicBezTo>
                  <a:pt x="2909" y="874"/>
                  <a:pt x="2902" y="872"/>
                  <a:pt x="2898" y="866"/>
                </a:cubicBezTo>
                <a:cubicBezTo>
                  <a:pt x="2894" y="859"/>
                  <a:pt x="2892" y="850"/>
                  <a:pt x="2892" y="838"/>
                </a:cubicBezTo>
                <a:cubicBezTo>
                  <a:pt x="2892" y="825"/>
                  <a:pt x="2894" y="815"/>
                  <a:pt x="2898" y="808"/>
                </a:cubicBezTo>
                <a:cubicBezTo>
                  <a:pt x="2903" y="802"/>
                  <a:pt x="2909" y="798"/>
                  <a:pt x="2918" y="798"/>
                </a:cubicBezTo>
                <a:cubicBezTo>
                  <a:pt x="2934" y="798"/>
                  <a:pt x="2942" y="811"/>
                  <a:pt x="2942" y="836"/>
                </a:cubicBezTo>
                <a:cubicBezTo>
                  <a:pt x="2942" y="849"/>
                  <a:pt x="2940" y="858"/>
                  <a:pt x="2935" y="865"/>
                </a:cubicBezTo>
                <a:cubicBezTo>
                  <a:pt x="2931" y="872"/>
                  <a:pt x="2924" y="874"/>
                  <a:pt x="2916" y="874"/>
                </a:cubicBezTo>
                <a:close/>
                <a:moveTo>
                  <a:pt x="2917" y="808"/>
                </a:moveTo>
                <a:cubicBezTo>
                  <a:pt x="2908" y="808"/>
                  <a:pt x="2904" y="818"/>
                  <a:pt x="2904" y="838"/>
                </a:cubicBezTo>
                <a:cubicBezTo>
                  <a:pt x="2904" y="856"/>
                  <a:pt x="2908" y="865"/>
                  <a:pt x="2917" y="865"/>
                </a:cubicBezTo>
                <a:cubicBezTo>
                  <a:pt x="2925" y="865"/>
                  <a:pt x="2930" y="856"/>
                  <a:pt x="2930" y="837"/>
                </a:cubicBezTo>
                <a:cubicBezTo>
                  <a:pt x="2930" y="817"/>
                  <a:pt x="2925" y="808"/>
                  <a:pt x="2917" y="808"/>
                </a:cubicBezTo>
                <a:close/>
                <a:moveTo>
                  <a:pt x="2990" y="801"/>
                </a:moveTo>
                <a:cubicBezTo>
                  <a:pt x="2990" y="801"/>
                  <a:pt x="2990" y="801"/>
                  <a:pt x="2990" y="801"/>
                </a:cubicBezTo>
                <a:cubicBezTo>
                  <a:pt x="2985" y="801"/>
                  <a:pt x="2985" y="801"/>
                  <a:pt x="2985" y="801"/>
                </a:cubicBezTo>
                <a:cubicBezTo>
                  <a:pt x="2983" y="802"/>
                  <a:pt x="2981" y="804"/>
                  <a:pt x="2979" y="805"/>
                </a:cubicBezTo>
                <a:cubicBezTo>
                  <a:pt x="2978" y="806"/>
                  <a:pt x="2975" y="807"/>
                  <a:pt x="2974" y="808"/>
                </a:cubicBezTo>
                <a:cubicBezTo>
                  <a:pt x="2972" y="808"/>
                  <a:pt x="2970" y="809"/>
                  <a:pt x="2969" y="810"/>
                </a:cubicBezTo>
                <a:cubicBezTo>
                  <a:pt x="2967" y="810"/>
                  <a:pt x="2965" y="811"/>
                  <a:pt x="2963" y="812"/>
                </a:cubicBezTo>
                <a:cubicBezTo>
                  <a:pt x="2963" y="812"/>
                  <a:pt x="2963" y="812"/>
                  <a:pt x="2963" y="822"/>
                </a:cubicBezTo>
                <a:cubicBezTo>
                  <a:pt x="2966" y="821"/>
                  <a:pt x="2969" y="820"/>
                  <a:pt x="2971" y="819"/>
                </a:cubicBezTo>
                <a:cubicBezTo>
                  <a:pt x="2974" y="818"/>
                  <a:pt x="2976" y="817"/>
                  <a:pt x="2978" y="816"/>
                </a:cubicBezTo>
                <a:cubicBezTo>
                  <a:pt x="2978" y="816"/>
                  <a:pt x="2978" y="816"/>
                  <a:pt x="2978" y="874"/>
                </a:cubicBezTo>
                <a:cubicBezTo>
                  <a:pt x="2978" y="874"/>
                  <a:pt x="2978" y="874"/>
                  <a:pt x="2990" y="874"/>
                </a:cubicBezTo>
                <a:cubicBezTo>
                  <a:pt x="2990" y="874"/>
                  <a:pt x="2990" y="874"/>
                  <a:pt x="2990" y="801"/>
                </a:cubicBezTo>
                <a:close/>
                <a:moveTo>
                  <a:pt x="3037" y="801"/>
                </a:moveTo>
                <a:cubicBezTo>
                  <a:pt x="3037" y="801"/>
                  <a:pt x="3037" y="801"/>
                  <a:pt x="3037" y="801"/>
                </a:cubicBezTo>
                <a:cubicBezTo>
                  <a:pt x="3032" y="801"/>
                  <a:pt x="3032" y="801"/>
                  <a:pt x="3032" y="801"/>
                </a:cubicBezTo>
                <a:cubicBezTo>
                  <a:pt x="3030" y="802"/>
                  <a:pt x="3029" y="804"/>
                  <a:pt x="3026" y="805"/>
                </a:cubicBezTo>
                <a:cubicBezTo>
                  <a:pt x="3025" y="806"/>
                  <a:pt x="3023" y="807"/>
                  <a:pt x="3021" y="808"/>
                </a:cubicBezTo>
                <a:cubicBezTo>
                  <a:pt x="3020" y="809"/>
                  <a:pt x="3018" y="810"/>
                  <a:pt x="3016" y="810"/>
                </a:cubicBezTo>
                <a:cubicBezTo>
                  <a:pt x="3014" y="811"/>
                  <a:pt x="3013" y="812"/>
                  <a:pt x="3010" y="812"/>
                </a:cubicBezTo>
                <a:cubicBezTo>
                  <a:pt x="3010" y="812"/>
                  <a:pt x="3010" y="812"/>
                  <a:pt x="3010" y="822"/>
                </a:cubicBezTo>
                <a:cubicBezTo>
                  <a:pt x="3013" y="821"/>
                  <a:pt x="3016" y="821"/>
                  <a:pt x="3018" y="819"/>
                </a:cubicBezTo>
                <a:cubicBezTo>
                  <a:pt x="3021" y="818"/>
                  <a:pt x="3023" y="817"/>
                  <a:pt x="3026" y="816"/>
                </a:cubicBezTo>
                <a:cubicBezTo>
                  <a:pt x="3026" y="816"/>
                  <a:pt x="3026" y="816"/>
                  <a:pt x="3026" y="874"/>
                </a:cubicBezTo>
                <a:cubicBezTo>
                  <a:pt x="3026" y="874"/>
                  <a:pt x="3026" y="874"/>
                  <a:pt x="3037" y="874"/>
                </a:cubicBezTo>
                <a:cubicBezTo>
                  <a:pt x="3037" y="874"/>
                  <a:pt x="3037" y="874"/>
                  <a:pt x="3037" y="801"/>
                </a:cubicBezTo>
                <a:close/>
                <a:moveTo>
                  <a:pt x="3084" y="801"/>
                </a:moveTo>
                <a:cubicBezTo>
                  <a:pt x="3084" y="801"/>
                  <a:pt x="3084" y="801"/>
                  <a:pt x="3084" y="801"/>
                </a:cubicBezTo>
                <a:cubicBezTo>
                  <a:pt x="3079" y="801"/>
                  <a:pt x="3079" y="801"/>
                  <a:pt x="3079" y="801"/>
                </a:cubicBezTo>
                <a:cubicBezTo>
                  <a:pt x="3077" y="802"/>
                  <a:pt x="3076" y="804"/>
                  <a:pt x="3074" y="805"/>
                </a:cubicBezTo>
                <a:cubicBezTo>
                  <a:pt x="3072" y="806"/>
                  <a:pt x="3070" y="807"/>
                  <a:pt x="3068" y="808"/>
                </a:cubicBezTo>
                <a:cubicBezTo>
                  <a:pt x="3066" y="809"/>
                  <a:pt x="3065" y="810"/>
                  <a:pt x="3063" y="810"/>
                </a:cubicBezTo>
                <a:cubicBezTo>
                  <a:pt x="3061" y="811"/>
                  <a:pt x="3059" y="812"/>
                  <a:pt x="3057" y="812"/>
                </a:cubicBezTo>
                <a:cubicBezTo>
                  <a:pt x="3057" y="812"/>
                  <a:pt x="3057" y="812"/>
                  <a:pt x="3057" y="822"/>
                </a:cubicBezTo>
                <a:cubicBezTo>
                  <a:pt x="3060" y="821"/>
                  <a:pt x="3063" y="821"/>
                  <a:pt x="3066" y="819"/>
                </a:cubicBezTo>
                <a:cubicBezTo>
                  <a:pt x="3068" y="818"/>
                  <a:pt x="3071" y="817"/>
                  <a:pt x="3072" y="816"/>
                </a:cubicBezTo>
                <a:cubicBezTo>
                  <a:pt x="3072" y="816"/>
                  <a:pt x="3072" y="816"/>
                  <a:pt x="3072" y="874"/>
                </a:cubicBezTo>
                <a:cubicBezTo>
                  <a:pt x="3072" y="874"/>
                  <a:pt x="3072" y="874"/>
                  <a:pt x="3084" y="874"/>
                </a:cubicBezTo>
                <a:cubicBezTo>
                  <a:pt x="3084" y="874"/>
                  <a:pt x="3084" y="874"/>
                  <a:pt x="3084" y="801"/>
                </a:cubicBezTo>
                <a:close/>
                <a:moveTo>
                  <a:pt x="3131" y="801"/>
                </a:moveTo>
                <a:cubicBezTo>
                  <a:pt x="3131" y="801"/>
                  <a:pt x="3131" y="801"/>
                  <a:pt x="3131" y="801"/>
                </a:cubicBezTo>
                <a:cubicBezTo>
                  <a:pt x="3126" y="801"/>
                  <a:pt x="3126" y="801"/>
                  <a:pt x="3126" y="801"/>
                </a:cubicBezTo>
                <a:cubicBezTo>
                  <a:pt x="3124" y="802"/>
                  <a:pt x="3123" y="804"/>
                  <a:pt x="3120" y="805"/>
                </a:cubicBezTo>
                <a:cubicBezTo>
                  <a:pt x="3119" y="806"/>
                  <a:pt x="3117" y="807"/>
                  <a:pt x="3115" y="808"/>
                </a:cubicBezTo>
                <a:cubicBezTo>
                  <a:pt x="3114" y="809"/>
                  <a:pt x="3111" y="810"/>
                  <a:pt x="3110" y="810"/>
                </a:cubicBezTo>
                <a:cubicBezTo>
                  <a:pt x="3108" y="811"/>
                  <a:pt x="3106" y="812"/>
                  <a:pt x="3104" y="812"/>
                </a:cubicBezTo>
                <a:cubicBezTo>
                  <a:pt x="3104" y="812"/>
                  <a:pt x="3104" y="812"/>
                  <a:pt x="3104" y="822"/>
                </a:cubicBezTo>
                <a:cubicBezTo>
                  <a:pt x="3107" y="821"/>
                  <a:pt x="3110" y="821"/>
                  <a:pt x="3112" y="819"/>
                </a:cubicBezTo>
                <a:cubicBezTo>
                  <a:pt x="3115" y="818"/>
                  <a:pt x="3117" y="817"/>
                  <a:pt x="3120" y="816"/>
                </a:cubicBezTo>
                <a:cubicBezTo>
                  <a:pt x="3120" y="816"/>
                  <a:pt x="3120" y="816"/>
                  <a:pt x="3120" y="874"/>
                </a:cubicBezTo>
                <a:cubicBezTo>
                  <a:pt x="3120" y="874"/>
                  <a:pt x="3120" y="874"/>
                  <a:pt x="3131" y="874"/>
                </a:cubicBezTo>
                <a:cubicBezTo>
                  <a:pt x="3131" y="874"/>
                  <a:pt x="3131" y="874"/>
                  <a:pt x="3131" y="801"/>
                </a:cubicBezTo>
                <a:close/>
                <a:moveTo>
                  <a:pt x="3254" y="801"/>
                </a:moveTo>
                <a:cubicBezTo>
                  <a:pt x="3254" y="801"/>
                  <a:pt x="3254" y="801"/>
                  <a:pt x="3254" y="801"/>
                </a:cubicBezTo>
                <a:cubicBezTo>
                  <a:pt x="3249" y="801"/>
                  <a:pt x="3249" y="801"/>
                  <a:pt x="3249" y="801"/>
                </a:cubicBezTo>
                <a:cubicBezTo>
                  <a:pt x="3247" y="802"/>
                  <a:pt x="3246" y="804"/>
                  <a:pt x="3243" y="805"/>
                </a:cubicBezTo>
                <a:cubicBezTo>
                  <a:pt x="3242" y="806"/>
                  <a:pt x="3240" y="807"/>
                  <a:pt x="3238" y="808"/>
                </a:cubicBezTo>
                <a:cubicBezTo>
                  <a:pt x="3237" y="809"/>
                  <a:pt x="3235" y="810"/>
                  <a:pt x="3233" y="810"/>
                </a:cubicBezTo>
                <a:cubicBezTo>
                  <a:pt x="3231" y="811"/>
                  <a:pt x="3230" y="812"/>
                  <a:pt x="3227" y="812"/>
                </a:cubicBezTo>
                <a:cubicBezTo>
                  <a:pt x="3227" y="812"/>
                  <a:pt x="3227" y="812"/>
                  <a:pt x="3227" y="822"/>
                </a:cubicBezTo>
                <a:cubicBezTo>
                  <a:pt x="3230" y="821"/>
                  <a:pt x="3233" y="821"/>
                  <a:pt x="3236" y="819"/>
                </a:cubicBezTo>
                <a:cubicBezTo>
                  <a:pt x="3238" y="818"/>
                  <a:pt x="3240" y="817"/>
                  <a:pt x="3243" y="816"/>
                </a:cubicBezTo>
                <a:cubicBezTo>
                  <a:pt x="3243" y="816"/>
                  <a:pt x="3243" y="816"/>
                  <a:pt x="3243" y="874"/>
                </a:cubicBezTo>
                <a:cubicBezTo>
                  <a:pt x="3243" y="874"/>
                  <a:pt x="3243" y="874"/>
                  <a:pt x="3254" y="874"/>
                </a:cubicBezTo>
                <a:cubicBezTo>
                  <a:pt x="3254" y="874"/>
                  <a:pt x="3254" y="874"/>
                  <a:pt x="3254" y="801"/>
                </a:cubicBezTo>
                <a:close/>
                <a:moveTo>
                  <a:pt x="3302" y="801"/>
                </a:moveTo>
                <a:cubicBezTo>
                  <a:pt x="3302" y="801"/>
                  <a:pt x="3302" y="801"/>
                  <a:pt x="3302" y="801"/>
                </a:cubicBezTo>
                <a:cubicBezTo>
                  <a:pt x="3297" y="801"/>
                  <a:pt x="3297" y="801"/>
                  <a:pt x="3297" y="801"/>
                </a:cubicBezTo>
                <a:cubicBezTo>
                  <a:pt x="3295" y="802"/>
                  <a:pt x="3293" y="804"/>
                  <a:pt x="3291" y="805"/>
                </a:cubicBezTo>
                <a:cubicBezTo>
                  <a:pt x="3290" y="806"/>
                  <a:pt x="3287" y="807"/>
                  <a:pt x="3286" y="808"/>
                </a:cubicBezTo>
                <a:cubicBezTo>
                  <a:pt x="3285" y="809"/>
                  <a:pt x="3282" y="810"/>
                  <a:pt x="3281" y="810"/>
                </a:cubicBezTo>
                <a:cubicBezTo>
                  <a:pt x="3279" y="811"/>
                  <a:pt x="3277" y="812"/>
                  <a:pt x="3275" y="812"/>
                </a:cubicBezTo>
                <a:cubicBezTo>
                  <a:pt x="3275" y="812"/>
                  <a:pt x="3275" y="812"/>
                  <a:pt x="3275" y="822"/>
                </a:cubicBezTo>
                <a:cubicBezTo>
                  <a:pt x="3278" y="821"/>
                  <a:pt x="3281" y="821"/>
                  <a:pt x="3283" y="819"/>
                </a:cubicBezTo>
                <a:cubicBezTo>
                  <a:pt x="3286" y="818"/>
                  <a:pt x="3288" y="817"/>
                  <a:pt x="3290" y="816"/>
                </a:cubicBezTo>
                <a:cubicBezTo>
                  <a:pt x="3290" y="816"/>
                  <a:pt x="3290" y="816"/>
                  <a:pt x="3290" y="874"/>
                </a:cubicBezTo>
                <a:cubicBezTo>
                  <a:pt x="3290" y="874"/>
                  <a:pt x="3290" y="874"/>
                  <a:pt x="3302" y="874"/>
                </a:cubicBezTo>
                <a:cubicBezTo>
                  <a:pt x="3302" y="874"/>
                  <a:pt x="3302" y="874"/>
                  <a:pt x="3302" y="801"/>
                </a:cubicBezTo>
                <a:close/>
                <a:moveTo>
                  <a:pt x="3350" y="801"/>
                </a:moveTo>
                <a:cubicBezTo>
                  <a:pt x="3350" y="801"/>
                  <a:pt x="3350" y="801"/>
                  <a:pt x="3350" y="801"/>
                </a:cubicBezTo>
                <a:cubicBezTo>
                  <a:pt x="3345" y="801"/>
                  <a:pt x="3345" y="801"/>
                  <a:pt x="3345" y="801"/>
                </a:cubicBezTo>
                <a:cubicBezTo>
                  <a:pt x="3343" y="802"/>
                  <a:pt x="3341" y="804"/>
                  <a:pt x="3339" y="805"/>
                </a:cubicBezTo>
                <a:cubicBezTo>
                  <a:pt x="3337" y="806"/>
                  <a:pt x="3336" y="807"/>
                  <a:pt x="3334" y="808"/>
                </a:cubicBezTo>
                <a:cubicBezTo>
                  <a:pt x="3332" y="809"/>
                  <a:pt x="3330" y="810"/>
                  <a:pt x="3328" y="810"/>
                </a:cubicBezTo>
                <a:cubicBezTo>
                  <a:pt x="3326" y="811"/>
                  <a:pt x="3325" y="812"/>
                  <a:pt x="3322" y="812"/>
                </a:cubicBezTo>
                <a:cubicBezTo>
                  <a:pt x="3322" y="812"/>
                  <a:pt x="3322" y="812"/>
                  <a:pt x="3322" y="822"/>
                </a:cubicBezTo>
                <a:cubicBezTo>
                  <a:pt x="3325" y="821"/>
                  <a:pt x="3328" y="821"/>
                  <a:pt x="3331" y="819"/>
                </a:cubicBezTo>
                <a:cubicBezTo>
                  <a:pt x="3334" y="818"/>
                  <a:pt x="3336" y="817"/>
                  <a:pt x="3338" y="816"/>
                </a:cubicBezTo>
                <a:cubicBezTo>
                  <a:pt x="3338" y="816"/>
                  <a:pt x="3338" y="816"/>
                  <a:pt x="3338" y="874"/>
                </a:cubicBezTo>
                <a:cubicBezTo>
                  <a:pt x="3338" y="874"/>
                  <a:pt x="3338" y="874"/>
                  <a:pt x="3350" y="874"/>
                </a:cubicBezTo>
                <a:cubicBezTo>
                  <a:pt x="3350" y="874"/>
                  <a:pt x="3350" y="874"/>
                  <a:pt x="3350" y="801"/>
                </a:cubicBezTo>
                <a:close/>
                <a:moveTo>
                  <a:pt x="3396" y="801"/>
                </a:moveTo>
                <a:cubicBezTo>
                  <a:pt x="3396" y="801"/>
                  <a:pt x="3396" y="801"/>
                  <a:pt x="3396" y="801"/>
                </a:cubicBezTo>
                <a:cubicBezTo>
                  <a:pt x="3392" y="801"/>
                  <a:pt x="3392" y="801"/>
                  <a:pt x="3392" y="801"/>
                </a:cubicBezTo>
                <a:cubicBezTo>
                  <a:pt x="3390" y="802"/>
                  <a:pt x="3388" y="804"/>
                  <a:pt x="3386" y="805"/>
                </a:cubicBezTo>
                <a:cubicBezTo>
                  <a:pt x="3385" y="806"/>
                  <a:pt x="3383" y="807"/>
                  <a:pt x="3381" y="808"/>
                </a:cubicBezTo>
                <a:cubicBezTo>
                  <a:pt x="3379" y="808"/>
                  <a:pt x="3378" y="809"/>
                  <a:pt x="3375" y="810"/>
                </a:cubicBezTo>
                <a:cubicBezTo>
                  <a:pt x="3374" y="810"/>
                  <a:pt x="3372" y="811"/>
                  <a:pt x="3370" y="812"/>
                </a:cubicBezTo>
                <a:cubicBezTo>
                  <a:pt x="3370" y="812"/>
                  <a:pt x="3370" y="812"/>
                  <a:pt x="3370" y="822"/>
                </a:cubicBezTo>
                <a:cubicBezTo>
                  <a:pt x="3373" y="821"/>
                  <a:pt x="3376" y="820"/>
                  <a:pt x="3378" y="819"/>
                </a:cubicBezTo>
                <a:cubicBezTo>
                  <a:pt x="3380" y="818"/>
                  <a:pt x="3383" y="817"/>
                  <a:pt x="3385" y="816"/>
                </a:cubicBezTo>
                <a:cubicBezTo>
                  <a:pt x="3385" y="816"/>
                  <a:pt x="3385" y="816"/>
                  <a:pt x="3385" y="874"/>
                </a:cubicBezTo>
                <a:cubicBezTo>
                  <a:pt x="3385" y="874"/>
                  <a:pt x="3385" y="874"/>
                  <a:pt x="3396" y="874"/>
                </a:cubicBezTo>
                <a:cubicBezTo>
                  <a:pt x="3396" y="874"/>
                  <a:pt x="3396" y="874"/>
                  <a:pt x="3396" y="801"/>
                </a:cubicBezTo>
                <a:close/>
                <a:moveTo>
                  <a:pt x="3152" y="833"/>
                </a:moveTo>
                <a:cubicBezTo>
                  <a:pt x="3152" y="833"/>
                  <a:pt x="3152" y="833"/>
                  <a:pt x="3152" y="833"/>
                </a:cubicBezTo>
                <a:cubicBezTo>
                  <a:pt x="3152" y="842"/>
                  <a:pt x="3152" y="842"/>
                  <a:pt x="3152" y="842"/>
                </a:cubicBezTo>
                <a:cubicBezTo>
                  <a:pt x="3158" y="842"/>
                  <a:pt x="3159" y="845"/>
                  <a:pt x="3159" y="848"/>
                </a:cubicBezTo>
                <a:cubicBezTo>
                  <a:pt x="3159" y="850"/>
                  <a:pt x="3159" y="852"/>
                  <a:pt x="3159" y="855"/>
                </a:cubicBezTo>
                <a:cubicBezTo>
                  <a:pt x="3158" y="857"/>
                  <a:pt x="3158" y="859"/>
                  <a:pt x="3158" y="862"/>
                </a:cubicBezTo>
                <a:cubicBezTo>
                  <a:pt x="3158" y="871"/>
                  <a:pt x="3164" y="874"/>
                  <a:pt x="3172" y="874"/>
                </a:cubicBezTo>
                <a:cubicBezTo>
                  <a:pt x="3172" y="874"/>
                  <a:pt x="3172" y="874"/>
                  <a:pt x="3176" y="874"/>
                </a:cubicBezTo>
                <a:cubicBezTo>
                  <a:pt x="3176" y="874"/>
                  <a:pt x="3176" y="874"/>
                  <a:pt x="3176" y="865"/>
                </a:cubicBezTo>
                <a:cubicBezTo>
                  <a:pt x="3176" y="865"/>
                  <a:pt x="3176" y="865"/>
                  <a:pt x="3175" y="865"/>
                </a:cubicBezTo>
                <a:cubicBezTo>
                  <a:pt x="3171" y="865"/>
                  <a:pt x="3170" y="863"/>
                  <a:pt x="3170" y="859"/>
                </a:cubicBezTo>
                <a:cubicBezTo>
                  <a:pt x="3170" y="858"/>
                  <a:pt x="3170" y="856"/>
                  <a:pt x="3170" y="855"/>
                </a:cubicBezTo>
                <a:cubicBezTo>
                  <a:pt x="3170" y="853"/>
                  <a:pt x="3170" y="851"/>
                  <a:pt x="3170" y="849"/>
                </a:cubicBezTo>
                <a:cubicBezTo>
                  <a:pt x="3170" y="841"/>
                  <a:pt x="3168" y="839"/>
                  <a:pt x="3162" y="837"/>
                </a:cubicBezTo>
                <a:cubicBezTo>
                  <a:pt x="3162" y="837"/>
                  <a:pt x="3162" y="837"/>
                  <a:pt x="3162" y="837"/>
                </a:cubicBezTo>
                <a:cubicBezTo>
                  <a:pt x="3168" y="836"/>
                  <a:pt x="3170" y="834"/>
                  <a:pt x="3170" y="826"/>
                </a:cubicBezTo>
                <a:cubicBezTo>
                  <a:pt x="3170" y="824"/>
                  <a:pt x="3170" y="822"/>
                  <a:pt x="3170" y="820"/>
                </a:cubicBezTo>
                <a:cubicBezTo>
                  <a:pt x="3170" y="818"/>
                  <a:pt x="3170" y="816"/>
                  <a:pt x="3170" y="815"/>
                </a:cubicBezTo>
                <a:cubicBezTo>
                  <a:pt x="3170" y="812"/>
                  <a:pt x="3171" y="809"/>
                  <a:pt x="3175" y="809"/>
                </a:cubicBezTo>
                <a:cubicBezTo>
                  <a:pt x="3175" y="809"/>
                  <a:pt x="3175" y="809"/>
                  <a:pt x="3176" y="809"/>
                </a:cubicBezTo>
                <a:cubicBezTo>
                  <a:pt x="3176" y="809"/>
                  <a:pt x="3176" y="809"/>
                  <a:pt x="3176" y="800"/>
                </a:cubicBezTo>
                <a:cubicBezTo>
                  <a:pt x="3176" y="800"/>
                  <a:pt x="3176" y="800"/>
                  <a:pt x="3172" y="800"/>
                </a:cubicBezTo>
                <a:cubicBezTo>
                  <a:pt x="3163" y="800"/>
                  <a:pt x="3158" y="804"/>
                  <a:pt x="3158" y="813"/>
                </a:cubicBezTo>
                <a:cubicBezTo>
                  <a:pt x="3158" y="815"/>
                  <a:pt x="3158" y="818"/>
                  <a:pt x="3158" y="820"/>
                </a:cubicBezTo>
                <a:cubicBezTo>
                  <a:pt x="3159" y="822"/>
                  <a:pt x="3159" y="825"/>
                  <a:pt x="3159" y="827"/>
                </a:cubicBezTo>
                <a:cubicBezTo>
                  <a:pt x="3159" y="830"/>
                  <a:pt x="3158" y="833"/>
                  <a:pt x="3152" y="833"/>
                </a:cubicBezTo>
                <a:close/>
                <a:moveTo>
                  <a:pt x="3207" y="842"/>
                </a:moveTo>
                <a:cubicBezTo>
                  <a:pt x="3207" y="842"/>
                  <a:pt x="3207" y="842"/>
                  <a:pt x="3207" y="842"/>
                </a:cubicBezTo>
                <a:cubicBezTo>
                  <a:pt x="3207" y="833"/>
                  <a:pt x="3207" y="833"/>
                  <a:pt x="3207" y="833"/>
                </a:cubicBezTo>
                <a:cubicBezTo>
                  <a:pt x="3200" y="833"/>
                  <a:pt x="3200" y="830"/>
                  <a:pt x="3200" y="827"/>
                </a:cubicBezTo>
                <a:cubicBezTo>
                  <a:pt x="3200" y="825"/>
                  <a:pt x="3200" y="822"/>
                  <a:pt x="3200" y="820"/>
                </a:cubicBezTo>
                <a:cubicBezTo>
                  <a:pt x="3201" y="818"/>
                  <a:pt x="3201" y="815"/>
                  <a:pt x="3201" y="813"/>
                </a:cubicBezTo>
                <a:cubicBezTo>
                  <a:pt x="3201" y="804"/>
                  <a:pt x="3196" y="800"/>
                  <a:pt x="3186" y="800"/>
                </a:cubicBezTo>
                <a:cubicBezTo>
                  <a:pt x="3186" y="800"/>
                  <a:pt x="3186" y="800"/>
                  <a:pt x="3183" y="800"/>
                </a:cubicBezTo>
                <a:cubicBezTo>
                  <a:pt x="3183" y="800"/>
                  <a:pt x="3183" y="800"/>
                  <a:pt x="3183" y="809"/>
                </a:cubicBezTo>
                <a:cubicBezTo>
                  <a:pt x="3183" y="809"/>
                  <a:pt x="3183" y="809"/>
                  <a:pt x="3184" y="809"/>
                </a:cubicBezTo>
                <a:cubicBezTo>
                  <a:pt x="3188" y="809"/>
                  <a:pt x="3189" y="812"/>
                  <a:pt x="3189" y="815"/>
                </a:cubicBezTo>
                <a:cubicBezTo>
                  <a:pt x="3189" y="816"/>
                  <a:pt x="3189" y="818"/>
                  <a:pt x="3189" y="820"/>
                </a:cubicBezTo>
                <a:cubicBezTo>
                  <a:pt x="3189" y="822"/>
                  <a:pt x="3189" y="824"/>
                  <a:pt x="3189" y="826"/>
                </a:cubicBezTo>
                <a:cubicBezTo>
                  <a:pt x="3189" y="834"/>
                  <a:pt x="3191" y="836"/>
                  <a:pt x="3197" y="837"/>
                </a:cubicBezTo>
                <a:cubicBezTo>
                  <a:pt x="3197" y="837"/>
                  <a:pt x="3197" y="837"/>
                  <a:pt x="3197" y="837"/>
                </a:cubicBezTo>
                <a:cubicBezTo>
                  <a:pt x="3191" y="839"/>
                  <a:pt x="3189" y="841"/>
                  <a:pt x="3189" y="849"/>
                </a:cubicBezTo>
                <a:cubicBezTo>
                  <a:pt x="3189" y="851"/>
                  <a:pt x="3189" y="853"/>
                  <a:pt x="3189" y="855"/>
                </a:cubicBezTo>
                <a:cubicBezTo>
                  <a:pt x="3189" y="856"/>
                  <a:pt x="3189" y="858"/>
                  <a:pt x="3189" y="859"/>
                </a:cubicBezTo>
                <a:cubicBezTo>
                  <a:pt x="3189" y="863"/>
                  <a:pt x="3188" y="865"/>
                  <a:pt x="3184" y="865"/>
                </a:cubicBezTo>
                <a:cubicBezTo>
                  <a:pt x="3184" y="865"/>
                  <a:pt x="3184" y="865"/>
                  <a:pt x="3183" y="865"/>
                </a:cubicBezTo>
                <a:cubicBezTo>
                  <a:pt x="3183" y="865"/>
                  <a:pt x="3183" y="865"/>
                  <a:pt x="3183" y="874"/>
                </a:cubicBezTo>
                <a:cubicBezTo>
                  <a:pt x="3183" y="874"/>
                  <a:pt x="3183" y="874"/>
                  <a:pt x="3186" y="874"/>
                </a:cubicBezTo>
                <a:cubicBezTo>
                  <a:pt x="3195" y="874"/>
                  <a:pt x="3201" y="871"/>
                  <a:pt x="3201" y="862"/>
                </a:cubicBezTo>
                <a:cubicBezTo>
                  <a:pt x="3201" y="859"/>
                  <a:pt x="3201" y="857"/>
                  <a:pt x="3200" y="855"/>
                </a:cubicBezTo>
                <a:cubicBezTo>
                  <a:pt x="3200" y="852"/>
                  <a:pt x="3200" y="850"/>
                  <a:pt x="3200" y="848"/>
                </a:cubicBezTo>
                <a:cubicBezTo>
                  <a:pt x="3200" y="845"/>
                  <a:pt x="3200" y="842"/>
                  <a:pt x="3207" y="842"/>
                </a:cubicBezTo>
                <a:close/>
                <a:moveTo>
                  <a:pt x="3534" y="833"/>
                </a:moveTo>
                <a:cubicBezTo>
                  <a:pt x="3534" y="833"/>
                  <a:pt x="3534" y="833"/>
                  <a:pt x="3534" y="833"/>
                </a:cubicBezTo>
                <a:cubicBezTo>
                  <a:pt x="3534" y="842"/>
                  <a:pt x="3534" y="842"/>
                  <a:pt x="3534" y="842"/>
                </a:cubicBezTo>
                <a:cubicBezTo>
                  <a:pt x="3540" y="842"/>
                  <a:pt x="3541" y="845"/>
                  <a:pt x="3541" y="848"/>
                </a:cubicBezTo>
                <a:cubicBezTo>
                  <a:pt x="3541" y="850"/>
                  <a:pt x="3541" y="852"/>
                  <a:pt x="3541" y="855"/>
                </a:cubicBezTo>
                <a:cubicBezTo>
                  <a:pt x="3540" y="857"/>
                  <a:pt x="3540" y="859"/>
                  <a:pt x="3540" y="862"/>
                </a:cubicBezTo>
                <a:cubicBezTo>
                  <a:pt x="3540" y="871"/>
                  <a:pt x="3546" y="874"/>
                  <a:pt x="3554" y="874"/>
                </a:cubicBezTo>
                <a:cubicBezTo>
                  <a:pt x="3554" y="874"/>
                  <a:pt x="3554" y="874"/>
                  <a:pt x="3558" y="874"/>
                </a:cubicBezTo>
                <a:cubicBezTo>
                  <a:pt x="3558" y="874"/>
                  <a:pt x="3558" y="874"/>
                  <a:pt x="3558" y="865"/>
                </a:cubicBezTo>
                <a:cubicBezTo>
                  <a:pt x="3558" y="865"/>
                  <a:pt x="3558" y="865"/>
                  <a:pt x="3557" y="865"/>
                </a:cubicBezTo>
                <a:cubicBezTo>
                  <a:pt x="3553" y="865"/>
                  <a:pt x="3552" y="863"/>
                  <a:pt x="3552" y="859"/>
                </a:cubicBezTo>
                <a:cubicBezTo>
                  <a:pt x="3552" y="858"/>
                  <a:pt x="3552" y="856"/>
                  <a:pt x="3552" y="855"/>
                </a:cubicBezTo>
                <a:cubicBezTo>
                  <a:pt x="3552" y="853"/>
                  <a:pt x="3553" y="851"/>
                  <a:pt x="3553" y="849"/>
                </a:cubicBezTo>
                <a:cubicBezTo>
                  <a:pt x="3553" y="841"/>
                  <a:pt x="3550" y="839"/>
                  <a:pt x="3544" y="837"/>
                </a:cubicBezTo>
                <a:cubicBezTo>
                  <a:pt x="3544" y="837"/>
                  <a:pt x="3544" y="837"/>
                  <a:pt x="3544" y="837"/>
                </a:cubicBezTo>
                <a:cubicBezTo>
                  <a:pt x="3550" y="836"/>
                  <a:pt x="3553" y="834"/>
                  <a:pt x="3553" y="826"/>
                </a:cubicBezTo>
                <a:cubicBezTo>
                  <a:pt x="3553" y="824"/>
                  <a:pt x="3552" y="822"/>
                  <a:pt x="3552" y="820"/>
                </a:cubicBezTo>
                <a:cubicBezTo>
                  <a:pt x="3552" y="818"/>
                  <a:pt x="3552" y="816"/>
                  <a:pt x="3552" y="815"/>
                </a:cubicBezTo>
                <a:cubicBezTo>
                  <a:pt x="3552" y="812"/>
                  <a:pt x="3553" y="809"/>
                  <a:pt x="3557" y="809"/>
                </a:cubicBezTo>
                <a:cubicBezTo>
                  <a:pt x="3557" y="809"/>
                  <a:pt x="3557" y="809"/>
                  <a:pt x="3558" y="809"/>
                </a:cubicBezTo>
                <a:cubicBezTo>
                  <a:pt x="3558" y="809"/>
                  <a:pt x="3558" y="809"/>
                  <a:pt x="3558" y="800"/>
                </a:cubicBezTo>
                <a:cubicBezTo>
                  <a:pt x="3558" y="800"/>
                  <a:pt x="3558" y="800"/>
                  <a:pt x="3554" y="800"/>
                </a:cubicBezTo>
                <a:cubicBezTo>
                  <a:pt x="3546" y="800"/>
                  <a:pt x="3540" y="804"/>
                  <a:pt x="3540" y="813"/>
                </a:cubicBezTo>
                <a:cubicBezTo>
                  <a:pt x="3540" y="815"/>
                  <a:pt x="3540" y="818"/>
                  <a:pt x="3540" y="820"/>
                </a:cubicBezTo>
                <a:cubicBezTo>
                  <a:pt x="3541" y="822"/>
                  <a:pt x="3541" y="825"/>
                  <a:pt x="3541" y="827"/>
                </a:cubicBezTo>
                <a:cubicBezTo>
                  <a:pt x="3541" y="830"/>
                  <a:pt x="3540" y="833"/>
                  <a:pt x="3534" y="833"/>
                </a:cubicBezTo>
                <a:close/>
                <a:moveTo>
                  <a:pt x="3589" y="842"/>
                </a:moveTo>
                <a:cubicBezTo>
                  <a:pt x="3589" y="842"/>
                  <a:pt x="3589" y="842"/>
                  <a:pt x="3589" y="842"/>
                </a:cubicBezTo>
                <a:cubicBezTo>
                  <a:pt x="3589" y="833"/>
                  <a:pt x="3589" y="833"/>
                  <a:pt x="3589" y="833"/>
                </a:cubicBezTo>
                <a:cubicBezTo>
                  <a:pt x="3583" y="833"/>
                  <a:pt x="3582" y="830"/>
                  <a:pt x="3582" y="827"/>
                </a:cubicBezTo>
                <a:cubicBezTo>
                  <a:pt x="3582" y="825"/>
                  <a:pt x="3582" y="822"/>
                  <a:pt x="3583" y="820"/>
                </a:cubicBezTo>
                <a:cubicBezTo>
                  <a:pt x="3583" y="818"/>
                  <a:pt x="3583" y="815"/>
                  <a:pt x="3583" y="813"/>
                </a:cubicBezTo>
                <a:cubicBezTo>
                  <a:pt x="3583" y="804"/>
                  <a:pt x="3578" y="800"/>
                  <a:pt x="3569" y="800"/>
                </a:cubicBezTo>
                <a:cubicBezTo>
                  <a:pt x="3569" y="800"/>
                  <a:pt x="3569" y="800"/>
                  <a:pt x="3565" y="800"/>
                </a:cubicBezTo>
                <a:cubicBezTo>
                  <a:pt x="3565" y="800"/>
                  <a:pt x="3565" y="800"/>
                  <a:pt x="3565" y="809"/>
                </a:cubicBezTo>
                <a:cubicBezTo>
                  <a:pt x="3565" y="809"/>
                  <a:pt x="3565" y="809"/>
                  <a:pt x="3566" y="809"/>
                </a:cubicBezTo>
                <a:cubicBezTo>
                  <a:pt x="3570" y="809"/>
                  <a:pt x="3571" y="812"/>
                  <a:pt x="3571" y="815"/>
                </a:cubicBezTo>
                <a:cubicBezTo>
                  <a:pt x="3571" y="816"/>
                  <a:pt x="3571" y="818"/>
                  <a:pt x="3571" y="820"/>
                </a:cubicBezTo>
                <a:cubicBezTo>
                  <a:pt x="3571" y="822"/>
                  <a:pt x="3571" y="824"/>
                  <a:pt x="3571" y="826"/>
                </a:cubicBezTo>
                <a:cubicBezTo>
                  <a:pt x="3571" y="834"/>
                  <a:pt x="3573" y="836"/>
                  <a:pt x="3579" y="837"/>
                </a:cubicBezTo>
                <a:cubicBezTo>
                  <a:pt x="3579" y="837"/>
                  <a:pt x="3579" y="837"/>
                  <a:pt x="3579" y="837"/>
                </a:cubicBezTo>
                <a:cubicBezTo>
                  <a:pt x="3573" y="839"/>
                  <a:pt x="3571" y="841"/>
                  <a:pt x="3571" y="849"/>
                </a:cubicBezTo>
                <a:cubicBezTo>
                  <a:pt x="3571" y="851"/>
                  <a:pt x="3571" y="853"/>
                  <a:pt x="3571" y="855"/>
                </a:cubicBezTo>
                <a:cubicBezTo>
                  <a:pt x="3571" y="856"/>
                  <a:pt x="3571" y="858"/>
                  <a:pt x="3571" y="859"/>
                </a:cubicBezTo>
                <a:cubicBezTo>
                  <a:pt x="3571" y="863"/>
                  <a:pt x="3570" y="865"/>
                  <a:pt x="3566" y="865"/>
                </a:cubicBezTo>
                <a:cubicBezTo>
                  <a:pt x="3566" y="865"/>
                  <a:pt x="3566" y="865"/>
                  <a:pt x="3565" y="865"/>
                </a:cubicBezTo>
                <a:cubicBezTo>
                  <a:pt x="3565" y="865"/>
                  <a:pt x="3565" y="865"/>
                  <a:pt x="3565" y="874"/>
                </a:cubicBezTo>
                <a:cubicBezTo>
                  <a:pt x="3565" y="874"/>
                  <a:pt x="3565" y="874"/>
                  <a:pt x="3569" y="874"/>
                </a:cubicBezTo>
                <a:cubicBezTo>
                  <a:pt x="3577" y="874"/>
                  <a:pt x="3583" y="871"/>
                  <a:pt x="3583" y="862"/>
                </a:cubicBezTo>
                <a:cubicBezTo>
                  <a:pt x="3583" y="859"/>
                  <a:pt x="3583" y="857"/>
                  <a:pt x="3583" y="855"/>
                </a:cubicBezTo>
                <a:cubicBezTo>
                  <a:pt x="3582" y="852"/>
                  <a:pt x="3582" y="850"/>
                  <a:pt x="3582" y="848"/>
                </a:cubicBezTo>
                <a:cubicBezTo>
                  <a:pt x="3582" y="845"/>
                  <a:pt x="3583" y="842"/>
                  <a:pt x="3589" y="842"/>
                </a:cubicBezTo>
                <a:close/>
                <a:moveTo>
                  <a:pt x="3637" y="801"/>
                </a:moveTo>
                <a:cubicBezTo>
                  <a:pt x="3637" y="801"/>
                  <a:pt x="3637" y="801"/>
                  <a:pt x="3637" y="801"/>
                </a:cubicBezTo>
                <a:cubicBezTo>
                  <a:pt x="3632" y="801"/>
                  <a:pt x="3632" y="801"/>
                  <a:pt x="3632" y="801"/>
                </a:cubicBezTo>
                <a:cubicBezTo>
                  <a:pt x="3629" y="802"/>
                  <a:pt x="3628" y="804"/>
                  <a:pt x="3626" y="805"/>
                </a:cubicBezTo>
                <a:cubicBezTo>
                  <a:pt x="3624" y="806"/>
                  <a:pt x="3622" y="807"/>
                  <a:pt x="3621" y="808"/>
                </a:cubicBezTo>
                <a:cubicBezTo>
                  <a:pt x="3618" y="808"/>
                  <a:pt x="3617" y="809"/>
                  <a:pt x="3615" y="810"/>
                </a:cubicBezTo>
                <a:cubicBezTo>
                  <a:pt x="3613" y="810"/>
                  <a:pt x="3612" y="811"/>
                  <a:pt x="3609" y="812"/>
                </a:cubicBezTo>
                <a:cubicBezTo>
                  <a:pt x="3609" y="812"/>
                  <a:pt x="3609" y="812"/>
                  <a:pt x="3609" y="822"/>
                </a:cubicBezTo>
                <a:cubicBezTo>
                  <a:pt x="3612" y="821"/>
                  <a:pt x="3615" y="820"/>
                  <a:pt x="3618" y="819"/>
                </a:cubicBezTo>
                <a:cubicBezTo>
                  <a:pt x="3621" y="818"/>
                  <a:pt x="3623" y="817"/>
                  <a:pt x="3625" y="816"/>
                </a:cubicBezTo>
                <a:cubicBezTo>
                  <a:pt x="3625" y="816"/>
                  <a:pt x="3625" y="816"/>
                  <a:pt x="3625" y="874"/>
                </a:cubicBezTo>
                <a:cubicBezTo>
                  <a:pt x="3625" y="874"/>
                  <a:pt x="3625" y="874"/>
                  <a:pt x="3637" y="874"/>
                </a:cubicBezTo>
                <a:cubicBezTo>
                  <a:pt x="3637" y="874"/>
                  <a:pt x="3637" y="874"/>
                  <a:pt x="3637" y="801"/>
                </a:cubicBezTo>
                <a:close/>
                <a:moveTo>
                  <a:pt x="3684" y="801"/>
                </a:moveTo>
                <a:cubicBezTo>
                  <a:pt x="3684" y="801"/>
                  <a:pt x="3684" y="801"/>
                  <a:pt x="3684" y="801"/>
                </a:cubicBezTo>
                <a:cubicBezTo>
                  <a:pt x="3679" y="801"/>
                  <a:pt x="3679" y="801"/>
                  <a:pt x="3679" y="801"/>
                </a:cubicBezTo>
                <a:cubicBezTo>
                  <a:pt x="3677" y="802"/>
                  <a:pt x="3675" y="804"/>
                  <a:pt x="3673" y="805"/>
                </a:cubicBezTo>
                <a:cubicBezTo>
                  <a:pt x="3672" y="806"/>
                  <a:pt x="3669" y="807"/>
                  <a:pt x="3668" y="808"/>
                </a:cubicBezTo>
                <a:cubicBezTo>
                  <a:pt x="3666" y="809"/>
                  <a:pt x="3664" y="810"/>
                  <a:pt x="3663" y="810"/>
                </a:cubicBezTo>
                <a:cubicBezTo>
                  <a:pt x="3661" y="811"/>
                  <a:pt x="3659" y="812"/>
                  <a:pt x="3657" y="812"/>
                </a:cubicBezTo>
                <a:cubicBezTo>
                  <a:pt x="3657" y="812"/>
                  <a:pt x="3657" y="812"/>
                  <a:pt x="3657" y="822"/>
                </a:cubicBezTo>
                <a:cubicBezTo>
                  <a:pt x="3660" y="821"/>
                  <a:pt x="3663" y="821"/>
                  <a:pt x="3665" y="819"/>
                </a:cubicBezTo>
                <a:cubicBezTo>
                  <a:pt x="3668" y="818"/>
                  <a:pt x="3670" y="817"/>
                  <a:pt x="3672" y="816"/>
                </a:cubicBezTo>
                <a:cubicBezTo>
                  <a:pt x="3672" y="816"/>
                  <a:pt x="3672" y="816"/>
                  <a:pt x="3672" y="874"/>
                </a:cubicBezTo>
                <a:cubicBezTo>
                  <a:pt x="3672" y="874"/>
                  <a:pt x="3672" y="874"/>
                  <a:pt x="3684" y="874"/>
                </a:cubicBezTo>
                <a:cubicBezTo>
                  <a:pt x="3684" y="874"/>
                  <a:pt x="3684" y="874"/>
                  <a:pt x="3684" y="801"/>
                </a:cubicBezTo>
                <a:close/>
                <a:moveTo>
                  <a:pt x="3730" y="801"/>
                </a:moveTo>
                <a:cubicBezTo>
                  <a:pt x="3730" y="801"/>
                  <a:pt x="3730" y="801"/>
                  <a:pt x="3730" y="801"/>
                </a:cubicBezTo>
                <a:cubicBezTo>
                  <a:pt x="3726" y="801"/>
                  <a:pt x="3726" y="801"/>
                  <a:pt x="3726" y="801"/>
                </a:cubicBezTo>
                <a:cubicBezTo>
                  <a:pt x="3724" y="802"/>
                  <a:pt x="3722" y="804"/>
                  <a:pt x="3720" y="805"/>
                </a:cubicBezTo>
                <a:cubicBezTo>
                  <a:pt x="3719" y="806"/>
                  <a:pt x="3716" y="807"/>
                  <a:pt x="3715" y="808"/>
                </a:cubicBezTo>
                <a:cubicBezTo>
                  <a:pt x="3713" y="809"/>
                  <a:pt x="3711" y="810"/>
                  <a:pt x="3709" y="810"/>
                </a:cubicBezTo>
                <a:cubicBezTo>
                  <a:pt x="3708" y="811"/>
                  <a:pt x="3705" y="812"/>
                  <a:pt x="3704" y="812"/>
                </a:cubicBezTo>
                <a:cubicBezTo>
                  <a:pt x="3704" y="812"/>
                  <a:pt x="3704" y="812"/>
                  <a:pt x="3704" y="822"/>
                </a:cubicBezTo>
                <a:cubicBezTo>
                  <a:pt x="3707" y="821"/>
                  <a:pt x="3710" y="821"/>
                  <a:pt x="3712" y="819"/>
                </a:cubicBezTo>
                <a:cubicBezTo>
                  <a:pt x="3714" y="818"/>
                  <a:pt x="3717" y="817"/>
                  <a:pt x="3719" y="816"/>
                </a:cubicBezTo>
                <a:cubicBezTo>
                  <a:pt x="3719" y="816"/>
                  <a:pt x="3719" y="816"/>
                  <a:pt x="3719" y="874"/>
                </a:cubicBezTo>
                <a:cubicBezTo>
                  <a:pt x="3719" y="874"/>
                  <a:pt x="3719" y="874"/>
                  <a:pt x="3730" y="874"/>
                </a:cubicBezTo>
                <a:cubicBezTo>
                  <a:pt x="3730" y="874"/>
                  <a:pt x="3730" y="874"/>
                  <a:pt x="3730" y="801"/>
                </a:cubicBezTo>
                <a:close/>
                <a:moveTo>
                  <a:pt x="3853" y="801"/>
                </a:moveTo>
                <a:cubicBezTo>
                  <a:pt x="3853" y="801"/>
                  <a:pt x="3853" y="801"/>
                  <a:pt x="3853" y="801"/>
                </a:cubicBezTo>
                <a:cubicBezTo>
                  <a:pt x="3848" y="801"/>
                  <a:pt x="3848" y="801"/>
                  <a:pt x="3848" y="801"/>
                </a:cubicBezTo>
                <a:cubicBezTo>
                  <a:pt x="3846" y="802"/>
                  <a:pt x="3845" y="804"/>
                  <a:pt x="3842" y="805"/>
                </a:cubicBezTo>
                <a:cubicBezTo>
                  <a:pt x="3841" y="806"/>
                  <a:pt x="3839" y="807"/>
                  <a:pt x="3837" y="808"/>
                </a:cubicBezTo>
                <a:cubicBezTo>
                  <a:pt x="3836" y="809"/>
                  <a:pt x="3834" y="810"/>
                  <a:pt x="3832" y="810"/>
                </a:cubicBezTo>
                <a:cubicBezTo>
                  <a:pt x="3830" y="811"/>
                  <a:pt x="3829" y="812"/>
                  <a:pt x="3826" y="812"/>
                </a:cubicBezTo>
                <a:cubicBezTo>
                  <a:pt x="3826" y="812"/>
                  <a:pt x="3826" y="812"/>
                  <a:pt x="3826" y="822"/>
                </a:cubicBezTo>
                <a:cubicBezTo>
                  <a:pt x="3829" y="821"/>
                  <a:pt x="3832" y="821"/>
                  <a:pt x="3835" y="819"/>
                </a:cubicBezTo>
                <a:cubicBezTo>
                  <a:pt x="3837" y="818"/>
                  <a:pt x="3839" y="817"/>
                  <a:pt x="3842" y="816"/>
                </a:cubicBezTo>
                <a:cubicBezTo>
                  <a:pt x="3842" y="816"/>
                  <a:pt x="3842" y="816"/>
                  <a:pt x="3842" y="874"/>
                </a:cubicBezTo>
                <a:cubicBezTo>
                  <a:pt x="3842" y="874"/>
                  <a:pt x="3842" y="874"/>
                  <a:pt x="3853" y="874"/>
                </a:cubicBezTo>
                <a:cubicBezTo>
                  <a:pt x="3853" y="874"/>
                  <a:pt x="3853" y="874"/>
                  <a:pt x="3853" y="801"/>
                </a:cubicBezTo>
                <a:close/>
                <a:moveTo>
                  <a:pt x="3751" y="833"/>
                </a:moveTo>
                <a:cubicBezTo>
                  <a:pt x="3751" y="833"/>
                  <a:pt x="3751" y="833"/>
                  <a:pt x="3751" y="833"/>
                </a:cubicBezTo>
                <a:cubicBezTo>
                  <a:pt x="3751" y="842"/>
                  <a:pt x="3751" y="842"/>
                  <a:pt x="3751" y="842"/>
                </a:cubicBezTo>
                <a:cubicBezTo>
                  <a:pt x="3757" y="842"/>
                  <a:pt x="3758" y="845"/>
                  <a:pt x="3758" y="848"/>
                </a:cubicBezTo>
                <a:cubicBezTo>
                  <a:pt x="3758" y="850"/>
                  <a:pt x="3757" y="852"/>
                  <a:pt x="3757" y="855"/>
                </a:cubicBezTo>
                <a:cubicBezTo>
                  <a:pt x="3757" y="857"/>
                  <a:pt x="3757" y="859"/>
                  <a:pt x="3757" y="862"/>
                </a:cubicBezTo>
                <a:cubicBezTo>
                  <a:pt x="3757" y="871"/>
                  <a:pt x="3763" y="874"/>
                  <a:pt x="3771" y="874"/>
                </a:cubicBezTo>
                <a:cubicBezTo>
                  <a:pt x="3771" y="874"/>
                  <a:pt x="3771" y="874"/>
                  <a:pt x="3775" y="874"/>
                </a:cubicBezTo>
                <a:cubicBezTo>
                  <a:pt x="3775" y="874"/>
                  <a:pt x="3775" y="874"/>
                  <a:pt x="3775" y="865"/>
                </a:cubicBezTo>
                <a:cubicBezTo>
                  <a:pt x="3775" y="865"/>
                  <a:pt x="3775" y="865"/>
                  <a:pt x="3774" y="865"/>
                </a:cubicBezTo>
                <a:cubicBezTo>
                  <a:pt x="3770" y="865"/>
                  <a:pt x="3769" y="863"/>
                  <a:pt x="3769" y="859"/>
                </a:cubicBezTo>
                <a:cubicBezTo>
                  <a:pt x="3769" y="858"/>
                  <a:pt x="3769" y="856"/>
                  <a:pt x="3769" y="855"/>
                </a:cubicBezTo>
                <a:cubicBezTo>
                  <a:pt x="3769" y="853"/>
                  <a:pt x="3769" y="851"/>
                  <a:pt x="3769" y="849"/>
                </a:cubicBezTo>
                <a:cubicBezTo>
                  <a:pt x="3769" y="841"/>
                  <a:pt x="3766" y="839"/>
                  <a:pt x="3761" y="837"/>
                </a:cubicBezTo>
                <a:cubicBezTo>
                  <a:pt x="3761" y="837"/>
                  <a:pt x="3761" y="837"/>
                  <a:pt x="3761" y="837"/>
                </a:cubicBezTo>
                <a:cubicBezTo>
                  <a:pt x="3766" y="836"/>
                  <a:pt x="3769" y="834"/>
                  <a:pt x="3769" y="826"/>
                </a:cubicBezTo>
                <a:cubicBezTo>
                  <a:pt x="3769" y="824"/>
                  <a:pt x="3769" y="822"/>
                  <a:pt x="3769" y="820"/>
                </a:cubicBezTo>
                <a:cubicBezTo>
                  <a:pt x="3769" y="818"/>
                  <a:pt x="3769" y="816"/>
                  <a:pt x="3769" y="815"/>
                </a:cubicBezTo>
                <a:cubicBezTo>
                  <a:pt x="3769" y="812"/>
                  <a:pt x="3770" y="809"/>
                  <a:pt x="3774" y="809"/>
                </a:cubicBezTo>
                <a:cubicBezTo>
                  <a:pt x="3774" y="809"/>
                  <a:pt x="3774" y="809"/>
                  <a:pt x="3775" y="809"/>
                </a:cubicBezTo>
                <a:cubicBezTo>
                  <a:pt x="3775" y="809"/>
                  <a:pt x="3775" y="809"/>
                  <a:pt x="3775" y="800"/>
                </a:cubicBezTo>
                <a:cubicBezTo>
                  <a:pt x="3775" y="800"/>
                  <a:pt x="3775" y="800"/>
                  <a:pt x="3771" y="800"/>
                </a:cubicBezTo>
                <a:cubicBezTo>
                  <a:pt x="3762" y="800"/>
                  <a:pt x="3757" y="804"/>
                  <a:pt x="3757" y="813"/>
                </a:cubicBezTo>
                <a:cubicBezTo>
                  <a:pt x="3757" y="815"/>
                  <a:pt x="3757" y="818"/>
                  <a:pt x="3757" y="820"/>
                </a:cubicBezTo>
                <a:cubicBezTo>
                  <a:pt x="3757" y="822"/>
                  <a:pt x="3758" y="825"/>
                  <a:pt x="3758" y="827"/>
                </a:cubicBezTo>
                <a:cubicBezTo>
                  <a:pt x="3758" y="830"/>
                  <a:pt x="3757" y="833"/>
                  <a:pt x="3751" y="833"/>
                </a:cubicBezTo>
                <a:close/>
                <a:moveTo>
                  <a:pt x="3806" y="842"/>
                </a:moveTo>
                <a:cubicBezTo>
                  <a:pt x="3806" y="842"/>
                  <a:pt x="3806" y="842"/>
                  <a:pt x="3806" y="842"/>
                </a:cubicBezTo>
                <a:cubicBezTo>
                  <a:pt x="3806" y="833"/>
                  <a:pt x="3806" y="833"/>
                  <a:pt x="3806" y="833"/>
                </a:cubicBezTo>
                <a:cubicBezTo>
                  <a:pt x="3799" y="833"/>
                  <a:pt x="3799" y="830"/>
                  <a:pt x="3799" y="827"/>
                </a:cubicBezTo>
                <a:cubicBezTo>
                  <a:pt x="3799" y="825"/>
                  <a:pt x="3799" y="822"/>
                  <a:pt x="3799" y="820"/>
                </a:cubicBezTo>
                <a:cubicBezTo>
                  <a:pt x="3800" y="818"/>
                  <a:pt x="3800" y="815"/>
                  <a:pt x="3800" y="813"/>
                </a:cubicBezTo>
                <a:cubicBezTo>
                  <a:pt x="3800" y="804"/>
                  <a:pt x="3795" y="800"/>
                  <a:pt x="3785" y="800"/>
                </a:cubicBezTo>
                <a:cubicBezTo>
                  <a:pt x="3785" y="800"/>
                  <a:pt x="3785" y="800"/>
                  <a:pt x="3782" y="800"/>
                </a:cubicBezTo>
                <a:cubicBezTo>
                  <a:pt x="3782" y="800"/>
                  <a:pt x="3782" y="800"/>
                  <a:pt x="3782" y="809"/>
                </a:cubicBezTo>
                <a:cubicBezTo>
                  <a:pt x="3782" y="809"/>
                  <a:pt x="3782" y="809"/>
                  <a:pt x="3783" y="809"/>
                </a:cubicBezTo>
                <a:cubicBezTo>
                  <a:pt x="3787" y="809"/>
                  <a:pt x="3788" y="812"/>
                  <a:pt x="3788" y="815"/>
                </a:cubicBezTo>
                <a:cubicBezTo>
                  <a:pt x="3788" y="816"/>
                  <a:pt x="3788" y="818"/>
                  <a:pt x="3788" y="820"/>
                </a:cubicBezTo>
                <a:cubicBezTo>
                  <a:pt x="3788" y="822"/>
                  <a:pt x="3788" y="824"/>
                  <a:pt x="3788" y="826"/>
                </a:cubicBezTo>
                <a:cubicBezTo>
                  <a:pt x="3788" y="834"/>
                  <a:pt x="3790" y="836"/>
                  <a:pt x="3796" y="837"/>
                </a:cubicBezTo>
                <a:cubicBezTo>
                  <a:pt x="3796" y="837"/>
                  <a:pt x="3796" y="837"/>
                  <a:pt x="3796" y="837"/>
                </a:cubicBezTo>
                <a:cubicBezTo>
                  <a:pt x="3790" y="839"/>
                  <a:pt x="3788" y="841"/>
                  <a:pt x="3788" y="849"/>
                </a:cubicBezTo>
                <a:cubicBezTo>
                  <a:pt x="3788" y="851"/>
                  <a:pt x="3788" y="853"/>
                  <a:pt x="3788" y="855"/>
                </a:cubicBezTo>
                <a:cubicBezTo>
                  <a:pt x="3788" y="856"/>
                  <a:pt x="3788" y="858"/>
                  <a:pt x="3788" y="859"/>
                </a:cubicBezTo>
                <a:cubicBezTo>
                  <a:pt x="3788" y="863"/>
                  <a:pt x="3787" y="865"/>
                  <a:pt x="3783" y="865"/>
                </a:cubicBezTo>
                <a:cubicBezTo>
                  <a:pt x="3783" y="865"/>
                  <a:pt x="3783" y="865"/>
                  <a:pt x="3782" y="865"/>
                </a:cubicBezTo>
                <a:cubicBezTo>
                  <a:pt x="3782" y="865"/>
                  <a:pt x="3782" y="865"/>
                  <a:pt x="3782" y="874"/>
                </a:cubicBezTo>
                <a:cubicBezTo>
                  <a:pt x="3782" y="874"/>
                  <a:pt x="3782" y="874"/>
                  <a:pt x="3785" y="874"/>
                </a:cubicBezTo>
                <a:cubicBezTo>
                  <a:pt x="3794" y="874"/>
                  <a:pt x="3800" y="871"/>
                  <a:pt x="3800" y="862"/>
                </a:cubicBezTo>
                <a:cubicBezTo>
                  <a:pt x="3800" y="859"/>
                  <a:pt x="3800" y="857"/>
                  <a:pt x="3799" y="855"/>
                </a:cubicBezTo>
                <a:cubicBezTo>
                  <a:pt x="3799" y="852"/>
                  <a:pt x="3799" y="850"/>
                  <a:pt x="3799" y="848"/>
                </a:cubicBezTo>
                <a:cubicBezTo>
                  <a:pt x="3799" y="845"/>
                  <a:pt x="3799" y="842"/>
                  <a:pt x="3806" y="842"/>
                </a:cubicBezTo>
                <a:close/>
                <a:moveTo>
                  <a:pt x="2947" y="752"/>
                </a:moveTo>
                <a:cubicBezTo>
                  <a:pt x="2947" y="754"/>
                  <a:pt x="2948" y="755"/>
                  <a:pt x="2949" y="757"/>
                </a:cubicBezTo>
                <a:cubicBezTo>
                  <a:pt x="2949" y="758"/>
                  <a:pt x="2949" y="760"/>
                  <a:pt x="2950" y="762"/>
                </a:cubicBezTo>
                <a:cubicBezTo>
                  <a:pt x="2950" y="763"/>
                  <a:pt x="2950" y="765"/>
                  <a:pt x="2950" y="767"/>
                </a:cubicBezTo>
                <a:cubicBezTo>
                  <a:pt x="2951" y="770"/>
                  <a:pt x="2950" y="771"/>
                  <a:pt x="2947" y="771"/>
                </a:cubicBezTo>
                <a:cubicBezTo>
                  <a:pt x="2944" y="771"/>
                  <a:pt x="2941" y="771"/>
                  <a:pt x="2938" y="771"/>
                </a:cubicBezTo>
                <a:cubicBezTo>
                  <a:pt x="2938" y="771"/>
                  <a:pt x="2937" y="771"/>
                  <a:pt x="2937" y="771"/>
                </a:cubicBezTo>
                <a:cubicBezTo>
                  <a:pt x="2935" y="773"/>
                  <a:pt x="2934" y="774"/>
                  <a:pt x="2933" y="776"/>
                </a:cubicBezTo>
                <a:cubicBezTo>
                  <a:pt x="2931" y="778"/>
                  <a:pt x="2927" y="778"/>
                  <a:pt x="2925" y="776"/>
                </a:cubicBezTo>
                <a:cubicBezTo>
                  <a:pt x="2923" y="774"/>
                  <a:pt x="2922" y="772"/>
                  <a:pt x="2920" y="769"/>
                </a:cubicBezTo>
                <a:cubicBezTo>
                  <a:pt x="2920" y="767"/>
                  <a:pt x="2920" y="766"/>
                  <a:pt x="2922" y="764"/>
                </a:cubicBezTo>
                <a:cubicBezTo>
                  <a:pt x="2920" y="764"/>
                  <a:pt x="2918" y="764"/>
                  <a:pt x="2916" y="764"/>
                </a:cubicBezTo>
                <a:cubicBezTo>
                  <a:pt x="2916" y="766"/>
                  <a:pt x="2915" y="768"/>
                  <a:pt x="2914" y="770"/>
                </a:cubicBezTo>
                <a:cubicBezTo>
                  <a:pt x="2914" y="771"/>
                  <a:pt x="2913" y="772"/>
                  <a:pt x="2913" y="773"/>
                </a:cubicBezTo>
                <a:cubicBezTo>
                  <a:pt x="2913" y="776"/>
                  <a:pt x="2912" y="777"/>
                  <a:pt x="2909" y="776"/>
                </a:cubicBezTo>
                <a:cubicBezTo>
                  <a:pt x="2906" y="776"/>
                  <a:pt x="2903" y="775"/>
                  <a:pt x="2900" y="774"/>
                </a:cubicBezTo>
                <a:cubicBezTo>
                  <a:pt x="2898" y="774"/>
                  <a:pt x="2898" y="772"/>
                  <a:pt x="2898" y="770"/>
                </a:cubicBezTo>
                <a:cubicBezTo>
                  <a:pt x="2898" y="769"/>
                  <a:pt x="2898" y="769"/>
                  <a:pt x="2899" y="769"/>
                </a:cubicBezTo>
                <a:cubicBezTo>
                  <a:pt x="2896" y="767"/>
                  <a:pt x="2894" y="767"/>
                  <a:pt x="2892" y="765"/>
                </a:cubicBezTo>
                <a:cubicBezTo>
                  <a:pt x="2891" y="764"/>
                  <a:pt x="2890" y="762"/>
                  <a:pt x="2889" y="761"/>
                </a:cubicBezTo>
                <a:cubicBezTo>
                  <a:pt x="2888" y="759"/>
                  <a:pt x="2888" y="757"/>
                  <a:pt x="2890" y="755"/>
                </a:cubicBezTo>
                <a:cubicBezTo>
                  <a:pt x="2893" y="753"/>
                  <a:pt x="2894" y="750"/>
                  <a:pt x="2893" y="746"/>
                </a:cubicBezTo>
                <a:cubicBezTo>
                  <a:pt x="2893" y="744"/>
                  <a:pt x="2893" y="742"/>
                  <a:pt x="2893" y="740"/>
                </a:cubicBezTo>
                <a:cubicBezTo>
                  <a:pt x="2892" y="740"/>
                  <a:pt x="2890" y="739"/>
                  <a:pt x="2889" y="738"/>
                </a:cubicBezTo>
                <a:cubicBezTo>
                  <a:pt x="2888" y="736"/>
                  <a:pt x="2887" y="734"/>
                  <a:pt x="2887" y="733"/>
                </a:cubicBezTo>
                <a:cubicBezTo>
                  <a:pt x="2887" y="730"/>
                  <a:pt x="2891" y="727"/>
                  <a:pt x="2893" y="726"/>
                </a:cubicBezTo>
                <a:cubicBezTo>
                  <a:pt x="2894" y="727"/>
                  <a:pt x="2894" y="728"/>
                  <a:pt x="2894" y="729"/>
                </a:cubicBezTo>
                <a:cubicBezTo>
                  <a:pt x="2894" y="730"/>
                  <a:pt x="2894" y="731"/>
                  <a:pt x="2895" y="732"/>
                </a:cubicBezTo>
                <a:cubicBezTo>
                  <a:pt x="2894" y="731"/>
                  <a:pt x="2893" y="731"/>
                  <a:pt x="2893" y="731"/>
                </a:cubicBezTo>
                <a:cubicBezTo>
                  <a:pt x="2893" y="733"/>
                  <a:pt x="2892" y="734"/>
                  <a:pt x="2891" y="736"/>
                </a:cubicBezTo>
                <a:cubicBezTo>
                  <a:pt x="2893" y="735"/>
                  <a:pt x="2893" y="735"/>
                  <a:pt x="2894" y="735"/>
                </a:cubicBezTo>
                <a:cubicBezTo>
                  <a:pt x="2895" y="734"/>
                  <a:pt x="2896" y="733"/>
                  <a:pt x="2896" y="732"/>
                </a:cubicBezTo>
                <a:cubicBezTo>
                  <a:pt x="2901" y="725"/>
                  <a:pt x="2907" y="721"/>
                  <a:pt x="2915" y="719"/>
                </a:cubicBezTo>
                <a:cubicBezTo>
                  <a:pt x="2918" y="719"/>
                  <a:pt x="2921" y="718"/>
                  <a:pt x="2923" y="715"/>
                </a:cubicBezTo>
                <a:cubicBezTo>
                  <a:pt x="2923" y="715"/>
                  <a:pt x="2924" y="714"/>
                  <a:pt x="2924" y="714"/>
                </a:cubicBezTo>
                <a:cubicBezTo>
                  <a:pt x="2927" y="714"/>
                  <a:pt x="2929" y="712"/>
                  <a:pt x="2931" y="710"/>
                </a:cubicBezTo>
                <a:cubicBezTo>
                  <a:pt x="2938" y="702"/>
                  <a:pt x="2950" y="702"/>
                  <a:pt x="2958" y="708"/>
                </a:cubicBezTo>
                <a:cubicBezTo>
                  <a:pt x="2960" y="710"/>
                  <a:pt x="2963" y="712"/>
                  <a:pt x="2965" y="714"/>
                </a:cubicBezTo>
                <a:cubicBezTo>
                  <a:pt x="2967" y="715"/>
                  <a:pt x="2968" y="717"/>
                  <a:pt x="2969" y="719"/>
                </a:cubicBezTo>
                <a:cubicBezTo>
                  <a:pt x="2970" y="721"/>
                  <a:pt x="2971" y="721"/>
                  <a:pt x="2972" y="719"/>
                </a:cubicBezTo>
                <a:cubicBezTo>
                  <a:pt x="2973" y="719"/>
                  <a:pt x="2973" y="718"/>
                  <a:pt x="2974" y="717"/>
                </a:cubicBezTo>
                <a:cubicBezTo>
                  <a:pt x="2976" y="715"/>
                  <a:pt x="2979" y="715"/>
                  <a:pt x="2980" y="718"/>
                </a:cubicBezTo>
                <a:cubicBezTo>
                  <a:pt x="2982" y="721"/>
                  <a:pt x="2982" y="724"/>
                  <a:pt x="2983" y="727"/>
                </a:cubicBezTo>
                <a:cubicBezTo>
                  <a:pt x="2984" y="731"/>
                  <a:pt x="2983" y="736"/>
                  <a:pt x="2982" y="740"/>
                </a:cubicBezTo>
                <a:cubicBezTo>
                  <a:pt x="2979" y="746"/>
                  <a:pt x="2975" y="750"/>
                  <a:pt x="2968" y="750"/>
                </a:cubicBezTo>
                <a:cubicBezTo>
                  <a:pt x="2967" y="750"/>
                  <a:pt x="2967" y="750"/>
                  <a:pt x="2966" y="750"/>
                </a:cubicBezTo>
                <a:cubicBezTo>
                  <a:pt x="2964" y="750"/>
                  <a:pt x="2962" y="750"/>
                  <a:pt x="2962" y="752"/>
                </a:cubicBezTo>
                <a:cubicBezTo>
                  <a:pt x="2960" y="757"/>
                  <a:pt x="2955" y="758"/>
                  <a:pt x="2951" y="755"/>
                </a:cubicBezTo>
                <a:cubicBezTo>
                  <a:pt x="2950" y="754"/>
                  <a:pt x="2949" y="753"/>
                  <a:pt x="2948" y="752"/>
                </a:cubicBezTo>
                <a:cubicBezTo>
                  <a:pt x="2947" y="752"/>
                  <a:pt x="2947" y="752"/>
                  <a:pt x="2947" y="752"/>
                </a:cubicBezTo>
                <a:close/>
                <a:moveTo>
                  <a:pt x="2942" y="748"/>
                </a:moveTo>
                <a:cubicBezTo>
                  <a:pt x="2945" y="750"/>
                  <a:pt x="2949" y="751"/>
                  <a:pt x="2951" y="754"/>
                </a:cubicBezTo>
                <a:cubicBezTo>
                  <a:pt x="2953" y="755"/>
                  <a:pt x="2955" y="756"/>
                  <a:pt x="2957" y="755"/>
                </a:cubicBezTo>
                <a:cubicBezTo>
                  <a:pt x="2960" y="754"/>
                  <a:pt x="2961" y="752"/>
                  <a:pt x="2961" y="749"/>
                </a:cubicBezTo>
                <a:cubicBezTo>
                  <a:pt x="2961" y="750"/>
                  <a:pt x="2960" y="750"/>
                  <a:pt x="2960" y="750"/>
                </a:cubicBezTo>
                <a:cubicBezTo>
                  <a:pt x="2960" y="752"/>
                  <a:pt x="2958" y="752"/>
                  <a:pt x="2958" y="754"/>
                </a:cubicBezTo>
                <a:cubicBezTo>
                  <a:pt x="2956" y="755"/>
                  <a:pt x="2955" y="754"/>
                  <a:pt x="2955" y="754"/>
                </a:cubicBezTo>
                <a:cubicBezTo>
                  <a:pt x="2954" y="754"/>
                  <a:pt x="2953" y="753"/>
                  <a:pt x="2953" y="752"/>
                </a:cubicBezTo>
                <a:cubicBezTo>
                  <a:pt x="2953" y="750"/>
                  <a:pt x="2954" y="748"/>
                  <a:pt x="2954" y="746"/>
                </a:cubicBezTo>
                <a:cubicBezTo>
                  <a:pt x="2957" y="746"/>
                  <a:pt x="2960" y="748"/>
                  <a:pt x="2964" y="748"/>
                </a:cubicBezTo>
                <a:cubicBezTo>
                  <a:pt x="2971" y="749"/>
                  <a:pt x="2977" y="748"/>
                  <a:pt x="2980" y="739"/>
                </a:cubicBezTo>
                <a:cubicBezTo>
                  <a:pt x="2982" y="734"/>
                  <a:pt x="2982" y="729"/>
                  <a:pt x="2981" y="724"/>
                </a:cubicBezTo>
                <a:cubicBezTo>
                  <a:pt x="2980" y="722"/>
                  <a:pt x="2980" y="721"/>
                  <a:pt x="2979" y="719"/>
                </a:cubicBezTo>
                <a:cubicBezTo>
                  <a:pt x="2978" y="717"/>
                  <a:pt x="2977" y="717"/>
                  <a:pt x="2976" y="718"/>
                </a:cubicBezTo>
                <a:cubicBezTo>
                  <a:pt x="2974" y="720"/>
                  <a:pt x="2973" y="721"/>
                  <a:pt x="2971" y="722"/>
                </a:cubicBezTo>
                <a:cubicBezTo>
                  <a:pt x="2970" y="723"/>
                  <a:pt x="2969" y="723"/>
                  <a:pt x="2969" y="725"/>
                </a:cubicBezTo>
                <a:cubicBezTo>
                  <a:pt x="2970" y="728"/>
                  <a:pt x="2969" y="731"/>
                  <a:pt x="2968" y="734"/>
                </a:cubicBezTo>
                <a:cubicBezTo>
                  <a:pt x="2968" y="732"/>
                  <a:pt x="2969" y="730"/>
                  <a:pt x="2969" y="729"/>
                </a:cubicBezTo>
                <a:cubicBezTo>
                  <a:pt x="2969" y="728"/>
                  <a:pt x="2968" y="727"/>
                  <a:pt x="2968" y="727"/>
                </a:cubicBezTo>
                <a:cubicBezTo>
                  <a:pt x="2967" y="727"/>
                  <a:pt x="2967" y="727"/>
                  <a:pt x="2967" y="728"/>
                </a:cubicBezTo>
                <a:cubicBezTo>
                  <a:pt x="2966" y="729"/>
                  <a:pt x="2965" y="731"/>
                  <a:pt x="2964" y="732"/>
                </a:cubicBezTo>
                <a:cubicBezTo>
                  <a:pt x="2964" y="732"/>
                  <a:pt x="2964" y="732"/>
                  <a:pt x="2964" y="732"/>
                </a:cubicBezTo>
                <a:cubicBezTo>
                  <a:pt x="2964" y="730"/>
                  <a:pt x="2965" y="729"/>
                  <a:pt x="2965" y="726"/>
                </a:cubicBezTo>
                <a:cubicBezTo>
                  <a:pt x="2964" y="727"/>
                  <a:pt x="2964" y="727"/>
                  <a:pt x="2963" y="728"/>
                </a:cubicBezTo>
                <a:cubicBezTo>
                  <a:pt x="2962" y="729"/>
                  <a:pt x="2962" y="729"/>
                  <a:pt x="2962" y="730"/>
                </a:cubicBezTo>
                <a:cubicBezTo>
                  <a:pt x="2962" y="727"/>
                  <a:pt x="2962" y="727"/>
                  <a:pt x="2968" y="725"/>
                </a:cubicBezTo>
                <a:cubicBezTo>
                  <a:pt x="2968" y="725"/>
                  <a:pt x="2967" y="724"/>
                  <a:pt x="2967" y="724"/>
                </a:cubicBezTo>
                <a:cubicBezTo>
                  <a:pt x="2964" y="725"/>
                  <a:pt x="2964" y="723"/>
                  <a:pt x="2963" y="721"/>
                </a:cubicBezTo>
                <a:cubicBezTo>
                  <a:pt x="2965" y="721"/>
                  <a:pt x="2966" y="720"/>
                  <a:pt x="2968" y="720"/>
                </a:cubicBezTo>
                <a:cubicBezTo>
                  <a:pt x="2966" y="717"/>
                  <a:pt x="2965" y="715"/>
                  <a:pt x="2962" y="714"/>
                </a:cubicBezTo>
                <a:cubicBezTo>
                  <a:pt x="2961" y="714"/>
                  <a:pt x="2961" y="714"/>
                  <a:pt x="2961" y="714"/>
                </a:cubicBezTo>
                <a:cubicBezTo>
                  <a:pt x="2958" y="712"/>
                  <a:pt x="2956" y="709"/>
                  <a:pt x="2953" y="707"/>
                </a:cubicBezTo>
                <a:cubicBezTo>
                  <a:pt x="2951" y="706"/>
                  <a:pt x="2948" y="705"/>
                  <a:pt x="2946" y="705"/>
                </a:cubicBezTo>
                <a:cubicBezTo>
                  <a:pt x="2943" y="706"/>
                  <a:pt x="2940" y="707"/>
                  <a:pt x="2936" y="708"/>
                </a:cubicBezTo>
                <a:cubicBezTo>
                  <a:pt x="2934" y="709"/>
                  <a:pt x="2931" y="710"/>
                  <a:pt x="2929" y="714"/>
                </a:cubicBezTo>
                <a:cubicBezTo>
                  <a:pt x="2931" y="714"/>
                  <a:pt x="2932" y="714"/>
                  <a:pt x="2933" y="714"/>
                </a:cubicBezTo>
                <a:cubicBezTo>
                  <a:pt x="2933" y="714"/>
                  <a:pt x="2932" y="714"/>
                  <a:pt x="2931" y="714"/>
                </a:cubicBezTo>
                <a:cubicBezTo>
                  <a:pt x="2929" y="715"/>
                  <a:pt x="2926" y="714"/>
                  <a:pt x="2924" y="717"/>
                </a:cubicBezTo>
                <a:cubicBezTo>
                  <a:pt x="2921" y="721"/>
                  <a:pt x="2917" y="724"/>
                  <a:pt x="2913" y="729"/>
                </a:cubicBezTo>
                <a:cubicBezTo>
                  <a:pt x="2912" y="731"/>
                  <a:pt x="2911" y="733"/>
                  <a:pt x="2910" y="735"/>
                </a:cubicBezTo>
                <a:cubicBezTo>
                  <a:pt x="2910" y="736"/>
                  <a:pt x="2910" y="736"/>
                  <a:pt x="2910" y="737"/>
                </a:cubicBezTo>
                <a:cubicBezTo>
                  <a:pt x="2911" y="739"/>
                  <a:pt x="2913" y="741"/>
                  <a:pt x="2914" y="743"/>
                </a:cubicBezTo>
                <a:cubicBezTo>
                  <a:pt x="2915" y="741"/>
                  <a:pt x="2916" y="740"/>
                  <a:pt x="2918" y="738"/>
                </a:cubicBezTo>
                <a:cubicBezTo>
                  <a:pt x="2917" y="740"/>
                  <a:pt x="2917" y="741"/>
                  <a:pt x="2916" y="742"/>
                </a:cubicBezTo>
                <a:cubicBezTo>
                  <a:pt x="2915" y="744"/>
                  <a:pt x="2915" y="745"/>
                  <a:pt x="2914" y="746"/>
                </a:cubicBezTo>
                <a:cubicBezTo>
                  <a:pt x="2914" y="747"/>
                  <a:pt x="2914" y="748"/>
                  <a:pt x="2915" y="749"/>
                </a:cubicBezTo>
                <a:cubicBezTo>
                  <a:pt x="2917" y="753"/>
                  <a:pt x="2920" y="753"/>
                  <a:pt x="2924" y="751"/>
                </a:cubicBezTo>
                <a:cubicBezTo>
                  <a:pt x="2926" y="749"/>
                  <a:pt x="2929" y="748"/>
                  <a:pt x="2932" y="747"/>
                </a:cubicBezTo>
                <a:cubicBezTo>
                  <a:pt x="2933" y="747"/>
                  <a:pt x="2935" y="746"/>
                  <a:pt x="2935" y="744"/>
                </a:cubicBezTo>
                <a:cubicBezTo>
                  <a:pt x="2935" y="741"/>
                  <a:pt x="2935" y="738"/>
                  <a:pt x="2935" y="734"/>
                </a:cubicBezTo>
                <a:cubicBezTo>
                  <a:pt x="2935" y="731"/>
                  <a:pt x="2935" y="729"/>
                  <a:pt x="2935" y="725"/>
                </a:cubicBezTo>
                <a:cubicBezTo>
                  <a:pt x="2935" y="728"/>
                  <a:pt x="2936" y="731"/>
                  <a:pt x="2936" y="733"/>
                </a:cubicBezTo>
                <a:cubicBezTo>
                  <a:pt x="2937" y="738"/>
                  <a:pt x="2937" y="742"/>
                  <a:pt x="2936" y="747"/>
                </a:cubicBezTo>
                <a:cubicBezTo>
                  <a:pt x="2935" y="748"/>
                  <a:pt x="2935" y="748"/>
                  <a:pt x="2934" y="748"/>
                </a:cubicBezTo>
                <a:cubicBezTo>
                  <a:pt x="2931" y="749"/>
                  <a:pt x="2927" y="751"/>
                  <a:pt x="2924" y="752"/>
                </a:cubicBezTo>
                <a:cubicBezTo>
                  <a:pt x="2919" y="755"/>
                  <a:pt x="2916" y="754"/>
                  <a:pt x="2912" y="750"/>
                </a:cubicBezTo>
                <a:cubicBezTo>
                  <a:pt x="2912" y="749"/>
                  <a:pt x="2912" y="748"/>
                  <a:pt x="2912" y="748"/>
                </a:cubicBezTo>
                <a:cubicBezTo>
                  <a:pt x="2913" y="745"/>
                  <a:pt x="2912" y="743"/>
                  <a:pt x="2911" y="741"/>
                </a:cubicBezTo>
                <a:cubicBezTo>
                  <a:pt x="2909" y="739"/>
                  <a:pt x="2907" y="737"/>
                  <a:pt x="2909" y="734"/>
                </a:cubicBezTo>
                <a:cubicBezTo>
                  <a:pt x="2909" y="732"/>
                  <a:pt x="2910" y="731"/>
                  <a:pt x="2911" y="729"/>
                </a:cubicBezTo>
                <a:cubicBezTo>
                  <a:pt x="2913" y="726"/>
                  <a:pt x="2915" y="724"/>
                  <a:pt x="2917" y="721"/>
                </a:cubicBezTo>
                <a:cubicBezTo>
                  <a:pt x="2917" y="721"/>
                  <a:pt x="2916" y="721"/>
                  <a:pt x="2916" y="721"/>
                </a:cubicBezTo>
                <a:cubicBezTo>
                  <a:pt x="2911" y="722"/>
                  <a:pt x="2907" y="724"/>
                  <a:pt x="2903" y="727"/>
                </a:cubicBezTo>
                <a:cubicBezTo>
                  <a:pt x="2898" y="731"/>
                  <a:pt x="2895" y="736"/>
                  <a:pt x="2895" y="743"/>
                </a:cubicBezTo>
                <a:cubicBezTo>
                  <a:pt x="2895" y="750"/>
                  <a:pt x="2897" y="756"/>
                  <a:pt x="2900" y="762"/>
                </a:cubicBezTo>
                <a:cubicBezTo>
                  <a:pt x="2901" y="763"/>
                  <a:pt x="2902" y="764"/>
                  <a:pt x="2901" y="765"/>
                </a:cubicBezTo>
                <a:cubicBezTo>
                  <a:pt x="2901" y="767"/>
                  <a:pt x="2901" y="769"/>
                  <a:pt x="2900" y="770"/>
                </a:cubicBezTo>
                <a:cubicBezTo>
                  <a:pt x="2900" y="772"/>
                  <a:pt x="2900" y="773"/>
                  <a:pt x="2901" y="773"/>
                </a:cubicBezTo>
                <a:cubicBezTo>
                  <a:pt x="2904" y="774"/>
                  <a:pt x="2907" y="774"/>
                  <a:pt x="2910" y="774"/>
                </a:cubicBezTo>
                <a:cubicBezTo>
                  <a:pt x="2911" y="774"/>
                  <a:pt x="2911" y="774"/>
                  <a:pt x="2911" y="773"/>
                </a:cubicBezTo>
                <a:cubicBezTo>
                  <a:pt x="2912" y="772"/>
                  <a:pt x="2912" y="771"/>
                  <a:pt x="2913" y="770"/>
                </a:cubicBezTo>
                <a:cubicBezTo>
                  <a:pt x="2915" y="767"/>
                  <a:pt x="2915" y="765"/>
                  <a:pt x="2915" y="762"/>
                </a:cubicBezTo>
                <a:cubicBezTo>
                  <a:pt x="2915" y="761"/>
                  <a:pt x="2915" y="761"/>
                  <a:pt x="2915" y="761"/>
                </a:cubicBezTo>
                <a:cubicBezTo>
                  <a:pt x="2915" y="760"/>
                  <a:pt x="2915" y="760"/>
                  <a:pt x="2915" y="760"/>
                </a:cubicBezTo>
                <a:cubicBezTo>
                  <a:pt x="2915" y="763"/>
                  <a:pt x="2916" y="763"/>
                  <a:pt x="2918" y="763"/>
                </a:cubicBezTo>
                <a:cubicBezTo>
                  <a:pt x="2919" y="763"/>
                  <a:pt x="2920" y="763"/>
                  <a:pt x="2921" y="763"/>
                </a:cubicBezTo>
                <a:cubicBezTo>
                  <a:pt x="2924" y="763"/>
                  <a:pt x="2927" y="763"/>
                  <a:pt x="2927" y="759"/>
                </a:cubicBezTo>
                <a:cubicBezTo>
                  <a:pt x="2927" y="761"/>
                  <a:pt x="2927" y="763"/>
                  <a:pt x="2927" y="764"/>
                </a:cubicBezTo>
                <a:cubicBezTo>
                  <a:pt x="2926" y="765"/>
                  <a:pt x="2925" y="765"/>
                  <a:pt x="2924" y="766"/>
                </a:cubicBezTo>
                <a:cubicBezTo>
                  <a:pt x="2922" y="767"/>
                  <a:pt x="2922" y="768"/>
                  <a:pt x="2922" y="769"/>
                </a:cubicBezTo>
                <a:cubicBezTo>
                  <a:pt x="2924" y="771"/>
                  <a:pt x="2925" y="773"/>
                  <a:pt x="2926" y="775"/>
                </a:cubicBezTo>
                <a:cubicBezTo>
                  <a:pt x="2928" y="776"/>
                  <a:pt x="2930" y="776"/>
                  <a:pt x="2931" y="774"/>
                </a:cubicBezTo>
                <a:cubicBezTo>
                  <a:pt x="2932" y="774"/>
                  <a:pt x="2933" y="773"/>
                  <a:pt x="2933" y="773"/>
                </a:cubicBezTo>
                <a:cubicBezTo>
                  <a:pt x="2935" y="771"/>
                  <a:pt x="2936" y="770"/>
                  <a:pt x="2938" y="769"/>
                </a:cubicBezTo>
                <a:cubicBezTo>
                  <a:pt x="2942" y="764"/>
                  <a:pt x="2944" y="758"/>
                  <a:pt x="2946" y="752"/>
                </a:cubicBezTo>
                <a:cubicBezTo>
                  <a:pt x="2946" y="752"/>
                  <a:pt x="2945" y="751"/>
                  <a:pt x="2945" y="751"/>
                </a:cubicBezTo>
                <a:cubicBezTo>
                  <a:pt x="2944" y="750"/>
                  <a:pt x="2943" y="749"/>
                  <a:pt x="2942" y="748"/>
                </a:cubicBezTo>
                <a:close/>
                <a:moveTo>
                  <a:pt x="2895" y="754"/>
                </a:moveTo>
                <a:cubicBezTo>
                  <a:pt x="2894" y="755"/>
                  <a:pt x="2892" y="756"/>
                  <a:pt x="2891" y="757"/>
                </a:cubicBezTo>
                <a:cubicBezTo>
                  <a:pt x="2891" y="757"/>
                  <a:pt x="2890" y="758"/>
                  <a:pt x="2890" y="759"/>
                </a:cubicBezTo>
                <a:cubicBezTo>
                  <a:pt x="2890" y="762"/>
                  <a:pt x="2895" y="766"/>
                  <a:pt x="2898" y="766"/>
                </a:cubicBezTo>
                <a:cubicBezTo>
                  <a:pt x="2899" y="766"/>
                  <a:pt x="2900" y="765"/>
                  <a:pt x="2899" y="763"/>
                </a:cubicBezTo>
                <a:cubicBezTo>
                  <a:pt x="2898" y="760"/>
                  <a:pt x="2896" y="757"/>
                  <a:pt x="2895" y="754"/>
                </a:cubicBezTo>
                <a:close/>
                <a:moveTo>
                  <a:pt x="2947" y="756"/>
                </a:moveTo>
                <a:cubicBezTo>
                  <a:pt x="2945" y="761"/>
                  <a:pt x="2942" y="765"/>
                  <a:pt x="2940" y="770"/>
                </a:cubicBezTo>
                <a:cubicBezTo>
                  <a:pt x="2943" y="770"/>
                  <a:pt x="2945" y="770"/>
                  <a:pt x="2948" y="770"/>
                </a:cubicBezTo>
                <a:cubicBezTo>
                  <a:pt x="2948" y="770"/>
                  <a:pt x="2949" y="769"/>
                  <a:pt x="2949" y="768"/>
                </a:cubicBezTo>
                <a:cubicBezTo>
                  <a:pt x="2949" y="765"/>
                  <a:pt x="2949" y="763"/>
                  <a:pt x="2948" y="761"/>
                </a:cubicBezTo>
                <a:cubicBezTo>
                  <a:pt x="2948" y="759"/>
                  <a:pt x="2947" y="758"/>
                  <a:pt x="2947" y="756"/>
                </a:cubicBezTo>
                <a:close/>
                <a:moveTo>
                  <a:pt x="2895" y="736"/>
                </a:moveTo>
                <a:cubicBezTo>
                  <a:pt x="2894" y="736"/>
                  <a:pt x="2893" y="737"/>
                  <a:pt x="2893" y="737"/>
                </a:cubicBezTo>
                <a:cubicBezTo>
                  <a:pt x="2892" y="737"/>
                  <a:pt x="2891" y="737"/>
                  <a:pt x="2891" y="736"/>
                </a:cubicBezTo>
                <a:cubicBezTo>
                  <a:pt x="2891" y="736"/>
                  <a:pt x="2890" y="735"/>
                  <a:pt x="2890" y="734"/>
                </a:cubicBezTo>
                <a:cubicBezTo>
                  <a:pt x="2891" y="733"/>
                  <a:pt x="2891" y="731"/>
                  <a:pt x="2892" y="729"/>
                </a:cubicBezTo>
                <a:cubicBezTo>
                  <a:pt x="2892" y="729"/>
                  <a:pt x="2892" y="729"/>
                  <a:pt x="2891" y="729"/>
                </a:cubicBezTo>
                <a:cubicBezTo>
                  <a:pt x="2891" y="729"/>
                  <a:pt x="2889" y="730"/>
                  <a:pt x="2889" y="731"/>
                </a:cubicBezTo>
                <a:cubicBezTo>
                  <a:pt x="2888" y="733"/>
                  <a:pt x="2889" y="738"/>
                  <a:pt x="2891" y="738"/>
                </a:cubicBezTo>
                <a:cubicBezTo>
                  <a:pt x="2893" y="739"/>
                  <a:pt x="2895" y="738"/>
                  <a:pt x="2895" y="736"/>
                </a:cubicBezTo>
                <a:close/>
                <a:moveTo>
                  <a:pt x="2894" y="754"/>
                </a:moveTo>
                <a:cubicBezTo>
                  <a:pt x="2893" y="755"/>
                  <a:pt x="2892" y="756"/>
                  <a:pt x="2891" y="757"/>
                </a:cubicBezTo>
                <a:cubicBezTo>
                  <a:pt x="2890" y="757"/>
                  <a:pt x="2890" y="758"/>
                  <a:pt x="2890" y="759"/>
                </a:cubicBezTo>
                <a:cubicBezTo>
                  <a:pt x="2890" y="762"/>
                  <a:pt x="2894" y="766"/>
                  <a:pt x="2897" y="766"/>
                </a:cubicBezTo>
                <a:cubicBezTo>
                  <a:pt x="2899" y="766"/>
                  <a:pt x="2900" y="764"/>
                  <a:pt x="2899" y="763"/>
                </a:cubicBezTo>
                <a:cubicBezTo>
                  <a:pt x="2897" y="760"/>
                  <a:pt x="2896" y="757"/>
                  <a:pt x="2894" y="754"/>
                </a:cubicBezTo>
                <a:close/>
                <a:moveTo>
                  <a:pt x="2947" y="756"/>
                </a:moveTo>
                <a:cubicBezTo>
                  <a:pt x="2945" y="761"/>
                  <a:pt x="2942" y="766"/>
                  <a:pt x="2940" y="770"/>
                </a:cubicBezTo>
                <a:cubicBezTo>
                  <a:pt x="2943" y="770"/>
                  <a:pt x="2945" y="770"/>
                  <a:pt x="2948" y="770"/>
                </a:cubicBezTo>
                <a:cubicBezTo>
                  <a:pt x="2948" y="770"/>
                  <a:pt x="2948" y="769"/>
                  <a:pt x="2948" y="768"/>
                </a:cubicBezTo>
                <a:cubicBezTo>
                  <a:pt x="2948" y="766"/>
                  <a:pt x="2948" y="763"/>
                  <a:pt x="2948" y="761"/>
                </a:cubicBezTo>
                <a:cubicBezTo>
                  <a:pt x="2948" y="759"/>
                  <a:pt x="2947" y="758"/>
                  <a:pt x="2947" y="756"/>
                </a:cubicBezTo>
                <a:close/>
                <a:moveTo>
                  <a:pt x="2894" y="736"/>
                </a:moveTo>
                <a:cubicBezTo>
                  <a:pt x="2893" y="736"/>
                  <a:pt x="2893" y="737"/>
                  <a:pt x="2892" y="737"/>
                </a:cubicBezTo>
                <a:cubicBezTo>
                  <a:pt x="2891" y="737"/>
                  <a:pt x="2891" y="737"/>
                  <a:pt x="2891" y="736"/>
                </a:cubicBezTo>
                <a:cubicBezTo>
                  <a:pt x="2890" y="736"/>
                  <a:pt x="2890" y="735"/>
                  <a:pt x="2890" y="734"/>
                </a:cubicBezTo>
                <a:cubicBezTo>
                  <a:pt x="2891" y="732"/>
                  <a:pt x="2891" y="730"/>
                  <a:pt x="2892" y="729"/>
                </a:cubicBezTo>
                <a:cubicBezTo>
                  <a:pt x="2891" y="729"/>
                  <a:pt x="2891" y="729"/>
                  <a:pt x="2891" y="729"/>
                </a:cubicBezTo>
                <a:cubicBezTo>
                  <a:pt x="2890" y="729"/>
                  <a:pt x="2889" y="730"/>
                  <a:pt x="2888" y="731"/>
                </a:cubicBezTo>
                <a:cubicBezTo>
                  <a:pt x="2888" y="732"/>
                  <a:pt x="2889" y="738"/>
                  <a:pt x="2891" y="738"/>
                </a:cubicBezTo>
                <a:cubicBezTo>
                  <a:pt x="2892" y="739"/>
                  <a:pt x="2894" y="738"/>
                  <a:pt x="2894" y="736"/>
                </a:cubicBezTo>
                <a:close/>
                <a:moveTo>
                  <a:pt x="2947" y="728"/>
                </a:moveTo>
                <a:cubicBezTo>
                  <a:pt x="2950" y="724"/>
                  <a:pt x="2950" y="724"/>
                  <a:pt x="2953" y="723"/>
                </a:cubicBezTo>
                <a:cubicBezTo>
                  <a:pt x="2953" y="725"/>
                  <a:pt x="2955" y="726"/>
                  <a:pt x="2956" y="726"/>
                </a:cubicBezTo>
                <a:cubicBezTo>
                  <a:pt x="2954" y="727"/>
                  <a:pt x="2952" y="729"/>
                  <a:pt x="2950" y="730"/>
                </a:cubicBezTo>
                <a:cubicBezTo>
                  <a:pt x="2949" y="729"/>
                  <a:pt x="2949" y="728"/>
                  <a:pt x="2948" y="727"/>
                </a:cubicBezTo>
                <a:cubicBezTo>
                  <a:pt x="2948" y="727"/>
                  <a:pt x="2947" y="727"/>
                  <a:pt x="2947" y="728"/>
                </a:cubicBezTo>
                <a:close/>
                <a:moveTo>
                  <a:pt x="2952" y="727"/>
                </a:moveTo>
                <a:cubicBezTo>
                  <a:pt x="2952" y="727"/>
                  <a:pt x="2951" y="727"/>
                  <a:pt x="2950" y="727"/>
                </a:cubicBezTo>
                <a:cubicBezTo>
                  <a:pt x="2950" y="727"/>
                  <a:pt x="2949" y="727"/>
                  <a:pt x="2949" y="728"/>
                </a:cubicBezTo>
                <a:cubicBezTo>
                  <a:pt x="2949" y="728"/>
                  <a:pt x="2950" y="728"/>
                  <a:pt x="2950" y="729"/>
                </a:cubicBezTo>
                <a:cubicBezTo>
                  <a:pt x="2951" y="728"/>
                  <a:pt x="2951" y="728"/>
                  <a:pt x="2952" y="727"/>
                </a:cubicBezTo>
                <a:close/>
                <a:moveTo>
                  <a:pt x="2934" y="718"/>
                </a:moveTo>
                <a:cubicBezTo>
                  <a:pt x="2927" y="717"/>
                  <a:pt x="2924" y="719"/>
                  <a:pt x="2923" y="728"/>
                </a:cubicBezTo>
                <a:cubicBezTo>
                  <a:pt x="2924" y="726"/>
                  <a:pt x="2925" y="723"/>
                  <a:pt x="2927" y="721"/>
                </a:cubicBezTo>
                <a:cubicBezTo>
                  <a:pt x="2927" y="721"/>
                  <a:pt x="2927" y="721"/>
                  <a:pt x="2927" y="721"/>
                </a:cubicBezTo>
                <a:cubicBezTo>
                  <a:pt x="2927" y="722"/>
                  <a:pt x="2927" y="723"/>
                  <a:pt x="2927" y="723"/>
                </a:cubicBezTo>
                <a:cubicBezTo>
                  <a:pt x="2929" y="720"/>
                  <a:pt x="2930" y="718"/>
                  <a:pt x="2934" y="718"/>
                </a:cubicBezTo>
                <a:close/>
                <a:moveTo>
                  <a:pt x="2977" y="719"/>
                </a:moveTo>
                <a:cubicBezTo>
                  <a:pt x="2975" y="721"/>
                  <a:pt x="2973" y="722"/>
                  <a:pt x="2972" y="723"/>
                </a:cubicBezTo>
                <a:cubicBezTo>
                  <a:pt x="2974" y="724"/>
                  <a:pt x="2976" y="722"/>
                  <a:pt x="2977" y="719"/>
                </a:cubicBezTo>
                <a:close/>
                <a:moveTo>
                  <a:pt x="2944" y="721"/>
                </a:moveTo>
                <a:cubicBezTo>
                  <a:pt x="2945" y="720"/>
                  <a:pt x="2946" y="719"/>
                  <a:pt x="2948" y="717"/>
                </a:cubicBezTo>
                <a:cubicBezTo>
                  <a:pt x="2944" y="719"/>
                  <a:pt x="2943" y="719"/>
                  <a:pt x="2944" y="721"/>
                </a:cubicBezTo>
                <a:close/>
                <a:moveTo>
                  <a:pt x="2954" y="743"/>
                </a:moveTo>
                <a:cubicBezTo>
                  <a:pt x="2952" y="743"/>
                  <a:pt x="2951" y="744"/>
                  <a:pt x="2951" y="745"/>
                </a:cubicBezTo>
                <a:cubicBezTo>
                  <a:pt x="2952" y="744"/>
                  <a:pt x="2953" y="744"/>
                  <a:pt x="2954" y="743"/>
                </a:cubicBezTo>
                <a:close/>
                <a:moveTo>
                  <a:pt x="2952" y="727"/>
                </a:moveTo>
                <a:cubicBezTo>
                  <a:pt x="2952" y="727"/>
                  <a:pt x="2951" y="727"/>
                  <a:pt x="2951" y="727"/>
                </a:cubicBezTo>
                <a:cubicBezTo>
                  <a:pt x="2950" y="727"/>
                  <a:pt x="2949" y="727"/>
                  <a:pt x="2949" y="728"/>
                </a:cubicBezTo>
                <a:cubicBezTo>
                  <a:pt x="2949" y="728"/>
                  <a:pt x="2950" y="729"/>
                  <a:pt x="2950" y="729"/>
                </a:cubicBezTo>
                <a:cubicBezTo>
                  <a:pt x="2951" y="729"/>
                  <a:pt x="2951" y="728"/>
                  <a:pt x="2952" y="727"/>
                </a:cubicBezTo>
                <a:close/>
                <a:moveTo>
                  <a:pt x="3477" y="848"/>
                </a:moveTo>
                <a:cubicBezTo>
                  <a:pt x="3477" y="850"/>
                  <a:pt x="3478" y="851"/>
                  <a:pt x="3479" y="853"/>
                </a:cubicBezTo>
                <a:cubicBezTo>
                  <a:pt x="3479" y="854"/>
                  <a:pt x="3479" y="856"/>
                  <a:pt x="3480" y="858"/>
                </a:cubicBezTo>
                <a:cubicBezTo>
                  <a:pt x="3480" y="859"/>
                  <a:pt x="3480" y="861"/>
                  <a:pt x="3480" y="863"/>
                </a:cubicBezTo>
                <a:cubicBezTo>
                  <a:pt x="3481" y="866"/>
                  <a:pt x="3480" y="867"/>
                  <a:pt x="3477" y="867"/>
                </a:cubicBezTo>
                <a:cubicBezTo>
                  <a:pt x="3474" y="867"/>
                  <a:pt x="3471" y="867"/>
                  <a:pt x="3468" y="867"/>
                </a:cubicBezTo>
                <a:cubicBezTo>
                  <a:pt x="3468" y="867"/>
                  <a:pt x="3467" y="867"/>
                  <a:pt x="3467" y="867"/>
                </a:cubicBezTo>
                <a:cubicBezTo>
                  <a:pt x="3465" y="869"/>
                  <a:pt x="3464" y="870"/>
                  <a:pt x="3462" y="872"/>
                </a:cubicBezTo>
                <a:cubicBezTo>
                  <a:pt x="3461" y="874"/>
                  <a:pt x="3457" y="874"/>
                  <a:pt x="3455" y="872"/>
                </a:cubicBezTo>
                <a:cubicBezTo>
                  <a:pt x="3453" y="870"/>
                  <a:pt x="3452" y="868"/>
                  <a:pt x="3450" y="865"/>
                </a:cubicBezTo>
                <a:cubicBezTo>
                  <a:pt x="3450" y="863"/>
                  <a:pt x="3450" y="862"/>
                  <a:pt x="3452" y="860"/>
                </a:cubicBezTo>
                <a:cubicBezTo>
                  <a:pt x="3450" y="860"/>
                  <a:pt x="3448" y="860"/>
                  <a:pt x="3446" y="860"/>
                </a:cubicBezTo>
                <a:cubicBezTo>
                  <a:pt x="3446" y="862"/>
                  <a:pt x="3444" y="864"/>
                  <a:pt x="3444" y="866"/>
                </a:cubicBezTo>
                <a:cubicBezTo>
                  <a:pt x="3444" y="867"/>
                  <a:pt x="3443" y="868"/>
                  <a:pt x="3443" y="869"/>
                </a:cubicBezTo>
                <a:cubicBezTo>
                  <a:pt x="3443" y="872"/>
                  <a:pt x="3442" y="873"/>
                  <a:pt x="3439" y="872"/>
                </a:cubicBezTo>
                <a:cubicBezTo>
                  <a:pt x="3436" y="872"/>
                  <a:pt x="3433" y="871"/>
                  <a:pt x="3430" y="870"/>
                </a:cubicBezTo>
                <a:cubicBezTo>
                  <a:pt x="3428" y="870"/>
                  <a:pt x="3428" y="868"/>
                  <a:pt x="3428" y="866"/>
                </a:cubicBezTo>
                <a:cubicBezTo>
                  <a:pt x="3428" y="865"/>
                  <a:pt x="3428" y="865"/>
                  <a:pt x="3429" y="865"/>
                </a:cubicBezTo>
                <a:cubicBezTo>
                  <a:pt x="3426" y="863"/>
                  <a:pt x="3424" y="863"/>
                  <a:pt x="3422" y="861"/>
                </a:cubicBezTo>
                <a:cubicBezTo>
                  <a:pt x="3421" y="860"/>
                  <a:pt x="3420" y="858"/>
                  <a:pt x="3419" y="857"/>
                </a:cubicBezTo>
                <a:cubicBezTo>
                  <a:pt x="3418" y="855"/>
                  <a:pt x="3418" y="853"/>
                  <a:pt x="3420" y="851"/>
                </a:cubicBezTo>
                <a:cubicBezTo>
                  <a:pt x="3423" y="849"/>
                  <a:pt x="3424" y="846"/>
                  <a:pt x="3423" y="842"/>
                </a:cubicBezTo>
                <a:cubicBezTo>
                  <a:pt x="3423" y="840"/>
                  <a:pt x="3423" y="838"/>
                  <a:pt x="3423" y="836"/>
                </a:cubicBezTo>
                <a:cubicBezTo>
                  <a:pt x="3422" y="836"/>
                  <a:pt x="3420" y="835"/>
                  <a:pt x="3419" y="834"/>
                </a:cubicBezTo>
                <a:cubicBezTo>
                  <a:pt x="3418" y="832"/>
                  <a:pt x="3417" y="830"/>
                  <a:pt x="3417" y="829"/>
                </a:cubicBezTo>
                <a:cubicBezTo>
                  <a:pt x="3417" y="826"/>
                  <a:pt x="3421" y="823"/>
                  <a:pt x="3423" y="822"/>
                </a:cubicBezTo>
                <a:cubicBezTo>
                  <a:pt x="3424" y="823"/>
                  <a:pt x="3424" y="824"/>
                  <a:pt x="3424" y="825"/>
                </a:cubicBezTo>
                <a:cubicBezTo>
                  <a:pt x="3424" y="826"/>
                  <a:pt x="3424" y="827"/>
                  <a:pt x="3424" y="828"/>
                </a:cubicBezTo>
                <a:cubicBezTo>
                  <a:pt x="3424" y="827"/>
                  <a:pt x="3423" y="827"/>
                  <a:pt x="3423" y="827"/>
                </a:cubicBezTo>
                <a:cubicBezTo>
                  <a:pt x="3422" y="829"/>
                  <a:pt x="3422" y="830"/>
                  <a:pt x="3421" y="832"/>
                </a:cubicBezTo>
                <a:cubicBezTo>
                  <a:pt x="3422" y="831"/>
                  <a:pt x="3423" y="831"/>
                  <a:pt x="3424" y="831"/>
                </a:cubicBezTo>
                <a:cubicBezTo>
                  <a:pt x="3425" y="830"/>
                  <a:pt x="3426" y="829"/>
                  <a:pt x="3426" y="828"/>
                </a:cubicBezTo>
                <a:cubicBezTo>
                  <a:pt x="3431" y="821"/>
                  <a:pt x="3437" y="817"/>
                  <a:pt x="3444" y="815"/>
                </a:cubicBezTo>
                <a:cubicBezTo>
                  <a:pt x="3448" y="815"/>
                  <a:pt x="3451" y="814"/>
                  <a:pt x="3453" y="811"/>
                </a:cubicBezTo>
                <a:cubicBezTo>
                  <a:pt x="3453" y="811"/>
                  <a:pt x="3454" y="810"/>
                  <a:pt x="3454" y="810"/>
                </a:cubicBezTo>
                <a:cubicBezTo>
                  <a:pt x="3457" y="810"/>
                  <a:pt x="3459" y="808"/>
                  <a:pt x="3461" y="806"/>
                </a:cubicBezTo>
                <a:cubicBezTo>
                  <a:pt x="3468" y="798"/>
                  <a:pt x="3480" y="798"/>
                  <a:pt x="3488" y="804"/>
                </a:cubicBezTo>
                <a:cubicBezTo>
                  <a:pt x="3490" y="806"/>
                  <a:pt x="3493" y="808"/>
                  <a:pt x="3495" y="810"/>
                </a:cubicBezTo>
                <a:cubicBezTo>
                  <a:pt x="3497" y="811"/>
                  <a:pt x="3498" y="813"/>
                  <a:pt x="3499" y="815"/>
                </a:cubicBezTo>
                <a:cubicBezTo>
                  <a:pt x="3500" y="817"/>
                  <a:pt x="3501" y="817"/>
                  <a:pt x="3502" y="815"/>
                </a:cubicBezTo>
                <a:cubicBezTo>
                  <a:pt x="3502" y="815"/>
                  <a:pt x="3503" y="814"/>
                  <a:pt x="3504" y="813"/>
                </a:cubicBezTo>
                <a:cubicBezTo>
                  <a:pt x="3506" y="811"/>
                  <a:pt x="3509" y="811"/>
                  <a:pt x="3510" y="814"/>
                </a:cubicBezTo>
                <a:cubicBezTo>
                  <a:pt x="3511" y="817"/>
                  <a:pt x="3512" y="820"/>
                  <a:pt x="3513" y="823"/>
                </a:cubicBezTo>
                <a:cubicBezTo>
                  <a:pt x="3513" y="827"/>
                  <a:pt x="3513" y="832"/>
                  <a:pt x="3511" y="836"/>
                </a:cubicBezTo>
                <a:cubicBezTo>
                  <a:pt x="3509" y="842"/>
                  <a:pt x="3504" y="846"/>
                  <a:pt x="3498" y="846"/>
                </a:cubicBezTo>
                <a:cubicBezTo>
                  <a:pt x="3497" y="846"/>
                  <a:pt x="3497" y="846"/>
                  <a:pt x="3496" y="846"/>
                </a:cubicBezTo>
                <a:cubicBezTo>
                  <a:pt x="3493" y="846"/>
                  <a:pt x="3492" y="846"/>
                  <a:pt x="3491" y="848"/>
                </a:cubicBezTo>
                <a:cubicBezTo>
                  <a:pt x="3490" y="853"/>
                  <a:pt x="3484" y="854"/>
                  <a:pt x="3481" y="851"/>
                </a:cubicBezTo>
                <a:cubicBezTo>
                  <a:pt x="3480" y="850"/>
                  <a:pt x="3479" y="849"/>
                  <a:pt x="3478" y="848"/>
                </a:cubicBezTo>
                <a:cubicBezTo>
                  <a:pt x="3477" y="848"/>
                  <a:pt x="3477" y="848"/>
                  <a:pt x="3477" y="848"/>
                </a:cubicBezTo>
                <a:close/>
                <a:moveTo>
                  <a:pt x="3471" y="844"/>
                </a:moveTo>
                <a:cubicBezTo>
                  <a:pt x="3475" y="846"/>
                  <a:pt x="3479" y="847"/>
                  <a:pt x="3481" y="850"/>
                </a:cubicBezTo>
                <a:cubicBezTo>
                  <a:pt x="3483" y="851"/>
                  <a:pt x="3485" y="852"/>
                  <a:pt x="3487" y="851"/>
                </a:cubicBezTo>
                <a:cubicBezTo>
                  <a:pt x="3490" y="850"/>
                  <a:pt x="3491" y="848"/>
                  <a:pt x="3491" y="845"/>
                </a:cubicBezTo>
                <a:cubicBezTo>
                  <a:pt x="3491" y="846"/>
                  <a:pt x="3490" y="846"/>
                  <a:pt x="3490" y="846"/>
                </a:cubicBezTo>
                <a:cubicBezTo>
                  <a:pt x="3490" y="848"/>
                  <a:pt x="3488" y="848"/>
                  <a:pt x="3488" y="850"/>
                </a:cubicBezTo>
                <a:cubicBezTo>
                  <a:pt x="3486" y="851"/>
                  <a:pt x="3485" y="850"/>
                  <a:pt x="3484" y="850"/>
                </a:cubicBezTo>
                <a:cubicBezTo>
                  <a:pt x="3484" y="850"/>
                  <a:pt x="3483" y="849"/>
                  <a:pt x="3483" y="848"/>
                </a:cubicBezTo>
                <a:cubicBezTo>
                  <a:pt x="3483" y="846"/>
                  <a:pt x="3484" y="844"/>
                  <a:pt x="3484" y="842"/>
                </a:cubicBezTo>
                <a:cubicBezTo>
                  <a:pt x="3487" y="842"/>
                  <a:pt x="3490" y="844"/>
                  <a:pt x="3494" y="844"/>
                </a:cubicBezTo>
                <a:cubicBezTo>
                  <a:pt x="3501" y="845"/>
                  <a:pt x="3507" y="844"/>
                  <a:pt x="3510" y="835"/>
                </a:cubicBezTo>
                <a:cubicBezTo>
                  <a:pt x="3512" y="830"/>
                  <a:pt x="3511" y="825"/>
                  <a:pt x="3511" y="820"/>
                </a:cubicBezTo>
                <a:cubicBezTo>
                  <a:pt x="3510" y="818"/>
                  <a:pt x="3510" y="817"/>
                  <a:pt x="3509" y="815"/>
                </a:cubicBezTo>
                <a:cubicBezTo>
                  <a:pt x="3508" y="813"/>
                  <a:pt x="3507" y="813"/>
                  <a:pt x="3506" y="814"/>
                </a:cubicBezTo>
                <a:cubicBezTo>
                  <a:pt x="3504" y="816"/>
                  <a:pt x="3502" y="817"/>
                  <a:pt x="3501" y="818"/>
                </a:cubicBezTo>
                <a:cubicBezTo>
                  <a:pt x="3500" y="819"/>
                  <a:pt x="3499" y="819"/>
                  <a:pt x="3499" y="821"/>
                </a:cubicBezTo>
                <a:cubicBezTo>
                  <a:pt x="3500" y="824"/>
                  <a:pt x="3499" y="827"/>
                  <a:pt x="3498" y="830"/>
                </a:cubicBezTo>
                <a:cubicBezTo>
                  <a:pt x="3498" y="828"/>
                  <a:pt x="3499" y="826"/>
                  <a:pt x="3499" y="825"/>
                </a:cubicBezTo>
                <a:cubicBezTo>
                  <a:pt x="3499" y="824"/>
                  <a:pt x="3498" y="823"/>
                  <a:pt x="3498" y="823"/>
                </a:cubicBezTo>
                <a:cubicBezTo>
                  <a:pt x="3497" y="823"/>
                  <a:pt x="3497" y="823"/>
                  <a:pt x="3497" y="824"/>
                </a:cubicBezTo>
                <a:cubicBezTo>
                  <a:pt x="3496" y="825"/>
                  <a:pt x="3495" y="827"/>
                  <a:pt x="3494" y="828"/>
                </a:cubicBezTo>
                <a:cubicBezTo>
                  <a:pt x="3494" y="828"/>
                  <a:pt x="3494" y="828"/>
                  <a:pt x="3494" y="828"/>
                </a:cubicBezTo>
                <a:cubicBezTo>
                  <a:pt x="3494" y="826"/>
                  <a:pt x="3495" y="825"/>
                  <a:pt x="3495" y="822"/>
                </a:cubicBezTo>
                <a:cubicBezTo>
                  <a:pt x="3494" y="823"/>
                  <a:pt x="3493" y="823"/>
                  <a:pt x="3493" y="824"/>
                </a:cubicBezTo>
                <a:cubicBezTo>
                  <a:pt x="3492" y="825"/>
                  <a:pt x="3492" y="825"/>
                  <a:pt x="3491" y="826"/>
                </a:cubicBezTo>
                <a:cubicBezTo>
                  <a:pt x="3492" y="823"/>
                  <a:pt x="3492" y="823"/>
                  <a:pt x="3498" y="821"/>
                </a:cubicBezTo>
                <a:cubicBezTo>
                  <a:pt x="3498" y="821"/>
                  <a:pt x="3497" y="820"/>
                  <a:pt x="3497" y="820"/>
                </a:cubicBezTo>
                <a:cubicBezTo>
                  <a:pt x="3494" y="821"/>
                  <a:pt x="3493" y="819"/>
                  <a:pt x="3493" y="817"/>
                </a:cubicBezTo>
                <a:cubicBezTo>
                  <a:pt x="3495" y="817"/>
                  <a:pt x="3496" y="816"/>
                  <a:pt x="3498" y="816"/>
                </a:cubicBezTo>
                <a:cubicBezTo>
                  <a:pt x="3496" y="813"/>
                  <a:pt x="3495" y="811"/>
                  <a:pt x="3491" y="810"/>
                </a:cubicBezTo>
                <a:cubicBezTo>
                  <a:pt x="3491" y="810"/>
                  <a:pt x="3491" y="810"/>
                  <a:pt x="3491" y="810"/>
                </a:cubicBezTo>
                <a:cubicBezTo>
                  <a:pt x="3488" y="808"/>
                  <a:pt x="3486" y="805"/>
                  <a:pt x="3483" y="803"/>
                </a:cubicBezTo>
                <a:cubicBezTo>
                  <a:pt x="3481" y="802"/>
                  <a:pt x="3478" y="801"/>
                  <a:pt x="3476" y="801"/>
                </a:cubicBezTo>
                <a:cubicBezTo>
                  <a:pt x="3473" y="802"/>
                  <a:pt x="3470" y="803"/>
                  <a:pt x="3466" y="804"/>
                </a:cubicBezTo>
                <a:cubicBezTo>
                  <a:pt x="3464" y="805"/>
                  <a:pt x="3461" y="806"/>
                  <a:pt x="3459" y="810"/>
                </a:cubicBezTo>
                <a:cubicBezTo>
                  <a:pt x="3461" y="810"/>
                  <a:pt x="3462" y="810"/>
                  <a:pt x="3463" y="810"/>
                </a:cubicBezTo>
                <a:cubicBezTo>
                  <a:pt x="3463" y="810"/>
                  <a:pt x="3462" y="810"/>
                  <a:pt x="3461" y="810"/>
                </a:cubicBezTo>
                <a:cubicBezTo>
                  <a:pt x="3459" y="811"/>
                  <a:pt x="3456" y="810"/>
                  <a:pt x="3454" y="813"/>
                </a:cubicBezTo>
                <a:cubicBezTo>
                  <a:pt x="3451" y="817"/>
                  <a:pt x="3447" y="820"/>
                  <a:pt x="3443" y="825"/>
                </a:cubicBezTo>
                <a:cubicBezTo>
                  <a:pt x="3442" y="827"/>
                  <a:pt x="3441" y="829"/>
                  <a:pt x="3440" y="831"/>
                </a:cubicBezTo>
                <a:cubicBezTo>
                  <a:pt x="3440" y="832"/>
                  <a:pt x="3440" y="832"/>
                  <a:pt x="3440" y="833"/>
                </a:cubicBezTo>
                <a:cubicBezTo>
                  <a:pt x="3441" y="835"/>
                  <a:pt x="3442" y="837"/>
                  <a:pt x="3444" y="839"/>
                </a:cubicBezTo>
                <a:cubicBezTo>
                  <a:pt x="3445" y="837"/>
                  <a:pt x="3446" y="836"/>
                  <a:pt x="3448" y="834"/>
                </a:cubicBezTo>
                <a:cubicBezTo>
                  <a:pt x="3447" y="836"/>
                  <a:pt x="3447" y="837"/>
                  <a:pt x="3446" y="838"/>
                </a:cubicBezTo>
                <a:cubicBezTo>
                  <a:pt x="3445" y="840"/>
                  <a:pt x="3444" y="841"/>
                  <a:pt x="3444" y="842"/>
                </a:cubicBezTo>
                <a:cubicBezTo>
                  <a:pt x="3444" y="843"/>
                  <a:pt x="3444" y="844"/>
                  <a:pt x="3444" y="845"/>
                </a:cubicBezTo>
                <a:cubicBezTo>
                  <a:pt x="3447" y="849"/>
                  <a:pt x="3450" y="849"/>
                  <a:pt x="3454" y="847"/>
                </a:cubicBezTo>
                <a:cubicBezTo>
                  <a:pt x="3456" y="845"/>
                  <a:pt x="3459" y="844"/>
                  <a:pt x="3462" y="843"/>
                </a:cubicBezTo>
                <a:cubicBezTo>
                  <a:pt x="3463" y="843"/>
                  <a:pt x="3464" y="842"/>
                  <a:pt x="3464" y="840"/>
                </a:cubicBezTo>
                <a:cubicBezTo>
                  <a:pt x="3464" y="837"/>
                  <a:pt x="3464" y="834"/>
                  <a:pt x="3464" y="830"/>
                </a:cubicBezTo>
                <a:cubicBezTo>
                  <a:pt x="3464" y="827"/>
                  <a:pt x="3464" y="825"/>
                  <a:pt x="3464" y="821"/>
                </a:cubicBezTo>
                <a:cubicBezTo>
                  <a:pt x="3465" y="824"/>
                  <a:pt x="3466" y="827"/>
                  <a:pt x="3466" y="829"/>
                </a:cubicBezTo>
                <a:cubicBezTo>
                  <a:pt x="3467" y="834"/>
                  <a:pt x="3467" y="838"/>
                  <a:pt x="3466" y="843"/>
                </a:cubicBezTo>
                <a:cubicBezTo>
                  <a:pt x="3465" y="844"/>
                  <a:pt x="3464" y="844"/>
                  <a:pt x="3464" y="844"/>
                </a:cubicBezTo>
                <a:cubicBezTo>
                  <a:pt x="3461" y="845"/>
                  <a:pt x="3457" y="847"/>
                  <a:pt x="3454" y="848"/>
                </a:cubicBezTo>
                <a:cubicBezTo>
                  <a:pt x="3449" y="851"/>
                  <a:pt x="3446" y="850"/>
                  <a:pt x="3442" y="846"/>
                </a:cubicBezTo>
                <a:cubicBezTo>
                  <a:pt x="3442" y="845"/>
                  <a:pt x="3442" y="844"/>
                  <a:pt x="3442" y="844"/>
                </a:cubicBezTo>
                <a:cubicBezTo>
                  <a:pt x="3443" y="841"/>
                  <a:pt x="3442" y="839"/>
                  <a:pt x="3441" y="837"/>
                </a:cubicBezTo>
                <a:cubicBezTo>
                  <a:pt x="3439" y="835"/>
                  <a:pt x="3437" y="833"/>
                  <a:pt x="3439" y="830"/>
                </a:cubicBezTo>
                <a:cubicBezTo>
                  <a:pt x="3439" y="828"/>
                  <a:pt x="3440" y="827"/>
                  <a:pt x="3441" y="825"/>
                </a:cubicBezTo>
                <a:cubicBezTo>
                  <a:pt x="3443" y="822"/>
                  <a:pt x="3445" y="820"/>
                  <a:pt x="3447" y="817"/>
                </a:cubicBezTo>
                <a:cubicBezTo>
                  <a:pt x="3447" y="817"/>
                  <a:pt x="3446" y="817"/>
                  <a:pt x="3446" y="817"/>
                </a:cubicBezTo>
                <a:cubicBezTo>
                  <a:pt x="3441" y="818"/>
                  <a:pt x="3437" y="820"/>
                  <a:pt x="3433" y="823"/>
                </a:cubicBezTo>
                <a:cubicBezTo>
                  <a:pt x="3428" y="827"/>
                  <a:pt x="3425" y="832"/>
                  <a:pt x="3425" y="839"/>
                </a:cubicBezTo>
                <a:cubicBezTo>
                  <a:pt x="3424" y="846"/>
                  <a:pt x="3427" y="852"/>
                  <a:pt x="3430" y="858"/>
                </a:cubicBezTo>
                <a:cubicBezTo>
                  <a:pt x="3431" y="859"/>
                  <a:pt x="3431" y="860"/>
                  <a:pt x="3431" y="861"/>
                </a:cubicBezTo>
                <a:cubicBezTo>
                  <a:pt x="3431" y="863"/>
                  <a:pt x="3431" y="865"/>
                  <a:pt x="3430" y="866"/>
                </a:cubicBezTo>
                <a:cubicBezTo>
                  <a:pt x="3430" y="868"/>
                  <a:pt x="3430" y="869"/>
                  <a:pt x="3431" y="869"/>
                </a:cubicBezTo>
                <a:cubicBezTo>
                  <a:pt x="3434" y="870"/>
                  <a:pt x="3437" y="870"/>
                  <a:pt x="3440" y="870"/>
                </a:cubicBezTo>
                <a:cubicBezTo>
                  <a:pt x="3441" y="870"/>
                  <a:pt x="3441" y="870"/>
                  <a:pt x="3441" y="869"/>
                </a:cubicBezTo>
                <a:cubicBezTo>
                  <a:pt x="3442" y="868"/>
                  <a:pt x="3442" y="867"/>
                  <a:pt x="3442" y="866"/>
                </a:cubicBezTo>
                <a:cubicBezTo>
                  <a:pt x="3444" y="863"/>
                  <a:pt x="3444" y="861"/>
                  <a:pt x="3444" y="858"/>
                </a:cubicBezTo>
                <a:cubicBezTo>
                  <a:pt x="3444" y="857"/>
                  <a:pt x="3444" y="857"/>
                  <a:pt x="3444" y="857"/>
                </a:cubicBezTo>
                <a:cubicBezTo>
                  <a:pt x="3444" y="856"/>
                  <a:pt x="3444" y="856"/>
                  <a:pt x="3444" y="856"/>
                </a:cubicBezTo>
                <a:cubicBezTo>
                  <a:pt x="3445" y="859"/>
                  <a:pt x="3446" y="859"/>
                  <a:pt x="3448" y="859"/>
                </a:cubicBezTo>
                <a:cubicBezTo>
                  <a:pt x="3449" y="859"/>
                  <a:pt x="3450" y="859"/>
                  <a:pt x="3451" y="859"/>
                </a:cubicBezTo>
                <a:cubicBezTo>
                  <a:pt x="3453" y="859"/>
                  <a:pt x="3457" y="859"/>
                  <a:pt x="3457" y="855"/>
                </a:cubicBezTo>
                <a:cubicBezTo>
                  <a:pt x="3457" y="857"/>
                  <a:pt x="3457" y="859"/>
                  <a:pt x="3457" y="860"/>
                </a:cubicBezTo>
                <a:cubicBezTo>
                  <a:pt x="3456" y="861"/>
                  <a:pt x="3455" y="861"/>
                  <a:pt x="3453" y="862"/>
                </a:cubicBezTo>
                <a:cubicBezTo>
                  <a:pt x="3452" y="863"/>
                  <a:pt x="3451" y="864"/>
                  <a:pt x="3452" y="865"/>
                </a:cubicBezTo>
                <a:cubicBezTo>
                  <a:pt x="3453" y="867"/>
                  <a:pt x="3455" y="869"/>
                  <a:pt x="3456" y="871"/>
                </a:cubicBezTo>
                <a:cubicBezTo>
                  <a:pt x="3458" y="872"/>
                  <a:pt x="3460" y="872"/>
                  <a:pt x="3461" y="870"/>
                </a:cubicBezTo>
                <a:cubicBezTo>
                  <a:pt x="3462" y="870"/>
                  <a:pt x="3462" y="869"/>
                  <a:pt x="3463" y="869"/>
                </a:cubicBezTo>
                <a:cubicBezTo>
                  <a:pt x="3465" y="867"/>
                  <a:pt x="3466" y="866"/>
                  <a:pt x="3468" y="865"/>
                </a:cubicBezTo>
                <a:cubicBezTo>
                  <a:pt x="3472" y="860"/>
                  <a:pt x="3474" y="854"/>
                  <a:pt x="3476" y="848"/>
                </a:cubicBezTo>
                <a:cubicBezTo>
                  <a:pt x="3476" y="848"/>
                  <a:pt x="3475" y="847"/>
                  <a:pt x="3475" y="847"/>
                </a:cubicBezTo>
                <a:cubicBezTo>
                  <a:pt x="3474" y="846"/>
                  <a:pt x="3473" y="845"/>
                  <a:pt x="3471" y="844"/>
                </a:cubicBezTo>
                <a:close/>
                <a:moveTo>
                  <a:pt x="3424" y="850"/>
                </a:moveTo>
                <a:cubicBezTo>
                  <a:pt x="3424" y="851"/>
                  <a:pt x="3422" y="852"/>
                  <a:pt x="3421" y="853"/>
                </a:cubicBezTo>
                <a:cubicBezTo>
                  <a:pt x="3421" y="853"/>
                  <a:pt x="3420" y="854"/>
                  <a:pt x="3420" y="855"/>
                </a:cubicBezTo>
                <a:cubicBezTo>
                  <a:pt x="3420" y="858"/>
                  <a:pt x="3424" y="862"/>
                  <a:pt x="3428" y="862"/>
                </a:cubicBezTo>
                <a:cubicBezTo>
                  <a:pt x="3429" y="862"/>
                  <a:pt x="3430" y="861"/>
                  <a:pt x="3429" y="859"/>
                </a:cubicBezTo>
                <a:cubicBezTo>
                  <a:pt x="3428" y="856"/>
                  <a:pt x="3426" y="853"/>
                  <a:pt x="3424" y="850"/>
                </a:cubicBezTo>
                <a:close/>
                <a:moveTo>
                  <a:pt x="3477" y="852"/>
                </a:moveTo>
                <a:cubicBezTo>
                  <a:pt x="3475" y="857"/>
                  <a:pt x="3472" y="861"/>
                  <a:pt x="3470" y="866"/>
                </a:cubicBezTo>
                <a:cubicBezTo>
                  <a:pt x="3473" y="866"/>
                  <a:pt x="3475" y="866"/>
                  <a:pt x="3478" y="866"/>
                </a:cubicBezTo>
                <a:cubicBezTo>
                  <a:pt x="3478" y="866"/>
                  <a:pt x="3479" y="865"/>
                  <a:pt x="3479" y="864"/>
                </a:cubicBezTo>
                <a:cubicBezTo>
                  <a:pt x="3479" y="861"/>
                  <a:pt x="3479" y="859"/>
                  <a:pt x="3478" y="857"/>
                </a:cubicBezTo>
                <a:cubicBezTo>
                  <a:pt x="3478" y="855"/>
                  <a:pt x="3477" y="854"/>
                  <a:pt x="3477" y="852"/>
                </a:cubicBezTo>
                <a:close/>
                <a:moveTo>
                  <a:pt x="3424" y="832"/>
                </a:moveTo>
                <a:cubicBezTo>
                  <a:pt x="3424" y="832"/>
                  <a:pt x="3423" y="833"/>
                  <a:pt x="3422" y="833"/>
                </a:cubicBezTo>
                <a:cubicBezTo>
                  <a:pt x="3422" y="833"/>
                  <a:pt x="3421" y="833"/>
                  <a:pt x="3421" y="832"/>
                </a:cubicBezTo>
                <a:cubicBezTo>
                  <a:pt x="3421" y="832"/>
                  <a:pt x="3420" y="831"/>
                  <a:pt x="3420" y="830"/>
                </a:cubicBezTo>
                <a:cubicBezTo>
                  <a:pt x="3421" y="829"/>
                  <a:pt x="3421" y="827"/>
                  <a:pt x="3422" y="825"/>
                </a:cubicBezTo>
                <a:cubicBezTo>
                  <a:pt x="3422" y="825"/>
                  <a:pt x="3422" y="825"/>
                  <a:pt x="3421" y="825"/>
                </a:cubicBezTo>
                <a:cubicBezTo>
                  <a:pt x="3421" y="825"/>
                  <a:pt x="3419" y="826"/>
                  <a:pt x="3419" y="827"/>
                </a:cubicBezTo>
                <a:cubicBezTo>
                  <a:pt x="3418" y="829"/>
                  <a:pt x="3419" y="834"/>
                  <a:pt x="3421" y="834"/>
                </a:cubicBezTo>
                <a:cubicBezTo>
                  <a:pt x="3422" y="835"/>
                  <a:pt x="3424" y="834"/>
                  <a:pt x="3424" y="832"/>
                </a:cubicBezTo>
                <a:close/>
                <a:moveTo>
                  <a:pt x="3424" y="850"/>
                </a:moveTo>
                <a:cubicBezTo>
                  <a:pt x="3423" y="851"/>
                  <a:pt x="3422" y="852"/>
                  <a:pt x="3421" y="853"/>
                </a:cubicBezTo>
                <a:cubicBezTo>
                  <a:pt x="3420" y="853"/>
                  <a:pt x="3420" y="854"/>
                  <a:pt x="3420" y="855"/>
                </a:cubicBezTo>
                <a:cubicBezTo>
                  <a:pt x="3420" y="858"/>
                  <a:pt x="3424" y="862"/>
                  <a:pt x="3428" y="862"/>
                </a:cubicBezTo>
                <a:cubicBezTo>
                  <a:pt x="3429" y="862"/>
                  <a:pt x="3430" y="860"/>
                  <a:pt x="3429" y="859"/>
                </a:cubicBezTo>
                <a:cubicBezTo>
                  <a:pt x="3428" y="856"/>
                  <a:pt x="3426" y="853"/>
                  <a:pt x="3424" y="850"/>
                </a:cubicBezTo>
                <a:close/>
                <a:moveTo>
                  <a:pt x="3477" y="852"/>
                </a:moveTo>
                <a:cubicBezTo>
                  <a:pt x="3474" y="857"/>
                  <a:pt x="3472" y="862"/>
                  <a:pt x="3470" y="866"/>
                </a:cubicBezTo>
                <a:cubicBezTo>
                  <a:pt x="3473" y="866"/>
                  <a:pt x="3475" y="866"/>
                  <a:pt x="3478" y="866"/>
                </a:cubicBezTo>
                <a:cubicBezTo>
                  <a:pt x="3478" y="866"/>
                  <a:pt x="3478" y="865"/>
                  <a:pt x="3478" y="864"/>
                </a:cubicBezTo>
                <a:cubicBezTo>
                  <a:pt x="3478" y="862"/>
                  <a:pt x="3478" y="859"/>
                  <a:pt x="3478" y="857"/>
                </a:cubicBezTo>
                <a:cubicBezTo>
                  <a:pt x="3478" y="855"/>
                  <a:pt x="3477" y="854"/>
                  <a:pt x="3477" y="852"/>
                </a:cubicBezTo>
                <a:close/>
                <a:moveTo>
                  <a:pt x="3424" y="832"/>
                </a:moveTo>
                <a:cubicBezTo>
                  <a:pt x="3423" y="832"/>
                  <a:pt x="3423" y="833"/>
                  <a:pt x="3422" y="833"/>
                </a:cubicBezTo>
                <a:cubicBezTo>
                  <a:pt x="3421" y="833"/>
                  <a:pt x="3421" y="833"/>
                  <a:pt x="3421" y="832"/>
                </a:cubicBezTo>
                <a:cubicBezTo>
                  <a:pt x="3420" y="832"/>
                  <a:pt x="3420" y="831"/>
                  <a:pt x="3420" y="830"/>
                </a:cubicBezTo>
                <a:cubicBezTo>
                  <a:pt x="3421" y="828"/>
                  <a:pt x="3421" y="826"/>
                  <a:pt x="3422" y="825"/>
                </a:cubicBezTo>
                <a:cubicBezTo>
                  <a:pt x="3421" y="825"/>
                  <a:pt x="3421" y="825"/>
                  <a:pt x="3421" y="825"/>
                </a:cubicBezTo>
                <a:cubicBezTo>
                  <a:pt x="3420" y="825"/>
                  <a:pt x="3419" y="826"/>
                  <a:pt x="3418" y="827"/>
                </a:cubicBezTo>
                <a:cubicBezTo>
                  <a:pt x="3417" y="828"/>
                  <a:pt x="3419" y="834"/>
                  <a:pt x="3421" y="834"/>
                </a:cubicBezTo>
                <a:cubicBezTo>
                  <a:pt x="3422" y="835"/>
                  <a:pt x="3424" y="834"/>
                  <a:pt x="3424" y="832"/>
                </a:cubicBezTo>
                <a:close/>
                <a:moveTo>
                  <a:pt x="3476" y="824"/>
                </a:moveTo>
                <a:cubicBezTo>
                  <a:pt x="3480" y="820"/>
                  <a:pt x="3480" y="820"/>
                  <a:pt x="3483" y="819"/>
                </a:cubicBezTo>
                <a:cubicBezTo>
                  <a:pt x="3483" y="821"/>
                  <a:pt x="3485" y="822"/>
                  <a:pt x="3486" y="822"/>
                </a:cubicBezTo>
                <a:cubicBezTo>
                  <a:pt x="3484" y="823"/>
                  <a:pt x="3482" y="825"/>
                  <a:pt x="3480" y="826"/>
                </a:cubicBezTo>
                <a:cubicBezTo>
                  <a:pt x="3479" y="825"/>
                  <a:pt x="3479" y="824"/>
                  <a:pt x="3478" y="823"/>
                </a:cubicBezTo>
                <a:cubicBezTo>
                  <a:pt x="3478" y="823"/>
                  <a:pt x="3477" y="823"/>
                  <a:pt x="3476" y="824"/>
                </a:cubicBezTo>
                <a:close/>
                <a:moveTo>
                  <a:pt x="3482" y="823"/>
                </a:moveTo>
                <a:cubicBezTo>
                  <a:pt x="3481" y="823"/>
                  <a:pt x="3481" y="822"/>
                  <a:pt x="3480" y="822"/>
                </a:cubicBezTo>
                <a:cubicBezTo>
                  <a:pt x="3480" y="822"/>
                  <a:pt x="3479" y="823"/>
                  <a:pt x="3479" y="824"/>
                </a:cubicBezTo>
                <a:cubicBezTo>
                  <a:pt x="3479" y="824"/>
                  <a:pt x="3480" y="824"/>
                  <a:pt x="3480" y="825"/>
                </a:cubicBezTo>
                <a:cubicBezTo>
                  <a:pt x="3481" y="824"/>
                  <a:pt x="3481" y="824"/>
                  <a:pt x="3482" y="823"/>
                </a:cubicBezTo>
                <a:close/>
                <a:moveTo>
                  <a:pt x="3464" y="814"/>
                </a:moveTo>
                <a:cubicBezTo>
                  <a:pt x="3457" y="813"/>
                  <a:pt x="3454" y="815"/>
                  <a:pt x="3453" y="823"/>
                </a:cubicBezTo>
                <a:cubicBezTo>
                  <a:pt x="3454" y="821"/>
                  <a:pt x="3455" y="819"/>
                  <a:pt x="3456" y="816"/>
                </a:cubicBezTo>
                <a:cubicBezTo>
                  <a:pt x="3457" y="816"/>
                  <a:pt x="3457" y="816"/>
                  <a:pt x="3457" y="816"/>
                </a:cubicBezTo>
                <a:cubicBezTo>
                  <a:pt x="3457" y="818"/>
                  <a:pt x="3457" y="818"/>
                  <a:pt x="3457" y="819"/>
                </a:cubicBezTo>
                <a:cubicBezTo>
                  <a:pt x="3458" y="816"/>
                  <a:pt x="3460" y="814"/>
                  <a:pt x="3464" y="814"/>
                </a:cubicBezTo>
                <a:close/>
                <a:moveTo>
                  <a:pt x="3507" y="815"/>
                </a:moveTo>
                <a:cubicBezTo>
                  <a:pt x="3505" y="817"/>
                  <a:pt x="3503" y="818"/>
                  <a:pt x="3501" y="819"/>
                </a:cubicBezTo>
                <a:cubicBezTo>
                  <a:pt x="3504" y="820"/>
                  <a:pt x="3506" y="818"/>
                  <a:pt x="3507" y="815"/>
                </a:cubicBezTo>
                <a:close/>
                <a:moveTo>
                  <a:pt x="3474" y="817"/>
                </a:moveTo>
                <a:cubicBezTo>
                  <a:pt x="3475" y="816"/>
                  <a:pt x="3476" y="815"/>
                  <a:pt x="3477" y="813"/>
                </a:cubicBezTo>
                <a:cubicBezTo>
                  <a:pt x="3474" y="815"/>
                  <a:pt x="3473" y="815"/>
                  <a:pt x="3474" y="817"/>
                </a:cubicBezTo>
                <a:close/>
                <a:moveTo>
                  <a:pt x="3484" y="839"/>
                </a:moveTo>
                <a:cubicBezTo>
                  <a:pt x="3482" y="839"/>
                  <a:pt x="3481" y="840"/>
                  <a:pt x="3481" y="841"/>
                </a:cubicBezTo>
                <a:cubicBezTo>
                  <a:pt x="3482" y="840"/>
                  <a:pt x="3483" y="840"/>
                  <a:pt x="3484" y="839"/>
                </a:cubicBezTo>
                <a:close/>
                <a:moveTo>
                  <a:pt x="3482" y="823"/>
                </a:moveTo>
                <a:cubicBezTo>
                  <a:pt x="3482" y="823"/>
                  <a:pt x="3481" y="823"/>
                  <a:pt x="3480" y="823"/>
                </a:cubicBezTo>
                <a:cubicBezTo>
                  <a:pt x="3480" y="823"/>
                  <a:pt x="3479" y="823"/>
                  <a:pt x="3479" y="824"/>
                </a:cubicBezTo>
                <a:cubicBezTo>
                  <a:pt x="3479" y="824"/>
                  <a:pt x="3480" y="825"/>
                  <a:pt x="3480" y="825"/>
                </a:cubicBezTo>
                <a:cubicBezTo>
                  <a:pt x="3481" y="825"/>
                  <a:pt x="3481" y="824"/>
                  <a:pt x="3482" y="823"/>
                </a:cubicBezTo>
                <a:close/>
                <a:moveTo>
                  <a:pt x="3031" y="705"/>
                </a:moveTo>
                <a:cubicBezTo>
                  <a:pt x="3031" y="705"/>
                  <a:pt x="3031" y="705"/>
                  <a:pt x="3031" y="705"/>
                </a:cubicBezTo>
                <a:cubicBezTo>
                  <a:pt x="3025" y="705"/>
                  <a:pt x="3025" y="705"/>
                  <a:pt x="3025" y="705"/>
                </a:cubicBezTo>
                <a:cubicBezTo>
                  <a:pt x="3023" y="706"/>
                  <a:pt x="3022" y="708"/>
                  <a:pt x="3019" y="709"/>
                </a:cubicBezTo>
                <a:cubicBezTo>
                  <a:pt x="3018" y="710"/>
                  <a:pt x="3016" y="711"/>
                  <a:pt x="3014" y="712"/>
                </a:cubicBezTo>
                <a:cubicBezTo>
                  <a:pt x="3013" y="713"/>
                  <a:pt x="3011" y="714"/>
                  <a:pt x="3009" y="714"/>
                </a:cubicBezTo>
                <a:cubicBezTo>
                  <a:pt x="3007" y="715"/>
                  <a:pt x="3005" y="716"/>
                  <a:pt x="3003" y="716"/>
                </a:cubicBezTo>
                <a:cubicBezTo>
                  <a:pt x="3003" y="716"/>
                  <a:pt x="3003" y="716"/>
                  <a:pt x="3003" y="726"/>
                </a:cubicBezTo>
                <a:cubicBezTo>
                  <a:pt x="3006" y="725"/>
                  <a:pt x="3009" y="725"/>
                  <a:pt x="3011" y="723"/>
                </a:cubicBezTo>
                <a:cubicBezTo>
                  <a:pt x="3014" y="722"/>
                  <a:pt x="3017" y="721"/>
                  <a:pt x="3019" y="720"/>
                </a:cubicBezTo>
                <a:cubicBezTo>
                  <a:pt x="3019" y="720"/>
                  <a:pt x="3019" y="720"/>
                  <a:pt x="3019" y="778"/>
                </a:cubicBezTo>
                <a:cubicBezTo>
                  <a:pt x="3019" y="778"/>
                  <a:pt x="3019" y="778"/>
                  <a:pt x="3031" y="778"/>
                </a:cubicBezTo>
                <a:cubicBezTo>
                  <a:pt x="3031" y="778"/>
                  <a:pt x="3031" y="778"/>
                  <a:pt x="3031" y="705"/>
                </a:cubicBezTo>
                <a:close/>
                <a:moveTo>
                  <a:pt x="3077" y="705"/>
                </a:moveTo>
                <a:cubicBezTo>
                  <a:pt x="3077" y="705"/>
                  <a:pt x="3077" y="705"/>
                  <a:pt x="3077" y="705"/>
                </a:cubicBezTo>
                <a:cubicBezTo>
                  <a:pt x="3072" y="705"/>
                  <a:pt x="3072" y="705"/>
                  <a:pt x="3072" y="705"/>
                </a:cubicBezTo>
                <a:cubicBezTo>
                  <a:pt x="3071" y="706"/>
                  <a:pt x="3068" y="708"/>
                  <a:pt x="3067" y="709"/>
                </a:cubicBezTo>
                <a:cubicBezTo>
                  <a:pt x="3065" y="710"/>
                  <a:pt x="3063" y="711"/>
                  <a:pt x="3061" y="712"/>
                </a:cubicBezTo>
                <a:cubicBezTo>
                  <a:pt x="3060" y="713"/>
                  <a:pt x="3058" y="714"/>
                  <a:pt x="3056" y="714"/>
                </a:cubicBezTo>
                <a:cubicBezTo>
                  <a:pt x="3054" y="715"/>
                  <a:pt x="3052" y="716"/>
                  <a:pt x="3050" y="716"/>
                </a:cubicBezTo>
                <a:cubicBezTo>
                  <a:pt x="3050" y="716"/>
                  <a:pt x="3050" y="716"/>
                  <a:pt x="3050" y="726"/>
                </a:cubicBezTo>
                <a:cubicBezTo>
                  <a:pt x="3053" y="725"/>
                  <a:pt x="3056" y="725"/>
                  <a:pt x="3059" y="723"/>
                </a:cubicBezTo>
                <a:cubicBezTo>
                  <a:pt x="3061" y="722"/>
                  <a:pt x="3063" y="721"/>
                  <a:pt x="3066" y="720"/>
                </a:cubicBezTo>
                <a:cubicBezTo>
                  <a:pt x="3066" y="720"/>
                  <a:pt x="3066" y="720"/>
                  <a:pt x="3066" y="778"/>
                </a:cubicBezTo>
                <a:cubicBezTo>
                  <a:pt x="3066" y="778"/>
                  <a:pt x="3066" y="778"/>
                  <a:pt x="3077" y="778"/>
                </a:cubicBezTo>
                <a:cubicBezTo>
                  <a:pt x="3077" y="778"/>
                  <a:pt x="3077" y="778"/>
                  <a:pt x="3077" y="705"/>
                </a:cubicBezTo>
                <a:close/>
                <a:moveTo>
                  <a:pt x="3123" y="705"/>
                </a:moveTo>
                <a:cubicBezTo>
                  <a:pt x="3123" y="705"/>
                  <a:pt x="3123" y="705"/>
                  <a:pt x="3123" y="705"/>
                </a:cubicBezTo>
                <a:cubicBezTo>
                  <a:pt x="3119" y="705"/>
                  <a:pt x="3119" y="705"/>
                  <a:pt x="3119" y="705"/>
                </a:cubicBezTo>
                <a:cubicBezTo>
                  <a:pt x="3117" y="706"/>
                  <a:pt x="3115" y="708"/>
                  <a:pt x="3113" y="709"/>
                </a:cubicBezTo>
                <a:cubicBezTo>
                  <a:pt x="3112" y="710"/>
                  <a:pt x="3110" y="711"/>
                  <a:pt x="3108" y="712"/>
                </a:cubicBezTo>
                <a:cubicBezTo>
                  <a:pt x="3106" y="712"/>
                  <a:pt x="3104" y="713"/>
                  <a:pt x="3102" y="714"/>
                </a:cubicBezTo>
                <a:cubicBezTo>
                  <a:pt x="3101" y="714"/>
                  <a:pt x="3099" y="715"/>
                  <a:pt x="3097" y="716"/>
                </a:cubicBezTo>
                <a:cubicBezTo>
                  <a:pt x="3097" y="716"/>
                  <a:pt x="3097" y="716"/>
                  <a:pt x="3097" y="726"/>
                </a:cubicBezTo>
                <a:cubicBezTo>
                  <a:pt x="3100" y="725"/>
                  <a:pt x="3103" y="724"/>
                  <a:pt x="3105" y="723"/>
                </a:cubicBezTo>
                <a:cubicBezTo>
                  <a:pt x="3107" y="722"/>
                  <a:pt x="3110" y="721"/>
                  <a:pt x="3112" y="720"/>
                </a:cubicBezTo>
                <a:cubicBezTo>
                  <a:pt x="3112" y="720"/>
                  <a:pt x="3112" y="720"/>
                  <a:pt x="3112" y="778"/>
                </a:cubicBezTo>
                <a:cubicBezTo>
                  <a:pt x="3112" y="778"/>
                  <a:pt x="3112" y="778"/>
                  <a:pt x="3123" y="778"/>
                </a:cubicBezTo>
                <a:cubicBezTo>
                  <a:pt x="3123" y="778"/>
                  <a:pt x="3123" y="778"/>
                  <a:pt x="3123" y="705"/>
                </a:cubicBezTo>
                <a:close/>
                <a:moveTo>
                  <a:pt x="3260" y="737"/>
                </a:moveTo>
                <a:cubicBezTo>
                  <a:pt x="3260" y="737"/>
                  <a:pt x="3260" y="737"/>
                  <a:pt x="3260" y="737"/>
                </a:cubicBezTo>
                <a:cubicBezTo>
                  <a:pt x="3260" y="746"/>
                  <a:pt x="3260" y="746"/>
                  <a:pt x="3260" y="746"/>
                </a:cubicBezTo>
                <a:cubicBezTo>
                  <a:pt x="3266" y="746"/>
                  <a:pt x="3267" y="749"/>
                  <a:pt x="3267" y="752"/>
                </a:cubicBezTo>
                <a:cubicBezTo>
                  <a:pt x="3267" y="754"/>
                  <a:pt x="3266" y="756"/>
                  <a:pt x="3266" y="759"/>
                </a:cubicBezTo>
                <a:cubicBezTo>
                  <a:pt x="3266" y="761"/>
                  <a:pt x="3265" y="763"/>
                  <a:pt x="3265" y="766"/>
                </a:cubicBezTo>
                <a:cubicBezTo>
                  <a:pt x="3265" y="775"/>
                  <a:pt x="3271" y="778"/>
                  <a:pt x="3280" y="778"/>
                </a:cubicBezTo>
                <a:cubicBezTo>
                  <a:pt x="3280" y="778"/>
                  <a:pt x="3280" y="778"/>
                  <a:pt x="3284" y="778"/>
                </a:cubicBezTo>
                <a:cubicBezTo>
                  <a:pt x="3284" y="778"/>
                  <a:pt x="3284" y="778"/>
                  <a:pt x="3284" y="769"/>
                </a:cubicBezTo>
                <a:cubicBezTo>
                  <a:pt x="3284" y="769"/>
                  <a:pt x="3284" y="769"/>
                  <a:pt x="3282" y="769"/>
                </a:cubicBezTo>
                <a:cubicBezTo>
                  <a:pt x="3278" y="769"/>
                  <a:pt x="3277" y="767"/>
                  <a:pt x="3277" y="763"/>
                </a:cubicBezTo>
                <a:cubicBezTo>
                  <a:pt x="3277" y="762"/>
                  <a:pt x="3277" y="760"/>
                  <a:pt x="3278" y="759"/>
                </a:cubicBezTo>
                <a:cubicBezTo>
                  <a:pt x="3278" y="757"/>
                  <a:pt x="3278" y="755"/>
                  <a:pt x="3278" y="753"/>
                </a:cubicBezTo>
                <a:cubicBezTo>
                  <a:pt x="3278" y="745"/>
                  <a:pt x="3275" y="743"/>
                  <a:pt x="3270" y="741"/>
                </a:cubicBezTo>
                <a:cubicBezTo>
                  <a:pt x="3270" y="741"/>
                  <a:pt x="3270" y="741"/>
                  <a:pt x="3270" y="741"/>
                </a:cubicBezTo>
                <a:cubicBezTo>
                  <a:pt x="3275" y="740"/>
                  <a:pt x="3278" y="738"/>
                  <a:pt x="3278" y="730"/>
                </a:cubicBezTo>
                <a:cubicBezTo>
                  <a:pt x="3278" y="728"/>
                  <a:pt x="3278" y="726"/>
                  <a:pt x="3278" y="724"/>
                </a:cubicBezTo>
                <a:cubicBezTo>
                  <a:pt x="3277" y="722"/>
                  <a:pt x="3277" y="720"/>
                  <a:pt x="3277" y="719"/>
                </a:cubicBezTo>
                <a:cubicBezTo>
                  <a:pt x="3277" y="716"/>
                  <a:pt x="3278" y="713"/>
                  <a:pt x="3282" y="713"/>
                </a:cubicBezTo>
                <a:cubicBezTo>
                  <a:pt x="3282" y="713"/>
                  <a:pt x="3282" y="713"/>
                  <a:pt x="3284" y="713"/>
                </a:cubicBezTo>
                <a:cubicBezTo>
                  <a:pt x="3284" y="713"/>
                  <a:pt x="3284" y="713"/>
                  <a:pt x="3284" y="704"/>
                </a:cubicBezTo>
                <a:cubicBezTo>
                  <a:pt x="3284" y="704"/>
                  <a:pt x="3284" y="704"/>
                  <a:pt x="3280" y="704"/>
                </a:cubicBezTo>
                <a:cubicBezTo>
                  <a:pt x="3271" y="704"/>
                  <a:pt x="3265" y="708"/>
                  <a:pt x="3265" y="717"/>
                </a:cubicBezTo>
                <a:cubicBezTo>
                  <a:pt x="3265" y="719"/>
                  <a:pt x="3266" y="722"/>
                  <a:pt x="3266" y="724"/>
                </a:cubicBezTo>
                <a:cubicBezTo>
                  <a:pt x="3266" y="726"/>
                  <a:pt x="3267" y="729"/>
                  <a:pt x="3267" y="731"/>
                </a:cubicBezTo>
                <a:cubicBezTo>
                  <a:pt x="3267" y="734"/>
                  <a:pt x="3266" y="737"/>
                  <a:pt x="3260" y="737"/>
                </a:cubicBezTo>
                <a:close/>
                <a:moveTo>
                  <a:pt x="3315" y="746"/>
                </a:moveTo>
                <a:cubicBezTo>
                  <a:pt x="3315" y="746"/>
                  <a:pt x="3315" y="746"/>
                  <a:pt x="3315" y="746"/>
                </a:cubicBezTo>
                <a:cubicBezTo>
                  <a:pt x="3315" y="737"/>
                  <a:pt x="3315" y="737"/>
                  <a:pt x="3315" y="737"/>
                </a:cubicBezTo>
                <a:cubicBezTo>
                  <a:pt x="3308" y="737"/>
                  <a:pt x="3308" y="734"/>
                  <a:pt x="3308" y="731"/>
                </a:cubicBezTo>
                <a:cubicBezTo>
                  <a:pt x="3308" y="729"/>
                  <a:pt x="3308" y="726"/>
                  <a:pt x="3308" y="724"/>
                </a:cubicBezTo>
                <a:cubicBezTo>
                  <a:pt x="3309" y="722"/>
                  <a:pt x="3309" y="719"/>
                  <a:pt x="3309" y="717"/>
                </a:cubicBezTo>
                <a:cubicBezTo>
                  <a:pt x="3309" y="708"/>
                  <a:pt x="3303" y="704"/>
                  <a:pt x="3294" y="704"/>
                </a:cubicBezTo>
                <a:cubicBezTo>
                  <a:pt x="3294" y="704"/>
                  <a:pt x="3294" y="704"/>
                  <a:pt x="3290" y="704"/>
                </a:cubicBezTo>
                <a:cubicBezTo>
                  <a:pt x="3290" y="704"/>
                  <a:pt x="3290" y="704"/>
                  <a:pt x="3290" y="713"/>
                </a:cubicBezTo>
                <a:cubicBezTo>
                  <a:pt x="3290" y="713"/>
                  <a:pt x="3290" y="713"/>
                  <a:pt x="3292" y="713"/>
                </a:cubicBezTo>
                <a:cubicBezTo>
                  <a:pt x="3296" y="713"/>
                  <a:pt x="3297" y="716"/>
                  <a:pt x="3297" y="719"/>
                </a:cubicBezTo>
                <a:cubicBezTo>
                  <a:pt x="3297" y="720"/>
                  <a:pt x="3297" y="722"/>
                  <a:pt x="3297" y="724"/>
                </a:cubicBezTo>
                <a:cubicBezTo>
                  <a:pt x="3296" y="726"/>
                  <a:pt x="3296" y="728"/>
                  <a:pt x="3296" y="730"/>
                </a:cubicBezTo>
                <a:cubicBezTo>
                  <a:pt x="3296" y="738"/>
                  <a:pt x="3299" y="740"/>
                  <a:pt x="3305" y="741"/>
                </a:cubicBezTo>
                <a:cubicBezTo>
                  <a:pt x="3305" y="741"/>
                  <a:pt x="3305" y="741"/>
                  <a:pt x="3305" y="741"/>
                </a:cubicBezTo>
                <a:cubicBezTo>
                  <a:pt x="3299" y="743"/>
                  <a:pt x="3296" y="745"/>
                  <a:pt x="3296" y="753"/>
                </a:cubicBezTo>
                <a:cubicBezTo>
                  <a:pt x="3296" y="755"/>
                  <a:pt x="3296" y="757"/>
                  <a:pt x="3297" y="759"/>
                </a:cubicBezTo>
                <a:cubicBezTo>
                  <a:pt x="3297" y="760"/>
                  <a:pt x="3297" y="762"/>
                  <a:pt x="3297" y="763"/>
                </a:cubicBezTo>
                <a:cubicBezTo>
                  <a:pt x="3297" y="767"/>
                  <a:pt x="3296" y="769"/>
                  <a:pt x="3292" y="769"/>
                </a:cubicBezTo>
                <a:cubicBezTo>
                  <a:pt x="3292" y="769"/>
                  <a:pt x="3292" y="769"/>
                  <a:pt x="3290" y="769"/>
                </a:cubicBezTo>
                <a:cubicBezTo>
                  <a:pt x="3290" y="769"/>
                  <a:pt x="3290" y="769"/>
                  <a:pt x="3290" y="778"/>
                </a:cubicBezTo>
                <a:cubicBezTo>
                  <a:pt x="3290" y="778"/>
                  <a:pt x="3290" y="778"/>
                  <a:pt x="3294" y="778"/>
                </a:cubicBezTo>
                <a:cubicBezTo>
                  <a:pt x="3303" y="778"/>
                  <a:pt x="3309" y="775"/>
                  <a:pt x="3309" y="766"/>
                </a:cubicBezTo>
                <a:cubicBezTo>
                  <a:pt x="3309" y="763"/>
                  <a:pt x="3309" y="761"/>
                  <a:pt x="3308" y="759"/>
                </a:cubicBezTo>
                <a:cubicBezTo>
                  <a:pt x="3308" y="756"/>
                  <a:pt x="3308" y="754"/>
                  <a:pt x="3308" y="752"/>
                </a:cubicBezTo>
                <a:cubicBezTo>
                  <a:pt x="3308" y="749"/>
                  <a:pt x="3308" y="746"/>
                  <a:pt x="3315" y="746"/>
                </a:cubicBezTo>
                <a:close/>
                <a:moveTo>
                  <a:pt x="3361" y="705"/>
                </a:moveTo>
                <a:cubicBezTo>
                  <a:pt x="3361" y="705"/>
                  <a:pt x="3361" y="705"/>
                  <a:pt x="3361" y="705"/>
                </a:cubicBezTo>
                <a:cubicBezTo>
                  <a:pt x="3356" y="705"/>
                  <a:pt x="3356" y="705"/>
                  <a:pt x="3356" y="705"/>
                </a:cubicBezTo>
                <a:cubicBezTo>
                  <a:pt x="3354" y="706"/>
                  <a:pt x="3353" y="708"/>
                  <a:pt x="3350" y="709"/>
                </a:cubicBezTo>
                <a:cubicBezTo>
                  <a:pt x="3349" y="710"/>
                  <a:pt x="3347" y="711"/>
                  <a:pt x="3345" y="712"/>
                </a:cubicBezTo>
                <a:cubicBezTo>
                  <a:pt x="3343" y="712"/>
                  <a:pt x="3342" y="713"/>
                  <a:pt x="3340" y="714"/>
                </a:cubicBezTo>
                <a:cubicBezTo>
                  <a:pt x="3338" y="714"/>
                  <a:pt x="3337" y="715"/>
                  <a:pt x="3334" y="716"/>
                </a:cubicBezTo>
                <a:cubicBezTo>
                  <a:pt x="3334" y="716"/>
                  <a:pt x="3334" y="716"/>
                  <a:pt x="3334" y="726"/>
                </a:cubicBezTo>
                <a:cubicBezTo>
                  <a:pt x="3337" y="725"/>
                  <a:pt x="3340" y="724"/>
                  <a:pt x="3342" y="723"/>
                </a:cubicBezTo>
                <a:cubicBezTo>
                  <a:pt x="3345" y="722"/>
                  <a:pt x="3347" y="721"/>
                  <a:pt x="3350" y="720"/>
                </a:cubicBezTo>
                <a:cubicBezTo>
                  <a:pt x="3350" y="720"/>
                  <a:pt x="3350" y="720"/>
                  <a:pt x="3350" y="778"/>
                </a:cubicBezTo>
                <a:cubicBezTo>
                  <a:pt x="3350" y="778"/>
                  <a:pt x="3350" y="778"/>
                  <a:pt x="3361" y="778"/>
                </a:cubicBezTo>
                <a:cubicBezTo>
                  <a:pt x="3361" y="778"/>
                  <a:pt x="3361" y="778"/>
                  <a:pt x="3361" y="705"/>
                </a:cubicBezTo>
                <a:close/>
                <a:moveTo>
                  <a:pt x="3408" y="705"/>
                </a:moveTo>
                <a:cubicBezTo>
                  <a:pt x="3408" y="705"/>
                  <a:pt x="3408" y="705"/>
                  <a:pt x="3408" y="705"/>
                </a:cubicBezTo>
                <a:cubicBezTo>
                  <a:pt x="3403" y="705"/>
                  <a:pt x="3403" y="705"/>
                  <a:pt x="3403" y="705"/>
                </a:cubicBezTo>
                <a:cubicBezTo>
                  <a:pt x="3401" y="706"/>
                  <a:pt x="3399" y="708"/>
                  <a:pt x="3397" y="709"/>
                </a:cubicBezTo>
                <a:cubicBezTo>
                  <a:pt x="3396" y="710"/>
                  <a:pt x="3394" y="711"/>
                  <a:pt x="3392" y="712"/>
                </a:cubicBezTo>
                <a:cubicBezTo>
                  <a:pt x="3391" y="713"/>
                  <a:pt x="3389" y="714"/>
                  <a:pt x="3387" y="714"/>
                </a:cubicBezTo>
                <a:cubicBezTo>
                  <a:pt x="3385" y="715"/>
                  <a:pt x="3384" y="716"/>
                  <a:pt x="3381" y="716"/>
                </a:cubicBezTo>
                <a:cubicBezTo>
                  <a:pt x="3381" y="716"/>
                  <a:pt x="3381" y="716"/>
                  <a:pt x="3381" y="726"/>
                </a:cubicBezTo>
                <a:cubicBezTo>
                  <a:pt x="3384" y="725"/>
                  <a:pt x="3387" y="725"/>
                  <a:pt x="3389" y="723"/>
                </a:cubicBezTo>
                <a:cubicBezTo>
                  <a:pt x="3392" y="722"/>
                  <a:pt x="3394" y="721"/>
                  <a:pt x="3396" y="720"/>
                </a:cubicBezTo>
                <a:cubicBezTo>
                  <a:pt x="3396" y="720"/>
                  <a:pt x="3396" y="720"/>
                  <a:pt x="3396" y="778"/>
                </a:cubicBezTo>
                <a:cubicBezTo>
                  <a:pt x="3396" y="778"/>
                  <a:pt x="3396" y="778"/>
                  <a:pt x="3408" y="778"/>
                </a:cubicBezTo>
                <a:cubicBezTo>
                  <a:pt x="3408" y="778"/>
                  <a:pt x="3408" y="778"/>
                  <a:pt x="3408" y="705"/>
                </a:cubicBezTo>
                <a:close/>
                <a:moveTo>
                  <a:pt x="3454" y="705"/>
                </a:moveTo>
                <a:cubicBezTo>
                  <a:pt x="3454" y="705"/>
                  <a:pt x="3454" y="705"/>
                  <a:pt x="3454" y="705"/>
                </a:cubicBezTo>
                <a:cubicBezTo>
                  <a:pt x="3450" y="705"/>
                  <a:pt x="3450" y="705"/>
                  <a:pt x="3450" y="705"/>
                </a:cubicBezTo>
                <a:cubicBezTo>
                  <a:pt x="3447" y="706"/>
                  <a:pt x="3446" y="708"/>
                  <a:pt x="3444" y="709"/>
                </a:cubicBezTo>
                <a:cubicBezTo>
                  <a:pt x="3442" y="710"/>
                  <a:pt x="3440" y="711"/>
                  <a:pt x="3439" y="712"/>
                </a:cubicBezTo>
                <a:cubicBezTo>
                  <a:pt x="3436" y="713"/>
                  <a:pt x="3435" y="714"/>
                  <a:pt x="3433" y="714"/>
                </a:cubicBezTo>
                <a:cubicBezTo>
                  <a:pt x="3431" y="715"/>
                  <a:pt x="3429" y="716"/>
                  <a:pt x="3428" y="716"/>
                </a:cubicBezTo>
                <a:cubicBezTo>
                  <a:pt x="3428" y="716"/>
                  <a:pt x="3428" y="716"/>
                  <a:pt x="3428" y="726"/>
                </a:cubicBezTo>
                <a:cubicBezTo>
                  <a:pt x="3430" y="725"/>
                  <a:pt x="3433" y="725"/>
                  <a:pt x="3436" y="723"/>
                </a:cubicBezTo>
                <a:cubicBezTo>
                  <a:pt x="3438" y="722"/>
                  <a:pt x="3441" y="721"/>
                  <a:pt x="3442" y="720"/>
                </a:cubicBezTo>
                <a:cubicBezTo>
                  <a:pt x="3442" y="720"/>
                  <a:pt x="3442" y="720"/>
                  <a:pt x="3442" y="778"/>
                </a:cubicBezTo>
                <a:cubicBezTo>
                  <a:pt x="3442" y="778"/>
                  <a:pt x="3442" y="778"/>
                  <a:pt x="3454" y="778"/>
                </a:cubicBezTo>
                <a:cubicBezTo>
                  <a:pt x="3454" y="778"/>
                  <a:pt x="3454" y="778"/>
                  <a:pt x="3454" y="705"/>
                </a:cubicBezTo>
                <a:close/>
                <a:moveTo>
                  <a:pt x="3203" y="752"/>
                </a:moveTo>
                <a:cubicBezTo>
                  <a:pt x="3204" y="754"/>
                  <a:pt x="3204" y="755"/>
                  <a:pt x="3205" y="757"/>
                </a:cubicBezTo>
                <a:cubicBezTo>
                  <a:pt x="3205" y="758"/>
                  <a:pt x="3206" y="760"/>
                  <a:pt x="3206" y="762"/>
                </a:cubicBezTo>
                <a:cubicBezTo>
                  <a:pt x="3206" y="763"/>
                  <a:pt x="3206" y="765"/>
                  <a:pt x="3206" y="767"/>
                </a:cubicBezTo>
                <a:cubicBezTo>
                  <a:pt x="3207" y="770"/>
                  <a:pt x="3206" y="771"/>
                  <a:pt x="3203" y="771"/>
                </a:cubicBezTo>
                <a:cubicBezTo>
                  <a:pt x="3200" y="771"/>
                  <a:pt x="3197" y="771"/>
                  <a:pt x="3195" y="771"/>
                </a:cubicBezTo>
                <a:cubicBezTo>
                  <a:pt x="3194" y="771"/>
                  <a:pt x="3193" y="771"/>
                  <a:pt x="3193" y="771"/>
                </a:cubicBezTo>
                <a:cubicBezTo>
                  <a:pt x="3191" y="773"/>
                  <a:pt x="3190" y="774"/>
                  <a:pt x="3189" y="776"/>
                </a:cubicBezTo>
                <a:cubicBezTo>
                  <a:pt x="3187" y="778"/>
                  <a:pt x="3183" y="778"/>
                  <a:pt x="3181" y="776"/>
                </a:cubicBezTo>
                <a:cubicBezTo>
                  <a:pt x="3179" y="774"/>
                  <a:pt x="3178" y="772"/>
                  <a:pt x="3176" y="769"/>
                </a:cubicBezTo>
                <a:cubicBezTo>
                  <a:pt x="3176" y="767"/>
                  <a:pt x="3176" y="766"/>
                  <a:pt x="3178" y="764"/>
                </a:cubicBezTo>
                <a:cubicBezTo>
                  <a:pt x="3176" y="764"/>
                  <a:pt x="3174" y="764"/>
                  <a:pt x="3172" y="764"/>
                </a:cubicBezTo>
                <a:cubicBezTo>
                  <a:pt x="3172" y="766"/>
                  <a:pt x="3170" y="768"/>
                  <a:pt x="3170" y="770"/>
                </a:cubicBezTo>
                <a:cubicBezTo>
                  <a:pt x="3170" y="771"/>
                  <a:pt x="3169" y="772"/>
                  <a:pt x="3169" y="773"/>
                </a:cubicBezTo>
                <a:cubicBezTo>
                  <a:pt x="3169" y="776"/>
                  <a:pt x="3168" y="777"/>
                  <a:pt x="3165" y="776"/>
                </a:cubicBezTo>
                <a:cubicBezTo>
                  <a:pt x="3162" y="776"/>
                  <a:pt x="3159" y="775"/>
                  <a:pt x="3156" y="774"/>
                </a:cubicBezTo>
                <a:cubicBezTo>
                  <a:pt x="3154" y="774"/>
                  <a:pt x="3154" y="772"/>
                  <a:pt x="3154" y="770"/>
                </a:cubicBezTo>
                <a:cubicBezTo>
                  <a:pt x="3154" y="769"/>
                  <a:pt x="3154" y="769"/>
                  <a:pt x="3155" y="769"/>
                </a:cubicBezTo>
                <a:cubicBezTo>
                  <a:pt x="3152" y="767"/>
                  <a:pt x="3150" y="767"/>
                  <a:pt x="3148" y="765"/>
                </a:cubicBezTo>
                <a:cubicBezTo>
                  <a:pt x="3147" y="764"/>
                  <a:pt x="3146" y="762"/>
                  <a:pt x="3145" y="761"/>
                </a:cubicBezTo>
                <a:cubicBezTo>
                  <a:pt x="3144" y="759"/>
                  <a:pt x="3144" y="757"/>
                  <a:pt x="3146" y="755"/>
                </a:cubicBezTo>
                <a:cubicBezTo>
                  <a:pt x="3149" y="753"/>
                  <a:pt x="3150" y="750"/>
                  <a:pt x="3149" y="746"/>
                </a:cubicBezTo>
                <a:cubicBezTo>
                  <a:pt x="3149" y="744"/>
                  <a:pt x="3149" y="742"/>
                  <a:pt x="3149" y="740"/>
                </a:cubicBezTo>
                <a:cubicBezTo>
                  <a:pt x="3148" y="740"/>
                  <a:pt x="3146" y="739"/>
                  <a:pt x="3145" y="738"/>
                </a:cubicBezTo>
                <a:cubicBezTo>
                  <a:pt x="3144" y="736"/>
                  <a:pt x="3143" y="734"/>
                  <a:pt x="3143" y="733"/>
                </a:cubicBezTo>
                <a:cubicBezTo>
                  <a:pt x="3143" y="730"/>
                  <a:pt x="3146" y="727"/>
                  <a:pt x="3149" y="726"/>
                </a:cubicBezTo>
                <a:cubicBezTo>
                  <a:pt x="3150" y="727"/>
                  <a:pt x="3150" y="728"/>
                  <a:pt x="3150" y="729"/>
                </a:cubicBezTo>
                <a:cubicBezTo>
                  <a:pt x="3150" y="730"/>
                  <a:pt x="3150" y="731"/>
                  <a:pt x="3150" y="732"/>
                </a:cubicBezTo>
                <a:cubicBezTo>
                  <a:pt x="3150" y="731"/>
                  <a:pt x="3149" y="731"/>
                  <a:pt x="3149" y="731"/>
                </a:cubicBezTo>
                <a:cubicBezTo>
                  <a:pt x="3148" y="733"/>
                  <a:pt x="3148" y="734"/>
                  <a:pt x="3147" y="736"/>
                </a:cubicBezTo>
                <a:cubicBezTo>
                  <a:pt x="3148" y="735"/>
                  <a:pt x="3149" y="735"/>
                  <a:pt x="3150" y="735"/>
                </a:cubicBezTo>
                <a:cubicBezTo>
                  <a:pt x="3151" y="734"/>
                  <a:pt x="3152" y="733"/>
                  <a:pt x="3152" y="732"/>
                </a:cubicBezTo>
                <a:cubicBezTo>
                  <a:pt x="3157" y="725"/>
                  <a:pt x="3163" y="721"/>
                  <a:pt x="3170" y="719"/>
                </a:cubicBezTo>
                <a:cubicBezTo>
                  <a:pt x="3174" y="719"/>
                  <a:pt x="3177" y="718"/>
                  <a:pt x="3179" y="715"/>
                </a:cubicBezTo>
                <a:cubicBezTo>
                  <a:pt x="3179" y="715"/>
                  <a:pt x="3180" y="714"/>
                  <a:pt x="3180" y="714"/>
                </a:cubicBezTo>
                <a:cubicBezTo>
                  <a:pt x="3183" y="714"/>
                  <a:pt x="3185" y="712"/>
                  <a:pt x="3187" y="710"/>
                </a:cubicBezTo>
                <a:cubicBezTo>
                  <a:pt x="3194" y="702"/>
                  <a:pt x="3206" y="702"/>
                  <a:pt x="3214" y="708"/>
                </a:cubicBezTo>
                <a:cubicBezTo>
                  <a:pt x="3216" y="710"/>
                  <a:pt x="3219" y="712"/>
                  <a:pt x="3221" y="714"/>
                </a:cubicBezTo>
                <a:cubicBezTo>
                  <a:pt x="3223" y="715"/>
                  <a:pt x="3224" y="717"/>
                  <a:pt x="3225" y="719"/>
                </a:cubicBezTo>
                <a:cubicBezTo>
                  <a:pt x="3226" y="721"/>
                  <a:pt x="3227" y="721"/>
                  <a:pt x="3228" y="719"/>
                </a:cubicBezTo>
                <a:cubicBezTo>
                  <a:pt x="3229" y="719"/>
                  <a:pt x="3230" y="718"/>
                  <a:pt x="3230" y="717"/>
                </a:cubicBezTo>
                <a:cubicBezTo>
                  <a:pt x="3232" y="715"/>
                  <a:pt x="3236" y="715"/>
                  <a:pt x="3237" y="718"/>
                </a:cubicBezTo>
                <a:cubicBezTo>
                  <a:pt x="3238" y="721"/>
                  <a:pt x="3239" y="724"/>
                  <a:pt x="3239" y="727"/>
                </a:cubicBezTo>
                <a:cubicBezTo>
                  <a:pt x="3240" y="731"/>
                  <a:pt x="3239" y="736"/>
                  <a:pt x="3238" y="740"/>
                </a:cubicBezTo>
                <a:cubicBezTo>
                  <a:pt x="3236" y="746"/>
                  <a:pt x="3231" y="750"/>
                  <a:pt x="3224" y="750"/>
                </a:cubicBezTo>
                <a:cubicBezTo>
                  <a:pt x="3223" y="750"/>
                  <a:pt x="3223" y="750"/>
                  <a:pt x="3222" y="750"/>
                </a:cubicBezTo>
                <a:cubicBezTo>
                  <a:pt x="3220" y="750"/>
                  <a:pt x="3219" y="750"/>
                  <a:pt x="3218" y="752"/>
                </a:cubicBezTo>
                <a:cubicBezTo>
                  <a:pt x="3216" y="757"/>
                  <a:pt x="3211" y="758"/>
                  <a:pt x="3207" y="755"/>
                </a:cubicBezTo>
                <a:cubicBezTo>
                  <a:pt x="3206" y="754"/>
                  <a:pt x="3205" y="753"/>
                  <a:pt x="3204" y="752"/>
                </a:cubicBezTo>
                <a:cubicBezTo>
                  <a:pt x="3204" y="752"/>
                  <a:pt x="3204" y="752"/>
                  <a:pt x="3203" y="752"/>
                </a:cubicBezTo>
                <a:close/>
                <a:moveTo>
                  <a:pt x="3198" y="748"/>
                </a:moveTo>
                <a:cubicBezTo>
                  <a:pt x="3201" y="750"/>
                  <a:pt x="3205" y="751"/>
                  <a:pt x="3208" y="754"/>
                </a:cubicBezTo>
                <a:cubicBezTo>
                  <a:pt x="3209" y="755"/>
                  <a:pt x="3211" y="756"/>
                  <a:pt x="3213" y="755"/>
                </a:cubicBezTo>
                <a:cubicBezTo>
                  <a:pt x="3216" y="754"/>
                  <a:pt x="3217" y="752"/>
                  <a:pt x="3217" y="749"/>
                </a:cubicBezTo>
                <a:cubicBezTo>
                  <a:pt x="3217" y="750"/>
                  <a:pt x="3216" y="750"/>
                  <a:pt x="3216" y="750"/>
                </a:cubicBezTo>
                <a:cubicBezTo>
                  <a:pt x="3216" y="752"/>
                  <a:pt x="3215" y="752"/>
                  <a:pt x="3214" y="754"/>
                </a:cubicBezTo>
                <a:cubicBezTo>
                  <a:pt x="3213" y="755"/>
                  <a:pt x="3211" y="754"/>
                  <a:pt x="3211" y="754"/>
                </a:cubicBezTo>
                <a:cubicBezTo>
                  <a:pt x="3210" y="754"/>
                  <a:pt x="3210" y="753"/>
                  <a:pt x="3210" y="752"/>
                </a:cubicBezTo>
                <a:cubicBezTo>
                  <a:pt x="3210" y="750"/>
                  <a:pt x="3210" y="748"/>
                  <a:pt x="3210" y="746"/>
                </a:cubicBezTo>
                <a:cubicBezTo>
                  <a:pt x="3213" y="746"/>
                  <a:pt x="3217" y="748"/>
                  <a:pt x="3220" y="748"/>
                </a:cubicBezTo>
                <a:cubicBezTo>
                  <a:pt x="3228" y="749"/>
                  <a:pt x="3234" y="748"/>
                  <a:pt x="3237" y="739"/>
                </a:cubicBezTo>
                <a:cubicBezTo>
                  <a:pt x="3238" y="734"/>
                  <a:pt x="3238" y="729"/>
                  <a:pt x="3237" y="724"/>
                </a:cubicBezTo>
                <a:cubicBezTo>
                  <a:pt x="3237" y="722"/>
                  <a:pt x="3236" y="721"/>
                  <a:pt x="3235" y="719"/>
                </a:cubicBezTo>
                <a:cubicBezTo>
                  <a:pt x="3234" y="717"/>
                  <a:pt x="3233" y="717"/>
                  <a:pt x="3232" y="718"/>
                </a:cubicBezTo>
                <a:cubicBezTo>
                  <a:pt x="3230" y="720"/>
                  <a:pt x="3229" y="721"/>
                  <a:pt x="3227" y="722"/>
                </a:cubicBezTo>
                <a:cubicBezTo>
                  <a:pt x="3226" y="723"/>
                  <a:pt x="3225" y="723"/>
                  <a:pt x="3226" y="725"/>
                </a:cubicBezTo>
                <a:cubicBezTo>
                  <a:pt x="3226" y="728"/>
                  <a:pt x="3226" y="731"/>
                  <a:pt x="3224" y="734"/>
                </a:cubicBezTo>
                <a:cubicBezTo>
                  <a:pt x="3224" y="732"/>
                  <a:pt x="3225" y="730"/>
                  <a:pt x="3225" y="729"/>
                </a:cubicBezTo>
                <a:cubicBezTo>
                  <a:pt x="3225" y="728"/>
                  <a:pt x="3224" y="727"/>
                  <a:pt x="3224" y="727"/>
                </a:cubicBezTo>
                <a:cubicBezTo>
                  <a:pt x="3224" y="727"/>
                  <a:pt x="3223" y="727"/>
                  <a:pt x="3223" y="728"/>
                </a:cubicBezTo>
                <a:cubicBezTo>
                  <a:pt x="3222" y="729"/>
                  <a:pt x="3221" y="731"/>
                  <a:pt x="3221" y="732"/>
                </a:cubicBezTo>
                <a:cubicBezTo>
                  <a:pt x="3220" y="732"/>
                  <a:pt x="3220" y="732"/>
                  <a:pt x="3220" y="732"/>
                </a:cubicBezTo>
                <a:cubicBezTo>
                  <a:pt x="3221" y="730"/>
                  <a:pt x="3221" y="729"/>
                  <a:pt x="3221" y="726"/>
                </a:cubicBezTo>
                <a:cubicBezTo>
                  <a:pt x="3220" y="727"/>
                  <a:pt x="3220" y="727"/>
                  <a:pt x="3219" y="728"/>
                </a:cubicBezTo>
                <a:cubicBezTo>
                  <a:pt x="3219" y="729"/>
                  <a:pt x="3218" y="729"/>
                  <a:pt x="3218" y="730"/>
                </a:cubicBezTo>
                <a:cubicBezTo>
                  <a:pt x="3218" y="727"/>
                  <a:pt x="3219" y="727"/>
                  <a:pt x="3224" y="725"/>
                </a:cubicBezTo>
                <a:cubicBezTo>
                  <a:pt x="3224" y="725"/>
                  <a:pt x="3223" y="724"/>
                  <a:pt x="3223" y="724"/>
                </a:cubicBezTo>
                <a:cubicBezTo>
                  <a:pt x="3221" y="725"/>
                  <a:pt x="3220" y="723"/>
                  <a:pt x="3219" y="721"/>
                </a:cubicBezTo>
                <a:cubicBezTo>
                  <a:pt x="3221" y="721"/>
                  <a:pt x="3223" y="720"/>
                  <a:pt x="3224" y="720"/>
                </a:cubicBezTo>
                <a:cubicBezTo>
                  <a:pt x="3223" y="717"/>
                  <a:pt x="3221" y="715"/>
                  <a:pt x="3218" y="714"/>
                </a:cubicBezTo>
                <a:cubicBezTo>
                  <a:pt x="3217" y="714"/>
                  <a:pt x="3217" y="714"/>
                  <a:pt x="3217" y="714"/>
                </a:cubicBezTo>
                <a:cubicBezTo>
                  <a:pt x="3215" y="712"/>
                  <a:pt x="3212" y="709"/>
                  <a:pt x="3210" y="707"/>
                </a:cubicBezTo>
                <a:cubicBezTo>
                  <a:pt x="3207" y="706"/>
                  <a:pt x="3204" y="705"/>
                  <a:pt x="3202" y="705"/>
                </a:cubicBezTo>
                <a:cubicBezTo>
                  <a:pt x="3199" y="706"/>
                  <a:pt x="3196" y="707"/>
                  <a:pt x="3193" y="708"/>
                </a:cubicBezTo>
                <a:cubicBezTo>
                  <a:pt x="3190" y="709"/>
                  <a:pt x="3187" y="710"/>
                  <a:pt x="3185" y="714"/>
                </a:cubicBezTo>
                <a:cubicBezTo>
                  <a:pt x="3187" y="714"/>
                  <a:pt x="3188" y="714"/>
                  <a:pt x="3189" y="714"/>
                </a:cubicBezTo>
                <a:cubicBezTo>
                  <a:pt x="3189" y="714"/>
                  <a:pt x="3188" y="714"/>
                  <a:pt x="3187" y="714"/>
                </a:cubicBezTo>
                <a:cubicBezTo>
                  <a:pt x="3185" y="715"/>
                  <a:pt x="3182" y="714"/>
                  <a:pt x="3180" y="717"/>
                </a:cubicBezTo>
                <a:cubicBezTo>
                  <a:pt x="3177" y="721"/>
                  <a:pt x="3173" y="724"/>
                  <a:pt x="3169" y="729"/>
                </a:cubicBezTo>
                <a:cubicBezTo>
                  <a:pt x="3168" y="731"/>
                  <a:pt x="3167" y="733"/>
                  <a:pt x="3166" y="735"/>
                </a:cubicBezTo>
                <a:cubicBezTo>
                  <a:pt x="3166" y="736"/>
                  <a:pt x="3166" y="736"/>
                  <a:pt x="3166" y="737"/>
                </a:cubicBezTo>
                <a:cubicBezTo>
                  <a:pt x="3167" y="739"/>
                  <a:pt x="3169" y="741"/>
                  <a:pt x="3170" y="743"/>
                </a:cubicBezTo>
                <a:cubicBezTo>
                  <a:pt x="3171" y="741"/>
                  <a:pt x="3172" y="740"/>
                  <a:pt x="3174" y="738"/>
                </a:cubicBezTo>
                <a:cubicBezTo>
                  <a:pt x="3173" y="740"/>
                  <a:pt x="3173" y="741"/>
                  <a:pt x="3172" y="742"/>
                </a:cubicBezTo>
                <a:cubicBezTo>
                  <a:pt x="3171" y="744"/>
                  <a:pt x="3170" y="745"/>
                  <a:pt x="3170" y="746"/>
                </a:cubicBezTo>
                <a:cubicBezTo>
                  <a:pt x="3170" y="747"/>
                  <a:pt x="3170" y="748"/>
                  <a:pt x="3170" y="749"/>
                </a:cubicBezTo>
                <a:cubicBezTo>
                  <a:pt x="3173" y="753"/>
                  <a:pt x="3176" y="753"/>
                  <a:pt x="3180" y="751"/>
                </a:cubicBezTo>
                <a:cubicBezTo>
                  <a:pt x="3182" y="749"/>
                  <a:pt x="3185" y="748"/>
                  <a:pt x="3188" y="747"/>
                </a:cubicBezTo>
                <a:cubicBezTo>
                  <a:pt x="3189" y="747"/>
                  <a:pt x="3191" y="746"/>
                  <a:pt x="3191" y="744"/>
                </a:cubicBezTo>
                <a:cubicBezTo>
                  <a:pt x="3191" y="741"/>
                  <a:pt x="3191" y="738"/>
                  <a:pt x="3191" y="734"/>
                </a:cubicBezTo>
                <a:cubicBezTo>
                  <a:pt x="3191" y="731"/>
                  <a:pt x="3191" y="729"/>
                  <a:pt x="3191" y="725"/>
                </a:cubicBezTo>
                <a:cubicBezTo>
                  <a:pt x="3191" y="728"/>
                  <a:pt x="3192" y="731"/>
                  <a:pt x="3192" y="733"/>
                </a:cubicBezTo>
                <a:cubicBezTo>
                  <a:pt x="3193" y="738"/>
                  <a:pt x="3193" y="742"/>
                  <a:pt x="3192" y="747"/>
                </a:cubicBezTo>
                <a:cubicBezTo>
                  <a:pt x="3191" y="748"/>
                  <a:pt x="3191" y="748"/>
                  <a:pt x="3190" y="748"/>
                </a:cubicBezTo>
                <a:cubicBezTo>
                  <a:pt x="3187" y="749"/>
                  <a:pt x="3183" y="751"/>
                  <a:pt x="3180" y="752"/>
                </a:cubicBezTo>
                <a:cubicBezTo>
                  <a:pt x="3175" y="755"/>
                  <a:pt x="3172" y="754"/>
                  <a:pt x="3168" y="750"/>
                </a:cubicBezTo>
                <a:cubicBezTo>
                  <a:pt x="3168" y="749"/>
                  <a:pt x="3168" y="748"/>
                  <a:pt x="3168" y="748"/>
                </a:cubicBezTo>
                <a:cubicBezTo>
                  <a:pt x="3169" y="745"/>
                  <a:pt x="3168" y="743"/>
                  <a:pt x="3167" y="741"/>
                </a:cubicBezTo>
                <a:cubicBezTo>
                  <a:pt x="3165" y="739"/>
                  <a:pt x="3163" y="737"/>
                  <a:pt x="3165" y="734"/>
                </a:cubicBezTo>
                <a:cubicBezTo>
                  <a:pt x="3165" y="732"/>
                  <a:pt x="3166" y="731"/>
                  <a:pt x="3167" y="729"/>
                </a:cubicBezTo>
                <a:cubicBezTo>
                  <a:pt x="3169" y="726"/>
                  <a:pt x="3171" y="724"/>
                  <a:pt x="3173" y="721"/>
                </a:cubicBezTo>
                <a:cubicBezTo>
                  <a:pt x="3173" y="721"/>
                  <a:pt x="3172" y="721"/>
                  <a:pt x="3172" y="721"/>
                </a:cubicBezTo>
                <a:cubicBezTo>
                  <a:pt x="3167" y="722"/>
                  <a:pt x="3163" y="724"/>
                  <a:pt x="3159" y="727"/>
                </a:cubicBezTo>
                <a:cubicBezTo>
                  <a:pt x="3154" y="731"/>
                  <a:pt x="3151" y="736"/>
                  <a:pt x="3151" y="743"/>
                </a:cubicBezTo>
                <a:cubicBezTo>
                  <a:pt x="3150" y="750"/>
                  <a:pt x="3153" y="756"/>
                  <a:pt x="3156" y="762"/>
                </a:cubicBezTo>
                <a:cubicBezTo>
                  <a:pt x="3157" y="763"/>
                  <a:pt x="3157" y="764"/>
                  <a:pt x="3157" y="765"/>
                </a:cubicBezTo>
                <a:cubicBezTo>
                  <a:pt x="3157" y="767"/>
                  <a:pt x="3157" y="769"/>
                  <a:pt x="3156" y="770"/>
                </a:cubicBezTo>
                <a:cubicBezTo>
                  <a:pt x="3156" y="772"/>
                  <a:pt x="3156" y="773"/>
                  <a:pt x="3157" y="773"/>
                </a:cubicBezTo>
                <a:cubicBezTo>
                  <a:pt x="3160" y="774"/>
                  <a:pt x="3163" y="774"/>
                  <a:pt x="3166" y="774"/>
                </a:cubicBezTo>
                <a:cubicBezTo>
                  <a:pt x="3167" y="774"/>
                  <a:pt x="3167" y="774"/>
                  <a:pt x="3167" y="773"/>
                </a:cubicBezTo>
                <a:cubicBezTo>
                  <a:pt x="3168" y="772"/>
                  <a:pt x="3168" y="771"/>
                  <a:pt x="3169" y="770"/>
                </a:cubicBezTo>
                <a:cubicBezTo>
                  <a:pt x="3170" y="767"/>
                  <a:pt x="3170" y="765"/>
                  <a:pt x="3170" y="762"/>
                </a:cubicBezTo>
                <a:cubicBezTo>
                  <a:pt x="3170" y="761"/>
                  <a:pt x="3170" y="761"/>
                  <a:pt x="3170" y="761"/>
                </a:cubicBezTo>
                <a:cubicBezTo>
                  <a:pt x="3170" y="760"/>
                  <a:pt x="3170" y="760"/>
                  <a:pt x="3170" y="760"/>
                </a:cubicBezTo>
                <a:cubicBezTo>
                  <a:pt x="3171" y="763"/>
                  <a:pt x="3172" y="763"/>
                  <a:pt x="3174" y="763"/>
                </a:cubicBezTo>
                <a:cubicBezTo>
                  <a:pt x="3175" y="763"/>
                  <a:pt x="3176" y="763"/>
                  <a:pt x="3177" y="763"/>
                </a:cubicBezTo>
                <a:cubicBezTo>
                  <a:pt x="3180" y="763"/>
                  <a:pt x="3183" y="763"/>
                  <a:pt x="3183" y="759"/>
                </a:cubicBezTo>
                <a:cubicBezTo>
                  <a:pt x="3183" y="761"/>
                  <a:pt x="3183" y="763"/>
                  <a:pt x="3183" y="764"/>
                </a:cubicBezTo>
                <a:cubicBezTo>
                  <a:pt x="3182" y="765"/>
                  <a:pt x="3181" y="765"/>
                  <a:pt x="3180" y="766"/>
                </a:cubicBezTo>
                <a:cubicBezTo>
                  <a:pt x="3178" y="767"/>
                  <a:pt x="3178" y="768"/>
                  <a:pt x="3178" y="769"/>
                </a:cubicBezTo>
                <a:cubicBezTo>
                  <a:pt x="3180" y="771"/>
                  <a:pt x="3181" y="773"/>
                  <a:pt x="3182" y="775"/>
                </a:cubicBezTo>
                <a:cubicBezTo>
                  <a:pt x="3184" y="776"/>
                  <a:pt x="3186" y="776"/>
                  <a:pt x="3187" y="774"/>
                </a:cubicBezTo>
                <a:cubicBezTo>
                  <a:pt x="3188" y="774"/>
                  <a:pt x="3189" y="773"/>
                  <a:pt x="3189" y="773"/>
                </a:cubicBezTo>
                <a:cubicBezTo>
                  <a:pt x="3191" y="771"/>
                  <a:pt x="3193" y="770"/>
                  <a:pt x="3194" y="769"/>
                </a:cubicBezTo>
                <a:cubicBezTo>
                  <a:pt x="3198" y="764"/>
                  <a:pt x="3200" y="758"/>
                  <a:pt x="3202" y="752"/>
                </a:cubicBezTo>
                <a:cubicBezTo>
                  <a:pt x="3202" y="752"/>
                  <a:pt x="3201" y="751"/>
                  <a:pt x="3201" y="751"/>
                </a:cubicBezTo>
                <a:cubicBezTo>
                  <a:pt x="3200" y="750"/>
                  <a:pt x="3199" y="749"/>
                  <a:pt x="3198" y="748"/>
                </a:cubicBezTo>
                <a:close/>
                <a:moveTo>
                  <a:pt x="3150" y="754"/>
                </a:moveTo>
                <a:cubicBezTo>
                  <a:pt x="3150" y="755"/>
                  <a:pt x="3148" y="756"/>
                  <a:pt x="3147" y="757"/>
                </a:cubicBezTo>
                <a:cubicBezTo>
                  <a:pt x="3146" y="757"/>
                  <a:pt x="3146" y="758"/>
                  <a:pt x="3146" y="759"/>
                </a:cubicBezTo>
                <a:cubicBezTo>
                  <a:pt x="3146" y="762"/>
                  <a:pt x="3150" y="766"/>
                  <a:pt x="3154" y="766"/>
                </a:cubicBezTo>
                <a:cubicBezTo>
                  <a:pt x="3155" y="766"/>
                  <a:pt x="3156" y="765"/>
                  <a:pt x="3155" y="763"/>
                </a:cubicBezTo>
                <a:cubicBezTo>
                  <a:pt x="3154" y="760"/>
                  <a:pt x="3152" y="757"/>
                  <a:pt x="3150" y="754"/>
                </a:cubicBezTo>
                <a:close/>
                <a:moveTo>
                  <a:pt x="3203" y="756"/>
                </a:moveTo>
                <a:cubicBezTo>
                  <a:pt x="3201" y="761"/>
                  <a:pt x="3198" y="765"/>
                  <a:pt x="3196" y="770"/>
                </a:cubicBezTo>
                <a:cubicBezTo>
                  <a:pt x="3199" y="770"/>
                  <a:pt x="3201" y="770"/>
                  <a:pt x="3204" y="770"/>
                </a:cubicBezTo>
                <a:cubicBezTo>
                  <a:pt x="3204" y="770"/>
                  <a:pt x="3205" y="769"/>
                  <a:pt x="3205" y="768"/>
                </a:cubicBezTo>
                <a:cubicBezTo>
                  <a:pt x="3205" y="765"/>
                  <a:pt x="3205" y="763"/>
                  <a:pt x="3204" y="761"/>
                </a:cubicBezTo>
                <a:cubicBezTo>
                  <a:pt x="3204" y="759"/>
                  <a:pt x="3204" y="758"/>
                  <a:pt x="3203" y="756"/>
                </a:cubicBezTo>
                <a:close/>
                <a:moveTo>
                  <a:pt x="3150" y="736"/>
                </a:moveTo>
                <a:cubicBezTo>
                  <a:pt x="3150" y="736"/>
                  <a:pt x="3149" y="737"/>
                  <a:pt x="3148" y="737"/>
                </a:cubicBezTo>
                <a:cubicBezTo>
                  <a:pt x="3148" y="737"/>
                  <a:pt x="3147" y="737"/>
                  <a:pt x="3147" y="736"/>
                </a:cubicBezTo>
                <a:cubicBezTo>
                  <a:pt x="3146" y="736"/>
                  <a:pt x="3146" y="735"/>
                  <a:pt x="3146" y="734"/>
                </a:cubicBezTo>
                <a:cubicBezTo>
                  <a:pt x="3147" y="733"/>
                  <a:pt x="3147" y="731"/>
                  <a:pt x="3148" y="729"/>
                </a:cubicBezTo>
                <a:cubicBezTo>
                  <a:pt x="3148" y="729"/>
                  <a:pt x="3148" y="729"/>
                  <a:pt x="3147" y="729"/>
                </a:cubicBezTo>
                <a:cubicBezTo>
                  <a:pt x="3146" y="729"/>
                  <a:pt x="3145" y="730"/>
                  <a:pt x="3144" y="731"/>
                </a:cubicBezTo>
                <a:cubicBezTo>
                  <a:pt x="3144" y="733"/>
                  <a:pt x="3145" y="738"/>
                  <a:pt x="3147" y="738"/>
                </a:cubicBezTo>
                <a:cubicBezTo>
                  <a:pt x="3148" y="739"/>
                  <a:pt x="3150" y="738"/>
                  <a:pt x="3150" y="736"/>
                </a:cubicBezTo>
                <a:close/>
                <a:moveTo>
                  <a:pt x="3150" y="754"/>
                </a:moveTo>
                <a:cubicBezTo>
                  <a:pt x="3150" y="755"/>
                  <a:pt x="3148" y="756"/>
                  <a:pt x="3147" y="757"/>
                </a:cubicBezTo>
                <a:cubicBezTo>
                  <a:pt x="3147" y="757"/>
                  <a:pt x="3146" y="758"/>
                  <a:pt x="3146" y="759"/>
                </a:cubicBezTo>
                <a:cubicBezTo>
                  <a:pt x="3146" y="762"/>
                  <a:pt x="3150" y="766"/>
                  <a:pt x="3154" y="766"/>
                </a:cubicBezTo>
                <a:cubicBezTo>
                  <a:pt x="3155" y="766"/>
                  <a:pt x="3156" y="764"/>
                  <a:pt x="3155" y="763"/>
                </a:cubicBezTo>
                <a:cubicBezTo>
                  <a:pt x="3154" y="760"/>
                  <a:pt x="3152" y="757"/>
                  <a:pt x="3150" y="754"/>
                </a:cubicBezTo>
                <a:close/>
                <a:moveTo>
                  <a:pt x="3203" y="756"/>
                </a:moveTo>
                <a:cubicBezTo>
                  <a:pt x="3201" y="761"/>
                  <a:pt x="3199" y="766"/>
                  <a:pt x="3196" y="770"/>
                </a:cubicBezTo>
                <a:cubicBezTo>
                  <a:pt x="3199" y="770"/>
                  <a:pt x="3201" y="770"/>
                  <a:pt x="3204" y="770"/>
                </a:cubicBezTo>
                <a:cubicBezTo>
                  <a:pt x="3204" y="770"/>
                  <a:pt x="3205" y="769"/>
                  <a:pt x="3205" y="768"/>
                </a:cubicBezTo>
                <a:cubicBezTo>
                  <a:pt x="3205" y="766"/>
                  <a:pt x="3205" y="763"/>
                  <a:pt x="3204" y="761"/>
                </a:cubicBezTo>
                <a:cubicBezTo>
                  <a:pt x="3204" y="759"/>
                  <a:pt x="3204" y="758"/>
                  <a:pt x="3203" y="756"/>
                </a:cubicBezTo>
                <a:close/>
                <a:moveTo>
                  <a:pt x="3151" y="736"/>
                </a:moveTo>
                <a:cubicBezTo>
                  <a:pt x="3150" y="736"/>
                  <a:pt x="3149" y="737"/>
                  <a:pt x="3149" y="737"/>
                </a:cubicBezTo>
                <a:cubicBezTo>
                  <a:pt x="3148" y="737"/>
                  <a:pt x="3147" y="737"/>
                  <a:pt x="3147" y="736"/>
                </a:cubicBezTo>
                <a:cubicBezTo>
                  <a:pt x="3147" y="736"/>
                  <a:pt x="3146" y="735"/>
                  <a:pt x="3146" y="734"/>
                </a:cubicBezTo>
                <a:cubicBezTo>
                  <a:pt x="3147" y="732"/>
                  <a:pt x="3147" y="730"/>
                  <a:pt x="3148" y="729"/>
                </a:cubicBezTo>
                <a:cubicBezTo>
                  <a:pt x="3148" y="729"/>
                  <a:pt x="3148" y="729"/>
                  <a:pt x="3147" y="729"/>
                </a:cubicBezTo>
                <a:cubicBezTo>
                  <a:pt x="3147" y="729"/>
                  <a:pt x="3145" y="730"/>
                  <a:pt x="3145" y="731"/>
                </a:cubicBezTo>
                <a:cubicBezTo>
                  <a:pt x="3144" y="732"/>
                  <a:pt x="3145" y="738"/>
                  <a:pt x="3147" y="738"/>
                </a:cubicBezTo>
                <a:cubicBezTo>
                  <a:pt x="3149" y="739"/>
                  <a:pt x="3151" y="738"/>
                  <a:pt x="3151" y="736"/>
                </a:cubicBezTo>
                <a:close/>
                <a:moveTo>
                  <a:pt x="3203" y="728"/>
                </a:moveTo>
                <a:cubicBezTo>
                  <a:pt x="3206" y="724"/>
                  <a:pt x="3206" y="724"/>
                  <a:pt x="3210" y="723"/>
                </a:cubicBezTo>
                <a:cubicBezTo>
                  <a:pt x="3210" y="725"/>
                  <a:pt x="3211" y="726"/>
                  <a:pt x="3212" y="726"/>
                </a:cubicBezTo>
                <a:cubicBezTo>
                  <a:pt x="3210" y="727"/>
                  <a:pt x="3208" y="729"/>
                  <a:pt x="3206" y="730"/>
                </a:cubicBezTo>
                <a:cubicBezTo>
                  <a:pt x="3206" y="729"/>
                  <a:pt x="3205" y="728"/>
                  <a:pt x="3204" y="727"/>
                </a:cubicBezTo>
                <a:cubicBezTo>
                  <a:pt x="3204" y="727"/>
                  <a:pt x="3204" y="727"/>
                  <a:pt x="3203" y="728"/>
                </a:cubicBezTo>
                <a:close/>
                <a:moveTo>
                  <a:pt x="3209" y="727"/>
                </a:moveTo>
                <a:cubicBezTo>
                  <a:pt x="3208" y="727"/>
                  <a:pt x="3207" y="727"/>
                  <a:pt x="3207" y="727"/>
                </a:cubicBezTo>
                <a:cubicBezTo>
                  <a:pt x="3206" y="727"/>
                  <a:pt x="3206" y="727"/>
                  <a:pt x="3206" y="728"/>
                </a:cubicBezTo>
                <a:cubicBezTo>
                  <a:pt x="3206" y="728"/>
                  <a:pt x="3206" y="728"/>
                  <a:pt x="3206" y="729"/>
                </a:cubicBezTo>
                <a:cubicBezTo>
                  <a:pt x="3207" y="728"/>
                  <a:pt x="3208" y="728"/>
                  <a:pt x="3209" y="727"/>
                </a:cubicBezTo>
                <a:close/>
                <a:moveTo>
                  <a:pt x="3190" y="718"/>
                </a:moveTo>
                <a:cubicBezTo>
                  <a:pt x="3183" y="717"/>
                  <a:pt x="3181" y="719"/>
                  <a:pt x="3179" y="728"/>
                </a:cubicBezTo>
                <a:cubicBezTo>
                  <a:pt x="3181" y="726"/>
                  <a:pt x="3182" y="723"/>
                  <a:pt x="3183" y="721"/>
                </a:cubicBezTo>
                <a:cubicBezTo>
                  <a:pt x="3183" y="721"/>
                  <a:pt x="3183" y="721"/>
                  <a:pt x="3183" y="721"/>
                </a:cubicBezTo>
                <a:cubicBezTo>
                  <a:pt x="3183" y="722"/>
                  <a:pt x="3184" y="723"/>
                  <a:pt x="3184" y="723"/>
                </a:cubicBezTo>
                <a:cubicBezTo>
                  <a:pt x="3185" y="720"/>
                  <a:pt x="3186" y="718"/>
                  <a:pt x="3190" y="718"/>
                </a:cubicBezTo>
                <a:close/>
                <a:moveTo>
                  <a:pt x="3234" y="719"/>
                </a:moveTo>
                <a:cubicBezTo>
                  <a:pt x="3232" y="721"/>
                  <a:pt x="3229" y="722"/>
                  <a:pt x="3228" y="723"/>
                </a:cubicBezTo>
                <a:cubicBezTo>
                  <a:pt x="3230" y="724"/>
                  <a:pt x="3232" y="722"/>
                  <a:pt x="3234" y="719"/>
                </a:cubicBezTo>
                <a:close/>
                <a:moveTo>
                  <a:pt x="3200" y="721"/>
                </a:moveTo>
                <a:cubicBezTo>
                  <a:pt x="3201" y="720"/>
                  <a:pt x="3202" y="719"/>
                  <a:pt x="3203" y="717"/>
                </a:cubicBezTo>
                <a:cubicBezTo>
                  <a:pt x="3200" y="719"/>
                  <a:pt x="3200" y="719"/>
                  <a:pt x="3200" y="721"/>
                </a:cubicBezTo>
                <a:close/>
                <a:moveTo>
                  <a:pt x="3210" y="743"/>
                </a:moveTo>
                <a:cubicBezTo>
                  <a:pt x="3208" y="743"/>
                  <a:pt x="3207" y="744"/>
                  <a:pt x="3207" y="745"/>
                </a:cubicBezTo>
                <a:cubicBezTo>
                  <a:pt x="3208" y="744"/>
                  <a:pt x="3209" y="744"/>
                  <a:pt x="3210" y="743"/>
                </a:cubicBezTo>
                <a:close/>
                <a:moveTo>
                  <a:pt x="3209" y="727"/>
                </a:moveTo>
                <a:cubicBezTo>
                  <a:pt x="3208" y="727"/>
                  <a:pt x="3207" y="727"/>
                  <a:pt x="3207" y="727"/>
                </a:cubicBezTo>
                <a:cubicBezTo>
                  <a:pt x="3206" y="727"/>
                  <a:pt x="3206" y="727"/>
                  <a:pt x="3206" y="728"/>
                </a:cubicBezTo>
                <a:cubicBezTo>
                  <a:pt x="3206" y="728"/>
                  <a:pt x="3206" y="729"/>
                  <a:pt x="3206" y="729"/>
                </a:cubicBezTo>
                <a:cubicBezTo>
                  <a:pt x="3207" y="729"/>
                  <a:pt x="3208" y="728"/>
                  <a:pt x="3209" y="727"/>
                </a:cubicBezTo>
                <a:close/>
                <a:moveTo>
                  <a:pt x="3500" y="705"/>
                </a:moveTo>
                <a:cubicBezTo>
                  <a:pt x="3500" y="705"/>
                  <a:pt x="3500" y="705"/>
                  <a:pt x="3500" y="705"/>
                </a:cubicBezTo>
                <a:cubicBezTo>
                  <a:pt x="3495" y="705"/>
                  <a:pt x="3495" y="705"/>
                  <a:pt x="3495" y="705"/>
                </a:cubicBezTo>
                <a:cubicBezTo>
                  <a:pt x="3493" y="706"/>
                  <a:pt x="3492" y="708"/>
                  <a:pt x="3489" y="709"/>
                </a:cubicBezTo>
                <a:cubicBezTo>
                  <a:pt x="3488" y="710"/>
                  <a:pt x="3486" y="711"/>
                  <a:pt x="3484" y="712"/>
                </a:cubicBezTo>
                <a:cubicBezTo>
                  <a:pt x="3482" y="713"/>
                  <a:pt x="3481" y="714"/>
                  <a:pt x="3479" y="714"/>
                </a:cubicBezTo>
                <a:cubicBezTo>
                  <a:pt x="3477" y="715"/>
                  <a:pt x="3475" y="716"/>
                  <a:pt x="3474" y="716"/>
                </a:cubicBezTo>
                <a:cubicBezTo>
                  <a:pt x="3474" y="716"/>
                  <a:pt x="3474" y="716"/>
                  <a:pt x="3474" y="726"/>
                </a:cubicBezTo>
                <a:cubicBezTo>
                  <a:pt x="3476" y="725"/>
                  <a:pt x="3479" y="725"/>
                  <a:pt x="3482" y="723"/>
                </a:cubicBezTo>
                <a:cubicBezTo>
                  <a:pt x="3484" y="722"/>
                  <a:pt x="3487" y="721"/>
                  <a:pt x="3488" y="720"/>
                </a:cubicBezTo>
                <a:cubicBezTo>
                  <a:pt x="3488" y="720"/>
                  <a:pt x="3488" y="720"/>
                  <a:pt x="3488" y="778"/>
                </a:cubicBezTo>
                <a:cubicBezTo>
                  <a:pt x="3488" y="778"/>
                  <a:pt x="3488" y="778"/>
                  <a:pt x="3500" y="778"/>
                </a:cubicBezTo>
                <a:cubicBezTo>
                  <a:pt x="3500" y="778"/>
                  <a:pt x="3500" y="778"/>
                  <a:pt x="3500" y="705"/>
                </a:cubicBezTo>
                <a:close/>
                <a:moveTo>
                  <a:pt x="3621" y="705"/>
                </a:moveTo>
                <a:cubicBezTo>
                  <a:pt x="3621" y="705"/>
                  <a:pt x="3621" y="705"/>
                  <a:pt x="3621" y="705"/>
                </a:cubicBezTo>
                <a:cubicBezTo>
                  <a:pt x="3616" y="705"/>
                  <a:pt x="3616" y="705"/>
                  <a:pt x="3616" y="705"/>
                </a:cubicBezTo>
                <a:cubicBezTo>
                  <a:pt x="3614" y="706"/>
                  <a:pt x="3613" y="708"/>
                  <a:pt x="3611" y="709"/>
                </a:cubicBezTo>
                <a:cubicBezTo>
                  <a:pt x="3609" y="710"/>
                  <a:pt x="3608" y="711"/>
                  <a:pt x="3605" y="712"/>
                </a:cubicBezTo>
                <a:cubicBezTo>
                  <a:pt x="3604" y="713"/>
                  <a:pt x="3602" y="714"/>
                  <a:pt x="3600" y="714"/>
                </a:cubicBezTo>
                <a:cubicBezTo>
                  <a:pt x="3598" y="715"/>
                  <a:pt x="3597" y="716"/>
                  <a:pt x="3595" y="716"/>
                </a:cubicBezTo>
                <a:cubicBezTo>
                  <a:pt x="3595" y="716"/>
                  <a:pt x="3595" y="716"/>
                  <a:pt x="3595" y="726"/>
                </a:cubicBezTo>
                <a:cubicBezTo>
                  <a:pt x="3597" y="725"/>
                  <a:pt x="3600" y="725"/>
                  <a:pt x="3603" y="723"/>
                </a:cubicBezTo>
                <a:cubicBezTo>
                  <a:pt x="3605" y="722"/>
                  <a:pt x="3608" y="721"/>
                  <a:pt x="3610" y="720"/>
                </a:cubicBezTo>
                <a:cubicBezTo>
                  <a:pt x="3610" y="720"/>
                  <a:pt x="3610" y="720"/>
                  <a:pt x="3610" y="778"/>
                </a:cubicBezTo>
                <a:cubicBezTo>
                  <a:pt x="3610" y="778"/>
                  <a:pt x="3610" y="778"/>
                  <a:pt x="3621" y="778"/>
                </a:cubicBezTo>
                <a:cubicBezTo>
                  <a:pt x="3621" y="778"/>
                  <a:pt x="3621" y="778"/>
                  <a:pt x="3621" y="705"/>
                </a:cubicBezTo>
                <a:close/>
                <a:moveTo>
                  <a:pt x="3668" y="705"/>
                </a:moveTo>
                <a:cubicBezTo>
                  <a:pt x="3668" y="705"/>
                  <a:pt x="3668" y="705"/>
                  <a:pt x="3668" y="705"/>
                </a:cubicBezTo>
                <a:cubicBezTo>
                  <a:pt x="3663" y="705"/>
                  <a:pt x="3663" y="705"/>
                  <a:pt x="3663" y="705"/>
                </a:cubicBezTo>
                <a:cubicBezTo>
                  <a:pt x="3661" y="706"/>
                  <a:pt x="3660" y="708"/>
                  <a:pt x="3657" y="709"/>
                </a:cubicBezTo>
                <a:cubicBezTo>
                  <a:pt x="3656" y="710"/>
                  <a:pt x="3654" y="711"/>
                  <a:pt x="3652" y="712"/>
                </a:cubicBezTo>
                <a:cubicBezTo>
                  <a:pt x="3651" y="713"/>
                  <a:pt x="3649" y="714"/>
                  <a:pt x="3647" y="714"/>
                </a:cubicBezTo>
                <a:cubicBezTo>
                  <a:pt x="3645" y="715"/>
                  <a:pt x="3643" y="716"/>
                  <a:pt x="3641" y="716"/>
                </a:cubicBezTo>
                <a:cubicBezTo>
                  <a:pt x="3641" y="716"/>
                  <a:pt x="3641" y="716"/>
                  <a:pt x="3641" y="726"/>
                </a:cubicBezTo>
                <a:cubicBezTo>
                  <a:pt x="3644" y="725"/>
                  <a:pt x="3647" y="725"/>
                  <a:pt x="3649" y="723"/>
                </a:cubicBezTo>
                <a:cubicBezTo>
                  <a:pt x="3652" y="722"/>
                  <a:pt x="3654" y="721"/>
                  <a:pt x="3657" y="720"/>
                </a:cubicBezTo>
                <a:cubicBezTo>
                  <a:pt x="3657" y="720"/>
                  <a:pt x="3657" y="720"/>
                  <a:pt x="3657" y="778"/>
                </a:cubicBezTo>
                <a:cubicBezTo>
                  <a:pt x="3657" y="778"/>
                  <a:pt x="3657" y="778"/>
                  <a:pt x="3668" y="778"/>
                </a:cubicBezTo>
                <a:cubicBezTo>
                  <a:pt x="3668" y="778"/>
                  <a:pt x="3668" y="778"/>
                  <a:pt x="3668" y="705"/>
                </a:cubicBezTo>
                <a:close/>
                <a:moveTo>
                  <a:pt x="3714" y="705"/>
                </a:moveTo>
                <a:cubicBezTo>
                  <a:pt x="3714" y="705"/>
                  <a:pt x="3714" y="705"/>
                  <a:pt x="3714" y="705"/>
                </a:cubicBezTo>
                <a:cubicBezTo>
                  <a:pt x="3710" y="705"/>
                  <a:pt x="3710" y="705"/>
                  <a:pt x="3710" y="705"/>
                </a:cubicBezTo>
                <a:cubicBezTo>
                  <a:pt x="3708" y="706"/>
                  <a:pt x="3706" y="708"/>
                  <a:pt x="3704" y="709"/>
                </a:cubicBezTo>
                <a:cubicBezTo>
                  <a:pt x="3703" y="710"/>
                  <a:pt x="3700" y="711"/>
                  <a:pt x="3699" y="712"/>
                </a:cubicBezTo>
                <a:cubicBezTo>
                  <a:pt x="3697" y="712"/>
                  <a:pt x="3695" y="713"/>
                  <a:pt x="3693" y="714"/>
                </a:cubicBezTo>
                <a:cubicBezTo>
                  <a:pt x="3692" y="714"/>
                  <a:pt x="3690" y="715"/>
                  <a:pt x="3688" y="716"/>
                </a:cubicBezTo>
                <a:cubicBezTo>
                  <a:pt x="3688" y="716"/>
                  <a:pt x="3688" y="716"/>
                  <a:pt x="3688" y="726"/>
                </a:cubicBezTo>
                <a:cubicBezTo>
                  <a:pt x="3691" y="725"/>
                  <a:pt x="3694" y="724"/>
                  <a:pt x="3696" y="723"/>
                </a:cubicBezTo>
                <a:cubicBezTo>
                  <a:pt x="3698" y="722"/>
                  <a:pt x="3701" y="721"/>
                  <a:pt x="3703" y="720"/>
                </a:cubicBezTo>
                <a:cubicBezTo>
                  <a:pt x="3703" y="720"/>
                  <a:pt x="3703" y="720"/>
                  <a:pt x="3703" y="778"/>
                </a:cubicBezTo>
                <a:cubicBezTo>
                  <a:pt x="3703" y="778"/>
                  <a:pt x="3703" y="778"/>
                  <a:pt x="3714" y="778"/>
                </a:cubicBezTo>
                <a:cubicBezTo>
                  <a:pt x="3714" y="778"/>
                  <a:pt x="3714" y="778"/>
                  <a:pt x="3714" y="705"/>
                </a:cubicBezTo>
                <a:close/>
                <a:moveTo>
                  <a:pt x="3520" y="737"/>
                </a:moveTo>
                <a:cubicBezTo>
                  <a:pt x="3520" y="737"/>
                  <a:pt x="3520" y="737"/>
                  <a:pt x="3520" y="737"/>
                </a:cubicBezTo>
                <a:cubicBezTo>
                  <a:pt x="3520" y="746"/>
                  <a:pt x="3520" y="746"/>
                  <a:pt x="3520" y="746"/>
                </a:cubicBezTo>
                <a:cubicBezTo>
                  <a:pt x="3526" y="746"/>
                  <a:pt x="3527" y="749"/>
                  <a:pt x="3527" y="752"/>
                </a:cubicBezTo>
                <a:cubicBezTo>
                  <a:pt x="3527" y="754"/>
                  <a:pt x="3526" y="756"/>
                  <a:pt x="3526" y="759"/>
                </a:cubicBezTo>
                <a:cubicBezTo>
                  <a:pt x="3526" y="761"/>
                  <a:pt x="3526" y="763"/>
                  <a:pt x="3526" y="766"/>
                </a:cubicBezTo>
                <a:cubicBezTo>
                  <a:pt x="3526" y="775"/>
                  <a:pt x="3532" y="778"/>
                  <a:pt x="3540" y="778"/>
                </a:cubicBezTo>
                <a:cubicBezTo>
                  <a:pt x="3540" y="778"/>
                  <a:pt x="3540" y="778"/>
                  <a:pt x="3544" y="778"/>
                </a:cubicBezTo>
                <a:cubicBezTo>
                  <a:pt x="3544" y="778"/>
                  <a:pt x="3544" y="778"/>
                  <a:pt x="3544" y="769"/>
                </a:cubicBezTo>
                <a:cubicBezTo>
                  <a:pt x="3544" y="769"/>
                  <a:pt x="3544" y="769"/>
                  <a:pt x="3542" y="769"/>
                </a:cubicBezTo>
                <a:cubicBezTo>
                  <a:pt x="3539" y="769"/>
                  <a:pt x="3537" y="767"/>
                  <a:pt x="3537" y="763"/>
                </a:cubicBezTo>
                <a:cubicBezTo>
                  <a:pt x="3537" y="762"/>
                  <a:pt x="3537" y="760"/>
                  <a:pt x="3538" y="759"/>
                </a:cubicBezTo>
                <a:cubicBezTo>
                  <a:pt x="3538" y="757"/>
                  <a:pt x="3538" y="755"/>
                  <a:pt x="3538" y="753"/>
                </a:cubicBezTo>
                <a:cubicBezTo>
                  <a:pt x="3538" y="745"/>
                  <a:pt x="3535" y="743"/>
                  <a:pt x="3530" y="741"/>
                </a:cubicBezTo>
                <a:cubicBezTo>
                  <a:pt x="3530" y="741"/>
                  <a:pt x="3530" y="741"/>
                  <a:pt x="3530" y="741"/>
                </a:cubicBezTo>
                <a:cubicBezTo>
                  <a:pt x="3535" y="740"/>
                  <a:pt x="3538" y="738"/>
                  <a:pt x="3538" y="730"/>
                </a:cubicBezTo>
                <a:cubicBezTo>
                  <a:pt x="3538" y="728"/>
                  <a:pt x="3538" y="726"/>
                  <a:pt x="3538" y="724"/>
                </a:cubicBezTo>
                <a:cubicBezTo>
                  <a:pt x="3537" y="722"/>
                  <a:pt x="3537" y="720"/>
                  <a:pt x="3537" y="719"/>
                </a:cubicBezTo>
                <a:cubicBezTo>
                  <a:pt x="3537" y="716"/>
                  <a:pt x="3539" y="713"/>
                  <a:pt x="3542" y="713"/>
                </a:cubicBezTo>
                <a:cubicBezTo>
                  <a:pt x="3542" y="713"/>
                  <a:pt x="3542" y="713"/>
                  <a:pt x="3544" y="713"/>
                </a:cubicBezTo>
                <a:cubicBezTo>
                  <a:pt x="3544" y="713"/>
                  <a:pt x="3544" y="713"/>
                  <a:pt x="3544" y="704"/>
                </a:cubicBezTo>
                <a:cubicBezTo>
                  <a:pt x="3544" y="704"/>
                  <a:pt x="3544" y="704"/>
                  <a:pt x="3540" y="704"/>
                </a:cubicBezTo>
                <a:cubicBezTo>
                  <a:pt x="3531" y="704"/>
                  <a:pt x="3526" y="708"/>
                  <a:pt x="3526" y="717"/>
                </a:cubicBezTo>
                <a:cubicBezTo>
                  <a:pt x="3526" y="719"/>
                  <a:pt x="3526" y="722"/>
                  <a:pt x="3526" y="724"/>
                </a:cubicBezTo>
                <a:cubicBezTo>
                  <a:pt x="3526" y="726"/>
                  <a:pt x="3527" y="729"/>
                  <a:pt x="3527" y="731"/>
                </a:cubicBezTo>
                <a:cubicBezTo>
                  <a:pt x="3527" y="734"/>
                  <a:pt x="3526" y="737"/>
                  <a:pt x="3520" y="737"/>
                </a:cubicBezTo>
                <a:close/>
                <a:moveTo>
                  <a:pt x="3574" y="746"/>
                </a:moveTo>
                <a:cubicBezTo>
                  <a:pt x="3574" y="746"/>
                  <a:pt x="3574" y="746"/>
                  <a:pt x="3574" y="746"/>
                </a:cubicBezTo>
                <a:cubicBezTo>
                  <a:pt x="3574" y="737"/>
                  <a:pt x="3574" y="737"/>
                  <a:pt x="3574" y="737"/>
                </a:cubicBezTo>
                <a:cubicBezTo>
                  <a:pt x="3568" y="737"/>
                  <a:pt x="3568" y="734"/>
                  <a:pt x="3568" y="731"/>
                </a:cubicBezTo>
                <a:cubicBezTo>
                  <a:pt x="3568" y="729"/>
                  <a:pt x="3568" y="726"/>
                  <a:pt x="3568" y="724"/>
                </a:cubicBezTo>
                <a:cubicBezTo>
                  <a:pt x="3569" y="722"/>
                  <a:pt x="3569" y="719"/>
                  <a:pt x="3569" y="717"/>
                </a:cubicBezTo>
                <a:cubicBezTo>
                  <a:pt x="3569" y="708"/>
                  <a:pt x="3563" y="704"/>
                  <a:pt x="3554" y="704"/>
                </a:cubicBezTo>
                <a:cubicBezTo>
                  <a:pt x="3554" y="704"/>
                  <a:pt x="3554" y="704"/>
                  <a:pt x="3550" y="704"/>
                </a:cubicBezTo>
                <a:cubicBezTo>
                  <a:pt x="3550" y="704"/>
                  <a:pt x="3550" y="704"/>
                  <a:pt x="3550" y="713"/>
                </a:cubicBezTo>
                <a:cubicBezTo>
                  <a:pt x="3550" y="713"/>
                  <a:pt x="3550" y="713"/>
                  <a:pt x="3552" y="713"/>
                </a:cubicBezTo>
                <a:cubicBezTo>
                  <a:pt x="3556" y="713"/>
                  <a:pt x="3557" y="716"/>
                  <a:pt x="3557" y="719"/>
                </a:cubicBezTo>
                <a:cubicBezTo>
                  <a:pt x="3557" y="720"/>
                  <a:pt x="3557" y="722"/>
                  <a:pt x="3557" y="724"/>
                </a:cubicBezTo>
                <a:cubicBezTo>
                  <a:pt x="3556" y="726"/>
                  <a:pt x="3556" y="728"/>
                  <a:pt x="3556" y="730"/>
                </a:cubicBezTo>
                <a:cubicBezTo>
                  <a:pt x="3556" y="738"/>
                  <a:pt x="3559" y="740"/>
                  <a:pt x="3565" y="741"/>
                </a:cubicBezTo>
                <a:cubicBezTo>
                  <a:pt x="3565" y="741"/>
                  <a:pt x="3565" y="741"/>
                  <a:pt x="3565" y="741"/>
                </a:cubicBezTo>
                <a:cubicBezTo>
                  <a:pt x="3559" y="743"/>
                  <a:pt x="3556" y="745"/>
                  <a:pt x="3556" y="753"/>
                </a:cubicBezTo>
                <a:cubicBezTo>
                  <a:pt x="3556" y="755"/>
                  <a:pt x="3556" y="757"/>
                  <a:pt x="3557" y="759"/>
                </a:cubicBezTo>
                <a:cubicBezTo>
                  <a:pt x="3557" y="760"/>
                  <a:pt x="3557" y="762"/>
                  <a:pt x="3557" y="763"/>
                </a:cubicBezTo>
                <a:cubicBezTo>
                  <a:pt x="3557" y="767"/>
                  <a:pt x="3556" y="769"/>
                  <a:pt x="3552" y="769"/>
                </a:cubicBezTo>
                <a:cubicBezTo>
                  <a:pt x="3552" y="769"/>
                  <a:pt x="3552" y="769"/>
                  <a:pt x="3550" y="769"/>
                </a:cubicBezTo>
                <a:cubicBezTo>
                  <a:pt x="3550" y="769"/>
                  <a:pt x="3550" y="769"/>
                  <a:pt x="3550" y="778"/>
                </a:cubicBezTo>
                <a:cubicBezTo>
                  <a:pt x="3550" y="778"/>
                  <a:pt x="3550" y="778"/>
                  <a:pt x="3554" y="778"/>
                </a:cubicBezTo>
                <a:cubicBezTo>
                  <a:pt x="3563" y="778"/>
                  <a:pt x="3569" y="775"/>
                  <a:pt x="3569" y="766"/>
                </a:cubicBezTo>
                <a:cubicBezTo>
                  <a:pt x="3569" y="763"/>
                  <a:pt x="3569" y="761"/>
                  <a:pt x="3568" y="759"/>
                </a:cubicBezTo>
                <a:cubicBezTo>
                  <a:pt x="3568" y="756"/>
                  <a:pt x="3568" y="754"/>
                  <a:pt x="3568" y="752"/>
                </a:cubicBezTo>
                <a:cubicBezTo>
                  <a:pt x="3568" y="749"/>
                  <a:pt x="3568" y="746"/>
                  <a:pt x="3574" y="746"/>
                </a:cubicBezTo>
                <a:close/>
                <a:moveTo>
                  <a:pt x="3758" y="778"/>
                </a:moveTo>
                <a:cubicBezTo>
                  <a:pt x="3751" y="778"/>
                  <a:pt x="3744" y="776"/>
                  <a:pt x="3740" y="770"/>
                </a:cubicBezTo>
                <a:cubicBezTo>
                  <a:pt x="3736" y="763"/>
                  <a:pt x="3734" y="754"/>
                  <a:pt x="3734" y="742"/>
                </a:cubicBezTo>
                <a:cubicBezTo>
                  <a:pt x="3734" y="729"/>
                  <a:pt x="3736" y="719"/>
                  <a:pt x="3741" y="713"/>
                </a:cubicBezTo>
                <a:cubicBezTo>
                  <a:pt x="3745" y="706"/>
                  <a:pt x="3752" y="703"/>
                  <a:pt x="3761" y="703"/>
                </a:cubicBezTo>
                <a:cubicBezTo>
                  <a:pt x="3777" y="703"/>
                  <a:pt x="3785" y="715"/>
                  <a:pt x="3785" y="741"/>
                </a:cubicBezTo>
                <a:cubicBezTo>
                  <a:pt x="3785" y="753"/>
                  <a:pt x="3782" y="762"/>
                  <a:pt x="3777" y="769"/>
                </a:cubicBezTo>
                <a:cubicBezTo>
                  <a:pt x="3773" y="776"/>
                  <a:pt x="3766" y="778"/>
                  <a:pt x="3758" y="778"/>
                </a:cubicBezTo>
                <a:close/>
                <a:moveTo>
                  <a:pt x="3760" y="712"/>
                </a:moveTo>
                <a:cubicBezTo>
                  <a:pt x="3750" y="712"/>
                  <a:pt x="3746" y="722"/>
                  <a:pt x="3746" y="742"/>
                </a:cubicBezTo>
                <a:cubicBezTo>
                  <a:pt x="3746" y="760"/>
                  <a:pt x="3750" y="769"/>
                  <a:pt x="3759" y="769"/>
                </a:cubicBezTo>
                <a:cubicBezTo>
                  <a:pt x="3768" y="769"/>
                  <a:pt x="3772" y="760"/>
                  <a:pt x="3772" y="741"/>
                </a:cubicBezTo>
                <a:cubicBezTo>
                  <a:pt x="3772" y="722"/>
                  <a:pt x="3768" y="712"/>
                  <a:pt x="3760" y="712"/>
                </a:cubicBezTo>
                <a:close/>
                <a:moveTo>
                  <a:pt x="3828" y="778"/>
                </a:moveTo>
                <a:cubicBezTo>
                  <a:pt x="3821" y="778"/>
                  <a:pt x="3815" y="776"/>
                  <a:pt x="3811" y="770"/>
                </a:cubicBezTo>
                <a:cubicBezTo>
                  <a:pt x="3807" y="763"/>
                  <a:pt x="3804" y="754"/>
                  <a:pt x="3804" y="742"/>
                </a:cubicBezTo>
                <a:cubicBezTo>
                  <a:pt x="3804" y="729"/>
                  <a:pt x="3807" y="719"/>
                  <a:pt x="3811" y="713"/>
                </a:cubicBezTo>
                <a:cubicBezTo>
                  <a:pt x="3815" y="706"/>
                  <a:pt x="3822" y="703"/>
                  <a:pt x="3831" y="703"/>
                </a:cubicBezTo>
                <a:cubicBezTo>
                  <a:pt x="3847" y="703"/>
                  <a:pt x="3855" y="715"/>
                  <a:pt x="3855" y="741"/>
                </a:cubicBezTo>
                <a:cubicBezTo>
                  <a:pt x="3855" y="753"/>
                  <a:pt x="3853" y="762"/>
                  <a:pt x="3848" y="769"/>
                </a:cubicBezTo>
                <a:cubicBezTo>
                  <a:pt x="3843" y="776"/>
                  <a:pt x="3837" y="778"/>
                  <a:pt x="3828" y="778"/>
                </a:cubicBezTo>
                <a:close/>
                <a:moveTo>
                  <a:pt x="3830" y="712"/>
                </a:moveTo>
                <a:cubicBezTo>
                  <a:pt x="3821" y="712"/>
                  <a:pt x="3816" y="722"/>
                  <a:pt x="3816" y="742"/>
                </a:cubicBezTo>
                <a:cubicBezTo>
                  <a:pt x="3816" y="760"/>
                  <a:pt x="3820" y="769"/>
                  <a:pt x="3829" y="769"/>
                </a:cubicBezTo>
                <a:cubicBezTo>
                  <a:pt x="3838" y="769"/>
                  <a:pt x="3842" y="760"/>
                  <a:pt x="3842" y="741"/>
                </a:cubicBezTo>
                <a:cubicBezTo>
                  <a:pt x="3842" y="722"/>
                  <a:pt x="3838" y="712"/>
                  <a:pt x="3830" y="712"/>
                </a:cubicBezTo>
                <a:close/>
                <a:moveTo>
                  <a:pt x="1974" y="801"/>
                </a:moveTo>
                <a:cubicBezTo>
                  <a:pt x="1974" y="801"/>
                  <a:pt x="1974" y="801"/>
                  <a:pt x="1974" y="801"/>
                </a:cubicBezTo>
                <a:cubicBezTo>
                  <a:pt x="1969" y="801"/>
                  <a:pt x="1969" y="801"/>
                  <a:pt x="1969" y="801"/>
                </a:cubicBezTo>
                <a:cubicBezTo>
                  <a:pt x="1967" y="802"/>
                  <a:pt x="1965" y="804"/>
                  <a:pt x="1963" y="805"/>
                </a:cubicBezTo>
                <a:cubicBezTo>
                  <a:pt x="1962" y="806"/>
                  <a:pt x="1960" y="807"/>
                  <a:pt x="1958" y="808"/>
                </a:cubicBezTo>
                <a:cubicBezTo>
                  <a:pt x="1956" y="809"/>
                  <a:pt x="1954" y="810"/>
                  <a:pt x="1953" y="810"/>
                </a:cubicBezTo>
                <a:cubicBezTo>
                  <a:pt x="1950" y="811"/>
                  <a:pt x="1949" y="812"/>
                  <a:pt x="1947" y="812"/>
                </a:cubicBezTo>
                <a:cubicBezTo>
                  <a:pt x="1947" y="812"/>
                  <a:pt x="1947" y="812"/>
                  <a:pt x="1947" y="822"/>
                </a:cubicBezTo>
                <a:cubicBezTo>
                  <a:pt x="1950" y="821"/>
                  <a:pt x="1953" y="821"/>
                  <a:pt x="1956" y="819"/>
                </a:cubicBezTo>
                <a:cubicBezTo>
                  <a:pt x="1958" y="818"/>
                  <a:pt x="1960" y="817"/>
                  <a:pt x="1962" y="816"/>
                </a:cubicBezTo>
                <a:cubicBezTo>
                  <a:pt x="1962" y="816"/>
                  <a:pt x="1962" y="816"/>
                  <a:pt x="1962" y="874"/>
                </a:cubicBezTo>
                <a:cubicBezTo>
                  <a:pt x="1962" y="874"/>
                  <a:pt x="1962" y="874"/>
                  <a:pt x="1974" y="874"/>
                </a:cubicBezTo>
                <a:cubicBezTo>
                  <a:pt x="1974" y="874"/>
                  <a:pt x="1974" y="874"/>
                  <a:pt x="1974" y="801"/>
                </a:cubicBezTo>
                <a:close/>
                <a:moveTo>
                  <a:pt x="2022" y="801"/>
                </a:moveTo>
                <a:cubicBezTo>
                  <a:pt x="2022" y="801"/>
                  <a:pt x="2022" y="801"/>
                  <a:pt x="2022" y="801"/>
                </a:cubicBezTo>
                <a:cubicBezTo>
                  <a:pt x="2016" y="801"/>
                  <a:pt x="2016" y="801"/>
                  <a:pt x="2016" y="801"/>
                </a:cubicBezTo>
                <a:cubicBezTo>
                  <a:pt x="2014" y="802"/>
                  <a:pt x="2013" y="804"/>
                  <a:pt x="2011" y="805"/>
                </a:cubicBezTo>
                <a:cubicBezTo>
                  <a:pt x="2009" y="806"/>
                  <a:pt x="2007" y="807"/>
                  <a:pt x="2005" y="808"/>
                </a:cubicBezTo>
                <a:cubicBezTo>
                  <a:pt x="2004" y="809"/>
                  <a:pt x="2002" y="810"/>
                  <a:pt x="2000" y="810"/>
                </a:cubicBezTo>
                <a:cubicBezTo>
                  <a:pt x="1998" y="811"/>
                  <a:pt x="1996" y="812"/>
                  <a:pt x="1994" y="812"/>
                </a:cubicBezTo>
                <a:cubicBezTo>
                  <a:pt x="1994" y="812"/>
                  <a:pt x="1994" y="812"/>
                  <a:pt x="1994" y="822"/>
                </a:cubicBezTo>
                <a:cubicBezTo>
                  <a:pt x="1997" y="821"/>
                  <a:pt x="2000" y="821"/>
                  <a:pt x="2002" y="819"/>
                </a:cubicBezTo>
                <a:cubicBezTo>
                  <a:pt x="2005" y="818"/>
                  <a:pt x="2008" y="817"/>
                  <a:pt x="2010" y="816"/>
                </a:cubicBezTo>
                <a:cubicBezTo>
                  <a:pt x="2010" y="816"/>
                  <a:pt x="2010" y="816"/>
                  <a:pt x="2010" y="874"/>
                </a:cubicBezTo>
                <a:cubicBezTo>
                  <a:pt x="2010" y="874"/>
                  <a:pt x="2010" y="874"/>
                  <a:pt x="2022" y="874"/>
                </a:cubicBezTo>
                <a:cubicBezTo>
                  <a:pt x="2022" y="874"/>
                  <a:pt x="2022" y="874"/>
                  <a:pt x="2022" y="801"/>
                </a:cubicBezTo>
                <a:close/>
                <a:moveTo>
                  <a:pt x="2068" y="801"/>
                </a:moveTo>
                <a:cubicBezTo>
                  <a:pt x="2068" y="801"/>
                  <a:pt x="2068" y="801"/>
                  <a:pt x="2068" y="801"/>
                </a:cubicBezTo>
                <a:cubicBezTo>
                  <a:pt x="2064" y="801"/>
                  <a:pt x="2064" y="801"/>
                  <a:pt x="2064" y="801"/>
                </a:cubicBezTo>
                <a:cubicBezTo>
                  <a:pt x="2062" y="802"/>
                  <a:pt x="2060" y="804"/>
                  <a:pt x="2058" y="805"/>
                </a:cubicBezTo>
                <a:cubicBezTo>
                  <a:pt x="2057" y="806"/>
                  <a:pt x="2054" y="807"/>
                  <a:pt x="2053" y="808"/>
                </a:cubicBezTo>
                <a:cubicBezTo>
                  <a:pt x="2051" y="808"/>
                  <a:pt x="2049" y="809"/>
                  <a:pt x="2047" y="810"/>
                </a:cubicBezTo>
                <a:cubicBezTo>
                  <a:pt x="2046" y="810"/>
                  <a:pt x="2044" y="811"/>
                  <a:pt x="2042" y="812"/>
                </a:cubicBezTo>
                <a:cubicBezTo>
                  <a:pt x="2042" y="812"/>
                  <a:pt x="2042" y="812"/>
                  <a:pt x="2042" y="822"/>
                </a:cubicBezTo>
                <a:cubicBezTo>
                  <a:pt x="2045" y="821"/>
                  <a:pt x="2048" y="820"/>
                  <a:pt x="2050" y="819"/>
                </a:cubicBezTo>
                <a:cubicBezTo>
                  <a:pt x="2052" y="818"/>
                  <a:pt x="2055" y="817"/>
                  <a:pt x="2057" y="816"/>
                </a:cubicBezTo>
                <a:cubicBezTo>
                  <a:pt x="2057" y="816"/>
                  <a:pt x="2057" y="816"/>
                  <a:pt x="2057" y="874"/>
                </a:cubicBezTo>
                <a:cubicBezTo>
                  <a:pt x="2057" y="874"/>
                  <a:pt x="2057" y="874"/>
                  <a:pt x="2068" y="874"/>
                </a:cubicBezTo>
                <a:cubicBezTo>
                  <a:pt x="2068" y="874"/>
                  <a:pt x="2068" y="874"/>
                  <a:pt x="2068" y="801"/>
                </a:cubicBezTo>
                <a:close/>
                <a:moveTo>
                  <a:pt x="2113" y="874"/>
                </a:moveTo>
                <a:cubicBezTo>
                  <a:pt x="2106" y="874"/>
                  <a:pt x="2099" y="872"/>
                  <a:pt x="2095" y="866"/>
                </a:cubicBezTo>
                <a:cubicBezTo>
                  <a:pt x="2091" y="859"/>
                  <a:pt x="2089" y="850"/>
                  <a:pt x="2089" y="838"/>
                </a:cubicBezTo>
                <a:cubicBezTo>
                  <a:pt x="2089" y="825"/>
                  <a:pt x="2091" y="815"/>
                  <a:pt x="2095" y="808"/>
                </a:cubicBezTo>
                <a:cubicBezTo>
                  <a:pt x="2100" y="802"/>
                  <a:pt x="2106" y="798"/>
                  <a:pt x="2115" y="798"/>
                </a:cubicBezTo>
                <a:cubicBezTo>
                  <a:pt x="2131" y="798"/>
                  <a:pt x="2139" y="811"/>
                  <a:pt x="2139" y="836"/>
                </a:cubicBezTo>
                <a:cubicBezTo>
                  <a:pt x="2139" y="849"/>
                  <a:pt x="2137" y="858"/>
                  <a:pt x="2132" y="865"/>
                </a:cubicBezTo>
                <a:cubicBezTo>
                  <a:pt x="2128" y="872"/>
                  <a:pt x="2121" y="874"/>
                  <a:pt x="2113" y="874"/>
                </a:cubicBezTo>
                <a:close/>
                <a:moveTo>
                  <a:pt x="2114" y="808"/>
                </a:moveTo>
                <a:cubicBezTo>
                  <a:pt x="2105" y="808"/>
                  <a:pt x="2101" y="818"/>
                  <a:pt x="2101" y="838"/>
                </a:cubicBezTo>
                <a:cubicBezTo>
                  <a:pt x="2101" y="856"/>
                  <a:pt x="2105" y="865"/>
                  <a:pt x="2114" y="865"/>
                </a:cubicBezTo>
                <a:cubicBezTo>
                  <a:pt x="2122" y="865"/>
                  <a:pt x="2127" y="856"/>
                  <a:pt x="2127" y="837"/>
                </a:cubicBezTo>
                <a:cubicBezTo>
                  <a:pt x="2127" y="817"/>
                  <a:pt x="2122" y="808"/>
                  <a:pt x="2114" y="808"/>
                </a:cubicBezTo>
                <a:close/>
                <a:moveTo>
                  <a:pt x="2184" y="874"/>
                </a:moveTo>
                <a:cubicBezTo>
                  <a:pt x="2176" y="874"/>
                  <a:pt x="2170" y="872"/>
                  <a:pt x="2166" y="866"/>
                </a:cubicBezTo>
                <a:cubicBezTo>
                  <a:pt x="2162" y="859"/>
                  <a:pt x="2159" y="850"/>
                  <a:pt x="2159" y="838"/>
                </a:cubicBezTo>
                <a:cubicBezTo>
                  <a:pt x="2159" y="825"/>
                  <a:pt x="2162" y="815"/>
                  <a:pt x="2166" y="808"/>
                </a:cubicBezTo>
                <a:cubicBezTo>
                  <a:pt x="2170" y="802"/>
                  <a:pt x="2177" y="798"/>
                  <a:pt x="2186" y="798"/>
                </a:cubicBezTo>
                <a:cubicBezTo>
                  <a:pt x="2202" y="798"/>
                  <a:pt x="2210" y="811"/>
                  <a:pt x="2210" y="836"/>
                </a:cubicBezTo>
                <a:cubicBezTo>
                  <a:pt x="2210" y="849"/>
                  <a:pt x="2208" y="858"/>
                  <a:pt x="2204" y="865"/>
                </a:cubicBezTo>
                <a:cubicBezTo>
                  <a:pt x="2198" y="872"/>
                  <a:pt x="2193" y="874"/>
                  <a:pt x="2184" y="874"/>
                </a:cubicBezTo>
                <a:close/>
                <a:moveTo>
                  <a:pt x="2185" y="808"/>
                </a:moveTo>
                <a:cubicBezTo>
                  <a:pt x="2176" y="808"/>
                  <a:pt x="2171" y="818"/>
                  <a:pt x="2171" y="838"/>
                </a:cubicBezTo>
                <a:cubicBezTo>
                  <a:pt x="2171" y="856"/>
                  <a:pt x="2176" y="865"/>
                  <a:pt x="2184" y="865"/>
                </a:cubicBezTo>
                <a:cubicBezTo>
                  <a:pt x="2193" y="865"/>
                  <a:pt x="2198" y="856"/>
                  <a:pt x="2198" y="837"/>
                </a:cubicBezTo>
                <a:cubicBezTo>
                  <a:pt x="2198" y="817"/>
                  <a:pt x="2193" y="808"/>
                  <a:pt x="2185" y="808"/>
                </a:cubicBezTo>
                <a:close/>
                <a:moveTo>
                  <a:pt x="2397" y="874"/>
                </a:moveTo>
                <a:cubicBezTo>
                  <a:pt x="2389" y="874"/>
                  <a:pt x="2383" y="872"/>
                  <a:pt x="2379" y="865"/>
                </a:cubicBezTo>
                <a:cubicBezTo>
                  <a:pt x="2375" y="859"/>
                  <a:pt x="2372" y="849"/>
                  <a:pt x="2372" y="838"/>
                </a:cubicBezTo>
                <a:cubicBezTo>
                  <a:pt x="2372" y="825"/>
                  <a:pt x="2375" y="815"/>
                  <a:pt x="2379" y="808"/>
                </a:cubicBezTo>
                <a:cubicBezTo>
                  <a:pt x="2383" y="801"/>
                  <a:pt x="2390" y="798"/>
                  <a:pt x="2399" y="798"/>
                </a:cubicBezTo>
                <a:cubicBezTo>
                  <a:pt x="2415" y="798"/>
                  <a:pt x="2423" y="811"/>
                  <a:pt x="2423" y="836"/>
                </a:cubicBezTo>
                <a:cubicBezTo>
                  <a:pt x="2423" y="849"/>
                  <a:pt x="2421" y="858"/>
                  <a:pt x="2416" y="865"/>
                </a:cubicBezTo>
                <a:cubicBezTo>
                  <a:pt x="2411" y="872"/>
                  <a:pt x="2405" y="874"/>
                  <a:pt x="2397" y="874"/>
                </a:cubicBezTo>
                <a:close/>
                <a:moveTo>
                  <a:pt x="2398" y="808"/>
                </a:moveTo>
                <a:cubicBezTo>
                  <a:pt x="2389" y="808"/>
                  <a:pt x="2385" y="817"/>
                  <a:pt x="2385" y="837"/>
                </a:cubicBezTo>
                <a:cubicBezTo>
                  <a:pt x="2385" y="855"/>
                  <a:pt x="2389" y="865"/>
                  <a:pt x="2398" y="865"/>
                </a:cubicBezTo>
                <a:cubicBezTo>
                  <a:pt x="2406" y="865"/>
                  <a:pt x="2410" y="855"/>
                  <a:pt x="2410" y="837"/>
                </a:cubicBezTo>
                <a:cubicBezTo>
                  <a:pt x="2410" y="817"/>
                  <a:pt x="2407" y="808"/>
                  <a:pt x="2398" y="808"/>
                </a:cubicBezTo>
                <a:close/>
                <a:moveTo>
                  <a:pt x="2515" y="874"/>
                </a:moveTo>
                <a:cubicBezTo>
                  <a:pt x="2507" y="874"/>
                  <a:pt x="2502" y="872"/>
                  <a:pt x="2497" y="865"/>
                </a:cubicBezTo>
                <a:cubicBezTo>
                  <a:pt x="2493" y="859"/>
                  <a:pt x="2491" y="849"/>
                  <a:pt x="2491" y="838"/>
                </a:cubicBezTo>
                <a:cubicBezTo>
                  <a:pt x="2491" y="825"/>
                  <a:pt x="2493" y="815"/>
                  <a:pt x="2497" y="808"/>
                </a:cubicBezTo>
                <a:cubicBezTo>
                  <a:pt x="2502" y="801"/>
                  <a:pt x="2508" y="798"/>
                  <a:pt x="2517" y="798"/>
                </a:cubicBezTo>
                <a:cubicBezTo>
                  <a:pt x="2533" y="798"/>
                  <a:pt x="2541" y="811"/>
                  <a:pt x="2541" y="836"/>
                </a:cubicBezTo>
                <a:cubicBezTo>
                  <a:pt x="2541" y="849"/>
                  <a:pt x="2539" y="858"/>
                  <a:pt x="2534" y="865"/>
                </a:cubicBezTo>
                <a:cubicBezTo>
                  <a:pt x="2529" y="872"/>
                  <a:pt x="2523" y="874"/>
                  <a:pt x="2515" y="874"/>
                </a:cubicBezTo>
                <a:close/>
                <a:moveTo>
                  <a:pt x="2516" y="808"/>
                </a:moveTo>
                <a:cubicBezTo>
                  <a:pt x="2507" y="808"/>
                  <a:pt x="2503" y="817"/>
                  <a:pt x="2503" y="837"/>
                </a:cubicBezTo>
                <a:cubicBezTo>
                  <a:pt x="2503" y="855"/>
                  <a:pt x="2507" y="865"/>
                  <a:pt x="2516" y="865"/>
                </a:cubicBezTo>
                <a:cubicBezTo>
                  <a:pt x="2524" y="865"/>
                  <a:pt x="2529" y="855"/>
                  <a:pt x="2529" y="837"/>
                </a:cubicBezTo>
                <a:cubicBezTo>
                  <a:pt x="2529" y="817"/>
                  <a:pt x="2525" y="808"/>
                  <a:pt x="2516" y="808"/>
                </a:cubicBezTo>
                <a:close/>
                <a:moveTo>
                  <a:pt x="2470" y="801"/>
                </a:moveTo>
                <a:cubicBezTo>
                  <a:pt x="2470" y="801"/>
                  <a:pt x="2470" y="801"/>
                  <a:pt x="2470" y="801"/>
                </a:cubicBezTo>
                <a:cubicBezTo>
                  <a:pt x="2465" y="801"/>
                  <a:pt x="2465" y="801"/>
                  <a:pt x="2465" y="801"/>
                </a:cubicBezTo>
                <a:cubicBezTo>
                  <a:pt x="2463" y="802"/>
                  <a:pt x="2461" y="804"/>
                  <a:pt x="2459" y="805"/>
                </a:cubicBezTo>
                <a:cubicBezTo>
                  <a:pt x="2458" y="806"/>
                  <a:pt x="2456" y="807"/>
                  <a:pt x="2454" y="808"/>
                </a:cubicBezTo>
                <a:cubicBezTo>
                  <a:pt x="2453" y="808"/>
                  <a:pt x="2451" y="809"/>
                  <a:pt x="2449" y="810"/>
                </a:cubicBezTo>
                <a:cubicBezTo>
                  <a:pt x="2447" y="810"/>
                  <a:pt x="2446" y="811"/>
                  <a:pt x="2444" y="812"/>
                </a:cubicBezTo>
                <a:cubicBezTo>
                  <a:pt x="2444" y="812"/>
                  <a:pt x="2444" y="812"/>
                  <a:pt x="2444" y="822"/>
                </a:cubicBezTo>
                <a:cubicBezTo>
                  <a:pt x="2446" y="821"/>
                  <a:pt x="2449" y="820"/>
                  <a:pt x="2451" y="819"/>
                </a:cubicBezTo>
                <a:cubicBezTo>
                  <a:pt x="2454" y="818"/>
                  <a:pt x="2456" y="817"/>
                  <a:pt x="2459" y="816"/>
                </a:cubicBezTo>
                <a:cubicBezTo>
                  <a:pt x="2459" y="816"/>
                  <a:pt x="2459" y="816"/>
                  <a:pt x="2459" y="874"/>
                </a:cubicBezTo>
                <a:cubicBezTo>
                  <a:pt x="2459" y="874"/>
                  <a:pt x="2459" y="874"/>
                  <a:pt x="2470" y="874"/>
                </a:cubicBezTo>
                <a:cubicBezTo>
                  <a:pt x="2470" y="874"/>
                  <a:pt x="2470" y="874"/>
                  <a:pt x="2470" y="801"/>
                </a:cubicBezTo>
                <a:close/>
                <a:moveTo>
                  <a:pt x="2586" y="874"/>
                </a:moveTo>
                <a:cubicBezTo>
                  <a:pt x="2578" y="874"/>
                  <a:pt x="2572" y="872"/>
                  <a:pt x="2568" y="866"/>
                </a:cubicBezTo>
                <a:cubicBezTo>
                  <a:pt x="2564" y="859"/>
                  <a:pt x="2562" y="850"/>
                  <a:pt x="2562" y="838"/>
                </a:cubicBezTo>
                <a:cubicBezTo>
                  <a:pt x="2562" y="825"/>
                  <a:pt x="2564" y="815"/>
                  <a:pt x="2568" y="808"/>
                </a:cubicBezTo>
                <a:cubicBezTo>
                  <a:pt x="2573" y="802"/>
                  <a:pt x="2579" y="798"/>
                  <a:pt x="2588" y="798"/>
                </a:cubicBezTo>
                <a:cubicBezTo>
                  <a:pt x="2604" y="798"/>
                  <a:pt x="2612" y="811"/>
                  <a:pt x="2612" y="836"/>
                </a:cubicBezTo>
                <a:cubicBezTo>
                  <a:pt x="2612" y="849"/>
                  <a:pt x="2610" y="858"/>
                  <a:pt x="2605" y="865"/>
                </a:cubicBezTo>
                <a:cubicBezTo>
                  <a:pt x="2600" y="872"/>
                  <a:pt x="2594" y="874"/>
                  <a:pt x="2586" y="874"/>
                </a:cubicBezTo>
                <a:close/>
                <a:moveTo>
                  <a:pt x="2587" y="808"/>
                </a:moveTo>
                <a:cubicBezTo>
                  <a:pt x="2578" y="808"/>
                  <a:pt x="2573" y="818"/>
                  <a:pt x="2573" y="838"/>
                </a:cubicBezTo>
                <a:cubicBezTo>
                  <a:pt x="2573" y="856"/>
                  <a:pt x="2578" y="865"/>
                  <a:pt x="2586" y="865"/>
                </a:cubicBezTo>
                <a:cubicBezTo>
                  <a:pt x="2595" y="865"/>
                  <a:pt x="2600" y="856"/>
                  <a:pt x="2600" y="837"/>
                </a:cubicBezTo>
                <a:cubicBezTo>
                  <a:pt x="2600" y="817"/>
                  <a:pt x="2595" y="808"/>
                  <a:pt x="2587" y="808"/>
                </a:cubicBezTo>
                <a:close/>
                <a:moveTo>
                  <a:pt x="2633" y="833"/>
                </a:moveTo>
                <a:cubicBezTo>
                  <a:pt x="2633" y="833"/>
                  <a:pt x="2633" y="833"/>
                  <a:pt x="2633" y="833"/>
                </a:cubicBezTo>
                <a:cubicBezTo>
                  <a:pt x="2633" y="842"/>
                  <a:pt x="2633" y="842"/>
                  <a:pt x="2633" y="842"/>
                </a:cubicBezTo>
                <a:cubicBezTo>
                  <a:pt x="2639" y="842"/>
                  <a:pt x="2640" y="845"/>
                  <a:pt x="2640" y="848"/>
                </a:cubicBezTo>
                <a:cubicBezTo>
                  <a:pt x="2640" y="850"/>
                  <a:pt x="2639" y="852"/>
                  <a:pt x="2639" y="855"/>
                </a:cubicBezTo>
                <a:cubicBezTo>
                  <a:pt x="2639" y="857"/>
                  <a:pt x="2639" y="859"/>
                  <a:pt x="2639" y="862"/>
                </a:cubicBezTo>
                <a:cubicBezTo>
                  <a:pt x="2639" y="871"/>
                  <a:pt x="2644" y="874"/>
                  <a:pt x="2653" y="874"/>
                </a:cubicBezTo>
                <a:cubicBezTo>
                  <a:pt x="2653" y="874"/>
                  <a:pt x="2653" y="874"/>
                  <a:pt x="2657" y="874"/>
                </a:cubicBezTo>
                <a:cubicBezTo>
                  <a:pt x="2657" y="874"/>
                  <a:pt x="2657" y="874"/>
                  <a:pt x="2657" y="865"/>
                </a:cubicBezTo>
                <a:cubicBezTo>
                  <a:pt x="2657" y="865"/>
                  <a:pt x="2657" y="865"/>
                  <a:pt x="2655" y="865"/>
                </a:cubicBezTo>
                <a:cubicBezTo>
                  <a:pt x="2651" y="865"/>
                  <a:pt x="2650" y="863"/>
                  <a:pt x="2650" y="859"/>
                </a:cubicBezTo>
                <a:cubicBezTo>
                  <a:pt x="2650" y="858"/>
                  <a:pt x="2650" y="856"/>
                  <a:pt x="2651" y="855"/>
                </a:cubicBezTo>
                <a:cubicBezTo>
                  <a:pt x="2651" y="853"/>
                  <a:pt x="2651" y="851"/>
                  <a:pt x="2651" y="849"/>
                </a:cubicBezTo>
                <a:cubicBezTo>
                  <a:pt x="2651" y="841"/>
                  <a:pt x="2648" y="839"/>
                  <a:pt x="2643" y="837"/>
                </a:cubicBezTo>
                <a:cubicBezTo>
                  <a:pt x="2643" y="837"/>
                  <a:pt x="2643" y="837"/>
                  <a:pt x="2643" y="837"/>
                </a:cubicBezTo>
                <a:cubicBezTo>
                  <a:pt x="2648" y="836"/>
                  <a:pt x="2651" y="834"/>
                  <a:pt x="2651" y="826"/>
                </a:cubicBezTo>
                <a:cubicBezTo>
                  <a:pt x="2651" y="824"/>
                  <a:pt x="2651" y="822"/>
                  <a:pt x="2651" y="820"/>
                </a:cubicBezTo>
                <a:cubicBezTo>
                  <a:pt x="2650" y="818"/>
                  <a:pt x="2650" y="816"/>
                  <a:pt x="2650" y="815"/>
                </a:cubicBezTo>
                <a:cubicBezTo>
                  <a:pt x="2650" y="812"/>
                  <a:pt x="2651" y="809"/>
                  <a:pt x="2655" y="809"/>
                </a:cubicBezTo>
                <a:cubicBezTo>
                  <a:pt x="2655" y="809"/>
                  <a:pt x="2655" y="809"/>
                  <a:pt x="2657" y="809"/>
                </a:cubicBezTo>
                <a:cubicBezTo>
                  <a:pt x="2657" y="809"/>
                  <a:pt x="2657" y="809"/>
                  <a:pt x="2657" y="800"/>
                </a:cubicBezTo>
                <a:cubicBezTo>
                  <a:pt x="2657" y="800"/>
                  <a:pt x="2657" y="800"/>
                  <a:pt x="2653" y="800"/>
                </a:cubicBezTo>
                <a:cubicBezTo>
                  <a:pt x="2644" y="800"/>
                  <a:pt x="2639" y="804"/>
                  <a:pt x="2639" y="813"/>
                </a:cubicBezTo>
                <a:cubicBezTo>
                  <a:pt x="2639" y="815"/>
                  <a:pt x="2639" y="818"/>
                  <a:pt x="2639" y="820"/>
                </a:cubicBezTo>
                <a:cubicBezTo>
                  <a:pt x="2639" y="822"/>
                  <a:pt x="2640" y="825"/>
                  <a:pt x="2640" y="827"/>
                </a:cubicBezTo>
                <a:cubicBezTo>
                  <a:pt x="2640" y="830"/>
                  <a:pt x="2639" y="833"/>
                  <a:pt x="2633" y="833"/>
                </a:cubicBezTo>
                <a:close/>
                <a:moveTo>
                  <a:pt x="2687" y="842"/>
                </a:moveTo>
                <a:cubicBezTo>
                  <a:pt x="2687" y="842"/>
                  <a:pt x="2687" y="842"/>
                  <a:pt x="2687" y="842"/>
                </a:cubicBezTo>
                <a:cubicBezTo>
                  <a:pt x="2687" y="833"/>
                  <a:pt x="2687" y="833"/>
                  <a:pt x="2687" y="833"/>
                </a:cubicBezTo>
                <a:cubicBezTo>
                  <a:pt x="2681" y="833"/>
                  <a:pt x="2681" y="830"/>
                  <a:pt x="2681" y="827"/>
                </a:cubicBezTo>
                <a:cubicBezTo>
                  <a:pt x="2681" y="825"/>
                  <a:pt x="2681" y="822"/>
                  <a:pt x="2681" y="820"/>
                </a:cubicBezTo>
                <a:cubicBezTo>
                  <a:pt x="2681" y="818"/>
                  <a:pt x="2681" y="815"/>
                  <a:pt x="2681" y="813"/>
                </a:cubicBezTo>
                <a:cubicBezTo>
                  <a:pt x="2681" y="804"/>
                  <a:pt x="2676" y="800"/>
                  <a:pt x="2667" y="800"/>
                </a:cubicBezTo>
                <a:cubicBezTo>
                  <a:pt x="2667" y="800"/>
                  <a:pt x="2667" y="800"/>
                  <a:pt x="2663" y="800"/>
                </a:cubicBezTo>
                <a:cubicBezTo>
                  <a:pt x="2663" y="800"/>
                  <a:pt x="2663" y="800"/>
                  <a:pt x="2663" y="809"/>
                </a:cubicBezTo>
                <a:cubicBezTo>
                  <a:pt x="2663" y="809"/>
                  <a:pt x="2663" y="809"/>
                  <a:pt x="2665" y="809"/>
                </a:cubicBezTo>
                <a:cubicBezTo>
                  <a:pt x="2669" y="809"/>
                  <a:pt x="2670" y="812"/>
                  <a:pt x="2670" y="815"/>
                </a:cubicBezTo>
                <a:cubicBezTo>
                  <a:pt x="2670" y="816"/>
                  <a:pt x="2670" y="818"/>
                  <a:pt x="2670" y="820"/>
                </a:cubicBezTo>
                <a:cubicBezTo>
                  <a:pt x="2669" y="822"/>
                  <a:pt x="2669" y="824"/>
                  <a:pt x="2669" y="826"/>
                </a:cubicBezTo>
                <a:cubicBezTo>
                  <a:pt x="2669" y="834"/>
                  <a:pt x="2672" y="836"/>
                  <a:pt x="2678" y="837"/>
                </a:cubicBezTo>
                <a:cubicBezTo>
                  <a:pt x="2678" y="837"/>
                  <a:pt x="2678" y="837"/>
                  <a:pt x="2678" y="837"/>
                </a:cubicBezTo>
                <a:cubicBezTo>
                  <a:pt x="2672" y="839"/>
                  <a:pt x="2669" y="841"/>
                  <a:pt x="2669" y="849"/>
                </a:cubicBezTo>
                <a:cubicBezTo>
                  <a:pt x="2669" y="851"/>
                  <a:pt x="2669" y="853"/>
                  <a:pt x="2670" y="855"/>
                </a:cubicBezTo>
                <a:cubicBezTo>
                  <a:pt x="2670" y="856"/>
                  <a:pt x="2670" y="858"/>
                  <a:pt x="2670" y="859"/>
                </a:cubicBezTo>
                <a:cubicBezTo>
                  <a:pt x="2670" y="863"/>
                  <a:pt x="2669" y="865"/>
                  <a:pt x="2665" y="865"/>
                </a:cubicBezTo>
                <a:cubicBezTo>
                  <a:pt x="2665" y="865"/>
                  <a:pt x="2665" y="865"/>
                  <a:pt x="2663" y="865"/>
                </a:cubicBezTo>
                <a:cubicBezTo>
                  <a:pt x="2663" y="865"/>
                  <a:pt x="2663" y="865"/>
                  <a:pt x="2663" y="874"/>
                </a:cubicBezTo>
                <a:cubicBezTo>
                  <a:pt x="2663" y="874"/>
                  <a:pt x="2663" y="874"/>
                  <a:pt x="2667" y="874"/>
                </a:cubicBezTo>
                <a:cubicBezTo>
                  <a:pt x="2676" y="874"/>
                  <a:pt x="2681" y="871"/>
                  <a:pt x="2681" y="862"/>
                </a:cubicBezTo>
                <a:cubicBezTo>
                  <a:pt x="2681" y="859"/>
                  <a:pt x="2681" y="857"/>
                  <a:pt x="2681" y="855"/>
                </a:cubicBezTo>
                <a:cubicBezTo>
                  <a:pt x="2681" y="852"/>
                  <a:pt x="2681" y="850"/>
                  <a:pt x="2681" y="848"/>
                </a:cubicBezTo>
                <a:cubicBezTo>
                  <a:pt x="2681" y="845"/>
                  <a:pt x="2681" y="842"/>
                  <a:pt x="2687" y="842"/>
                </a:cubicBezTo>
                <a:close/>
                <a:moveTo>
                  <a:pt x="2808" y="874"/>
                </a:moveTo>
                <a:cubicBezTo>
                  <a:pt x="2801" y="874"/>
                  <a:pt x="2794" y="872"/>
                  <a:pt x="2790" y="866"/>
                </a:cubicBezTo>
                <a:cubicBezTo>
                  <a:pt x="2786" y="859"/>
                  <a:pt x="2784" y="850"/>
                  <a:pt x="2784" y="838"/>
                </a:cubicBezTo>
                <a:cubicBezTo>
                  <a:pt x="2784" y="825"/>
                  <a:pt x="2786" y="815"/>
                  <a:pt x="2790" y="808"/>
                </a:cubicBezTo>
                <a:cubicBezTo>
                  <a:pt x="2795" y="802"/>
                  <a:pt x="2801" y="798"/>
                  <a:pt x="2810" y="798"/>
                </a:cubicBezTo>
                <a:cubicBezTo>
                  <a:pt x="2826" y="798"/>
                  <a:pt x="2834" y="811"/>
                  <a:pt x="2834" y="836"/>
                </a:cubicBezTo>
                <a:cubicBezTo>
                  <a:pt x="2834" y="849"/>
                  <a:pt x="2832" y="858"/>
                  <a:pt x="2827" y="865"/>
                </a:cubicBezTo>
                <a:cubicBezTo>
                  <a:pt x="2823" y="872"/>
                  <a:pt x="2816" y="874"/>
                  <a:pt x="2808" y="874"/>
                </a:cubicBezTo>
                <a:close/>
                <a:moveTo>
                  <a:pt x="2809" y="808"/>
                </a:moveTo>
                <a:cubicBezTo>
                  <a:pt x="2800" y="808"/>
                  <a:pt x="2796" y="818"/>
                  <a:pt x="2796" y="838"/>
                </a:cubicBezTo>
                <a:cubicBezTo>
                  <a:pt x="2796" y="856"/>
                  <a:pt x="2800" y="865"/>
                  <a:pt x="2809" y="865"/>
                </a:cubicBezTo>
                <a:cubicBezTo>
                  <a:pt x="2817" y="865"/>
                  <a:pt x="2822" y="856"/>
                  <a:pt x="2822" y="837"/>
                </a:cubicBezTo>
                <a:cubicBezTo>
                  <a:pt x="2822" y="817"/>
                  <a:pt x="2817" y="808"/>
                  <a:pt x="2809" y="808"/>
                </a:cubicBezTo>
                <a:close/>
                <a:moveTo>
                  <a:pt x="2882" y="801"/>
                </a:moveTo>
                <a:cubicBezTo>
                  <a:pt x="2882" y="801"/>
                  <a:pt x="2882" y="801"/>
                  <a:pt x="2882" y="801"/>
                </a:cubicBezTo>
                <a:cubicBezTo>
                  <a:pt x="2877" y="801"/>
                  <a:pt x="2877" y="801"/>
                  <a:pt x="2877" y="801"/>
                </a:cubicBezTo>
                <a:cubicBezTo>
                  <a:pt x="2875" y="802"/>
                  <a:pt x="2873" y="804"/>
                  <a:pt x="2871" y="805"/>
                </a:cubicBezTo>
                <a:cubicBezTo>
                  <a:pt x="2869" y="806"/>
                  <a:pt x="2867" y="807"/>
                  <a:pt x="2866" y="808"/>
                </a:cubicBezTo>
                <a:cubicBezTo>
                  <a:pt x="2864" y="808"/>
                  <a:pt x="2862" y="809"/>
                  <a:pt x="2861" y="810"/>
                </a:cubicBezTo>
                <a:cubicBezTo>
                  <a:pt x="2859" y="810"/>
                  <a:pt x="2857" y="811"/>
                  <a:pt x="2855" y="812"/>
                </a:cubicBezTo>
                <a:cubicBezTo>
                  <a:pt x="2855" y="812"/>
                  <a:pt x="2855" y="812"/>
                  <a:pt x="2855" y="822"/>
                </a:cubicBezTo>
                <a:cubicBezTo>
                  <a:pt x="2858" y="821"/>
                  <a:pt x="2861" y="820"/>
                  <a:pt x="2863" y="819"/>
                </a:cubicBezTo>
                <a:cubicBezTo>
                  <a:pt x="2866" y="818"/>
                  <a:pt x="2868" y="817"/>
                  <a:pt x="2870" y="816"/>
                </a:cubicBezTo>
                <a:cubicBezTo>
                  <a:pt x="2870" y="816"/>
                  <a:pt x="2870" y="816"/>
                  <a:pt x="2870" y="874"/>
                </a:cubicBezTo>
                <a:cubicBezTo>
                  <a:pt x="2870" y="874"/>
                  <a:pt x="2870" y="874"/>
                  <a:pt x="2882" y="874"/>
                </a:cubicBezTo>
                <a:cubicBezTo>
                  <a:pt x="2882" y="874"/>
                  <a:pt x="2882" y="874"/>
                  <a:pt x="2882" y="801"/>
                </a:cubicBezTo>
                <a:close/>
                <a:moveTo>
                  <a:pt x="2714" y="874"/>
                </a:moveTo>
                <a:cubicBezTo>
                  <a:pt x="2717" y="855"/>
                  <a:pt x="2717" y="855"/>
                  <a:pt x="2717" y="855"/>
                </a:cubicBezTo>
                <a:cubicBezTo>
                  <a:pt x="2708" y="855"/>
                  <a:pt x="2708" y="855"/>
                  <a:pt x="2708" y="855"/>
                </a:cubicBezTo>
                <a:cubicBezTo>
                  <a:pt x="2708" y="843"/>
                  <a:pt x="2708" y="843"/>
                  <a:pt x="2708" y="843"/>
                </a:cubicBezTo>
                <a:cubicBezTo>
                  <a:pt x="2719" y="843"/>
                  <a:pt x="2719" y="843"/>
                  <a:pt x="2719" y="843"/>
                </a:cubicBezTo>
                <a:cubicBezTo>
                  <a:pt x="2720" y="832"/>
                  <a:pt x="2720" y="832"/>
                  <a:pt x="2720" y="832"/>
                </a:cubicBezTo>
                <a:cubicBezTo>
                  <a:pt x="2711" y="832"/>
                  <a:pt x="2711" y="832"/>
                  <a:pt x="2711" y="832"/>
                </a:cubicBezTo>
                <a:cubicBezTo>
                  <a:pt x="2711" y="820"/>
                  <a:pt x="2711" y="820"/>
                  <a:pt x="2711" y="820"/>
                </a:cubicBezTo>
                <a:cubicBezTo>
                  <a:pt x="2722" y="820"/>
                  <a:pt x="2722" y="820"/>
                  <a:pt x="2722" y="820"/>
                </a:cubicBezTo>
                <a:cubicBezTo>
                  <a:pt x="2725" y="802"/>
                  <a:pt x="2725" y="802"/>
                  <a:pt x="2725" y="802"/>
                </a:cubicBezTo>
                <a:cubicBezTo>
                  <a:pt x="2736" y="802"/>
                  <a:pt x="2736" y="802"/>
                  <a:pt x="2736" y="802"/>
                </a:cubicBezTo>
                <a:cubicBezTo>
                  <a:pt x="2733" y="820"/>
                  <a:pt x="2733" y="820"/>
                  <a:pt x="2733" y="820"/>
                </a:cubicBezTo>
                <a:cubicBezTo>
                  <a:pt x="2743" y="820"/>
                  <a:pt x="2743" y="820"/>
                  <a:pt x="2743" y="820"/>
                </a:cubicBezTo>
                <a:cubicBezTo>
                  <a:pt x="2746" y="802"/>
                  <a:pt x="2746" y="802"/>
                  <a:pt x="2746" y="802"/>
                </a:cubicBezTo>
                <a:cubicBezTo>
                  <a:pt x="2757" y="802"/>
                  <a:pt x="2757" y="802"/>
                  <a:pt x="2757" y="802"/>
                </a:cubicBezTo>
                <a:cubicBezTo>
                  <a:pt x="2754" y="820"/>
                  <a:pt x="2754" y="820"/>
                  <a:pt x="2754" y="820"/>
                </a:cubicBezTo>
                <a:cubicBezTo>
                  <a:pt x="2763" y="820"/>
                  <a:pt x="2763" y="820"/>
                  <a:pt x="2763" y="820"/>
                </a:cubicBezTo>
                <a:cubicBezTo>
                  <a:pt x="2763" y="832"/>
                  <a:pt x="2763" y="832"/>
                  <a:pt x="2763" y="832"/>
                </a:cubicBezTo>
                <a:cubicBezTo>
                  <a:pt x="2753" y="832"/>
                  <a:pt x="2753" y="832"/>
                  <a:pt x="2753" y="832"/>
                </a:cubicBezTo>
                <a:cubicBezTo>
                  <a:pt x="2751" y="843"/>
                  <a:pt x="2751" y="843"/>
                  <a:pt x="2751" y="843"/>
                </a:cubicBezTo>
                <a:cubicBezTo>
                  <a:pt x="2760" y="843"/>
                  <a:pt x="2760" y="843"/>
                  <a:pt x="2760" y="843"/>
                </a:cubicBezTo>
                <a:cubicBezTo>
                  <a:pt x="2760" y="855"/>
                  <a:pt x="2760" y="855"/>
                  <a:pt x="2760" y="855"/>
                </a:cubicBezTo>
                <a:cubicBezTo>
                  <a:pt x="2749" y="855"/>
                  <a:pt x="2749" y="855"/>
                  <a:pt x="2749" y="855"/>
                </a:cubicBezTo>
                <a:cubicBezTo>
                  <a:pt x="2746" y="874"/>
                  <a:pt x="2746" y="874"/>
                  <a:pt x="2746" y="874"/>
                </a:cubicBezTo>
                <a:cubicBezTo>
                  <a:pt x="2735" y="874"/>
                  <a:pt x="2735" y="874"/>
                  <a:pt x="2735" y="874"/>
                </a:cubicBezTo>
                <a:cubicBezTo>
                  <a:pt x="2738" y="855"/>
                  <a:pt x="2738" y="855"/>
                  <a:pt x="2738" y="855"/>
                </a:cubicBezTo>
                <a:cubicBezTo>
                  <a:pt x="2728" y="855"/>
                  <a:pt x="2728" y="855"/>
                  <a:pt x="2728" y="855"/>
                </a:cubicBezTo>
                <a:cubicBezTo>
                  <a:pt x="2725" y="874"/>
                  <a:pt x="2725" y="874"/>
                  <a:pt x="2725" y="874"/>
                </a:cubicBezTo>
                <a:cubicBezTo>
                  <a:pt x="2714" y="874"/>
                  <a:pt x="2714" y="874"/>
                  <a:pt x="2714" y="874"/>
                </a:cubicBezTo>
                <a:cubicBezTo>
                  <a:pt x="2714" y="874"/>
                  <a:pt x="2714" y="874"/>
                  <a:pt x="2714" y="874"/>
                </a:cubicBezTo>
                <a:close/>
                <a:moveTo>
                  <a:pt x="2740" y="843"/>
                </a:moveTo>
                <a:cubicBezTo>
                  <a:pt x="2741" y="832"/>
                  <a:pt x="2741" y="832"/>
                  <a:pt x="2741" y="832"/>
                </a:cubicBezTo>
                <a:cubicBezTo>
                  <a:pt x="2731" y="832"/>
                  <a:pt x="2731" y="832"/>
                  <a:pt x="2731" y="832"/>
                </a:cubicBezTo>
                <a:cubicBezTo>
                  <a:pt x="2730" y="843"/>
                  <a:pt x="2730" y="843"/>
                  <a:pt x="2730" y="843"/>
                </a:cubicBezTo>
                <a:cubicBezTo>
                  <a:pt x="2740" y="843"/>
                  <a:pt x="2740" y="843"/>
                  <a:pt x="2740" y="843"/>
                </a:cubicBezTo>
                <a:cubicBezTo>
                  <a:pt x="2740" y="843"/>
                  <a:pt x="2740" y="843"/>
                  <a:pt x="2740" y="843"/>
                </a:cubicBezTo>
                <a:close/>
                <a:moveTo>
                  <a:pt x="2258" y="801"/>
                </a:moveTo>
                <a:cubicBezTo>
                  <a:pt x="2258" y="801"/>
                  <a:pt x="2258" y="801"/>
                  <a:pt x="2258" y="801"/>
                </a:cubicBezTo>
                <a:cubicBezTo>
                  <a:pt x="2253" y="801"/>
                  <a:pt x="2253" y="801"/>
                  <a:pt x="2253" y="801"/>
                </a:cubicBezTo>
                <a:cubicBezTo>
                  <a:pt x="2250" y="802"/>
                  <a:pt x="2249" y="804"/>
                  <a:pt x="2247" y="805"/>
                </a:cubicBezTo>
                <a:cubicBezTo>
                  <a:pt x="2245" y="806"/>
                  <a:pt x="2244" y="807"/>
                  <a:pt x="2242" y="808"/>
                </a:cubicBezTo>
                <a:cubicBezTo>
                  <a:pt x="2240" y="809"/>
                  <a:pt x="2238" y="810"/>
                  <a:pt x="2236" y="810"/>
                </a:cubicBezTo>
                <a:cubicBezTo>
                  <a:pt x="2234" y="811"/>
                  <a:pt x="2233" y="812"/>
                  <a:pt x="2230" y="812"/>
                </a:cubicBezTo>
                <a:cubicBezTo>
                  <a:pt x="2230" y="812"/>
                  <a:pt x="2230" y="812"/>
                  <a:pt x="2230" y="822"/>
                </a:cubicBezTo>
                <a:cubicBezTo>
                  <a:pt x="2233" y="821"/>
                  <a:pt x="2236" y="821"/>
                  <a:pt x="2239" y="819"/>
                </a:cubicBezTo>
                <a:cubicBezTo>
                  <a:pt x="2242" y="818"/>
                  <a:pt x="2244" y="817"/>
                  <a:pt x="2246" y="816"/>
                </a:cubicBezTo>
                <a:cubicBezTo>
                  <a:pt x="2246" y="816"/>
                  <a:pt x="2246" y="816"/>
                  <a:pt x="2246" y="874"/>
                </a:cubicBezTo>
                <a:cubicBezTo>
                  <a:pt x="2246" y="874"/>
                  <a:pt x="2246" y="874"/>
                  <a:pt x="2258" y="874"/>
                </a:cubicBezTo>
                <a:cubicBezTo>
                  <a:pt x="2258" y="874"/>
                  <a:pt x="2258" y="874"/>
                  <a:pt x="2258" y="801"/>
                </a:cubicBezTo>
                <a:close/>
                <a:moveTo>
                  <a:pt x="2305" y="801"/>
                </a:moveTo>
                <a:cubicBezTo>
                  <a:pt x="2305" y="801"/>
                  <a:pt x="2305" y="801"/>
                  <a:pt x="2305" y="801"/>
                </a:cubicBezTo>
                <a:cubicBezTo>
                  <a:pt x="2300" y="801"/>
                  <a:pt x="2300" y="801"/>
                  <a:pt x="2300" y="801"/>
                </a:cubicBezTo>
                <a:cubicBezTo>
                  <a:pt x="2298" y="802"/>
                  <a:pt x="2297" y="804"/>
                  <a:pt x="2294" y="805"/>
                </a:cubicBezTo>
                <a:cubicBezTo>
                  <a:pt x="2293" y="806"/>
                  <a:pt x="2291" y="807"/>
                  <a:pt x="2289" y="808"/>
                </a:cubicBezTo>
                <a:cubicBezTo>
                  <a:pt x="2288" y="809"/>
                  <a:pt x="2286" y="810"/>
                  <a:pt x="2284" y="810"/>
                </a:cubicBezTo>
                <a:cubicBezTo>
                  <a:pt x="2282" y="811"/>
                  <a:pt x="2281" y="812"/>
                  <a:pt x="2278" y="812"/>
                </a:cubicBezTo>
                <a:cubicBezTo>
                  <a:pt x="2278" y="812"/>
                  <a:pt x="2278" y="812"/>
                  <a:pt x="2278" y="822"/>
                </a:cubicBezTo>
                <a:cubicBezTo>
                  <a:pt x="2281" y="821"/>
                  <a:pt x="2284" y="821"/>
                  <a:pt x="2286" y="819"/>
                </a:cubicBezTo>
                <a:cubicBezTo>
                  <a:pt x="2289" y="818"/>
                  <a:pt x="2291" y="817"/>
                  <a:pt x="2294" y="816"/>
                </a:cubicBezTo>
                <a:cubicBezTo>
                  <a:pt x="2294" y="816"/>
                  <a:pt x="2294" y="816"/>
                  <a:pt x="2294" y="874"/>
                </a:cubicBezTo>
                <a:cubicBezTo>
                  <a:pt x="2294" y="874"/>
                  <a:pt x="2294" y="874"/>
                  <a:pt x="2305" y="874"/>
                </a:cubicBezTo>
                <a:cubicBezTo>
                  <a:pt x="2305" y="874"/>
                  <a:pt x="2305" y="874"/>
                  <a:pt x="2305" y="801"/>
                </a:cubicBezTo>
                <a:close/>
                <a:moveTo>
                  <a:pt x="2352" y="801"/>
                </a:moveTo>
                <a:cubicBezTo>
                  <a:pt x="2352" y="801"/>
                  <a:pt x="2352" y="801"/>
                  <a:pt x="2352" y="801"/>
                </a:cubicBezTo>
                <a:cubicBezTo>
                  <a:pt x="2348" y="801"/>
                  <a:pt x="2348" y="801"/>
                  <a:pt x="2348" y="801"/>
                </a:cubicBezTo>
                <a:cubicBezTo>
                  <a:pt x="2345" y="802"/>
                  <a:pt x="2344" y="804"/>
                  <a:pt x="2342" y="805"/>
                </a:cubicBezTo>
                <a:cubicBezTo>
                  <a:pt x="2340" y="806"/>
                  <a:pt x="2338" y="807"/>
                  <a:pt x="2337" y="808"/>
                </a:cubicBezTo>
                <a:cubicBezTo>
                  <a:pt x="2335" y="808"/>
                  <a:pt x="2333" y="809"/>
                  <a:pt x="2331" y="810"/>
                </a:cubicBezTo>
                <a:cubicBezTo>
                  <a:pt x="2330" y="810"/>
                  <a:pt x="2327" y="811"/>
                  <a:pt x="2326" y="812"/>
                </a:cubicBezTo>
                <a:cubicBezTo>
                  <a:pt x="2326" y="812"/>
                  <a:pt x="2326" y="812"/>
                  <a:pt x="2326" y="822"/>
                </a:cubicBezTo>
                <a:cubicBezTo>
                  <a:pt x="2329" y="821"/>
                  <a:pt x="2332" y="820"/>
                  <a:pt x="2334" y="819"/>
                </a:cubicBezTo>
                <a:cubicBezTo>
                  <a:pt x="2336" y="818"/>
                  <a:pt x="2339" y="817"/>
                  <a:pt x="2340" y="816"/>
                </a:cubicBezTo>
                <a:cubicBezTo>
                  <a:pt x="2340" y="816"/>
                  <a:pt x="2340" y="816"/>
                  <a:pt x="2340" y="874"/>
                </a:cubicBezTo>
                <a:cubicBezTo>
                  <a:pt x="2340" y="874"/>
                  <a:pt x="2340" y="874"/>
                  <a:pt x="2352" y="874"/>
                </a:cubicBezTo>
                <a:cubicBezTo>
                  <a:pt x="2352" y="874"/>
                  <a:pt x="2352" y="874"/>
                  <a:pt x="2352" y="801"/>
                </a:cubicBezTo>
                <a:close/>
                <a:moveTo>
                  <a:pt x="2559" y="705"/>
                </a:moveTo>
                <a:cubicBezTo>
                  <a:pt x="2559" y="705"/>
                  <a:pt x="2559" y="705"/>
                  <a:pt x="2559" y="705"/>
                </a:cubicBezTo>
                <a:cubicBezTo>
                  <a:pt x="2554" y="705"/>
                  <a:pt x="2554" y="705"/>
                  <a:pt x="2554" y="705"/>
                </a:cubicBezTo>
                <a:cubicBezTo>
                  <a:pt x="2552" y="706"/>
                  <a:pt x="2550" y="708"/>
                  <a:pt x="2548" y="709"/>
                </a:cubicBezTo>
                <a:cubicBezTo>
                  <a:pt x="2547" y="710"/>
                  <a:pt x="2544" y="711"/>
                  <a:pt x="2543" y="712"/>
                </a:cubicBezTo>
                <a:cubicBezTo>
                  <a:pt x="2541" y="712"/>
                  <a:pt x="2539" y="713"/>
                  <a:pt x="2538" y="714"/>
                </a:cubicBezTo>
                <a:cubicBezTo>
                  <a:pt x="2536" y="714"/>
                  <a:pt x="2534" y="715"/>
                  <a:pt x="2532" y="716"/>
                </a:cubicBezTo>
                <a:cubicBezTo>
                  <a:pt x="2532" y="716"/>
                  <a:pt x="2532" y="716"/>
                  <a:pt x="2532" y="726"/>
                </a:cubicBezTo>
                <a:cubicBezTo>
                  <a:pt x="2535" y="725"/>
                  <a:pt x="2538" y="724"/>
                  <a:pt x="2540" y="723"/>
                </a:cubicBezTo>
                <a:cubicBezTo>
                  <a:pt x="2543" y="722"/>
                  <a:pt x="2545" y="721"/>
                  <a:pt x="2547" y="720"/>
                </a:cubicBezTo>
                <a:cubicBezTo>
                  <a:pt x="2547" y="720"/>
                  <a:pt x="2547" y="720"/>
                  <a:pt x="2547" y="778"/>
                </a:cubicBezTo>
                <a:cubicBezTo>
                  <a:pt x="2547" y="778"/>
                  <a:pt x="2547" y="778"/>
                  <a:pt x="2559" y="778"/>
                </a:cubicBezTo>
                <a:cubicBezTo>
                  <a:pt x="2559" y="778"/>
                  <a:pt x="2559" y="778"/>
                  <a:pt x="2559" y="705"/>
                </a:cubicBezTo>
                <a:close/>
                <a:moveTo>
                  <a:pt x="2605" y="705"/>
                </a:moveTo>
                <a:cubicBezTo>
                  <a:pt x="2605" y="705"/>
                  <a:pt x="2605" y="705"/>
                  <a:pt x="2605" y="705"/>
                </a:cubicBezTo>
                <a:cubicBezTo>
                  <a:pt x="2600" y="705"/>
                  <a:pt x="2600" y="705"/>
                  <a:pt x="2600" y="705"/>
                </a:cubicBezTo>
                <a:cubicBezTo>
                  <a:pt x="2598" y="706"/>
                  <a:pt x="2597" y="708"/>
                  <a:pt x="2595" y="709"/>
                </a:cubicBezTo>
                <a:cubicBezTo>
                  <a:pt x="2593" y="710"/>
                  <a:pt x="2591" y="711"/>
                  <a:pt x="2590" y="712"/>
                </a:cubicBezTo>
                <a:cubicBezTo>
                  <a:pt x="2588" y="713"/>
                  <a:pt x="2586" y="714"/>
                  <a:pt x="2585" y="714"/>
                </a:cubicBezTo>
                <a:cubicBezTo>
                  <a:pt x="2582" y="715"/>
                  <a:pt x="2581" y="716"/>
                  <a:pt x="2579" y="716"/>
                </a:cubicBezTo>
                <a:cubicBezTo>
                  <a:pt x="2579" y="716"/>
                  <a:pt x="2579" y="716"/>
                  <a:pt x="2579" y="726"/>
                </a:cubicBezTo>
                <a:cubicBezTo>
                  <a:pt x="2582" y="725"/>
                  <a:pt x="2585" y="725"/>
                  <a:pt x="2587" y="723"/>
                </a:cubicBezTo>
                <a:cubicBezTo>
                  <a:pt x="2590" y="722"/>
                  <a:pt x="2592" y="721"/>
                  <a:pt x="2594" y="720"/>
                </a:cubicBezTo>
                <a:cubicBezTo>
                  <a:pt x="2594" y="720"/>
                  <a:pt x="2594" y="720"/>
                  <a:pt x="2594" y="778"/>
                </a:cubicBezTo>
                <a:cubicBezTo>
                  <a:pt x="2594" y="778"/>
                  <a:pt x="2594" y="778"/>
                  <a:pt x="2605" y="778"/>
                </a:cubicBezTo>
                <a:cubicBezTo>
                  <a:pt x="2605" y="778"/>
                  <a:pt x="2605" y="778"/>
                  <a:pt x="2605" y="705"/>
                </a:cubicBezTo>
                <a:close/>
                <a:moveTo>
                  <a:pt x="2651" y="705"/>
                </a:moveTo>
                <a:cubicBezTo>
                  <a:pt x="2651" y="705"/>
                  <a:pt x="2651" y="705"/>
                  <a:pt x="2651" y="705"/>
                </a:cubicBezTo>
                <a:cubicBezTo>
                  <a:pt x="2647" y="705"/>
                  <a:pt x="2647" y="705"/>
                  <a:pt x="2647" y="705"/>
                </a:cubicBezTo>
                <a:cubicBezTo>
                  <a:pt x="2645" y="706"/>
                  <a:pt x="2643" y="708"/>
                  <a:pt x="2641" y="709"/>
                </a:cubicBezTo>
                <a:cubicBezTo>
                  <a:pt x="2640" y="710"/>
                  <a:pt x="2638" y="711"/>
                  <a:pt x="2636" y="712"/>
                </a:cubicBezTo>
                <a:cubicBezTo>
                  <a:pt x="2634" y="713"/>
                  <a:pt x="2633" y="714"/>
                  <a:pt x="2630" y="714"/>
                </a:cubicBezTo>
                <a:cubicBezTo>
                  <a:pt x="2629" y="715"/>
                  <a:pt x="2627" y="716"/>
                  <a:pt x="2625" y="716"/>
                </a:cubicBezTo>
                <a:cubicBezTo>
                  <a:pt x="2625" y="716"/>
                  <a:pt x="2625" y="716"/>
                  <a:pt x="2625" y="726"/>
                </a:cubicBezTo>
                <a:cubicBezTo>
                  <a:pt x="2628" y="725"/>
                  <a:pt x="2631" y="725"/>
                  <a:pt x="2633" y="723"/>
                </a:cubicBezTo>
                <a:cubicBezTo>
                  <a:pt x="2636" y="722"/>
                  <a:pt x="2638" y="721"/>
                  <a:pt x="2640" y="720"/>
                </a:cubicBezTo>
                <a:cubicBezTo>
                  <a:pt x="2640" y="720"/>
                  <a:pt x="2640" y="720"/>
                  <a:pt x="2640" y="778"/>
                </a:cubicBezTo>
                <a:cubicBezTo>
                  <a:pt x="2640" y="778"/>
                  <a:pt x="2640" y="778"/>
                  <a:pt x="2651" y="778"/>
                </a:cubicBezTo>
                <a:cubicBezTo>
                  <a:pt x="2651" y="778"/>
                  <a:pt x="2651" y="778"/>
                  <a:pt x="2651" y="705"/>
                </a:cubicBezTo>
                <a:close/>
                <a:moveTo>
                  <a:pt x="2698" y="705"/>
                </a:moveTo>
                <a:cubicBezTo>
                  <a:pt x="2698" y="705"/>
                  <a:pt x="2698" y="705"/>
                  <a:pt x="2698" y="705"/>
                </a:cubicBezTo>
                <a:cubicBezTo>
                  <a:pt x="2693" y="705"/>
                  <a:pt x="2693" y="705"/>
                  <a:pt x="2693" y="705"/>
                </a:cubicBezTo>
                <a:cubicBezTo>
                  <a:pt x="2691" y="706"/>
                  <a:pt x="2690" y="708"/>
                  <a:pt x="2687" y="709"/>
                </a:cubicBezTo>
                <a:cubicBezTo>
                  <a:pt x="2686" y="710"/>
                  <a:pt x="2684" y="711"/>
                  <a:pt x="2682" y="712"/>
                </a:cubicBezTo>
                <a:cubicBezTo>
                  <a:pt x="2681" y="713"/>
                  <a:pt x="2678" y="714"/>
                  <a:pt x="2677" y="714"/>
                </a:cubicBezTo>
                <a:cubicBezTo>
                  <a:pt x="2675" y="715"/>
                  <a:pt x="2673" y="716"/>
                  <a:pt x="2671" y="716"/>
                </a:cubicBezTo>
                <a:cubicBezTo>
                  <a:pt x="2671" y="716"/>
                  <a:pt x="2671" y="716"/>
                  <a:pt x="2671" y="726"/>
                </a:cubicBezTo>
                <a:cubicBezTo>
                  <a:pt x="2674" y="725"/>
                  <a:pt x="2677" y="725"/>
                  <a:pt x="2679" y="723"/>
                </a:cubicBezTo>
                <a:cubicBezTo>
                  <a:pt x="2682" y="722"/>
                  <a:pt x="2684" y="721"/>
                  <a:pt x="2687" y="720"/>
                </a:cubicBezTo>
                <a:cubicBezTo>
                  <a:pt x="2687" y="720"/>
                  <a:pt x="2687" y="720"/>
                  <a:pt x="2687" y="778"/>
                </a:cubicBezTo>
                <a:cubicBezTo>
                  <a:pt x="2687" y="778"/>
                  <a:pt x="2687" y="778"/>
                  <a:pt x="2698" y="778"/>
                </a:cubicBezTo>
                <a:cubicBezTo>
                  <a:pt x="2698" y="778"/>
                  <a:pt x="2698" y="778"/>
                  <a:pt x="2698" y="705"/>
                </a:cubicBezTo>
                <a:close/>
                <a:moveTo>
                  <a:pt x="2820" y="705"/>
                </a:moveTo>
                <a:cubicBezTo>
                  <a:pt x="2820" y="705"/>
                  <a:pt x="2820" y="705"/>
                  <a:pt x="2820" y="705"/>
                </a:cubicBezTo>
                <a:cubicBezTo>
                  <a:pt x="2815" y="705"/>
                  <a:pt x="2815" y="705"/>
                  <a:pt x="2815" y="705"/>
                </a:cubicBezTo>
                <a:cubicBezTo>
                  <a:pt x="2813" y="706"/>
                  <a:pt x="2811" y="708"/>
                  <a:pt x="2809" y="709"/>
                </a:cubicBezTo>
                <a:cubicBezTo>
                  <a:pt x="2808" y="710"/>
                  <a:pt x="2806" y="711"/>
                  <a:pt x="2804" y="712"/>
                </a:cubicBezTo>
                <a:cubicBezTo>
                  <a:pt x="2802" y="713"/>
                  <a:pt x="2800" y="714"/>
                  <a:pt x="2799" y="714"/>
                </a:cubicBezTo>
                <a:cubicBezTo>
                  <a:pt x="2797" y="715"/>
                  <a:pt x="2795" y="716"/>
                  <a:pt x="2793" y="716"/>
                </a:cubicBezTo>
                <a:cubicBezTo>
                  <a:pt x="2793" y="716"/>
                  <a:pt x="2793" y="716"/>
                  <a:pt x="2793" y="726"/>
                </a:cubicBezTo>
                <a:cubicBezTo>
                  <a:pt x="2796" y="725"/>
                  <a:pt x="2799" y="725"/>
                  <a:pt x="2802" y="723"/>
                </a:cubicBezTo>
                <a:cubicBezTo>
                  <a:pt x="2804" y="722"/>
                  <a:pt x="2806" y="721"/>
                  <a:pt x="2808" y="720"/>
                </a:cubicBezTo>
                <a:cubicBezTo>
                  <a:pt x="2808" y="720"/>
                  <a:pt x="2808" y="720"/>
                  <a:pt x="2808" y="778"/>
                </a:cubicBezTo>
                <a:cubicBezTo>
                  <a:pt x="2808" y="778"/>
                  <a:pt x="2808" y="778"/>
                  <a:pt x="2820" y="778"/>
                </a:cubicBezTo>
                <a:cubicBezTo>
                  <a:pt x="2820" y="778"/>
                  <a:pt x="2820" y="778"/>
                  <a:pt x="2820" y="705"/>
                </a:cubicBezTo>
                <a:close/>
                <a:moveTo>
                  <a:pt x="2867" y="705"/>
                </a:moveTo>
                <a:cubicBezTo>
                  <a:pt x="2867" y="705"/>
                  <a:pt x="2867" y="705"/>
                  <a:pt x="2867" y="705"/>
                </a:cubicBezTo>
                <a:cubicBezTo>
                  <a:pt x="2862" y="705"/>
                  <a:pt x="2862" y="705"/>
                  <a:pt x="2862" y="705"/>
                </a:cubicBezTo>
                <a:cubicBezTo>
                  <a:pt x="2860" y="706"/>
                  <a:pt x="2858" y="708"/>
                  <a:pt x="2856" y="709"/>
                </a:cubicBezTo>
                <a:cubicBezTo>
                  <a:pt x="2855" y="710"/>
                  <a:pt x="2852" y="711"/>
                  <a:pt x="2851" y="712"/>
                </a:cubicBezTo>
                <a:cubicBezTo>
                  <a:pt x="2849" y="713"/>
                  <a:pt x="2847" y="714"/>
                  <a:pt x="2846" y="714"/>
                </a:cubicBezTo>
                <a:cubicBezTo>
                  <a:pt x="2844" y="715"/>
                  <a:pt x="2842" y="716"/>
                  <a:pt x="2840" y="716"/>
                </a:cubicBezTo>
                <a:cubicBezTo>
                  <a:pt x="2840" y="716"/>
                  <a:pt x="2840" y="716"/>
                  <a:pt x="2840" y="726"/>
                </a:cubicBezTo>
                <a:cubicBezTo>
                  <a:pt x="2843" y="725"/>
                  <a:pt x="2846" y="725"/>
                  <a:pt x="2848" y="723"/>
                </a:cubicBezTo>
                <a:cubicBezTo>
                  <a:pt x="2851" y="722"/>
                  <a:pt x="2853" y="721"/>
                  <a:pt x="2855" y="720"/>
                </a:cubicBezTo>
                <a:cubicBezTo>
                  <a:pt x="2855" y="720"/>
                  <a:pt x="2855" y="720"/>
                  <a:pt x="2855" y="778"/>
                </a:cubicBezTo>
                <a:cubicBezTo>
                  <a:pt x="2855" y="778"/>
                  <a:pt x="2855" y="778"/>
                  <a:pt x="2867" y="778"/>
                </a:cubicBezTo>
                <a:cubicBezTo>
                  <a:pt x="2867" y="778"/>
                  <a:pt x="2867" y="778"/>
                  <a:pt x="2867" y="705"/>
                </a:cubicBezTo>
                <a:close/>
                <a:moveTo>
                  <a:pt x="2718" y="737"/>
                </a:moveTo>
                <a:cubicBezTo>
                  <a:pt x="2718" y="737"/>
                  <a:pt x="2718" y="737"/>
                  <a:pt x="2718" y="737"/>
                </a:cubicBezTo>
                <a:cubicBezTo>
                  <a:pt x="2718" y="746"/>
                  <a:pt x="2718" y="746"/>
                  <a:pt x="2718" y="746"/>
                </a:cubicBezTo>
                <a:cubicBezTo>
                  <a:pt x="2724" y="746"/>
                  <a:pt x="2725" y="749"/>
                  <a:pt x="2725" y="752"/>
                </a:cubicBezTo>
                <a:cubicBezTo>
                  <a:pt x="2725" y="754"/>
                  <a:pt x="2725" y="756"/>
                  <a:pt x="2725" y="759"/>
                </a:cubicBezTo>
                <a:cubicBezTo>
                  <a:pt x="2724" y="761"/>
                  <a:pt x="2724" y="763"/>
                  <a:pt x="2724" y="766"/>
                </a:cubicBezTo>
                <a:cubicBezTo>
                  <a:pt x="2724" y="775"/>
                  <a:pt x="2730" y="778"/>
                  <a:pt x="2738" y="778"/>
                </a:cubicBezTo>
                <a:cubicBezTo>
                  <a:pt x="2738" y="778"/>
                  <a:pt x="2738" y="778"/>
                  <a:pt x="2742" y="778"/>
                </a:cubicBezTo>
                <a:cubicBezTo>
                  <a:pt x="2742" y="778"/>
                  <a:pt x="2742" y="778"/>
                  <a:pt x="2742" y="769"/>
                </a:cubicBezTo>
                <a:cubicBezTo>
                  <a:pt x="2742" y="769"/>
                  <a:pt x="2742" y="769"/>
                  <a:pt x="2741" y="769"/>
                </a:cubicBezTo>
                <a:cubicBezTo>
                  <a:pt x="2737" y="769"/>
                  <a:pt x="2736" y="767"/>
                  <a:pt x="2736" y="763"/>
                </a:cubicBezTo>
                <a:cubicBezTo>
                  <a:pt x="2736" y="762"/>
                  <a:pt x="2736" y="760"/>
                  <a:pt x="2736" y="759"/>
                </a:cubicBezTo>
                <a:cubicBezTo>
                  <a:pt x="2736" y="757"/>
                  <a:pt x="2737" y="755"/>
                  <a:pt x="2737" y="753"/>
                </a:cubicBezTo>
                <a:cubicBezTo>
                  <a:pt x="2737" y="745"/>
                  <a:pt x="2734" y="743"/>
                  <a:pt x="2728" y="741"/>
                </a:cubicBezTo>
                <a:cubicBezTo>
                  <a:pt x="2728" y="741"/>
                  <a:pt x="2728" y="741"/>
                  <a:pt x="2728" y="741"/>
                </a:cubicBezTo>
                <a:cubicBezTo>
                  <a:pt x="2734" y="740"/>
                  <a:pt x="2737" y="738"/>
                  <a:pt x="2737" y="730"/>
                </a:cubicBezTo>
                <a:cubicBezTo>
                  <a:pt x="2737" y="728"/>
                  <a:pt x="2736" y="726"/>
                  <a:pt x="2736" y="724"/>
                </a:cubicBezTo>
                <a:cubicBezTo>
                  <a:pt x="2736" y="722"/>
                  <a:pt x="2736" y="720"/>
                  <a:pt x="2736" y="719"/>
                </a:cubicBezTo>
                <a:cubicBezTo>
                  <a:pt x="2736" y="716"/>
                  <a:pt x="2737" y="713"/>
                  <a:pt x="2741" y="713"/>
                </a:cubicBezTo>
                <a:cubicBezTo>
                  <a:pt x="2741" y="713"/>
                  <a:pt x="2741" y="713"/>
                  <a:pt x="2742" y="713"/>
                </a:cubicBezTo>
                <a:cubicBezTo>
                  <a:pt x="2742" y="713"/>
                  <a:pt x="2742" y="713"/>
                  <a:pt x="2742" y="704"/>
                </a:cubicBezTo>
                <a:cubicBezTo>
                  <a:pt x="2742" y="704"/>
                  <a:pt x="2742" y="704"/>
                  <a:pt x="2738" y="704"/>
                </a:cubicBezTo>
                <a:cubicBezTo>
                  <a:pt x="2730" y="704"/>
                  <a:pt x="2724" y="708"/>
                  <a:pt x="2724" y="717"/>
                </a:cubicBezTo>
                <a:cubicBezTo>
                  <a:pt x="2724" y="719"/>
                  <a:pt x="2724" y="722"/>
                  <a:pt x="2724" y="724"/>
                </a:cubicBezTo>
                <a:cubicBezTo>
                  <a:pt x="2725" y="726"/>
                  <a:pt x="2725" y="729"/>
                  <a:pt x="2725" y="731"/>
                </a:cubicBezTo>
                <a:cubicBezTo>
                  <a:pt x="2725" y="734"/>
                  <a:pt x="2724" y="737"/>
                  <a:pt x="2718" y="737"/>
                </a:cubicBezTo>
                <a:close/>
                <a:moveTo>
                  <a:pt x="2773" y="746"/>
                </a:moveTo>
                <a:cubicBezTo>
                  <a:pt x="2773" y="746"/>
                  <a:pt x="2773" y="746"/>
                  <a:pt x="2773" y="746"/>
                </a:cubicBezTo>
                <a:cubicBezTo>
                  <a:pt x="2773" y="737"/>
                  <a:pt x="2773" y="737"/>
                  <a:pt x="2773" y="737"/>
                </a:cubicBezTo>
                <a:cubicBezTo>
                  <a:pt x="2767" y="737"/>
                  <a:pt x="2767" y="734"/>
                  <a:pt x="2767" y="731"/>
                </a:cubicBezTo>
                <a:cubicBezTo>
                  <a:pt x="2767" y="729"/>
                  <a:pt x="2767" y="726"/>
                  <a:pt x="2767" y="724"/>
                </a:cubicBezTo>
                <a:cubicBezTo>
                  <a:pt x="2767" y="722"/>
                  <a:pt x="2767" y="719"/>
                  <a:pt x="2767" y="717"/>
                </a:cubicBezTo>
                <a:cubicBezTo>
                  <a:pt x="2767" y="708"/>
                  <a:pt x="2762" y="704"/>
                  <a:pt x="2753" y="704"/>
                </a:cubicBezTo>
                <a:cubicBezTo>
                  <a:pt x="2753" y="704"/>
                  <a:pt x="2753" y="704"/>
                  <a:pt x="2749" y="704"/>
                </a:cubicBezTo>
                <a:cubicBezTo>
                  <a:pt x="2749" y="704"/>
                  <a:pt x="2749" y="704"/>
                  <a:pt x="2749" y="713"/>
                </a:cubicBezTo>
                <a:cubicBezTo>
                  <a:pt x="2749" y="713"/>
                  <a:pt x="2749" y="713"/>
                  <a:pt x="2750" y="713"/>
                </a:cubicBezTo>
                <a:cubicBezTo>
                  <a:pt x="2754" y="713"/>
                  <a:pt x="2756" y="716"/>
                  <a:pt x="2756" y="719"/>
                </a:cubicBezTo>
                <a:cubicBezTo>
                  <a:pt x="2756" y="720"/>
                  <a:pt x="2755" y="722"/>
                  <a:pt x="2755" y="724"/>
                </a:cubicBezTo>
                <a:cubicBezTo>
                  <a:pt x="2755" y="726"/>
                  <a:pt x="2755" y="728"/>
                  <a:pt x="2755" y="730"/>
                </a:cubicBezTo>
                <a:cubicBezTo>
                  <a:pt x="2755" y="738"/>
                  <a:pt x="2757" y="740"/>
                  <a:pt x="2764" y="741"/>
                </a:cubicBezTo>
                <a:cubicBezTo>
                  <a:pt x="2764" y="741"/>
                  <a:pt x="2764" y="741"/>
                  <a:pt x="2764" y="741"/>
                </a:cubicBezTo>
                <a:cubicBezTo>
                  <a:pt x="2757" y="743"/>
                  <a:pt x="2755" y="745"/>
                  <a:pt x="2755" y="753"/>
                </a:cubicBezTo>
                <a:cubicBezTo>
                  <a:pt x="2755" y="755"/>
                  <a:pt x="2755" y="757"/>
                  <a:pt x="2755" y="759"/>
                </a:cubicBezTo>
                <a:cubicBezTo>
                  <a:pt x="2755" y="760"/>
                  <a:pt x="2756" y="762"/>
                  <a:pt x="2756" y="763"/>
                </a:cubicBezTo>
                <a:cubicBezTo>
                  <a:pt x="2756" y="767"/>
                  <a:pt x="2754" y="769"/>
                  <a:pt x="2750" y="769"/>
                </a:cubicBezTo>
                <a:cubicBezTo>
                  <a:pt x="2750" y="769"/>
                  <a:pt x="2750" y="769"/>
                  <a:pt x="2749" y="769"/>
                </a:cubicBezTo>
                <a:cubicBezTo>
                  <a:pt x="2749" y="769"/>
                  <a:pt x="2749" y="769"/>
                  <a:pt x="2749" y="778"/>
                </a:cubicBezTo>
                <a:cubicBezTo>
                  <a:pt x="2749" y="778"/>
                  <a:pt x="2749" y="778"/>
                  <a:pt x="2753" y="778"/>
                </a:cubicBezTo>
                <a:cubicBezTo>
                  <a:pt x="2762" y="778"/>
                  <a:pt x="2767" y="775"/>
                  <a:pt x="2767" y="766"/>
                </a:cubicBezTo>
                <a:cubicBezTo>
                  <a:pt x="2767" y="763"/>
                  <a:pt x="2767" y="761"/>
                  <a:pt x="2767" y="759"/>
                </a:cubicBezTo>
                <a:cubicBezTo>
                  <a:pt x="2767" y="756"/>
                  <a:pt x="2767" y="754"/>
                  <a:pt x="2767" y="752"/>
                </a:cubicBezTo>
                <a:cubicBezTo>
                  <a:pt x="2767" y="749"/>
                  <a:pt x="2767" y="746"/>
                  <a:pt x="2773" y="746"/>
                </a:cubicBezTo>
                <a:close/>
                <a:moveTo>
                  <a:pt x="2159" y="778"/>
                </a:moveTo>
                <a:cubicBezTo>
                  <a:pt x="2152" y="778"/>
                  <a:pt x="2145" y="776"/>
                  <a:pt x="2141" y="770"/>
                </a:cubicBezTo>
                <a:cubicBezTo>
                  <a:pt x="2137" y="763"/>
                  <a:pt x="2135" y="754"/>
                  <a:pt x="2135" y="742"/>
                </a:cubicBezTo>
                <a:cubicBezTo>
                  <a:pt x="2135" y="729"/>
                  <a:pt x="2137" y="719"/>
                  <a:pt x="2141" y="713"/>
                </a:cubicBezTo>
                <a:cubicBezTo>
                  <a:pt x="2146" y="706"/>
                  <a:pt x="2152" y="703"/>
                  <a:pt x="2161" y="703"/>
                </a:cubicBezTo>
                <a:cubicBezTo>
                  <a:pt x="2177" y="703"/>
                  <a:pt x="2185" y="715"/>
                  <a:pt x="2185" y="741"/>
                </a:cubicBezTo>
                <a:cubicBezTo>
                  <a:pt x="2185" y="753"/>
                  <a:pt x="2183" y="762"/>
                  <a:pt x="2178" y="769"/>
                </a:cubicBezTo>
                <a:cubicBezTo>
                  <a:pt x="2174" y="776"/>
                  <a:pt x="2167" y="778"/>
                  <a:pt x="2159" y="778"/>
                </a:cubicBezTo>
                <a:close/>
                <a:moveTo>
                  <a:pt x="2160" y="712"/>
                </a:moveTo>
                <a:cubicBezTo>
                  <a:pt x="2151" y="712"/>
                  <a:pt x="2147" y="722"/>
                  <a:pt x="2147" y="742"/>
                </a:cubicBezTo>
                <a:cubicBezTo>
                  <a:pt x="2147" y="760"/>
                  <a:pt x="2151" y="769"/>
                  <a:pt x="2160" y="769"/>
                </a:cubicBezTo>
                <a:cubicBezTo>
                  <a:pt x="2168" y="769"/>
                  <a:pt x="2173" y="760"/>
                  <a:pt x="2173" y="741"/>
                </a:cubicBezTo>
                <a:cubicBezTo>
                  <a:pt x="2173" y="722"/>
                  <a:pt x="2168" y="712"/>
                  <a:pt x="2160" y="712"/>
                </a:cubicBezTo>
                <a:close/>
                <a:moveTo>
                  <a:pt x="2230" y="778"/>
                </a:moveTo>
                <a:cubicBezTo>
                  <a:pt x="2222" y="778"/>
                  <a:pt x="2216" y="776"/>
                  <a:pt x="2212" y="770"/>
                </a:cubicBezTo>
                <a:cubicBezTo>
                  <a:pt x="2208" y="763"/>
                  <a:pt x="2205" y="754"/>
                  <a:pt x="2205" y="742"/>
                </a:cubicBezTo>
                <a:cubicBezTo>
                  <a:pt x="2205" y="729"/>
                  <a:pt x="2208" y="719"/>
                  <a:pt x="2212" y="713"/>
                </a:cubicBezTo>
                <a:cubicBezTo>
                  <a:pt x="2216" y="706"/>
                  <a:pt x="2223" y="703"/>
                  <a:pt x="2232" y="703"/>
                </a:cubicBezTo>
                <a:cubicBezTo>
                  <a:pt x="2248" y="703"/>
                  <a:pt x="2256" y="715"/>
                  <a:pt x="2256" y="741"/>
                </a:cubicBezTo>
                <a:cubicBezTo>
                  <a:pt x="2256" y="753"/>
                  <a:pt x="2254" y="762"/>
                  <a:pt x="2249" y="769"/>
                </a:cubicBezTo>
                <a:cubicBezTo>
                  <a:pt x="2244" y="776"/>
                  <a:pt x="2238" y="778"/>
                  <a:pt x="2230" y="778"/>
                </a:cubicBezTo>
                <a:close/>
                <a:moveTo>
                  <a:pt x="2231" y="712"/>
                </a:moveTo>
                <a:cubicBezTo>
                  <a:pt x="2222" y="712"/>
                  <a:pt x="2217" y="722"/>
                  <a:pt x="2217" y="742"/>
                </a:cubicBezTo>
                <a:cubicBezTo>
                  <a:pt x="2217" y="760"/>
                  <a:pt x="2222" y="769"/>
                  <a:pt x="2230" y="769"/>
                </a:cubicBezTo>
                <a:cubicBezTo>
                  <a:pt x="2239" y="769"/>
                  <a:pt x="2243" y="760"/>
                  <a:pt x="2243" y="741"/>
                </a:cubicBezTo>
                <a:cubicBezTo>
                  <a:pt x="2243" y="722"/>
                  <a:pt x="2239" y="712"/>
                  <a:pt x="2231" y="712"/>
                </a:cubicBezTo>
                <a:close/>
                <a:moveTo>
                  <a:pt x="2439" y="778"/>
                </a:moveTo>
                <a:cubicBezTo>
                  <a:pt x="2432" y="778"/>
                  <a:pt x="2426" y="776"/>
                  <a:pt x="2422" y="769"/>
                </a:cubicBezTo>
                <a:cubicBezTo>
                  <a:pt x="2417" y="763"/>
                  <a:pt x="2415" y="754"/>
                  <a:pt x="2415" y="742"/>
                </a:cubicBezTo>
                <a:cubicBezTo>
                  <a:pt x="2415" y="729"/>
                  <a:pt x="2417" y="719"/>
                  <a:pt x="2422" y="712"/>
                </a:cubicBezTo>
                <a:cubicBezTo>
                  <a:pt x="2426" y="706"/>
                  <a:pt x="2433" y="703"/>
                  <a:pt x="2442" y="703"/>
                </a:cubicBezTo>
                <a:cubicBezTo>
                  <a:pt x="2458" y="703"/>
                  <a:pt x="2466" y="715"/>
                  <a:pt x="2466" y="740"/>
                </a:cubicBezTo>
                <a:cubicBezTo>
                  <a:pt x="2466" y="753"/>
                  <a:pt x="2463" y="762"/>
                  <a:pt x="2459" y="769"/>
                </a:cubicBezTo>
                <a:cubicBezTo>
                  <a:pt x="2454" y="776"/>
                  <a:pt x="2448" y="778"/>
                  <a:pt x="2439" y="778"/>
                </a:cubicBezTo>
                <a:close/>
                <a:moveTo>
                  <a:pt x="2441" y="712"/>
                </a:moveTo>
                <a:cubicBezTo>
                  <a:pt x="2432" y="712"/>
                  <a:pt x="2428" y="722"/>
                  <a:pt x="2428" y="741"/>
                </a:cubicBezTo>
                <a:cubicBezTo>
                  <a:pt x="2428" y="759"/>
                  <a:pt x="2432" y="769"/>
                  <a:pt x="2441" y="769"/>
                </a:cubicBezTo>
                <a:cubicBezTo>
                  <a:pt x="2449" y="769"/>
                  <a:pt x="2453" y="759"/>
                  <a:pt x="2453" y="741"/>
                </a:cubicBezTo>
                <a:cubicBezTo>
                  <a:pt x="2453" y="722"/>
                  <a:pt x="2450" y="712"/>
                  <a:pt x="2441" y="712"/>
                </a:cubicBezTo>
                <a:close/>
                <a:moveTo>
                  <a:pt x="2512" y="705"/>
                </a:moveTo>
                <a:cubicBezTo>
                  <a:pt x="2512" y="705"/>
                  <a:pt x="2512" y="705"/>
                  <a:pt x="2512" y="705"/>
                </a:cubicBezTo>
                <a:cubicBezTo>
                  <a:pt x="2507" y="705"/>
                  <a:pt x="2507" y="705"/>
                  <a:pt x="2507" y="705"/>
                </a:cubicBezTo>
                <a:cubicBezTo>
                  <a:pt x="2505" y="706"/>
                  <a:pt x="2504" y="708"/>
                  <a:pt x="2501" y="709"/>
                </a:cubicBezTo>
                <a:cubicBezTo>
                  <a:pt x="2500" y="710"/>
                  <a:pt x="2498" y="711"/>
                  <a:pt x="2496" y="712"/>
                </a:cubicBezTo>
                <a:cubicBezTo>
                  <a:pt x="2495" y="712"/>
                  <a:pt x="2493" y="713"/>
                  <a:pt x="2491" y="714"/>
                </a:cubicBezTo>
                <a:cubicBezTo>
                  <a:pt x="2489" y="714"/>
                  <a:pt x="2488" y="715"/>
                  <a:pt x="2486" y="716"/>
                </a:cubicBezTo>
                <a:cubicBezTo>
                  <a:pt x="2486" y="716"/>
                  <a:pt x="2486" y="716"/>
                  <a:pt x="2486" y="726"/>
                </a:cubicBezTo>
                <a:cubicBezTo>
                  <a:pt x="2489" y="725"/>
                  <a:pt x="2491" y="724"/>
                  <a:pt x="2494" y="723"/>
                </a:cubicBezTo>
                <a:cubicBezTo>
                  <a:pt x="2496" y="722"/>
                  <a:pt x="2499" y="721"/>
                  <a:pt x="2501" y="720"/>
                </a:cubicBezTo>
                <a:cubicBezTo>
                  <a:pt x="2501" y="720"/>
                  <a:pt x="2501" y="720"/>
                  <a:pt x="2501" y="778"/>
                </a:cubicBezTo>
                <a:cubicBezTo>
                  <a:pt x="2501" y="778"/>
                  <a:pt x="2501" y="778"/>
                  <a:pt x="2512" y="778"/>
                </a:cubicBezTo>
                <a:cubicBezTo>
                  <a:pt x="2512" y="778"/>
                  <a:pt x="2512" y="778"/>
                  <a:pt x="2512" y="705"/>
                </a:cubicBezTo>
                <a:close/>
                <a:moveTo>
                  <a:pt x="2303" y="705"/>
                </a:moveTo>
                <a:cubicBezTo>
                  <a:pt x="2303" y="705"/>
                  <a:pt x="2303" y="705"/>
                  <a:pt x="2303" y="705"/>
                </a:cubicBezTo>
                <a:cubicBezTo>
                  <a:pt x="2298" y="705"/>
                  <a:pt x="2298" y="705"/>
                  <a:pt x="2298" y="705"/>
                </a:cubicBezTo>
                <a:cubicBezTo>
                  <a:pt x="2295" y="706"/>
                  <a:pt x="2294" y="708"/>
                  <a:pt x="2292" y="709"/>
                </a:cubicBezTo>
                <a:cubicBezTo>
                  <a:pt x="2290" y="710"/>
                  <a:pt x="2289" y="711"/>
                  <a:pt x="2287" y="712"/>
                </a:cubicBezTo>
                <a:cubicBezTo>
                  <a:pt x="2285" y="713"/>
                  <a:pt x="2283" y="714"/>
                  <a:pt x="2281" y="714"/>
                </a:cubicBezTo>
                <a:cubicBezTo>
                  <a:pt x="2279" y="715"/>
                  <a:pt x="2278" y="716"/>
                  <a:pt x="2276" y="716"/>
                </a:cubicBezTo>
                <a:cubicBezTo>
                  <a:pt x="2276" y="716"/>
                  <a:pt x="2276" y="716"/>
                  <a:pt x="2276" y="726"/>
                </a:cubicBezTo>
                <a:cubicBezTo>
                  <a:pt x="2278" y="725"/>
                  <a:pt x="2281" y="725"/>
                  <a:pt x="2284" y="723"/>
                </a:cubicBezTo>
                <a:cubicBezTo>
                  <a:pt x="2287" y="722"/>
                  <a:pt x="2289" y="721"/>
                  <a:pt x="2291" y="720"/>
                </a:cubicBezTo>
                <a:cubicBezTo>
                  <a:pt x="2291" y="720"/>
                  <a:pt x="2291" y="720"/>
                  <a:pt x="2291" y="778"/>
                </a:cubicBezTo>
                <a:cubicBezTo>
                  <a:pt x="2291" y="778"/>
                  <a:pt x="2291" y="778"/>
                  <a:pt x="2303" y="778"/>
                </a:cubicBezTo>
                <a:cubicBezTo>
                  <a:pt x="2303" y="778"/>
                  <a:pt x="2303" y="778"/>
                  <a:pt x="2303" y="705"/>
                </a:cubicBezTo>
                <a:close/>
                <a:moveTo>
                  <a:pt x="2349" y="705"/>
                </a:moveTo>
                <a:cubicBezTo>
                  <a:pt x="2349" y="705"/>
                  <a:pt x="2349" y="705"/>
                  <a:pt x="2349" y="705"/>
                </a:cubicBezTo>
                <a:cubicBezTo>
                  <a:pt x="2344" y="705"/>
                  <a:pt x="2344" y="705"/>
                  <a:pt x="2344" y="705"/>
                </a:cubicBezTo>
                <a:cubicBezTo>
                  <a:pt x="2342" y="706"/>
                  <a:pt x="2341" y="708"/>
                  <a:pt x="2339" y="709"/>
                </a:cubicBezTo>
                <a:cubicBezTo>
                  <a:pt x="2337" y="710"/>
                  <a:pt x="2335" y="711"/>
                  <a:pt x="2333" y="712"/>
                </a:cubicBezTo>
                <a:cubicBezTo>
                  <a:pt x="2332" y="713"/>
                  <a:pt x="2330" y="714"/>
                  <a:pt x="2328" y="714"/>
                </a:cubicBezTo>
                <a:cubicBezTo>
                  <a:pt x="2326" y="715"/>
                  <a:pt x="2325" y="716"/>
                  <a:pt x="2323" y="716"/>
                </a:cubicBezTo>
                <a:cubicBezTo>
                  <a:pt x="2323" y="716"/>
                  <a:pt x="2323" y="716"/>
                  <a:pt x="2323" y="726"/>
                </a:cubicBezTo>
                <a:cubicBezTo>
                  <a:pt x="2325" y="725"/>
                  <a:pt x="2328" y="725"/>
                  <a:pt x="2331" y="723"/>
                </a:cubicBezTo>
                <a:cubicBezTo>
                  <a:pt x="2333" y="722"/>
                  <a:pt x="2336" y="721"/>
                  <a:pt x="2338" y="720"/>
                </a:cubicBezTo>
                <a:cubicBezTo>
                  <a:pt x="2338" y="720"/>
                  <a:pt x="2338" y="720"/>
                  <a:pt x="2338" y="778"/>
                </a:cubicBezTo>
                <a:cubicBezTo>
                  <a:pt x="2338" y="778"/>
                  <a:pt x="2338" y="778"/>
                  <a:pt x="2349" y="778"/>
                </a:cubicBezTo>
                <a:cubicBezTo>
                  <a:pt x="2349" y="778"/>
                  <a:pt x="2349" y="778"/>
                  <a:pt x="2349" y="705"/>
                </a:cubicBezTo>
                <a:close/>
                <a:moveTo>
                  <a:pt x="2396" y="705"/>
                </a:moveTo>
                <a:cubicBezTo>
                  <a:pt x="2396" y="705"/>
                  <a:pt x="2396" y="705"/>
                  <a:pt x="2396" y="705"/>
                </a:cubicBezTo>
                <a:cubicBezTo>
                  <a:pt x="2391" y="705"/>
                  <a:pt x="2391" y="705"/>
                  <a:pt x="2391" y="705"/>
                </a:cubicBezTo>
                <a:cubicBezTo>
                  <a:pt x="2389" y="706"/>
                  <a:pt x="2388" y="708"/>
                  <a:pt x="2385" y="709"/>
                </a:cubicBezTo>
                <a:cubicBezTo>
                  <a:pt x="2384" y="710"/>
                  <a:pt x="2382" y="711"/>
                  <a:pt x="2380" y="712"/>
                </a:cubicBezTo>
                <a:cubicBezTo>
                  <a:pt x="2378" y="712"/>
                  <a:pt x="2377" y="713"/>
                  <a:pt x="2375" y="714"/>
                </a:cubicBezTo>
                <a:cubicBezTo>
                  <a:pt x="2373" y="714"/>
                  <a:pt x="2371" y="715"/>
                  <a:pt x="2370" y="716"/>
                </a:cubicBezTo>
                <a:cubicBezTo>
                  <a:pt x="2370" y="716"/>
                  <a:pt x="2370" y="716"/>
                  <a:pt x="2370" y="726"/>
                </a:cubicBezTo>
                <a:cubicBezTo>
                  <a:pt x="2372" y="725"/>
                  <a:pt x="2375" y="724"/>
                  <a:pt x="2378" y="723"/>
                </a:cubicBezTo>
                <a:cubicBezTo>
                  <a:pt x="2380" y="722"/>
                  <a:pt x="2383" y="721"/>
                  <a:pt x="2384" y="720"/>
                </a:cubicBezTo>
                <a:cubicBezTo>
                  <a:pt x="2384" y="720"/>
                  <a:pt x="2384" y="720"/>
                  <a:pt x="2384" y="778"/>
                </a:cubicBezTo>
                <a:cubicBezTo>
                  <a:pt x="2384" y="778"/>
                  <a:pt x="2384" y="778"/>
                  <a:pt x="2396" y="778"/>
                </a:cubicBezTo>
                <a:cubicBezTo>
                  <a:pt x="2396" y="778"/>
                  <a:pt x="2396" y="778"/>
                  <a:pt x="2396" y="705"/>
                </a:cubicBezTo>
                <a:close/>
                <a:moveTo>
                  <a:pt x="1961" y="778"/>
                </a:moveTo>
                <a:cubicBezTo>
                  <a:pt x="1954" y="778"/>
                  <a:pt x="1947" y="776"/>
                  <a:pt x="1944" y="770"/>
                </a:cubicBezTo>
                <a:cubicBezTo>
                  <a:pt x="1939" y="763"/>
                  <a:pt x="1937" y="754"/>
                  <a:pt x="1937" y="742"/>
                </a:cubicBezTo>
                <a:cubicBezTo>
                  <a:pt x="1937" y="729"/>
                  <a:pt x="1939" y="719"/>
                  <a:pt x="1944" y="713"/>
                </a:cubicBezTo>
                <a:cubicBezTo>
                  <a:pt x="1948" y="706"/>
                  <a:pt x="1955" y="703"/>
                  <a:pt x="1963" y="703"/>
                </a:cubicBezTo>
                <a:cubicBezTo>
                  <a:pt x="1979" y="703"/>
                  <a:pt x="1988" y="715"/>
                  <a:pt x="1988" y="741"/>
                </a:cubicBezTo>
                <a:cubicBezTo>
                  <a:pt x="1988" y="753"/>
                  <a:pt x="1985" y="762"/>
                  <a:pt x="1981" y="769"/>
                </a:cubicBezTo>
                <a:cubicBezTo>
                  <a:pt x="1976" y="776"/>
                  <a:pt x="1970" y="778"/>
                  <a:pt x="1961" y="778"/>
                </a:cubicBezTo>
                <a:close/>
                <a:moveTo>
                  <a:pt x="1963" y="712"/>
                </a:moveTo>
                <a:cubicBezTo>
                  <a:pt x="1954" y="712"/>
                  <a:pt x="1949" y="722"/>
                  <a:pt x="1949" y="742"/>
                </a:cubicBezTo>
                <a:cubicBezTo>
                  <a:pt x="1949" y="760"/>
                  <a:pt x="1953" y="769"/>
                  <a:pt x="1962" y="769"/>
                </a:cubicBezTo>
                <a:cubicBezTo>
                  <a:pt x="1971" y="769"/>
                  <a:pt x="1975" y="760"/>
                  <a:pt x="1975" y="741"/>
                </a:cubicBezTo>
                <a:cubicBezTo>
                  <a:pt x="1975" y="722"/>
                  <a:pt x="1971" y="712"/>
                  <a:pt x="1963" y="712"/>
                </a:cubicBezTo>
                <a:close/>
                <a:moveTo>
                  <a:pt x="2022" y="705"/>
                </a:moveTo>
                <a:cubicBezTo>
                  <a:pt x="2022" y="705"/>
                  <a:pt x="2022" y="705"/>
                  <a:pt x="2022" y="705"/>
                </a:cubicBezTo>
                <a:cubicBezTo>
                  <a:pt x="2017" y="705"/>
                  <a:pt x="2017" y="705"/>
                  <a:pt x="2017" y="705"/>
                </a:cubicBezTo>
                <a:cubicBezTo>
                  <a:pt x="2015" y="706"/>
                  <a:pt x="2013" y="708"/>
                  <a:pt x="2011" y="709"/>
                </a:cubicBezTo>
                <a:cubicBezTo>
                  <a:pt x="2010" y="710"/>
                  <a:pt x="2008" y="711"/>
                  <a:pt x="2006" y="712"/>
                </a:cubicBezTo>
                <a:cubicBezTo>
                  <a:pt x="2005" y="713"/>
                  <a:pt x="2002" y="714"/>
                  <a:pt x="2001" y="714"/>
                </a:cubicBezTo>
                <a:cubicBezTo>
                  <a:pt x="1999" y="715"/>
                  <a:pt x="1997" y="716"/>
                  <a:pt x="1995" y="716"/>
                </a:cubicBezTo>
                <a:cubicBezTo>
                  <a:pt x="1995" y="716"/>
                  <a:pt x="1995" y="716"/>
                  <a:pt x="1995" y="726"/>
                </a:cubicBezTo>
                <a:cubicBezTo>
                  <a:pt x="1998" y="725"/>
                  <a:pt x="2001" y="725"/>
                  <a:pt x="2004" y="723"/>
                </a:cubicBezTo>
                <a:cubicBezTo>
                  <a:pt x="2006" y="722"/>
                  <a:pt x="2008" y="721"/>
                  <a:pt x="2010" y="720"/>
                </a:cubicBezTo>
                <a:cubicBezTo>
                  <a:pt x="2010" y="720"/>
                  <a:pt x="2010" y="720"/>
                  <a:pt x="2010" y="778"/>
                </a:cubicBezTo>
                <a:cubicBezTo>
                  <a:pt x="2010" y="778"/>
                  <a:pt x="2010" y="778"/>
                  <a:pt x="2022" y="778"/>
                </a:cubicBezTo>
                <a:cubicBezTo>
                  <a:pt x="2022" y="778"/>
                  <a:pt x="2022" y="778"/>
                  <a:pt x="2022" y="705"/>
                </a:cubicBezTo>
                <a:close/>
                <a:moveTo>
                  <a:pt x="2069" y="705"/>
                </a:moveTo>
                <a:cubicBezTo>
                  <a:pt x="2069" y="705"/>
                  <a:pt x="2069" y="705"/>
                  <a:pt x="2069" y="705"/>
                </a:cubicBezTo>
                <a:cubicBezTo>
                  <a:pt x="2064" y="705"/>
                  <a:pt x="2064" y="705"/>
                  <a:pt x="2064" y="705"/>
                </a:cubicBezTo>
                <a:cubicBezTo>
                  <a:pt x="2062" y="706"/>
                  <a:pt x="2060" y="708"/>
                  <a:pt x="2058" y="709"/>
                </a:cubicBezTo>
                <a:cubicBezTo>
                  <a:pt x="2057" y="710"/>
                  <a:pt x="2055" y="711"/>
                  <a:pt x="2053" y="712"/>
                </a:cubicBezTo>
                <a:cubicBezTo>
                  <a:pt x="2052" y="713"/>
                  <a:pt x="2050" y="714"/>
                  <a:pt x="2048" y="714"/>
                </a:cubicBezTo>
                <a:cubicBezTo>
                  <a:pt x="2046" y="715"/>
                  <a:pt x="2044" y="716"/>
                  <a:pt x="2042" y="716"/>
                </a:cubicBezTo>
                <a:cubicBezTo>
                  <a:pt x="2042" y="716"/>
                  <a:pt x="2042" y="716"/>
                  <a:pt x="2042" y="726"/>
                </a:cubicBezTo>
                <a:cubicBezTo>
                  <a:pt x="2045" y="725"/>
                  <a:pt x="2048" y="725"/>
                  <a:pt x="2050" y="723"/>
                </a:cubicBezTo>
                <a:cubicBezTo>
                  <a:pt x="2053" y="722"/>
                  <a:pt x="2055" y="721"/>
                  <a:pt x="2058" y="720"/>
                </a:cubicBezTo>
                <a:cubicBezTo>
                  <a:pt x="2058" y="720"/>
                  <a:pt x="2058" y="720"/>
                  <a:pt x="2058" y="778"/>
                </a:cubicBezTo>
                <a:cubicBezTo>
                  <a:pt x="2058" y="778"/>
                  <a:pt x="2058" y="778"/>
                  <a:pt x="2069" y="778"/>
                </a:cubicBezTo>
                <a:cubicBezTo>
                  <a:pt x="2069" y="778"/>
                  <a:pt x="2069" y="778"/>
                  <a:pt x="2069" y="705"/>
                </a:cubicBezTo>
                <a:close/>
                <a:moveTo>
                  <a:pt x="2115" y="705"/>
                </a:moveTo>
                <a:cubicBezTo>
                  <a:pt x="2115" y="705"/>
                  <a:pt x="2115" y="705"/>
                  <a:pt x="2115" y="705"/>
                </a:cubicBezTo>
                <a:cubicBezTo>
                  <a:pt x="2111" y="705"/>
                  <a:pt x="2111" y="705"/>
                  <a:pt x="2111" y="705"/>
                </a:cubicBezTo>
                <a:cubicBezTo>
                  <a:pt x="2109" y="706"/>
                  <a:pt x="2107" y="708"/>
                  <a:pt x="2105" y="709"/>
                </a:cubicBezTo>
                <a:cubicBezTo>
                  <a:pt x="2103" y="710"/>
                  <a:pt x="2101" y="711"/>
                  <a:pt x="2100" y="712"/>
                </a:cubicBezTo>
                <a:cubicBezTo>
                  <a:pt x="2098" y="712"/>
                  <a:pt x="2096" y="713"/>
                  <a:pt x="2094" y="714"/>
                </a:cubicBezTo>
                <a:cubicBezTo>
                  <a:pt x="2092" y="714"/>
                  <a:pt x="2090" y="715"/>
                  <a:pt x="2089" y="716"/>
                </a:cubicBezTo>
                <a:cubicBezTo>
                  <a:pt x="2089" y="716"/>
                  <a:pt x="2089" y="716"/>
                  <a:pt x="2089" y="726"/>
                </a:cubicBezTo>
                <a:cubicBezTo>
                  <a:pt x="2092" y="725"/>
                  <a:pt x="2095" y="724"/>
                  <a:pt x="2097" y="723"/>
                </a:cubicBezTo>
                <a:cubicBezTo>
                  <a:pt x="2099" y="722"/>
                  <a:pt x="2102" y="721"/>
                  <a:pt x="2103" y="720"/>
                </a:cubicBezTo>
                <a:cubicBezTo>
                  <a:pt x="2103" y="720"/>
                  <a:pt x="2103" y="720"/>
                  <a:pt x="2103" y="778"/>
                </a:cubicBezTo>
                <a:cubicBezTo>
                  <a:pt x="2103" y="778"/>
                  <a:pt x="2103" y="778"/>
                  <a:pt x="2115" y="778"/>
                </a:cubicBezTo>
                <a:cubicBezTo>
                  <a:pt x="2115" y="778"/>
                  <a:pt x="2115" y="778"/>
                  <a:pt x="2115" y="705"/>
                </a:cubicBezTo>
                <a:close/>
                <a:moveTo>
                  <a:pt x="1961" y="1078"/>
                </a:moveTo>
                <a:cubicBezTo>
                  <a:pt x="1954" y="1078"/>
                  <a:pt x="1947" y="1075"/>
                  <a:pt x="1944" y="1069"/>
                </a:cubicBezTo>
                <a:cubicBezTo>
                  <a:pt x="1939" y="1063"/>
                  <a:pt x="1937" y="1054"/>
                  <a:pt x="1937" y="1042"/>
                </a:cubicBezTo>
                <a:cubicBezTo>
                  <a:pt x="1937" y="1028"/>
                  <a:pt x="1939" y="1019"/>
                  <a:pt x="1944" y="1012"/>
                </a:cubicBezTo>
                <a:cubicBezTo>
                  <a:pt x="1948" y="1006"/>
                  <a:pt x="1955" y="1002"/>
                  <a:pt x="1963" y="1002"/>
                </a:cubicBezTo>
                <a:cubicBezTo>
                  <a:pt x="1979" y="1002"/>
                  <a:pt x="1988" y="1015"/>
                  <a:pt x="1988" y="1040"/>
                </a:cubicBezTo>
                <a:cubicBezTo>
                  <a:pt x="1988" y="1052"/>
                  <a:pt x="1985" y="1062"/>
                  <a:pt x="1981" y="1068"/>
                </a:cubicBezTo>
                <a:cubicBezTo>
                  <a:pt x="1976" y="1075"/>
                  <a:pt x="1970" y="1078"/>
                  <a:pt x="1961" y="1078"/>
                </a:cubicBezTo>
                <a:close/>
                <a:moveTo>
                  <a:pt x="1963" y="1012"/>
                </a:moveTo>
                <a:cubicBezTo>
                  <a:pt x="1954" y="1012"/>
                  <a:pt x="1949" y="1022"/>
                  <a:pt x="1949" y="1042"/>
                </a:cubicBezTo>
                <a:cubicBezTo>
                  <a:pt x="1949" y="1060"/>
                  <a:pt x="1953" y="1068"/>
                  <a:pt x="1962" y="1068"/>
                </a:cubicBezTo>
                <a:cubicBezTo>
                  <a:pt x="1971" y="1068"/>
                  <a:pt x="1975" y="1060"/>
                  <a:pt x="1975" y="1041"/>
                </a:cubicBezTo>
                <a:cubicBezTo>
                  <a:pt x="1975" y="1021"/>
                  <a:pt x="1971" y="1012"/>
                  <a:pt x="1963" y="1012"/>
                </a:cubicBezTo>
                <a:close/>
                <a:moveTo>
                  <a:pt x="1963" y="983"/>
                </a:moveTo>
                <a:cubicBezTo>
                  <a:pt x="1956" y="983"/>
                  <a:pt x="1949" y="980"/>
                  <a:pt x="1946" y="974"/>
                </a:cubicBezTo>
                <a:cubicBezTo>
                  <a:pt x="1941" y="968"/>
                  <a:pt x="1939" y="959"/>
                  <a:pt x="1939" y="946"/>
                </a:cubicBezTo>
                <a:cubicBezTo>
                  <a:pt x="1939" y="933"/>
                  <a:pt x="1941" y="924"/>
                  <a:pt x="1946" y="917"/>
                </a:cubicBezTo>
                <a:cubicBezTo>
                  <a:pt x="1950" y="911"/>
                  <a:pt x="1957" y="907"/>
                  <a:pt x="1965" y="907"/>
                </a:cubicBezTo>
                <a:cubicBezTo>
                  <a:pt x="1981" y="907"/>
                  <a:pt x="1989" y="919"/>
                  <a:pt x="1989" y="945"/>
                </a:cubicBezTo>
                <a:cubicBezTo>
                  <a:pt x="1989" y="957"/>
                  <a:pt x="1987" y="967"/>
                  <a:pt x="1983" y="973"/>
                </a:cubicBezTo>
                <a:cubicBezTo>
                  <a:pt x="1978" y="980"/>
                  <a:pt x="1972" y="983"/>
                  <a:pt x="1963" y="983"/>
                </a:cubicBezTo>
                <a:close/>
                <a:moveTo>
                  <a:pt x="1965" y="917"/>
                </a:moveTo>
                <a:cubicBezTo>
                  <a:pt x="1956" y="917"/>
                  <a:pt x="1951" y="927"/>
                  <a:pt x="1951" y="946"/>
                </a:cubicBezTo>
                <a:cubicBezTo>
                  <a:pt x="1951" y="965"/>
                  <a:pt x="1955" y="973"/>
                  <a:pt x="1964" y="973"/>
                </a:cubicBezTo>
                <a:cubicBezTo>
                  <a:pt x="1973" y="973"/>
                  <a:pt x="1977" y="965"/>
                  <a:pt x="1977" y="946"/>
                </a:cubicBezTo>
                <a:cubicBezTo>
                  <a:pt x="1977" y="926"/>
                  <a:pt x="1973" y="917"/>
                  <a:pt x="1965" y="917"/>
                </a:cubicBezTo>
                <a:close/>
                <a:moveTo>
                  <a:pt x="2030" y="671"/>
                </a:moveTo>
                <a:cubicBezTo>
                  <a:pt x="2023" y="671"/>
                  <a:pt x="2016" y="668"/>
                  <a:pt x="2012" y="662"/>
                </a:cubicBezTo>
                <a:cubicBezTo>
                  <a:pt x="2008" y="656"/>
                  <a:pt x="2006" y="647"/>
                  <a:pt x="2006" y="634"/>
                </a:cubicBezTo>
                <a:cubicBezTo>
                  <a:pt x="2006" y="621"/>
                  <a:pt x="2008" y="612"/>
                  <a:pt x="2012" y="605"/>
                </a:cubicBezTo>
                <a:cubicBezTo>
                  <a:pt x="2017" y="599"/>
                  <a:pt x="2023" y="595"/>
                  <a:pt x="2032" y="595"/>
                </a:cubicBezTo>
                <a:cubicBezTo>
                  <a:pt x="2048" y="595"/>
                  <a:pt x="2056" y="607"/>
                  <a:pt x="2056" y="633"/>
                </a:cubicBezTo>
                <a:cubicBezTo>
                  <a:pt x="2056" y="645"/>
                  <a:pt x="2054" y="655"/>
                  <a:pt x="2049" y="661"/>
                </a:cubicBezTo>
                <a:cubicBezTo>
                  <a:pt x="2044" y="668"/>
                  <a:pt x="2038" y="671"/>
                  <a:pt x="2030" y="671"/>
                </a:cubicBezTo>
                <a:close/>
                <a:moveTo>
                  <a:pt x="2031" y="605"/>
                </a:moveTo>
                <a:cubicBezTo>
                  <a:pt x="2022" y="605"/>
                  <a:pt x="2017" y="615"/>
                  <a:pt x="2017" y="634"/>
                </a:cubicBezTo>
                <a:cubicBezTo>
                  <a:pt x="2017" y="653"/>
                  <a:pt x="2022" y="661"/>
                  <a:pt x="2031" y="661"/>
                </a:cubicBezTo>
                <a:cubicBezTo>
                  <a:pt x="2039" y="661"/>
                  <a:pt x="2044" y="653"/>
                  <a:pt x="2044" y="634"/>
                </a:cubicBezTo>
                <a:cubicBezTo>
                  <a:pt x="2044" y="614"/>
                  <a:pt x="2039" y="605"/>
                  <a:pt x="2031" y="605"/>
                </a:cubicBezTo>
                <a:close/>
                <a:moveTo>
                  <a:pt x="2104" y="597"/>
                </a:moveTo>
                <a:cubicBezTo>
                  <a:pt x="2104" y="597"/>
                  <a:pt x="2104" y="597"/>
                  <a:pt x="2104" y="597"/>
                </a:cubicBezTo>
                <a:cubicBezTo>
                  <a:pt x="2099" y="597"/>
                  <a:pt x="2099" y="597"/>
                  <a:pt x="2099" y="597"/>
                </a:cubicBezTo>
                <a:cubicBezTo>
                  <a:pt x="2096" y="599"/>
                  <a:pt x="2095" y="600"/>
                  <a:pt x="2093" y="601"/>
                </a:cubicBezTo>
                <a:cubicBezTo>
                  <a:pt x="2091" y="603"/>
                  <a:pt x="2089" y="603"/>
                  <a:pt x="2088" y="604"/>
                </a:cubicBezTo>
                <a:cubicBezTo>
                  <a:pt x="2086" y="605"/>
                  <a:pt x="2084" y="605"/>
                  <a:pt x="2083" y="606"/>
                </a:cubicBezTo>
                <a:cubicBezTo>
                  <a:pt x="2080" y="607"/>
                  <a:pt x="2079" y="608"/>
                  <a:pt x="2077" y="608"/>
                </a:cubicBezTo>
                <a:cubicBezTo>
                  <a:pt x="2077" y="608"/>
                  <a:pt x="2077" y="608"/>
                  <a:pt x="2077" y="619"/>
                </a:cubicBezTo>
                <a:cubicBezTo>
                  <a:pt x="2080" y="618"/>
                  <a:pt x="2083" y="616"/>
                  <a:pt x="2085" y="616"/>
                </a:cubicBezTo>
                <a:cubicBezTo>
                  <a:pt x="2088" y="615"/>
                  <a:pt x="2090" y="613"/>
                  <a:pt x="2092" y="612"/>
                </a:cubicBezTo>
                <a:cubicBezTo>
                  <a:pt x="2092" y="612"/>
                  <a:pt x="2092" y="612"/>
                  <a:pt x="2092" y="671"/>
                </a:cubicBezTo>
                <a:cubicBezTo>
                  <a:pt x="2092" y="671"/>
                  <a:pt x="2092" y="671"/>
                  <a:pt x="2104" y="671"/>
                </a:cubicBezTo>
                <a:cubicBezTo>
                  <a:pt x="2104" y="671"/>
                  <a:pt x="2104" y="671"/>
                  <a:pt x="2104" y="597"/>
                </a:cubicBezTo>
                <a:close/>
                <a:moveTo>
                  <a:pt x="2151" y="597"/>
                </a:moveTo>
                <a:cubicBezTo>
                  <a:pt x="2151" y="597"/>
                  <a:pt x="2151" y="597"/>
                  <a:pt x="2151" y="597"/>
                </a:cubicBezTo>
                <a:cubicBezTo>
                  <a:pt x="2146" y="597"/>
                  <a:pt x="2146" y="597"/>
                  <a:pt x="2146" y="597"/>
                </a:cubicBezTo>
                <a:cubicBezTo>
                  <a:pt x="2144" y="599"/>
                  <a:pt x="2142" y="600"/>
                  <a:pt x="2140" y="601"/>
                </a:cubicBezTo>
                <a:cubicBezTo>
                  <a:pt x="2139" y="603"/>
                  <a:pt x="2136" y="603"/>
                  <a:pt x="2135" y="604"/>
                </a:cubicBezTo>
                <a:cubicBezTo>
                  <a:pt x="2134" y="605"/>
                  <a:pt x="2131" y="606"/>
                  <a:pt x="2130" y="607"/>
                </a:cubicBezTo>
                <a:cubicBezTo>
                  <a:pt x="2128" y="608"/>
                  <a:pt x="2126" y="608"/>
                  <a:pt x="2124" y="608"/>
                </a:cubicBezTo>
                <a:cubicBezTo>
                  <a:pt x="2124" y="608"/>
                  <a:pt x="2124" y="608"/>
                  <a:pt x="2124" y="619"/>
                </a:cubicBezTo>
                <a:cubicBezTo>
                  <a:pt x="2127" y="618"/>
                  <a:pt x="2130" y="617"/>
                  <a:pt x="2132" y="616"/>
                </a:cubicBezTo>
                <a:cubicBezTo>
                  <a:pt x="2135" y="615"/>
                  <a:pt x="2137" y="613"/>
                  <a:pt x="2139" y="612"/>
                </a:cubicBezTo>
                <a:cubicBezTo>
                  <a:pt x="2139" y="612"/>
                  <a:pt x="2139" y="612"/>
                  <a:pt x="2139" y="671"/>
                </a:cubicBezTo>
                <a:cubicBezTo>
                  <a:pt x="2139" y="671"/>
                  <a:pt x="2139" y="671"/>
                  <a:pt x="2151" y="671"/>
                </a:cubicBezTo>
                <a:cubicBezTo>
                  <a:pt x="2151" y="671"/>
                  <a:pt x="2151" y="671"/>
                  <a:pt x="2151" y="597"/>
                </a:cubicBezTo>
                <a:close/>
                <a:moveTo>
                  <a:pt x="2197" y="597"/>
                </a:moveTo>
                <a:cubicBezTo>
                  <a:pt x="2197" y="597"/>
                  <a:pt x="2197" y="597"/>
                  <a:pt x="2197" y="597"/>
                </a:cubicBezTo>
                <a:cubicBezTo>
                  <a:pt x="2193" y="597"/>
                  <a:pt x="2193" y="597"/>
                  <a:pt x="2193" y="597"/>
                </a:cubicBezTo>
                <a:cubicBezTo>
                  <a:pt x="2191" y="599"/>
                  <a:pt x="2189" y="600"/>
                  <a:pt x="2187" y="601"/>
                </a:cubicBezTo>
                <a:cubicBezTo>
                  <a:pt x="2186" y="603"/>
                  <a:pt x="2184" y="603"/>
                  <a:pt x="2182" y="604"/>
                </a:cubicBezTo>
                <a:cubicBezTo>
                  <a:pt x="2180" y="605"/>
                  <a:pt x="2179" y="606"/>
                  <a:pt x="2176" y="607"/>
                </a:cubicBezTo>
                <a:cubicBezTo>
                  <a:pt x="2175" y="608"/>
                  <a:pt x="2173" y="608"/>
                  <a:pt x="2171" y="608"/>
                </a:cubicBezTo>
                <a:cubicBezTo>
                  <a:pt x="2171" y="608"/>
                  <a:pt x="2171" y="608"/>
                  <a:pt x="2171" y="619"/>
                </a:cubicBezTo>
                <a:cubicBezTo>
                  <a:pt x="2174" y="618"/>
                  <a:pt x="2177" y="617"/>
                  <a:pt x="2179" y="616"/>
                </a:cubicBezTo>
                <a:cubicBezTo>
                  <a:pt x="2181" y="615"/>
                  <a:pt x="2184" y="613"/>
                  <a:pt x="2186" y="612"/>
                </a:cubicBezTo>
                <a:cubicBezTo>
                  <a:pt x="2186" y="612"/>
                  <a:pt x="2186" y="612"/>
                  <a:pt x="2186" y="671"/>
                </a:cubicBezTo>
                <a:cubicBezTo>
                  <a:pt x="2186" y="671"/>
                  <a:pt x="2186" y="671"/>
                  <a:pt x="2197" y="671"/>
                </a:cubicBezTo>
                <a:cubicBezTo>
                  <a:pt x="2197" y="671"/>
                  <a:pt x="2197" y="671"/>
                  <a:pt x="2197" y="597"/>
                </a:cubicBezTo>
                <a:close/>
                <a:moveTo>
                  <a:pt x="2245" y="597"/>
                </a:moveTo>
                <a:cubicBezTo>
                  <a:pt x="2245" y="597"/>
                  <a:pt x="2245" y="597"/>
                  <a:pt x="2245" y="597"/>
                </a:cubicBezTo>
                <a:cubicBezTo>
                  <a:pt x="2240" y="597"/>
                  <a:pt x="2240" y="597"/>
                  <a:pt x="2240" y="597"/>
                </a:cubicBezTo>
                <a:cubicBezTo>
                  <a:pt x="2238" y="599"/>
                  <a:pt x="2236" y="600"/>
                  <a:pt x="2234" y="601"/>
                </a:cubicBezTo>
                <a:cubicBezTo>
                  <a:pt x="2232" y="603"/>
                  <a:pt x="2231" y="603"/>
                  <a:pt x="2229" y="604"/>
                </a:cubicBezTo>
                <a:cubicBezTo>
                  <a:pt x="2227" y="605"/>
                  <a:pt x="2225" y="606"/>
                  <a:pt x="2224" y="607"/>
                </a:cubicBezTo>
                <a:cubicBezTo>
                  <a:pt x="2222" y="608"/>
                  <a:pt x="2220" y="608"/>
                  <a:pt x="2218" y="608"/>
                </a:cubicBezTo>
                <a:cubicBezTo>
                  <a:pt x="2218" y="608"/>
                  <a:pt x="2218" y="608"/>
                  <a:pt x="2218" y="619"/>
                </a:cubicBezTo>
                <a:cubicBezTo>
                  <a:pt x="2221" y="618"/>
                  <a:pt x="2224" y="617"/>
                  <a:pt x="2226" y="616"/>
                </a:cubicBezTo>
                <a:cubicBezTo>
                  <a:pt x="2229" y="615"/>
                  <a:pt x="2231" y="613"/>
                  <a:pt x="2233" y="612"/>
                </a:cubicBezTo>
                <a:cubicBezTo>
                  <a:pt x="2233" y="612"/>
                  <a:pt x="2233" y="612"/>
                  <a:pt x="2233" y="671"/>
                </a:cubicBezTo>
                <a:cubicBezTo>
                  <a:pt x="2233" y="671"/>
                  <a:pt x="2233" y="671"/>
                  <a:pt x="2245" y="671"/>
                </a:cubicBezTo>
                <a:cubicBezTo>
                  <a:pt x="2245" y="671"/>
                  <a:pt x="2245" y="671"/>
                  <a:pt x="2245" y="597"/>
                </a:cubicBezTo>
                <a:close/>
                <a:moveTo>
                  <a:pt x="2368" y="597"/>
                </a:moveTo>
                <a:cubicBezTo>
                  <a:pt x="2368" y="597"/>
                  <a:pt x="2368" y="597"/>
                  <a:pt x="2368" y="597"/>
                </a:cubicBezTo>
                <a:cubicBezTo>
                  <a:pt x="2363" y="597"/>
                  <a:pt x="2363" y="597"/>
                  <a:pt x="2363" y="597"/>
                </a:cubicBezTo>
                <a:cubicBezTo>
                  <a:pt x="2360" y="599"/>
                  <a:pt x="2359" y="600"/>
                  <a:pt x="2357" y="601"/>
                </a:cubicBezTo>
                <a:cubicBezTo>
                  <a:pt x="2355" y="603"/>
                  <a:pt x="2354" y="603"/>
                  <a:pt x="2352" y="604"/>
                </a:cubicBezTo>
                <a:cubicBezTo>
                  <a:pt x="2350" y="605"/>
                  <a:pt x="2348" y="606"/>
                  <a:pt x="2347" y="607"/>
                </a:cubicBezTo>
                <a:cubicBezTo>
                  <a:pt x="2344" y="608"/>
                  <a:pt x="2343" y="608"/>
                  <a:pt x="2341" y="608"/>
                </a:cubicBezTo>
                <a:cubicBezTo>
                  <a:pt x="2341" y="608"/>
                  <a:pt x="2341" y="608"/>
                  <a:pt x="2341" y="619"/>
                </a:cubicBezTo>
                <a:cubicBezTo>
                  <a:pt x="2344" y="618"/>
                  <a:pt x="2347" y="617"/>
                  <a:pt x="2350" y="616"/>
                </a:cubicBezTo>
                <a:cubicBezTo>
                  <a:pt x="2352" y="615"/>
                  <a:pt x="2354" y="613"/>
                  <a:pt x="2356" y="612"/>
                </a:cubicBezTo>
                <a:cubicBezTo>
                  <a:pt x="2356" y="612"/>
                  <a:pt x="2356" y="612"/>
                  <a:pt x="2356" y="671"/>
                </a:cubicBezTo>
                <a:cubicBezTo>
                  <a:pt x="2356" y="671"/>
                  <a:pt x="2356" y="671"/>
                  <a:pt x="2368" y="671"/>
                </a:cubicBezTo>
                <a:cubicBezTo>
                  <a:pt x="2368" y="671"/>
                  <a:pt x="2368" y="671"/>
                  <a:pt x="2368" y="597"/>
                </a:cubicBezTo>
                <a:close/>
                <a:moveTo>
                  <a:pt x="2415" y="597"/>
                </a:moveTo>
                <a:cubicBezTo>
                  <a:pt x="2415" y="597"/>
                  <a:pt x="2415" y="597"/>
                  <a:pt x="2415" y="597"/>
                </a:cubicBezTo>
                <a:cubicBezTo>
                  <a:pt x="2410" y="597"/>
                  <a:pt x="2410" y="597"/>
                  <a:pt x="2410" y="597"/>
                </a:cubicBezTo>
                <a:cubicBezTo>
                  <a:pt x="2408" y="599"/>
                  <a:pt x="2406" y="600"/>
                  <a:pt x="2404" y="601"/>
                </a:cubicBezTo>
                <a:cubicBezTo>
                  <a:pt x="2403" y="603"/>
                  <a:pt x="2401" y="603"/>
                  <a:pt x="2399" y="604"/>
                </a:cubicBezTo>
                <a:cubicBezTo>
                  <a:pt x="2398" y="605"/>
                  <a:pt x="2396" y="606"/>
                  <a:pt x="2394" y="607"/>
                </a:cubicBezTo>
                <a:cubicBezTo>
                  <a:pt x="2392" y="608"/>
                  <a:pt x="2391" y="608"/>
                  <a:pt x="2388" y="608"/>
                </a:cubicBezTo>
                <a:cubicBezTo>
                  <a:pt x="2388" y="608"/>
                  <a:pt x="2388" y="608"/>
                  <a:pt x="2388" y="619"/>
                </a:cubicBezTo>
                <a:cubicBezTo>
                  <a:pt x="2391" y="618"/>
                  <a:pt x="2394" y="617"/>
                  <a:pt x="2396" y="616"/>
                </a:cubicBezTo>
                <a:cubicBezTo>
                  <a:pt x="2399" y="615"/>
                  <a:pt x="2401" y="613"/>
                  <a:pt x="2404" y="612"/>
                </a:cubicBezTo>
                <a:cubicBezTo>
                  <a:pt x="2404" y="612"/>
                  <a:pt x="2404" y="612"/>
                  <a:pt x="2404" y="671"/>
                </a:cubicBezTo>
                <a:cubicBezTo>
                  <a:pt x="2404" y="671"/>
                  <a:pt x="2404" y="671"/>
                  <a:pt x="2415" y="671"/>
                </a:cubicBezTo>
                <a:cubicBezTo>
                  <a:pt x="2415" y="671"/>
                  <a:pt x="2415" y="671"/>
                  <a:pt x="2415" y="597"/>
                </a:cubicBezTo>
                <a:close/>
                <a:moveTo>
                  <a:pt x="2463" y="597"/>
                </a:moveTo>
                <a:cubicBezTo>
                  <a:pt x="2463" y="597"/>
                  <a:pt x="2463" y="597"/>
                  <a:pt x="2463" y="597"/>
                </a:cubicBezTo>
                <a:cubicBezTo>
                  <a:pt x="2458" y="597"/>
                  <a:pt x="2458" y="597"/>
                  <a:pt x="2458" y="597"/>
                </a:cubicBezTo>
                <a:cubicBezTo>
                  <a:pt x="2456" y="599"/>
                  <a:pt x="2454" y="600"/>
                  <a:pt x="2453" y="601"/>
                </a:cubicBezTo>
                <a:cubicBezTo>
                  <a:pt x="2450" y="603"/>
                  <a:pt x="2449" y="603"/>
                  <a:pt x="2447" y="604"/>
                </a:cubicBezTo>
                <a:cubicBezTo>
                  <a:pt x="2445" y="605"/>
                  <a:pt x="2443" y="606"/>
                  <a:pt x="2442" y="607"/>
                </a:cubicBezTo>
                <a:cubicBezTo>
                  <a:pt x="2439" y="608"/>
                  <a:pt x="2438" y="608"/>
                  <a:pt x="2436" y="608"/>
                </a:cubicBezTo>
                <a:cubicBezTo>
                  <a:pt x="2436" y="608"/>
                  <a:pt x="2436" y="608"/>
                  <a:pt x="2436" y="619"/>
                </a:cubicBezTo>
                <a:cubicBezTo>
                  <a:pt x="2439" y="618"/>
                  <a:pt x="2442" y="617"/>
                  <a:pt x="2445" y="616"/>
                </a:cubicBezTo>
                <a:cubicBezTo>
                  <a:pt x="2447" y="615"/>
                  <a:pt x="2449" y="613"/>
                  <a:pt x="2451" y="612"/>
                </a:cubicBezTo>
                <a:cubicBezTo>
                  <a:pt x="2451" y="612"/>
                  <a:pt x="2451" y="612"/>
                  <a:pt x="2451" y="671"/>
                </a:cubicBezTo>
                <a:cubicBezTo>
                  <a:pt x="2451" y="671"/>
                  <a:pt x="2451" y="671"/>
                  <a:pt x="2463" y="671"/>
                </a:cubicBezTo>
                <a:cubicBezTo>
                  <a:pt x="2463" y="671"/>
                  <a:pt x="2463" y="671"/>
                  <a:pt x="2463" y="597"/>
                </a:cubicBezTo>
                <a:close/>
                <a:moveTo>
                  <a:pt x="2509" y="597"/>
                </a:moveTo>
                <a:cubicBezTo>
                  <a:pt x="2509" y="597"/>
                  <a:pt x="2509" y="597"/>
                  <a:pt x="2509" y="597"/>
                </a:cubicBezTo>
                <a:cubicBezTo>
                  <a:pt x="2505" y="597"/>
                  <a:pt x="2505" y="597"/>
                  <a:pt x="2505" y="597"/>
                </a:cubicBezTo>
                <a:cubicBezTo>
                  <a:pt x="2503" y="599"/>
                  <a:pt x="2501" y="600"/>
                  <a:pt x="2499" y="601"/>
                </a:cubicBezTo>
                <a:cubicBezTo>
                  <a:pt x="2498" y="603"/>
                  <a:pt x="2496" y="603"/>
                  <a:pt x="2494" y="604"/>
                </a:cubicBezTo>
                <a:cubicBezTo>
                  <a:pt x="2492" y="605"/>
                  <a:pt x="2491" y="605"/>
                  <a:pt x="2488" y="606"/>
                </a:cubicBezTo>
                <a:cubicBezTo>
                  <a:pt x="2487" y="607"/>
                  <a:pt x="2485" y="608"/>
                  <a:pt x="2483" y="608"/>
                </a:cubicBezTo>
                <a:cubicBezTo>
                  <a:pt x="2483" y="608"/>
                  <a:pt x="2483" y="608"/>
                  <a:pt x="2483" y="619"/>
                </a:cubicBezTo>
                <a:cubicBezTo>
                  <a:pt x="2486" y="618"/>
                  <a:pt x="2489" y="616"/>
                  <a:pt x="2491" y="616"/>
                </a:cubicBezTo>
                <a:cubicBezTo>
                  <a:pt x="2493" y="615"/>
                  <a:pt x="2496" y="613"/>
                  <a:pt x="2498" y="612"/>
                </a:cubicBezTo>
                <a:cubicBezTo>
                  <a:pt x="2498" y="612"/>
                  <a:pt x="2498" y="612"/>
                  <a:pt x="2498" y="671"/>
                </a:cubicBezTo>
                <a:cubicBezTo>
                  <a:pt x="2498" y="671"/>
                  <a:pt x="2498" y="671"/>
                  <a:pt x="2509" y="671"/>
                </a:cubicBezTo>
                <a:cubicBezTo>
                  <a:pt x="2509" y="671"/>
                  <a:pt x="2509" y="671"/>
                  <a:pt x="2509" y="597"/>
                </a:cubicBezTo>
                <a:close/>
                <a:moveTo>
                  <a:pt x="2266" y="630"/>
                </a:moveTo>
                <a:cubicBezTo>
                  <a:pt x="2266" y="630"/>
                  <a:pt x="2266" y="630"/>
                  <a:pt x="2266" y="630"/>
                </a:cubicBezTo>
                <a:cubicBezTo>
                  <a:pt x="2265" y="638"/>
                  <a:pt x="2265" y="638"/>
                  <a:pt x="2265" y="638"/>
                </a:cubicBezTo>
                <a:cubicBezTo>
                  <a:pt x="2272" y="638"/>
                  <a:pt x="2272" y="641"/>
                  <a:pt x="2272" y="644"/>
                </a:cubicBezTo>
                <a:cubicBezTo>
                  <a:pt x="2272" y="646"/>
                  <a:pt x="2272" y="648"/>
                  <a:pt x="2272" y="651"/>
                </a:cubicBezTo>
                <a:cubicBezTo>
                  <a:pt x="2272" y="654"/>
                  <a:pt x="2271" y="656"/>
                  <a:pt x="2271" y="658"/>
                </a:cubicBezTo>
                <a:cubicBezTo>
                  <a:pt x="2271" y="668"/>
                  <a:pt x="2277" y="671"/>
                  <a:pt x="2286" y="671"/>
                </a:cubicBezTo>
                <a:cubicBezTo>
                  <a:pt x="2286" y="671"/>
                  <a:pt x="2286" y="671"/>
                  <a:pt x="2289" y="671"/>
                </a:cubicBezTo>
                <a:cubicBezTo>
                  <a:pt x="2289" y="671"/>
                  <a:pt x="2289" y="671"/>
                  <a:pt x="2289" y="662"/>
                </a:cubicBezTo>
                <a:cubicBezTo>
                  <a:pt x="2289" y="662"/>
                  <a:pt x="2289" y="662"/>
                  <a:pt x="2288" y="662"/>
                </a:cubicBezTo>
                <a:cubicBezTo>
                  <a:pt x="2284" y="662"/>
                  <a:pt x="2283" y="659"/>
                  <a:pt x="2283" y="656"/>
                </a:cubicBezTo>
                <a:cubicBezTo>
                  <a:pt x="2283" y="654"/>
                  <a:pt x="2283" y="653"/>
                  <a:pt x="2284" y="651"/>
                </a:cubicBezTo>
                <a:cubicBezTo>
                  <a:pt x="2284" y="650"/>
                  <a:pt x="2284" y="647"/>
                  <a:pt x="2284" y="645"/>
                </a:cubicBezTo>
                <a:cubicBezTo>
                  <a:pt x="2284" y="638"/>
                  <a:pt x="2281" y="635"/>
                  <a:pt x="2275" y="634"/>
                </a:cubicBezTo>
                <a:cubicBezTo>
                  <a:pt x="2275" y="634"/>
                  <a:pt x="2275" y="634"/>
                  <a:pt x="2275" y="634"/>
                </a:cubicBezTo>
                <a:cubicBezTo>
                  <a:pt x="2281" y="632"/>
                  <a:pt x="2284" y="630"/>
                  <a:pt x="2284" y="623"/>
                </a:cubicBezTo>
                <a:cubicBezTo>
                  <a:pt x="2284" y="620"/>
                  <a:pt x="2284" y="618"/>
                  <a:pt x="2284" y="616"/>
                </a:cubicBezTo>
                <a:cubicBezTo>
                  <a:pt x="2283" y="615"/>
                  <a:pt x="2283" y="613"/>
                  <a:pt x="2283" y="612"/>
                </a:cubicBezTo>
                <a:cubicBezTo>
                  <a:pt x="2283" y="608"/>
                  <a:pt x="2284" y="606"/>
                  <a:pt x="2288" y="606"/>
                </a:cubicBezTo>
                <a:cubicBezTo>
                  <a:pt x="2288" y="606"/>
                  <a:pt x="2288" y="606"/>
                  <a:pt x="2289" y="606"/>
                </a:cubicBezTo>
                <a:cubicBezTo>
                  <a:pt x="2289" y="606"/>
                  <a:pt x="2289" y="606"/>
                  <a:pt x="2289" y="597"/>
                </a:cubicBezTo>
                <a:cubicBezTo>
                  <a:pt x="2289" y="597"/>
                  <a:pt x="2289" y="597"/>
                  <a:pt x="2286" y="597"/>
                </a:cubicBezTo>
                <a:cubicBezTo>
                  <a:pt x="2277" y="597"/>
                  <a:pt x="2271" y="601"/>
                  <a:pt x="2271" y="609"/>
                </a:cubicBezTo>
                <a:cubicBezTo>
                  <a:pt x="2271" y="611"/>
                  <a:pt x="2272" y="614"/>
                  <a:pt x="2272" y="617"/>
                </a:cubicBezTo>
                <a:cubicBezTo>
                  <a:pt x="2272" y="619"/>
                  <a:pt x="2272" y="622"/>
                  <a:pt x="2272" y="623"/>
                </a:cubicBezTo>
                <a:cubicBezTo>
                  <a:pt x="2272" y="626"/>
                  <a:pt x="2272" y="629"/>
                  <a:pt x="2266" y="630"/>
                </a:cubicBezTo>
                <a:close/>
                <a:moveTo>
                  <a:pt x="2320" y="638"/>
                </a:moveTo>
                <a:cubicBezTo>
                  <a:pt x="2320" y="638"/>
                  <a:pt x="2320" y="638"/>
                  <a:pt x="2320" y="638"/>
                </a:cubicBezTo>
                <a:cubicBezTo>
                  <a:pt x="2320" y="630"/>
                  <a:pt x="2320" y="630"/>
                  <a:pt x="2320" y="630"/>
                </a:cubicBezTo>
                <a:cubicBezTo>
                  <a:pt x="2314" y="629"/>
                  <a:pt x="2314" y="626"/>
                  <a:pt x="2314" y="623"/>
                </a:cubicBezTo>
                <a:cubicBezTo>
                  <a:pt x="2314" y="622"/>
                  <a:pt x="2314" y="619"/>
                  <a:pt x="2314" y="617"/>
                </a:cubicBezTo>
                <a:cubicBezTo>
                  <a:pt x="2314" y="614"/>
                  <a:pt x="2314" y="611"/>
                  <a:pt x="2314" y="609"/>
                </a:cubicBezTo>
                <a:cubicBezTo>
                  <a:pt x="2314" y="601"/>
                  <a:pt x="2309" y="597"/>
                  <a:pt x="2300" y="597"/>
                </a:cubicBezTo>
                <a:cubicBezTo>
                  <a:pt x="2300" y="597"/>
                  <a:pt x="2300" y="597"/>
                  <a:pt x="2296" y="597"/>
                </a:cubicBezTo>
                <a:cubicBezTo>
                  <a:pt x="2296" y="597"/>
                  <a:pt x="2296" y="597"/>
                  <a:pt x="2296" y="606"/>
                </a:cubicBezTo>
                <a:cubicBezTo>
                  <a:pt x="2296" y="606"/>
                  <a:pt x="2296" y="606"/>
                  <a:pt x="2298" y="606"/>
                </a:cubicBezTo>
                <a:cubicBezTo>
                  <a:pt x="2301" y="606"/>
                  <a:pt x="2303" y="608"/>
                  <a:pt x="2303" y="612"/>
                </a:cubicBezTo>
                <a:cubicBezTo>
                  <a:pt x="2303" y="613"/>
                  <a:pt x="2302" y="615"/>
                  <a:pt x="2302" y="616"/>
                </a:cubicBezTo>
                <a:cubicBezTo>
                  <a:pt x="2302" y="618"/>
                  <a:pt x="2302" y="620"/>
                  <a:pt x="2302" y="623"/>
                </a:cubicBezTo>
                <a:cubicBezTo>
                  <a:pt x="2302" y="630"/>
                  <a:pt x="2305" y="632"/>
                  <a:pt x="2311" y="634"/>
                </a:cubicBezTo>
                <a:cubicBezTo>
                  <a:pt x="2311" y="634"/>
                  <a:pt x="2311" y="634"/>
                  <a:pt x="2311" y="634"/>
                </a:cubicBezTo>
                <a:cubicBezTo>
                  <a:pt x="2305" y="635"/>
                  <a:pt x="2302" y="638"/>
                  <a:pt x="2302" y="645"/>
                </a:cubicBezTo>
                <a:cubicBezTo>
                  <a:pt x="2302" y="647"/>
                  <a:pt x="2302" y="650"/>
                  <a:pt x="2302" y="651"/>
                </a:cubicBezTo>
                <a:cubicBezTo>
                  <a:pt x="2302" y="653"/>
                  <a:pt x="2303" y="654"/>
                  <a:pt x="2303" y="656"/>
                </a:cubicBezTo>
                <a:cubicBezTo>
                  <a:pt x="2303" y="659"/>
                  <a:pt x="2302" y="662"/>
                  <a:pt x="2298" y="662"/>
                </a:cubicBezTo>
                <a:cubicBezTo>
                  <a:pt x="2298" y="662"/>
                  <a:pt x="2298" y="662"/>
                  <a:pt x="2296" y="662"/>
                </a:cubicBezTo>
                <a:cubicBezTo>
                  <a:pt x="2296" y="662"/>
                  <a:pt x="2296" y="662"/>
                  <a:pt x="2296" y="671"/>
                </a:cubicBezTo>
                <a:cubicBezTo>
                  <a:pt x="2296" y="671"/>
                  <a:pt x="2296" y="671"/>
                  <a:pt x="2300" y="671"/>
                </a:cubicBezTo>
                <a:cubicBezTo>
                  <a:pt x="2309" y="671"/>
                  <a:pt x="2314" y="668"/>
                  <a:pt x="2314" y="658"/>
                </a:cubicBezTo>
                <a:cubicBezTo>
                  <a:pt x="2314" y="656"/>
                  <a:pt x="2314" y="654"/>
                  <a:pt x="2314" y="651"/>
                </a:cubicBezTo>
                <a:cubicBezTo>
                  <a:pt x="2314" y="648"/>
                  <a:pt x="2314" y="646"/>
                  <a:pt x="2314" y="644"/>
                </a:cubicBezTo>
                <a:cubicBezTo>
                  <a:pt x="2314" y="641"/>
                  <a:pt x="2314" y="638"/>
                  <a:pt x="2320" y="638"/>
                </a:cubicBezTo>
                <a:close/>
                <a:moveTo>
                  <a:pt x="2647" y="630"/>
                </a:moveTo>
                <a:cubicBezTo>
                  <a:pt x="2647" y="630"/>
                  <a:pt x="2647" y="630"/>
                  <a:pt x="2647" y="630"/>
                </a:cubicBezTo>
                <a:cubicBezTo>
                  <a:pt x="2647" y="638"/>
                  <a:pt x="2647" y="638"/>
                  <a:pt x="2647" y="638"/>
                </a:cubicBezTo>
                <a:cubicBezTo>
                  <a:pt x="2653" y="638"/>
                  <a:pt x="2654" y="641"/>
                  <a:pt x="2654" y="644"/>
                </a:cubicBezTo>
                <a:cubicBezTo>
                  <a:pt x="2654" y="646"/>
                  <a:pt x="2654" y="648"/>
                  <a:pt x="2654" y="651"/>
                </a:cubicBezTo>
                <a:cubicBezTo>
                  <a:pt x="2653" y="654"/>
                  <a:pt x="2653" y="656"/>
                  <a:pt x="2653" y="658"/>
                </a:cubicBezTo>
                <a:cubicBezTo>
                  <a:pt x="2653" y="668"/>
                  <a:pt x="2659" y="671"/>
                  <a:pt x="2667" y="671"/>
                </a:cubicBezTo>
                <a:cubicBezTo>
                  <a:pt x="2667" y="671"/>
                  <a:pt x="2667" y="671"/>
                  <a:pt x="2671" y="671"/>
                </a:cubicBezTo>
                <a:cubicBezTo>
                  <a:pt x="2671" y="671"/>
                  <a:pt x="2671" y="671"/>
                  <a:pt x="2671" y="662"/>
                </a:cubicBezTo>
                <a:cubicBezTo>
                  <a:pt x="2671" y="662"/>
                  <a:pt x="2671" y="662"/>
                  <a:pt x="2670" y="662"/>
                </a:cubicBezTo>
                <a:cubicBezTo>
                  <a:pt x="2666" y="662"/>
                  <a:pt x="2665" y="659"/>
                  <a:pt x="2665" y="656"/>
                </a:cubicBezTo>
                <a:cubicBezTo>
                  <a:pt x="2665" y="654"/>
                  <a:pt x="2665" y="653"/>
                  <a:pt x="2665" y="651"/>
                </a:cubicBezTo>
                <a:cubicBezTo>
                  <a:pt x="2665" y="650"/>
                  <a:pt x="2666" y="647"/>
                  <a:pt x="2666" y="645"/>
                </a:cubicBezTo>
                <a:cubicBezTo>
                  <a:pt x="2666" y="638"/>
                  <a:pt x="2663" y="635"/>
                  <a:pt x="2657" y="634"/>
                </a:cubicBezTo>
                <a:cubicBezTo>
                  <a:pt x="2657" y="634"/>
                  <a:pt x="2657" y="634"/>
                  <a:pt x="2657" y="634"/>
                </a:cubicBezTo>
                <a:cubicBezTo>
                  <a:pt x="2663" y="632"/>
                  <a:pt x="2666" y="630"/>
                  <a:pt x="2666" y="623"/>
                </a:cubicBezTo>
                <a:cubicBezTo>
                  <a:pt x="2666" y="620"/>
                  <a:pt x="2665" y="618"/>
                  <a:pt x="2665" y="616"/>
                </a:cubicBezTo>
                <a:cubicBezTo>
                  <a:pt x="2665" y="615"/>
                  <a:pt x="2665" y="613"/>
                  <a:pt x="2665" y="612"/>
                </a:cubicBezTo>
                <a:cubicBezTo>
                  <a:pt x="2665" y="608"/>
                  <a:pt x="2666" y="606"/>
                  <a:pt x="2670" y="606"/>
                </a:cubicBezTo>
                <a:cubicBezTo>
                  <a:pt x="2670" y="606"/>
                  <a:pt x="2670" y="606"/>
                  <a:pt x="2671" y="606"/>
                </a:cubicBezTo>
                <a:cubicBezTo>
                  <a:pt x="2671" y="606"/>
                  <a:pt x="2671" y="606"/>
                  <a:pt x="2671" y="597"/>
                </a:cubicBezTo>
                <a:cubicBezTo>
                  <a:pt x="2671" y="597"/>
                  <a:pt x="2671" y="597"/>
                  <a:pt x="2667" y="597"/>
                </a:cubicBezTo>
                <a:cubicBezTo>
                  <a:pt x="2658" y="597"/>
                  <a:pt x="2653" y="601"/>
                  <a:pt x="2653" y="609"/>
                </a:cubicBezTo>
                <a:cubicBezTo>
                  <a:pt x="2653" y="611"/>
                  <a:pt x="2653" y="614"/>
                  <a:pt x="2653" y="617"/>
                </a:cubicBezTo>
                <a:cubicBezTo>
                  <a:pt x="2654" y="619"/>
                  <a:pt x="2654" y="622"/>
                  <a:pt x="2654" y="623"/>
                </a:cubicBezTo>
                <a:cubicBezTo>
                  <a:pt x="2654" y="626"/>
                  <a:pt x="2653" y="629"/>
                  <a:pt x="2647" y="630"/>
                </a:cubicBezTo>
                <a:close/>
                <a:moveTo>
                  <a:pt x="2702" y="638"/>
                </a:moveTo>
                <a:cubicBezTo>
                  <a:pt x="2702" y="638"/>
                  <a:pt x="2702" y="638"/>
                  <a:pt x="2702" y="638"/>
                </a:cubicBezTo>
                <a:cubicBezTo>
                  <a:pt x="2702" y="630"/>
                  <a:pt x="2702" y="630"/>
                  <a:pt x="2702" y="630"/>
                </a:cubicBezTo>
                <a:cubicBezTo>
                  <a:pt x="2696" y="629"/>
                  <a:pt x="2695" y="626"/>
                  <a:pt x="2695" y="623"/>
                </a:cubicBezTo>
                <a:cubicBezTo>
                  <a:pt x="2695" y="622"/>
                  <a:pt x="2695" y="619"/>
                  <a:pt x="2696" y="617"/>
                </a:cubicBezTo>
                <a:cubicBezTo>
                  <a:pt x="2696" y="614"/>
                  <a:pt x="2696" y="611"/>
                  <a:pt x="2696" y="609"/>
                </a:cubicBezTo>
                <a:cubicBezTo>
                  <a:pt x="2696" y="601"/>
                  <a:pt x="2691" y="597"/>
                  <a:pt x="2682" y="597"/>
                </a:cubicBezTo>
                <a:cubicBezTo>
                  <a:pt x="2682" y="597"/>
                  <a:pt x="2682" y="597"/>
                  <a:pt x="2678" y="597"/>
                </a:cubicBezTo>
                <a:cubicBezTo>
                  <a:pt x="2678" y="597"/>
                  <a:pt x="2678" y="597"/>
                  <a:pt x="2678" y="606"/>
                </a:cubicBezTo>
                <a:cubicBezTo>
                  <a:pt x="2678" y="606"/>
                  <a:pt x="2678" y="606"/>
                  <a:pt x="2679" y="606"/>
                </a:cubicBezTo>
                <a:cubicBezTo>
                  <a:pt x="2683" y="606"/>
                  <a:pt x="2685" y="608"/>
                  <a:pt x="2685" y="612"/>
                </a:cubicBezTo>
                <a:cubicBezTo>
                  <a:pt x="2685" y="613"/>
                  <a:pt x="2684" y="615"/>
                  <a:pt x="2684" y="616"/>
                </a:cubicBezTo>
                <a:cubicBezTo>
                  <a:pt x="2684" y="618"/>
                  <a:pt x="2684" y="620"/>
                  <a:pt x="2684" y="623"/>
                </a:cubicBezTo>
                <a:cubicBezTo>
                  <a:pt x="2684" y="630"/>
                  <a:pt x="2686" y="632"/>
                  <a:pt x="2692" y="634"/>
                </a:cubicBezTo>
                <a:cubicBezTo>
                  <a:pt x="2692" y="634"/>
                  <a:pt x="2692" y="634"/>
                  <a:pt x="2692" y="634"/>
                </a:cubicBezTo>
                <a:cubicBezTo>
                  <a:pt x="2686" y="635"/>
                  <a:pt x="2684" y="638"/>
                  <a:pt x="2684" y="645"/>
                </a:cubicBezTo>
                <a:cubicBezTo>
                  <a:pt x="2684" y="647"/>
                  <a:pt x="2684" y="650"/>
                  <a:pt x="2684" y="651"/>
                </a:cubicBezTo>
                <a:cubicBezTo>
                  <a:pt x="2684" y="653"/>
                  <a:pt x="2685" y="654"/>
                  <a:pt x="2685" y="656"/>
                </a:cubicBezTo>
                <a:cubicBezTo>
                  <a:pt x="2685" y="659"/>
                  <a:pt x="2683" y="662"/>
                  <a:pt x="2679" y="662"/>
                </a:cubicBezTo>
                <a:cubicBezTo>
                  <a:pt x="2679" y="662"/>
                  <a:pt x="2679" y="662"/>
                  <a:pt x="2678" y="662"/>
                </a:cubicBezTo>
                <a:cubicBezTo>
                  <a:pt x="2678" y="662"/>
                  <a:pt x="2678" y="662"/>
                  <a:pt x="2678" y="671"/>
                </a:cubicBezTo>
                <a:cubicBezTo>
                  <a:pt x="2678" y="671"/>
                  <a:pt x="2678" y="671"/>
                  <a:pt x="2682" y="671"/>
                </a:cubicBezTo>
                <a:cubicBezTo>
                  <a:pt x="2691" y="671"/>
                  <a:pt x="2696" y="668"/>
                  <a:pt x="2696" y="658"/>
                </a:cubicBezTo>
                <a:cubicBezTo>
                  <a:pt x="2696" y="656"/>
                  <a:pt x="2696" y="654"/>
                  <a:pt x="2696" y="651"/>
                </a:cubicBezTo>
                <a:cubicBezTo>
                  <a:pt x="2695" y="648"/>
                  <a:pt x="2695" y="646"/>
                  <a:pt x="2695" y="644"/>
                </a:cubicBezTo>
                <a:cubicBezTo>
                  <a:pt x="2695" y="641"/>
                  <a:pt x="2696" y="638"/>
                  <a:pt x="2702" y="638"/>
                </a:cubicBezTo>
                <a:close/>
                <a:moveTo>
                  <a:pt x="2750" y="597"/>
                </a:moveTo>
                <a:cubicBezTo>
                  <a:pt x="2750" y="597"/>
                  <a:pt x="2750" y="597"/>
                  <a:pt x="2750" y="597"/>
                </a:cubicBezTo>
                <a:cubicBezTo>
                  <a:pt x="2745" y="597"/>
                  <a:pt x="2745" y="597"/>
                  <a:pt x="2745" y="597"/>
                </a:cubicBezTo>
                <a:cubicBezTo>
                  <a:pt x="2742" y="599"/>
                  <a:pt x="2741" y="600"/>
                  <a:pt x="2739" y="601"/>
                </a:cubicBezTo>
                <a:cubicBezTo>
                  <a:pt x="2737" y="603"/>
                  <a:pt x="2735" y="603"/>
                  <a:pt x="2734" y="604"/>
                </a:cubicBezTo>
                <a:cubicBezTo>
                  <a:pt x="2731" y="605"/>
                  <a:pt x="2730" y="605"/>
                  <a:pt x="2728" y="606"/>
                </a:cubicBezTo>
                <a:cubicBezTo>
                  <a:pt x="2726" y="607"/>
                  <a:pt x="2725" y="608"/>
                  <a:pt x="2722" y="608"/>
                </a:cubicBezTo>
                <a:cubicBezTo>
                  <a:pt x="2722" y="608"/>
                  <a:pt x="2722" y="608"/>
                  <a:pt x="2722" y="619"/>
                </a:cubicBezTo>
                <a:cubicBezTo>
                  <a:pt x="2725" y="618"/>
                  <a:pt x="2728" y="616"/>
                  <a:pt x="2731" y="616"/>
                </a:cubicBezTo>
                <a:cubicBezTo>
                  <a:pt x="2734" y="615"/>
                  <a:pt x="2736" y="613"/>
                  <a:pt x="2738" y="612"/>
                </a:cubicBezTo>
                <a:cubicBezTo>
                  <a:pt x="2738" y="612"/>
                  <a:pt x="2738" y="612"/>
                  <a:pt x="2738" y="671"/>
                </a:cubicBezTo>
                <a:cubicBezTo>
                  <a:pt x="2738" y="671"/>
                  <a:pt x="2738" y="671"/>
                  <a:pt x="2750" y="671"/>
                </a:cubicBezTo>
                <a:cubicBezTo>
                  <a:pt x="2750" y="671"/>
                  <a:pt x="2750" y="671"/>
                  <a:pt x="2750" y="597"/>
                </a:cubicBezTo>
                <a:close/>
                <a:moveTo>
                  <a:pt x="2796" y="597"/>
                </a:moveTo>
                <a:cubicBezTo>
                  <a:pt x="2796" y="597"/>
                  <a:pt x="2796" y="597"/>
                  <a:pt x="2796" y="597"/>
                </a:cubicBezTo>
                <a:cubicBezTo>
                  <a:pt x="2791" y="597"/>
                  <a:pt x="2791" y="597"/>
                  <a:pt x="2791" y="597"/>
                </a:cubicBezTo>
                <a:cubicBezTo>
                  <a:pt x="2789" y="599"/>
                  <a:pt x="2788" y="600"/>
                  <a:pt x="2786" y="601"/>
                </a:cubicBezTo>
                <a:cubicBezTo>
                  <a:pt x="2784" y="603"/>
                  <a:pt x="2782" y="603"/>
                  <a:pt x="2781" y="604"/>
                </a:cubicBezTo>
                <a:cubicBezTo>
                  <a:pt x="2779" y="605"/>
                  <a:pt x="2777" y="606"/>
                  <a:pt x="2776" y="607"/>
                </a:cubicBezTo>
                <a:cubicBezTo>
                  <a:pt x="2774" y="608"/>
                  <a:pt x="2772" y="608"/>
                  <a:pt x="2770" y="608"/>
                </a:cubicBezTo>
                <a:cubicBezTo>
                  <a:pt x="2770" y="608"/>
                  <a:pt x="2770" y="608"/>
                  <a:pt x="2770" y="619"/>
                </a:cubicBezTo>
                <a:cubicBezTo>
                  <a:pt x="2773" y="618"/>
                  <a:pt x="2776" y="617"/>
                  <a:pt x="2778" y="616"/>
                </a:cubicBezTo>
                <a:cubicBezTo>
                  <a:pt x="2781" y="615"/>
                  <a:pt x="2783" y="613"/>
                  <a:pt x="2785" y="612"/>
                </a:cubicBezTo>
                <a:cubicBezTo>
                  <a:pt x="2785" y="612"/>
                  <a:pt x="2785" y="612"/>
                  <a:pt x="2785" y="671"/>
                </a:cubicBezTo>
                <a:cubicBezTo>
                  <a:pt x="2785" y="671"/>
                  <a:pt x="2785" y="671"/>
                  <a:pt x="2796" y="671"/>
                </a:cubicBezTo>
                <a:cubicBezTo>
                  <a:pt x="2796" y="671"/>
                  <a:pt x="2796" y="671"/>
                  <a:pt x="2796" y="597"/>
                </a:cubicBezTo>
                <a:close/>
                <a:moveTo>
                  <a:pt x="2843" y="597"/>
                </a:moveTo>
                <a:cubicBezTo>
                  <a:pt x="2843" y="597"/>
                  <a:pt x="2843" y="597"/>
                  <a:pt x="2843" y="597"/>
                </a:cubicBezTo>
                <a:cubicBezTo>
                  <a:pt x="2839" y="597"/>
                  <a:pt x="2839" y="597"/>
                  <a:pt x="2839" y="597"/>
                </a:cubicBezTo>
                <a:cubicBezTo>
                  <a:pt x="2836" y="599"/>
                  <a:pt x="2835" y="600"/>
                  <a:pt x="2833" y="601"/>
                </a:cubicBezTo>
                <a:cubicBezTo>
                  <a:pt x="2831" y="603"/>
                  <a:pt x="2829" y="603"/>
                  <a:pt x="2828" y="604"/>
                </a:cubicBezTo>
                <a:cubicBezTo>
                  <a:pt x="2826" y="605"/>
                  <a:pt x="2824" y="606"/>
                  <a:pt x="2822" y="607"/>
                </a:cubicBezTo>
                <a:cubicBezTo>
                  <a:pt x="2821" y="608"/>
                  <a:pt x="2818" y="608"/>
                  <a:pt x="2817" y="608"/>
                </a:cubicBezTo>
                <a:cubicBezTo>
                  <a:pt x="2817" y="608"/>
                  <a:pt x="2817" y="608"/>
                  <a:pt x="2817" y="619"/>
                </a:cubicBezTo>
                <a:cubicBezTo>
                  <a:pt x="2820" y="618"/>
                  <a:pt x="2823" y="617"/>
                  <a:pt x="2825" y="616"/>
                </a:cubicBezTo>
                <a:cubicBezTo>
                  <a:pt x="2827" y="615"/>
                  <a:pt x="2830" y="613"/>
                  <a:pt x="2831" y="612"/>
                </a:cubicBezTo>
                <a:cubicBezTo>
                  <a:pt x="2831" y="612"/>
                  <a:pt x="2831" y="612"/>
                  <a:pt x="2831" y="671"/>
                </a:cubicBezTo>
                <a:cubicBezTo>
                  <a:pt x="2831" y="671"/>
                  <a:pt x="2831" y="671"/>
                  <a:pt x="2843" y="671"/>
                </a:cubicBezTo>
                <a:cubicBezTo>
                  <a:pt x="2843" y="671"/>
                  <a:pt x="2843" y="671"/>
                  <a:pt x="2843" y="597"/>
                </a:cubicBezTo>
                <a:close/>
                <a:moveTo>
                  <a:pt x="2966" y="597"/>
                </a:moveTo>
                <a:cubicBezTo>
                  <a:pt x="2966" y="597"/>
                  <a:pt x="2966" y="597"/>
                  <a:pt x="2966" y="597"/>
                </a:cubicBezTo>
                <a:cubicBezTo>
                  <a:pt x="2961" y="597"/>
                  <a:pt x="2961" y="597"/>
                  <a:pt x="2961" y="597"/>
                </a:cubicBezTo>
                <a:cubicBezTo>
                  <a:pt x="2959" y="599"/>
                  <a:pt x="2957" y="600"/>
                  <a:pt x="2955" y="601"/>
                </a:cubicBezTo>
                <a:cubicBezTo>
                  <a:pt x="2954" y="603"/>
                  <a:pt x="2952" y="603"/>
                  <a:pt x="2950" y="604"/>
                </a:cubicBezTo>
                <a:cubicBezTo>
                  <a:pt x="2949" y="605"/>
                  <a:pt x="2946" y="606"/>
                  <a:pt x="2945" y="607"/>
                </a:cubicBezTo>
                <a:cubicBezTo>
                  <a:pt x="2943" y="608"/>
                  <a:pt x="2941" y="608"/>
                  <a:pt x="2939" y="608"/>
                </a:cubicBezTo>
                <a:cubicBezTo>
                  <a:pt x="2939" y="608"/>
                  <a:pt x="2939" y="608"/>
                  <a:pt x="2939" y="619"/>
                </a:cubicBezTo>
                <a:cubicBezTo>
                  <a:pt x="2942" y="618"/>
                  <a:pt x="2945" y="617"/>
                  <a:pt x="2948" y="616"/>
                </a:cubicBezTo>
                <a:cubicBezTo>
                  <a:pt x="2950" y="615"/>
                  <a:pt x="2952" y="613"/>
                  <a:pt x="2954" y="612"/>
                </a:cubicBezTo>
                <a:cubicBezTo>
                  <a:pt x="2954" y="612"/>
                  <a:pt x="2954" y="612"/>
                  <a:pt x="2954" y="671"/>
                </a:cubicBezTo>
                <a:cubicBezTo>
                  <a:pt x="2954" y="671"/>
                  <a:pt x="2954" y="671"/>
                  <a:pt x="2966" y="671"/>
                </a:cubicBezTo>
                <a:cubicBezTo>
                  <a:pt x="2966" y="671"/>
                  <a:pt x="2966" y="671"/>
                  <a:pt x="2966" y="597"/>
                </a:cubicBezTo>
                <a:close/>
                <a:moveTo>
                  <a:pt x="3014" y="597"/>
                </a:moveTo>
                <a:cubicBezTo>
                  <a:pt x="3014" y="597"/>
                  <a:pt x="3014" y="597"/>
                  <a:pt x="3014" y="597"/>
                </a:cubicBezTo>
                <a:cubicBezTo>
                  <a:pt x="3009" y="597"/>
                  <a:pt x="3009" y="597"/>
                  <a:pt x="3009" y="597"/>
                </a:cubicBezTo>
                <a:cubicBezTo>
                  <a:pt x="3006" y="599"/>
                  <a:pt x="3005" y="600"/>
                  <a:pt x="3003" y="601"/>
                </a:cubicBezTo>
                <a:cubicBezTo>
                  <a:pt x="3001" y="603"/>
                  <a:pt x="2999" y="603"/>
                  <a:pt x="2998" y="604"/>
                </a:cubicBezTo>
                <a:cubicBezTo>
                  <a:pt x="2996" y="605"/>
                  <a:pt x="2994" y="606"/>
                  <a:pt x="2992" y="607"/>
                </a:cubicBezTo>
                <a:cubicBezTo>
                  <a:pt x="2990" y="608"/>
                  <a:pt x="2989" y="608"/>
                  <a:pt x="2986" y="608"/>
                </a:cubicBezTo>
                <a:cubicBezTo>
                  <a:pt x="2986" y="608"/>
                  <a:pt x="2986" y="608"/>
                  <a:pt x="2986" y="619"/>
                </a:cubicBezTo>
                <a:cubicBezTo>
                  <a:pt x="2989" y="618"/>
                  <a:pt x="2992" y="617"/>
                  <a:pt x="2995" y="616"/>
                </a:cubicBezTo>
                <a:cubicBezTo>
                  <a:pt x="2998" y="615"/>
                  <a:pt x="3000" y="613"/>
                  <a:pt x="3002" y="612"/>
                </a:cubicBezTo>
                <a:cubicBezTo>
                  <a:pt x="3002" y="612"/>
                  <a:pt x="3002" y="612"/>
                  <a:pt x="3002" y="671"/>
                </a:cubicBezTo>
                <a:cubicBezTo>
                  <a:pt x="3002" y="671"/>
                  <a:pt x="3002" y="671"/>
                  <a:pt x="3014" y="671"/>
                </a:cubicBezTo>
                <a:cubicBezTo>
                  <a:pt x="3014" y="671"/>
                  <a:pt x="3014" y="671"/>
                  <a:pt x="3014" y="597"/>
                </a:cubicBezTo>
                <a:close/>
                <a:moveTo>
                  <a:pt x="3060" y="597"/>
                </a:moveTo>
                <a:cubicBezTo>
                  <a:pt x="3060" y="597"/>
                  <a:pt x="3060" y="597"/>
                  <a:pt x="3060" y="597"/>
                </a:cubicBezTo>
                <a:cubicBezTo>
                  <a:pt x="3056" y="597"/>
                  <a:pt x="3056" y="597"/>
                  <a:pt x="3056" y="597"/>
                </a:cubicBezTo>
                <a:cubicBezTo>
                  <a:pt x="3053" y="599"/>
                  <a:pt x="3052" y="600"/>
                  <a:pt x="3050" y="601"/>
                </a:cubicBezTo>
                <a:cubicBezTo>
                  <a:pt x="3048" y="603"/>
                  <a:pt x="3046" y="603"/>
                  <a:pt x="3045" y="604"/>
                </a:cubicBezTo>
                <a:cubicBezTo>
                  <a:pt x="3043" y="605"/>
                  <a:pt x="3041" y="605"/>
                  <a:pt x="3039" y="606"/>
                </a:cubicBezTo>
                <a:cubicBezTo>
                  <a:pt x="3038" y="607"/>
                  <a:pt x="3035" y="608"/>
                  <a:pt x="3034" y="608"/>
                </a:cubicBezTo>
                <a:cubicBezTo>
                  <a:pt x="3034" y="608"/>
                  <a:pt x="3034" y="608"/>
                  <a:pt x="3034" y="619"/>
                </a:cubicBezTo>
                <a:cubicBezTo>
                  <a:pt x="3037" y="618"/>
                  <a:pt x="3040" y="616"/>
                  <a:pt x="3042" y="616"/>
                </a:cubicBezTo>
                <a:cubicBezTo>
                  <a:pt x="3044" y="615"/>
                  <a:pt x="3047" y="613"/>
                  <a:pt x="3048" y="612"/>
                </a:cubicBezTo>
                <a:cubicBezTo>
                  <a:pt x="3048" y="612"/>
                  <a:pt x="3048" y="612"/>
                  <a:pt x="3048" y="671"/>
                </a:cubicBezTo>
                <a:cubicBezTo>
                  <a:pt x="3048" y="671"/>
                  <a:pt x="3048" y="671"/>
                  <a:pt x="3060" y="671"/>
                </a:cubicBezTo>
                <a:cubicBezTo>
                  <a:pt x="3060" y="671"/>
                  <a:pt x="3060" y="671"/>
                  <a:pt x="3060" y="597"/>
                </a:cubicBezTo>
                <a:close/>
                <a:moveTo>
                  <a:pt x="3105" y="671"/>
                </a:moveTo>
                <a:cubicBezTo>
                  <a:pt x="3097" y="671"/>
                  <a:pt x="3091" y="668"/>
                  <a:pt x="3086" y="662"/>
                </a:cubicBezTo>
                <a:cubicBezTo>
                  <a:pt x="3083" y="656"/>
                  <a:pt x="3080" y="647"/>
                  <a:pt x="3080" y="634"/>
                </a:cubicBezTo>
                <a:cubicBezTo>
                  <a:pt x="3080" y="621"/>
                  <a:pt x="3083" y="612"/>
                  <a:pt x="3087" y="605"/>
                </a:cubicBezTo>
                <a:cubicBezTo>
                  <a:pt x="3091" y="599"/>
                  <a:pt x="3098" y="595"/>
                  <a:pt x="3107" y="595"/>
                </a:cubicBezTo>
                <a:cubicBezTo>
                  <a:pt x="3123" y="595"/>
                  <a:pt x="3131" y="607"/>
                  <a:pt x="3131" y="633"/>
                </a:cubicBezTo>
                <a:cubicBezTo>
                  <a:pt x="3131" y="645"/>
                  <a:pt x="3129" y="655"/>
                  <a:pt x="3124" y="661"/>
                </a:cubicBezTo>
                <a:cubicBezTo>
                  <a:pt x="3119" y="668"/>
                  <a:pt x="3113" y="671"/>
                  <a:pt x="3105" y="671"/>
                </a:cubicBezTo>
                <a:close/>
                <a:moveTo>
                  <a:pt x="3106" y="605"/>
                </a:moveTo>
                <a:cubicBezTo>
                  <a:pt x="3097" y="605"/>
                  <a:pt x="3092" y="615"/>
                  <a:pt x="3092" y="634"/>
                </a:cubicBezTo>
                <a:cubicBezTo>
                  <a:pt x="3092" y="653"/>
                  <a:pt x="3097" y="661"/>
                  <a:pt x="3105" y="661"/>
                </a:cubicBezTo>
                <a:cubicBezTo>
                  <a:pt x="3114" y="661"/>
                  <a:pt x="3118" y="653"/>
                  <a:pt x="3118" y="634"/>
                </a:cubicBezTo>
                <a:cubicBezTo>
                  <a:pt x="3118" y="614"/>
                  <a:pt x="3114" y="605"/>
                  <a:pt x="3106" y="605"/>
                </a:cubicBezTo>
                <a:close/>
                <a:moveTo>
                  <a:pt x="3176" y="671"/>
                </a:moveTo>
                <a:cubicBezTo>
                  <a:pt x="3168" y="671"/>
                  <a:pt x="3162" y="668"/>
                  <a:pt x="3158" y="662"/>
                </a:cubicBezTo>
                <a:cubicBezTo>
                  <a:pt x="3154" y="656"/>
                  <a:pt x="3152" y="647"/>
                  <a:pt x="3152" y="634"/>
                </a:cubicBezTo>
                <a:cubicBezTo>
                  <a:pt x="3152" y="621"/>
                  <a:pt x="3154" y="612"/>
                  <a:pt x="3158" y="605"/>
                </a:cubicBezTo>
                <a:cubicBezTo>
                  <a:pt x="3162" y="599"/>
                  <a:pt x="3169" y="595"/>
                  <a:pt x="3178" y="595"/>
                </a:cubicBezTo>
                <a:cubicBezTo>
                  <a:pt x="3194" y="595"/>
                  <a:pt x="3202" y="607"/>
                  <a:pt x="3202" y="633"/>
                </a:cubicBezTo>
                <a:cubicBezTo>
                  <a:pt x="3202" y="645"/>
                  <a:pt x="3200" y="655"/>
                  <a:pt x="3195" y="661"/>
                </a:cubicBezTo>
                <a:cubicBezTo>
                  <a:pt x="3190" y="668"/>
                  <a:pt x="3184" y="671"/>
                  <a:pt x="3176" y="671"/>
                </a:cubicBezTo>
                <a:close/>
                <a:moveTo>
                  <a:pt x="3177" y="605"/>
                </a:moveTo>
                <a:cubicBezTo>
                  <a:pt x="3168" y="605"/>
                  <a:pt x="3163" y="615"/>
                  <a:pt x="3163" y="634"/>
                </a:cubicBezTo>
                <a:cubicBezTo>
                  <a:pt x="3163" y="653"/>
                  <a:pt x="3168" y="661"/>
                  <a:pt x="3176" y="661"/>
                </a:cubicBezTo>
                <a:cubicBezTo>
                  <a:pt x="3185" y="661"/>
                  <a:pt x="3190" y="653"/>
                  <a:pt x="3190" y="634"/>
                </a:cubicBezTo>
                <a:cubicBezTo>
                  <a:pt x="3190" y="614"/>
                  <a:pt x="3185" y="605"/>
                  <a:pt x="3177" y="605"/>
                </a:cubicBezTo>
                <a:close/>
                <a:moveTo>
                  <a:pt x="2864" y="630"/>
                </a:moveTo>
                <a:cubicBezTo>
                  <a:pt x="2864" y="630"/>
                  <a:pt x="2864" y="630"/>
                  <a:pt x="2864" y="630"/>
                </a:cubicBezTo>
                <a:cubicBezTo>
                  <a:pt x="2864" y="638"/>
                  <a:pt x="2864" y="638"/>
                  <a:pt x="2864" y="638"/>
                </a:cubicBezTo>
                <a:cubicBezTo>
                  <a:pt x="2870" y="638"/>
                  <a:pt x="2871" y="641"/>
                  <a:pt x="2871" y="644"/>
                </a:cubicBezTo>
                <a:cubicBezTo>
                  <a:pt x="2871" y="646"/>
                  <a:pt x="2870" y="648"/>
                  <a:pt x="2870" y="651"/>
                </a:cubicBezTo>
                <a:cubicBezTo>
                  <a:pt x="2870" y="654"/>
                  <a:pt x="2869" y="656"/>
                  <a:pt x="2869" y="658"/>
                </a:cubicBezTo>
                <a:cubicBezTo>
                  <a:pt x="2869" y="668"/>
                  <a:pt x="2875" y="671"/>
                  <a:pt x="2884" y="671"/>
                </a:cubicBezTo>
                <a:cubicBezTo>
                  <a:pt x="2884" y="671"/>
                  <a:pt x="2884" y="671"/>
                  <a:pt x="2888" y="671"/>
                </a:cubicBezTo>
                <a:cubicBezTo>
                  <a:pt x="2888" y="671"/>
                  <a:pt x="2888" y="671"/>
                  <a:pt x="2888" y="662"/>
                </a:cubicBezTo>
                <a:cubicBezTo>
                  <a:pt x="2888" y="662"/>
                  <a:pt x="2888" y="662"/>
                  <a:pt x="2886" y="662"/>
                </a:cubicBezTo>
                <a:cubicBezTo>
                  <a:pt x="2882" y="662"/>
                  <a:pt x="2881" y="659"/>
                  <a:pt x="2881" y="656"/>
                </a:cubicBezTo>
                <a:cubicBezTo>
                  <a:pt x="2881" y="654"/>
                  <a:pt x="2881" y="653"/>
                  <a:pt x="2882" y="651"/>
                </a:cubicBezTo>
                <a:cubicBezTo>
                  <a:pt x="2882" y="650"/>
                  <a:pt x="2882" y="647"/>
                  <a:pt x="2882" y="645"/>
                </a:cubicBezTo>
                <a:cubicBezTo>
                  <a:pt x="2882" y="638"/>
                  <a:pt x="2879" y="635"/>
                  <a:pt x="2874" y="634"/>
                </a:cubicBezTo>
                <a:cubicBezTo>
                  <a:pt x="2874" y="634"/>
                  <a:pt x="2874" y="634"/>
                  <a:pt x="2874" y="634"/>
                </a:cubicBezTo>
                <a:cubicBezTo>
                  <a:pt x="2879" y="632"/>
                  <a:pt x="2882" y="630"/>
                  <a:pt x="2882" y="623"/>
                </a:cubicBezTo>
                <a:cubicBezTo>
                  <a:pt x="2882" y="620"/>
                  <a:pt x="2882" y="618"/>
                  <a:pt x="2882" y="616"/>
                </a:cubicBezTo>
                <a:cubicBezTo>
                  <a:pt x="2881" y="615"/>
                  <a:pt x="2881" y="613"/>
                  <a:pt x="2881" y="612"/>
                </a:cubicBezTo>
                <a:cubicBezTo>
                  <a:pt x="2881" y="608"/>
                  <a:pt x="2882" y="606"/>
                  <a:pt x="2886" y="606"/>
                </a:cubicBezTo>
                <a:cubicBezTo>
                  <a:pt x="2886" y="606"/>
                  <a:pt x="2886" y="606"/>
                  <a:pt x="2888" y="606"/>
                </a:cubicBezTo>
                <a:cubicBezTo>
                  <a:pt x="2888" y="606"/>
                  <a:pt x="2888" y="606"/>
                  <a:pt x="2888" y="597"/>
                </a:cubicBezTo>
                <a:cubicBezTo>
                  <a:pt x="2888" y="597"/>
                  <a:pt x="2888" y="597"/>
                  <a:pt x="2884" y="597"/>
                </a:cubicBezTo>
                <a:cubicBezTo>
                  <a:pt x="2875" y="597"/>
                  <a:pt x="2869" y="601"/>
                  <a:pt x="2869" y="609"/>
                </a:cubicBezTo>
                <a:cubicBezTo>
                  <a:pt x="2869" y="611"/>
                  <a:pt x="2870" y="614"/>
                  <a:pt x="2870" y="617"/>
                </a:cubicBezTo>
                <a:cubicBezTo>
                  <a:pt x="2870" y="619"/>
                  <a:pt x="2871" y="622"/>
                  <a:pt x="2871" y="623"/>
                </a:cubicBezTo>
                <a:cubicBezTo>
                  <a:pt x="2871" y="626"/>
                  <a:pt x="2870" y="629"/>
                  <a:pt x="2864" y="630"/>
                </a:cubicBezTo>
                <a:close/>
                <a:moveTo>
                  <a:pt x="2919" y="638"/>
                </a:moveTo>
                <a:cubicBezTo>
                  <a:pt x="2919" y="638"/>
                  <a:pt x="2919" y="638"/>
                  <a:pt x="2919" y="638"/>
                </a:cubicBezTo>
                <a:cubicBezTo>
                  <a:pt x="2919" y="630"/>
                  <a:pt x="2919" y="630"/>
                  <a:pt x="2919" y="630"/>
                </a:cubicBezTo>
                <a:cubicBezTo>
                  <a:pt x="2912" y="629"/>
                  <a:pt x="2912" y="626"/>
                  <a:pt x="2912" y="623"/>
                </a:cubicBezTo>
                <a:cubicBezTo>
                  <a:pt x="2912" y="622"/>
                  <a:pt x="2912" y="619"/>
                  <a:pt x="2912" y="617"/>
                </a:cubicBezTo>
                <a:cubicBezTo>
                  <a:pt x="2913" y="614"/>
                  <a:pt x="2913" y="611"/>
                  <a:pt x="2913" y="609"/>
                </a:cubicBezTo>
                <a:cubicBezTo>
                  <a:pt x="2913" y="601"/>
                  <a:pt x="2907" y="597"/>
                  <a:pt x="2898" y="597"/>
                </a:cubicBezTo>
                <a:cubicBezTo>
                  <a:pt x="2898" y="597"/>
                  <a:pt x="2898" y="597"/>
                  <a:pt x="2894" y="597"/>
                </a:cubicBezTo>
                <a:cubicBezTo>
                  <a:pt x="2894" y="597"/>
                  <a:pt x="2894" y="597"/>
                  <a:pt x="2894" y="606"/>
                </a:cubicBezTo>
                <a:cubicBezTo>
                  <a:pt x="2894" y="606"/>
                  <a:pt x="2894" y="606"/>
                  <a:pt x="2896" y="606"/>
                </a:cubicBezTo>
                <a:cubicBezTo>
                  <a:pt x="2900" y="606"/>
                  <a:pt x="2901" y="608"/>
                  <a:pt x="2901" y="612"/>
                </a:cubicBezTo>
                <a:cubicBezTo>
                  <a:pt x="2901" y="613"/>
                  <a:pt x="2901" y="615"/>
                  <a:pt x="2901" y="616"/>
                </a:cubicBezTo>
                <a:cubicBezTo>
                  <a:pt x="2900" y="618"/>
                  <a:pt x="2900" y="620"/>
                  <a:pt x="2900" y="623"/>
                </a:cubicBezTo>
                <a:cubicBezTo>
                  <a:pt x="2900" y="630"/>
                  <a:pt x="2903" y="632"/>
                  <a:pt x="2909" y="634"/>
                </a:cubicBezTo>
                <a:cubicBezTo>
                  <a:pt x="2909" y="634"/>
                  <a:pt x="2909" y="634"/>
                  <a:pt x="2909" y="634"/>
                </a:cubicBezTo>
                <a:cubicBezTo>
                  <a:pt x="2903" y="635"/>
                  <a:pt x="2900" y="638"/>
                  <a:pt x="2900" y="645"/>
                </a:cubicBezTo>
                <a:cubicBezTo>
                  <a:pt x="2900" y="647"/>
                  <a:pt x="2900" y="650"/>
                  <a:pt x="2901" y="651"/>
                </a:cubicBezTo>
                <a:cubicBezTo>
                  <a:pt x="2901" y="653"/>
                  <a:pt x="2901" y="654"/>
                  <a:pt x="2901" y="656"/>
                </a:cubicBezTo>
                <a:cubicBezTo>
                  <a:pt x="2901" y="659"/>
                  <a:pt x="2900" y="662"/>
                  <a:pt x="2896" y="662"/>
                </a:cubicBezTo>
                <a:cubicBezTo>
                  <a:pt x="2896" y="662"/>
                  <a:pt x="2896" y="662"/>
                  <a:pt x="2894" y="662"/>
                </a:cubicBezTo>
                <a:cubicBezTo>
                  <a:pt x="2894" y="662"/>
                  <a:pt x="2894" y="662"/>
                  <a:pt x="2894" y="671"/>
                </a:cubicBezTo>
                <a:cubicBezTo>
                  <a:pt x="2894" y="671"/>
                  <a:pt x="2894" y="671"/>
                  <a:pt x="2898" y="671"/>
                </a:cubicBezTo>
                <a:cubicBezTo>
                  <a:pt x="2907" y="671"/>
                  <a:pt x="2913" y="668"/>
                  <a:pt x="2913" y="658"/>
                </a:cubicBezTo>
                <a:cubicBezTo>
                  <a:pt x="2913" y="656"/>
                  <a:pt x="2913" y="654"/>
                  <a:pt x="2912" y="651"/>
                </a:cubicBezTo>
                <a:cubicBezTo>
                  <a:pt x="2912" y="648"/>
                  <a:pt x="2912" y="646"/>
                  <a:pt x="2912" y="644"/>
                </a:cubicBezTo>
                <a:cubicBezTo>
                  <a:pt x="2912" y="641"/>
                  <a:pt x="2912" y="638"/>
                  <a:pt x="2919" y="638"/>
                </a:cubicBezTo>
                <a:close/>
                <a:moveTo>
                  <a:pt x="3388" y="671"/>
                </a:moveTo>
                <a:cubicBezTo>
                  <a:pt x="3381" y="671"/>
                  <a:pt x="3375" y="668"/>
                  <a:pt x="3370" y="661"/>
                </a:cubicBezTo>
                <a:cubicBezTo>
                  <a:pt x="3366" y="656"/>
                  <a:pt x="3364" y="646"/>
                  <a:pt x="3364" y="634"/>
                </a:cubicBezTo>
                <a:cubicBezTo>
                  <a:pt x="3364" y="621"/>
                  <a:pt x="3366" y="612"/>
                  <a:pt x="3370" y="605"/>
                </a:cubicBezTo>
                <a:cubicBezTo>
                  <a:pt x="3375" y="598"/>
                  <a:pt x="3381" y="595"/>
                  <a:pt x="3390" y="595"/>
                </a:cubicBezTo>
                <a:cubicBezTo>
                  <a:pt x="3406" y="595"/>
                  <a:pt x="3415" y="607"/>
                  <a:pt x="3415" y="632"/>
                </a:cubicBezTo>
                <a:cubicBezTo>
                  <a:pt x="3415" y="645"/>
                  <a:pt x="3412" y="655"/>
                  <a:pt x="3408" y="661"/>
                </a:cubicBezTo>
                <a:cubicBezTo>
                  <a:pt x="3403" y="668"/>
                  <a:pt x="3397" y="671"/>
                  <a:pt x="3388" y="671"/>
                </a:cubicBezTo>
                <a:close/>
                <a:moveTo>
                  <a:pt x="3390" y="605"/>
                </a:moveTo>
                <a:cubicBezTo>
                  <a:pt x="3381" y="605"/>
                  <a:pt x="3376" y="614"/>
                  <a:pt x="3376" y="634"/>
                </a:cubicBezTo>
                <a:cubicBezTo>
                  <a:pt x="3376" y="652"/>
                  <a:pt x="3381" y="661"/>
                  <a:pt x="3390" y="661"/>
                </a:cubicBezTo>
                <a:cubicBezTo>
                  <a:pt x="3398" y="661"/>
                  <a:pt x="3402" y="652"/>
                  <a:pt x="3402" y="634"/>
                </a:cubicBezTo>
                <a:cubicBezTo>
                  <a:pt x="3402" y="614"/>
                  <a:pt x="3398" y="605"/>
                  <a:pt x="3390" y="605"/>
                </a:cubicBezTo>
                <a:close/>
                <a:moveTo>
                  <a:pt x="3506" y="671"/>
                </a:moveTo>
                <a:cubicBezTo>
                  <a:pt x="3499" y="671"/>
                  <a:pt x="3493" y="668"/>
                  <a:pt x="3488" y="661"/>
                </a:cubicBezTo>
                <a:cubicBezTo>
                  <a:pt x="3484" y="656"/>
                  <a:pt x="3482" y="646"/>
                  <a:pt x="3482" y="634"/>
                </a:cubicBezTo>
                <a:cubicBezTo>
                  <a:pt x="3482" y="621"/>
                  <a:pt x="3484" y="612"/>
                  <a:pt x="3488" y="605"/>
                </a:cubicBezTo>
                <a:cubicBezTo>
                  <a:pt x="3493" y="598"/>
                  <a:pt x="3499" y="595"/>
                  <a:pt x="3508" y="595"/>
                </a:cubicBezTo>
                <a:cubicBezTo>
                  <a:pt x="3524" y="595"/>
                  <a:pt x="3532" y="607"/>
                  <a:pt x="3532" y="632"/>
                </a:cubicBezTo>
                <a:cubicBezTo>
                  <a:pt x="3532" y="645"/>
                  <a:pt x="3530" y="655"/>
                  <a:pt x="3526" y="661"/>
                </a:cubicBezTo>
                <a:cubicBezTo>
                  <a:pt x="3520" y="668"/>
                  <a:pt x="3515" y="671"/>
                  <a:pt x="3506" y="671"/>
                </a:cubicBezTo>
                <a:close/>
                <a:moveTo>
                  <a:pt x="3507" y="605"/>
                </a:moveTo>
                <a:cubicBezTo>
                  <a:pt x="3499" y="605"/>
                  <a:pt x="3494" y="614"/>
                  <a:pt x="3494" y="634"/>
                </a:cubicBezTo>
                <a:cubicBezTo>
                  <a:pt x="3494" y="652"/>
                  <a:pt x="3499" y="661"/>
                  <a:pt x="3507" y="661"/>
                </a:cubicBezTo>
                <a:cubicBezTo>
                  <a:pt x="3515" y="661"/>
                  <a:pt x="3520" y="652"/>
                  <a:pt x="3520" y="634"/>
                </a:cubicBezTo>
                <a:cubicBezTo>
                  <a:pt x="3520" y="614"/>
                  <a:pt x="3516" y="605"/>
                  <a:pt x="3507" y="605"/>
                </a:cubicBezTo>
                <a:close/>
                <a:moveTo>
                  <a:pt x="3462" y="597"/>
                </a:moveTo>
                <a:cubicBezTo>
                  <a:pt x="3462" y="597"/>
                  <a:pt x="3462" y="597"/>
                  <a:pt x="3462" y="597"/>
                </a:cubicBezTo>
                <a:cubicBezTo>
                  <a:pt x="3457" y="597"/>
                  <a:pt x="3457" y="597"/>
                  <a:pt x="3457" y="597"/>
                </a:cubicBezTo>
                <a:cubicBezTo>
                  <a:pt x="3454" y="599"/>
                  <a:pt x="3453" y="600"/>
                  <a:pt x="3451" y="601"/>
                </a:cubicBezTo>
                <a:cubicBezTo>
                  <a:pt x="3449" y="603"/>
                  <a:pt x="3447" y="603"/>
                  <a:pt x="3446" y="604"/>
                </a:cubicBezTo>
                <a:cubicBezTo>
                  <a:pt x="3444" y="605"/>
                  <a:pt x="3442" y="605"/>
                  <a:pt x="3441" y="606"/>
                </a:cubicBezTo>
                <a:cubicBezTo>
                  <a:pt x="3438" y="607"/>
                  <a:pt x="3437" y="608"/>
                  <a:pt x="3435" y="608"/>
                </a:cubicBezTo>
                <a:cubicBezTo>
                  <a:pt x="3435" y="608"/>
                  <a:pt x="3435" y="608"/>
                  <a:pt x="3435" y="619"/>
                </a:cubicBezTo>
                <a:cubicBezTo>
                  <a:pt x="3438" y="618"/>
                  <a:pt x="3441" y="616"/>
                  <a:pt x="3443" y="616"/>
                </a:cubicBezTo>
                <a:cubicBezTo>
                  <a:pt x="3446" y="615"/>
                  <a:pt x="3448" y="613"/>
                  <a:pt x="3450" y="612"/>
                </a:cubicBezTo>
                <a:cubicBezTo>
                  <a:pt x="3450" y="612"/>
                  <a:pt x="3450" y="612"/>
                  <a:pt x="3450" y="671"/>
                </a:cubicBezTo>
                <a:cubicBezTo>
                  <a:pt x="3450" y="671"/>
                  <a:pt x="3450" y="671"/>
                  <a:pt x="3462" y="671"/>
                </a:cubicBezTo>
                <a:cubicBezTo>
                  <a:pt x="3462" y="671"/>
                  <a:pt x="3462" y="671"/>
                  <a:pt x="3462" y="597"/>
                </a:cubicBezTo>
                <a:close/>
                <a:moveTo>
                  <a:pt x="3577" y="671"/>
                </a:moveTo>
                <a:cubicBezTo>
                  <a:pt x="3570" y="671"/>
                  <a:pt x="3563" y="668"/>
                  <a:pt x="3559" y="662"/>
                </a:cubicBezTo>
                <a:cubicBezTo>
                  <a:pt x="3555" y="656"/>
                  <a:pt x="3553" y="647"/>
                  <a:pt x="3553" y="634"/>
                </a:cubicBezTo>
                <a:cubicBezTo>
                  <a:pt x="3553" y="621"/>
                  <a:pt x="3555" y="612"/>
                  <a:pt x="3559" y="605"/>
                </a:cubicBezTo>
                <a:cubicBezTo>
                  <a:pt x="3564" y="599"/>
                  <a:pt x="3570" y="595"/>
                  <a:pt x="3579" y="595"/>
                </a:cubicBezTo>
                <a:cubicBezTo>
                  <a:pt x="3595" y="595"/>
                  <a:pt x="3603" y="607"/>
                  <a:pt x="3603" y="633"/>
                </a:cubicBezTo>
                <a:cubicBezTo>
                  <a:pt x="3603" y="645"/>
                  <a:pt x="3601" y="655"/>
                  <a:pt x="3597" y="661"/>
                </a:cubicBezTo>
                <a:cubicBezTo>
                  <a:pt x="3592" y="668"/>
                  <a:pt x="3586" y="671"/>
                  <a:pt x="3577" y="671"/>
                </a:cubicBezTo>
                <a:close/>
                <a:moveTo>
                  <a:pt x="3578" y="605"/>
                </a:moveTo>
                <a:cubicBezTo>
                  <a:pt x="3570" y="605"/>
                  <a:pt x="3565" y="615"/>
                  <a:pt x="3565" y="634"/>
                </a:cubicBezTo>
                <a:cubicBezTo>
                  <a:pt x="3565" y="653"/>
                  <a:pt x="3569" y="661"/>
                  <a:pt x="3578" y="661"/>
                </a:cubicBezTo>
                <a:cubicBezTo>
                  <a:pt x="3586" y="661"/>
                  <a:pt x="3591" y="653"/>
                  <a:pt x="3591" y="634"/>
                </a:cubicBezTo>
                <a:cubicBezTo>
                  <a:pt x="3591" y="614"/>
                  <a:pt x="3586" y="605"/>
                  <a:pt x="3578" y="605"/>
                </a:cubicBezTo>
                <a:close/>
                <a:moveTo>
                  <a:pt x="3624" y="630"/>
                </a:moveTo>
                <a:cubicBezTo>
                  <a:pt x="3624" y="630"/>
                  <a:pt x="3624" y="630"/>
                  <a:pt x="3624" y="630"/>
                </a:cubicBezTo>
                <a:cubicBezTo>
                  <a:pt x="3624" y="638"/>
                  <a:pt x="3624" y="638"/>
                  <a:pt x="3624" y="638"/>
                </a:cubicBezTo>
                <a:cubicBezTo>
                  <a:pt x="3630" y="638"/>
                  <a:pt x="3631" y="641"/>
                  <a:pt x="3631" y="644"/>
                </a:cubicBezTo>
                <a:cubicBezTo>
                  <a:pt x="3631" y="646"/>
                  <a:pt x="3630" y="648"/>
                  <a:pt x="3630" y="651"/>
                </a:cubicBezTo>
                <a:cubicBezTo>
                  <a:pt x="3630" y="654"/>
                  <a:pt x="3630" y="656"/>
                  <a:pt x="3630" y="658"/>
                </a:cubicBezTo>
                <a:cubicBezTo>
                  <a:pt x="3630" y="668"/>
                  <a:pt x="3636" y="671"/>
                  <a:pt x="3644" y="671"/>
                </a:cubicBezTo>
                <a:cubicBezTo>
                  <a:pt x="3644" y="671"/>
                  <a:pt x="3644" y="671"/>
                  <a:pt x="3648" y="671"/>
                </a:cubicBezTo>
                <a:cubicBezTo>
                  <a:pt x="3648" y="671"/>
                  <a:pt x="3648" y="671"/>
                  <a:pt x="3648" y="662"/>
                </a:cubicBezTo>
                <a:cubicBezTo>
                  <a:pt x="3648" y="662"/>
                  <a:pt x="3648" y="662"/>
                  <a:pt x="3646" y="662"/>
                </a:cubicBezTo>
                <a:cubicBezTo>
                  <a:pt x="3643" y="662"/>
                  <a:pt x="3642" y="659"/>
                  <a:pt x="3642" y="656"/>
                </a:cubicBezTo>
                <a:cubicBezTo>
                  <a:pt x="3642" y="654"/>
                  <a:pt x="3642" y="653"/>
                  <a:pt x="3642" y="651"/>
                </a:cubicBezTo>
                <a:cubicBezTo>
                  <a:pt x="3642" y="650"/>
                  <a:pt x="3642" y="647"/>
                  <a:pt x="3642" y="645"/>
                </a:cubicBezTo>
                <a:cubicBezTo>
                  <a:pt x="3642" y="638"/>
                  <a:pt x="3639" y="635"/>
                  <a:pt x="3634" y="634"/>
                </a:cubicBezTo>
                <a:cubicBezTo>
                  <a:pt x="3634" y="634"/>
                  <a:pt x="3634" y="634"/>
                  <a:pt x="3634" y="634"/>
                </a:cubicBezTo>
                <a:cubicBezTo>
                  <a:pt x="3639" y="632"/>
                  <a:pt x="3642" y="630"/>
                  <a:pt x="3642" y="623"/>
                </a:cubicBezTo>
                <a:cubicBezTo>
                  <a:pt x="3642" y="620"/>
                  <a:pt x="3642" y="618"/>
                  <a:pt x="3642" y="616"/>
                </a:cubicBezTo>
                <a:cubicBezTo>
                  <a:pt x="3642" y="615"/>
                  <a:pt x="3642" y="613"/>
                  <a:pt x="3642" y="612"/>
                </a:cubicBezTo>
                <a:cubicBezTo>
                  <a:pt x="3642" y="608"/>
                  <a:pt x="3643" y="606"/>
                  <a:pt x="3646" y="606"/>
                </a:cubicBezTo>
                <a:cubicBezTo>
                  <a:pt x="3646" y="606"/>
                  <a:pt x="3646" y="606"/>
                  <a:pt x="3648" y="606"/>
                </a:cubicBezTo>
                <a:cubicBezTo>
                  <a:pt x="3648" y="606"/>
                  <a:pt x="3648" y="606"/>
                  <a:pt x="3648" y="597"/>
                </a:cubicBezTo>
                <a:cubicBezTo>
                  <a:pt x="3648" y="597"/>
                  <a:pt x="3648" y="597"/>
                  <a:pt x="3644" y="597"/>
                </a:cubicBezTo>
                <a:cubicBezTo>
                  <a:pt x="3635" y="597"/>
                  <a:pt x="3630" y="601"/>
                  <a:pt x="3630" y="609"/>
                </a:cubicBezTo>
                <a:cubicBezTo>
                  <a:pt x="3630" y="611"/>
                  <a:pt x="3630" y="614"/>
                  <a:pt x="3630" y="617"/>
                </a:cubicBezTo>
                <a:cubicBezTo>
                  <a:pt x="3630" y="619"/>
                  <a:pt x="3631" y="622"/>
                  <a:pt x="3631" y="623"/>
                </a:cubicBezTo>
                <a:cubicBezTo>
                  <a:pt x="3631" y="626"/>
                  <a:pt x="3630" y="629"/>
                  <a:pt x="3624" y="630"/>
                </a:cubicBezTo>
                <a:close/>
                <a:moveTo>
                  <a:pt x="3679" y="638"/>
                </a:moveTo>
                <a:cubicBezTo>
                  <a:pt x="3679" y="638"/>
                  <a:pt x="3679" y="638"/>
                  <a:pt x="3679" y="638"/>
                </a:cubicBezTo>
                <a:cubicBezTo>
                  <a:pt x="3679" y="630"/>
                  <a:pt x="3679" y="630"/>
                  <a:pt x="3679" y="630"/>
                </a:cubicBezTo>
                <a:cubicBezTo>
                  <a:pt x="3673" y="629"/>
                  <a:pt x="3672" y="626"/>
                  <a:pt x="3672" y="623"/>
                </a:cubicBezTo>
                <a:cubicBezTo>
                  <a:pt x="3672" y="622"/>
                  <a:pt x="3672" y="619"/>
                  <a:pt x="3673" y="617"/>
                </a:cubicBezTo>
                <a:cubicBezTo>
                  <a:pt x="3673" y="614"/>
                  <a:pt x="3673" y="611"/>
                  <a:pt x="3673" y="609"/>
                </a:cubicBezTo>
                <a:cubicBezTo>
                  <a:pt x="3673" y="601"/>
                  <a:pt x="3668" y="597"/>
                  <a:pt x="3658" y="597"/>
                </a:cubicBezTo>
                <a:cubicBezTo>
                  <a:pt x="3658" y="597"/>
                  <a:pt x="3658" y="597"/>
                  <a:pt x="3655" y="597"/>
                </a:cubicBezTo>
                <a:cubicBezTo>
                  <a:pt x="3655" y="597"/>
                  <a:pt x="3655" y="597"/>
                  <a:pt x="3655" y="606"/>
                </a:cubicBezTo>
                <a:cubicBezTo>
                  <a:pt x="3655" y="606"/>
                  <a:pt x="3655" y="606"/>
                  <a:pt x="3656" y="606"/>
                </a:cubicBezTo>
                <a:cubicBezTo>
                  <a:pt x="3660" y="606"/>
                  <a:pt x="3661" y="608"/>
                  <a:pt x="3661" y="612"/>
                </a:cubicBezTo>
                <a:cubicBezTo>
                  <a:pt x="3661" y="613"/>
                  <a:pt x="3661" y="615"/>
                  <a:pt x="3661" y="616"/>
                </a:cubicBezTo>
                <a:cubicBezTo>
                  <a:pt x="3661" y="618"/>
                  <a:pt x="3661" y="620"/>
                  <a:pt x="3661" y="623"/>
                </a:cubicBezTo>
                <a:cubicBezTo>
                  <a:pt x="3661" y="630"/>
                  <a:pt x="3663" y="632"/>
                  <a:pt x="3669" y="634"/>
                </a:cubicBezTo>
                <a:cubicBezTo>
                  <a:pt x="3669" y="634"/>
                  <a:pt x="3669" y="634"/>
                  <a:pt x="3669" y="634"/>
                </a:cubicBezTo>
                <a:cubicBezTo>
                  <a:pt x="3663" y="635"/>
                  <a:pt x="3661" y="638"/>
                  <a:pt x="3661" y="645"/>
                </a:cubicBezTo>
                <a:cubicBezTo>
                  <a:pt x="3661" y="647"/>
                  <a:pt x="3661" y="650"/>
                  <a:pt x="3661" y="651"/>
                </a:cubicBezTo>
                <a:cubicBezTo>
                  <a:pt x="3661" y="653"/>
                  <a:pt x="3661" y="654"/>
                  <a:pt x="3661" y="656"/>
                </a:cubicBezTo>
                <a:cubicBezTo>
                  <a:pt x="3661" y="659"/>
                  <a:pt x="3660" y="662"/>
                  <a:pt x="3656" y="662"/>
                </a:cubicBezTo>
                <a:cubicBezTo>
                  <a:pt x="3656" y="662"/>
                  <a:pt x="3656" y="662"/>
                  <a:pt x="3655" y="662"/>
                </a:cubicBezTo>
                <a:cubicBezTo>
                  <a:pt x="3655" y="662"/>
                  <a:pt x="3655" y="662"/>
                  <a:pt x="3655" y="671"/>
                </a:cubicBezTo>
                <a:cubicBezTo>
                  <a:pt x="3655" y="671"/>
                  <a:pt x="3655" y="671"/>
                  <a:pt x="3658" y="671"/>
                </a:cubicBezTo>
                <a:cubicBezTo>
                  <a:pt x="3667" y="671"/>
                  <a:pt x="3673" y="668"/>
                  <a:pt x="3673" y="658"/>
                </a:cubicBezTo>
                <a:cubicBezTo>
                  <a:pt x="3673" y="656"/>
                  <a:pt x="3673" y="654"/>
                  <a:pt x="3673" y="651"/>
                </a:cubicBezTo>
                <a:cubicBezTo>
                  <a:pt x="3672" y="648"/>
                  <a:pt x="3672" y="646"/>
                  <a:pt x="3672" y="644"/>
                </a:cubicBezTo>
                <a:cubicBezTo>
                  <a:pt x="3672" y="641"/>
                  <a:pt x="3673" y="638"/>
                  <a:pt x="3679" y="638"/>
                </a:cubicBezTo>
                <a:close/>
                <a:moveTo>
                  <a:pt x="3799" y="671"/>
                </a:moveTo>
                <a:cubicBezTo>
                  <a:pt x="3792" y="671"/>
                  <a:pt x="3785" y="668"/>
                  <a:pt x="3781" y="662"/>
                </a:cubicBezTo>
                <a:cubicBezTo>
                  <a:pt x="3777" y="656"/>
                  <a:pt x="3775" y="647"/>
                  <a:pt x="3775" y="634"/>
                </a:cubicBezTo>
                <a:cubicBezTo>
                  <a:pt x="3775" y="621"/>
                  <a:pt x="3777" y="612"/>
                  <a:pt x="3782" y="605"/>
                </a:cubicBezTo>
                <a:cubicBezTo>
                  <a:pt x="3786" y="599"/>
                  <a:pt x="3793" y="595"/>
                  <a:pt x="3801" y="595"/>
                </a:cubicBezTo>
                <a:cubicBezTo>
                  <a:pt x="3817" y="595"/>
                  <a:pt x="3825" y="607"/>
                  <a:pt x="3825" y="633"/>
                </a:cubicBezTo>
                <a:cubicBezTo>
                  <a:pt x="3825" y="645"/>
                  <a:pt x="3823" y="655"/>
                  <a:pt x="3818" y="661"/>
                </a:cubicBezTo>
                <a:cubicBezTo>
                  <a:pt x="3814" y="668"/>
                  <a:pt x="3807" y="671"/>
                  <a:pt x="3799" y="671"/>
                </a:cubicBezTo>
                <a:close/>
                <a:moveTo>
                  <a:pt x="3801" y="605"/>
                </a:moveTo>
                <a:cubicBezTo>
                  <a:pt x="3791" y="605"/>
                  <a:pt x="3787" y="615"/>
                  <a:pt x="3787" y="634"/>
                </a:cubicBezTo>
                <a:cubicBezTo>
                  <a:pt x="3787" y="653"/>
                  <a:pt x="3791" y="661"/>
                  <a:pt x="3800" y="661"/>
                </a:cubicBezTo>
                <a:cubicBezTo>
                  <a:pt x="3809" y="661"/>
                  <a:pt x="3813" y="653"/>
                  <a:pt x="3813" y="634"/>
                </a:cubicBezTo>
                <a:cubicBezTo>
                  <a:pt x="3813" y="614"/>
                  <a:pt x="3809" y="605"/>
                  <a:pt x="3801" y="605"/>
                </a:cubicBezTo>
                <a:close/>
                <a:moveTo>
                  <a:pt x="3869" y="597"/>
                </a:moveTo>
                <a:cubicBezTo>
                  <a:pt x="3869" y="597"/>
                  <a:pt x="3869" y="597"/>
                  <a:pt x="3869" y="597"/>
                </a:cubicBezTo>
                <a:cubicBezTo>
                  <a:pt x="3864" y="597"/>
                  <a:pt x="3864" y="597"/>
                  <a:pt x="3864" y="597"/>
                </a:cubicBezTo>
                <a:cubicBezTo>
                  <a:pt x="3861" y="599"/>
                  <a:pt x="3860" y="600"/>
                  <a:pt x="3858" y="601"/>
                </a:cubicBezTo>
                <a:cubicBezTo>
                  <a:pt x="3856" y="603"/>
                  <a:pt x="3854" y="603"/>
                  <a:pt x="3853" y="604"/>
                </a:cubicBezTo>
                <a:cubicBezTo>
                  <a:pt x="3850" y="605"/>
                  <a:pt x="3849" y="605"/>
                  <a:pt x="3848" y="606"/>
                </a:cubicBezTo>
                <a:cubicBezTo>
                  <a:pt x="3845" y="607"/>
                  <a:pt x="3844" y="608"/>
                  <a:pt x="3842" y="608"/>
                </a:cubicBezTo>
                <a:cubicBezTo>
                  <a:pt x="3842" y="608"/>
                  <a:pt x="3842" y="608"/>
                  <a:pt x="3842" y="619"/>
                </a:cubicBezTo>
                <a:cubicBezTo>
                  <a:pt x="3845" y="618"/>
                  <a:pt x="3848" y="616"/>
                  <a:pt x="3850" y="616"/>
                </a:cubicBezTo>
                <a:cubicBezTo>
                  <a:pt x="3853" y="615"/>
                  <a:pt x="3855" y="613"/>
                  <a:pt x="3857" y="612"/>
                </a:cubicBezTo>
                <a:cubicBezTo>
                  <a:pt x="3857" y="612"/>
                  <a:pt x="3857" y="612"/>
                  <a:pt x="3857" y="671"/>
                </a:cubicBezTo>
                <a:cubicBezTo>
                  <a:pt x="3857" y="671"/>
                  <a:pt x="3857" y="671"/>
                  <a:pt x="3869" y="671"/>
                </a:cubicBezTo>
                <a:cubicBezTo>
                  <a:pt x="3869" y="671"/>
                  <a:pt x="3869" y="671"/>
                  <a:pt x="3869" y="597"/>
                </a:cubicBezTo>
                <a:close/>
                <a:moveTo>
                  <a:pt x="2065" y="540"/>
                </a:moveTo>
                <a:cubicBezTo>
                  <a:pt x="2066" y="541"/>
                  <a:pt x="2066" y="542"/>
                  <a:pt x="2067" y="544"/>
                </a:cubicBezTo>
                <a:cubicBezTo>
                  <a:pt x="2067" y="546"/>
                  <a:pt x="2068" y="548"/>
                  <a:pt x="2068" y="549"/>
                </a:cubicBezTo>
                <a:cubicBezTo>
                  <a:pt x="2068" y="551"/>
                  <a:pt x="2068" y="552"/>
                  <a:pt x="2068" y="554"/>
                </a:cubicBezTo>
                <a:cubicBezTo>
                  <a:pt x="2069" y="557"/>
                  <a:pt x="2068" y="559"/>
                  <a:pt x="2065" y="559"/>
                </a:cubicBezTo>
                <a:cubicBezTo>
                  <a:pt x="2062" y="559"/>
                  <a:pt x="2059" y="558"/>
                  <a:pt x="2057" y="558"/>
                </a:cubicBezTo>
                <a:cubicBezTo>
                  <a:pt x="2056" y="558"/>
                  <a:pt x="2055" y="558"/>
                  <a:pt x="2055" y="559"/>
                </a:cubicBezTo>
                <a:cubicBezTo>
                  <a:pt x="2054" y="560"/>
                  <a:pt x="2052" y="561"/>
                  <a:pt x="2051" y="563"/>
                </a:cubicBezTo>
                <a:cubicBezTo>
                  <a:pt x="2049" y="565"/>
                  <a:pt x="2046" y="566"/>
                  <a:pt x="2043" y="564"/>
                </a:cubicBezTo>
                <a:cubicBezTo>
                  <a:pt x="2041" y="561"/>
                  <a:pt x="2040" y="559"/>
                  <a:pt x="2039" y="556"/>
                </a:cubicBezTo>
                <a:cubicBezTo>
                  <a:pt x="2038" y="555"/>
                  <a:pt x="2038" y="553"/>
                  <a:pt x="2041" y="552"/>
                </a:cubicBezTo>
                <a:cubicBezTo>
                  <a:pt x="2038" y="552"/>
                  <a:pt x="2036" y="552"/>
                  <a:pt x="2035" y="552"/>
                </a:cubicBezTo>
                <a:cubicBezTo>
                  <a:pt x="2034" y="554"/>
                  <a:pt x="2033" y="556"/>
                  <a:pt x="2032" y="557"/>
                </a:cubicBezTo>
                <a:cubicBezTo>
                  <a:pt x="2032" y="558"/>
                  <a:pt x="2032" y="559"/>
                  <a:pt x="2032" y="560"/>
                </a:cubicBezTo>
                <a:cubicBezTo>
                  <a:pt x="2032" y="563"/>
                  <a:pt x="2030" y="564"/>
                  <a:pt x="2027" y="564"/>
                </a:cubicBezTo>
                <a:cubicBezTo>
                  <a:pt x="2024" y="563"/>
                  <a:pt x="2021" y="563"/>
                  <a:pt x="2018" y="561"/>
                </a:cubicBezTo>
                <a:cubicBezTo>
                  <a:pt x="2016" y="561"/>
                  <a:pt x="2016" y="559"/>
                  <a:pt x="2016" y="557"/>
                </a:cubicBezTo>
                <a:cubicBezTo>
                  <a:pt x="2017" y="557"/>
                  <a:pt x="2017" y="556"/>
                  <a:pt x="2017" y="556"/>
                </a:cubicBezTo>
                <a:cubicBezTo>
                  <a:pt x="2015" y="555"/>
                  <a:pt x="2012" y="554"/>
                  <a:pt x="2010" y="552"/>
                </a:cubicBezTo>
                <a:cubicBezTo>
                  <a:pt x="2009" y="552"/>
                  <a:pt x="2008" y="550"/>
                  <a:pt x="2007" y="548"/>
                </a:cubicBezTo>
                <a:cubicBezTo>
                  <a:pt x="2006" y="546"/>
                  <a:pt x="2006" y="544"/>
                  <a:pt x="2008" y="543"/>
                </a:cubicBezTo>
                <a:cubicBezTo>
                  <a:pt x="2012" y="540"/>
                  <a:pt x="2012" y="538"/>
                  <a:pt x="2012" y="534"/>
                </a:cubicBezTo>
                <a:cubicBezTo>
                  <a:pt x="2012" y="532"/>
                  <a:pt x="2012" y="529"/>
                  <a:pt x="2012" y="528"/>
                </a:cubicBezTo>
                <a:cubicBezTo>
                  <a:pt x="2010" y="527"/>
                  <a:pt x="2008" y="527"/>
                  <a:pt x="2008" y="525"/>
                </a:cubicBezTo>
                <a:cubicBezTo>
                  <a:pt x="2006" y="524"/>
                  <a:pt x="2006" y="522"/>
                  <a:pt x="2006" y="520"/>
                </a:cubicBezTo>
                <a:cubicBezTo>
                  <a:pt x="2005" y="517"/>
                  <a:pt x="2009" y="514"/>
                  <a:pt x="2012" y="514"/>
                </a:cubicBezTo>
                <a:cubicBezTo>
                  <a:pt x="2012" y="514"/>
                  <a:pt x="2012" y="515"/>
                  <a:pt x="2012" y="516"/>
                </a:cubicBezTo>
                <a:cubicBezTo>
                  <a:pt x="2012" y="517"/>
                  <a:pt x="2012" y="518"/>
                  <a:pt x="2013" y="519"/>
                </a:cubicBezTo>
                <a:cubicBezTo>
                  <a:pt x="2012" y="519"/>
                  <a:pt x="2012" y="519"/>
                  <a:pt x="2011" y="519"/>
                </a:cubicBezTo>
                <a:cubicBezTo>
                  <a:pt x="2011" y="520"/>
                  <a:pt x="2010" y="521"/>
                  <a:pt x="2010" y="523"/>
                </a:cubicBezTo>
                <a:cubicBezTo>
                  <a:pt x="2011" y="523"/>
                  <a:pt x="2012" y="523"/>
                  <a:pt x="2012" y="522"/>
                </a:cubicBezTo>
                <a:cubicBezTo>
                  <a:pt x="2013" y="521"/>
                  <a:pt x="2014" y="520"/>
                  <a:pt x="2015" y="519"/>
                </a:cubicBezTo>
                <a:cubicBezTo>
                  <a:pt x="2019" y="512"/>
                  <a:pt x="2025" y="508"/>
                  <a:pt x="2033" y="507"/>
                </a:cubicBezTo>
                <a:cubicBezTo>
                  <a:pt x="2036" y="506"/>
                  <a:pt x="2039" y="505"/>
                  <a:pt x="2041" y="502"/>
                </a:cubicBezTo>
                <a:cubicBezTo>
                  <a:pt x="2041" y="502"/>
                  <a:pt x="2042" y="502"/>
                  <a:pt x="2043" y="502"/>
                </a:cubicBezTo>
                <a:cubicBezTo>
                  <a:pt x="2045" y="501"/>
                  <a:pt x="2047" y="499"/>
                  <a:pt x="2049" y="497"/>
                </a:cubicBezTo>
                <a:cubicBezTo>
                  <a:pt x="2056" y="489"/>
                  <a:pt x="2068" y="489"/>
                  <a:pt x="2076" y="496"/>
                </a:cubicBezTo>
                <a:cubicBezTo>
                  <a:pt x="2078" y="498"/>
                  <a:pt x="2081" y="500"/>
                  <a:pt x="2083" y="502"/>
                </a:cubicBezTo>
                <a:cubicBezTo>
                  <a:pt x="2085" y="503"/>
                  <a:pt x="2086" y="504"/>
                  <a:pt x="2087" y="506"/>
                </a:cubicBezTo>
                <a:cubicBezTo>
                  <a:pt x="2088" y="508"/>
                  <a:pt x="2089" y="508"/>
                  <a:pt x="2090" y="507"/>
                </a:cubicBezTo>
                <a:cubicBezTo>
                  <a:pt x="2091" y="506"/>
                  <a:pt x="2092" y="506"/>
                  <a:pt x="2092" y="505"/>
                </a:cubicBezTo>
                <a:cubicBezTo>
                  <a:pt x="2094" y="502"/>
                  <a:pt x="2097" y="502"/>
                  <a:pt x="2099" y="505"/>
                </a:cubicBezTo>
                <a:cubicBezTo>
                  <a:pt x="2100" y="508"/>
                  <a:pt x="2101" y="511"/>
                  <a:pt x="2101" y="514"/>
                </a:cubicBezTo>
                <a:cubicBezTo>
                  <a:pt x="2102" y="519"/>
                  <a:pt x="2101" y="523"/>
                  <a:pt x="2100" y="527"/>
                </a:cubicBezTo>
                <a:cubicBezTo>
                  <a:pt x="2097" y="534"/>
                  <a:pt x="2093" y="537"/>
                  <a:pt x="2086" y="537"/>
                </a:cubicBezTo>
                <a:cubicBezTo>
                  <a:pt x="2085" y="537"/>
                  <a:pt x="2085" y="537"/>
                  <a:pt x="2084" y="537"/>
                </a:cubicBezTo>
                <a:cubicBezTo>
                  <a:pt x="2082" y="537"/>
                  <a:pt x="2081" y="537"/>
                  <a:pt x="2080" y="540"/>
                </a:cubicBezTo>
                <a:cubicBezTo>
                  <a:pt x="2078" y="544"/>
                  <a:pt x="2073" y="546"/>
                  <a:pt x="2069" y="542"/>
                </a:cubicBezTo>
                <a:cubicBezTo>
                  <a:pt x="2068" y="541"/>
                  <a:pt x="2067" y="540"/>
                  <a:pt x="2066" y="539"/>
                </a:cubicBezTo>
                <a:cubicBezTo>
                  <a:pt x="2066" y="540"/>
                  <a:pt x="2066" y="540"/>
                  <a:pt x="2065" y="540"/>
                </a:cubicBezTo>
                <a:close/>
                <a:moveTo>
                  <a:pt x="2060" y="535"/>
                </a:moveTo>
                <a:cubicBezTo>
                  <a:pt x="2063" y="537"/>
                  <a:pt x="2067" y="538"/>
                  <a:pt x="2070" y="541"/>
                </a:cubicBezTo>
                <a:cubicBezTo>
                  <a:pt x="2071" y="542"/>
                  <a:pt x="2073" y="543"/>
                  <a:pt x="2075" y="542"/>
                </a:cubicBezTo>
                <a:cubicBezTo>
                  <a:pt x="2078" y="542"/>
                  <a:pt x="2079" y="540"/>
                  <a:pt x="2079" y="537"/>
                </a:cubicBezTo>
                <a:cubicBezTo>
                  <a:pt x="2079" y="537"/>
                  <a:pt x="2078" y="537"/>
                  <a:pt x="2078" y="537"/>
                </a:cubicBezTo>
                <a:cubicBezTo>
                  <a:pt x="2078" y="539"/>
                  <a:pt x="2077" y="540"/>
                  <a:pt x="2076" y="541"/>
                </a:cubicBezTo>
                <a:cubicBezTo>
                  <a:pt x="2075" y="542"/>
                  <a:pt x="2074" y="542"/>
                  <a:pt x="2073" y="541"/>
                </a:cubicBezTo>
                <a:cubicBezTo>
                  <a:pt x="2072" y="541"/>
                  <a:pt x="2072" y="540"/>
                  <a:pt x="2072" y="539"/>
                </a:cubicBezTo>
                <a:cubicBezTo>
                  <a:pt x="2072" y="537"/>
                  <a:pt x="2072" y="535"/>
                  <a:pt x="2072" y="533"/>
                </a:cubicBezTo>
                <a:cubicBezTo>
                  <a:pt x="2075" y="534"/>
                  <a:pt x="2079" y="535"/>
                  <a:pt x="2082" y="535"/>
                </a:cubicBezTo>
                <a:cubicBezTo>
                  <a:pt x="2090" y="537"/>
                  <a:pt x="2095" y="535"/>
                  <a:pt x="2099" y="526"/>
                </a:cubicBezTo>
                <a:cubicBezTo>
                  <a:pt x="2100" y="521"/>
                  <a:pt x="2100" y="517"/>
                  <a:pt x="2099" y="512"/>
                </a:cubicBezTo>
                <a:cubicBezTo>
                  <a:pt x="2099" y="510"/>
                  <a:pt x="2098" y="508"/>
                  <a:pt x="2097" y="506"/>
                </a:cubicBezTo>
                <a:cubicBezTo>
                  <a:pt x="2096" y="504"/>
                  <a:pt x="2095" y="504"/>
                  <a:pt x="2094" y="506"/>
                </a:cubicBezTo>
                <a:cubicBezTo>
                  <a:pt x="2092" y="507"/>
                  <a:pt x="2091" y="509"/>
                  <a:pt x="2089" y="510"/>
                </a:cubicBezTo>
                <a:cubicBezTo>
                  <a:pt x="2088" y="510"/>
                  <a:pt x="2087" y="511"/>
                  <a:pt x="2088" y="512"/>
                </a:cubicBezTo>
                <a:cubicBezTo>
                  <a:pt x="2088" y="515"/>
                  <a:pt x="2088" y="518"/>
                  <a:pt x="2086" y="521"/>
                </a:cubicBezTo>
                <a:cubicBezTo>
                  <a:pt x="2086" y="519"/>
                  <a:pt x="2087" y="518"/>
                  <a:pt x="2087" y="516"/>
                </a:cubicBezTo>
                <a:cubicBezTo>
                  <a:pt x="2087" y="515"/>
                  <a:pt x="2086" y="515"/>
                  <a:pt x="2086" y="514"/>
                </a:cubicBezTo>
                <a:cubicBezTo>
                  <a:pt x="2086" y="515"/>
                  <a:pt x="2085" y="515"/>
                  <a:pt x="2085" y="515"/>
                </a:cubicBezTo>
                <a:cubicBezTo>
                  <a:pt x="2084" y="516"/>
                  <a:pt x="2083" y="518"/>
                  <a:pt x="2083" y="519"/>
                </a:cubicBezTo>
                <a:cubicBezTo>
                  <a:pt x="2082" y="519"/>
                  <a:pt x="2082" y="519"/>
                  <a:pt x="2082" y="519"/>
                </a:cubicBezTo>
                <a:cubicBezTo>
                  <a:pt x="2083" y="518"/>
                  <a:pt x="2083" y="516"/>
                  <a:pt x="2083" y="514"/>
                </a:cubicBezTo>
                <a:cubicBezTo>
                  <a:pt x="2082" y="514"/>
                  <a:pt x="2082" y="515"/>
                  <a:pt x="2081" y="516"/>
                </a:cubicBezTo>
                <a:cubicBezTo>
                  <a:pt x="2081" y="516"/>
                  <a:pt x="2080" y="517"/>
                  <a:pt x="2080" y="518"/>
                </a:cubicBezTo>
                <a:cubicBezTo>
                  <a:pt x="2080" y="514"/>
                  <a:pt x="2081" y="514"/>
                  <a:pt x="2086" y="513"/>
                </a:cubicBezTo>
                <a:cubicBezTo>
                  <a:pt x="2086" y="512"/>
                  <a:pt x="2085" y="512"/>
                  <a:pt x="2085" y="512"/>
                </a:cubicBezTo>
                <a:cubicBezTo>
                  <a:pt x="2083" y="512"/>
                  <a:pt x="2082" y="511"/>
                  <a:pt x="2081" y="508"/>
                </a:cubicBezTo>
                <a:cubicBezTo>
                  <a:pt x="2083" y="508"/>
                  <a:pt x="2085" y="508"/>
                  <a:pt x="2086" y="507"/>
                </a:cubicBezTo>
                <a:cubicBezTo>
                  <a:pt x="2085" y="505"/>
                  <a:pt x="2083" y="502"/>
                  <a:pt x="2080" y="502"/>
                </a:cubicBezTo>
                <a:cubicBezTo>
                  <a:pt x="2079" y="502"/>
                  <a:pt x="2079" y="501"/>
                  <a:pt x="2079" y="501"/>
                </a:cubicBezTo>
                <a:cubicBezTo>
                  <a:pt x="2077" y="499"/>
                  <a:pt x="2074" y="497"/>
                  <a:pt x="2072" y="495"/>
                </a:cubicBezTo>
                <a:cubicBezTo>
                  <a:pt x="2069" y="493"/>
                  <a:pt x="2066" y="493"/>
                  <a:pt x="2064" y="493"/>
                </a:cubicBezTo>
                <a:cubicBezTo>
                  <a:pt x="2061" y="493"/>
                  <a:pt x="2058" y="494"/>
                  <a:pt x="2055" y="495"/>
                </a:cubicBezTo>
                <a:cubicBezTo>
                  <a:pt x="2052" y="496"/>
                  <a:pt x="2049" y="498"/>
                  <a:pt x="2048" y="501"/>
                </a:cubicBezTo>
                <a:cubicBezTo>
                  <a:pt x="2049" y="501"/>
                  <a:pt x="2050" y="501"/>
                  <a:pt x="2052" y="501"/>
                </a:cubicBezTo>
                <a:cubicBezTo>
                  <a:pt x="2051" y="501"/>
                  <a:pt x="2050" y="502"/>
                  <a:pt x="2050" y="502"/>
                </a:cubicBezTo>
                <a:cubicBezTo>
                  <a:pt x="2047" y="502"/>
                  <a:pt x="2045" y="502"/>
                  <a:pt x="2043" y="504"/>
                </a:cubicBezTo>
                <a:cubicBezTo>
                  <a:pt x="2039" y="508"/>
                  <a:pt x="2035" y="512"/>
                  <a:pt x="2032" y="516"/>
                </a:cubicBezTo>
                <a:cubicBezTo>
                  <a:pt x="2030" y="518"/>
                  <a:pt x="2029" y="520"/>
                  <a:pt x="2028" y="523"/>
                </a:cubicBezTo>
                <a:cubicBezTo>
                  <a:pt x="2028" y="523"/>
                  <a:pt x="2028" y="524"/>
                  <a:pt x="2028" y="524"/>
                </a:cubicBezTo>
                <a:cubicBezTo>
                  <a:pt x="2030" y="526"/>
                  <a:pt x="2031" y="528"/>
                  <a:pt x="2032" y="530"/>
                </a:cubicBezTo>
                <a:cubicBezTo>
                  <a:pt x="2034" y="529"/>
                  <a:pt x="2035" y="527"/>
                  <a:pt x="2036" y="526"/>
                </a:cubicBezTo>
                <a:cubicBezTo>
                  <a:pt x="2035" y="527"/>
                  <a:pt x="2035" y="528"/>
                  <a:pt x="2034" y="530"/>
                </a:cubicBezTo>
                <a:cubicBezTo>
                  <a:pt x="2034" y="531"/>
                  <a:pt x="2033" y="532"/>
                  <a:pt x="2032" y="534"/>
                </a:cubicBezTo>
                <a:cubicBezTo>
                  <a:pt x="2032" y="535"/>
                  <a:pt x="2032" y="536"/>
                  <a:pt x="2033" y="537"/>
                </a:cubicBezTo>
                <a:cubicBezTo>
                  <a:pt x="2035" y="540"/>
                  <a:pt x="2038" y="540"/>
                  <a:pt x="2042" y="538"/>
                </a:cubicBezTo>
                <a:cubicBezTo>
                  <a:pt x="2045" y="537"/>
                  <a:pt x="2047" y="535"/>
                  <a:pt x="2050" y="535"/>
                </a:cubicBezTo>
                <a:cubicBezTo>
                  <a:pt x="2052" y="534"/>
                  <a:pt x="2053" y="533"/>
                  <a:pt x="2053" y="532"/>
                </a:cubicBezTo>
                <a:cubicBezTo>
                  <a:pt x="2053" y="529"/>
                  <a:pt x="2053" y="525"/>
                  <a:pt x="2053" y="522"/>
                </a:cubicBezTo>
                <a:cubicBezTo>
                  <a:pt x="2053" y="519"/>
                  <a:pt x="2053" y="516"/>
                  <a:pt x="2053" y="513"/>
                </a:cubicBezTo>
                <a:cubicBezTo>
                  <a:pt x="2054" y="516"/>
                  <a:pt x="2054" y="518"/>
                  <a:pt x="2054" y="521"/>
                </a:cubicBezTo>
                <a:cubicBezTo>
                  <a:pt x="2055" y="525"/>
                  <a:pt x="2055" y="530"/>
                  <a:pt x="2054" y="534"/>
                </a:cubicBezTo>
                <a:cubicBezTo>
                  <a:pt x="2054" y="535"/>
                  <a:pt x="2053" y="536"/>
                  <a:pt x="2052" y="536"/>
                </a:cubicBezTo>
                <a:cubicBezTo>
                  <a:pt x="2049" y="536"/>
                  <a:pt x="2046" y="538"/>
                  <a:pt x="2043" y="540"/>
                </a:cubicBezTo>
                <a:cubicBezTo>
                  <a:pt x="2037" y="543"/>
                  <a:pt x="2034" y="541"/>
                  <a:pt x="2030" y="537"/>
                </a:cubicBezTo>
                <a:cubicBezTo>
                  <a:pt x="2030" y="537"/>
                  <a:pt x="2030" y="535"/>
                  <a:pt x="2030" y="535"/>
                </a:cubicBezTo>
                <a:cubicBezTo>
                  <a:pt x="2032" y="533"/>
                  <a:pt x="2030" y="531"/>
                  <a:pt x="2029" y="529"/>
                </a:cubicBezTo>
                <a:cubicBezTo>
                  <a:pt x="2027" y="527"/>
                  <a:pt x="2026" y="524"/>
                  <a:pt x="2027" y="521"/>
                </a:cubicBezTo>
                <a:cubicBezTo>
                  <a:pt x="2027" y="519"/>
                  <a:pt x="2028" y="518"/>
                  <a:pt x="2030" y="516"/>
                </a:cubicBezTo>
                <a:cubicBezTo>
                  <a:pt x="2031" y="514"/>
                  <a:pt x="2034" y="511"/>
                  <a:pt x="2035" y="508"/>
                </a:cubicBezTo>
                <a:cubicBezTo>
                  <a:pt x="2035" y="508"/>
                  <a:pt x="2034" y="508"/>
                  <a:pt x="2034" y="508"/>
                </a:cubicBezTo>
                <a:cubicBezTo>
                  <a:pt x="2029" y="510"/>
                  <a:pt x="2025" y="511"/>
                  <a:pt x="2021" y="514"/>
                </a:cubicBezTo>
                <a:cubicBezTo>
                  <a:pt x="2016" y="519"/>
                  <a:pt x="2014" y="524"/>
                  <a:pt x="2013" y="531"/>
                </a:cubicBezTo>
                <a:cubicBezTo>
                  <a:pt x="2013" y="537"/>
                  <a:pt x="2015" y="543"/>
                  <a:pt x="2019" y="549"/>
                </a:cubicBezTo>
                <a:cubicBezTo>
                  <a:pt x="2019" y="550"/>
                  <a:pt x="2020" y="552"/>
                  <a:pt x="2019" y="553"/>
                </a:cubicBezTo>
                <a:cubicBezTo>
                  <a:pt x="2019" y="554"/>
                  <a:pt x="2019" y="556"/>
                  <a:pt x="2018" y="557"/>
                </a:cubicBezTo>
                <a:cubicBezTo>
                  <a:pt x="2018" y="559"/>
                  <a:pt x="2018" y="560"/>
                  <a:pt x="2019" y="560"/>
                </a:cubicBezTo>
                <a:cubicBezTo>
                  <a:pt x="2023" y="561"/>
                  <a:pt x="2025" y="561"/>
                  <a:pt x="2028" y="562"/>
                </a:cubicBezTo>
                <a:cubicBezTo>
                  <a:pt x="2029" y="562"/>
                  <a:pt x="2030" y="561"/>
                  <a:pt x="2030" y="561"/>
                </a:cubicBezTo>
                <a:cubicBezTo>
                  <a:pt x="2030" y="559"/>
                  <a:pt x="2030" y="558"/>
                  <a:pt x="2031" y="557"/>
                </a:cubicBezTo>
                <a:cubicBezTo>
                  <a:pt x="2033" y="555"/>
                  <a:pt x="2033" y="552"/>
                  <a:pt x="2033" y="549"/>
                </a:cubicBezTo>
                <a:cubicBezTo>
                  <a:pt x="2033" y="549"/>
                  <a:pt x="2033" y="548"/>
                  <a:pt x="2033" y="548"/>
                </a:cubicBezTo>
                <a:cubicBezTo>
                  <a:pt x="2033" y="548"/>
                  <a:pt x="2033" y="548"/>
                  <a:pt x="2033" y="547"/>
                </a:cubicBezTo>
                <a:cubicBezTo>
                  <a:pt x="2033" y="550"/>
                  <a:pt x="2035" y="550"/>
                  <a:pt x="2037" y="550"/>
                </a:cubicBezTo>
                <a:cubicBezTo>
                  <a:pt x="2037" y="550"/>
                  <a:pt x="2039" y="550"/>
                  <a:pt x="2039" y="550"/>
                </a:cubicBezTo>
                <a:cubicBezTo>
                  <a:pt x="2042" y="550"/>
                  <a:pt x="2045" y="551"/>
                  <a:pt x="2046" y="546"/>
                </a:cubicBezTo>
                <a:cubicBezTo>
                  <a:pt x="2046" y="549"/>
                  <a:pt x="2046" y="550"/>
                  <a:pt x="2046" y="551"/>
                </a:cubicBezTo>
                <a:cubicBezTo>
                  <a:pt x="2044" y="552"/>
                  <a:pt x="2043" y="553"/>
                  <a:pt x="2042" y="553"/>
                </a:cubicBezTo>
                <a:cubicBezTo>
                  <a:pt x="2040" y="554"/>
                  <a:pt x="2040" y="556"/>
                  <a:pt x="2041" y="556"/>
                </a:cubicBezTo>
                <a:cubicBezTo>
                  <a:pt x="2042" y="559"/>
                  <a:pt x="2043" y="561"/>
                  <a:pt x="2045" y="563"/>
                </a:cubicBezTo>
                <a:cubicBezTo>
                  <a:pt x="2046" y="564"/>
                  <a:pt x="2048" y="563"/>
                  <a:pt x="2050" y="562"/>
                </a:cubicBezTo>
                <a:cubicBezTo>
                  <a:pt x="2050" y="561"/>
                  <a:pt x="2051" y="560"/>
                  <a:pt x="2052" y="560"/>
                </a:cubicBezTo>
                <a:cubicBezTo>
                  <a:pt x="2053" y="558"/>
                  <a:pt x="2055" y="557"/>
                  <a:pt x="2056" y="556"/>
                </a:cubicBezTo>
                <a:cubicBezTo>
                  <a:pt x="2061" y="552"/>
                  <a:pt x="2063" y="546"/>
                  <a:pt x="2064" y="540"/>
                </a:cubicBezTo>
                <a:cubicBezTo>
                  <a:pt x="2064" y="539"/>
                  <a:pt x="2063" y="538"/>
                  <a:pt x="2063" y="538"/>
                </a:cubicBezTo>
                <a:cubicBezTo>
                  <a:pt x="2062" y="537"/>
                  <a:pt x="2061" y="536"/>
                  <a:pt x="2060" y="535"/>
                </a:cubicBezTo>
                <a:close/>
                <a:moveTo>
                  <a:pt x="2013" y="542"/>
                </a:moveTo>
                <a:cubicBezTo>
                  <a:pt x="2012" y="542"/>
                  <a:pt x="2010" y="543"/>
                  <a:pt x="2009" y="544"/>
                </a:cubicBezTo>
                <a:cubicBezTo>
                  <a:pt x="2009" y="545"/>
                  <a:pt x="2008" y="546"/>
                  <a:pt x="2008" y="546"/>
                </a:cubicBezTo>
                <a:cubicBezTo>
                  <a:pt x="2008" y="549"/>
                  <a:pt x="2013" y="554"/>
                  <a:pt x="2016" y="553"/>
                </a:cubicBezTo>
                <a:cubicBezTo>
                  <a:pt x="2017" y="553"/>
                  <a:pt x="2018" y="552"/>
                  <a:pt x="2017" y="550"/>
                </a:cubicBezTo>
                <a:cubicBezTo>
                  <a:pt x="2016" y="547"/>
                  <a:pt x="2014" y="544"/>
                  <a:pt x="2013" y="542"/>
                </a:cubicBezTo>
                <a:close/>
                <a:moveTo>
                  <a:pt x="2065" y="544"/>
                </a:moveTo>
                <a:cubicBezTo>
                  <a:pt x="2063" y="548"/>
                  <a:pt x="2061" y="553"/>
                  <a:pt x="2058" y="557"/>
                </a:cubicBezTo>
                <a:cubicBezTo>
                  <a:pt x="2061" y="557"/>
                  <a:pt x="2063" y="557"/>
                  <a:pt x="2066" y="557"/>
                </a:cubicBezTo>
                <a:cubicBezTo>
                  <a:pt x="2066" y="557"/>
                  <a:pt x="2067" y="556"/>
                  <a:pt x="2067" y="556"/>
                </a:cubicBezTo>
                <a:cubicBezTo>
                  <a:pt x="2067" y="553"/>
                  <a:pt x="2067" y="550"/>
                  <a:pt x="2066" y="548"/>
                </a:cubicBezTo>
                <a:cubicBezTo>
                  <a:pt x="2066" y="546"/>
                  <a:pt x="2066" y="545"/>
                  <a:pt x="2065" y="544"/>
                </a:cubicBezTo>
                <a:close/>
                <a:moveTo>
                  <a:pt x="2013" y="523"/>
                </a:moveTo>
                <a:cubicBezTo>
                  <a:pt x="2012" y="524"/>
                  <a:pt x="2011" y="524"/>
                  <a:pt x="2011" y="524"/>
                </a:cubicBezTo>
                <a:cubicBezTo>
                  <a:pt x="2010" y="524"/>
                  <a:pt x="2009" y="524"/>
                  <a:pt x="2009" y="524"/>
                </a:cubicBezTo>
                <a:cubicBezTo>
                  <a:pt x="2009" y="523"/>
                  <a:pt x="2008" y="523"/>
                  <a:pt x="2008" y="522"/>
                </a:cubicBezTo>
                <a:cubicBezTo>
                  <a:pt x="2009" y="520"/>
                  <a:pt x="2010" y="518"/>
                  <a:pt x="2010" y="516"/>
                </a:cubicBezTo>
                <a:cubicBezTo>
                  <a:pt x="2010" y="516"/>
                  <a:pt x="2010" y="516"/>
                  <a:pt x="2010" y="516"/>
                </a:cubicBezTo>
                <a:cubicBezTo>
                  <a:pt x="2009" y="517"/>
                  <a:pt x="2008" y="518"/>
                  <a:pt x="2007" y="519"/>
                </a:cubicBezTo>
                <a:cubicBezTo>
                  <a:pt x="2006" y="520"/>
                  <a:pt x="2008" y="525"/>
                  <a:pt x="2009" y="526"/>
                </a:cubicBezTo>
                <a:cubicBezTo>
                  <a:pt x="2011" y="527"/>
                  <a:pt x="2013" y="525"/>
                  <a:pt x="2013" y="523"/>
                </a:cubicBezTo>
                <a:close/>
                <a:moveTo>
                  <a:pt x="2013" y="542"/>
                </a:moveTo>
                <a:cubicBezTo>
                  <a:pt x="2012" y="543"/>
                  <a:pt x="2010" y="543"/>
                  <a:pt x="2009" y="544"/>
                </a:cubicBezTo>
                <a:cubicBezTo>
                  <a:pt x="2009" y="545"/>
                  <a:pt x="2008" y="546"/>
                  <a:pt x="2008" y="546"/>
                </a:cubicBezTo>
                <a:cubicBezTo>
                  <a:pt x="2008" y="549"/>
                  <a:pt x="2013" y="553"/>
                  <a:pt x="2016" y="553"/>
                </a:cubicBezTo>
                <a:cubicBezTo>
                  <a:pt x="2017" y="553"/>
                  <a:pt x="2018" y="552"/>
                  <a:pt x="2017" y="550"/>
                </a:cubicBezTo>
                <a:cubicBezTo>
                  <a:pt x="2016" y="547"/>
                  <a:pt x="2014" y="544"/>
                  <a:pt x="2013" y="542"/>
                </a:cubicBezTo>
                <a:close/>
                <a:moveTo>
                  <a:pt x="2065" y="544"/>
                </a:moveTo>
                <a:cubicBezTo>
                  <a:pt x="2063" y="548"/>
                  <a:pt x="2060" y="553"/>
                  <a:pt x="2058" y="557"/>
                </a:cubicBezTo>
                <a:cubicBezTo>
                  <a:pt x="2061" y="557"/>
                  <a:pt x="2063" y="558"/>
                  <a:pt x="2066" y="557"/>
                </a:cubicBezTo>
                <a:cubicBezTo>
                  <a:pt x="2066" y="557"/>
                  <a:pt x="2067" y="556"/>
                  <a:pt x="2067" y="556"/>
                </a:cubicBezTo>
                <a:cubicBezTo>
                  <a:pt x="2067" y="553"/>
                  <a:pt x="2067" y="550"/>
                  <a:pt x="2066" y="548"/>
                </a:cubicBezTo>
                <a:cubicBezTo>
                  <a:pt x="2066" y="547"/>
                  <a:pt x="2066" y="545"/>
                  <a:pt x="2065" y="544"/>
                </a:cubicBezTo>
                <a:close/>
                <a:moveTo>
                  <a:pt x="2012" y="523"/>
                </a:moveTo>
                <a:cubicBezTo>
                  <a:pt x="2012" y="524"/>
                  <a:pt x="2011" y="524"/>
                  <a:pt x="2011" y="524"/>
                </a:cubicBezTo>
                <a:cubicBezTo>
                  <a:pt x="2010" y="524"/>
                  <a:pt x="2009" y="524"/>
                  <a:pt x="2009" y="524"/>
                </a:cubicBezTo>
                <a:cubicBezTo>
                  <a:pt x="2009" y="523"/>
                  <a:pt x="2008" y="523"/>
                  <a:pt x="2008" y="522"/>
                </a:cubicBezTo>
                <a:cubicBezTo>
                  <a:pt x="2009" y="520"/>
                  <a:pt x="2009" y="518"/>
                  <a:pt x="2010" y="516"/>
                </a:cubicBezTo>
                <a:cubicBezTo>
                  <a:pt x="2010" y="516"/>
                  <a:pt x="2010" y="516"/>
                  <a:pt x="2009" y="516"/>
                </a:cubicBezTo>
                <a:cubicBezTo>
                  <a:pt x="2009" y="517"/>
                  <a:pt x="2007" y="517"/>
                  <a:pt x="2007" y="519"/>
                </a:cubicBezTo>
                <a:cubicBezTo>
                  <a:pt x="2006" y="520"/>
                  <a:pt x="2007" y="525"/>
                  <a:pt x="2009" y="526"/>
                </a:cubicBezTo>
                <a:cubicBezTo>
                  <a:pt x="2011" y="526"/>
                  <a:pt x="2012" y="525"/>
                  <a:pt x="2012" y="523"/>
                </a:cubicBezTo>
                <a:close/>
                <a:moveTo>
                  <a:pt x="2065" y="515"/>
                </a:moveTo>
                <a:cubicBezTo>
                  <a:pt x="2068" y="512"/>
                  <a:pt x="2068" y="512"/>
                  <a:pt x="2072" y="511"/>
                </a:cubicBezTo>
                <a:cubicBezTo>
                  <a:pt x="2072" y="512"/>
                  <a:pt x="2073" y="514"/>
                  <a:pt x="2074" y="514"/>
                </a:cubicBezTo>
                <a:cubicBezTo>
                  <a:pt x="2072" y="515"/>
                  <a:pt x="2070" y="516"/>
                  <a:pt x="2068" y="517"/>
                </a:cubicBezTo>
                <a:cubicBezTo>
                  <a:pt x="2068" y="517"/>
                  <a:pt x="2067" y="516"/>
                  <a:pt x="2066" y="515"/>
                </a:cubicBezTo>
                <a:cubicBezTo>
                  <a:pt x="2066" y="515"/>
                  <a:pt x="2066" y="515"/>
                  <a:pt x="2065" y="515"/>
                </a:cubicBezTo>
                <a:close/>
                <a:moveTo>
                  <a:pt x="2071" y="515"/>
                </a:moveTo>
                <a:cubicBezTo>
                  <a:pt x="2070" y="514"/>
                  <a:pt x="2069" y="514"/>
                  <a:pt x="2069" y="514"/>
                </a:cubicBezTo>
                <a:cubicBezTo>
                  <a:pt x="2068" y="514"/>
                  <a:pt x="2068" y="515"/>
                  <a:pt x="2068" y="515"/>
                </a:cubicBezTo>
                <a:cubicBezTo>
                  <a:pt x="2068" y="515"/>
                  <a:pt x="2068" y="516"/>
                  <a:pt x="2068" y="516"/>
                </a:cubicBezTo>
                <a:cubicBezTo>
                  <a:pt x="2069" y="516"/>
                  <a:pt x="2069" y="515"/>
                  <a:pt x="2071" y="515"/>
                </a:cubicBezTo>
                <a:close/>
                <a:moveTo>
                  <a:pt x="2052" y="505"/>
                </a:moveTo>
                <a:cubicBezTo>
                  <a:pt x="2045" y="504"/>
                  <a:pt x="2042" y="507"/>
                  <a:pt x="2041" y="515"/>
                </a:cubicBezTo>
                <a:cubicBezTo>
                  <a:pt x="2042" y="513"/>
                  <a:pt x="2044" y="510"/>
                  <a:pt x="2045" y="508"/>
                </a:cubicBezTo>
                <a:cubicBezTo>
                  <a:pt x="2045" y="508"/>
                  <a:pt x="2045" y="508"/>
                  <a:pt x="2045" y="508"/>
                </a:cubicBezTo>
                <a:cubicBezTo>
                  <a:pt x="2045" y="509"/>
                  <a:pt x="2046" y="510"/>
                  <a:pt x="2046" y="511"/>
                </a:cubicBezTo>
                <a:cubicBezTo>
                  <a:pt x="2047" y="508"/>
                  <a:pt x="2048" y="506"/>
                  <a:pt x="2052" y="505"/>
                </a:cubicBezTo>
                <a:close/>
                <a:moveTo>
                  <a:pt x="2096" y="507"/>
                </a:moveTo>
                <a:cubicBezTo>
                  <a:pt x="2094" y="508"/>
                  <a:pt x="2092" y="510"/>
                  <a:pt x="2090" y="511"/>
                </a:cubicBezTo>
                <a:cubicBezTo>
                  <a:pt x="2092" y="511"/>
                  <a:pt x="2094" y="510"/>
                  <a:pt x="2096" y="507"/>
                </a:cubicBezTo>
                <a:close/>
                <a:moveTo>
                  <a:pt x="2062" y="509"/>
                </a:moveTo>
                <a:cubicBezTo>
                  <a:pt x="2063" y="508"/>
                  <a:pt x="2064" y="506"/>
                  <a:pt x="2066" y="505"/>
                </a:cubicBezTo>
                <a:cubicBezTo>
                  <a:pt x="2062" y="506"/>
                  <a:pt x="2061" y="507"/>
                  <a:pt x="2062" y="509"/>
                </a:cubicBezTo>
                <a:close/>
                <a:moveTo>
                  <a:pt x="2072" y="530"/>
                </a:moveTo>
                <a:cubicBezTo>
                  <a:pt x="2070" y="531"/>
                  <a:pt x="2070" y="531"/>
                  <a:pt x="2070" y="532"/>
                </a:cubicBezTo>
                <a:cubicBezTo>
                  <a:pt x="2070" y="532"/>
                  <a:pt x="2071" y="531"/>
                  <a:pt x="2072" y="530"/>
                </a:cubicBezTo>
                <a:close/>
                <a:moveTo>
                  <a:pt x="2071" y="515"/>
                </a:moveTo>
                <a:cubicBezTo>
                  <a:pt x="2070" y="514"/>
                  <a:pt x="2069" y="514"/>
                  <a:pt x="2069" y="514"/>
                </a:cubicBezTo>
                <a:cubicBezTo>
                  <a:pt x="2068" y="514"/>
                  <a:pt x="2068" y="515"/>
                  <a:pt x="2068" y="515"/>
                </a:cubicBezTo>
                <a:cubicBezTo>
                  <a:pt x="2068" y="516"/>
                  <a:pt x="2068" y="516"/>
                  <a:pt x="2068" y="516"/>
                </a:cubicBezTo>
                <a:cubicBezTo>
                  <a:pt x="2069" y="516"/>
                  <a:pt x="2069" y="516"/>
                  <a:pt x="2071" y="515"/>
                </a:cubicBezTo>
                <a:close/>
                <a:moveTo>
                  <a:pt x="3705" y="671"/>
                </a:moveTo>
                <a:cubicBezTo>
                  <a:pt x="3708" y="652"/>
                  <a:pt x="3708" y="652"/>
                  <a:pt x="3708" y="652"/>
                </a:cubicBezTo>
                <a:cubicBezTo>
                  <a:pt x="3699" y="652"/>
                  <a:pt x="3699" y="652"/>
                  <a:pt x="3699" y="652"/>
                </a:cubicBezTo>
                <a:cubicBezTo>
                  <a:pt x="3699" y="640"/>
                  <a:pt x="3699" y="640"/>
                  <a:pt x="3699" y="640"/>
                </a:cubicBezTo>
                <a:cubicBezTo>
                  <a:pt x="3710" y="640"/>
                  <a:pt x="3710" y="640"/>
                  <a:pt x="3710" y="640"/>
                </a:cubicBezTo>
                <a:cubicBezTo>
                  <a:pt x="3712" y="629"/>
                  <a:pt x="3712" y="629"/>
                  <a:pt x="3712" y="629"/>
                </a:cubicBezTo>
                <a:cubicBezTo>
                  <a:pt x="3702" y="629"/>
                  <a:pt x="3702" y="629"/>
                  <a:pt x="3702" y="629"/>
                </a:cubicBezTo>
                <a:cubicBezTo>
                  <a:pt x="3702" y="617"/>
                  <a:pt x="3702" y="617"/>
                  <a:pt x="3702" y="617"/>
                </a:cubicBezTo>
                <a:cubicBezTo>
                  <a:pt x="3713" y="617"/>
                  <a:pt x="3713" y="617"/>
                  <a:pt x="3713" y="617"/>
                </a:cubicBezTo>
                <a:cubicBezTo>
                  <a:pt x="3716" y="598"/>
                  <a:pt x="3716" y="598"/>
                  <a:pt x="3716" y="598"/>
                </a:cubicBezTo>
                <a:cubicBezTo>
                  <a:pt x="3728" y="598"/>
                  <a:pt x="3728" y="598"/>
                  <a:pt x="3728" y="598"/>
                </a:cubicBezTo>
                <a:cubicBezTo>
                  <a:pt x="3725" y="617"/>
                  <a:pt x="3725" y="617"/>
                  <a:pt x="3725" y="617"/>
                </a:cubicBezTo>
                <a:cubicBezTo>
                  <a:pt x="3734" y="617"/>
                  <a:pt x="3734" y="617"/>
                  <a:pt x="3734" y="617"/>
                </a:cubicBezTo>
                <a:cubicBezTo>
                  <a:pt x="3737" y="598"/>
                  <a:pt x="3737" y="598"/>
                  <a:pt x="3737" y="598"/>
                </a:cubicBezTo>
                <a:cubicBezTo>
                  <a:pt x="3749" y="598"/>
                  <a:pt x="3749" y="598"/>
                  <a:pt x="3749" y="598"/>
                </a:cubicBezTo>
                <a:cubicBezTo>
                  <a:pt x="3745" y="617"/>
                  <a:pt x="3745" y="617"/>
                  <a:pt x="3745" y="617"/>
                </a:cubicBezTo>
                <a:cubicBezTo>
                  <a:pt x="3754" y="617"/>
                  <a:pt x="3754" y="617"/>
                  <a:pt x="3754" y="617"/>
                </a:cubicBezTo>
                <a:cubicBezTo>
                  <a:pt x="3754" y="629"/>
                  <a:pt x="3754" y="629"/>
                  <a:pt x="3754" y="629"/>
                </a:cubicBezTo>
                <a:cubicBezTo>
                  <a:pt x="3744" y="629"/>
                  <a:pt x="3744" y="629"/>
                  <a:pt x="3744" y="629"/>
                </a:cubicBezTo>
                <a:cubicBezTo>
                  <a:pt x="3742" y="640"/>
                  <a:pt x="3742" y="640"/>
                  <a:pt x="3742" y="640"/>
                </a:cubicBezTo>
                <a:cubicBezTo>
                  <a:pt x="3751" y="640"/>
                  <a:pt x="3751" y="640"/>
                  <a:pt x="3751" y="640"/>
                </a:cubicBezTo>
                <a:cubicBezTo>
                  <a:pt x="3751" y="652"/>
                  <a:pt x="3751" y="652"/>
                  <a:pt x="3751" y="652"/>
                </a:cubicBezTo>
                <a:cubicBezTo>
                  <a:pt x="3740" y="652"/>
                  <a:pt x="3740" y="652"/>
                  <a:pt x="3740" y="652"/>
                </a:cubicBezTo>
                <a:cubicBezTo>
                  <a:pt x="3738" y="671"/>
                  <a:pt x="3738" y="671"/>
                  <a:pt x="3738" y="671"/>
                </a:cubicBezTo>
                <a:cubicBezTo>
                  <a:pt x="3726" y="671"/>
                  <a:pt x="3726" y="671"/>
                  <a:pt x="3726" y="671"/>
                </a:cubicBezTo>
                <a:cubicBezTo>
                  <a:pt x="3729" y="652"/>
                  <a:pt x="3729" y="652"/>
                  <a:pt x="3729" y="652"/>
                </a:cubicBezTo>
                <a:cubicBezTo>
                  <a:pt x="3719" y="652"/>
                  <a:pt x="3719" y="652"/>
                  <a:pt x="3719" y="652"/>
                </a:cubicBezTo>
                <a:cubicBezTo>
                  <a:pt x="3716" y="671"/>
                  <a:pt x="3716" y="671"/>
                  <a:pt x="3716" y="671"/>
                </a:cubicBezTo>
                <a:cubicBezTo>
                  <a:pt x="3705" y="671"/>
                  <a:pt x="3705" y="671"/>
                  <a:pt x="3705" y="671"/>
                </a:cubicBezTo>
                <a:cubicBezTo>
                  <a:pt x="3705" y="671"/>
                  <a:pt x="3705" y="671"/>
                  <a:pt x="3705" y="671"/>
                </a:cubicBezTo>
                <a:close/>
                <a:moveTo>
                  <a:pt x="3731" y="640"/>
                </a:moveTo>
                <a:cubicBezTo>
                  <a:pt x="3732" y="629"/>
                  <a:pt x="3732" y="629"/>
                  <a:pt x="3732" y="629"/>
                </a:cubicBezTo>
                <a:cubicBezTo>
                  <a:pt x="3723" y="629"/>
                  <a:pt x="3723" y="629"/>
                  <a:pt x="3723" y="629"/>
                </a:cubicBezTo>
                <a:cubicBezTo>
                  <a:pt x="3721" y="640"/>
                  <a:pt x="3721" y="640"/>
                  <a:pt x="3721" y="640"/>
                </a:cubicBezTo>
                <a:cubicBezTo>
                  <a:pt x="3731" y="640"/>
                  <a:pt x="3731" y="640"/>
                  <a:pt x="3731" y="640"/>
                </a:cubicBezTo>
                <a:cubicBezTo>
                  <a:pt x="3731" y="640"/>
                  <a:pt x="3731" y="640"/>
                  <a:pt x="3731" y="640"/>
                </a:cubicBezTo>
                <a:close/>
                <a:moveTo>
                  <a:pt x="2590" y="645"/>
                </a:moveTo>
                <a:cubicBezTo>
                  <a:pt x="2590" y="646"/>
                  <a:pt x="2591" y="648"/>
                  <a:pt x="2592" y="649"/>
                </a:cubicBezTo>
                <a:cubicBezTo>
                  <a:pt x="2592" y="651"/>
                  <a:pt x="2592" y="653"/>
                  <a:pt x="2593" y="654"/>
                </a:cubicBezTo>
                <a:cubicBezTo>
                  <a:pt x="2593" y="656"/>
                  <a:pt x="2593" y="657"/>
                  <a:pt x="2593" y="659"/>
                </a:cubicBezTo>
                <a:cubicBezTo>
                  <a:pt x="2594" y="662"/>
                  <a:pt x="2593" y="664"/>
                  <a:pt x="2590" y="664"/>
                </a:cubicBezTo>
                <a:cubicBezTo>
                  <a:pt x="2587" y="664"/>
                  <a:pt x="2584" y="663"/>
                  <a:pt x="2581" y="663"/>
                </a:cubicBezTo>
                <a:cubicBezTo>
                  <a:pt x="2581" y="663"/>
                  <a:pt x="2580" y="663"/>
                  <a:pt x="2580" y="664"/>
                </a:cubicBezTo>
                <a:cubicBezTo>
                  <a:pt x="2578" y="665"/>
                  <a:pt x="2577" y="667"/>
                  <a:pt x="2575" y="668"/>
                </a:cubicBezTo>
                <a:cubicBezTo>
                  <a:pt x="2573" y="671"/>
                  <a:pt x="2570" y="671"/>
                  <a:pt x="2568" y="669"/>
                </a:cubicBezTo>
                <a:cubicBezTo>
                  <a:pt x="2566" y="667"/>
                  <a:pt x="2565" y="664"/>
                  <a:pt x="2563" y="661"/>
                </a:cubicBezTo>
                <a:cubicBezTo>
                  <a:pt x="2562" y="660"/>
                  <a:pt x="2563" y="658"/>
                  <a:pt x="2565" y="657"/>
                </a:cubicBezTo>
                <a:cubicBezTo>
                  <a:pt x="2562" y="657"/>
                  <a:pt x="2561" y="657"/>
                  <a:pt x="2559" y="657"/>
                </a:cubicBezTo>
                <a:cubicBezTo>
                  <a:pt x="2559" y="659"/>
                  <a:pt x="2557" y="661"/>
                  <a:pt x="2557" y="663"/>
                </a:cubicBezTo>
                <a:cubicBezTo>
                  <a:pt x="2557" y="663"/>
                  <a:pt x="2556" y="664"/>
                  <a:pt x="2556" y="665"/>
                </a:cubicBezTo>
                <a:cubicBezTo>
                  <a:pt x="2556" y="668"/>
                  <a:pt x="2555" y="669"/>
                  <a:pt x="2552" y="669"/>
                </a:cubicBezTo>
                <a:cubicBezTo>
                  <a:pt x="2549" y="669"/>
                  <a:pt x="2546" y="668"/>
                  <a:pt x="2543" y="667"/>
                </a:cubicBezTo>
                <a:cubicBezTo>
                  <a:pt x="2541" y="666"/>
                  <a:pt x="2541" y="665"/>
                  <a:pt x="2541" y="663"/>
                </a:cubicBezTo>
                <a:cubicBezTo>
                  <a:pt x="2541" y="662"/>
                  <a:pt x="2541" y="661"/>
                  <a:pt x="2542" y="661"/>
                </a:cubicBezTo>
                <a:cubicBezTo>
                  <a:pt x="2539" y="660"/>
                  <a:pt x="2537" y="659"/>
                  <a:pt x="2535" y="657"/>
                </a:cubicBezTo>
                <a:cubicBezTo>
                  <a:pt x="2534" y="657"/>
                  <a:pt x="2533" y="655"/>
                  <a:pt x="2532" y="653"/>
                </a:cubicBezTo>
                <a:cubicBezTo>
                  <a:pt x="2531" y="651"/>
                  <a:pt x="2531" y="650"/>
                  <a:pt x="2533" y="648"/>
                </a:cubicBezTo>
                <a:cubicBezTo>
                  <a:pt x="2536" y="646"/>
                  <a:pt x="2537" y="643"/>
                  <a:pt x="2536" y="639"/>
                </a:cubicBezTo>
                <a:cubicBezTo>
                  <a:pt x="2536" y="637"/>
                  <a:pt x="2536" y="635"/>
                  <a:pt x="2536" y="633"/>
                </a:cubicBezTo>
                <a:cubicBezTo>
                  <a:pt x="2535" y="632"/>
                  <a:pt x="2533" y="632"/>
                  <a:pt x="2532" y="631"/>
                </a:cubicBezTo>
                <a:cubicBezTo>
                  <a:pt x="2531" y="629"/>
                  <a:pt x="2530" y="627"/>
                  <a:pt x="2530" y="625"/>
                </a:cubicBezTo>
                <a:cubicBezTo>
                  <a:pt x="2530" y="622"/>
                  <a:pt x="2533" y="619"/>
                  <a:pt x="2536" y="619"/>
                </a:cubicBezTo>
                <a:cubicBezTo>
                  <a:pt x="2537" y="619"/>
                  <a:pt x="2537" y="620"/>
                  <a:pt x="2537" y="621"/>
                </a:cubicBezTo>
                <a:cubicBezTo>
                  <a:pt x="2537" y="622"/>
                  <a:pt x="2537" y="623"/>
                  <a:pt x="2537" y="624"/>
                </a:cubicBezTo>
                <a:cubicBezTo>
                  <a:pt x="2537" y="624"/>
                  <a:pt x="2536" y="624"/>
                  <a:pt x="2536" y="624"/>
                </a:cubicBezTo>
                <a:cubicBezTo>
                  <a:pt x="2535" y="625"/>
                  <a:pt x="2535" y="626"/>
                  <a:pt x="2534" y="628"/>
                </a:cubicBezTo>
                <a:cubicBezTo>
                  <a:pt x="2535" y="628"/>
                  <a:pt x="2536" y="628"/>
                  <a:pt x="2537" y="627"/>
                </a:cubicBezTo>
                <a:cubicBezTo>
                  <a:pt x="2538" y="626"/>
                  <a:pt x="2539" y="625"/>
                  <a:pt x="2539" y="624"/>
                </a:cubicBezTo>
                <a:cubicBezTo>
                  <a:pt x="2544" y="617"/>
                  <a:pt x="2550" y="614"/>
                  <a:pt x="2557" y="612"/>
                </a:cubicBezTo>
                <a:cubicBezTo>
                  <a:pt x="2561" y="612"/>
                  <a:pt x="2564" y="610"/>
                  <a:pt x="2566" y="608"/>
                </a:cubicBezTo>
                <a:cubicBezTo>
                  <a:pt x="2566" y="607"/>
                  <a:pt x="2567" y="607"/>
                  <a:pt x="2567" y="607"/>
                </a:cubicBezTo>
                <a:cubicBezTo>
                  <a:pt x="2570" y="606"/>
                  <a:pt x="2572" y="604"/>
                  <a:pt x="2573" y="602"/>
                </a:cubicBezTo>
                <a:cubicBezTo>
                  <a:pt x="2581" y="595"/>
                  <a:pt x="2593" y="594"/>
                  <a:pt x="2601" y="601"/>
                </a:cubicBezTo>
                <a:cubicBezTo>
                  <a:pt x="2603" y="603"/>
                  <a:pt x="2606" y="605"/>
                  <a:pt x="2608" y="607"/>
                </a:cubicBezTo>
                <a:cubicBezTo>
                  <a:pt x="2610" y="608"/>
                  <a:pt x="2611" y="610"/>
                  <a:pt x="2612" y="612"/>
                </a:cubicBezTo>
                <a:cubicBezTo>
                  <a:pt x="2613" y="613"/>
                  <a:pt x="2613" y="613"/>
                  <a:pt x="2615" y="612"/>
                </a:cubicBezTo>
                <a:cubicBezTo>
                  <a:pt x="2615" y="612"/>
                  <a:pt x="2616" y="611"/>
                  <a:pt x="2617" y="610"/>
                </a:cubicBezTo>
                <a:cubicBezTo>
                  <a:pt x="2619" y="607"/>
                  <a:pt x="2622" y="607"/>
                  <a:pt x="2623" y="610"/>
                </a:cubicBezTo>
                <a:cubicBezTo>
                  <a:pt x="2624" y="614"/>
                  <a:pt x="2625" y="616"/>
                  <a:pt x="2626" y="619"/>
                </a:cubicBezTo>
                <a:cubicBezTo>
                  <a:pt x="2626" y="624"/>
                  <a:pt x="2626" y="628"/>
                  <a:pt x="2624" y="633"/>
                </a:cubicBezTo>
                <a:cubicBezTo>
                  <a:pt x="2622" y="639"/>
                  <a:pt x="2617" y="642"/>
                  <a:pt x="2611" y="642"/>
                </a:cubicBezTo>
                <a:cubicBezTo>
                  <a:pt x="2610" y="642"/>
                  <a:pt x="2610" y="642"/>
                  <a:pt x="2609" y="642"/>
                </a:cubicBezTo>
                <a:cubicBezTo>
                  <a:pt x="2606" y="642"/>
                  <a:pt x="2605" y="642"/>
                  <a:pt x="2604" y="645"/>
                </a:cubicBezTo>
                <a:cubicBezTo>
                  <a:pt x="2603" y="649"/>
                  <a:pt x="2597" y="651"/>
                  <a:pt x="2594" y="648"/>
                </a:cubicBezTo>
                <a:cubicBezTo>
                  <a:pt x="2593" y="646"/>
                  <a:pt x="2592" y="646"/>
                  <a:pt x="2591" y="644"/>
                </a:cubicBezTo>
                <a:cubicBezTo>
                  <a:pt x="2590" y="645"/>
                  <a:pt x="2590" y="645"/>
                  <a:pt x="2590" y="645"/>
                </a:cubicBezTo>
                <a:close/>
                <a:moveTo>
                  <a:pt x="2584" y="640"/>
                </a:moveTo>
                <a:cubicBezTo>
                  <a:pt x="2588" y="642"/>
                  <a:pt x="2592" y="643"/>
                  <a:pt x="2594" y="646"/>
                </a:cubicBezTo>
                <a:cubicBezTo>
                  <a:pt x="2596" y="648"/>
                  <a:pt x="2598" y="648"/>
                  <a:pt x="2600" y="648"/>
                </a:cubicBezTo>
                <a:cubicBezTo>
                  <a:pt x="2602" y="647"/>
                  <a:pt x="2604" y="645"/>
                  <a:pt x="2604" y="642"/>
                </a:cubicBezTo>
                <a:cubicBezTo>
                  <a:pt x="2604" y="642"/>
                  <a:pt x="2603" y="642"/>
                  <a:pt x="2603" y="642"/>
                </a:cubicBezTo>
                <a:cubicBezTo>
                  <a:pt x="2602" y="644"/>
                  <a:pt x="2601" y="645"/>
                  <a:pt x="2601" y="646"/>
                </a:cubicBezTo>
                <a:cubicBezTo>
                  <a:pt x="2599" y="647"/>
                  <a:pt x="2598" y="647"/>
                  <a:pt x="2597" y="646"/>
                </a:cubicBezTo>
                <a:cubicBezTo>
                  <a:pt x="2597" y="646"/>
                  <a:pt x="2596" y="645"/>
                  <a:pt x="2596" y="644"/>
                </a:cubicBezTo>
                <a:cubicBezTo>
                  <a:pt x="2596" y="642"/>
                  <a:pt x="2597" y="640"/>
                  <a:pt x="2597" y="638"/>
                </a:cubicBezTo>
                <a:cubicBezTo>
                  <a:pt x="2600" y="639"/>
                  <a:pt x="2603" y="640"/>
                  <a:pt x="2607" y="640"/>
                </a:cubicBezTo>
                <a:cubicBezTo>
                  <a:pt x="2614" y="642"/>
                  <a:pt x="2620" y="640"/>
                  <a:pt x="2623" y="631"/>
                </a:cubicBezTo>
                <a:cubicBezTo>
                  <a:pt x="2625" y="627"/>
                  <a:pt x="2624" y="622"/>
                  <a:pt x="2624" y="617"/>
                </a:cubicBezTo>
                <a:cubicBezTo>
                  <a:pt x="2623" y="615"/>
                  <a:pt x="2622" y="613"/>
                  <a:pt x="2622" y="611"/>
                </a:cubicBezTo>
                <a:cubicBezTo>
                  <a:pt x="2621" y="610"/>
                  <a:pt x="2620" y="609"/>
                  <a:pt x="2619" y="611"/>
                </a:cubicBezTo>
                <a:cubicBezTo>
                  <a:pt x="2617" y="612"/>
                  <a:pt x="2615" y="614"/>
                  <a:pt x="2613" y="615"/>
                </a:cubicBezTo>
                <a:cubicBezTo>
                  <a:pt x="2613" y="615"/>
                  <a:pt x="2612" y="616"/>
                  <a:pt x="2612" y="617"/>
                </a:cubicBezTo>
                <a:cubicBezTo>
                  <a:pt x="2613" y="620"/>
                  <a:pt x="2612" y="623"/>
                  <a:pt x="2611" y="627"/>
                </a:cubicBezTo>
                <a:cubicBezTo>
                  <a:pt x="2611" y="625"/>
                  <a:pt x="2612" y="623"/>
                  <a:pt x="2612" y="621"/>
                </a:cubicBezTo>
                <a:cubicBezTo>
                  <a:pt x="2612" y="620"/>
                  <a:pt x="2611" y="620"/>
                  <a:pt x="2611" y="619"/>
                </a:cubicBezTo>
                <a:cubicBezTo>
                  <a:pt x="2610" y="620"/>
                  <a:pt x="2610" y="620"/>
                  <a:pt x="2610" y="620"/>
                </a:cubicBezTo>
                <a:cubicBezTo>
                  <a:pt x="2609" y="621"/>
                  <a:pt x="2608" y="623"/>
                  <a:pt x="2607" y="624"/>
                </a:cubicBezTo>
                <a:cubicBezTo>
                  <a:pt x="2607" y="624"/>
                  <a:pt x="2607" y="624"/>
                  <a:pt x="2607" y="624"/>
                </a:cubicBezTo>
                <a:cubicBezTo>
                  <a:pt x="2607" y="623"/>
                  <a:pt x="2608" y="621"/>
                  <a:pt x="2608" y="619"/>
                </a:cubicBezTo>
                <a:cubicBezTo>
                  <a:pt x="2607" y="619"/>
                  <a:pt x="2606" y="620"/>
                  <a:pt x="2606" y="621"/>
                </a:cubicBezTo>
                <a:cubicBezTo>
                  <a:pt x="2605" y="621"/>
                  <a:pt x="2605" y="622"/>
                  <a:pt x="2604" y="623"/>
                </a:cubicBezTo>
                <a:cubicBezTo>
                  <a:pt x="2605" y="619"/>
                  <a:pt x="2605" y="619"/>
                  <a:pt x="2611" y="618"/>
                </a:cubicBezTo>
                <a:cubicBezTo>
                  <a:pt x="2611" y="617"/>
                  <a:pt x="2610" y="617"/>
                  <a:pt x="2610" y="617"/>
                </a:cubicBezTo>
                <a:cubicBezTo>
                  <a:pt x="2607" y="617"/>
                  <a:pt x="2606" y="616"/>
                  <a:pt x="2606" y="614"/>
                </a:cubicBezTo>
                <a:cubicBezTo>
                  <a:pt x="2608" y="613"/>
                  <a:pt x="2609" y="613"/>
                  <a:pt x="2611" y="612"/>
                </a:cubicBezTo>
                <a:cubicBezTo>
                  <a:pt x="2609" y="610"/>
                  <a:pt x="2608" y="607"/>
                  <a:pt x="2604" y="607"/>
                </a:cubicBezTo>
                <a:cubicBezTo>
                  <a:pt x="2604" y="607"/>
                  <a:pt x="2604" y="606"/>
                  <a:pt x="2604" y="606"/>
                </a:cubicBezTo>
                <a:cubicBezTo>
                  <a:pt x="2601" y="604"/>
                  <a:pt x="2599" y="602"/>
                  <a:pt x="2596" y="600"/>
                </a:cubicBezTo>
                <a:cubicBezTo>
                  <a:pt x="2594" y="598"/>
                  <a:pt x="2591" y="598"/>
                  <a:pt x="2589" y="598"/>
                </a:cubicBezTo>
                <a:cubicBezTo>
                  <a:pt x="2586" y="598"/>
                  <a:pt x="2582" y="599"/>
                  <a:pt x="2579" y="600"/>
                </a:cubicBezTo>
                <a:cubicBezTo>
                  <a:pt x="2577" y="601"/>
                  <a:pt x="2574" y="603"/>
                  <a:pt x="2572" y="606"/>
                </a:cubicBezTo>
                <a:cubicBezTo>
                  <a:pt x="2574" y="606"/>
                  <a:pt x="2575" y="606"/>
                  <a:pt x="2576" y="606"/>
                </a:cubicBezTo>
                <a:cubicBezTo>
                  <a:pt x="2576" y="606"/>
                  <a:pt x="2575" y="607"/>
                  <a:pt x="2574" y="607"/>
                </a:cubicBezTo>
                <a:cubicBezTo>
                  <a:pt x="2572" y="608"/>
                  <a:pt x="2569" y="607"/>
                  <a:pt x="2567" y="609"/>
                </a:cubicBezTo>
                <a:cubicBezTo>
                  <a:pt x="2564" y="613"/>
                  <a:pt x="2560" y="617"/>
                  <a:pt x="2556" y="621"/>
                </a:cubicBezTo>
                <a:cubicBezTo>
                  <a:pt x="2555" y="623"/>
                  <a:pt x="2554" y="625"/>
                  <a:pt x="2553" y="628"/>
                </a:cubicBezTo>
                <a:cubicBezTo>
                  <a:pt x="2553" y="628"/>
                  <a:pt x="2553" y="629"/>
                  <a:pt x="2553" y="629"/>
                </a:cubicBezTo>
                <a:cubicBezTo>
                  <a:pt x="2554" y="631"/>
                  <a:pt x="2555" y="633"/>
                  <a:pt x="2557" y="635"/>
                </a:cubicBezTo>
                <a:cubicBezTo>
                  <a:pt x="2558" y="634"/>
                  <a:pt x="2559" y="632"/>
                  <a:pt x="2561" y="631"/>
                </a:cubicBezTo>
                <a:cubicBezTo>
                  <a:pt x="2560" y="632"/>
                  <a:pt x="2560" y="633"/>
                  <a:pt x="2559" y="635"/>
                </a:cubicBezTo>
                <a:cubicBezTo>
                  <a:pt x="2558" y="636"/>
                  <a:pt x="2557" y="637"/>
                  <a:pt x="2557" y="639"/>
                </a:cubicBezTo>
                <a:cubicBezTo>
                  <a:pt x="2557" y="640"/>
                  <a:pt x="2557" y="641"/>
                  <a:pt x="2557" y="642"/>
                </a:cubicBezTo>
                <a:cubicBezTo>
                  <a:pt x="2560" y="645"/>
                  <a:pt x="2563" y="645"/>
                  <a:pt x="2567" y="643"/>
                </a:cubicBezTo>
                <a:cubicBezTo>
                  <a:pt x="2569" y="642"/>
                  <a:pt x="2572" y="640"/>
                  <a:pt x="2575" y="640"/>
                </a:cubicBezTo>
                <a:cubicBezTo>
                  <a:pt x="2576" y="639"/>
                  <a:pt x="2577" y="638"/>
                  <a:pt x="2577" y="637"/>
                </a:cubicBezTo>
                <a:cubicBezTo>
                  <a:pt x="2577" y="634"/>
                  <a:pt x="2577" y="630"/>
                  <a:pt x="2577" y="627"/>
                </a:cubicBezTo>
                <a:cubicBezTo>
                  <a:pt x="2577" y="624"/>
                  <a:pt x="2577" y="621"/>
                  <a:pt x="2577" y="618"/>
                </a:cubicBezTo>
                <a:cubicBezTo>
                  <a:pt x="2578" y="621"/>
                  <a:pt x="2579" y="623"/>
                  <a:pt x="2579" y="626"/>
                </a:cubicBezTo>
                <a:cubicBezTo>
                  <a:pt x="2580" y="631"/>
                  <a:pt x="2580" y="635"/>
                  <a:pt x="2579" y="639"/>
                </a:cubicBezTo>
                <a:cubicBezTo>
                  <a:pt x="2578" y="640"/>
                  <a:pt x="2577" y="641"/>
                  <a:pt x="2577" y="641"/>
                </a:cubicBezTo>
                <a:cubicBezTo>
                  <a:pt x="2573" y="641"/>
                  <a:pt x="2570" y="643"/>
                  <a:pt x="2567" y="645"/>
                </a:cubicBezTo>
                <a:cubicBezTo>
                  <a:pt x="2562" y="648"/>
                  <a:pt x="2559" y="646"/>
                  <a:pt x="2555" y="642"/>
                </a:cubicBezTo>
                <a:cubicBezTo>
                  <a:pt x="2555" y="642"/>
                  <a:pt x="2555" y="640"/>
                  <a:pt x="2555" y="640"/>
                </a:cubicBezTo>
                <a:cubicBezTo>
                  <a:pt x="2556" y="638"/>
                  <a:pt x="2555" y="636"/>
                  <a:pt x="2553" y="634"/>
                </a:cubicBezTo>
                <a:cubicBezTo>
                  <a:pt x="2552" y="632"/>
                  <a:pt x="2550" y="629"/>
                  <a:pt x="2552" y="627"/>
                </a:cubicBezTo>
                <a:cubicBezTo>
                  <a:pt x="2552" y="625"/>
                  <a:pt x="2553" y="623"/>
                  <a:pt x="2554" y="621"/>
                </a:cubicBezTo>
                <a:cubicBezTo>
                  <a:pt x="2556" y="619"/>
                  <a:pt x="2558" y="616"/>
                  <a:pt x="2560" y="614"/>
                </a:cubicBezTo>
                <a:cubicBezTo>
                  <a:pt x="2560" y="614"/>
                  <a:pt x="2559" y="614"/>
                  <a:pt x="2559" y="614"/>
                </a:cubicBezTo>
                <a:cubicBezTo>
                  <a:pt x="2554" y="615"/>
                  <a:pt x="2550" y="616"/>
                  <a:pt x="2546" y="619"/>
                </a:cubicBezTo>
                <a:cubicBezTo>
                  <a:pt x="2541" y="624"/>
                  <a:pt x="2538" y="629"/>
                  <a:pt x="2538" y="636"/>
                </a:cubicBezTo>
                <a:cubicBezTo>
                  <a:pt x="2537" y="642"/>
                  <a:pt x="2540" y="648"/>
                  <a:pt x="2543" y="654"/>
                </a:cubicBezTo>
                <a:cubicBezTo>
                  <a:pt x="2544" y="655"/>
                  <a:pt x="2544" y="657"/>
                  <a:pt x="2544" y="658"/>
                </a:cubicBezTo>
                <a:cubicBezTo>
                  <a:pt x="2544" y="659"/>
                  <a:pt x="2544" y="661"/>
                  <a:pt x="2543" y="662"/>
                </a:cubicBezTo>
                <a:cubicBezTo>
                  <a:pt x="2542" y="664"/>
                  <a:pt x="2543" y="665"/>
                  <a:pt x="2544" y="665"/>
                </a:cubicBezTo>
                <a:cubicBezTo>
                  <a:pt x="2547" y="666"/>
                  <a:pt x="2550" y="667"/>
                  <a:pt x="2553" y="667"/>
                </a:cubicBezTo>
                <a:cubicBezTo>
                  <a:pt x="2553" y="667"/>
                  <a:pt x="2554" y="666"/>
                  <a:pt x="2554" y="666"/>
                </a:cubicBezTo>
                <a:cubicBezTo>
                  <a:pt x="2555" y="665"/>
                  <a:pt x="2555" y="663"/>
                  <a:pt x="2555" y="662"/>
                </a:cubicBezTo>
                <a:cubicBezTo>
                  <a:pt x="2557" y="660"/>
                  <a:pt x="2557" y="657"/>
                  <a:pt x="2557" y="654"/>
                </a:cubicBezTo>
                <a:cubicBezTo>
                  <a:pt x="2557" y="654"/>
                  <a:pt x="2557" y="654"/>
                  <a:pt x="2557" y="653"/>
                </a:cubicBezTo>
                <a:cubicBezTo>
                  <a:pt x="2557" y="653"/>
                  <a:pt x="2557" y="653"/>
                  <a:pt x="2557" y="652"/>
                </a:cubicBezTo>
                <a:cubicBezTo>
                  <a:pt x="2558" y="655"/>
                  <a:pt x="2559" y="655"/>
                  <a:pt x="2561" y="655"/>
                </a:cubicBezTo>
                <a:cubicBezTo>
                  <a:pt x="2562" y="655"/>
                  <a:pt x="2563" y="655"/>
                  <a:pt x="2564" y="655"/>
                </a:cubicBezTo>
                <a:cubicBezTo>
                  <a:pt x="2566" y="655"/>
                  <a:pt x="2570" y="656"/>
                  <a:pt x="2570" y="652"/>
                </a:cubicBezTo>
                <a:cubicBezTo>
                  <a:pt x="2570" y="654"/>
                  <a:pt x="2570" y="655"/>
                  <a:pt x="2570" y="656"/>
                </a:cubicBezTo>
                <a:cubicBezTo>
                  <a:pt x="2569" y="657"/>
                  <a:pt x="2568" y="658"/>
                  <a:pt x="2566" y="658"/>
                </a:cubicBezTo>
                <a:cubicBezTo>
                  <a:pt x="2565" y="659"/>
                  <a:pt x="2564" y="661"/>
                  <a:pt x="2565" y="661"/>
                </a:cubicBezTo>
                <a:cubicBezTo>
                  <a:pt x="2566" y="664"/>
                  <a:pt x="2568" y="666"/>
                  <a:pt x="2569" y="668"/>
                </a:cubicBezTo>
                <a:cubicBezTo>
                  <a:pt x="2571" y="669"/>
                  <a:pt x="2573" y="669"/>
                  <a:pt x="2574" y="667"/>
                </a:cubicBezTo>
                <a:cubicBezTo>
                  <a:pt x="2575" y="666"/>
                  <a:pt x="2575" y="665"/>
                  <a:pt x="2576" y="665"/>
                </a:cubicBezTo>
                <a:cubicBezTo>
                  <a:pt x="2578" y="663"/>
                  <a:pt x="2579" y="662"/>
                  <a:pt x="2581" y="661"/>
                </a:cubicBezTo>
                <a:cubicBezTo>
                  <a:pt x="2585" y="657"/>
                  <a:pt x="2587" y="651"/>
                  <a:pt x="2589" y="645"/>
                </a:cubicBezTo>
                <a:cubicBezTo>
                  <a:pt x="2589" y="644"/>
                  <a:pt x="2588" y="644"/>
                  <a:pt x="2588" y="643"/>
                </a:cubicBezTo>
                <a:cubicBezTo>
                  <a:pt x="2587" y="642"/>
                  <a:pt x="2586" y="641"/>
                  <a:pt x="2584" y="640"/>
                </a:cubicBezTo>
                <a:close/>
                <a:moveTo>
                  <a:pt x="2537" y="647"/>
                </a:moveTo>
                <a:cubicBezTo>
                  <a:pt x="2537" y="648"/>
                  <a:pt x="2535" y="648"/>
                  <a:pt x="2534" y="650"/>
                </a:cubicBezTo>
                <a:cubicBezTo>
                  <a:pt x="2533" y="650"/>
                  <a:pt x="2533" y="651"/>
                  <a:pt x="2533" y="652"/>
                </a:cubicBezTo>
                <a:cubicBezTo>
                  <a:pt x="2533" y="654"/>
                  <a:pt x="2537" y="659"/>
                  <a:pt x="2541" y="658"/>
                </a:cubicBezTo>
                <a:cubicBezTo>
                  <a:pt x="2542" y="658"/>
                  <a:pt x="2543" y="657"/>
                  <a:pt x="2542" y="655"/>
                </a:cubicBezTo>
                <a:cubicBezTo>
                  <a:pt x="2541" y="652"/>
                  <a:pt x="2539" y="650"/>
                  <a:pt x="2537" y="647"/>
                </a:cubicBezTo>
                <a:close/>
                <a:moveTo>
                  <a:pt x="2590" y="649"/>
                </a:moveTo>
                <a:cubicBezTo>
                  <a:pt x="2588" y="654"/>
                  <a:pt x="2585" y="658"/>
                  <a:pt x="2583" y="662"/>
                </a:cubicBezTo>
                <a:cubicBezTo>
                  <a:pt x="2586" y="662"/>
                  <a:pt x="2588" y="663"/>
                  <a:pt x="2591" y="662"/>
                </a:cubicBezTo>
                <a:cubicBezTo>
                  <a:pt x="2591" y="662"/>
                  <a:pt x="2592" y="661"/>
                  <a:pt x="2592" y="661"/>
                </a:cubicBezTo>
                <a:cubicBezTo>
                  <a:pt x="2592" y="658"/>
                  <a:pt x="2592" y="655"/>
                  <a:pt x="2591" y="653"/>
                </a:cubicBezTo>
                <a:cubicBezTo>
                  <a:pt x="2591" y="652"/>
                  <a:pt x="2590" y="650"/>
                  <a:pt x="2590" y="649"/>
                </a:cubicBezTo>
                <a:close/>
                <a:moveTo>
                  <a:pt x="2537" y="629"/>
                </a:moveTo>
                <a:cubicBezTo>
                  <a:pt x="2537" y="629"/>
                  <a:pt x="2536" y="629"/>
                  <a:pt x="2535" y="629"/>
                </a:cubicBezTo>
                <a:cubicBezTo>
                  <a:pt x="2535" y="629"/>
                  <a:pt x="2534" y="629"/>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37" y="647"/>
                </a:moveTo>
                <a:cubicBezTo>
                  <a:pt x="2536" y="648"/>
                  <a:pt x="2535" y="649"/>
                  <a:pt x="2534" y="650"/>
                </a:cubicBezTo>
                <a:cubicBezTo>
                  <a:pt x="2533" y="650"/>
                  <a:pt x="2533" y="651"/>
                  <a:pt x="2533" y="652"/>
                </a:cubicBezTo>
                <a:cubicBezTo>
                  <a:pt x="2533" y="655"/>
                  <a:pt x="2537" y="659"/>
                  <a:pt x="2540" y="659"/>
                </a:cubicBezTo>
                <a:cubicBezTo>
                  <a:pt x="2542" y="659"/>
                  <a:pt x="2543" y="657"/>
                  <a:pt x="2542" y="656"/>
                </a:cubicBezTo>
                <a:cubicBezTo>
                  <a:pt x="2540" y="653"/>
                  <a:pt x="2539" y="650"/>
                  <a:pt x="2537" y="647"/>
                </a:cubicBezTo>
                <a:close/>
                <a:moveTo>
                  <a:pt x="2590" y="649"/>
                </a:moveTo>
                <a:cubicBezTo>
                  <a:pt x="2587" y="654"/>
                  <a:pt x="2585" y="658"/>
                  <a:pt x="2583" y="662"/>
                </a:cubicBezTo>
                <a:cubicBezTo>
                  <a:pt x="2585" y="662"/>
                  <a:pt x="2588" y="663"/>
                  <a:pt x="2591" y="662"/>
                </a:cubicBezTo>
                <a:cubicBezTo>
                  <a:pt x="2591" y="662"/>
                  <a:pt x="2591" y="661"/>
                  <a:pt x="2591" y="661"/>
                </a:cubicBezTo>
                <a:cubicBezTo>
                  <a:pt x="2591" y="658"/>
                  <a:pt x="2591" y="656"/>
                  <a:pt x="2591" y="653"/>
                </a:cubicBezTo>
                <a:cubicBezTo>
                  <a:pt x="2591" y="652"/>
                  <a:pt x="2590" y="650"/>
                  <a:pt x="2590" y="649"/>
                </a:cubicBezTo>
                <a:close/>
                <a:moveTo>
                  <a:pt x="2537" y="629"/>
                </a:moveTo>
                <a:cubicBezTo>
                  <a:pt x="2536" y="629"/>
                  <a:pt x="2536" y="630"/>
                  <a:pt x="2535" y="630"/>
                </a:cubicBezTo>
                <a:cubicBezTo>
                  <a:pt x="2535" y="630"/>
                  <a:pt x="2534" y="630"/>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89" y="621"/>
                </a:moveTo>
                <a:cubicBezTo>
                  <a:pt x="2593" y="617"/>
                  <a:pt x="2593" y="617"/>
                  <a:pt x="2597" y="616"/>
                </a:cubicBezTo>
                <a:cubicBezTo>
                  <a:pt x="2597" y="618"/>
                  <a:pt x="2598" y="619"/>
                  <a:pt x="2600" y="619"/>
                </a:cubicBezTo>
                <a:cubicBezTo>
                  <a:pt x="2597" y="620"/>
                  <a:pt x="2595" y="622"/>
                  <a:pt x="2593" y="623"/>
                </a:cubicBezTo>
                <a:cubicBezTo>
                  <a:pt x="2592" y="622"/>
                  <a:pt x="2592" y="621"/>
                  <a:pt x="2591" y="620"/>
                </a:cubicBezTo>
                <a:cubicBezTo>
                  <a:pt x="2591" y="620"/>
                  <a:pt x="2590" y="620"/>
                  <a:pt x="2589" y="621"/>
                </a:cubicBezTo>
                <a:close/>
                <a:moveTo>
                  <a:pt x="2596" y="620"/>
                </a:moveTo>
                <a:cubicBezTo>
                  <a:pt x="2595" y="620"/>
                  <a:pt x="2594" y="619"/>
                  <a:pt x="2593" y="619"/>
                </a:cubicBezTo>
                <a:cubicBezTo>
                  <a:pt x="2593" y="619"/>
                  <a:pt x="2592" y="620"/>
                  <a:pt x="2592" y="621"/>
                </a:cubicBezTo>
                <a:cubicBezTo>
                  <a:pt x="2592" y="621"/>
                  <a:pt x="2593" y="621"/>
                  <a:pt x="2593" y="622"/>
                </a:cubicBezTo>
                <a:cubicBezTo>
                  <a:pt x="2594" y="621"/>
                  <a:pt x="2594" y="621"/>
                  <a:pt x="2596" y="620"/>
                </a:cubicBezTo>
                <a:close/>
                <a:moveTo>
                  <a:pt x="2576" y="610"/>
                </a:moveTo>
                <a:cubicBezTo>
                  <a:pt x="2570" y="609"/>
                  <a:pt x="2567" y="612"/>
                  <a:pt x="2566" y="620"/>
                </a:cubicBezTo>
                <a:cubicBezTo>
                  <a:pt x="2567" y="618"/>
                  <a:pt x="2568" y="616"/>
                  <a:pt x="2569" y="613"/>
                </a:cubicBezTo>
                <a:cubicBezTo>
                  <a:pt x="2570" y="613"/>
                  <a:pt x="2570" y="613"/>
                  <a:pt x="2570" y="613"/>
                </a:cubicBezTo>
                <a:cubicBezTo>
                  <a:pt x="2570" y="614"/>
                  <a:pt x="2570" y="615"/>
                  <a:pt x="2570" y="616"/>
                </a:cubicBezTo>
                <a:cubicBezTo>
                  <a:pt x="2571" y="613"/>
                  <a:pt x="2573" y="611"/>
                  <a:pt x="2576" y="610"/>
                </a:cubicBezTo>
                <a:close/>
                <a:moveTo>
                  <a:pt x="2620" y="612"/>
                </a:moveTo>
                <a:cubicBezTo>
                  <a:pt x="2618" y="613"/>
                  <a:pt x="2616" y="615"/>
                  <a:pt x="2615" y="616"/>
                </a:cubicBezTo>
                <a:cubicBezTo>
                  <a:pt x="2617" y="617"/>
                  <a:pt x="2619" y="615"/>
                  <a:pt x="2620" y="612"/>
                </a:cubicBezTo>
                <a:close/>
                <a:moveTo>
                  <a:pt x="2587" y="614"/>
                </a:moveTo>
                <a:cubicBezTo>
                  <a:pt x="2588" y="613"/>
                  <a:pt x="2589" y="611"/>
                  <a:pt x="2590" y="610"/>
                </a:cubicBezTo>
                <a:cubicBezTo>
                  <a:pt x="2587" y="611"/>
                  <a:pt x="2587" y="612"/>
                  <a:pt x="2587" y="614"/>
                </a:cubicBezTo>
                <a:close/>
                <a:moveTo>
                  <a:pt x="2597" y="635"/>
                </a:moveTo>
                <a:cubicBezTo>
                  <a:pt x="2595" y="636"/>
                  <a:pt x="2594" y="637"/>
                  <a:pt x="2594" y="637"/>
                </a:cubicBezTo>
                <a:cubicBezTo>
                  <a:pt x="2595" y="637"/>
                  <a:pt x="2596" y="636"/>
                  <a:pt x="2597" y="635"/>
                </a:cubicBezTo>
                <a:close/>
                <a:moveTo>
                  <a:pt x="2596" y="620"/>
                </a:moveTo>
                <a:cubicBezTo>
                  <a:pt x="2595" y="619"/>
                  <a:pt x="2594" y="619"/>
                  <a:pt x="2594" y="619"/>
                </a:cubicBezTo>
                <a:cubicBezTo>
                  <a:pt x="2593" y="619"/>
                  <a:pt x="2592" y="620"/>
                  <a:pt x="2592" y="620"/>
                </a:cubicBezTo>
                <a:cubicBezTo>
                  <a:pt x="2592" y="621"/>
                  <a:pt x="2593" y="621"/>
                  <a:pt x="2593" y="621"/>
                </a:cubicBezTo>
                <a:cubicBezTo>
                  <a:pt x="2594" y="621"/>
                  <a:pt x="2594" y="621"/>
                  <a:pt x="2596" y="620"/>
                </a:cubicBezTo>
                <a:close/>
                <a:moveTo>
                  <a:pt x="3249" y="597"/>
                </a:moveTo>
                <a:cubicBezTo>
                  <a:pt x="3249" y="597"/>
                  <a:pt x="3249" y="597"/>
                  <a:pt x="3249" y="597"/>
                </a:cubicBezTo>
                <a:cubicBezTo>
                  <a:pt x="3244" y="597"/>
                  <a:pt x="3244" y="597"/>
                  <a:pt x="3244" y="597"/>
                </a:cubicBezTo>
                <a:cubicBezTo>
                  <a:pt x="3242" y="599"/>
                  <a:pt x="3241" y="600"/>
                  <a:pt x="3239" y="601"/>
                </a:cubicBezTo>
                <a:cubicBezTo>
                  <a:pt x="3237" y="603"/>
                  <a:pt x="3236" y="603"/>
                  <a:pt x="3233" y="604"/>
                </a:cubicBezTo>
                <a:cubicBezTo>
                  <a:pt x="3232" y="605"/>
                  <a:pt x="3230" y="606"/>
                  <a:pt x="3228" y="607"/>
                </a:cubicBezTo>
                <a:cubicBezTo>
                  <a:pt x="3226" y="608"/>
                  <a:pt x="3225" y="608"/>
                  <a:pt x="3223" y="608"/>
                </a:cubicBezTo>
                <a:cubicBezTo>
                  <a:pt x="3223" y="608"/>
                  <a:pt x="3223" y="608"/>
                  <a:pt x="3223" y="619"/>
                </a:cubicBezTo>
                <a:cubicBezTo>
                  <a:pt x="3225" y="618"/>
                  <a:pt x="3228" y="617"/>
                  <a:pt x="3231" y="616"/>
                </a:cubicBezTo>
                <a:cubicBezTo>
                  <a:pt x="3233" y="615"/>
                  <a:pt x="3236" y="613"/>
                  <a:pt x="3238" y="612"/>
                </a:cubicBezTo>
                <a:cubicBezTo>
                  <a:pt x="3238" y="612"/>
                  <a:pt x="3238" y="612"/>
                  <a:pt x="3238" y="671"/>
                </a:cubicBezTo>
                <a:cubicBezTo>
                  <a:pt x="3238" y="671"/>
                  <a:pt x="3238" y="671"/>
                  <a:pt x="3249" y="671"/>
                </a:cubicBezTo>
                <a:cubicBezTo>
                  <a:pt x="3249" y="671"/>
                  <a:pt x="3249" y="671"/>
                  <a:pt x="3249" y="597"/>
                </a:cubicBezTo>
                <a:close/>
                <a:moveTo>
                  <a:pt x="3297" y="597"/>
                </a:moveTo>
                <a:cubicBezTo>
                  <a:pt x="3297" y="597"/>
                  <a:pt x="3297" y="597"/>
                  <a:pt x="3297" y="597"/>
                </a:cubicBezTo>
                <a:cubicBezTo>
                  <a:pt x="3292" y="597"/>
                  <a:pt x="3292" y="597"/>
                  <a:pt x="3292" y="597"/>
                </a:cubicBezTo>
                <a:cubicBezTo>
                  <a:pt x="3290" y="599"/>
                  <a:pt x="3288" y="600"/>
                  <a:pt x="3286" y="601"/>
                </a:cubicBezTo>
                <a:cubicBezTo>
                  <a:pt x="3285" y="603"/>
                  <a:pt x="3282" y="603"/>
                  <a:pt x="3281" y="604"/>
                </a:cubicBezTo>
                <a:cubicBezTo>
                  <a:pt x="3280" y="605"/>
                  <a:pt x="3277" y="606"/>
                  <a:pt x="3276" y="607"/>
                </a:cubicBezTo>
                <a:cubicBezTo>
                  <a:pt x="3274" y="608"/>
                  <a:pt x="3272" y="608"/>
                  <a:pt x="3270" y="608"/>
                </a:cubicBezTo>
                <a:cubicBezTo>
                  <a:pt x="3270" y="608"/>
                  <a:pt x="3270" y="608"/>
                  <a:pt x="3270" y="619"/>
                </a:cubicBezTo>
                <a:cubicBezTo>
                  <a:pt x="3273" y="618"/>
                  <a:pt x="3276" y="617"/>
                  <a:pt x="3278" y="616"/>
                </a:cubicBezTo>
                <a:cubicBezTo>
                  <a:pt x="3281" y="615"/>
                  <a:pt x="3283" y="613"/>
                  <a:pt x="3285" y="612"/>
                </a:cubicBezTo>
                <a:cubicBezTo>
                  <a:pt x="3285" y="612"/>
                  <a:pt x="3285" y="612"/>
                  <a:pt x="3285" y="671"/>
                </a:cubicBezTo>
                <a:cubicBezTo>
                  <a:pt x="3285" y="671"/>
                  <a:pt x="3285" y="671"/>
                  <a:pt x="3297" y="671"/>
                </a:cubicBezTo>
                <a:cubicBezTo>
                  <a:pt x="3297" y="671"/>
                  <a:pt x="3297" y="671"/>
                  <a:pt x="3297" y="597"/>
                </a:cubicBezTo>
                <a:close/>
                <a:moveTo>
                  <a:pt x="3344" y="597"/>
                </a:moveTo>
                <a:cubicBezTo>
                  <a:pt x="3344" y="597"/>
                  <a:pt x="3344" y="597"/>
                  <a:pt x="3344" y="597"/>
                </a:cubicBezTo>
                <a:cubicBezTo>
                  <a:pt x="3339" y="597"/>
                  <a:pt x="3339" y="597"/>
                  <a:pt x="3339" y="597"/>
                </a:cubicBezTo>
                <a:cubicBezTo>
                  <a:pt x="3337" y="599"/>
                  <a:pt x="3336" y="600"/>
                  <a:pt x="3333" y="601"/>
                </a:cubicBezTo>
                <a:cubicBezTo>
                  <a:pt x="3332" y="603"/>
                  <a:pt x="3330" y="603"/>
                  <a:pt x="3328" y="604"/>
                </a:cubicBezTo>
                <a:cubicBezTo>
                  <a:pt x="3326" y="605"/>
                  <a:pt x="3325" y="605"/>
                  <a:pt x="3323" y="606"/>
                </a:cubicBezTo>
                <a:cubicBezTo>
                  <a:pt x="3321" y="607"/>
                  <a:pt x="3319" y="608"/>
                  <a:pt x="3318" y="608"/>
                </a:cubicBezTo>
                <a:cubicBezTo>
                  <a:pt x="3318" y="608"/>
                  <a:pt x="3318" y="608"/>
                  <a:pt x="3318" y="619"/>
                </a:cubicBezTo>
                <a:cubicBezTo>
                  <a:pt x="3320" y="618"/>
                  <a:pt x="3323" y="616"/>
                  <a:pt x="3326" y="616"/>
                </a:cubicBezTo>
                <a:cubicBezTo>
                  <a:pt x="3328" y="615"/>
                  <a:pt x="3331" y="613"/>
                  <a:pt x="3332" y="612"/>
                </a:cubicBezTo>
                <a:cubicBezTo>
                  <a:pt x="3332" y="612"/>
                  <a:pt x="3332" y="612"/>
                  <a:pt x="3332" y="671"/>
                </a:cubicBezTo>
                <a:cubicBezTo>
                  <a:pt x="3332" y="671"/>
                  <a:pt x="3332" y="671"/>
                  <a:pt x="3344" y="671"/>
                </a:cubicBezTo>
                <a:cubicBezTo>
                  <a:pt x="3344" y="671"/>
                  <a:pt x="3344" y="671"/>
                  <a:pt x="3344" y="597"/>
                </a:cubicBezTo>
                <a:close/>
                <a:moveTo>
                  <a:pt x="3554" y="492"/>
                </a:moveTo>
                <a:cubicBezTo>
                  <a:pt x="3554" y="492"/>
                  <a:pt x="3554" y="492"/>
                  <a:pt x="3554" y="492"/>
                </a:cubicBezTo>
                <a:cubicBezTo>
                  <a:pt x="3549" y="492"/>
                  <a:pt x="3549" y="492"/>
                  <a:pt x="3549" y="492"/>
                </a:cubicBezTo>
                <a:cubicBezTo>
                  <a:pt x="3547" y="494"/>
                  <a:pt x="3546" y="495"/>
                  <a:pt x="3543" y="496"/>
                </a:cubicBezTo>
                <a:cubicBezTo>
                  <a:pt x="3542" y="497"/>
                  <a:pt x="3540" y="498"/>
                  <a:pt x="3538" y="499"/>
                </a:cubicBezTo>
                <a:cubicBezTo>
                  <a:pt x="3536" y="500"/>
                  <a:pt x="3535" y="500"/>
                  <a:pt x="3533" y="501"/>
                </a:cubicBezTo>
                <a:cubicBezTo>
                  <a:pt x="3531" y="502"/>
                  <a:pt x="3530" y="503"/>
                  <a:pt x="3527" y="503"/>
                </a:cubicBezTo>
                <a:cubicBezTo>
                  <a:pt x="3527" y="503"/>
                  <a:pt x="3527" y="503"/>
                  <a:pt x="3527" y="513"/>
                </a:cubicBezTo>
                <a:cubicBezTo>
                  <a:pt x="3530" y="513"/>
                  <a:pt x="3533" y="511"/>
                  <a:pt x="3535" y="511"/>
                </a:cubicBezTo>
                <a:cubicBezTo>
                  <a:pt x="3538" y="510"/>
                  <a:pt x="3540" y="508"/>
                  <a:pt x="3543" y="507"/>
                </a:cubicBezTo>
                <a:cubicBezTo>
                  <a:pt x="3543" y="507"/>
                  <a:pt x="3543" y="507"/>
                  <a:pt x="3543" y="566"/>
                </a:cubicBezTo>
                <a:cubicBezTo>
                  <a:pt x="3543" y="566"/>
                  <a:pt x="3543" y="566"/>
                  <a:pt x="3554" y="566"/>
                </a:cubicBezTo>
                <a:cubicBezTo>
                  <a:pt x="3554" y="566"/>
                  <a:pt x="3554" y="566"/>
                  <a:pt x="3554" y="492"/>
                </a:cubicBezTo>
                <a:close/>
                <a:moveTo>
                  <a:pt x="3601" y="492"/>
                </a:moveTo>
                <a:cubicBezTo>
                  <a:pt x="3601" y="492"/>
                  <a:pt x="3601" y="492"/>
                  <a:pt x="3601" y="492"/>
                </a:cubicBezTo>
                <a:cubicBezTo>
                  <a:pt x="3596" y="492"/>
                  <a:pt x="3596" y="492"/>
                  <a:pt x="3596" y="492"/>
                </a:cubicBezTo>
                <a:cubicBezTo>
                  <a:pt x="3594" y="494"/>
                  <a:pt x="3592" y="495"/>
                  <a:pt x="3590" y="496"/>
                </a:cubicBezTo>
                <a:cubicBezTo>
                  <a:pt x="3588" y="497"/>
                  <a:pt x="3586" y="498"/>
                  <a:pt x="3585" y="499"/>
                </a:cubicBezTo>
                <a:cubicBezTo>
                  <a:pt x="3583" y="500"/>
                  <a:pt x="3581" y="501"/>
                  <a:pt x="3580" y="502"/>
                </a:cubicBezTo>
                <a:cubicBezTo>
                  <a:pt x="3578" y="503"/>
                  <a:pt x="3576" y="503"/>
                  <a:pt x="3574" y="503"/>
                </a:cubicBezTo>
                <a:cubicBezTo>
                  <a:pt x="3574" y="503"/>
                  <a:pt x="3574" y="503"/>
                  <a:pt x="3574" y="513"/>
                </a:cubicBezTo>
                <a:cubicBezTo>
                  <a:pt x="3577" y="513"/>
                  <a:pt x="3580" y="512"/>
                  <a:pt x="3582" y="511"/>
                </a:cubicBezTo>
                <a:cubicBezTo>
                  <a:pt x="3585" y="510"/>
                  <a:pt x="3587" y="508"/>
                  <a:pt x="3589" y="507"/>
                </a:cubicBezTo>
                <a:cubicBezTo>
                  <a:pt x="3589" y="507"/>
                  <a:pt x="3589" y="507"/>
                  <a:pt x="3589" y="566"/>
                </a:cubicBezTo>
                <a:cubicBezTo>
                  <a:pt x="3589" y="566"/>
                  <a:pt x="3589" y="566"/>
                  <a:pt x="3601" y="566"/>
                </a:cubicBezTo>
                <a:cubicBezTo>
                  <a:pt x="3601" y="566"/>
                  <a:pt x="3601" y="566"/>
                  <a:pt x="3601" y="492"/>
                </a:cubicBezTo>
                <a:close/>
                <a:moveTo>
                  <a:pt x="3646" y="492"/>
                </a:moveTo>
                <a:cubicBezTo>
                  <a:pt x="3646" y="492"/>
                  <a:pt x="3646" y="492"/>
                  <a:pt x="3646" y="492"/>
                </a:cubicBezTo>
                <a:cubicBezTo>
                  <a:pt x="3642" y="492"/>
                  <a:pt x="3642" y="492"/>
                  <a:pt x="3642" y="492"/>
                </a:cubicBezTo>
                <a:cubicBezTo>
                  <a:pt x="3640" y="494"/>
                  <a:pt x="3638" y="495"/>
                  <a:pt x="3636" y="496"/>
                </a:cubicBezTo>
                <a:cubicBezTo>
                  <a:pt x="3635" y="497"/>
                  <a:pt x="3633" y="498"/>
                  <a:pt x="3631" y="499"/>
                </a:cubicBezTo>
                <a:cubicBezTo>
                  <a:pt x="3629" y="500"/>
                  <a:pt x="3628" y="501"/>
                  <a:pt x="3626" y="502"/>
                </a:cubicBezTo>
                <a:cubicBezTo>
                  <a:pt x="3624" y="503"/>
                  <a:pt x="3622" y="503"/>
                  <a:pt x="3620" y="503"/>
                </a:cubicBezTo>
                <a:cubicBezTo>
                  <a:pt x="3620" y="503"/>
                  <a:pt x="3620" y="503"/>
                  <a:pt x="3620" y="513"/>
                </a:cubicBezTo>
                <a:cubicBezTo>
                  <a:pt x="3623" y="513"/>
                  <a:pt x="3626" y="512"/>
                  <a:pt x="3628" y="511"/>
                </a:cubicBezTo>
                <a:cubicBezTo>
                  <a:pt x="3631" y="510"/>
                  <a:pt x="3633" y="508"/>
                  <a:pt x="3635" y="507"/>
                </a:cubicBezTo>
                <a:cubicBezTo>
                  <a:pt x="3635" y="507"/>
                  <a:pt x="3635" y="507"/>
                  <a:pt x="3635" y="566"/>
                </a:cubicBezTo>
                <a:cubicBezTo>
                  <a:pt x="3635" y="566"/>
                  <a:pt x="3635" y="566"/>
                  <a:pt x="3646" y="566"/>
                </a:cubicBezTo>
                <a:cubicBezTo>
                  <a:pt x="3646" y="566"/>
                  <a:pt x="3646" y="566"/>
                  <a:pt x="3646" y="492"/>
                </a:cubicBezTo>
                <a:close/>
                <a:moveTo>
                  <a:pt x="3693" y="492"/>
                </a:moveTo>
                <a:cubicBezTo>
                  <a:pt x="3693" y="492"/>
                  <a:pt x="3693" y="492"/>
                  <a:pt x="3693" y="492"/>
                </a:cubicBezTo>
                <a:cubicBezTo>
                  <a:pt x="3688" y="492"/>
                  <a:pt x="3688" y="492"/>
                  <a:pt x="3688" y="492"/>
                </a:cubicBezTo>
                <a:cubicBezTo>
                  <a:pt x="3686" y="494"/>
                  <a:pt x="3685" y="495"/>
                  <a:pt x="3682" y="496"/>
                </a:cubicBezTo>
                <a:cubicBezTo>
                  <a:pt x="3681" y="497"/>
                  <a:pt x="3679" y="498"/>
                  <a:pt x="3677" y="499"/>
                </a:cubicBezTo>
                <a:cubicBezTo>
                  <a:pt x="3676" y="500"/>
                  <a:pt x="3673" y="501"/>
                  <a:pt x="3672" y="502"/>
                </a:cubicBezTo>
                <a:cubicBezTo>
                  <a:pt x="3670" y="503"/>
                  <a:pt x="3668" y="503"/>
                  <a:pt x="3666" y="503"/>
                </a:cubicBezTo>
                <a:cubicBezTo>
                  <a:pt x="3666" y="503"/>
                  <a:pt x="3666" y="503"/>
                  <a:pt x="3666" y="513"/>
                </a:cubicBezTo>
                <a:cubicBezTo>
                  <a:pt x="3669" y="513"/>
                  <a:pt x="3672" y="512"/>
                  <a:pt x="3674" y="511"/>
                </a:cubicBezTo>
                <a:cubicBezTo>
                  <a:pt x="3677" y="510"/>
                  <a:pt x="3679" y="508"/>
                  <a:pt x="3682" y="507"/>
                </a:cubicBezTo>
                <a:cubicBezTo>
                  <a:pt x="3682" y="507"/>
                  <a:pt x="3682" y="507"/>
                  <a:pt x="3682" y="566"/>
                </a:cubicBezTo>
                <a:cubicBezTo>
                  <a:pt x="3682" y="566"/>
                  <a:pt x="3682" y="566"/>
                  <a:pt x="3693" y="566"/>
                </a:cubicBezTo>
                <a:cubicBezTo>
                  <a:pt x="3693" y="566"/>
                  <a:pt x="3693" y="566"/>
                  <a:pt x="3693" y="492"/>
                </a:cubicBezTo>
                <a:close/>
                <a:moveTo>
                  <a:pt x="3815" y="492"/>
                </a:moveTo>
                <a:cubicBezTo>
                  <a:pt x="3815" y="492"/>
                  <a:pt x="3815" y="492"/>
                  <a:pt x="3815" y="492"/>
                </a:cubicBezTo>
                <a:cubicBezTo>
                  <a:pt x="3810" y="492"/>
                  <a:pt x="3810" y="492"/>
                  <a:pt x="3810" y="492"/>
                </a:cubicBezTo>
                <a:cubicBezTo>
                  <a:pt x="3808" y="494"/>
                  <a:pt x="3806" y="495"/>
                  <a:pt x="3804" y="496"/>
                </a:cubicBezTo>
                <a:cubicBezTo>
                  <a:pt x="3803" y="497"/>
                  <a:pt x="3801" y="498"/>
                  <a:pt x="3799" y="499"/>
                </a:cubicBezTo>
                <a:cubicBezTo>
                  <a:pt x="3797" y="500"/>
                  <a:pt x="3795" y="501"/>
                  <a:pt x="3794" y="502"/>
                </a:cubicBezTo>
                <a:cubicBezTo>
                  <a:pt x="3792" y="503"/>
                  <a:pt x="3790" y="503"/>
                  <a:pt x="3788" y="503"/>
                </a:cubicBezTo>
                <a:cubicBezTo>
                  <a:pt x="3788" y="503"/>
                  <a:pt x="3788" y="503"/>
                  <a:pt x="3788" y="513"/>
                </a:cubicBezTo>
                <a:cubicBezTo>
                  <a:pt x="3791" y="513"/>
                  <a:pt x="3794" y="512"/>
                  <a:pt x="3797" y="511"/>
                </a:cubicBezTo>
                <a:cubicBezTo>
                  <a:pt x="3799" y="510"/>
                  <a:pt x="3801" y="508"/>
                  <a:pt x="3803" y="507"/>
                </a:cubicBezTo>
                <a:cubicBezTo>
                  <a:pt x="3803" y="507"/>
                  <a:pt x="3803" y="507"/>
                  <a:pt x="3803" y="566"/>
                </a:cubicBezTo>
                <a:cubicBezTo>
                  <a:pt x="3803" y="566"/>
                  <a:pt x="3803" y="566"/>
                  <a:pt x="3815" y="566"/>
                </a:cubicBezTo>
                <a:cubicBezTo>
                  <a:pt x="3815" y="566"/>
                  <a:pt x="3815" y="566"/>
                  <a:pt x="3815" y="492"/>
                </a:cubicBezTo>
                <a:close/>
                <a:moveTo>
                  <a:pt x="3861" y="492"/>
                </a:moveTo>
                <a:cubicBezTo>
                  <a:pt x="3861" y="492"/>
                  <a:pt x="3861" y="492"/>
                  <a:pt x="3861" y="492"/>
                </a:cubicBezTo>
                <a:cubicBezTo>
                  <a:pt x="3856" y="492"/>
                  <a:pt x="3856" y="492"/>
                  <a:pt x="3856" y="492"/>
                </a:cubicBezTo>
                <a:cubicBezTo>
                  <a:pt x="3854" y="494"/>
                  <a:pt x="3853" y="495"/>
                  <a:pt x="3851" y="496"/>
                </a:cubicBezTo>
                <a:cubicBezTo>
                  <a:pt x="3849" y="497"/>
                  <a:pt x="3847" y="498"/>
                  <a:pt x="3845" y="499"/>
                </a:cubicBezTo>
                <a:cubicBezTo>
                  <a:pt x="3844" y="500"/>
                  <a:pt x="3842" y="501"/>
                  <a:pt x="3840" y="502"/>
                </a:cubicBezTo>
                <a:cubicBezTo>
                  <a:pt x="3838" y="503"/>
                  <a:pt x="3837" y="503"/>
                  <a:pt x="3835" y="503"/>
                </a:cubicBezTo>
                <a:cubicBezTo>
                  <a:pt x="3835" y="503"/>
                  <a:pt x="3835" y="503"/>
                  <a:pt x="3835" y="513"/>
                </a:cubicBezTo>
                <a:cubicBezTo>
                  <a:pt x="3837" y="513"/>
                  <a:pt x="3840" y="512"/>
                  <a:pt x="3843" y="511"/>
                </a:cubicBezTo>
                <a:cubicBezTo>
                  <a:pt x="3845" y="510"/>
                  <a:pt x="3848" y="508"/>
                  <a:pt x="3850" y="507"/>
                </a:cubicBezTo>
                <a:cubicBezTo>
                  <a:pt x="3850" y="507"/>
                  <a:pt x="3850" y="507"/>
                  <a:pt x="3850" y="566"/>
                </a:cubicBezTo>
                <a:cubicBezTo>
                  <a:pt x="3850" y="566"/>
                  <a:pt x="3850" y="566"/>
                  <a:pt x="3861" y="566"/>
                </a:cubicBezTo>
                <a:cubicBezTo>
                  <a:pt x="3861" y="566"/>
                  <a:pt x="3861" y="566"/>
                  <a:pt x="3861" y="492"/>
                </a:cubicBezTo>
                <a:close/>
                <a:moveTo>
                  <a:pt x="3714" y="525"/>
                </a:moveTo>
                <a:cubicBezTo>
                  <a:pt x="3714" y="525"/>
                  <a:pt x="3714" y="525"/>
                  <a:pt x="3714" y="525"/>
                </a:cubicBezTo>
                <a:cubicBezTo>
                  <a:pt x="3713" y="533"/>
                  <a:pt x="3713" y="533"/>
                  <a:pt x="3713" y="533"/>
                </a:cubicBezTo>
                <a:cubicBezTo>
                  <a:pt x="3719" y="533"/>
                  <a:pt x="3720" y="536"/>
                  <a:pt x="3720" y="539"/>
                </a:cubicBezTo>
                <a:cubicBezTo>
                  <a:pt x="3720" y="541"/>
                  <a:pt x="3720" y="543"/>
                  <a:pt x="3720" y="546"/>
                </a:cubicBezTo>
                <a:cubicBezTo>
                  <a:pt x="3719" y="549"/>
                  <a:pt x="3719" y="551"/>
                  <a:pt x="3719" y="553"/>
                </a:cubicBezTo>
                <a:cubicBezTo>
                  <a:pt x="3719" y="562"/>
                  <a:pt x="3725" y="566"/>
                  <a:pt x="3733" y="566"/>
                </a:cubicBezTo>
                <a:cubicBezTo>
                  <a:pt x="3733" y="566"/>
                  <a:pt x="3733" y="566"/>
                  <a:pt x="3737" y="566"/>
                </a:cubicBezTo>
                <a:cubicBezTo>
                  <a:pt x="3737" y="566"/>
                  <a:pt x="3737" y="566"/>
                  <a:pt x="3737" y="557"/>
                </a:cubicBezTo>
                <a:cubicBezTo>
                  <a:pt x="3737" y="557"/>
                  <a:pt x="3737" y="557"/>
                  <a:pt x="3736" y="557"/>
                </a:cubicBezTo>
                <a:cubicBezTo>
                  <a:pt x="3732" y="557"/>
                  <a:pt x="3731" y="554"/>
                  <a:pt x="3731" y="551"/>
                </a:cubicBezTo>
                <a:cubicBezTo>
                  <a:pt x="3731" y="549"/>
                  <a:pt x="3731" y="548"/>
                  <a:pt x="3731" y="546"/>
                </a:cubicBezTo>
                <a:cubicBezTo>
                  <a:pt x="3731" y="544"/>
                  <a:pt x="3732" y="542"/>
                  <a:pt x="3732" y="540"/>
                </a:cubicBezTo>
                <a:cubicBezTo>
                  <a:pt x="3732" y="533"/>
                  <a:pt x="3729" y="530"/>
                  <a:pt x="3723" y="529"/>
                </a:cubicBezTo>
                <a:cubicBezTo>
                  <a:pt x="3723" y="529"/>
                  <a:pt x="3723" y="529"/>
                  <a:pt x="3723" y="528"/>
                </a:cubicBezTo>
                <a:cubicBezTo>
                  <a:pt x="3729" y="527"/>
                  <a:pt x="3732" y="525"/>
                  <a:pt x="3732" y="518"/>
                </a:cubicBezTo>
                <a:cubicBezTo>
                  <a:pt x="3732" y="515"/>
                  <a:pt x="3731" y="513"/>
                  <a:pt x="3731" y="511"/>
                </a:cubicBezTo>
                <a:cubicBezTo>
                  <a:pt x="3731" y="510"/>
                  <a:pt x="3731" y="508"/>
                  <a:pt x="3731" y="507"/>
                </a:cubicBezTo>
                <a:cubicBezTo>
                  <a:pt x="3731" y="503"/>
                  <a:pt x="3732" y="501"/>
                  <a:pt x="3736" y="501"/>
                </a:cubicBezTo>
                <a:cubicBezTo>
                  <a:pt x="3736" y="501"/>
                  <a:pt x="3736" y="501"/>
                  <a:pt x="3737" y="501"/>
                </a:cubicBezTo>
                <a:cubicBezTo>
                  <a:pt x="3737" y="501"/>
                  <a:pt x="3737" y="501"/>
                  <a:pt x="3737" y="491"/>
                </a:cubicBezTo>
                <a:cubicBezTo>
                  <a:pt x="3737" y="491"/>
                  <a:pt x="3737" y="491"/>
                  <a:pt x="3733" y="491"/>
                </a:cubicBezTo>
                <a:cubicBezTo>
                  <a:pt x="3725" y="491"/>
                  <a:pt x="3719" y="496"/>
                  <a:pt x="3719" y="504"/>
                </a:cubicBezTo>
                <a:cubicBezTo>
                  <a:pt x="3719" y="506"/>
                  <a:pt x="3719" y="509"/>
                  <a:pt x="3719" y="512"/>
                </a:cubicBezTo>
                <a:cubicBezTo>
                  <a:pt x="3720" y="514"/>
                  <a:pt x="3720" y="516"/>
                  <a:pt x="3720" y="518"/>
                </a:cubicBezTo>
                <a:cubicBezTo>
                  <a:pt x="3720" y="521"/>
                  <a:pt x="3719" y="524"/>
                  <a:pt x="3714" y="525"/>
                </a:cubicBezTo>
                <a:close/>
                <a:moveTo>
                  <a:pt x="3768" y="533"/>
                </a:moveTo>
                <a:cubicBezTo>
                  <a:pt x="3768" y="533"/>
                  <a:pt x="3768" y="533"/>
                  <a:pt x="3768" y="533"/>
                </a:cubicBezTo>
                <a:cubicBezTo>
                  <a:pt x="3768" y="525"/>
                  <a:pt x="3768" y="525"/>
                  <a:pt x="3768" y="525"/>
                </a:cubicBezTo>
                <a:cubicBezTo>
                  <a:pt x="3762" y="524"/>
                  <a:pt x="3761" y="521"/>
                  <a:pt x="3761" y="518"/>
                </a:cubicBezTo>
                <a:cubicBezTo>
                  <a:pt x="3761" y="516"/>
                  <a:pt x="3761" y="514"/>
                  <a:pt x="3762" y="512"/>
                </a:cubicBezTo>
                <a:cubicBezTo>
                  <a:pt x="3762" y="509"/>
                  <a:pt x="3762" y="506"/>
                  <a:pt x="3762" y="504"/>
                </a:cubicBezTo>
                <a:cubicBezTo>
                  <a:pt x="3762" y="496"/>
                  <a:pt x="3757" y="491"/>
                  <a:pt x="3748" y="491"/>
                </a:cubicBezTo>
                <a:cubicBezTo>
                  <a:pt x="3748" y="491"/>
                  <a:pt x="3748" y="491"/>
                  <a:pt x="3744" y="491"/>
                </a:cubicBezTo>
                <a:cubicBezTo>
                  <a:pt x="3744" y="491"/>
                  <a:pt x="3744" y="491"/>
                  <a:pt x="3744" y="501"/>
                </a:cubicBezTo>
                <a:cubicBezTo>
                  <a:pt x="3744" y="501"/>
                  <a:pt x="3744" y="501"/>
                  <a:pt x="3745" y="501"/>
                </a:cubicBezTo>
                <a:cubicBezTo>
                  <a:pt x="3749" y="501"/>
                  <a:pt x="3750" y="503"/>
                  <a:pt x="3750" y="507"/>
                </a:cubicBezTo>
                <a:cubicBezTo>
                  <a:pt x="3750" y="508"/>
                  <a:pt x="3750" y="510"/>
                  <a:pt x="3750" y="511"/>
                </a:cubicBezTo>
                <a:cubicBezTo>
                  <a:pt x="3750" y="513"/>
                  <a:pt x="3750" y="515"/>
                  <a:pt x="3750" y="518"/>
                </a:cubicBezTo>
                <a:cubicBezTo>
                  <a:pt x="3750" y="525"/>
                  <a:pt x="3752" y="527"/>
                  <a:pt x="3758" y="528"/>
                </a:cubicBezTo>
                <a:cubicBezTo>
                  <a:pt x="3758" y="528"/>
                  <a:pt x="3758" y="528"/>
                  <a:pt x="3758" y="529"/>
                </a:cubicBezTo>
                <a:cubicBezTo>
                  <a:pt x="3752" y="530"/>
                  <a:pt x="3750" y="533"/>
                  <a:pt x="3750" y="540"/>
                </a:cubicBezTo>
                <a:cubicBezTo>
                  <a:pt x="3750" y="542"/>
                  <a:pt x="3750" y="544"/>
                  <a:pt x="3750" y="546"/>
                </a:cubicBezTo>
                <a:cubicBezTo>
                  <a:pt x="3750" y="548"/>
                  <a:pt x="3750" y="549"/>
                  <a:pt x="3750" y="551"/>
                </a:cubicBezTo>
                <a:cubicBezTo>
                  <a:pt x="3750" y="554"/>
                  <a:pt x="3749" y="557"/>
                  <a:pt x="3745" y="557"/>
                </a:cubicBezTo>
                <a:cubicBezTo>
                  <a:pt x="3745" y="557"/>
                  <a:pt x="3745" y="557"/>
                  <a:pt x="3744" y="557"/>
                </a:cubicBezTo>
                <a:cubicBezTo>
                  <a:pt x="3744" y="557"/>
                  <a:pt x="3744" y="557"/>
                  <a:pt x="3744" y="566"/>
                </a:cubicBezTo>
                <a:cubicBezTo>
                  <a:pt x="3744" y="566"/>
                  <a:pt x="3744" y="566"/>
                  <a:pt x="3748" y="566"/>
                </a:cubicBezTo>
                <a:cubicBezTo>
                  <a:pt x="3756" y="566"/>
                  <a:pt x="3762" y="562"/>
                  <a:pt x="3762" y="553"/>
                </a:cubicBezTo>
                <a:cubicBezTo>
                  <a:pt x="3762" y="551"/>
                  <a:pt x="3762" y="549"/>
                  <a:pt x="3762" y="546"/>
                </a:cubicBezTo>
                <a:cubicBezTo>
                  <a:pt x="3761" y="543"/>
                  <a:pt x="3761" y="541"/>
                  <a:pt x="3761" y="539"/>
                </a:cubicBezTo>
                <a:cubicBezTo>
                  <a:pt x="3761" y="536"/>
                  <a:pt x="3762" y="533"/>
                  <a:pt x="3768" y="533"/>
                </a:cubicBezTo>
                <a:close/>
                <a:moveTo>
                  <a:pt x="3155" y="566"/>
                </a:moveTo>
                <a:cubicBezTo>
                  <a:pt x="3148" y="566"/>
                  <a:pt x="3141" y="563"/>
                  <a:pt x="3137" y="557"/>
                </a:cubicBezTo>
                <a:cubicBezTo>
                  <a:pt x="3133" y="550"/>
                  <a:pt x="3131" y="542"/>
                  <a:pt x="3131" y="529"/>
                </a:cubicBezTo>
                <a:cubicBezTo>
                  <a:pt x="3131" y="516"/>
                  <a:pt x="3133" y="507"/>
                  <a:pt x="3137" y="500"/>
                </a:cubicBezTo>
                <a:cubicBezTo>
                  <a:pt x="3142" y="494"/>
                  <a:pt x="3148" y="490"/>
                  <a:pt x="3157" y="490"/>
                </a:cubicBezTo>
                <a:cubicBezTo>
                  <a:pt x="3173" y="490"/>
                  <a:pt x="3181" y="502"/>
                  <a:pt x="3181" y="528"/>
                </a:cubicBezTo>
                <a:cubicBezTo>
                  <a:pt x="3181" y="540"/>
                  <a:pt x="3179" y="550"/>
                  <a:pt x="3174" y="556"/>
                </a:cubicBezTo>
                <a:cubicBezTo>
                  <a:pt x="3170" y="563"/>
                  <a:pt x="3163" y="566"/>
                  <a:pt x="3155" y="566"/>
                </a:cubicBezTo>
                <a:close/>
                <a:moveTo>
                  <a:pt x="3156" y="499"/>
                </a:moveTo>
                <a:cubicBezTo>
                  <a:pt x="3147" y="499"/>
                  <a:pt x="3143" y="510"/>
                  <a:pt x="3143" y="529"/>
                </a:cubicBezTo>
                <a:cubicBezTo>
                  <a:pt x="3143" y="548"/>
                  <a:pt x="3147" y="556"/>
                  <a:pt x="3156" y="556"/>
                </a:cubicBezTo>
                <a:cubicBezTo>
                  <a:pt x="3164" y="556"/>
                  <a:pt x="3169" y="548"/>
                  <a:pt x="3169" y="529"/>
                </a:cubicBezTo>
                <a:cubicBezTo>
                  <a:pt x="3169" y="509"/>
                  <a:pt x="3164" y="499"/>
                  <a:pt x="3156" y="499"/>
                </a:cubicBezTo>
                <a:close/>
                <a:moveTo>
                  <a:pt x="3225" y="566"/>
                </a:moveTo>
                <a:cubicBezTo>
                  <a:pt x="3218" y="566"/>
                  <a:pt x="3211" y="563"/>
                  <a:pt x="3208" y="557"/>
                </a:cubicBezTo>
                <a:cubicBezTo>
                  <a:pt x="3203" y="550"/>
                  <a:pt x="3201" y="542"/>
                  <a:pt x="3201" y="529"/>
                </a:cubicBezTo>
                <a:cubicBezTo>
                  <a:pt x="3201" y="516"/>
                  <a:pt x="3203" y="507"/>
                  <a:pt x="3208" y="500"/>
                </a:cubicBezTo>
                <a:cubicBezTo>
                  <a:pt x="3212" y="494"/>
                  <a:pt x="3219" y="490"/>
                  <a:pt x="3228" y="490"/>
                </a:cubicBezTo>
                <a:cubicBezTo>
                  <a:pt x="3244" y="490"/>
                  <a:pt x="3252" y="502"/>
                  <a:pt x="3252" y="528"/>
                </a:cubicBezTo>
                <a:cubicBezTo>
                  <a:pt x="3252" y="540"/>
                  <a:pt x="3250" y="550"/>
                  <a:pt x="3245" y="556"/>
                </a:cubicBezTo>
                <a:cubicBezTo>
                  <a:pt x="3240" y="563"/>
                  <a:pt x="3234" y="566"/>
                  <a:pt x="3225" y="566"/>
                </a:cubicBezTo>
                <a:close/>
                <a:moveTo>
                  <a:pt x="3227" y="499"/>
                </a:moveTo>
                <a:cubicBezTo>
                  <a:pt x="3218" y="499"/>
                  <a:pt x="3213" y="510"/>
                  <a:pt x="3213" y="529"/>
                </a:cubicBezTo>
                <a:cubicBezTo>
                  <a:pt x="3213" y="548"/>
                  <a:pt x="3217" y="556"/>
                  <a:pt x="3226" y="556"/>
                </a:cubicBezTo>
                <a:cubicBezTo>
                  <a:pt x="3235" y="556"/>
                  <a:pt x="3239" y="548"/>
                  <a:pt x="3239" y="529"/>
                </a:cubicBezTo>
                <a:cubicBezTo>
                  <a:pt x="3239" y="509"/>
                  <a:pt x="3235" y="499"/>
                  <a:pt x="3227" y="499"/>
                </a:cubicBezTo>
                <a:close/>
                <a:moveTo>
                  <a:pt x="3435" y="576"/>
                </a:moveTo>
                <a:cubicBezTo>
                  <a:pt x="3428" y="576"/>
                  <a:pt x="3422" y="573"/>
                  <a:pt x="3417" y="566"/>
                </a:cubicBezTo>
                <a:cubicBezTo>
                  <a:pt x="3413" y="561"/>
                  <a:pt x="3411" y="551"/>
                  <a:pt x="3411" y="539"/>
                </a:cubicBezTo>
                <a:cubicBezTo>
                  <a:pt x="3411" y="526"/>
                  <a:pt x="3413" y="517"/>
                  <a:pt x="3417" y="510"/>
                </a:cubicBezTo>
                <a:cubicBezTo>
                  <a:pt x="3422" y="503"/>
                  <a:pt x="3428" y="500"/>
                  <a:pt x="3437" y="500"/>
                </a:cubicBezTo>
                <a:cubicBezTo>
                  <a:pt x="3453" y="500"/>
                  <a:pt x="3461" y="512"/>
                  <a:pt x="3461" y="537"/>
                </a:cubicBezTo>
                <a:cubicBezTo>
                  <a:pt x="3461" y="550"/>
                  <a:pt x="3459" y="560"/>
                  <a:pt x="3455" y="566"/>
                </a:cubicBezTo>
                <a:cubicBezTo>
                  <a:pt x="3449" y="573"/>
                  <a:pt x="3444" y="576"/>
                  <a:pt x="3435" y="576"/>
                </a:cubicBezTo>
                <a:close/>
                <a:moveTo>
                  <a:pt x="3436" y="510"/>
                </a:moveTo>
                <a:cubicBezTo>
                  <a:pt x="3428" y="510"/>
                  <a:pt x="3423" y="519"/>
                  <a:pt x="3423" y="539"/>
                </a:cubicBezTo>
                <a:cubicBezTo>
                  <a:pt x="3423" y="557"/>
                  <a:pt x="3428" y="566"/>
                  <a:pt x="3436" y="566"/>
                </a:cubicBezTo>
                <a:cubicBezTo>
                  <a:pt x="3444" y="566"/>
                  <a:pt x="3449" y="557"/>
                  <a:pt x="3449" y="539"/>
                </a:cubicBezTo>
                <a:cubicBezTo>
                  <a:pt x="3449" y="519"/>
                  <a:pt x="3445" y="510"/>
                  <a:pt x="3436" y="510"/>
                </a:cubicBezTo>
                <a:close/>
                <a:moveTo>
                  <a:pt x="3508" y="492"/>
                </a:moveTo>
                <a:cubicBezTo>
                  <a:pt x="3508" y="492"/>
                  <a:pt x="3508" y="492"/>
                  <a:pt x="3508" y="492"/>
                </a:cubicBezTo>
                <a:cubicBezTo>
                  <a:pt x="3503" y="492"/>
                  <a:pt x="3503" y="492"/>
                  <a:pt x="3503" y="492"/>
                </a:cubicBezTo>
                <a:cubicBezTo>
                  <a:pt x="3500" y="494"/>
                  <a:pt x="3499" y="495"/>
                  <a:pt x="3497" y="496"/>
                </a:cubicBezTo>
                <a:cubicBezTo>
                  <a:pt x="3495" y="497"/>
                  <a:pt x="3493" y="498"/>
                  <a:pt x="3492" y="499"/>
                </a:cubicBezTo>
                <a:cubicBezTo>
                  <a:pt x="3490" y="500"/>
                  <a:pt x="3488" y="500"/>
                  <a:pt x="3487" y="501"/>
                </a:cubicBezTo>
                <a:cubicBezTo>
                  <a:pt x="3484" y="502"/>
                  <a:pt x="3483" y="503"/>
                  <a:pt x="3481" y="503"/>
                </a:cubicBezTo>
                <a:cubicBezTo>
                  <a:pt x="3481" y="503"/>
                  <a:pt x="3481" y="503"/>
                  <a:pt x="3481" y="513"/>
                </a:cubicBezTo>
                <a:cubicBezTo>
                  <a:pt x="3484" y="513"/>
                  <a:pt x="3487" y="511"/>
                  <a:pt x="3489" y="511"/>
                </a:cubicBezTo>
                <a:cubicBezTo>
                  <a:pt x="3492" y="510"/>
                  <a:pt x="3494" y="508"/>
                  <a:pt x="3496" y="507"/>
                </a:cubicBezTo>
                <a:cubicBezTo>
                  <a:pt x="3496" y="507"/>
                  <a:pt x="3496" y="507"/>
                  <a:pt x="3496" y="566"/>
                </a:cubicBezTo>
                <a:cubicBezTo>
                  <a:pt x="3496" y="566"/>
                  <a:pt x="3496" y="566"/>
                  <a:pt x="3508" y="566"/>
                </a:cubicBezTo>
                <a:cubicBezTo>
                  <a:pt x="3508" y="566"/>
                  <a:pt x="3508" y="566"/>
                  <a:pt x="3508" y="492"/>
                </a:cubicBezTo>
                <a:close/>
                <a:moveTo>
                  <a:pt x="3298" y="492"/>
                </a:moveTo>
                <a:cubicBezTo>
                  <a:pt x="3298" y="492"/>
                  <a:pt x="3298" y="492"/>
                  <a:pt x="3298" y="492"/>
                </a:cubicBezTo>
                <a:cubicBezTo>
                  <a:pt x="3293" y="492"/>
                  <a:pt x="3293" y="492"/>
                  <a:pt x="3293" y="492"/>
                </a:cubicBezTo>
                <a:cubicBezTo>
                  <a:pt x="3291" y="494"/>
                  <a:pt x="3290" y="495"/>
                  <a:pt x="3288" y="496"/>
                </a:cubicBezTo>
                <a:cubicBezTo>
                  <a:pt x="3286" y="497"/>
                  <a:pt x="3285" y="498"/>
                  <a:pt x="3282" y="499"/>
                </a:cubicBezTo>
                <a:cubicBezTo>
                  <a:pt x="3281" y="500"/>
                  <a:pt x="3279" y="501"/>
                  <a:pt x="3277" y="502"/>
                </a:cubicBezTo>
                <a:cubicBezTo>
                  <a:pt x="3275" y="503"/>
                  <a:pt x="3274" y="503"/>
                  <a:pt x="3272" y="503"/>
                </a:cubicBezTo>
                <a:cubicBezTo>
                  <a:pt x="3272" y="503"/>
                  <a:pt x="3272" y="503"/>
                  <a:pt x="3272" y="513"/>
                </a:cubicBezTo>
                <a:cubicBezTo>
                  <a:pt x="3274" y="513"/>
                  <a:pt x="3277" y="512"/>
                  <a:pt x="3280" y="511"/>
                </a:cubicBezTo>
                <a:cubicBezTo>
                  <a:pt x="3282" y="510"/>
                  <a:pt x="3285" y="508"/>
                  <a:pt x="3287" y="507"/>
                </a:cubicBezTo>
                <a:cubicBezTo>
                  <a:pt x="3287" y="507"/>
                  <a:pt x="3287" y="507"/>
                  <a:pt x="3287" y="566"/>
                </a:cubicBezTo>
                <a:cubicBezTo>
                  <a:pt x="3287" y="566"/>
                  <a:pt x="3287" y="566"/>
                  <a:pt x="3298" y="566"/>
                </a:cubicBezTo>
                <a:cubicBezTo>
                  <a:pt x="3298" y="566"/>
                  <a:pt x="3298" y="566"/>
                  <a:pt x="3298" y="492"/>
                </a:cubicBezTo>
                <a:close/>
                <a:moveTo>
                  <a:pt x="3345" y="492"/>
                </a:moveTo>
                <a:cubicBezTo>
                  <a:pt x="3345" y="492"/>
                  <a:pt x="3345" y="492"/>
                  <a:pt x="3345" y="492"/>
                </a:cubicBezTo>
                <a:cubicBezTo>
                  <a:pt x="3340" y="492"/>
                  <a:pt x="3340" y="492"/>
                  <a:pt x="3340" y="492"/>
                </a:cubicBezTo>
                <a:cubicBezTo>
                  <a:pt x="3338" y="494"/>
                  <a:pt x="3337" y="495"/>
                  <a:pt x="3334" y="496"/>
                </a:cubicBezTo>
                <a:cubicBezTo>
                  <a:pt x="3333" y="497"/>
                  <a:pt x="3331" y="498"/>
                  <a:pt x="3329" y="499"/>
                </a:cubicBezTo>
                <a:cubicBezTo>
                  <a:pt x="3328" y="500"/>
                  <a:pt x="3325" y="501"/>
                  <a:pt x="3324" y="502"/>
                </a:cubicBezTo>
                <a:cubicBezTo>
                  <a:pt x="3322" y="503"/>
                  <a:pt x="3320" y="503"/>
                  <a:pt x="3318" y="503"/>
                </a:cubicBezTo>
                <a:cubicBezTo>
                  <a:pt x="3318" y="503"/>
                  <a:pt x="3318" y="503"/>
                  <a:pt x="3318" y="513"/>
                </a:cubicBezTo>
                <a:cubicBezTo>
                  <a:pt x="3321" y="513"/>
                  <a:pt x="3324" y="512"/>
                  <a:pt x="3326" y="511"/>
                </a:cubicBezTo>
                <a:cubicBezTo>
                  <a:pt x="3329" y="510"/>
                  <a:pt x="3331" y="508"/>
                  <a:pt x="3334" y="507"/>
                </a:cubicBezTo>
                <a:cubicBezTo>
                  <a:pt x="3334" y="507"/>
                  <a:pt x="3334" y="507"/>
                  <a:pt x="3334" y="566"/>
                </a:cubicBezTo>
                <a:cubicBezTo>
                  <a:pt x="3334" y="566"/>
                  <a:pt x="3334" y="566"/>
                  <a:pt x="3345" y="566"/>
                </a:cubicBezTo>
                <a:cubicBezTo>
                  <a:pt x="3345" y="566"/>
                  <a:pt x="3345" y="566"/>
                  <a:pt x="3345" y="492"/>
                </a:cubicBezTo>
                <a:close/>
                <a:moveTo>
                  <a:pt x="3391" y="492"/>
                </a:moveTo>
                <a:cubicBezTo>
                  <a:pt x="3391" y="492"/>
                  <a:pt x="3391" y="492"/>
                  <a:pt x="3391" y="492"/>
                </a:cubicBezTo>
                <a:cubicBezTo>
                  <a:pt x="3387" y="492"/>
                  <a:pt x="3387" y="492"/>
                  <a:pt x="3387" y="492"/>
                </a:cubicBezTo>
                <a:cubicBezTo>
                  <a:pt x="3385" y="494"/>
                  <a:pt x="3383" y="495"/>
                  <a:pt x="3381" y="496"/>
                </a:cubicBezTo>
                <a:cubicBezTo>
                  <a:pt x="3380" y="497"/>
                  <a:pt x="3377" y="498"/>
                  <a:pt x="3376" y="499"/>
                </a:cubicBezTo>
                <a:cubicBezTo>
                  <a:pt x="3374" y="500"/>
                  <a:pt x="3372" y="500"/>
                  <a:pt x="3370" y="501"/>
                </a:cubicBezTo>
                <a:cubicBezTo>
                  <a:pt x="3369" y="502"/>
                  <a:pt x="3367" y="503"/>
                  <a:pt x="3365" y="503"/>
                </a:cubicBezTo>
                <a:cubicBezTo>
                  <a:pt x="3365" y="503"/>
                  <a:pt x="3365" y="503"/>
                  <a:pt x="3365" y="513"/>
                </a:cubicBezTo>
                <a:cubicBezTo>
                  <a:pt x="3368" y="513"/>
                  <a:pt x="3371" y="511"/>
                  <a:pt x="3373" y="511"/>
                </a:cubicBezTo>
                <a:cubicBezTo>
                  <a:pt x="3375" y="510"/>
                  <a:pt x="3378" y="508"/>
                  <a:pt x="3380" y="507"/>
                </a:cubicBezTo>
                <a:cubicBezTo>
                  <a:pt x="3380" y="507"/>
                  <a:pt x="3380" y="507"/>
                  <a:pt x="3380" y="566"/>
                </a:cubicBezTo>
                <a:cubicBezTo>
                  <a:pt x="3380" y="566"/>
                  <a:pt x="3380" y="566"/>
                  <a:pt x="3391" y="566"/>
                </a:cubicBezTo>
                <a:cubicBezTo>
                  <a:pt x="3391" y="566"/>
                  <a:pt x="3391" y="566"/>
                  <a:pt x="3391" y="492"/>
                </a:cubicBezTo>
                <a:close/>
                <a:moveTo>
                  <a:pt x="2149" y="492"/>
                </a:moveTo>
                <a:cubicBezTo>
                  <a:pt x="2149" y="492"/>
                  <a:pt x="2149" y="492"/>
                  <a:pt x="2149" y="492"/>
                </a:cubicBezTo>
                <a:cubicBezTo>
                  <a:pt x="2144" y="492"/>
                  <a:pt x="2144" y="492"/>
                  <a:pt x="2144" y="492"/>
                </a:cubicBezTo>
                <a:cubicBezTo>
                  <a:pt x="2141" y="494"/>
                  <a:pt x="2140" y="495"/>
                  <a:pt x="2138" y="496"/>
                </a:cubicBezTo>
                <a:cubicBezTo>
                  <a:pt x="2136" y="497"/>
                  <a:pt x="2134" y="498"/>
                  <a:pt x="2133" y="499"/>
                </a:cubicBezTo>
                <a:cubicBezTo>
                  <a:pt x="2131" y="500"/>
                  <a:pt x="2129" y="501"/>
                  <a:pt x="2127" y="502"/>
                </a:cubicBezTo>
                <a:cubicBezTo>
                  <a:pt x="2125" y="503"/>
                  <a:pt x="2124" y="503"/>
                  <a:pt x="2121" y="503"/>
                </a:cubicBezTo>
                <a:cubicBezTo>
                  <a:pt x="2121" y="503"/>
                  <a:pt x="2121" y="503"/>
                  <a:pt x="2121" y="513"/>
                </a:cubicBezTo>
                <a:cubicBezTo>
                  <a:pt x="2124" y="513"/>
                  <a:pt x="2127" y="512"/>
                  <a:pt x="2130" y="511"/>
                </a:cubicBezTo>
                <a:cubicBezTo>
                  <a:pt x="2133" y="510"/>
                  <a:pt x="2135" y="508"/>
                  <a:pt x="2137" y="507"/>
                </a:cubicBezTo>
                <a:cubicBezTo>
                  <a:pt x="2137" y="507"/>
                  <a:pt x="2137" y="507"/>
                  <a:pt x="2137" y="566"/>
                </a:cubicBezTo>
                <a:cubicBezTo>
                  <a:pt x="2137" y="566"/>
                  <a:pt x="2137" y="566"/>
                  <a:pt x="2149" y="566"/>
                </a:cubicBezTo>
                <a:cubicBezTo>
                  <a:pt x="2149" y="566"/>
                  <a:pt x="2149" y="566"/>
                  <a:pt x="2149" y="492"/>
                </a:cubicBezTo>
                <a:close/>
                <a:moveTo>
                  <a:pt x="2195" y="492"/>
                </a:moveTo>
                <a:cubicBezTo>
                  <a:pt x="2195" y="492"/>
                  <a:pt x="2195" y="492"/>
                  <a:pt x="2195" y="492"/>
                </a:cubicBezTo>
                <a:cubicBezTo>
                  <a:pt x="2190" y="492"/>
                  <a:pt x="2190" y="492"/>
                  <a:pt x="2190" y="492"/>
                </a:cubicBezTo>
                <a:cubicBezTo>
                  <a:pt x="2189" y="494"/>
                  <a:pt x="2187" y="495"/>
                  <a:pt x="2185" y="496"/>
                </a:cubicBezTo>
                <a:cubicBezTo>
                  <a:pt x="2183" y="497"/>
                  <a:pt x="2182" y="498"/>
                  <a:pt x="2179" y="499"/>
                </a:cubicBezTo>
                <a:cubicBezTo>
                  <a:pt x="2178" y="500"/>
                  <a:pt x="2176" y="501"/>
                  <a:pt x="2174" y="502"/>
                </a:cubicBezTo>
                <a:cubicBezTo>
                  <a:pt x="2172" y="503"/>
                  <a:pt x="2171" y="503"/>
                  <a:pt x="2168" y="503"/>
                </a:cubicBezTo>
                <a:cubicBezTo>
                  <a:pt x="2168" y="503"/>
                  <a:pt x="2168" y="503"/>
                  <a:pt x="2168" y="513"/>
                </a:cubicBezTo>
                <a:cubicBezTo>
                  <a:pt x="2171" y="513"/>
                  <a:pt x="2174" y="512"/>
                  <a:pt x="2177" y="511"/>
                </a:cubicBezTo>
                <a:cubicBezTo>
                  <a:pt x="2179" y="510"/>
                  <a:pt x="2182" y="508"/>
                  <a:pt x="2184" y="507"/>
                </a:cubicBezTo>
                <a:cubicBezTo>
                  <a:pt x="2184" y="507"/>
                  <a:pt x="2184" y="507"/>
                  <a:pt x="2184" y="566"/>
                </a:cubicBezTo>
                <a:cubicBezTo>
                  <a:pt x="2184" y="566"/>
                  <a:pt x="2184" y="566"/>
                  <a:pt x="2195" y="566"/>
                </a:cubicBezTo>
                <a:cubicBezTo>
                  <a:pt x="2195" y="566"/>
                  <a:pt x="2195" y="566"/>
                  <a:pt x="2195" y="492"/>
                </a:cubicBezTo>
                <a:close/>
                <a:moveTo>
                  <a:pt x="2241" y="492"/>
                </a:moveTo>
                <a:cubicBezTo>
                  <a:pt x="2241" y="492"/>
                  <a:pt x="2241" y="492"/>
                  <a:pt x="2241" y="492"/>
                </a:cubicBezTo>
                <a:cubicBezTo>
                  <a:pt x="2237" y="492"/>
                  <a:pt x="2237" y="492"/>
                  <a:pt x="2237" y="492"/>
                </a:cubicBezTo>
                <a:cubicBezTo>
                  <a:pt x="2235" y="494"/>
                  <a:pt x="2233" y="495"/>
                  <a:pt x="2231" y="496"/>
                </a:cubicBezTo>
                <a:cubicBezTo>
                  <a:pt x="2230" y="497"/>
                  <a:pt x="2228" y="498"/>
                  <a:pt x="2226" y="499"/>
                </a:cubicBezTo>
                <a:cubicBezTo>
                  <a:pt x="2224" y="500"/>
                  <a:pt x="2222" y="500"/>
                  <a:pt x="2220" y="501"/>
                </a:cubicBezTo>
                <a:cubicBezTo>
                  <a:pt x="2219" y="502"/>
                  <a:pt x="2217" y="503"/>
                  <a:pt x="2215" y="503"/>
                </a:cubicBezTo>
                <a:cubicBezTo>
                  <a:pt x="2215" y="503"/>
                  <a:pt x="2215" y="503"/>
                  <a:pt x="2215" y="513"/>
                </a:cubicBezTo>
                <a:cubicBezTo>
                  <a:pt x="2218" y="513"/>
                  <a:pt x="2221" y="511"/>
                  <a:pt x="2223" y="511"/>
                </a:cubicBezTo>
                <a:cubicBezTo>
                  <a:pt x="2225" y="510"/>
                  <a:pt x="2228" y="508"/>
                  <a:pt x="2230" y="507"/>
                </a:cubicBezTo>
                <a:cubicBezTo>
                  <a:pt x="2230" y="507"/>
                  <a:pt x="2230" y="507"/>
                  <a:pt x="2230" y="566"/>
                </a:cubicBezTo>
                <a:cubicBezTo>
                  <a:pt x="2230" y="566"/>
                  <a:pt x="2230" y="566"/>
                  <a:pt x="2241" y="566"/>
                </a:cubicBezTo>
                <a:cubicBezTo>
                  <a:pt x="2241" y="566"/>
                  <a:pt x="2241" y="566"/>
                  <a:pt x="2241" y="492"/>
                </a:cubicBezTo>
                <a:close/>
                <a:moveTo>
                  <a:pt x="2378" y="525"/>
                </a:moveTo>
                <a:cubicBezTo>
                  <a:pt x="2378" y="525"/>
                  <a:pt x="2378" y="525"/>
                  <a:pt x="2378" y="525"/>
                </a:cubicBezTo>
                <a:cubicBezTo>
                  <a:pt x="2377" y="533"/>
                  <a:pt x="2377" y="533"/>
                  <a:pt x="2377" y="533"/>
                </a:cubicBezTo>
                <a:cubicBezTo>
                  <a:pt x="2384" y="533"/>
                  <a:pt x="2384" y="536"/>
                  <a:pt x="2384" y="539"/>
                </a:cubicBezTo>
                <a:cubicBezTo>
                  <a:pt x="2384" y="541"/>
                  <a:pt x="2384" y="543"/>
                  <a:pt x="2384" y="546"/>
                </a:cubicBezTo>
                <a:cubicBezTo>
                  <a:pt x="2384" y="549"/>
                  <a:pt x="2383" y="551"/>
                  <a:pt x="2383" y="553"/>
                </a:cubicBezTo>
                <a:cubicBezTo>
                  <a:pt x="2383" y="562"/>
                  <a:pt x="2389" y="566"/>
                  <a:pt x="2398" y="566"/>
                </a:cubicBezTo>
                <a:cubicBezTo>
                  <a:pt x="2398" y="566"/>
                  <a:pt x="2398" y="566"/>
                  <a:pt x="2401" y="566"/>
                </a:cubicBezTo>
                <a:cubicBezTo>
                  <a:pt x="2401" y="566"/>
                  <a:pt x="2401" y="566"/>
                  <a:pt x="2401" y="557"/>
                </a:cubicBezTo>
                <a:cubicBezTo>
                  <a:pt x="2401" y="557"/>
                  <a:pt x="2401" y="557"/>
                  <a:pt x="2400" y="557"/>
                </a:cubicBezTo>
                <a:cubicBezTo>
                  <a:pt x="2396" y="557"/>
                  <a:pt x="2395" y="554"/>
                  <a:pt x="2395" y="551"/>
                </a:cubicBezTo>
                <a:cubicBezTo>
                  <a:pt x="2395" y="549"/>
                  <a:pt x="2395" y="548"/>
                  <a:pt x="2395" y="546"/>
                </a:cubicBezTo>
                <a:cubicBezTo>
                  <a:pt x="2395" y="544"/>
                  <a:pt x="2396" y="542"/>
                  <a:pt x="2396" y="540"/>
                </a:cubicBezTo>
                <a:cubicBezTo>
                  <a:pt x="2396" y="533"/>
                  <a:pt x="2393" y="530"/>
                  <a:pt x="2387" y="529"/>
                </a:cubicBezTo>
                <a:cubicBezTo>
                  <a:pt x="2387" y="529"/>
                  <a:pt x="2387" y="529"/>
                  <a:pt x="2387" y="528"/>
                </a:cubicBezTo>
                <a:cubicBezTo>
                  <a:pt x="2393" y="527"/>
                  <a:pt x="2396" y="525"/>
                  <a:pt x="2396" y="518"/>
                </a:cubicBezTo>
                <a:cubicBezTo>
                  <a:pt x="2396" y="515"/>
                  <a:pt x="2395" y="513"/>
                  <a:pt x="2395" y="511"/>
                </a:cubicBezTo>
                <a:cubicBezTo>
                  <a:pt x="2395" y="510"/>
                  <a:pt x="2395" y="508"/>
                  <a:pt x="2395" y="507"/>
                </a:cubicBezTo>
                <a:cubicBezTo>
                  <a:pt x="2395" y="503"/>
                  <a:pt x="2396" y="501"/>
                  <a:pt x="2400" y="501"/>
                </a:cubicBezTo>
                <a:cubicBezTo>
                  <a:pt x="2400" y="501"/>
                  <a:pt x="2400" y="501"/>
                  <a:pt x="2401" y="501"/>
                </a:cubicBezTo>
                <a:cubicBezTo>
                  <a:pt x="2401" y="501"/>
                  <a:pt x="2401" y="501"/>
                  <a:pt x="2401" y="491"/>
                </a:cubicBezTo>
                <a:cubicBezTo>
                  <a:pt x="2401" y="491"/>
                  <a:pt x="2401" y="491"/>
                  <a:pt x="2398" y="491"/>
                </a:cubicBezTo>
                <a:cubicBezTo>
                  <a:pt x="2389" y="491"/>
                  <a:pt x="2383" y="496"/>
                  <a:pt x="2383" y="504"/>
                </a:cubicBezTo>
                <a:cubicBezTo>
                  <a:pt x="2383" y="506"/>
                  <a:pt x="2384" y="509"/>
                  <a:pt x="2384" y="512"/>
                </a:cubicBezTo>
                <a:cubicBezTo>
                  <a:pt x="2384" y="514"/>
                  <a:pt x="2384" y="516"/>
                  <a:pt x="2384" y="518"/>
                </a:cubicBezTo>
                <a:cubicBezTo>
                  <a:pt x="2384" y="521"/>
                  <a:pt x="2384" y="524"/>
                  <a:pt x="2378" y="525"/>
                </a:cubicBezTo>
                <a:close/>
                <a:moveTo>
                  <a:pt x="2432" y="533"/>
                </a:moveTo>
                <a:cubicBezTo>
                  <a:pt x="2432" y="533"/>
                  <a:pt x="2432" y="533"/>
                  <a:pt x="2432" y="533"/>
                </a:cubicBezTo>
                <a:cubicBezTo>
                  <a:pt x="2432" y="525"/>
                  <a:pt x="2432" y="525"/>
                  <a:pt x="2432" y="525"/>
                </a:cubicBezTo>
                <a:cubicBezTo>
                  <a:pt x="2426" y="524"/>
                  <a:pt x="2426" y="521"/>
                  <a:pt x="2426" y="518"/>
                </a:cubicBezTo>
                <a:cubicBezTo>
                  <a:pt x="2426" y="516"/>
                  <a:pt x="2426" y="514"/>
                  <a:pt x="2426" y="512"/>
                </a:cubicBezTo>
                <a:cubicBezTo>
                  <a:pt x="2427" y="509"/>
                  <a:pt x="2427" y="506"/>
                  <a:pt x="2427" y="504"/>
                </a:cubicBezTo>
                <a:cubicBezTo>
                  <a:pt x="2427" y="496"/>
                  <a:pt x="2421" y="491"/>
                  <a:pt x="2412" y="491"/>
                </a:cubicBezTo>
                <a:cubicBezTo>
                  <a:pt x="2412" y="491"/>
                  <a:pt x="2412" y="491"/>
                  <a:pt x="2408" y="491"/>
                </a:cubicBezTo>
                <a:cubicBezTo>
                  <a:pt x="2408" y="491"/>
                  <a:pt x="2408" y="491"/>
                  <a:pt x="2408" y="501"/>
                </a:cubicBezTo>
                <a:cubicBezTo>
                  <a:pt x="2408" y="501"/>
                  <a:pt x="2408" y="501"/>
                  <a:pt x="2410" y="501"/>
                </a:cubicBezTo>
                <a:cubicBezTo>
                  <a:pt x="2414" y="501"/>
                  <a:pt x="2415" y="503"/>
                  <a:pt x="2415" y="507"/>
                </a:cubicBezTo>
                <a:cubicBezTo>
                  <a:pt x="2415" y="508"/>
                  <a:pt x="2415" y="510"/>
                  <a:pt x="2415" y="511"/>
                </a:cubicBezTo>
                <a:cubicBezTo>
                  <a:pt x="2414" y="513"/>
                  <a:pt x="2414" y="515"/>
                  <a:pt x="2414" y="518"/>
                </a:cubicBezTo>
                <a:cubicBezTo>
                  <a:pt x="2414" y="525"/>
                  <a:pt x="2417" y="527"/>
                  <a:pt x="2423" y="528"/>
                </a:cubicBezTo>
                <a:cubicBezTo>
                  <a:pt x="2423" y="528"/>
                  <a:pt x="2423" y="528"/>
                  <a:pt x="2423" y="529"/>
                </a:cubicBezTo>
                <a:cubicBezTo>
                  <a:pt x="2417" y="530"/>
                  <a:pt x="2414" y="533"/>
                  <a:pt x="2414" y="540"/>
                </a:cubicBezTo>
                <a:cubicBezTo>
                  <a:pt x="2414" y="542"/>
                  <a:pt x="2414" y="544"/>
                  <a:pt x="2415" y="546"/>
                </a:cubicBezTo>
                <a:cubicBezTo>
                  <a:pt x="2415" y="548"/>
                  <a:pt x="2415" y="549"/>
                  <a:pt x="2415" y="551"/>
                </a:cubicBezTo>
                <a:cubicBezTo>
                  <a:pt x="2415" y="554"/>
                  <a:pt x="2414" y="557"/>
                  <a:pt x="2410" y="557"/>
                </a:cubicBezTo>
                <a:cubicBezTo>
                  <a:pt x="2410" y="557"/>
                  <a:pt x="2410" y="557"/>
                  <a:pt x="2408" y="557"/>
                </a:cubicBezTo>
                <a:cubicBezTo>
                  <a:pt x="2408" y="557"/>
                  <a:pt x="2408" y="557"/>
                  <a:pt x="2408" y="566"/>
                </a:cubicBezTo>
                <a:cubicBezTo>
                  <a:pt x="2408" y="566"/>
                  <a:pt x="2408" y="566"/>
                  <a:pt x="2412" y="566"/>
                </a:cubicBezTo>
                <a:cubicBezTo>
                  <a:pt x="2421" y="566"/>
                  <a:pt x="2427" y="562"/>
                  <a:pt x="2427" y="553"/>
                </a:cubicBezTo>
                <a:cubicBezTo>
                  <a:pt x="2427" y="551"/>
                  <a:pt x="2427" y="549"/>
                  <a:pt x="2426" y="546"/>
                </a:cubicBezTo>
                <a:cubicBezTo>
                  <a:pt x="2426" y="543"/>
                  <a:pt x="2426" y="541"/>
                  <a:pt x="2426" y="539"/>
                </a:cubicBezTo>
                <a:cubicBezTo>
                  <a:pt x="2426" y="536"/>
                  <a:pt x="2426" y="533"/>
                  <a:pt x="2432" y="533"/>
                </a:cubicBezTo>
                <a:close/>
                <a:moveTo>
                  <a:pt x="2479" y="492"/>
                </a:moveTo>
                <a:cubicBezTo>
                  <a:pt x="2479" y="492"/>
                  <a:pt x="2479" y="492"/>
                  <a:pt x="2479" y="492"/>
                </a:cubicBezTo>
                <a:cubicBezTo>
                  <a:pt x="2474" y="492"/>
                  <a:pt x="2474" y="492"/>
                  <a:pt x="2474" y="492"/>
                </a:cubicBezTo>
                <a:cubicBezTo>
                  <a:pt x="2472" y="494"/>
                  <a:pt x="2470" y="495"/>
                  <a:pt x="2468" y="496"/>
                </a:cubicBezTo>
                <a:cubicBezTo>
                  <a:pt x="2467" y="497"/>
                  <a:pt x="2465" y="498"/>
                  <a:pt x="2463" y="499"/>
                </a:cubicBezTo>
                <a:cubicBezTo>
                  <a:pt x="2461" y="500"/>
                  <a:pt x="2459" y="500"/>
                  <a:pt x="2458" y="501"/>
                </a:cubicBezTo>
                <a:cubicBezTo>
                  <a:pt x="2456" y="502"/>
                  <a:pt x="2454" y="503"/>
                  <a:pt x="2452" y="503"/>
                </a:cubicBezTo>
                <a:cubicBezTo>
                  <a:pt x="2452" y="503"/>
                  <a:pt x="2452" y="503"/>
                  <a:pt x="2452" y="513"/>
                </a:cubicBezTo>
                <a:cubicBezTo>
                  <a:pt x="2455" y="513"/>
                  <a:pt x="2458" y="511"/>
                  <a:pt x="2460" y="511"/>
                </a:cubicBezTo>
                <a:cubicBezTo>
                  <a:pt x="2463" y="510"/>
                  <a:pt x="2465" y="508"/>
                  <a:pt x="2467" y="507"/>
                </a:cubicBezTo>
                <a:cubicBezTo>
                  <a:pt x="2467" y="507"/>
                  <a:pt x="2467" y="507"/>
                  <a:pt x="2467" y="566"/>
                </a:cubicBezTo>
                <a:cubicBezTo>
                  <a:pt x="2467" y="566"/>
                  <a:pt x="2467" y="566"/>
                  <a:pt x="2479" y="566"/>
                </a:cubicBezTo>
                <a:cubicBezTo>
                  <a:pt x="2479" y="566"/>
                  <a:pt x="2479" y="566"/>
                  <a:pt x="2479" y="492"/>
                </a:cubicBezTo>
                <a:close/>
                <a:moveTo>
                  <a:pt x="2526" y="492"/>
                </a:moveTo>
                <a:cubicBezTo>
                  <a:pt x="2526" y="492"/>
                  <a:pt x="2526" y="492"/>
                  <a:pt x="2526" y="492"/>
                </a:cubicBezTo>
                <a:cubicBezTo>
                  <a:pt x="2521" y="492"/>
                  <a:pt x="2521" y="492"/>
                  <a:pt x="2521" y="492"/>
                </a:cubicBezTo>
                <a:cubicBezTo>
                  <a:pt x="2518" y="494"/>
                  <a:pt x="2517" y="495"/>
                  <a:pt x="2515" y="496"/>
                </a:cubicBezTo>
                <a:cubicBezTo>
                  <a:pt x="2513" y="497"/>
                  <a:pt x="2511" y="498"/>
                  <a:pt x="2510" y="499"/>
                </a:cubicBezTo>
                <a:cubicBezTo>
                  <a:pt x="2508" y="500"/>
                  <a:pt x="2506" y="501"/>
                  <a:pt x="2505" y="502"/>
                </a:cubicBezTo>
                <a:cubicBezTo>
                  <a:pt x="2502" y="503"/>
                  <a:pt x="2501" y="503"/>
                  <a:pt x="2499" y="503"/>
                </a:cubicBezTo>
                <a:cubicBezTo>
                  <a:pt x="2499" y="503"/>
                  <a:pt x="2499" y="503"/>
                  <a:pt x="2499" y="513"/>
                </a:cubicBezTo>
                <a:cubicBezTo>
                  <a:pt x="2502" y="513"/>
                  <a:pt x="2505" y="512"/>
                  <a:pt x="2507" y="511"/>
                </a:cubicBezTo>
                <a:cubicBezTo>
                  <a:pt x="2510" y="510"/>
                  <a:pt x="2512" y="508"/>
                  <a:pt x="2514" y="507"/>
                </a:cubicBezTo>
                <a:cubicBezTo>
                  <a:pt x="2514" y="507"/>
                  <a:pt x="2514" y="507"/>
                  <a:pt x="2514" y="566"/>
                </a:cubicBezTo>
                <a:cubicBezTo>
                  <a:pt x="2514" y="566"/>
                  <a:pt x="2514" y="566"/>
                  <a:pt x="2526" y="566"/>
                </a:cubicBezTo>
                <a:cubicBezTo>
                  <a:pt x="2526" y="566"/>
                  <a:pt x="2526" y="566"/>
                  <a:pt x="2526" y="492"/>
                </a:cubicBezTo>
                <a:close/>
                <a:moveTo>
                  <a:pt x="2571" y="492"/>
                </a:moveTo>
                <a:cubicBezTo>
                  <a:pt x="2571" y="492"/>
                  <a:pt x="2571" y="492"/>
                  <a:pt x="2571" y="492"/>
                </a:cubicBezTo>
                <a:cubicBezTo>
                  <a:pt x="2567" y="492"/>
                  <a:pt x="2567" y="492"/>
                  <a:pt x="2567" y="492"/>
                </a:cubicBezTo>
                <a:cubicBezTo>
                  <a:pt x="2565" y="494"/>
                  <a:pt x="2563" y="495"/>
                  <a:pt x="2561" y="496"/>
                </a:cubicBezTo>
                <a:cubicBezTo>
                  <a:pt x="2560" y="497"/>
                  <a:pt x="2558" y="498"/>
                  <a:pt x="2556" y="499"/>
                </a:cubicBezTo>
                <a:cubicBezTo>
                  <a:pt x="2554" y="500"/>
                  <a:pt x="2552" y="501"/>
                  <a:pt x="2550" y="502"/>
                </a:cubicBezTo>
                <a:cubicBezTo>
                  <a:pt x="2549" y="503"/>
                  <a:pt x="2547" y="503"/>
                  <a:pt x="2545" y="503"/>
                </a:cubicBezTo>
                <a:cubicBezTo>
                  <a:pt x="2545" y="503"/>
                  <a:pt x="2545" y="503"/>
                  <a:pt x="2545" y="513"/>
                </a:cubicBezTo>
                <a:cubicBezTo>
                  <a:pt x="2548" y="513"/>
                  <a:pt x="2551" y="512"/>
                  <a:pt x="2553" y="511"/>
                </a:cubicBezTo>
                <a:cubicBezTo>
                  <a:pt x="2555" y="510"/>
                  <a:pt x="2558" y="508"/>
                  <a:pt x="2560" y="507"/>
                </a:cubicBezTo>
                <a:cubicBezTo>
                  <a:pt x="2560" y="507"/>
                  <a:pt x="2560" y="507"/>
                  <a:pt x="2560" y="566"/>
                </a:cubicBezTo>
                <a:cubicBezTo>
                  <a:pt x="2560" y="566"/>
                  <a:pt x="2560" y="566"/>
                  <a:pt x="2571" y="566"/>
                </a:cubicBezTo>
                <a:cubicBezTo>
                  <a:pt x="2571" y="566"/>
                  <a:pt x="2571" y="566"/>
                  <a:pt x="2571" y="492"/>
                </a:cubicBezTo>
                <a:close/>
                <a:moveTo>
                  <a:pt x="2321" y="540"/>
                </a:moveTo>
                <a:cubicBezTo>
                  <a:pt x="2322" y="541"/>
                  <a:pt x="2322" y="542"/>
                  <a:pt x="2323" y="544"/>
                </a:cubicBezTo>
                <a:cubicBezTo>
                  <a:pt x="2323" y="546"/>
                  <a:pt x="2323" y="548"/>
                  <a:pt x="2324" y="549"/>
                </a:cubicBezTo>
                <a:cubicBezTo>
                  <a:pt x="2324" y="551"/>
                  <a:pt x="2324" y="552"/>
                  <a:pt x="2324" y="554"/>
                </a:cubicBezTo>
                <a:cubicBezTo>
                  <a:pt x="2325" y="557"/>
                  <a:pt x="2324" y="559"/>
                  <a:pt x="2321" y="559"/>
                </a:cubicBezTo>
                <a:cubicBezTo>
                  <a:pt x="2318" y="559"/>
                  <a:pt x="2315" y="558"/>
                  <a:pt x="2313" y="558"/>
                </a:cubicBezTo>
                <a:cubicBezTo>
                  <a:pt x="2312" y="558"/>
                  <a:pt x="2311" y="558"/>
                  <a:pt x="2311" y="559"/>
                </a:cubicBezTo>
                <a:cubicBezTo>
                  <a:pt x="2309" y="560"/>
                  <a:pt x="2308" y="561"/>
                  <a:pt x="2307" y="563"/>
                </a:cubicBezTo>
                <a:cubicBezTo>
                  <a:pt x="2305" y="565"/>
                  <a:pt x="2302" y="566"/>
                  <a:pt x="2299" y="564"/>
                </a:cubicBezTo>
                <a:cubicBezTo>
                  <a:pt x="2297" y="561"/>
                  <a:pt x="2296" y="559"/>
                  <a:pt x="2294" y="556"/>
                </a:cubicBezTo>
                <a:cubicBezTo>
                  <a:pt x="2294" y="555"/>
                  <a:pt x="2294" y="553"/>
                  <a:pt x="2296" y="552"/>
                </a:cubicBezTo>
                <a:cubicBezTo>
                  <a:pt x="2294" y="552"/>
                  <a:pt x="2292" y="552"/>
                  <a:pt x="2291" y="552"/>
                </a:cubicBezTo>
                <a:cubicBezTo>
                  <a:pt x="2290" y="554"/>
                  <a:pt x="2289" y="556"/>
                  <a:pt x="2288" y="557"/>
                </a:cubicBezTo>
                <a:cubicBezTo>
                  <a:pt x="2288" y="558"/>
                  <a:pt x="2287" y="559"/>
                  <a:pt x="2287" y="560"/>
                </a:cubicBezTo>
                <a:cubicBezTo>
                  <a:pt x="2287" y="563"/>
                  <a:pt x="2286" y="564"/>
                  <a:pt x="2283" y="564"/>
                </a:cubicBezTo>
                <a:cubicBezTo>
                  <a:pt x="2280" y="563"/>
                  <a:pt x="2277" y="563"/>
                  <a:pt x="2274" y="561"/>
                </a:cubicBezTo>
                <a:cubicBezTo>
                  <a:pt x="2272" y="561"/>
                  <a:pt x="2272" y="559"/>
                  <a:pt x="2272" y="557"/>
                </a:cubicBezTo>
                <a:cubicBezTo>
                  <a:pt x="2273" y="557"/>
                  <a:pt x="2273" y="556"/>
                  <a:pt x="2273" y="556"/>
                </a:cubicBezTo>
                <a:cubicBezTo>
                  <a:pt x="2271" y="555"/>
                  <a:pt x="2268" y="554"/>
                  <a:pt x="2266" y="552"/>
                </a:cubicBezTo>
                <a:cubicBezTo>
                  <a:pt x="2265" y="552"/>
                  <a:pt x="2264" y="550"/>
                  <a:pt x="2263" y="548"/>
                </a:cubicBezTo>
                <a:cubicBezTo>
                  <a:pt x="2262" y="546"/>
                  <a:pt x="2262" y="544"/>
                  <a:pt x="2264" y="543"/>
                </a:cubicBezTo>
                <a:cubicBezTo>
                  <a:pt x="2267" y="540"/>
                  <a:pt x="2268" y="538"/>
                  <a:pt x="2267" y="534"/>
                </a:cubicBezTo>
                <a:cubicBezTo>
                  <a:pt x="2267" y="532"/>
                  <a:pt x="2267" y="529"/>
                  <a:pt x="2267" y="528"/>
                </a:cubicBezTo>
                <a:cubicBezTo>
                  <a:pt x="2266" y="527"/>
                  <a:pt x="2264" y="527"/>
                  <a:pt x="2263" y="525"/>
                </a:cubicBezTo>
                <a:cubicBezTo>
                  <a:pt x="2262" y="524"/>
                  <a:pt x="2262" y="522"/>
                  <a:pt x="2262" y="520"/>
                </a:cubicBezTo>
                <a:cubicBezTo>
                  <a:pt x="2261" y="517"/>
                  <a:pt x="2265" y="514"/>
                  <a:pt x="2267" y="514"/>
                </a:cubicBezTo>
                <a:cubicBezTo>
                  <a:pt x="2268" y="514"/>
                  <a:pt x="2268" y="515"/>
                  <a:pt x="2268" y="516"/>
                </a:cubicBezTo>
                <a:cubicBezTo>
                  <a:pt x="2268" y="517"/>
                  <a:pt x="2268" y="518"/>
                  <a:pt x="2269" y="519"/>
                </a:cubicBezTo>
                <a:cubicBezTo>
                  <a:pt x="2268" y="519"/>
                  <a:pt x="2267" y="519"/>
                  <a:pt x="2267" y="519"/>
                </a:cubicBezTo>
                <a:cubicBezTo>
                  <a:pt x="2267" y="520"/>
                  <a:pt x="2266" y="521"/>
                  <a:pt x="2265" y="523"/>
                </a:cubicBezTo>
                <a:cubicBezTo>
                  <a:pt x="2267" y="523"/>
                  <a:pt x="2267" y="523"/>
                  <a:pt x="2268" y="522"/>
                </a:cubicBezTo>
                <a:cubicBezTo>
                  <a:pt x="2269" y="521"/>
                  <a:pt x="2270" y="520"/>
                  <a:pt x="2271" y="519"/>
                </a:cubicBezTo>
                <a:cubicBezTo>
                  <a:pt x="2275" y="512"/>
                  <a:pt x="2281" y="508"/>
                  <a:pt x="2289" y="507"/>
                </a:cubicBezTo>
                <a:cubicBezTo>
                  <a:pt x="2292" y="506"/>
                  <a:pt x="2295" y="505"/>
                  <a:pt x="2297" y="502"/>
                </a:cubicBezTo>
                <a:cubicBezTo>
                  <a:pt x="2297" y="502"/>
                  <a:pt x="2298" y="502"/>
                  <a:pt x="2298" y="502"/>
                </a:cubicBezTo>
                <a:cubicBezTo>
                  <a:pt x="2301" y="501"/>
                  <a:pt x="2303" y="499"/>
                  <a:pt x="2305" y="497"/>
                </a:cubicBezTo>
                <a:cubicBezTo>
                  <a:pt x="2312" y="489"/>
                  <a:pt x="2324" y="489"/>
                  <a:pt x="2332" y="496"/>
                </a:cubicBezTo>
                <a:cubicBezTo>
                  <a:pt x="2334" y="498"/>
                  <a:pt x="2337" y="500"/>
                  <a:pt x="2339" y="502"/>
                </a:cubicBezTo>
                <a:cubicBezTo>
                  <a:pt x="2341" y="503"/>
                  <a:pt x="2342" y="504"/>
                  <a:pt x="2343" y="506"/>
                </a:cubicBezTo>
                <a:cubicBezTo>
                  <a:pt x="2344" y="508"/>
                  <a:pt x="2345" y="508"/>
                  <a:pt x="2346" y="507"/>
                </a:cubicBezTo>
                <a:cubicBezTo>
                  <a:pt x="2347" y="506"/>
                  <a:pt x="2347" y="506"/>
                  <a:pt x="2348" y="505"/>
                </a:cubicBezTo>
                <a:cubicBezTo>
                  <a:pt x="2350" y="502"/>
                  <a:pt x="2353" y="502"/>
                  <a:pt x="2354" y="505"/>
                </a:cubicBezTo>
                <a:cubicBezTo>
                  <a:pt x="2356" y="508"/>
                  <a:pt x="2356" y="511"/>
                  <a:pt x="2357" y="514"/>
                </a:cubicBezTo>
                <a:cubicBezTo>
                  <a:pt x="2358" y="519"/>
                  <a:pt x="2357" y="523"/>
                  <a:pt x="2356" y="527"/>
                </a:cubicBezTo>
                <a:cubicBezTo>
                  <a:pt x="2353" y="534"/>
                  <a:pt x="2349" y="537"/>
                  <a:pt x="2342" y="537"/>
                </a:cubicBezTo>
                <a:cubicBezTo>
                  <a:pt x="2341" y="537"/>
                  <a:pt x="2341" y="537"/>
                  <a:pt x="2340" y="537"/>
                </a:cubicBezTo>
                <a:cubicBezTo>
                  <a:pt x="2338" y="537"/>
                  <a:pt x="2336" y="537"/>
                  <a:pt x="2336" y="540"/>
                </a:cubicBezTo>
                <a:cubicBezTo>
                  <a:pt x="2334" y="544"/>
                  <a:pt x="2329" y="546"/>
                  <a:pt x="2325" y="542"/>
                </a:cubicBezTo>
                <a:cubicBezTo>
                  <a:pt x="2324" y="541"/>
                  <a:pt x="2323" y="540"/>
                  <a:pt x="2322" y="539"/>
                </a:cubicBezTo>
                <a:cubicBezTo>
                  <a:pt x="2322" y="540"/>
                  <a:pt x="2322" y="540"/>
                  <a:pt x="2321" y="540"/>
                </a:cubicBezTo>
                <a:close/>
                <a:moveTo>
                  <a:pt x="2316" y="535"/>
                </a:moveTo>
                <a:cubicBezTo>
                  <a:pt x="2319" y="537"/>
                  <a:pt x="2323" y="538"/>
                  <a:pt x="2325" y="541"/>
                </a:cubicBezTo>
                <a:cubicBezTo>
                  <a:pt x="2327" y="542"/>
                  <a:pt x="2329" y="543"/>
                  <a:pt x="2331" y="542"/>
                </a:cubicBezTo>
                <a:cubicBezTo>
                  <a:pt x="2334" y="542"/>
                  <a:pt x="2335" y="540"/>
                  <a:pt x="2335" y="537"/>
                </a:cubicBezTo>
                <a:cubicBezTo>
                  <a:pt x="2335" y="537"/>
                  <a:pt x="2334" y="537"/>
                  <a:pt x="2334" y="537"/>
                </a:cubicBezTo>
                <a:cubicBezTo>
                  <a:pt x="2334" y="539"/>
                  <a:pt x="2333" y="540"/>
                  <a:pt x="2332" y="541"/>
                </a:cubicBezTo>
                <a:cubicBezTo>
                  <a:pt x="2331" y="542"/>
                  <a:pt x="2329" y="542"/>
                  <a:pt x="2329" y="541"/>
                </a:cubicBezTo>
                <a:cubicBezTo>
                  <a:pt x="2328" y="541"/>
                  <a:pt x="2327" y="540"/>
                  <a:pt x="2327" y="539"/>
                </a:cubicBezTo>
                <a:cubicBezTo>
                  <a:pt x="2327" y="537"/>
                  <a:pt x="2328" y="535"/>
                  <a:pt x="2328" y="533"/>
                </a:cubicBezTo>
                <a:cubicBezTo>
                  <a:pt x="2331" y="534"/>
                  <a:pt x="2334" y="535"/>
                  <a:pt x="2338" y="535"/>
                </a:cubicBezTo>
                <a:cubicBezTo>
                  <a:pt x="2345" y="537"/>
                  <a:pt x="2351" y="535"/>
                  <a:pt x="2354" y="526"/>
                </a:cubicBezTo>
                <a:cubicBezTo>
                  <a:pt x="2356" y="521"/>
                  <a:pt x="2356" y="517"/>
                  <a:pt x="2355" y="512"/>
                </a:cubicBezTo>
                <a:cubicBezTo>
                  <a:pt x="2354" y="510"/>
                  <a:pt x="2354" y="508"/>
                  <a:pt x="2353" y="506"/>
                </a:cubicBezTo>
                <a:cubicBezTo>
                  <a:pt x="2352" y="504"/>
                  <a:pt x="2351" y="504"/>
                  <a:pt x="2350" y="506"/>
                </a:cubicBezTo>
                <a:cubicBezTo>
                  <a:pt x="2348" y="507"/>
                  <a:pt x="2347" y="509"/>
                  <a:pt x="2345" y="510"/>
                </a:cubicBezTo>
                <a:cubicBezTo>
                  <a:pt x="2344" y="510"/>
                  <a:pt x="2343" y="511"/>
                  <a:pt x="2343" y="512"/>
                </a:cubicBezTo>
                <a:cubicBezTo>
                  <a:pt x="2344" y="515"/>
                  <a:pt x="2343" y="518"/>
                  <a:pt x="2342" y="521"/>
                </a:cubicBezTo>
                <a:cubicBezTo>
                  <a:pt x="2342" y="519"/>
                  <a:pt x="2343" y="518"/>
                  <a:pt x="2343" y="516"/>
                </a:cubicBezTo>
                <a:cubicBezTo>
                  <a:pt x="2343" y="515"/>
                  <a:pt x="2342" y="515"/>
                  <a:pt x="2342" y="514"/>
                </a:cubicBezTo>
                <a:cubicBezTo>
                  <a:pt x="2342" y="515"/>
                  <a:pt x="2341" y="515"/>
                  <a:pt x="2341" y="515"/>
                </a:cubicBezTo>
                <a:cubicBezTo>
                  <a:pt x="2340" y="516"/>
                  <a:pt x="2339" y="518"/>
                  <a:pt x="2338" y="519"/>
                </a:cubicBezTo>
                <a:cubicBezTo>
                  <a:pt x="2338" y="519"/>
                  <a:pt x="2338" y="519"/>
                  <a:pt x="2338" y="519"/>
                </a:cubicBezTo>
                <a:cubicBezTo>
                  <a:pt x="2338" y="518"/>
                  <a:pt x="2339" y="516"/>
                  <a:pt x="2339" y="514"/>
                </a:cubicBezTo>
                <a:cubicBezTo>
                  <a:pt x="2338" y="514"/>
                  <a:pt x="2338" y="515"/>
                  <a:pt x="2337" y="516"/>
                </a:cubicBezTo>
                <a:cubicBezTo>
                  <a:pt x="2336" y="516"/>
                  <a:pt x="2336" y="517"/>
                  <a:pt x="2336" y="518"/>
                </a:cubicBezTo>
                <a:cubicBezTo>
                  <a:pt x="2336" y="514"/>
                  <a:pt x="2336" y="514"/>
                  <a:pt x="2342" y="513"/>
                </a:cubicBezTo>
                <a:cubicBezTo>
                  <a:pt x="2342" y="512"/>
                  <a:pt x="2341" y="512"/>
                  <a:pt x="2341" y="512"/>
                </a:cubicBezTo>
                <a:cubicBezTo>
                  <a:pt x="2338" y="512"/>
                  <a:pt x="2338" y="511"/>
                  <a:pt x="2337" y="508"/>
                </a:cubicBezTo>
                <a:cubicBezTo>
                  <a:pt x="2339" y="508"/>
                  <a:pt x="2340" y="508"/>
                  <a:pt x="2342" y="507"/>
                </a:cubicBezTo>
                <a:cubicBezTo>
                  <a:pt x="2340" y="505"/>
                  <a:pt x="2339" y="502"/>
                  <a:pt x="2336" y="502"/>
                </a:cubicBezTo>
                <a:cubicBezTo>
                  <a:pt x="2335" y="502"/>
                  <a:pt x="2335" y="501"/>
                  <a:pt x="2335" y="501"/>
                </a:cubicBezTo>
                <a:cubicBezTo>
                  <a:pt x="2333" y="499"/>
                  <a:pt x="2330" y="497"/>
                  <a:pt x="2327" y="495"/>
                </a:cubicBezTo>
                <a:cubicBezTo>
                  <a:pt x="2325" y="493"/>
                  <a:pt x="2322" y="493"/>
                  <a:pt x="2320" y="493"/>
                </a:cubicBezTo>
                <a:cubicBezTo>
                  <a:pt x="2317" y="493"/>
                  <a:pt x="2314" y="494"/>
                  <a:pt x="2311" y="495"/>
                </a:cubicBezTo>
                <a:cubicBezTo>
                  <a:pt x="2308" y="496"/>
                  <a:pt x="2305" y="498"/>
                  <a:pt x="2303" y="501"/>
                </a:cubicBezTo>
                <a:cubicBezTo>
                  <a:pt x="2305" y="501"/>
                  <a:pt x="2306" y="501"/>
                  <a:pt x="2307" y="501"/>
                </a:cubicBezTo>
                <a:cubicBezTo>
                  <a:pt x="2307" y="501"/>
                  <a:pt x="2306" y="502"/>
                  <a:pt x="2305" y="502"/>
                </a:cubicBezTo>
                <a:cubicBezTo>
                  <a:pt x="2303" y="502"/>
                  <a:pt x="2300" y="502"/>
                  <a:pt x="2298" y="504"/>
                </a:cubicBezTo>
                <a:cubicBezTo>
                  <a:pt x="2295" y="508"/>
                  <a:pt x="2291" y="512"/>
                  <a:pt x="2287" y="516"/>
                </a:cubicBezTo>
                <a:cubicBezTo>
                  <a:pt x="2286" y="518"/>
                  <a:pt x="2285" y="520"/>
                  <a:pt x="2284" y="523"/>
                </a:cubicBezTo>
                <a:cubicBezTo>
                  <a:pt x="2284" y="523"/>
                  <a:pt x="2284" y="524"/>
                  <a:pt x="2284" y="524"/>
                </a:cubicBezTo>
                <a:cubicBezTo>
                  <a:pt x="2285" y="526"/>
                  <a:pt x="2287" y="528"/>
                  <a:pt x="2288" y="530"/>
                </a:cubicBezTo>
                <a:cubicBezTo>
                  <a:pt x="2289" y="529"/>
                  <a:pt x="2291" y="527"/>
                  <a:pt x="2292" y="526"/>
                </a:cubicBezTo>
                <a:cubicBezTo>
                  <a:pt x="2291" y="527"/>
                  <a:pt x="2291" y="528"/>
                  <a:pt x="2290" y="530"/>
                </a:cubicBezTo>
                <a:cubicBezTo>
                  <a:pt x="2289" y="531"/>
                  <a:pt x="2289" y="532"/>
                  <a:pt x="2288" y="534"/>
                </a:cubicBezTo>
                <a:cubicBezTo>
                  <a:pt x="2288" y="535"/>
                  <a:pt x="2288" y="536"/>
                  <a:pt x="2289" y="537"/>
                </a:cubicBezTo>
                <a:cubicBezTo>
                  <a:pt x="2291" y="540"/>
                  <a:pt x="2294" y="540"/>
                  <a:pt x="2298" y="538"/>
                </a:cubicBezTo>
                <a:cubicBezTo>
                  <a:pt x="2300" y="537"/>
                  <a:pt x="2303" y="535"/>
                  <a:pt x="2306" y="535"/>
                </a:cubicBezTo>
                <a:cubicBezTo>
                  <a:pt x="2307" y="534"/>
                  <a:pt x="2309" y="533"/>
                  <a:pt x="2309" y="532"/>
                </a:cubicBezTo>
                <a:cubicBezTo>
                  <a:pt x="2309" y="529"/>
                  <a:pt x="2309" y="525"/>
                  <a:pt x="2309" y="522"/>
                </a:cubicBezTo>
                <a:cubicBezTo>
                  <a:pt x="2309" y="519"/>
                  <a:pt x="2309" y="516"/>
                  <a:pt x="2309" y="513"/>
                </a:cubicBezTo>
                <a:cubicBezTo>
                  <a:pt x="2309" y="516"/>
                  <a:pt x="2310" y="518"/>
                  <a:pt x="2310" y="521"/>
                </a:cubicBezTo>
                <a:cubicBezTo>
                  <a:pt x="2311" y="525"/>
                  <a:pt x="2311" y="530"/>
                  <a:pt x="2310" y="534"/>
                </a:cubicBezTo>
                <a:cubicBezTo>
                  <a:pt x="2309" y="535"/>
                  <a:pt x="2309" y="536"/>
                  <a:pt x="2308" y="536"/>
                </a:cubicBezTo>
                <a:cubicBezTo>
                  <a:pt x="2305" y="536"/>
                  <a:pt x="2302" y="538"/>
                  <a:pt x="2298" y="540"/>
                </a:cubicBezTo>
                <a:cubicBezTo>
                  <a:pt x="2293" y="543"/>
                  <a:pt x="2290" y="541"/>
                  <a:pt x="2286" y="537"/>
                </a:cubicBezTo>
                <a:cubicBezTo>
                  <a:pt x="2286" y="537"/>
                  <a:pt x="2286" y="535"/>
                  <a:pt x="2286" y="535"/>
                </a:cubicBezTo>
                <a:cubicBezTo>
                  <a:pt x="2287" y="533"/>
                  <a:pt x="2286" y="531"/>
                  <a:pt x="2285" y="529"/>
                </a:cubicBezTo>
                <a:cubicBezTo>
                  <a:pt x="2283" y="527"/>
                  <a:pt x="2282" y="524"/>
                  <a:pt x="2283" y="521"/>
                </a:cubicBezTo>
                <a:cubicBezTo>
                  <a:pt x="2283" y="519"/>
                  <a:pt x="2284" y="518"/>
                  <a:pt x="2285" y="516"/>
                </a:cubicBezTo>
                <a:cubicBezTo>
                  <a:pt x="2287" y="514"/>
                  <a:pt x="2289" y="511"/>
                  <a:pt x="2291" y="508"/>
                </a:cubicBezTo>
                <a:cubicBezTo>
                  <a:pt x="2291" y="508"/>
                  <a:pt x="2290" y="508"/>
                  <a:pt x="2290" y="508"/>
                </a:cubicBezTo>
                <a:cubicBezTo>
                  <a:pt x="2285" y="510"/>
                  <a:pt x="2281" y="511"/>
                  <a:pt x="2277" y="514"/>
                </a:cubicBezTo>
                <a:cubicBezTo>
                  <a:pt x="2272" y="519"/>
                  <a:pt x="2269" y="524"/>
                  <a:pt x="2269" y="531"/>
                </a:cubicBezTo>
                <a:cubicBezTo>
                  <a:pt x="2269" y="537"/>
                  <a:pt x="2271" y="543"/>
                  <a:pt x="2274" y="549"/>
                </a:cubicBezTo>
                <a:cubicBezTo>
                  <a:pt x="2275" y="550"/>
                  <a:pt x="2276" y="552"/>
                  <a:pt x="2275" y="553"/>
                </a:cubicBezTo>
                <a:cubicBezTo>
                  <a:pt x="2275" y="554"/>
                  <a:pt x="2275" y="556"/>
                  <a:pt x="2274" y="557"/>
                </a:cubicBezTo>
                <a:cubicBezTo>
                  <a:pt x="2274" y="559"/>
                  <a:pt x="2274" y="560"/>
                  <a:pt x="2275" y="560"/>
                </a:cubicBezTo>
                <a:cubicBezTo>
                  <a:pt x="2278" y="561"/>
                  <a:pt x="2281" y="561"/>
                  <a:pt x="2284" y="562"/>
                </a:cubicBezTo>
                <a:cubicBezTo>
                  <a:pt x="2285" y="562"/>
                  <a:pt x="2285" y="561"/>
                  <a:pt x="2285" y="561"/>
                </a:cubicBezTo>
                <a:cubicBezTo>
                  <a:pt x="2286" y="559"/>
                  <a:pt x="2286" y="558"/>
                  <a:pt x="2287" y="557"/>
                </a:cubicBezTo>
                <a:cubicBezTo>
                  <a:pt x="2289" y="555"/>
                  <a:pt x="2289" y="552"/>
                  <a:pt x="2289" y="549"/>
                </a:cubicBezTo>
                <a:cubicBezTo>
                  <a:pt x="2289" y="549"/>
                  <a:pt x="2289" y="548"/>
                  <a:pt x="2289" y="548"/>
                </a:cubicBezTo>
                <a:cubicBezTo>
                  <a:pt x="2289" y="548"/>
                  <a:pt x="2289" y="548"/>
                  <a:pt x="2289" y="547"/>
                </a:cubicBezTo>
                <a:cubicBezTo>
                  <a:pt x="2289" y="550"/>
                  <a:pt x="2291" y="550"/>
                  <a:pt x="2293" y="550"/>
                </a:cubicBezTo>
                <a:cubicBezTo>
                  <a:pt x="2293" y="550"/>
                  <a:pt x="2294" y="550"/>
                  <a:pt x="2295" y="550"/>
                </a:cubicBezTo>
                <a:cubicBezTo>
                  <a:pt x="2298" y="550"/>
                  <a:pt x="2301" y="551"/>
                  <a:pt x="2302" y="546"/>
                </a:cubicBezTo>
                <a:cubicBezTo>
                  <a:pt x="2302" y="549"/>
                  <a:pt x="2302" y="550"/>
                  <a:pt x="2302" y="551"/>
                </a:cubicBezTo>
                <a:cubicBezTo>
                  <a:pt x="2300" y="552"/>
                  <a:pt x="2299" y="553"/>
                  <a:pt x="2298" y="553"/>
                </a:cubicBezTo>
                <a:cubicBezTo>
                  <a:pt x="2296" y="554"/>
                  <a:pt x="2296" y="556"/>
                  <a:pt x="2296" y="556"/>
                </a:cubicBezTo>
                <a:cubicBezTo>
                  <a:pt x="2298" y="559"/>
                  <a:pt x="2299" y="561"/>
                  <a:pt x="2300" y="563"/>
                </a:cubicBezTo>
                <a:cubicBezTo>
                  <a:pt x="2302" y="564"/>
                  <a:pt x="2304" y="563"/>
                  <a:pt x="2305" y="562"/>
                </a:cubicBezTo>
                <a:cubicBezTo>
                  <a:pt x="2306" y="561"/>
                  <a:pt x="2307" y="560"/>
                  <a:pt x="2307" y="560"/>
                </a:cubicBezTo>
                <a:cubicBezTo>
                  <a:pt x="2309" y="558"/>
                  <a:pt x="2311" y="557"/>
                  <a:pt x="2312" y="556"/>
                </a:cubicBezTo>
                <a:cubicBezTo>
                  <a:pt x="2316" y="552"/>
                  <a:pt x="2318" y="546"/>
                  <a:pt x="2320" y="540"/>
                </a:cubicBezTo>
                <a:cubicBezTo>
                  <a:pt x="2320" y="539"/>
                  <a:pt x="2319" y="538"/>
                  <a:pt x="2319" y="538"/>
                </a:cubicBezTo>
                <a:cubicBezTo>
                  <a:pt x="2318" y="537"/>
                  <a:pt x="2317" y="536"/>
                  <a:pt x="2316" y="535"/>
                </a:cubicBezTo>
                <a:close/>
                <a:moveTo>
                  <a:pt x="2269" y="542"/>
                </a:moveTo>
                <a:cubicBezTo>
                  <a:pt x="2268" y="542"/>
                  <a:pt x="2266" y="543"/>
                  <a:pt x="2265" y="544"/>
                </a:cubicBezTo>
                <a:cubicBezTo>
                  <a:pt x="2265" y="545"/>
                  <a:pt x="2264" y="546"/>
                  <a:pt x="2264" y="546"/>
                </a:cubicBezTo>
                <a:cubicBezTo>
                  <a:pt x="2264" y="549"/>
                  <a:pt x="2269" y="554"/>
                  <a:pt x="2272" y="553"/>
                </a:cubicBezTo>
                <a:cubicBezTo>
                  <a:pt x="2273" y="553"/>
                  <a:pt x="2274" y="552"/>
                  <a:pt x="2273" y="550"/>
                </a:cubicBezTo>
                <a:cubicBezTo>
                  <a:pt x="2272" y="547"/>
                  <a:pt x="2270" y="544"/>
                  <a:pt x="2269" y="542"/>
                </a:cubicBezTo>
                <a:close/>
                <a:moveTo>
                  <a:pt x="2321" y="544"/>
                </a:moveTo>
                <a:cubicBezTo>
                  <a:pt x="2319" y="548"/>
                  <a:pt x="2316" y="553"/>
                  <a:pt x="2314" y="557"/>
                </a:cubicBezTo>
                <a:cubicBezTo>
                  <a:pt x="2317" y="557"/>
                  <a:pt x="2319" y="557"/>
                  <a:pt x="2322" y="557"/>
                </a:cubicBezTo>
                <a:cubicBezTo>
                  <a:pt x="2322" y="557"/>
                  <a:pt x="2323" y="556"/>
                  <a:pt x="2323" y="556"/>
                </a:cubicBezTo>
                <a:cubicBezTo>
                  <a:pt x="2323" y="553"/>
                  <a:pt x="2323" y="550"/>
                  <a:pt x="2322" y="548"/>
                </a:cubicBezTo>
                <a:cubicBezTo>
                  <a:pt x="2322" y="546"/>
                  <a:pt x="2322" y="545"/>
                  <a:pt x="2321" y="544"/>
                </a:cubicBezTo>
                <a:close/>
                <a:moveTo>
                  <a:pt x="2269" y="523"/>
                </a:moveTo>
                <a:cubicBezTo>
                  <a:pt x="2268" y="524"/>
                  <a:pt x="2267" y="524"/>
                  <a:pt x="2267" y="524"/>
                </a:cubicBezTo>
                <a:cubicBezTo>
                  <a:pt x="2266" y="524"/>
                  <a:pt x="2265" y="524"/>
                  <a:pt x="2265" y="524"/>
                </a:cubicBezTo>
                <a:cubicBezTo>
                  <a:pt x="2265" y="523"/>
                  <a:pt x="2264" y="523"/>
                  <a:pt x="2264" y="522"/>
                </a:cubicBezTo>
                <a:cubicBezTo>
                  <a:pt x="2265" y="520"/>
                  <a:pt x="2265" y="518"/>
                  <a:pt x="2266" y="516"/>
                </a:cubicBezTo>
                <a:cubicBezTo>
                  <a:pt x="2266" y="516"/>
                  <a:pt x="2266" y="516"/>
                  <a:pt x="2265" y="516"/>
                </a:cubicBezTo>
                <a:cubicBezTo>
                  <a:pt x="2265" y="517"/>
                  <a:pt x="2263" y="518"/>
                  <a:pt x="2263" y="519"/>
                </a:cubicBezTo>
                <a:cubicBezTo>
                  <a:pt x="2262" y="520"/>
                  <a:pt x="2263" y="525"/>
                  <a:pt x="2265" y="526"/>
                </a:cubicBezTo>
                <a:cubicBezTo>
                  <a:pt x="2267" y="527"/>
                  <a:pt x="2269" y="525"/>
                  <a:pt x="2269" y="523"/>
                </a:cubicBezTo>
                <a:close/>
                <a:moveTo>
                  <a:pt x="2268" y="542"/>
                </a:moveTo>
                <a:cubicBezTo>
                  <a:pt x="2268" y="543"/>
                  <a:pt x="2266" y="543"/>
                  <a:pt x="2265" y="544"/>
                </a:cubicBezTo>
                <a:cubicBezTo>
                  <a:pt x="2264" y="545"/>
                  <a:pt x="2264" y="546"/>
                  <a:pt x="2264" y="546"/>
                </a:cubicBezTo>
                <a:cubicBezTo>
                  <a:pt x="2264" y="549"/>
                  <a:pt x="2268" y="553"/>
                  <a:pt x="2272" y="553"/>
                </a:cubicBezTo>
                <a:cubicBezTo>
                  <a:pt x="2273" y="553"/>
                  <a:pt x="2274" y="552"/>
                  <a:pt x="2273" y="550"/>
                </a:cubicBezTo>
                <a:cubicBezTo>
                  <a:pt x="2272" y="547"/>
                  <a:pt x="2270" y="544"/>
                  <a:pt x="2268" y="542"/>
                </a:cubicBezTo>
                <a:close/>
                <a:moveTo>
                  <a:pt x="2321" y="544"/>
                </a:moveTo>
                <a:cubicBezTo>
                  <a:pt x="2319" y="548"/>
                  <a:pt x="2316" y="553"/>
                  <a:pt x="2314" y="557"/>
                </a:cubicBezTo>
                <a:cubicBezTo>
                  <a:pt x="2317" y="557"/>
                  <a:pt x="2319" y="558"/>
                  <a:pt x="2322" y="557"/>
                </a:cubicBezTo>
                <a:cubicBezTo>
                  <a:pt x="2322" y="557"/>
                  <a:pt x="2323" y="556"/>
                  <a:pt x="2323" y="556"/>
                </a:cubicBezTo>
                <a:cubicBezTo>
                  <a:pt x="2323" y="553"/>
                  <a:pt x="2323" y="550"/>
                  <a:pt x="2322" y="548"/>
                </a:cubicBezTo>
                <a:cubicBezTo>
                  <a:pt x="2322" y="547"/>
                  <a:pt x="2321" y="545"/>
                  <a:pt x="2321" y="544"/>
                </a:cubicBezTo>
                <a:close/>
                <a:moveTo>
                  <a:pt x="2268" y="523"/>
                </a:moveTo>
                <a:cubicBezTo>
                  <a:pt x="2268" y="524"/>
                  <a:pt x="2267" y="524"/>
                  <a:pt x="2266" y="524"/>
                </a:cubicBezTo>
                <a:cubicBezTo>
                  <a:pt x="2266" y="524"/>
                  <a:pt x="2265" y="524"/>
                  <a:pt x="2265" y="524"/>
                </a:cubicBezTo>
                <a:cubicBezTo>
                  <a:pt x="2264" y="523"/>
                  <a:pt x="2264" y="523"/>
                  <a:pt x="2264" y="522"/>
                </a:cubicBezTo>
                <a:cubicBezTo>
                  <a:pt x="2265" y="520"/>
                  <a:pt x="2265" y="518"/>
                  <a:pt x="2266" y="516"/>
                </a:cubicBezTo>
                <a:cubicBezTo>
                  <a:pt x="2266" y="516"/>
                  <a:pt x="2266" y="516"/>
                  <a:pt x="2265" y="516"/>
                </a:cubicBezTo>
                <a:cubicBezTo>
                  <a:pt x="2264" y="517"/>
                  <a:pt x="2263" y="517"/>
                  <a:pt x="2262" y="519"/>
                </a:cubicBezTo>
                <a:cubicBezTo>
                  <a:pt x="2262" y="520"/>
                  <a:pt x="2263" y="525"/>
                  <a:pt x="2265" y="526"/>
                </a:cubicBezTo>
                <a:cubicBezTo>
                  <a:pt x="2266" y="526"/>
                  <a:pt x="2268" y="525"/>
                  <a:pt x="2268" y="523"/>
                </a:cubicBezTo>
                <a:close/>
                <a:moveTo>
                  <a:pt x="2321" y="515"/>
                </a:moveTo>
                <a:cubicBezTo>
                  <a:pt x="2324" y="512"/>
                  <a:pt x="2324" y="512"/>
                  <a:pt x="2328" y="511"/>
                </a:cubicBezTo>
                <a:cubicBezTo>
                  <a:pt x="2328" y="512"/>
                  <a:pt x="2329" y="514"/>
                  <a:pt x="2330" y="514"/>
                </a:cubicBezTo>
                <a:cubicBezTo>
                  <a:pt x="2328" y="515"/>
                  <a:pt x="2326" y="516"/>
                  <a:pt x="2324" y="517"/>
                </a:cubicBezTo>
                <a:cubicBezTo>
                  <a:pt x="2323" y="517"/>
                  <a:pt x="2323" y="516"/>
                  <a:pt x="2322" y="515"/>
                </a:cubicBezTo>
                <a:cubicBezTo>
                  <a:pt x="2322" y="515"/>
                  <a:pt x="2321" y="515"/>
                  <a:pt x="2321" y="515"/>
                </a:cubicBezTo>
                <a:close/>
                <a:moveTo>
                  <a:pt x="2326" y="515"/>
                </a:moveTo>
                <a:cubicBezTo>
                  <a:pt x="2326" y="514"/>
                  <a:pt x="2325" y="514"/>
                  <a:pt x="2324" y="514"/>
                </a:cubicBezTo>
                <a:cubicBezTo>
                  <a:pt x="2324" y="514"/>
                  <a:pt x="2323" y="515"/>
                  <a:pt x="2323" y="515"/>
                </a:cubicBezTo>
                <a:cubicBezTo>
                  <a:pt x="2323" y="515"/>
                  <a:pt x="2324" y="516"/>
                  <a:pt x="2324" y="516"/>
                </a:cubicBezTo>
                <a:cubicBezTo>
                  <a:pt x="2325" y="516"/>
                  <a:pt x="2325" y="515"/>
                  <a:pt x="2326" y="515"/>
                </a:cubicBezTo>
                <a:close/>
                <a:moveTo>
                  <a:pt x="2308" y="505"/>
                </a:moveTo>
                <a:cubicBezTo>
                  <a:pt x="2301" y="504"/>
                  <a:pt x="2298" y="507"/>
                  <a:pt x="2297" y="515"/>
                </a:cubicBezTo>
                <a:cubicBezTo>
                  <a:pt x="2298" y="513"/>
                  <a:pt x="2299" y="510"/>
                  <a:pt x="2301" y="508"/>
                </a:cubicBezTo>
                <a:cubicBezTo>
                  <a:pt x="2301" y="508"/>
                  <a:pt x="2301" y="508"/>
                  <a:pt x="2301" y="508"/>
                </a:cubicBezTo>
                <a:cubicBezTo>
                  <a:pt x="2301" y="509"/>
                  <a:pt x="2301" y="510"/>
                  <a:pt x="2301" y="511"/>
                </a:cubicBezTo>
                <a:cubicBezTo>
                  <a:pt x="2303" y="508"/>
                  <a:pt x="2304" y="506"/>
                  <a:pt x="2308" y="505"/>
                </a:cubicBezTo>
                <a:close/>
                <a:moveTo>
                  <a:pt x="2351" y="507"/>
                </a:moveTo>
                <a:cubicBezTo>
                  <a:pt x="2349" y="508"/>
                  <a:pt x="2347" y="510"/>
                  <a:pt x="2346" y="511"/>
                </a:cubicBezTo>
                <a:cubicBezTo>
                  <a:pt x="2348" y="511"/>
                  <a:pt x="2350" y="510"/>
                  <a:pt x="2351" y="507"/>
                </a:cubicBezTo>
                <a:close/>
                <a:moveTo>
                  <a:pt x="2318" y="509"/>
                </a:moveTo>
                <a:cubicBezTo>
                  <a:pt x="2319" y="508"/>
                  <a:pt x="2320" y="506"/>
                  <a:pt x="2322" y="505"/>
                </a:cubicBezTo>
                <a:cubicBezTo>
                  <a:pt x="2318" y="506"/>
                  <a:pt x="2317" y="507"/>
                  <a:pt x="2318" y="509"/>
                </a:cubicBezTo>
                <a:close/>
                <a:moveTo>
                  <a:pt x="2328" y="530"/>
                </a:moveTo>
                <a:cubicBezTo>
                  <a:pt x="2326" y="531"/>
                  <a:pt x="2325" y="531"/>
                  <a:pt x="2325" y="532"/>
                </a:cubicBezTo>
                <a:cubicBezTo>
                  <a:pt x="2326" y="532"/>
                  <a:pt x="2327" y="531"/>
                  <a:pt x="2328" y="530"/>
                </a:cubicBezTo>
                <a:close/>
                <a:moveTo>
                  <a:pt x="2326" y="515"/>
                </a:moveTo>
                <a:cubicBezTo>
                  <a:pt x="2326" y="514"/>
                  <a:pt x="2325" y="514"/>
                  <a:pt x="2325" y="514"/>
                </a:cubicBezTo>
                <a:cubicBezTo>
                  <a:pt x="2324" y="514"/>
                  <a:pt x="2324" y="515"/>
                  <a:pt x="2324" y="515"/>
                </a:cubicBezTo>
                <a:cubicBezTo>
                  <a:pt x="2324" y="516"/>
                  <a:pt x="2324" y="516"/>
                  <a:pt x="2324" y="516"/>
                </a:cubicBezTo>
                <a:cubicBezTo>
                  <a:pt x="2325" y="516"/>
                  <a:pt x="2325" y="516"/>
                  <a:pt x="2326" y="515"/>
                </a:cubicBezTo>
                <a:close/>
                <a:moveTo>
                  <a:pt x="2617" y="492"/>
                </a:moveTo>
                <a:cubicBezTo>
                  <a:pt x="2617" y="492"/>
                  <a:pt x="2617" y="492"/>
                  <a:pt x="2617" y="492"/>
                </a:cubicBezTo>
                <a:cubicBezTo>
                  <a:pt x="2613" y="492"/>
                  <a:pt x="2613" y="492"/>
                  <a:pt x="2613" y="492"/>
                </a:cubicBezTo>
                <a:cubicBezTo>
                  <a:pt x="2611" y="494"/>
                  <a:pt x="2609" y="495"/>
                  <a:pt x="2607" y="496"/>
                </a:cubicBezTo>
                <a:cubicBezTo>
                  <a:pt x="2606" y="497"/>
                  <a:pt x="2603" y="498"/>
                  <a:pt x="2602" y="499"/>
                </a:cubicBezTo>
                <a:cubicBezTo>
                  <a:pt x="2600" y="500"/>
                  <a:pt x="2598" y="501"/>
                  <a:pt x="2596" y="502"/>
                </a:cubicBezTo>
                <a:cubicBezTo>
                  <a:pt x="2595" y="503"/>
                  <a:pt x="2592" y="503"/>
                  <a:pt x="2591" y="503"/>
                </a:cubicBezTo>
                <a:cubicBezTo>
                  <a:pt x="2591" y="503"/>
                  <a:pt x="2591" y="503"/>
                  <a:pt x="2591" y="513"/>
                </a:cubicBezTo>
                <a:cubicBezTo>
                  <a:pt x="2594" y="513"/>
                  <a:pt x="2597" y="512"/>
                  <a:pt x="2599" y="511"/>
                </a:cubicBezTo>
                <a:cubicBezTo>
                  <a:pt x="2601" y="510"/>
                  <a:pt x="2604" y="508"/>
                  <a:pt x="2606" y="507"/>
                </a:cubicBezTo>
                <a:cubicBezTo>
                  <a:pt x="2606" y="507"/>
                  <a:pt x="2606" y="507"/>
                  <a:pt x="2606" y="566"/>
                </a:cubicBezTo>
                <a:cubicBezTo>
                  <a:pt x="2606" y="566"/>
                  <a:pt x="2606" y="566"/>
                  <a:pt x="2617" y="566"/>
                </a:cubicBezTo>
                <a:cubicBezTo>
                  <a:pt x="2617" y="566"/>
                  <a:pt x="2617" y="566"/>
                  <a:pt x="2617" y="492"/>
                </a:cubicBezTo>
                <a:close/>
                <a:moveTo>
                  <a:pt x="2739" y="492"/>
                </a:moveTo>
                <a:cubicBezTo>
                  <a:pt x="2739" y="492"/>
                  <a:pt x="2739" y="492"/>
                  <a:pt x="2739" y="492"/>
                </a:cubicBezTo>
                <a:cubicBezTo>
                  <a:pt x="2734" y="492"/>
                  <a:pt x="2734" y="492"/>
                  <a:pt x="2734" y="492"/>
                </a:cubicBezTo>
                <a:cubicBezTo>
                  <a:pt x="2731" y="494"/>
                  <a:pt x="2730" y="495"/>
                  <a:pt x="2728" y="496"/>
                </a:cubicBezTo>
                <a:cubicBezTo>
                  <a:pt x="2726" y="497"/>
                  <a:pt x="2725" y="498"/>
                  <a:pt x="2722" y="499"/>
                </a:cubicBezTo>
                <a:cubicBezTo>
                  <a:pt x="2721" y="500"/>
                  <a:pt x="2719" y="501"/>
                  <a:pt x="2717" y="502"/>
                </a:cubicBezTo>
                <a:cubicBezTo>
                  <a:pt x="2715" y="503"/>
                  <a:pt x="2714" y="503"/>
                  <a:pt x="2711" y="503"/>
                </a:cubicBezTo>
                <a:cubicBezTo>
                  <a:pt x="2711" y="503"/>
                  <a:pt x="2711" y="503"/>
                  <a:pt x="2711" y="513"/>
                </a:cubicBezTo>
                <a:cubicBezTo>
                  <a:pt x="2714" y="513"/>
                  <a:pt x="2717" y="512"/>
                  <a:pt x="2720" y="511"/>
                </a:cubicBezTo>
                <a:cubicBezTo>
                  <a:pt x="2722" y="510"/>
                  <a:pt x="2725" y="508"/>
                  <a:pt x="2727" y="507"/>
                </a:cubicBezTo>
                <a:cubicBezTo>
                  <a:pt x="2727" y="507"/>
                  <a:pt x="2727" y="507"/>
                  <a:pt x="2727" y="566"/>
                </a:cubicBezTo>
                <a:cubicBezTo>
                  <a:pt x="2727" y="566"/>
                  <a:pt x="2727" y="566"/>
                  <a:pt x="2739" y="566"/>
                </a:cubicBezTo>
                <a:cubicBezTo>
                  <a:pt x="2739" y="566"/>
                  <a:pt x="2739" y="566"/>
                  <a:pt x="2739" y="492"/>
                </a:cubicBezTo>
                <a:close/>
                <a:moveTo>
                  <a:pt x="2785" y="492"/>
                </a:moveTo>
                <a:cubicBezTo>
                  <a:pt x="2785" y="492"/>
                  <a:pt x="2785" y="492"/>
                  <a:pt x="2785" y="492"/>
                </a:cubicBezTo>
                <a:cubicBezTo>
                  <a:pt x="2780" y="492"/>
                  <a:pt x="2780" y="492"/>
                  <a:pt x="2780" y="492"/>
                </a:cubicBezTo>
                <a:cubicBezTo>
                  <a:pt x="2778" y="494"/>
                  <a:pt x="2777" y="495"/>
                  <a:pt x="2774" y="496"/>
                </a:cubicBezTo>
                <a:cubicBezTo>
                  <a:pt x="2773" y="497"/>
                  <a:pt x="2771" y="498"/>
                  <a:pt x="2769" y="499"/>
                </a:cubicBezTo>
                <a:cubicBezTo>
                  <a:pt x="2768" y="500"/>
                  <a:pt x="2766" y="501"/>
                  <a:pt x="2764" y="502"/>
                </a:cubicBezTo>
                <a:cubicBezTo>
                  <a:pt x="2762" y="503"/>
                  <a:pt x="2761" y="503"/>
                  <a:pt x="2758" y="503"/>
                </a:cubicBezTo>
                <a:cubicBezTo>
                  <a:pt x="2758" y="503"/>
                  <a:pt x="2758" y="503"/>
                  <a:pt x="2758" y="513"/>
                </a:cubicBezTo>
                <a:cubicBezTo>
                  <a:pt x="2761" y="513"/>
                  <a:pt x="2764" y="512"/>
                  <a:pt x="2766" y="511"/>
                </a:cubicBezTo>
                <a:cubicBezTo>
                  <a:pt x="2769" y="510"/>
                  <a:pt x="2771" y="508"/>
                  <a:pt x="2774" y="507"/>
                </a:cubicBezTo>
                <a:cubicBezTo>
                  <a:pt x="2774" y="507"/>
                  <a:pt x="2774" y="507"/>
                  <a:pt x="2774" y="566"/>
                </a:cubicBezTo>
                <a:cubicBezTo>
                  <a:pt x="2774" y="566"/>
                  <a:pt x="2774" y="566"/>
                  <a:pt x="2785" y="566"/>
                </a:cubicBezTo>
                <a:cubicBezTo>
                  <a:pt x="2785" y="566"/>
                  <a:pt x="2785" y="566"/>
                  <a:pt x="2785" y="492"/>
                </a:cubicBezTo>
                <a:close/>
                <a:moveTo>
                  <a:pt x="2831" y="492"/>
                </a:moveTo>
                <a:cubicBezTo>
                  <a:pt x="2831" y="492"/>
                  <a:pt x="2831" y="492"/>
                  <a:pt x="2831" y="492"/>
                </a:cubicBezTo>
                <a:cubicBezTo>
                  <a:pt x="2827" y="492"/>
                  <a:pt x="2827" y="492"/>
                  <a:pt x="2827" y="492"/>
                </a:cubicBezTo>
                <a:cubicBezTo>
                  <a:pt x="2825" y="494"/>
                  <a:pt x="2823" y="495"/>
                  <a:pt x="2821" y="496"/>
                </a:cubicBezTo>
                <a:cubicBezTo>
                  <a:pt x="2820" y="497"/>
                  <a:pt x="2817" y="498"/>
                  <a:pt x="2816" y="499"/>
                </a:cubicBezTo>
                <a:cubicBezTo>
                  <a:pt x="2814" y="500"/>
                  <a:pt x="2812" y="500"/>
                  <a:pt x="2810" y="501"/>
                </a:cubicBezTo>
                <a:cubicBezTo>
                  <a:pt x="2809" y="502"/>
                  <a:pt x="2806" y="503"/>
                  <a:pt x="2805" y="503"/>
                </a:cubicBezTo>
                <a:cubicBezTo>
                  <a:pt x="2805" y="503"/>
                  <a:pt x="2805" y="503"/>
                  <a:pt x="2805" y="513"/>
                </a:cubicBezTo>
                <a:cubicBezTo>
                  <a:pt x="2808" y="513"/>
                  <a:pt x="2811" y="511"/>
                  <a:pt x="2813" y="511"/>
                </a:cubicBezTo>
                <a:cubicBezTo>
                  <a:pt x="2815" y="510"/>
                  <a:pt x="2818" y="508"/>
                  <a:pt x="2820" y="507"/>
                </a:cubicBezTo>
                <a:cubicBezTo>
                  <a:pt x="2820" y="507"/>
                  <a:pt x="2820" y="507"/>
                  <a:pt x="2820" y="566"/>
                </a:cubicBezTo>
                <a:cubicBezTo>
                  <a:pt x="2820" y="566"/>
                  <a:pt x="2820" y="566"/>
                  <a:pt x="2831" y="566"/>
                </a:cubicBezTo>
                <a:cubicBezTo>
                  <a:pt x="2831" y="566"/>
                  <a:pt x="2831" y="566"/>
                  <a:pt x="2831" y="492"/>
                </a:cubicBezTo>
                <a:close/>
                <a:moveTo>
                  <a:pt x="2637" y="525"/>
                </a:moveTo>
                <a:cubicBezTo>
                  <a:pt x="2637" y="525"/>
                  <a:pt x="2637" y="525"/>
                  <a:pt x="2637" y="525"/>
                </a:cubicBezTo>
                <a:cubicBezTo>
                  <a:pt x="2637" y="533"/>
                  <a:pt x="2637" y="533"/>
                  <a:pt x="2637" y="533"/>
                </a:cubicBezTo>
                <a:cubicBezTo>
                  <a:pt x="2643" y="533"/>
                  <a:pt x="2644" y="536"/>
                  <a:pt x="2644" y="539"/>
                </a:cubicBezTo>
                <a:cubicBezTo>
                  <a:pt x="2644" y="541"/>
                  <a:pt x="2644" y="543"/>
                  <a:pt x="2644" y="546"/>
                </a:cubicBezTo>
                <a:cubicBezTo>
                  <a:pt x="2643" y="549"/>
                  <a:pt x="2643" y="551"/>
                  <a:pt x="2643" y="553"/>
                </a:cubicBezTo>
                <a:cubicBezTo>
                  <a:pt x="2643" y="562"/>
                  <a:pt x="2649" y="566"/>
                  <a:pt x="2657" y="566"/>
                </a:cubicBezTo>
                <a:cubicBezTo>
                  <a:pt x="2657" y="566"/>
                  <a:pt x="2657" y="566"/>
                  <a:pt x="2661" y="566"/>
                </a:cubicBezTo>
                <a:cubicBezTo>
                  <a:pt x="2661" y="566"/>
                  <a:pt x="2661" y="566"/>
                  <a:pt x="2661" y="557"/>
                </a:cubicBezTo>
                <a:cubicBezTo>
                  <a:pt x="2661" y="557"/>
                  <a:pt x="2661" y="557"/>
                  <a:pt x="2659" y="557"/>
                </a:cubicBezTo>
                <a:cubicBezTo>
                  <a:pt x="2656" y="557"/>
                  <a:pt x="2655" y="554"/>
                  <a:pt x="2655" y="551"/>
                </a:cubicBezTo>
                <a:cubicBezTo>
                  <a:pt x="2655" y="549"/>
                  <a:pt x="2655" y="548"/>
                  <a:pt x="2655" y="546"/>
                </a:cubicBezTo>
                <a:cubicBezTo>
                  <a:pt x="2655" y="544"/>
                  <a:pt x="2655" y="542"/>
                  <a:pt x="2655" y="540"/>
                </a:cubicBezTo>
                <a:cubicBezTo>
                  <a:pt x="2655" y="533"/>
                  <a:pt x="2652" y="530"/>
                  <a:pt x="2647" y="529"/>
                </a:cubicBezTo>
                <a:cubicBezTo>
                  <a:pt x="2647" y="529"/>
                  <a:pt x="2647" y="529"/>
                  <a:pt x="2647" y="528"/>
                </a:cubicBezTo>
                <a:cubicBezTo>
                  <a:pt x="2652" y="527"/>
                  <a:pt x="2655" y="525"/>
                  <a:pt x="2655" y="518"/>
                </a:cubicBezTo>
                <a:cubicBezTo>
                  <a:pt x="2655" y="515"/>
                  <a:pt x="2655" y="513"/>
                  <a:pt x="2655" y="511"/>
                </a:cubicBezTo>
                <a:cubicBezTo>
                  <a:pt x="2655" y="510"/>
                  <a:pt x="2655" y="508"/>
                  <a:pt x="2655" y="507"/>
                </a:cubicBezTo>
                <a:cubicBezTo>
                  <a:pt x="2655" y="503"/>
                  <a:pt x="2656" y="501"/>
                  <a:pt x="2659" y="501"/>
                </a:cubicBezTo>
                <a:cubicBezTo>
                  <a:pt x="2659" y="501"/>
                  <a:pt x="2659" y="501"/>
                  <a:pt x="2661" y="501"/>
                </a:cubicBezTo>
                <a:cubicBezTo>
                  <a:pt x="2661" y="501"/>
                  <a:pt x="2661" y="501"/>
                  <a:pt x="2661" y="491"/>
                </a:cubicBezTo>
                <a:cubicBezTo>
                  <a:pt x="2661" y="491"/>
                  <a:pt x="2661" y="491"/>
                  <a:pt x="2657" y="491"/>
                </a:cubicBezTo>
                <a:cubicBezTo>
                  <a:pt x="2648" y="491"/>
                  <a:pt x="2643" y="496"/>
                  <a:pt x="2643" y="504"/>
                </a:cubicBezTo>
                <a:cubicBezTo>
                  <a:pt x="2643" y="506"/>
                  <a:pt x="2643" y="509"/>
                  <a:pt x="2643" y="512"/>
                </a:cubicBezTo>
                <a:cubicBezTo>
                  <a:pt x="2644" y="514"/>
                  <a:pt x="2644" y="516"/>
                  <a:pt x="2644" y="518"/>
                </a:cubicBezTo>
                <a:cubicBezTo>
                  <a:pt x="2644" y="521"/>
                  <a:pt x="2643" y="524"/>
                  <a:pt x="2637" y="525"/>
                </a:cubicBezTo>
                <a:close/>
                <a:moveTo>
                  <a:pt x="2692" y="533"/>
                </a:moveTo>
                <a:cubicBezTo>
                  <a:pt x="2692" y="533"/>
                  <a:pt x="2692" y="533"/>
                  <a:pt x="2692" y="533"/>
                </a:cubicBezTo>
                <a:cubicBezTo>
                  <a:pt x="2692" y="525"/>
                  <a:pt x="2692" y="525"/>
                  <a:pt x="2692" y="525"/>
                </a:cubicBezTo>
                <a:cubicBezTo>
                  <a:pt x="2685" y="524"/>
                  <a:pt x="2685" y="521"/>
                  <a:pt x="2685" y="518"/>
                </a:cubicBezTo>
                <a:cubicBezTo>
                  <a:pt x="2685" y="516"/>
                  <a:pt x="2685" y="514"/>
                  <a:pt x="2685" y="512"/>
                </a:cubicBezTo>
                <a:cubicBezTo>
                  <a:pt x="2686" y="509"/>
                  <a:pt x="2686" y="506"/>
                  <a:pt x="2686" y="504"/>
                </a:cubicBezTo>
                <a:cubicBezTo>
                  <a:pt x="2686" y="496"/>
                  <a:pt x="2681" y="491"/>
                  <a:pt x="2671" y="491"/>
                </a:cubicBezTo>
                <a:cubicBezTo>
                  <a:pt x="2671" y="491"/>
                  <a:pt x="2671" y="491"/>
                  <a:pt x="2668" y="491"/>
                </a:cubicBezTo>
                <a:cubicBezTo>
                  <a:pt x="2668" y="491"/>
                  <a:pt x="2668" y="491"/>
                  <a:pt x="2668" y="501"/>
                </a:cubicBezTo>
                <a:cubicBezTo>
                  <a:pt x="2668" y="501"/>
                  <a:pt x="2668" y="501"/>
                  <a:pt x="2669" y="501"/>
                </a:cubicBezTo>
                <a:cubicBezTo>
                  <a:pt x="2673" y="501"/>
                  <a:pt x="2674" y="503"/>
                  <a:pt x="2674" y="507"/>
                </a:cubicBezTo>
                <a:cubicBezTo>
                  <a:pt x="2674" y="508"/>
                  <a:pt x="2674" y="510"/>
                  <a:pt x="2674" y="511"/>
                </a:cubicBezTo>
                <a:cubicBezTo>
                  <a:pt x="2674" y="513"/>
                  <a:pt x="2674" y="515"/>
                  <a:pt x="2674" y="518"/>
                </a:cubicBezTo>
                <a:cubicBezTo>
                  <a:pt x="2674" y="525"/>
                  <a:pt x="2676" y="527"/>
                  <a:pt x="2682" y="528"/>
                </a:cubicBezTo>
                <a:cubicBezTo>
                  <a:pt x="2682" y="528"/>
                  <a:pt x="2682" y="528"/>
                  <a:pt x="2682" y="529"/>
                </a:cubicBezTo>
                <a:cubicBezTo>
                  <a:pt x="2676" y="530"/>
                  <a:pt x="2674" y="533"/>
                  <a:pt x="2674" y="540"/>
                </a:cubicBezTo>
                <a:cubicBezTo>
                  <a:pt x="2674" y="542"/>
                  <a:pt x="2674" y="544"/>
                  <a:pt x="2674" y="546"/>
                </a:cubicBezTo>
                <a:cubicBezTo>
                  <a:pt x="2674" y="548"/>
                  <a:pt x="2674" y="549"/>
                  <a:pt x="2674" y="551"/>
                </a:cubicBezTo>
                <a:cubicBezTo>
                  <a:pt x="2674" y="554"/>
                  <a:pt x="2673" y="557"/>
                  <a:pt x="2669" y="557"/>
                </a:cubicBezTo>
                <a:cubicBezTo>
                  <a:pt x="2669" y="557"/>
                  <a:pt x="2669" y="557"/>
                  <a:pt x="2668" y="557"/>
                </a:cubicBezTo>
                <a:cubicBezTo>
                  <a:pt x="2668" y="557"/>
                  <a:pt x="2668" y="557"/>
                  <a:pt x="2668" y="566"/>
                </a:cubicBezTo>
                <a:cubicBezTo>
                  <a:pt x="2668" y="566"/>
                  <a:pt x="2668" y="566"/>
                  <a:pt x="2671" y="566"/>
                </a:cubicBezTo>
                <a:cubicBezTo>
                  <a:pt x="2680" y="566"/>
                  <a:pt x="2686" y="562"/>
                  <a:pt x="2686" y="553"/>
                </a:cubicBezTo>
                <a:cubicBezTo>
                  <a:pt x="2686" y="551"/>
                  <a:pt x="2686" y="549"/>
                  <a:pt x="2685" y="546"/>
                </a:cubicBezTo>
                <a:cubicBezTo>
                  <a:pt x="2685" y="543"/>
                  <a:pt x="2685" y="541"/>
                  <a:pt x="2685" y="539"/>
                </a:cubicBezTo>
                <a:cubicBezTo>
                  <a:pt x="2685" y="536"/>
                  <a:pt x="2685" y="533"/>
                  <a:pt x="2692" y="533"/>
                </a:cubicBezTo>
                <a:close/>
                <a:moveTo>
                  <a:pt x="2875" y="566"/>
                </a:moveTo>
                <a:cubicBezTo>
                  <a:pt x="2868" y="566"/>
                  <a:pt x="2861" y="563"/>
                  <a:pt x="2857" y="557"/>
                </a:cubicBezTo>
                <a:cubicBezTo>
                  <a:pt x="2853" y="550"/>
                  <a:pt x="2851" y="542"/>
                  <a:pt x="2851" y="529"/>
                </a:cubicBezTo>
                <a:cubicBezTo>
                  <a:pt x="2851" y="516"/>
                  <a:pt x="2853" y="507"/>
                  <a:pt x="2858" y="500"/>
                </a:cubicBezTo>
                <a:cubicBezTo>
                  <a:pt x="2862" y="494"/>
                  <a:pt x="2869" y="490"/>
                  <a:pt x="2877" y="490"/>
                </a:cubicBezTo>
                <a:cubicBezTo>
                  <a:pt x="2893" y="490"/>
                  <a:pt x="2901" y="502"/>
                  <a:pt x="2901" y="528"/>
                </a:cubicBezTo>
                <a:cubicBezTo>
                  <a:pt x="2901" y="540"/>
                  <a:pt x="2899" y="550"/>
                  <a:pt x="2894" y="556"/>
                </a:cubicBezTo>
                <a:cubicBezTo>
                  <a:pt x="2890" y="563"/>
                  <a:pt x="2883" y="566"/>
                  <a:pt x="2875" y="566"/>
                </a:cubicBezTo>
                <a:close/>
                <a:moveTo>
                  <a:pt x="2877" y="499"/>
                </a:moveTo>
                <a:cubicBezTo>
                  <a:pt x="2867" y="499"/>
                  <a:pt x="2863" y="510"/>
                  <a:pt x="2863" y="529"/>
                </a:cubicBezTo>
                <a:cubicBezTo>
                  <a:pt x="2863" y="548"/>
                  <a:pt x="2867" y="556"/>
                  <a:pt x="2876" y="556"/>
                </a:cubicBezTo>
                <a:cubicBezTo>
                  <a:pt x="2885" y="556"/>
                  <a:pt x="2889" y="548"/>
                  <a:pt x="2889" y="529"/>
                </a:cubicBezTo>
                <a:cubicBezTo>
                  <a:pt x="2889" y="509"/>
                  <a:pt x="2885" y="499"/>
                  <a:pt x="2877" y="499"/>
                </a:cubicBezTo>
                <a:close/>
                <a:moveTo>
                  <a:pt x="2945" y="566"/>
                </a:moveTo>
                <a:cubicBezTo>
                  <a:pt x="2938" y="566"/>
                  <a:pt x="2931" y="563"/>
                  <a:pt x="2928" y="557"/>
                </a:cubicBezTo>
                <a:cubicBezTo>
                  <a:pt x="2923" y="550"/>
                  <a:pt x="2921" y="542"/>
                  <a:pt x="2921" y="529"/>
                </a:cubicBezTo>
                <a:cubicBezTo>
                  <a:pt x="2921" y="516"/>
                  <a:pt x="2923" y="507"/>
                  <a:pt x="2928" y="500"/>
                </a:cubicBezTo>
                <a:cubicBezTo>
                  <a:pt x="2932" y="494"/>
                  <a:pt x="2939" y="490"/>
                  <a:pt x="2947" y="490"/>
                </a:cubicBezTo>
                <a:cubicBezTo>
                  <a:pt x="2963" y="490"/>
                  <a:pt x="2972" y="502"/>
                  <a:pt x="2972" y="528"/>
                </a:cubicBezTo>
                <a:cubicBezTo>
                  <a:pt x="2972" y="540"/>
                  <a:pt x="2969" y="550"/>
                  <a:pt x="2965" y="556"/>
                </a:cubicBezTo>
                <a:cubicBezTo>
                  <a:pt x="2960" y="563"/>
                  <a:pt x="2954" y="566"/>
                  <a:pt x="2945" y="566"/>
                </a:cubicBezTo>
                <a:close/>
                <a:moveTo>
                  <a:pt x="2947" y="499"/>
                </a:moveTo>
                <a:cubicBezTo>
                  <a:pt x="2938" y="499"/>
                  <a:pt x="2933" y="510"/>
                  <a:pt x="2933" y="529"/>
                </a:cubicBezTo>
                <a:cubicBezTo>
                  <a:pt x="2933" y="548"/>
                  <a:pt x="2937" y="556"/>
                  <a:pt x="2946" y="556"/>
                </a:cubicBezTo>
                <a:cubicBezTo>
                  <a:pt x="2955" y="556"/>
                  <a:pt x="2959" y="548"/>
                  <a:pt x="2959" y="529"/>
                </a:cubicBezTo>
                <a:cubicBezTo>
                  <a:pt x="2959" y="509"/>
                  <a:pt x="2955" y="499"/>
                  <a:pt x="2947" y="499"/>
                </a:cubicBezTo>
                <a:close/>
                <a:moveTo>
                  <a:pt x="3019" y="492"/>
                </a:moveTo>
                <a:cubicBezTo>
                  <a:pt x="3019" y="492"/>
                  <a:pt x="3019" y="492"/>
                  <a:pt x="3019" y="492"/>
                </a:cubicBezTo>
                <a:cubicBezTo>
                  <a:pt x="3013" y="492"/>
                  <a:pt x="3013" y="492"/>
                  <a:pt x="3013" y="492"/>
                </a:cubicBezTo>
                <a:cubicBezTo>
                  <a:pt x="3011" y="494"/>
                  <a:pt x="3010" y="495"/>
                  <a:pt x="3008" y="496"/>
                </a:cubicBezTo>
                <a:cubicBezTo>
                  <a:pt x="3006" y="497"/>
                  <a:pt x="3005" y="498"/>
                  <a:pt x="3003" y="499"/>
                </a:cubicBezTo>
                <a:cubicBezTo>
                  <a:pt x="3001" y="500"/>
                  <a:pt x="2999" y="501"/>
                  <a:pt x="2998" y="502"/>
                </a:cubicBezTo>
                <a:cubicBezTo>
                  <a:pt x="2995" y="503"/>
                  <a:pt x="2994" y="503"/>
                  <a:pt x="2992" y="503"/>
                </a:cubicBezTo>
                <a:cubicBezTo>
                  <a:pt x="2992" y="503"/>
                  <a:pt x="2992" y="503"/>
                  <a:pt x="2992" y="513"/>
                </a:cubicBezTo>
                <a:cubicBezTo>
                  <a:pt x="2995" y="513"/>
                  <a:pt x="2998" y="512"/>
                  <a:pt x="3000" y="511"/>
                </a:cubicBezTo>
                <a:cubicBezTo>
                  <a:pt x="3003" y="510"/>
                  <a:pt x="3005" y="508"/>
                  <a:pt x="3007" y="507"/>
                </a:cubicBezTo>
                <a:cubicBezTo>
                  <a:pt x="3007" y="507"/>
                  <a:pt x="3007" y="507"/>
                  <a:pt x="3007" y="566"/>
                </a:cubicBezTo>
                <a:cubicBezTo>
                  <a:pt x="3007" y="566"/>
                  <a:pt x="3007" y="566"/>
                  <a:pt x="3019" y="566"/>
                </a:cubicBezTo>
                <a:cubicBezTo>
                  <a:pt x="3019" y="566"/>
                  <a:pt x="3019" y="566"/>
                  <a:pt x="3019" y="492"/>
                </a:cubicBezTo>
                <a:close/>
                <a:moveTo>
                  <a:pt x="3065" y="492"/>
                </a:moveTo>
                <a:cubicBezTo>
                  <a:pt x="3065" y="492"/>
                  <a:pt x="3065" y="492"/>
                  <a:pt x="3065" y="492"/>
                </a:cubicBezTo>
                <a:cubicBezTo>
                  <a:pt x="3060" y="492"/>
                  <a:pt x="3060" y="492"/>
                  <a:pt x="3060" y="492"/>
                </a:cubicBezTo>
                <a:cubicBezTo>
                  <a:pt x="3058" y="494"/>
                  <a:pt x="3056" y="495"/>
                  <a:pt x="3054" y="496"/>
                </a:cubicBezTo>
                <a:cubicBezTo>
                  <a:pt x="3053" y="497"/>
                  <a:pt x="3051" y="498"/>
                  <a:pt x="3049" y="499"/>
                </a:cubicBezTo>
                <a:cubicBezTo>
                  <a:pt x="3048" y="500"/>
                  <a:pt x="3046" y="501"/>
                  <a:pt x="3044" y="502"/>
                </a:cubicBezTo>
                <a:cubicBezTo>
                  <a:pt x="3042" y="503"/>
                  <a:pt x="3040" y="503"/>
                  <a:pt x="3038" y="503"/>
                </a:cubicBezTo>
                <a:cubicBezTo>
                  <a:pt x="3038" y="503"/>
                  <a:pt x="3038" y="503"/>
                  <a:pt x="3038" y="513"/>
                </a:cubicBezTo>
                <a:cubicBezTo>
                  <a:pt x="3041" y="513"/>
                  <a:pt x="3044" y="512"/>
                  <a:pt x="3046" y="511"/>
                </a:cubicBezTo>
                <a:cubicBezTo>
                  <a:pt x="3049" y="510"/>
                  <a:pt x="3051" y="508"/>
                  <a:pt x="3054" y="507"/>
                </a:cubicBezTo>
                <a:cubicBezTo>
                  <a:pt x="3054" y="507"/>
                  <a:pt x="3054" y="507"/>
                  <a:pt x="3054" y="566"/>
                </a:cubicBezTo>
                <a:cubicBezTo>
                  <a:pt x="3054" y="566"/>
                  <a:pt x="3054" y="566"/>
                  <a:pt x="3065" y="566"/>
                </a:cubicBezTo>
                <a:cubicBezTo>
                  <a:pt x="3065" y="566"/>
                  <a:pt x="3065" y="566"/>
                  <a:pt x="3065" y="492"/>
                </a:cubicBezTo>
                <a:close/>
                <a:moveTo>
                  <a:pt x="3111" y="492"/>
                </a:moveTo>
                <a:cubicBezTo>
                  <a:pt x="3111" y="492"/>
                  <a:pt x="3111" y="492"/>
                  <a:pt x="3111" y="492"/>
                </a:cubicBezTo>
                <a:cubicBezTo>
                  <a:pt x="3107" y="492"/>
                  <a:pt x="3107" y="492"/>
                  <a:pt x="3107" y="492"/>
                </a:cubicBezTo>
                <a:cubicBezTo>
                  <a:pt x="3105" y="494"/>
                  <a:pt x="3103" y="495"/>
                  <a:pt x="3101" y="496"/>
                </a:cubicBezTo>
                <a:cubicBezTo>
                  <a:pt x="3100" y="497"/>
                  <a:pt x="3098" y="498"/>
                  <a:pt x="3096" y="499"/>
                </a:cubicBezTo>
                <a:cubicBezTo>
                  <a:pt x="3094" y="500"/>
                  <a:pt x="3092" y="500"/>
                  <a:pt x="3090" y="501"/>
                </a:cubicBezTo>
                <a:cubicBezTo>
                  <a:pt x="3089" y="502"/>
                  <a:pt x="3087" y="503"/>
                  <a:pt x="3085" y="503"/>
                </a:cubicBezTo>
                <a:cubicBezTo>
                  <a:pt x="3085" y="503"/>
                  <a:pt x="3085" y="503"/>
                  <a:pt x="3085" y="513"/>
                </a:cubicBezTo>
                <a:cubicBezTo>
                  <a:pt x="3088" y="513"/>
                  <a:pt x="3091" y="511"/>
                  <a:pt x="3093" y="511"/>
                </a:cubicBezTo>
                <a:cubicBezTo>
                  <a:pt x="3095" y="510"/>
                  <a:pt x="3098" y="508"/>
                  <a:pt x="3100" y="507"/>
                </a:cubicBezTo>
                <a:cubicBezTo>
                  <a:pt x="3100" y="507"/>
                  <a:pt x="3100" y="507"/>
                  <a:pt x="3100" y="566"/>
                </a:cubicBezTo>
                <a:cubicBezTo>
                  <a:pt x="3100" y="566"/>
                  <a:pt x="3100" y="566"/>
                  <a:pt x="3111" y="566"/>
                </a:cubicBezTo>
                <a:cubicBezTo>
                  <a:pt x="3111" y="566"/>
                  <a:pt x="3111" y="566"/>
                  <a:pt x="3111" y="492"/>
                </a:cubicBezTo>
                <a:close/>
                <a:moveTo>
                  <a:pt x="2920" y="467"/>
                </a:moveTo>
                <a:cubicBezTo>
                  <a:pt x="2913" y="467"/>
                  <a:pt x="2906" y="464"/>
                  <a:pt x="2902" y="459"/>
                </a:cubicBezTo>
                <a:cubicBezTo>
                  <a:pt x="2898" y="452"/>
                  <a:pt x="2896" y="443"/>
                  <a:pt x="2896" y="431"/>
                </a:cubicBezTo>
                <a:cubicBezTo>
                  <a:pt x="2896" y="417"/>
                  <a:pt x="2898" y="408"/>
                  <a:pt x="2903" y="401"/>
                </a:cubicBezTo>
                <a:cubicBezTo>
                  <a:pt x="2907" y="395"/>
                  <a:pt x="2914" y="391"/>
                  <a:pt x="2922" y="391"/>
                </a:cubicBezTo>
                <a:cubicBezTo>
                  <a:pt x="2939" y="391"/>
                  <a:pt x="2947" y="404"/>
                  <a:pt x="2947" y="429"/>
                </a:cubicBezTo>
                <a:cubicBezTo>
                  <a:pt x="2947" y="442"/>
                  <a:pt x="2944" y="451"/>
                  <a:pt x="2939" y="458"/>
                </a:cubicBezTo>
                <a:cubicBezTo>
                  <a:pt x="2935" y="464"/>
                  <a:pt x="2928" y="467"/>
                  <a:pt x="2920" y="467"/>
                </a:cubicBezTo>
                <a:close/>
                <a:moveTo>
                  <a:pt x="2922" y="401"/>
                </a:moveTo>
                <a:cubicBezTo>
                  <a:pt x="2912" y="401"/>
                  <a:pt x="2908" y="411"/>
                  <a:pt x="2908" y="431"/>
                </a:cubicBezTo>
                <a:cubicBezTo>
                  <a:pt x="2908" y="449"/>
                  <a:pt x="2912" y="458"/>
                  <a:pt x="2921" y="458"/>
                </a:cubicBezTo>
                <a:cubicBezTo>
                  <a:pt x="2930" y="458"/>
                  <a:pt x="2934" y="449"/>
                  <a:pt x="2934" y="430"/>
                </a:cubicBezTo>
                <a:cubicBezTo>
                  <a:pt x="2934" y="410"/>
                  <a:pt x="2930" y="401"/>
                  <a:pt x="2922" y="401"/>
                </a:cubicBezTo>
                <a:close/>
                <a:moveTo>
                  <a:pt x="2994" y="394"/>
                </a:moveTo>
                <a:cubicBezTo>
                  <a:pt x="2994" y="394"/>
                  <a:pt x="2994" y="394"/>
                  <a:pt x="2994" y="394"/>
                </a:cubicBezTo>
                <a:cubicBezTo>
                  <a:pt x="2989" y="394"/>
                  <a:pt x="2989" y="394"/>
                  <a:pt x="2989" y="394"/>
                </a:cubicBezTo>
                <a:cubicBezTo>
                  <a:pt x="2987" y="395"/>
                  <a:pt x="2985" y="397"/>
                  <a:pt x="2983" y="398"/>
                </a:cubicBezTo>
                <a:cubicBezTo>
                  <a:pt x="2982" y="399"/>
                  <a:pt x="2980" y="400"/>
                  <a:pt x="2978" y="401"/>
                </a:cubicBezTo>
                <a:cubicBezTo>
                  <a:pt x="2976" y="401"/>
                  <a:pt x="2974" y="402"/>
                  <a:pt x="2973" y="403"/>
                </a:cubicBezTo>
                <a:cubicBezTo>
                  <a:pt x="2971" y="403"/>
                  <a:pt x="2969" y="404"/>
                  <a:pt x="2967" y="405"/>
                </a:cubicBezTo>
                <a:cubicBezTo>
                  <a:pt x="2967" y="405"/>
                  <a:pt x="2967" y="405"/>
                  <a:pt x="2967" y="415"/>
                </a:cubicBezTo>
                <a:cubicBezTo>
                  <a:pt x="2970" y="414"/>
                  <a:pt x="2973" y="413"/>
                  <a:pt x="2975" y="412"/>
                </a:cubicBezTo>
                <a:cubicBezTo>
                  <a:pt x="2978" y="411"/>
                  <a:pt x="2980" y="410"/>
                  <a:pt x="2982" y="409"/>
                </a:cubicBezTo>
                <a:cubicBezTo>
                  <a:pt x="2982" y="409"/>
                  <a:pt x="2982" y="409"/>
                  <a:pt x="2982" y="467"/>
                </a:cubicBezTo>
                <a:cubicBezTo>
                  <a:pt x="2982" y="467"/>
                  <a:pt x="2982" y="467"/>
                  <a:pt x="2994" y="467"/>
                </a:cubicBezTo>
                <a:cubicBezTo>
                  <a:pt x="2994" y="467"/>
                  <a:pt x="2994" y="467"/>
                  <a:pt x="2994" y="394"/>
                </a:cubicBezTo>
                <a:close/>
                <a:moveTo>
                  <a:pt x="3041" y="394"/>
                </a:moveTo>
                <a:cubicBezTo>
                  <a:pt x="3041" y="394"/>
                  <a:pt x="3041" y="394"/>
                  <a:pt x="3041" y="394"/>
                </a:cubicBezTo>
                <a:cubicBezTo>
                  <a:pt x="3036" y="394"/>
                  <a:pt x="3036" y="394"/>
                  <a:pt x="3036" y="394"/>
                </a:cubicBezTo>
                <a:cubicBezTo>
                  <a:pt x="3034" y="395"/>
                  <a:pt x="3033" y="397"/>
                  <a:pt x="3030" y="398"/>
                </a:cubicBezTo>
                <a:cubicBezTo>
                  <a:pt x="3029" y="399"/>
                  <a:pt x="3027" y="400"/>
                  <a:pt x="3025" y="401"/>
                </a:cubicBezTo>
                <a:cubicBezTo>
                  <a:pt x="3024" y="402"/>
                  <a:pt x="3022" y="403"/>
                  <a:pt x="3020" y="403"/>
                </a:cubicBezTo>
                <a:cubicBezTo>
                  <a:pt x="3018" y="404"/>
                  <a:pt x="3017" y="405"/>
                  <a:pt x="3015" y="405"/>
                </a:cubicBezTo>
                <a:cubicBezTo>
                  <a:pt x="3015" y="405"/>
                  <a:pt x="3015" y="405"/>
                  <a:pt x="3015" y="415"/>
                </a:cubicBezTo>
                <a:cubicBezTo>
                  <a:pt x="3018" y="414"/>
                  <a:pt x="3020" y="414"/>
                  <a:pt x="3023" y="412"/>
                </a:cubicBezTo>
                <a:cubicBezTo>
                  <a:pt x="3025" y="411"/>
                  <a:pt x="3028" y="410"/>
                  <a:pt x="3030" y="409"/>
                </a:cubicBezTo>
                <a:cubicBezTo>
                  <a:pt x="3030" y="409"/>
                  <a:pt x="3030" y="409"/>
                  <a:pt x="3030" y="467"/>
                </a:cubicBezTo>
                <a:cubicBezTo>
                  <a:pt x="3030" y="467"/>
                  <a:pt x="3030" y="467"/>
                  <a:pt x="3041" y="467"/>
                </a:cubicBezTo>
                <a:cubicBezTo>
                  <a:pt x="3041" y="467"/>
                  <a:pt x="3041" y="467"/>
                  <a:pt x="3041" y="394"/>
                </a:cubicBezTo>
                <a:close/>
                <a:moveTo>
                  <a:pt x="3088" y="394"/>
                </a:moveTo>
                <a:cubicBezTo>
                  <a:pt x="3088" y="394"/>
                  <a:pt x="3088" y="394"/>
                  <a:pt x="3088" y="394"/>
                </a:cubicBezTo>
                <a:cubicBezTo>
                  <a:pt x="3083" y="394"/>
                  <a:pt x="3083" y="394"/>
                  <a:pt x="3083" y="394"/>
                </a:cubicBezTo>
                <a:cubicBezTo>
                  <a:pt x="3081" y="395"/>
                  <a:pt x="3080" y="397"/>
                  <a:pt x="3078" y="398"/>
                </a:cubicBezTo>
                <a:cubicBezTo>
                  <a:pt x="3076" y="399"/>
                  <a:pt x="3074" y="400"/>
                  <a:pt x="3073" y="401"/>
                </a:cubicBezTo>
                <a:cubicBezTo>
                  <a:pt x="3070" y="402"/>
                  <a:pt x="3069" y="403"/>
                  <a:pt x="3067" y="403"/>
                </a:cubicBezTo>
                <a:cubicBezTo>
                  <a:pt x="3065" y="404"/>
                  <a:pt x="3063" y="405"/>
                  <a:pt x="3062" y="405"/>
                </a:cubicBezTo>
                <a:cubicBezTo>
                  <a:pt x="3062" y="405"/>
                  <a:pt x="3062" y="405"/>
                  <a:pt x="3062" y="415"/>
                </a:cubicBezTo>
                <a:cubicBezTo>
                  <a:pt x="3065" y="414"/>
                  <a:pt x="3068" y="414"/>
                  <a:pt x="3070" y="412"/>
                </a:cubicBezTo>
                <a:cubicBezTo>
                  <a:pt x="3072" y="411"/>
                  <a:pt x="3075" y="410"/>
                  <a:pt x="3076" y="409"/>
                </a:cubicBezTo>
                <a:cubicBezTo>
                  <a:pt x="3076" y="409"/>
                  <a:pt x="3076" y="409"/>
                  <a:pt x="3076" y="467"/>
                </a:cubicBezTo>
                <a:cubicBezTo>
                  <a:pt x="3076" y="467"/>
                  <a:pt x="3076" y="467"/>
                  <a:pt x="3088" y="467"/>
                </a:cubicBezTo>
                <a:cubicBezTo>
                  <a:pt x="3088" y="467"/>
                  <a:pt x="3088" y="467"/>
                  <a:pt x="3088" y="394"/>
                </a:cubicBezTo>
                <a:close/>
                <a:moveTo>
                  <a:pt x="3135" y="394"/>
                </a:moveTo>
                <a:cubicBezTo>
                  <a:pt x="3135" y="394"/>
                  <a:pt x="3135" y="394"/>
                  <a:pt x="3135" y="394"/>
                </a:cubicBezTo>
                <a:cubicBezTo>
                  <a:pt x="3130" y="394"/>
                  <a:pt x="3130" y="394"/>
                  <a:pt x="3130" y="394"/>
                </a:cubicBezTo>
                <a:cubicBezTo>
                  <a:pt x="3128" y="395"/>
                  <a:pt x="3126" y="397"/>
                  <a:pt x="3124" y="398"/>
                </a:cubicBezTo>
                <a:cubicBezTo>
                  <a:pt x="3123" y="399"/>
                  <a:pt x="3121" y="400"/>
                  <a:pt x="3119" y="401"/>
                </a:cubicBezTo>
                <a:cubicBezTo>
                  <a:pt x="3118" y="402"/>
                  <a:pt x="3116" y="403"/>
                  <a:pt x="3114" y="403"/>
                </a:cubicBezTo>
                <a:cubicBezTo>
                  <a:pt x="3112" y="404"/>
                  <a:pt x="3111" y="405"/>
                  <a:pt x="3108" y="405"/>
                </a:cubicBezTo>
                <a:cubicBezTo>
                  <a:pt x="3108" y="405"/>
                  <a:pt x="3108" y="405"/>
                  <a:pt x="3108" y="415"/>
                </a:cubicBezTo>
                <a:cubicBezTo>
                  <a:pt x="3111" y="414"/>
                  <a:pt x="3114" y="414"/>
                  <a:pt x="3116" y="412"/>
                </a:cubicBezTo>
                <a:cubicBezTo>
                  <a:pt x="3119" y="411"/>
                  <a:pt x="3121" y="410"/>
                  <a:pt x="3124" y="409"/>
                </a:cubicBezTo>
                <a:cubicBezTo>
                  <a:pt x="3124" y="409"/>
                  <a:pt x="3124" y="409"/>
                  <a:pt x="3124" y="467"/>
                </a:cubicBezTo>
                <a:cubicBezTo>
                  <a:pt x="3124" y="467"/>
                  <a:pt x="3124" y="467"/>
                  <a:pt x="3135" y="467"/>
                </a:cubicBezTo>
                <a:cubicBezTo>
                  <a:pt x="3135" y="467"/>
                  <a:pt x="3135" y="467"/>
                  <a:pt x="3135" y="394"/>
                </a:cubicBezTo>
                <a:close/>
                <a:moveTo>
                  <a:pt x="3259" y="394"/>
                </a:moveTo>
                <a:cubicBezTo>
                  <a:pt x="3259" y="394"/>
                  <a:pt x="3259" y="394"/>
                  <a:pt x="3259" y="394"/>
                </a:cubicBezTo>
                <a:cubicBezTo>
                  <a:pt x="3253" y="394"/>
                  <a:pt x="3253" y="394"/>
                  <a:pt x="3253" y="394"/>
                </a:cubicBezTo>
                <a:cubicBezTo>
                  <a:pt x="3251" y="395"/>
                  <a:pt x="3250" y="397"/>
                  <a:pt x="3247" y="398"/>
                </a:cubicBezTo>
                <a:cubicBezTo>
                  <a:pt x="3246" y="399"/>
                  <a:pt x="3245" y="400"/>
                  <a:pt x="3242" y="401"/>
                </a:cubicBezTo>
                <a:cubicBezTo>
                  <a:pt x="3241" y="402"/>
                  <a:pt x="3239" y="403"/>
                  <a:pt x="3237" y="403"/>
                </a:cubicBezTo>
                <a:cubicBezTo>
                  <a:pt x="3235" y="404"/>
                  <a:pt x="3233" y="405"/>
                  <a:pt x="3231" y="405"/>
                </a:cubicBezTo>
                <a:cubicBezTo>
                  <a:pt x="3231" y="405"/>
                  <a:pt x="3231" y="405"/>
                  <a:pt x="3231" y="415"/>
                </a:cubicBezTo>
                <a:cubicBezTo>
                  <a:pt x="3234" y="414"/>
                  <a:pt x="3237" y="414"/>
                  <a:pt x="3240" y="412"/>
                </a:cubicBezTo>
                <a:cubicBezTo>
                  <a:pt x="3242" y="411"/>
                  <a:pt x="3245" y="410"/>
                  <a:pt x="3247" y="409"/>
                </a:cubicBezTo>
                <a:cubicBezTo>
                  <a:pt x="3247" y="409"/>
                  <a:pt x="3247" y="409"/>
                  <a:pt x="3247" y="467"/>
                </a:cubicBezTo>
                <a:cubicBezTo>
                  <a:pt x="3247" y="467"/>
                  <a:pt x="3247" y="467"/>
                  <a:pt x="3259" y="467"/>
                </a:cubicBezTo>
                <a:cubicBezTo>
                  <a:pt x="3259" y="467"/>
                  <a:pt x="3259" y="467"/>
                  <a:pt x="3259" y="394"/>
                </a:cubicBezTo>
                <a:close/>
                <a:moveTo>
                  <a:pt x="3306" y="394"/>
                </a:moveTo>
                <a:cubicBezTo>
                  <a:pt x="3306" y="394"/>
                  <a:pt x="3306" y="394"/>
                  <a:pt x="3306" y="394"/>
                </a:cubicBezTo>
                <a:cubicBezTo>
                  <a:pt x="3301" y="394"/>
                  <a:pt x="3301" y="394"/>
                  <a:pt x="3301" y="394"/>
                </a:cubicBezTo>
                <a:cubicBezTo>
                  <a:pt x="3299" y="395"/>
                  <a:pt x="3297" y="397"/>
                  <a:pt x="3295" y="398"/>
                </a:cubicBezTo>
                <a:cubicBezTo>
                  <a:pt x="3294" y="399"/>
                  <a:pt x="3292" y="400"/>
                  <a:pt x="3290" y="401"/>
                </a:cubicBezTo>
                <a:cubicBezTo>
                  <a:pt x="3289" y="402"/>
                  <a:pt x="3286" y="403"/>
                  <a:pt x="3285" y="403"/>
                </a:cubicBezTo>
                <a:cubicBezTo>
                  <a:pt x="3283" y="404"/>
                  <a:pt x="3281" y="405"/>
                  <a:pt x="3279" y="405"/>
                </a:cubicBezTo>
                <a:cubicBezTo>
                  <a:pt x="3279" y="405"/>
                  <a:pt x="3279" y="405"/>
                  <a:pt x="3279" y="415"/>
                </a:cubicBezTo>
                <a:cubicBezTo>
                  <a:pt x="3282" y="414"/>
                  <a:pt x="3285" y="414"/>
                  <a:pt x="3287" y="412"/>
                </a:cubicBezTo>
                <a:cubicBezTo>
                  <a:pt x="3290" y="411"/>
                  <a:pt x="3292" y="410"/>
                  <a:pt x="3294" y="409"/>
                </a:cubicBezTo>
                <a:cubicBezTo>
                  <a:pt x="3294" y="409"/>
                  <a:pt x="3294" y="409"/>
                  <a:pt x="3294" y="467"/>
                </a:cubicBezTo>
                <a:cubicBezTo>
                  <a:pt x="3294" y="467"/>
                  <a:pt x="3294" y="467"/>
                  <a:pt x="3306" y="467"/>
                </a:cubicBezTo>
                <a:cubicBezTo>
                  <a:pt x="3306" y="467"/>
                  <a:pt x="3306" y="467"/>
                  <a:pt x="3306" y="394"/>
                </a:cubicBezTo>
                <a:close/>
                <a:moveTo>
                  <a:pt x="3354" y="394"/>
                </a:moveTo>
                <a:cubicBezTo>
                  <a:pt x="3354" y="394"/>
                  <a:pt x="3354" y="394"/>
                  <a:pt x="3354" y="394"/>
                </a:cubicBezTo>
                <a:cubicBezTo>
                  <a:pt x="3349" y="394"/>
                  <a:pt x="3349" y="394"/>
                  <a:pt x="3349" y="394"/>
                </a:cubicBezTo>
                <a:cubicBezTo>
                  <a:pt x="3347" y="395"/>
                  <a:pt x="3345" y="397"/>
                  <a:pt x="3343" y="398"/>
                </a:cubicBezTo>
                <a:cubicBezTo>
                  <a:pt x="3341" y="399"/>
                  <a:pt x="3340" y="400"/>
                  <a:pt x="3338" y="401"/>
                </a:cubicBezTo>
                <a:cubicBezTo>
                  <a:pt x="3336" y="402"/>
                  <a:pt x="3334" y="403"/>
                  <a:pt x="3333" y="403"/>
                </a:cubicBezTo>
                <a:cubicBezTo>
                  <a:pt x="3330" y="404"/>
                  <a:pt x="3329" y="405"/>
                  <a:pt x="3327" y="405"/>
                </a:cubicBezTo>
                <a:cubicBezTo>
                  <a:pt x="3327" y="405"/>
                  <a:pt x="3327" y="405"/>
                  <a:pt x="3327" y="415"/>
                </a:cubicBezTo>
                <a:cubicBezTo>
                  <a:pt x="3330" y="414"/>
                  <a:pt x="3333" y="414"/>
                  <a:pt x="3335" y="412"/>
                </a:cubicBezTo>
                <a:cubicBezTo>
                  <a:pt x="3338" y="411"/>
                  <a:pt x="3340" y="410"/>
                  <a:pt x="3342" y="409"/>
                </a:cubicBezTo>
                <a:cubicBezTo>
                  <a:pt x="3342" y="409"/>
                  <a:pt x="3342" y="409"/>
                  <a:pt x="3342" y="467"/>
                </a:cubicBezTo>
                <a:cubicBezTo>
                  <a:pt x="3342" y="467"/>
                  <a:pt x="3342" y="467"/>
                  <a:pt x="3354" y="467"/>
                </a:cubicBezTo>
                <a:cubicBezTo>
                  <a:pt x="3354" y="467"/>
                  <a:pt x="3354" y="467"/>
                  <a:pt x="3354" y="394"/>
                </a:cubicBezTo>
                <a:close/>
                <a:moveTo>
                  <a:pt x="3400" y="394"/>
                </a:moveTo>
                <a:cubicBezTo>
                  <a:pt x="3400" y="394"/>
                  <a:pt x="3400" y="394"/>
                  <a:pt x="3400" y="394"/>
                </a:cubicBezTo>
                <a:cubicBezTo>
                  <a:pt x="3396" y="394"/>
                  <a:pt x="3396" y="394"/>
                  <a:pt x="3396" y="394"/>
                </a:cubicBezTo>
                <a:cubicBezTo>
                  <a:pt x="3394" y="395"/>
                  <a:pt x="3392" y="397"/>
                  <a:pt x="3390" y="398"/>
                </a:cubicBezTo>
                <a:cubicBezTo>
                  <a:pt x="3389" y="399"/>
                  <a:pt x="3386" y="400"/>
                  <a:pt x="3385" y="401"/>
                </a:cubicBezTo>
                <a:cubicBezTo>
                  <a:pt x="3383" y="401"/>
                  <a:pt x="3381" y="402"/>
                  <a:pt x="3379" y="403"/>
                </a:cubicBezTo>
                <a:cubicBezTo>
                  <a:pt x="3378" y="403"/>
                  <a:pt x="3376" y="404"/>
                  <a:pt x="3374" y="405"/>
                </a:cubicBezTo>
                <a:cubicBezTo>
                  <a:pt x="3374" y="405"/>
                  <a:pt x="3374" y="405"/>
                  <a:pt x="3374" y="415"/>
                </a:cubicBezTo>
                <a:cubicBezTo>
                  <a:pt x="3377" y="414"/>
                  <a:pt x="3380" y="413"/>
                  <a:pt x="3382" y="412"/>
                </a:cubicBezTo>
                <a:cubicBezTo>
                  <a:pt x="3384" y="411"/>
                  <a:pt x="3387" y="410"/>
                  <a:pt x="3389" y="409"/>
                </a:cubicBezTo>
                <a:cubicBezTo>
                  <a:pt x="3389" y="409"/>
                  <a:pt x="3389" y="409"/>
                  <a:pt x="3389" y="467"/>
                </a:cubicBezTo>
                <a:cubicBezTo>
                  <a:pt x="3389" y="467"/>
                  <a:pt x="3389" y="467"/>
                  <a:pt x="3400" y="467"/>
                </a:cubicBezTo>
                <a:cubicBezTo>
                  <a:pt x="3400" y="467"/>
                  <a:pt x="3400" y="467"/>
                  <a:pt x="3400" y="394"/>
                </a:cubicBezTo>
                <a:close/>
                <a:moveTo>
                  <a:pt x="3156" y="426"/>
                </a:moveTo>
                <a:cubicBezTo>
                  <a:pt x="3156" y="426"/>
                  <a:pt x="3156" y="426"/>
                  <a:pt x="3156" y="426"/>
                </a:cubicBezTo>
                <a:cubicBezTo>
                  <a:pt x="3156" y="435"/>
                  <a:pt x="3156" y="435"/>
                  <a:pt x="3156" y="435"/>
                </a:cubicBezTo>
                <a:cubicBezTo>
                  <a:pt x="3162" y="435"/>
                  <a:pt x="3163" y="438"/>
                  <a:pt x="3163" y="440"/>
                </a:cubicBezTo>
                <a:cubicBezTo>
                  <a:pt x="3163" y="443"/>
                  <a:pt x="3162" y="445"/>
                  <a:pt x="3162" y="448"/>
                </a:cubicBezTo>
                <a:cubicBezTo>
                  <a:pt x="3162" y="450"/>
                  <a:pt x="3162" y="452"/>
                  <a:pt x="3162" y="455"/>
                </a:cubicBezTo>
                <a:cubicBezTo>
                  <a:pt x="3162" y="464"/>
                  <a:pt x="3168" y="467"/>
                  <a:pt x="3176" y="467"/>
                </a:cubicBezTo>
                <a:cubicBezTo>
                  <a:pt x="3176" y="467"/>
                  <a:pt x="3176" y="467"/>
                  <a:pt x="3180" y="467"/>
                </a:cubicBezTo>
                <a:cubicBezTo>
                  <a:pt x="3180" y="467"/>
                  <a:pt x="3180" y="467"/>
                  <a:pt x="3180" y="458"/>
                </a:cubicBezTo>
                <a:cubicBezTo>
                  <a:pt x="3180" y="458"/>
                  <a:pt x="3180" y="458"/>
                  <a:pt x="3178" y="458"/>
                </a:cubicBezTo>
                <a:cubicBezTo>
                  <a:pt x="3175" y="458"/>
                  <a:pt x="3174" y="456"/>
                  <a:pt x="3174" y="452"/>
                </a:cubicBezTo>
                <a:cubicBezTo>
                  <a:pt x="3174" y="451"/>
                  <a:pt x="3174" y="449"/>
                  <a:pt x="3174" y="448"/>
                </a:cubicBezTo>
                <a:cubicBezTo>
                  <a:pt x="3174" y="446"/>
                  <a:pt x="3174" y="444"/>
                  <a:pt x="3174" y="442"/>
                </a:cubicBezTo>
                <a:cubicBezTo>
                  <a:pt x="3174" y="434"/>
                  <a:pt x="3171" y="432"/>
                  <a:pt x="3166" y="430"/>
                </a:cubicBezTo>
                <a:cubicBezTo>
                  <a:pt x="3166" y="430"/>
                  <a:pt x="3166" y="430"/>
                  <a:pt x="3166" y="430"/>
                </a:cubicBezTo>
                <a:cubicBezTo>
                  <a:pt x="3171" y="429"/>
                  <a:pt x="3174" y="427"/>
                  <a:pt x="3174" y="419"/>
                </a:cubicBezTo>
                <a:cubicBezTo>
                  <a:pt x="3174" y="417"/>
                  <a:pt x="3174" y="415"/>
                  <a:pt x="3174" y="413"/>
                </a:cubicBezTo>
                <a:cubicBezTo>
                  <a:pt x="3174" y="411"/>
                  <a:pt x="3174" y="409"/>
                  <a:pt x="3174" y="408"/>
                </a:cubicBezTo>
                <a:cubicBezTo>
                  <a:pt x="3174" y="405"/>
                  <a:pt x="3175" y="402"/>
                  <a:pt x="3178" y="402"/>
                </a:cubicBezTo>
                <a:cubicBezTo>
                  <a:pt x="3178" y="402"/>
                  <a:pt x="3178" y="402"/>
                  <a:pt x="3180" y="402"/>
                </a:cubicBezTo>
                <a:cubicBezTo>
                  <a:pt x="3180" y="402"/>
                  <a:pt x="3180" y="402"/>
                  <a:pt x="3180" y="393"/>
                </a:cubicBezTo>
                <a:cubicBezTo>
                  <a:pt x="3180" y="393"/>
                  <a:pt x="3180" y="393"/>
                  <a:pt x="3176" y="393"/>
                </a:cubicBezTo>
                <a:cubicBezTo>
                  <a:pt x="3167" y="393"/>
                  <a:pt x="3162" y="397"/>
                  <a:pt x="3162" y="406"/>
                </a:cubicBezTo>
                <a:cubicBezTo>
                  <a:pt x="3162" y="408"/>
                  <a:pt x="3162" y="411"/>
                  <a:pt x="3162" y="413"/>
                </a:cubicBezTo>
                <a:cubicBezTo>
                  <a:pt x="3162" y="415"/>
                  <a:pt x="3163" y="418"/>
                  <a:pt x="3163" y="420"/>
                </a:cubicBezTo>
                <a:cubicBezTo>
                  <a:pt x="3163" y="423"/>
                  <a:pt x="3162" y="426"/>
                  <a:pt x="3156" y="426"/>
                </a:cubicBezTo>
                <a:close/>
                <a:moveTo>
                  <a:pt x="3211" y="435"/>
                </a:moveTo>
                <a:cubicBezTo>
                  <a:pt x="3211" y="435"/>
                  <a:pt x="3211" y="435"/>
                  <a:pt x="3211" y="435"/>
                </a:cubicBezTo>
                <a:cubicBezTo>
                  <a:pt x="3211" y="426"/>
                  <a:pt x="3211" y="426"/>
                  <a:pt x="3211" y="426"/>
                </a:cubicBezTo>
                <a:cubicBezTo>
                  <a:pt x="3205" y="426"/>
                  <a:pt x="3204" y="423"/>
                  <a:pt x="3204" y="420"/>
                </a:cubicBezTo>
                <a:cubicBezTo>
                  <a:pt x="3204" y="418"/>
                  <a:pt x="3204" y="415"/>
                  <a:pt x="3205" y="413"/>
                </a:cubicBezTo>
                <a:cubicBezTo>
                  <a:pt x="3205" y="411"/>
                  <a:pt x="3205" y="408"/>
                  <a:pt x="3205" y="406"/>
                </a:cubicBezTo>
                <a:cubicBezTo>
                  <a:pt x="3205" y="397"/>
                  <a:pt x="3200" y="393"/>
                  <a:pt x="3190" y="393"/>
                </a:cubicBezTo>
                <a:cubicBezTo>
                  <a:pt x="3190" y="393"/>
                  <a:pt x="3190" y="393"/>
                  <a:pt x="3187" y="393"/>
                </a:cubicBezTo>
                <a:cubicBezTo>
                  <a:pt x="3187" y="393"/>
                  <a:pt x="3187" y="393"/>
                  <a:pt x="3187" y="402"/>
                </a:cubicBezTo>
                <a:cubicBezTo>
                  <a:pt x="3187" y="402"/>
                  <a:pt x="3187" y="402"/>
                  <a:pt x="3188" y="402"/>
                </a:cubicBezTo>
                <a:cubicBezTo>
                  <a:pt x="3192" y="402"/>
                  <a:pt x="3193" y="405"/>
                  <a:pt x="3193" y="408"/>
                </a:cubicBezTo>
                <a:cubicBezTo>
                  <a:pt x="3193" y="409"/>
                  <a:pt x="3193" y="411"/>
                  <a:pt x="3193" y="413"/>
                </a:cubicBezTo>
                <a:cubicBezTo>
                  <a:pt x="3193" y="415"/>
                  <a:pt x="3193" y="417"/>
                  <a:pt x="3193" y="419"/>
                </a:cubicBezTo>
                <a:cubicBezTo>
                  <a:pt x="3193" y="427"/>
                  <a:pt x="3195" y="429"/>
                  <a:pt x="3201" y="430"/>
                </a:cubicBezTo>
                <a:cubicBezTo>
                  <a:pt x="3201" y="430"/>
                  <a:pt x="3201" y="430"/>
                  <a:pt x="3201" y="430"/>
                </a:cubicBezTo>
                <a:cubicBezTo>
                  <a:pt x="3195" y="432"/>
                  <a:pt x="3193" y="434"/>
                  <a:pt x="3193" y="442"/>
                </a:cubicBezTo>
                <a:cubicBezTo>
                  <a:pt x="3193" y="444"/>
                  <a:pt x="3193" y="446"/>
                  <a:pt x="3193" y="448"/>
                </a:cubicBezTo>
                <a:cubicBezTo>
                  <a:pt x="3193" y="449"/>
                  <a:pt x="3193" y="451"/>
                  <a:pt x="3193" y="452"/>
                </a:cubicBezTo>
                <a:cubicBezTo>
                  <a:pt x="3193" y="456"/>
                  <a:pt x="3192" y="458"/>
                  <a:pt x="3188" y="458"/>
                </a:cubicBezTo>
                <a:cubicBezTo>
                  <a:pt x="3188" y="458"/>
                  <a:pt x="3188" y="458"/>
                  <a:pt x="3187" y="458"/>
                </a:cubicBezTo>
                <a:cubicBezTo>
                  <a:pt x="3187" y="458"/>
                  <a:pt x="3187" y="458"/>
                  <a:pt x="3187" y="467"/>
                </a:cubicBezTo>
                <a:cubicBezTo>
                  <a:pt x="3187" y="467"/>
                  <a:pt x="3187" y="467"/>
                  <a:pt x="3190" y="467"/>
                </a:cubicBezTo>
                <a:cubicBezTo>
                  <a:pt x="3199" y="467"/>
                  <a:pt x="3205" y="464"/>
                  <a:pt x="3205" y="455"/>
                </a:cubicBezTo>
                <a:cubicBezTo>
                  <a:pt x="3205" y="452"/>
                  <a:pt x="3205" y="450"/>
                  <a:pt x="3205" y="448"/>
                </a:cubicBezTo>
                <a:cubicBezTo>
                  <a:pt x="3204" y="445"/>
                  <a:pt x="3204" y="443"/>
                  <a:pt x="3204" y="440"/>
                </a:cubicBezTo>
                <a:cubicBezTo>
                  <a:pt x="3204" y="438"/>
                  <a:pt x="3205" y="435"/>
                  <a:pt x="3211" y="435"/>
                </a:cubicBezTo>
                <a:close/>
                <a:moveTo>
                  <a:pt x="3538" y="426"/>
                </a:moveTo>
                <a:cubicBezTo>
                  <a:pt x="3538" y="426"/>
                  <a:pt x="3538" y="426"/>
                  <a:pt x="3538" y="426"/>
                </a:cubicBezTo>
                <a:cubicBezTo>
                  <a:pt x="3538" y="435"/>
                  <a:pt x="3538" y="435"/>
                  <a:pt x="3538" y="435"/>
                </a:cubicBezTo>
                <a:cubicBezTo>
                  <a:pt x="3544" y="435"/>
                  <a:pt x="3545" y="438"/>
                  <a:pt x="3545" y="440"/>
                </a:cubicBezTo>
                <a:cubicBezTo>
                  <a:pt x="3545" y="443"/>
                  <a:pt x="3545" y="445"/>
                  <a:pt x="3545" y="448"/>
                </a:cubicBezTo>
                <a:cubicBezTo>
                  <a:pt x="3544" y="450"/>
                  <a:pt x="3544" y="452"/>
                  <a:pt x="3544" y="455"/>
                </a:cubicBezTo>
                <a:cubicBezTo>
                  <a:pt x="3544" y="464"/>
                  <a:pt x="3550" y="467"/>
                  <a:pt x="3558" y="467"/>
                </a:cubicBezTo>
                <a:cubicBezTo>
                  <a:pt x="3558" y="467"/>
                  <a:pt x="3558" y="467"/>
                  <a:pt x="3562" y="467"/>
                </a:cubicBezTo>
                <a:cubicBezTo>
                  <a:pt x="3562" y="467"/>
                  <a:pt x="3562" y="467"/>
                  <a:pt x="3562" y="458"/>
                </a:cubicBezTo>
                <a:cubicBezTo>
                  <a:pt x="3562" y="458"/>
                  <a:pt x="3562" y="458"/>
                  <a:pt x="3560" y="458"/>
                </a:cubicBezTo>
                <a:cubicBezTo>
                  <a:pt x="3557" y="458"/>
                  <a:pt x="3556" y="456"/>
                  <a:pt x="3556" y="452"/>
                </a:cubicBezTo>
                <a:cubicBezTo>
                  <a:pt x="3556" y="451"/>
                  <a:pt x="3556" y="449"/>
                  <a:pt x="3556" y="448"/>
                </a:cubicBezTo>
                <a:cubicBezTo>
                  <a:pt x="3556" y="446"/>
                  <a:pt x="3556" y="444"/>
                  <a:pt x="3556" y="442"/>
                </a:cubicBezTo>
                <a:cubicBezTo>
                  <a:pt x="3556" y="434"/>
                  <a:pt x="3553" y="432"/>
                  <a:pt x="3548" y="430"/>
                </a:cubicBezTo>
                <a:cubicBezTo>
                  <a:pt x="3548" y="430"/>
                  <a:pt x="3548" y="430"/>
                  <a:pt x="3548" y="430"/>
                </a:cubicBezTo>
                <a:cubicBezTo>
                  <a:pt x="3553" y="429"/>
                  <a:pt x="3556" y="427"/>
                  <a:pt x="3556" y="419"/>
                </a:cubicBezTo>
                <a:cubicBezTo>
                  <a:pt x="3556" y="417"/>
                  <a:pt x="3556" y="415"/>
                  <a:pt x="3556" y="413"/>
                </a:cubicBezTo>
                <a:cubicBezTo>
                  <a:pt x="3556" y="411"/>
                  <a:pt x="3556" y="409"/>
                  <a:pt x="3556" y="408"/>
                </a:cubicBezTo>
                <a:cubicBezTo>
                  <a:pt x="3556" y="405"/>
                  <a:pt x="3557" y="402"/>
                  <a:pt x="3560" y="402"/>
                </a:cubicBezTo>
                <a:cubicBezTo>
                  <a:pt x="3560" y="402"/>
                  <a:pt x="3560" y="402"/>
                  <a:pt x="3562" y="402"/>
                </a:cubicBezTo>
                <a:cubicBezTo>
                  <a:pt x="3562" y="402"/>
                  <a:pt x="3562" y="402"/>
                  <a:pt x="3562" y="393"/>
                </a:cubicBezTo>
                <a:cubicBezTo>
                  <a:pt x="3562" y="393"/>
                  <a:pt x="3562" y="393"/>
                  <a:pt x="3558" y="393"/>
                </a:cubicBezTo>
                <a:cubicBezTo>
                  <a:pt x="3549" y="393"/>
                  <a:pt x="3544" y="397"/>
                  <a:pt x="3544" y="406"/>
                </a:cubicBezTo>
                <a:cubicBezTo>
                  <a:pt x="3544" y="408"/>
                  <a:pt x="3544" y="411"/>
                  <a:pt x="3544" y="413"/>
                </a:cubicBezTo>
                <a:cubicBezTo>
                  <a:pt x="3545" y="415"/>
                  <a:pt x="3545" y="418"/>
                  <a:pt x="3545" y="420"/>
                </a:cubicBezTo>
                <a:cubicBezTo>
                  <a:pt x="3545" y="423"/>
                  <a:pt x="3544" y="426"/>
                  <a:pt x="3538" y="426"/>
                </a:cubicBezTo>
                <a:close/>
                <a:moveTo>
                  <a:pt x="3593" y="435"/>
                </a:moveTo>
                <a:cubicBezTo>
                  <a:pt x="3593" y="435"/>
                  <a:pt x="3593" y="435"/>
                  <a:pt x="3593" y="435"/>
                </a:cubicBezTo>
                <a:cubicBezTo>
                  <a:pt x="3593" y="426"/>
                  <a:pt x="3593" y="426"/>
                  <a:pt x="3593" y="426"/>
                </a:cubicBezTo>
                <a:cubicBezTo>
                  <a:pt x="3587" y="426"/>
                  <a:pt x="3586" y="423"/>
                  <a:pt x="3586" y="420"/>
                </a:cubicBezTo>
                <a:cubicBezTo>
                  <a:pt x="3586" y="418"/>
                  <a:pt x="3586" y="415"/>
                  <a:pt x="3587" y="413"/>
                </a:cubicBezTo>
                <a:cubicBezTo>
                  <a:pt x="3587" y="411"/>
                  <a:pt x="3587" y="408"/>
                  <a:pt x="3587" y="406"/>
                </a:cubicBezTo>
                <a:cubicBezTo>
                  <a:pt x="3587" y="397"/>
                  <a:pt x="3582" y="393"/>
                  <a:pt x="3572" y="393"/>
                </a:cubicBezTo>
                <a:cubicBezTo>
                  <a:pt x="3572" y="393"/>
                  <a:pt x="3572" y="393"/>
                  <a:pt x="3569" y="393"/>
                </a:cubicBezTo>
                <a:cubicBezTo>
                  <a:pt x="3569" y="393"/>
                  <a:pt x="3569" y="393"/>
                  <a:pt x="3569" y="402"/>
                </a:cubicBezTo>
                <a:cubicBezTo>
                  <a:pt x="3569" y="402"/>
                  <a:pt x="3569" y="402"/>
                  <a:pt x="3570" y="402"/>
                </a:cubicBezTo>
                <a:cubicBezTo>
                  <a:pt x="3574" y="402"/>
                  <a:pt x="3575" y="405"/>
                  <a:pt x="3575" y="408"/>
                </a:cubicBezTo>
                <a:cubicBezTo>
                  <a:pt x="3575" y="409"/>
                  <a:pt x="3575" y="411"/>
                  <a:pt x="3575" y="413"/>
                </a:cubicBezTo>
                <a:cubicBezTo>
                  <a:pt x="3575" y="415"/>
                  <a:pt x="3575" y="417"/>
                  <a:pt x="3575" y="419"/>
                </a:cubicBezTo>
                <a:cubicBezTo>
                  <a:pt x="3575" y="427"/>
                  <a:pt x="3577" y="429"/>
                  <a:pt x="3583" y="430"/>
                </a:cubicBezTo>
                <a:cubicBezTo>
                  <a:pt x="3583" y="430"/>
                  <a:pt x="3583" y="430"/>
                  <a:pt x="3583" y="430"/>
                </a:cubicBezTo>
                <a:cubicBezTo>
                  <a:pt x="3577" y="432"/>
                  <a:pt x="3575" y="434"/>
                  <a:pt x="3575" y="442"/>
                </a:cubicBezTo>
                <a:cubicBezTo>
                  <a:pt x="3575" y="444"/>
                  <a:pt x="3575" y="446"/>
                  <a:pt x="3575" y="448"/>
                </a:cubicBezTo>
                <a:cubicBezTo>
                  <a:pt x="3575" y="449"/>
                  <a:pt x="3575" y="451"/>
                  <a:pt x="3575" y="452"/>
                </a:cubicBezTo>
                <a:cubicBezTo>
                  <a:pt x="3575" y="456"/>
                  <a:pt x="3574" y="458"/>
                  <a:pt x="3570" y="458"/>
                </a:cubicBezTo>
                <a:cubicBezTo>
                  <a:pt x="3570" y="458"/>
                  <a:pt x="3570" y="458"/>
                  <a:pt x="3569" y="458"/>
                </a:cubicBezTo>
                <a:cubicBezTo>
                  <a:pt x="3569" y="458"/>
                  <a:pt x="3569" y="458"/>
                  <a:pt x="3569" y="467"/>
                </a:cubicBezTo>
                <a:cubicBezTo>
                  <a:pt x="3569" y="467"/>
                  <a:pt x="3569" y="467"/>
                  <a:pt x="3572" y="467"/>
                </a:cubicBezTo>
                <a:cubicBezTo>
                  <a:pt x="3581" y="467"/>
                  <a:pt x="3587" y="464"/>
                  <a:pt x="3587" y="455"/>
                </a:cubicBezTo>
                <a:cubicBezTo>
                  <a:pt x="3587" y="452"/>
                  <a:pt x="3587" y="450"/>
                  <a:pt x="3587" y="448"/>
                </a:cubicBezTo>
                <a:cubicBezTo>
                  <a:pt x="3586" y="445"/>
                  <a:pt x="3586" y="443"/>
                  <a:pt x="3586" y="440"/>
                </a:cubicBezTo>
                <a:cubicBezTo>
                  <a:pt x="3586" y="438"/>
                  <a:pt x="3587" y="435"/>
                  <a:pt x="3593" y="435"/>
                </a:cubicBezTo>
                <a:close/>
                <a:moveTo>
                  <a:pt x="3641" y="394"/>
                </a:moveTo>
                <a:cubicBezTo>
                  <a:pt x="3641" y="394"/>
                  <a:pt x="3641" y="394"/>
                  <a:pt x="3641" y="394"/>
                </a:cubicBezTo>
                <a:cubicBezTo>
                  <a:pt x="3636" y="394"/>
                  <a:pt x="3636" y="394"/>
                  <a:pt x="3636" y="394"/>
                </a:cubicBezTo>
                <a:cubicBezTo>
                  <a:pt x="3633" y="395"/>
                  <a:pt x="3632" y="397"/>
                  <a:pt x="3630" y="398"/>
                </a:cubicBezTo>
                <a:cubicBezTo>
                  <a:pt x="3628" y="399"/>
                  <a:pt x="3626" y="400"/>
                  <a:pt x="3625" y="401"/>
                </a:cubicBezTo>
                <a:cubicBezTo>
                  <a:pt x="3622" y="401"/>
                  <a:pt x="3621" y="402"/>
                  <a:pt x="3620" y="403"/>
                </a:cubicBezTo>
                <a:cubicBezTo>
                  <a:pt x="3617" y="403"/>
                  <a:pt x="3616" y="404"/>
                  <a:pt x="3614" y="405"/>
                </a:cubicBezTo>
                <a:cubicBezTo>
                  <a:pt x="3614" y="405"/>
                  <a:pt x="3614" y="405"/>
                  <a:pt x="3614" y="415"/>
                </a:cubicBezTo>
                <a:cubicBezTo>
                  <a:pt x="3617" y="414"/>
                  <a:pt x="3620" y="413"/>
                  <a:pt x="3622" y="412"/>
                </a:cubicBezTo>
                <a:cubicBezTo>
                  <a:pt x="3625" y="411"/>
                  <a:pt x="3627" y="410"/>
                  <a:pt x="3629" y="409"/>
                </a:cubicBezTo>
                <a:cubicBezTo>
                  <a:pt x="3629" y="409"/>
                  <a:pt x="3629" y="409"/>
                  <a:pt x="3629" y="467"/>
                </a:cubicBezTo>
                <a:cubicBezTo>
                  <a:pt x="3629" y="467"/>
                  <a:pt x="3629" y="467"/>
                  <a:pt x="3641" y="467"/>
                </a:cubicBezTo>
                <a:cubicBezTo>
                  <a:pt x="3641" y="467"/>
                  <a:pt x="3641" y="467"/>
                  <a:pt x="3641" y="394"/>
                </a:cubicBezTo>
                <a:close/>
                <a:moveTo>
                  <a:pt x="3688" y="394"/>
                </a:moveTo>
                <a:cubicBezTo>
                  <a:pt x="3688" y="394"/>
                  <a:pt x="3688" y="394"/>
                  <a:pt x="3688" y="394"/>
                </a:cubicBezTo>
                <a:cubicBezTo>
                  <a:pt x="3683" y="394"/>
                  <a:pt x="3683" y="394"/>
                  <a:pt x="3683" y="394"/>
                </a:cubicBezTo>
                <a:cubicBezTo>
                  <a:pt x="3681" y="395"/>
                  <a:pt x="3679" y="397"/>
                  <a:pt x="3677" y="398"/>
                </a:cubicBezTo>
                <a:cubicBezTo>
                  <a:pt x="3676" y="399"/>
                  <a:pt x="3673" y="400"/>
                  <a:pt x="3672" y="401"/>
                </a:cubicBezTo>
                <a:cubicBezTo>
                  <a:pt x="3671" y="402"/>
                  <a:pt x="3668" y="403"/>
                  <a:pt x="3667" y="403"/>
                </a:cubicBezTo>
                <a:cubicBezTo>
                  <a:pt x="3665" y="404"/>
                  <a:pt x="3663" y="405"/>
                  <a:pt x="3661" y="405"/>
                </a:cubicBezTo>
                <a:cubicBezTo>
                  <a:pt x="3661" y="405"/>
                  <a:pt x="3661" y="405"/>
                  <a:pt x="3661" y="415"/>
                </a:cubicBezTo>
                <a:cubicBezTo>
                  <a:pt x="3664" y="414"/>
                  <a:pt x="3667" y="414"/>
                  <a:pt x="3669" y="412"/>
                </a:cubicBezTo>
                <a:cubicBezTo>
                  <a:pt x="3672" y="411"/>
                  <a:pt x="3674" y="410"/>
                  <a:pt x="3676" y="409"/>
                </a:cubicBezTo>
                <a:cubicBezTo>
                  <a:pt x="3676" y="409"/>
                  <a:pt x="3676" y="409"/>
                  <a:pt x="3676" y="467"/>
                </a:cubicBezTo>
                <a:cubicBezTo>
                  <a:pt x="3676" y="467"/>
                  <a:pt x="3676" y="467"/>
                  <a:pt x="3688" y="467"/>
                </a:cubicBezTo>
                <a:cubicBezTo>
                  <a:pt x="3688" y="467"/>
                  <a:pt x="3688" y="467"/>
                  <a:pt x="3688" y="394"/>
                </a:cubicBezTo>
                <a:close/>
                <a:moveTo>
                  <a:pt x="3734" y="394"/>
                </a:moveTo>
                <a:cubicBezTo>
                  <a:pt x="3734" y="394"/>
                  <a:pt x="3734" y="394"/>
                  <a:pt x="3734" y="394"/>
                </a:cubicBezTo>
                <a:cubicBezTo>
                  <a:pt x="3730" y="394"/>
                  <a:pt x="3730" y="394"/>
                  <a:pt x="3730" y="394"/>
                </a:cubicBezTo>
                <a:cubicBezTo>
                  <a:pt x="3728" y="395"/>
                  <a:pt x="3726" y="397"/>
                  <a:pt x="3724" y="398"/>
                </a:cubicBezTo>
                <a:cubicBezTo>
                  <a:pt x="3723" y="399"/>
                  <a:pt x="3721" y="400"/>
                  <a:pt x="3719" y="401"/>
                </a:cubicBezTo>
                <a:cubicBezTo>
                  <a:pt x="3717" y="402"/>
                  <a:pt x="3716" y="403"/>
                  <a:pt x="3713" y="403"/>
                </a:cubicBezTo>
                <a:cubicBezTo>
                  <a:pt x="3712" y="404"/>
                  <a:pt x="3710" y="405"/>
                  <a:pt x="3708" y="405"/>
                </a:cubicBezTo>
                <a:cubicBezTo>
                  <a:pt x="3708" y="405"/>
                  <a:pt x="3708" y="405"/>
                  <a:pt x="3708" y="415"/>
                </a:cubicBezTo>
                <a:cubicBezTo>
                  <a:pt x="3711" y="414"/>
                  <a:pt x="3714" y="414"/>
                  <a:pt x="3716" y="412"/>
                </a:cubicBezTo>
                <a:cubicBezTo>
                  <a:pt x="3718" y="411"/>
                  <a:pt x="3721" y="410"/>
                  <a:pt x="3723" y="409"/>
                </a:cubicBezTo>
                <a:cubicBezTo>
                  <a:pt x="3723" y="409"/>
                  <a:pt x="3723" y="409"/>
                  <a:pt x="3723" y="467"/>
                </a:cubicBezTo>
                <a:cubicBezTo>
                  <a:pt x="3723" y="467"/>
                  <a:pt x="3723" y="467"/>
                  <a:pt x="3734" y="467"/>
                </a:cubicBezTo>
                <a:cubicBezTo>
                  <a:pt x="3734" y="467"/>
                  <a:pt x="3734" y="467"/>
                  <a:pt x="3734" y="394"/>
                </a:cubicBezTo>
                <a:close/>
                <a:moveTo>
                  <a:pt x="3858" y="394"/>
                </a:moveTo>
                <a:cubicBezTo>
                  <a:pt x="3858" y="394"/>
                  <a:pt x="3858" y="394"/>
                  <a:pt x="3858" y="394"/>
                </a:cubicBezTo>
                <a:cubicBezTo>
                  <a:pt x="3852" y="394"/>
                  <a:pt x="3852" y="394"/>
                  <a:pt x="3852" y="394"/>
                </a:cubicBezTo>
                <a:cubicBezTo>
                  <a:pt x="3850" y="395"/>
                  <a:pt x="3849" y="397"/>
                  <a:pt x="3847" y="398"/>
                </a:cubicBezTo>
                <a:cubicBezTo>
                  <a:pt x="3845" y="399"/>
                  <a:pt x="3844" y="400"/>
                  <a:pt x="3841" y="401"/>
                </a:cubicBezTo>
                <a:cubicBezTo>
                  <a:pt x="3840" y="402"/>
                  <a:pt x="3838" y="403"/>
                  <a:pt x="3836" y="403"/>
                </a:cubicBezTo>
                <a:cubicBezTo>
                  <a:pt x="3834" y="404"/>
                  <a:pt x="3832" y="405"/>
                  <a:pt x="3830" y="405"/>
                </a:cubicBezTo>
                <a:cubicBezTo>
                  <a:pt x="3830" y="405"/>
                  <a:pt x="3830" y="405"/>
                  <a:pt x="3830" y="415"/>
                </a:cubicBezTo>
                <a:cubicBezTo>
                  <a:pt x="3833" y="414"/>
                  <a:pt x="3836" y="414"/>
                  <a:pt x="3839" y="412"/>
                </a:cubicBezTo>
                <a:cubicBezTo>
                  <a:pt x="3841" y="411"/>
                  <a:pt x="3844" y="410"/>
                  <a:pt x="3846" y="409"/>
                </a:cubicBezTo>
                <a:cubicBezTo>
                  <a:pt x="3846" y="409"/>
                  <a:pt x="3846" y="409"/>
                  <a:pt x="3846" y="467"/>
                </a:cubicBezTo>
                <a:cubicBezTo>
                  <a:pt x="3846" y="467"/>
                  <a:pt x="3846" y="467"/>
                  <a:pt x="3858" y="467"/>
                </a:cubicBezTo>
                <a:cubicBezTo>
                  <a:pt x="3858" y="467"/>
                  <a:pt x="3858" y="467"/>
                  <a:pt x="3858" y="394"/>
                </a:cubicBezTo>
                <a:close/>
                <a:moveTo>
                  <a:pt x="3755" y="426"/>
                </a:moveTo>
                <a:cubicBezTo>
                  <a:pt x="3755" y="426"/>
                  <a:pt x="3755" y="426"/>
                  <a:pt x="3755" y="426"/>
                </a:cubicBezTo>
                <a:cubicBezTo>
                  <a:pt x="3755" y="435"/>
                  <a:pt x="3755" y="435"/>
                  <a:pt x="3755" y="435"/>
                </a:cubicBezTo>
                <a:cubicBezTo>
                  <a:pt x="3761" y="435"/>
                  <a:pt x="3762" y="438"/>
                  <a:pt x="3762" y="440"/>
                </a:cubicBezTo>
                <a:cubicBezTo>
                  <a:pt x="3762" y="443"/>
                  <a:pt x="3762" y="445"/>
                  <a:pt x="3762" y="448"/>
                </a:cubicBezTo>
                <a:cubicBezTo>
                  <a:pt x="3761" y="450"/>
                  <a:pt x="3761" y="452"/>
                  <a:pt x="3761" y="455"/>
                </a:cubicBezTo>
                <a:cubicBezTo>
                  <a:pt x="3761" y="464"/>
                  <a:pt x="3767" y="467"/>
                  <a:pt x="3775" y="467"/>
                </a:cubicBezTo>
                <a:cubicBezTo>
                  <a:pt x="3775" y="467"/>
                  <a:pt x="3775" y="467"/>
                  <a:pt x="3779" y="467"/>
                </a:cubicBezTo>
                <a:cubicBezTo>
                  <a:pt x="3779" y="467"/>
                  <a:pt x="3779" y="467"/>
                  <a:pt x="3779" y="458"/>
                </a:cubicBezTo>
                <a:cubicBezTo>
                  <a:pt x="3779" y="458"/>
                  <a:pt x="3779" y="458"/>
                  <a:pt x="3777" y="458"/>
                </a:cubicBezTo>
                <a:cubicBezTo>
                  <a:pt x="3774" y="458"/>
                  <a:pt x="3773" y="456"/>
                  <a:pt x="3773" y="452"/>
                </a:cubicBezTo>
                <a:cubicBezTo>
                  <a:pt x="3773" y="451"/>
                  <a:pt x="3773" y="449"/>
                  <a:pt x="3773" y="448"/>
                </a:cubicBezTo>
                <a:cubicBezTo>
                  <a:pt x="3773" y="446"/>
                  <a:pt x="3773" y="444"/>
                  <a:pt x="3773" y="442"/>
                </a:cubicBezTo>
                <a:cubicBezTo>
                  <a:pt x="3773" y="434"/>
                  <a:pt x="3770" y="432"/>
                  <a:pt x="3765" y="430"/>
                </a:cubicBezTo>
                <a:cubicBezTo>
                  <a:pt x="3765" y="430"/>
                  <a:pt x="3765" y="430"/>
                  <a:pt x="3765" y="430"/>
                </a:cubicBezTo>
                <a:cubicBezTo>
                  <a:pt x="3770" y="429"/>
                  <a:pt x="3773" y="427"/>
                  <a:pt x="3773" y="419"/>
                </a:cubicBezTo>
                <a:cubicBezTo>
                  <a:pt x="3773" y="417"/>
                  <a:pt x="3773" y="415"/>
                  <a:pt x="3773" y="413"/>
                </a:cubicBezTo>
                <a:cubicBezTo>
                  <a:pt x="3773" y="411"/>
                  <a:pt x="3773" y="409"/>
                  <a:pt x="3773" y="408"/>
                </a:cubicBezTo>
                <a:cubicBezTo>
                  <a:pt x="3773" y="405"/>
                  <a:pt x="3774" y="402"/>
                  <a:pt x="3777" y="402"/>
                </a:cubicBezTo>
                <a:cubicBezTo>
                  <a:pt x="3777" y="402"/>
                  <a:pt x="3777" y="402"/>
                  <a:pt x="3779" y="402"/>
                </a:cubicBezTo>
                <a:cubicBezTo>
                  <a:pt x="3779" y="402"/>
                  <a:pt x="3779" y="402"/>
                  <a:pt x="3779" y="393"/>
                </a:cubicBezTo>
                <a:cubicBezTo>
                  <a:pt x="3779" y="393"/>
                  <a:pt x="3779" y="393"/>
                  <a:pt x="3775" y="393"/>
                </a:cubicBezTo>
                <a:cubicBezTo>
                  <a:pt x="3766" y="393"/>
                  <a:pt x="3761" y="397"/>
                  <a:pt x="3761" y="406"/>
                </a:cubicBezTo>
                <a:cubicBezTo>
                  <a:pt x="3761" y="408"/>
                  <a:pt x="3761" y="411"/>
                  <a:pt x="3761" y="413"/>
                </a:cubicBezTo>
                <a:cubicBezTo>
                  <a:pt x="3762" y="415"/>
                  <a:pt x="3762" y="418"/>
                  <a:pt x="3762" y="420"/>
                </a:cubicBezTo>
                <a:cubicBezTo>
                  <a:pt x="3762" y="423"/>
                  <a:pt x="3761" y="426"/>
                  <a:pt x="3755" y="426"/>
                </a:cubicBezTo>
                <a:close/>
                <a:moveTo>
                  <a:pt x="3810" y="435"/>
                </a:moveTo>
                <a:cubicBezTo>
                  <a:pt x="3810" y="435"/>
                  <a:pt x="3810" y="435"/>
                  <a:pt x="3810" y="435"/>
                </a:cubicBezTo>
                <a:cubicBezTo>
                  <a:pt x="3810" y="426"/>
                  <a:pt x="3810" y="426"/>
                  <a:pt x="3810" y="426"/>
                </a:cubicBezTo>
                <a:cubicBezTo>
                  <a:pt x="3803" y="426"/>
                  <a:pt x="3803" y="423"/>
                  <a:pt x="3803" y="420"/>
                </a:cubicBezTo>
                <a:cubicBezTo>
                  <a:pt x="3803" y="418"/>
                  <a:pt x="3803" y="415"/>
                  <a:pt x="3803" y="413"/>
                </a:cubicBezTo>
                <a:cubicBezTo>
                  <a:pt x="3804" y="411"/>
                  <a:pt x="3804" y="408"/>
                  <a:pt x="3804" y="406"/>
                </a:cubicBezTo>
                <a:cubicBezTo>
                  <a:pt x="3804" y="397"/>
                  <a:pt x="3799" y="393"/>
                  <a:pt x="3789" y="393"/>
                </a:cubicBezTo>
                <a:cubicBezTo>
                  <a:pt x="3789" y="393"/>
                  <a:pt x="3789" y="393"/>
                  <a:pt x="3786" y="393"/>
                </a:cubicBezTo>
                <a:cubicBezTo>
                  <a:pt x="3786" y="393"/>
                  <a:pt x="3786" y="393"/>
                  <a:pt x="3786" y="402"/>
                </a:cubicBezTo>
                <a:cubicBezTo>
                  <a:pt x="3786" y="402"/>
                  <a:pt x="3786" y="402"/>
                  <a:pt x="3787" y="402"/>
                </a:cubicBezTo>
                <a:cubicBezTo>
                  <a:pt x="3791" y="402"/>
                  <a:pt x="3792" y="405"/>
                  <a:pt x="3792" y="408"/>
                </a:cubicBezTo>
                <a:cubicBezTo>
                  <a:pt x="3792" y="409"/>
                  <a:pt x="3792" y="411"/>
                  <a:pt x="3792" y="413"/>
                </a:cubicBezTo>
                <a:cubicBezTo>
                  <a:pt x="3792" y="415"/>
                  <a:pt x="3792" y="417"/>
                  <a:pt x="3792" y="419"/>
                </a:cubicBezTo>
                <a:cubicBezTo>
                  <a:pt x="3792" y="427"/>
                  <a:pt x="3794" y="429"/>
                  <a:pt x="3800" y="430"/>
                </a:cubicBezTo>
                <a:cubicBezTo>
                  <a:pt x="3800" y="430"/>
                  <a:pt x="3800" y="430"/>
                  <a:pt x="3800" y="430"/>
                </a:cubicBezTo>
                <a:cubicBezTo>
                  <a:pt x="3794" y="432"/>
                  <a:pt x="3792" y="434"/>
                  <a:pt x="3792" y="442"/>
                </a:cubicBezTo>
                <a:cubicBezTo>
                  <a:pt x="3792" y="444"/>
                  <a:pt x="3792" y="446"/>
                  <a:pt x="3792" y="448"/>
                </a:cubicBezTo>
                <a:cubicBezTo>
                  <a:pt x="3792" y="449"/>
                  <a:pt x="3792" y="451"/>
                  <a:pt x="3792" y="452"/>
                </a:cubicBezTo>
                <a:cubicBezTo>
                  <a:pt x="3792" y="456"/>
                  <a:pt x="3791" y="458"/>
                  <a:pt x="3787" y="458"/>
                </a:cubicBezTo>
                <a:cubicBezTo>
                  <a:pt x="3787" y="458"/>
                  <a:pt x="3787" y="458"/>
                  <a:pt x="3786" y="458"/>
                </a:cubicBezTo>
                <a:cubicBezTo>
                  <a:pt x="3786" y="458"/>
                  <a:pt x="3786" y="458"/>
                  <a:pt x="3786" y="467"/>
                </a:cubicBezTo>
                <a:cubicBezTo>
                  <a:pt x="3786" y="467"/>
                  <a:pt x="3786" y="467"/>
                  <a:pt x="3789" y="467"/>
                </a:cubicBezTo>
                <a:cubicBezTo>
                  <a:pt x="3798" y="467"/>
                  <a:pt x="3804" y="464"/>
                  <a:pt x="3804" y="455"/>
                </a:cubicBezTo>
                <a:cubicBezTo>
                  <a:pt x="3804" y="452"/>
                  <a:pt x="3804" y="450"/>
                  <a:pt x="3803" y="448"/>
                </a:cubicBezTo>
                <a:cubicBezTo>
                  <a:pt x="3803" y="445"/>
                  <a:pt x="3803" y="443"/>
                  <a:pt x="3803" y="440"/>
                </a:cubicBezTo>
                <a:cubicBezTo>
                  <a:pt x="3803" y="438"/>
                  <a:pt x="3803" y="435"/>
                  <a:pt x="3810" y="435"/>
                </a:cubicBezTo>
                <a:close/>
                <a:moveTo>
                  <a:pt x="2951" y="345"/>
                </a:moveTo>
                <a:cubicBezTo>
                  <a:pt x="2951" y="347"/>
                  <a:pt x="2952" y="348"/>
                  <a:pt x="2952" y="350"/>
                </a:cubicBezTo>
                <a:cubicBezTo>
                  <a:pt x="2953" y="351"/>
                  <a:pt x="2953" y="353"/>
                  <a:pt x="2954" y="355"/>
                </a:cubicBezTo>
                <a:cubicBezTo>
                  <a:pt x="2954" y="356"/>
                  <a:pt x="2954" y="358"/>
                  <a:pt x="2954" y="360"/>
                </a:cubicBezTo>
                <a:cubicBezTo>
                  <a:pt x="2955" y="363"/>
                  <a:pt x="2954" y="364"/>
                  <a:pt x="2951" y="364"/>
                </a:cubicBezTo>
                <a:cubicBezTo>
                  <a:pt x="2948" y="364"/>
                  <a:pt x="2945" y="364"/>
                  <a:pt x="2942" y="364"/>
                </a:cubicBezTo>
                <a:cubicBezTo>
                  <a:pt x="2942" y="364"/>
                  <a:pt x="2941" y="364"/>
                  <a:pt x="2941" y="364"/>
                </a:cubicBezTo>
                <a:cubicBezTo>
                  <a:pt x="2939" y="366"/>
                  <a:pt x="2938" y="367"/>
                  <a:pt x="2936" y="369"/>
                </a:cubicBezTo>
                <a:cubicBezTo>
                  <a:pt x="2934" y="371"/>
                  <a:pt x="2931" y="371"/>
                  <a:pt x="2929" y="369"/>
                </a:cubicBezTo>
                <a:cubicBezTo>
                  <a:pt x="2927" y="367"/>
                  <a:pt x="2926" y="365"/>
                  <a:pt x="2924" y="362"/>
                </a:cubicBezTo>
                <a:cubicBezTo>
                  <a:pt x="2923" y="360"/>
                  <a:pt x="2924" y="359"/>
                  <a:pt x="2926" y="357"/>
                </a:cubicBezTo>
                <a:cubicBezTo>
                  <a:pt x="2923" y="357"/>
                  <a:pt x="2922" y="357"/>
                  <a:pt x="2920" y="357"/>
                </a:cubicBezTo>
                <a:cubicBezTo>
                  <a:pt x="2920" y="359"/>
                  <a:pt x="2918" y="361"/>
                  <a:pt x="2918" y="363"/>
                </a:cubicBezTo>
                <a:cubicBezTo>
                  <a:pt x="2918" y="364"/>
                  <a:pt x="2917" y="365"/>
                  <a:pt x="2917" y="365"/>
                </a:cubicBezTo>
                <a:cubicBezTo>
                  <a:pt x="2917" y="369"/>
                  <a:pt x="2916" y="370"/>
                  <a:pt x="2913" y="369"/>
                </a:cubicBezTo>
                <a:cubicBezTo>
                  <a:pt x="2910" y="369"/>
                  <a:pt x="2907" y="368"/>
                  <a:pt x="2904" y="367"/>
                </a:cubicBezTo>
                <a:cubicBezTo>
                  <a:pt x="2902" y="367"/>
                  <a:pt x="2901" y="365"/>
                  <a:pt x="2902" y="363"/>
                </a:cubicBezTo>
                <a:cubicBezTo>
                  <a:pt x="2902" y="362"/>
                  <a:pt x="2902" y="362"/>
                  <a:pt x="2903" y="362"/>
                </a:cubicBezTo>
                <a:cubicBezTo>
                  <a:pt x="2900" y="360"/>
                  <a:pt x="2898" y="360"/>
                  <a:pt x="2896" y="358"/>
                </a:cubicBezTo>
                <a:cubicBezTo>
                  <a:pt x="2895" y="357"/>
                  <a:pt x="2894" y="355"/>
                  <a:pt x="2893" y="354"/>
                </a:cubicBezTo>
                <a:cubicBezTo>
                  <a:pt x="2892" y="352"/>
                  <a:pt x="2892" y="350"/>
                  <a:pt x="2894" y="348"/>
                </a:cubicBezTo>
                <a:cubicBezTo>
                  <a:pt x="2897" y="346"/>
                  <a:pt x="2898" y="343"/>
                  <a:pt x="2897" y="339"/>
                </a:cubicBezTo>
                <a:cubicBezTo>
                  <a:pt x="2897" y="337"/>
                  <a:pt x="2897" y="335"/>
                  <a:pt x="2897" y="333"/>
                </a:cubicBezTo>
                <a:cubicBezTo>
                  <a:pt x="2896" y="333"/>
                  <a:pt x="2894" y="332"/>
                  <a:pt x="2893" y="331"/>
                </a:cubicBezTo>
                <a:cubicBezTo>
                  <a:pt x="2892" y="329"/>
                  <a:pt x="2891" y="327"/>
                  <a:pt x="2891" y="325"/>
                </a:cubicBezTo>
                <a:cubicBezTo>
                  <a:pt x="2891" y="323"/>
                  <a:pt x="2894" y="320"/>
                  <a:pt x="2897" y="319"/>
                </a:cubicBezTo>
                <a:cubicBezTo>
                  <a:pt x="2898" y="320"/>
                  <a:pt x="2898" y="321"/>
                  <a:pt x="2898" y="322"/>
                </a:cubicBezTo>
                <a:cubicBezTo>
                  <a:pt x="2898" y="323"/>
                  <a:pt x="2898" y="323"/>
                  <a:pt x="2898" y="325"/>
                </a:cubicBezTo>
                <a:cubicBezTo>
                  <a:pt x="2898" y="324"/>
                  <a:pt x="2897" y="324"/>
                  <a:pt x="2897" y="324"/>
                </a:cubicBezTo>
                <a:cubicBezTo>
                  <a:pt x="2896" y="325"/>
                  <a:pt x="2896" y="327"/>
                  <a:pt x="2895" y="329"/>
                </a:cubicBezTo>
                <a:cubicBezTo>
                  <a:pt x="2896" y="328"/>
                  <a:pt x="2897" y="328"/>
                  <a:pt x="2898" y="328"/>
                </a:cubicBezTo>
                <a:cubicBezTo>
                  <a:pt x="2899" y="327"/>
                  <a:pt x="2900" y="326"/>
                  <a:pt x="2900" y="325"/>
                </a:cubicBezTo>
                <a:cubicBezTo>
                  <a:pt x="2905" y="318"/>
                  <a:pt x="2911" y="314"/>
                  <a:pt x="2918" y="312"/>
                </a:cubicBezTo>
                <a:cubicBezTo>
                  <a:pt x="2921" y="312"/>
                  <a:pt x="2925" y="311"/>
                  <a:pt x="2927" y="308"/>
                </a:cubicBezTo>
                <a:cubicBezTo>
                  <a:pt x="2927" y="308"/>
                  <a:pt x="2928" y="307"/>
                  <a:pt x="2928" y="307"/>
                </a:cubicBezTo>
                <a:cubicBezTo>
                  <a:pt x="2931" y="307"/>
                  <a:pt x="2932" y="304"/>
                  <a:pt x="2934" y="303"/>
                </a:cubicBezTo>
                <a:cubicBezTo>
                  <a:pt x="2942" y="295"/>
                  <a:pt x="2954" y="295"/>
                  <a:pt x="2961" y="301"/>
                </a:cubicBezTo>
                <a:cubicBezTo>
                  <a:pt x="2964" y="303"/>
                  <a:pt x="2967" y="305"/>
                  <a:pt x="2969" y="307"/>
                </a:cubicBezTo>
                <a:cubicBezTo>
                  <a:pt x="2971" y="308"/>
                  <a:pt x="2972" y="310"/>
                  <a:pt x="2973" y="312"/>
                </a:cubicBezTo>
                <a:cubicBezTo>
                  <a:pt x="2974" y="314"/>
                  <a:pt x="2974" y="314"/>
                  <a:pt x="2976" y="312"/>
                </a:cubicBezTo>
                <a:cubicBezTo>
                  <a:pt x="2976" y="312"/>
                  <a:pt x="2977" y="311"/>
                  <a:pt x="2978" y="310"/>
                </a:cubicBezTo>
                <a:cubicBezTo>
                  <a:pt x="2980" y="308"/>
                  <a:pt x="2983" y="308"/>
                  <a:pt x="2984" y="311"/>
                </a:cubicBezTo>
                <a:cubicBezTo>
                  <a:pt x="2985" y="314"/>
                  <a:pt x="2986" y="317"/>
                  <a:pt x="2987" y="320"/>
                </a:cubicBezTo>
                <a:cubicBezTo>
                  <a:pt x="2987" y="324"/>
                  <a:pt x="2987" y="329"/>
                  <a:pt x="2985" y="333"/>
                </a:cubicBezTo>
                <a:cubicBezTo>
                  <a:pt x="2983" y="339"/>
                  <a:pt x="2978" y="343"/>
                  <a:pt x="2972" y="343"/>
                </a:cubicBezTo>
                <a:cubicBezTo>
                  <a:pt x="2971" y="343"/>
                  <a:pt x="2971" y="343"/>
                  <a:pt x="2970" y="343"/>
                </a:cubicBezTo>
                <a:cubicBezTo>
                  <a:pt x="2967" y="343"/>
                  <a:pt x="2966" y="343"/>
                  <a:pt x="2965" y="345"/>
                </a:cubicBezTo>
                <a:cubicBezTo>
                  <a:pt x="2964" y="350"/>
                  <a:pt x="2958" y="351"/>
                  <a:pt x="2955" y="348"/>
                </a:cubicBezTo>
                <a:cubicBezTo>
                  <a:pt x="2954" y="347"/>
                  <a:pt x="2953" y="346"/>
                  <a:pt x="2952" y="345"/>
                </a:cubicBezTo>
                <a:cubicBezTo>
                  <a:pt x="2951" y="345"/>
                  <a:pt x="2951" y="345"/>
                  <a:pt x="2951" y="345"/>
                </a:cubicBezTo>
                <a:close/>
                <a:moveTo>
                  <a:pt x="2945" y="341"/>
                </a:moveTo>
                <a:cubicBezTo>
                  <a:pt x="2949" y="343"/>
                  <a:pt x="2952" y="344"/>
                  <a:pt x="2955" y="346"/>
                </a:cubicBezTo>
                <a:cubicBezTo>
                  <a:pt x="2957" y="348"/>
                  <a:pt x="2959" y="349"/>
                  <a:pt x="2961" y="348"/>
                </a:cubicBezTo>
                <a:cubicBezTo>
                  <a:pt x="2963" y="347"/>
                  <a:pt x="2965" y="345"/>
                  <a:pt x="2965" y="342"/>
                </a:cubicBezTo>
                <a:cubicBezTo>
                  <a:pt x="2965" y="343"/>
                  <a:pt x="2964" y="343"/>
                  <a:pt x="2964" y="343"/>
                </a:cubicBezTo>
                <a:cubicBezTo>
                  <a:pt x="2963" y="344"/>
                  <a:pt x="2962" y="345"/>
                  <a:pt x="2961" y="346"/>
                </a:cubicBezTo>
                <a:cubicBezTo>
                  <a:pt x="2960" y="348"/>
                  <a:pt x="2959" y="347"/>
                  <a:pt x="2958" y="347"/>
                </a:cubicBezTo>
                <a:cubicBezTo>
                  <a:pt x="2958" y="347"/>
                  <a:pt x="2957" y="346"/>
                  <a:pt x="2957" y="345"/>
                </a:cubicBezTo>
                <a:cubicBezTo>
                  <a:pt x="2957" y="343"/>
                  <a:pt x="2958" y="341"/>
                  <a:pt x="2958" y="339"/>
                </a:cubicBezTo>
                <a:cubicBezTo>
                  <a:pt x="2961" y="339"/>
                  <a:pt x="2964" y="341"/>
                  <a:pt x="2968" y="341"/>
                </a:cubicBezTo>
                <a:cubicBezTo>
                  <a:pt x="2975" y="342"/>
                  <a:pt x="2981" y="341"/>
                  <a:pt x="2984" y="332"/>
                </a:cubicBezTo>
                <a:cubicBezTo>
                  <a:pt x="2986" y="327"/>
                  <a:pt x="2985" y="322"/>
                  <a:pt x="2985" y="317"/>
                </a:cubicBezTo>
                <a:cubicBezTo>
                  <a:pt x="2984" y="315"/>
                  <a:pt x="2983" y="314"/>
                  <a:pt x="2983" y="312"/>
                </a:cubicBezTo>
                <a:cubicBezTo>
                  <a:pt x="2982" y="310"/>
                  <a:pt x="2981" y="310"/>
                  <a:pt x="2980" y="311"/>
                </a:cubicBezTo>
                <a:cubicBezTo>
                  <a:pt x="2978" y="313"/>
                  <a:pt x="2976" y="314"/>
                  <a:pt x="2974" y="315"/>
                </a:cubicBezTo>
                <a:cubicBezTo>
                  <a:pt x="2974" y="316"/>
                  <a:pt x="2973" y="316"/>
                  <a:pt x="2973" y="318"/>
                </a:cubicBezTo>
                <a:cubicBezTo>
                  <a:pt x="2974" y="321"/>
                  <a:pt x="2973" y="324"/>
                  <a:pt x="2972" y="327"/>
                </a:cubicBezTo>
                <a:cubicBezTo>
                  <a:pt x="2972" y="325"/>
                  <a:pt x="2972" y="323"/>
                  <a:pt x="2972" y="322"/>
                </a:cubicBezTo>
                <a:cubicBezTo>
                  <a:pt x="2972" y="321"/>
                  <a:pt x="2972" y="320"/>
                  <a:pt x="2972" y="320"/>
                </a:cubicBezTo>
                <a:cubicBezTo>
                  <a:pt x="2971" y="320"/>
                  <a:pt x="2971" y="320"/>
                  <a:pt x="2971" y="321"/>
                </a:cubicBezTo>
                <a:cubicBezTo>
                  <a:pt x="2970" y="322"/>
                  <a:pt x="2969" y="323"/>
                  <a:pt x="2968" y="325"/>
                </a:cubicBezTo>
                <a:cubicBezTo>
                  <a:pt x="2968" y="325"/>
                  <a:pt x="2968" y="325"/>
                  <a:pt x="2968" y="325"/>
                </a:cubicBezTo>
                <a:cubicBezTo>
                  <a:pt x="2968" y="323"/>
                  <a:pt x="2969" y="322"/>
                  <a:pt x="2969" y="319"/>
                </a:cubicBezTo>
                <a:cubicBezTo>
                  <a:pt x="2968" y="320"/>
                  <a:pt x="2967" y="320"/>
                  <a:pt x="2967" y="321"/>
                </a:cubicBezTo>
                <a:cubicBezTo>
                  <a:pt x="2966" y="322"/>
                  <a:pt x="2966" y="322"/>
                  <a:pt x="2965" y="323"/>
                </a:cubicBezTo>
                <a:cubicBezTo>
                  <a:pt x="2966" y="320"/>
                  <a:pt x="2966" y="320"/>
                  <a:pt x="2972" y="318"/>
                </a:cubicBezTo>
                <a:cubicBezTo>
                  <a:pt x="2972" y="318"/>
                  <a:pt x="2971" y="317"/>
                  <a:pt x="2971" y="317"/>
                </a:cubicBezTo>
                <a:cubicBezTo>
                  <a:pt x="2968" y="318"/>
                  <a:pt x="2967" y="316"/>
                  <a:pt x="2967" y="314"/>
                </a:cubicBezTo>
                <a:cubicBezTo>
                  <a:pt x="2969" y="314"/>
                  <a:pt x="2970" y="313"/>
                  <a:pt x="2972" y="313"/>
                </a:cubicBezTo>
                <a:cubicBezTo>
                  <a:pt x="2970" y="310"/>
                  <a:pt x="2969" y="308"/>
                  <a:pt x="2965" y="307"/>
                </a:cubicBezTo>
                <a:cubicBezTo>
                  <a:pt x="2965" y="307"/>
                  <a:pt x="2965" y="307"/>
                  <a:pt x="2965" y="306"/>
                </a:cubicBezTo>
                <a:cubicBezTo>
                  <a:pt x="2962" y="304"/>
                  <a:pt x="2960" y="302"/>
                  <a:pt x="2957" y="300"/>
                </a:cubicBezTo>
                <a:cubicBezTo>
                  <a:pt x="2955" y="299"/>
                  <a:pt x="2952" y="298"/>
                  <a:pt x="2950" y="298"/>
                </a:cubicBezTo>
                <a:cubicBezTo>
                  <a:pt x="2947" y="299"/>
                  <a:pt x="2943" y="300"/>
                  <a:pt x="2940" y="301"/>
                </a:cubicBezTo>
                <a:cubicBezTo>
                  <a:pt x="2938" y="302"/>
                  <a:pt x="2935" y="303"/>
                  <a:pt x="2933" y="306"/>
                </a:cubicBezTo>
                <a:cubicBezTo>
                  <a:pt x="2935" y="306"/>
                  <a:pt x="2936" y="306"/>
                  <a:pt x="2937" y="306"/>
                </a:cubicBezTo>
                <a:cubicBezTo>
                  <a:pt x="2937" y="307"/>
                  <a:pt x="2936" y="307"/>
                  <a:pt x="2935" y="307"/>
                </a:cubicBezTo>
                <a:cubicBezTo>
                  <a:pt x="2933" y="308"/>
                  <a:pt x="2930" y="307"/>
                  <a:pt x="2928" y="310"/>
                </a:cubicBezTo>
                <a:cubicBezTo>
                  <a:pt x="2925" y="314"/>
                  <a:pt x="2921" y="317"/>
                  <a:pt x="2917" y="322"/>
                </a:cubicBezTo>
                <a:cubicBezTo>
                  <a:pt x="2916" y="323"/>
                  <a:pt x="2915" y="326"/>
                  <a:pt x="2914" y="328"/>
                </a:cubicBezTo>
                <a:cubicBezTo>
                  <a:pt x="2914" y="329"/>
                  <a:pt x="2914" y="329"/>
                  <a:pt x="2914" y="330"/>
                </a:cubicBezTo>
                <a:cubicBezTo>
                  <a:pt x="2915" y="332"/>
                  <a:pt x="2916" y="334"/>
                  <a:pt x="2918" y="336"/>
                </a:cubicBezTo>
                <a:cubicBezTo>
                  <a:pt x="2919" y="334"/>
                  <a:pt x="2920" y="333"/>
                  <a:pt x="2921" y="331"/>
                </a:cubicBezTo>
                <a:cubicBezTo>
                  <a:pt x="2921" y="333"/>
                  <a:pt x="2921" y="334"/>
                  <a:pt x="2920" y="335"/>
                </a:cubicBezTo>
                <a:cubicBezTo>
                  <a:pt x="2919" y="337"/>
                  <a:pt x="2918" y="338"/>
                  <a:pt x="2918" y="339"/>
                </a:cubicBezTo>
                <a:cubicBezTo>
                  <a:pt x="2918" y="340"/>
                  <a:pt x="2918" y="341"/>
                  <a:pt x="2918" y="342"/>
                </a:cubicBezTo>
                <a:cubicBezTo>
                  <a:pt x="2921" y="346"/>
                  <a:pt x="2924" y="346"/>
                  <a:pt x="2928" y="344"/>
                </a:cubicBezTo>
                <a:cubicBezTo>
                  <a:pt x="2930" y="342"/>
                  <a:pt x="2933" y="341"/>
                  <a:pt x="2936" y="340"/>
                </a:cubicBezTo>
                <a:cubicBezTo>
                  <a:pt x="2937" y="340"/>
                  <a:pt x="2938" y="339"/>
                  <a:pt x="2938" y="337"/>
                </a:cubicBezTo>
                <a:cubicBezTo>
                  <a:pt x="2938" y="334"/>
                  <a:pt x="2938" y="331"/>
                  <a:pt x="2938" y="327"/>
                </a:cubicBezTo>
                <a:cubicBezTo>
                  <a:pt x="2938" y="324"/>
                  <a:pt x="2938" y="322"/>
                  <a:pt x="2938" y="318"/>
                </a:cubicBezTo>
                <a:cubicBezTo>
                  <a:pt x="2939" y="321"/>
                  <a:pt x="2940" y="324"/>
                  <a:pt x="2940" y="326"/>
                </a:cubicBezTo>
                <a:cubicBezTo>
                  <a:pt x="2941" y="331"/>
                  <a:pt x="2941" y="335"/>
                  <a:pt x="2940" y="340"/>
                </a:cubicBezTo>
                <a:cubicBezTo>
                  <a:pt x="2939" y="341"/>
                  <a:pt x="2938" y="341"/>
                  <a:pt x="2938" y="341"/>
                </a:cubicBezTo>
                <a:cubicBezTo>
                  <a:pt x="2934" y="342"/>
                  <a:pt x="2931" y="344"/>
                  <a:pt x="2928" y="345"/>
                </a:cubicBezTo>
                <a:cubicBezTo>
                  <a:pt x="2923" y="348"/>
                  <a:pt x="2920" y="346"/>
                  <a:pt x="2916" y="343"/>
                </a:cubicBezTo>
                <a:cubicBezTo>
                  <a:pt x="2916" y="342"/>
                  <a:pt x="2916" y="341"/>
                  <a:pt x="2916" y="341"/>
                </a:cubicBezTo>
                <a:cubicBezTo>
                  <a:pt x="2917" y="338"/>
                  <a:pt x="2916" y="336"/>
                  <a:pt x="2914" y="334"/>
                </a:cubicBezTo>
                <a:cubicBezTo>
                  <a:pt x="2913" y="332"/>
                  <a:pt x="2911" y="330"/>
                  <a:pt x="2912" y="327"/>
                </a:cubicBezTo>
                <a:cubicBezTo>
                  <a:pt x="2913" y="325"/>
                  <a:pt x="2914" y="323"/>
                  <a:pt x="2915" y="322"/>
                </a:cubicBezTo>
                <a:cubicBezTo>
                  <a:pt x="2917" y="319"/>
                  <a:pt x="2919" y="317"/>
                  <a:pt x="2921" y="314"/>
                </a:cubicBezTo>
                <a:cubicBezTo>
                  <a:pt x="2921" y="314"/>
                  <a:pt x="2920" y="314"/>
                  <a:pt x="2920" y="314"/>
                </a:cubicBezTo>
                <a:cubicBezTo>
                  <a:pt x="2915" y="315"/>
                  <a:pt x="2911" y="317"/>
                  <a:pt x="2907" y="320"/>
                </a:cubicBezTo>
                <a:cubicBezTo>
                  <a:pt x="2902" y="324"/>
                  <a:pt x="2899" y="329"/>
                  <a:pt x="2899" y="336"/>
                </a:cubicBezTo>
                <a:cubicBezTo>
                  <a:pt x="2898" y="343"/>
                  <a:pt x="2901" y="349"/>
                  <a:pt x="2904" y="355"/>
                </a:cubicBezTo>
                <a:cubicBezTo>
                  <a:pt x="2905" y="356"/>
                  <a:pt x="2905" y="357"/>
                  <a:pt x="2905" y="358"/>
                </a:cubicBezTo>
                <a:cubicBezTo>
                  <a:pt x="2905" y="360"/>
                  <a:pt x="2905" y="362"/>
                  <a:pt x="2904" y="363"/>
                </a:cubicBezTo>
                <a:cubicBezTo>
                  <a:pt x="2903" y="365"/>
                  <a:pt x="2904" y="365"/>
                  <a:pt x="2905" y="366"/>
                </a:cubicBezTo>
                <a:cubicBezTo>
                  <a:pt x="2908" y="367"/>
                  <a:pt x="2911" y="367"/>
                  <a:pt x="2914" y="367"/>
                </a:cubicBezTo>
                <a:cubicBezTo>
                  <a:pt x="2914" y="367"/>
                  <a:pt x="2915" y="367"/>
                  <a:pt x="2915" y="366"/>
                </a:cubicBezTo>
                <a:cubicBezTo>
                  <a:pt x="2916" y="365"/>
                  <a:pt x="2916" y="363"/>
                  <a:pt x="2916" y="363"/>
                </a:cubicBezTo>
                <a:cubicBezTo>
                  <a:pt x="2918" y="360"/>
                  <a:pt x="2918" y="358"/>
                  <a:pt x="2918" y="355"/>
                </a:cubicBezTo>
                <a:cubicBezTo>
                  <a:pt x="2918" y="354"/>
                  <a:pt x="2918" y="354"/>
                  <a:pt x="2918" y="354"/>
                </a:cubicBezTo>
                <a:cubicBezTo>
                  <a:pt x="2918" y="353"/>
                  <a:pt x="2918" y="353"/>
                  <a:pt x="2918" y="353"/>
                </a:cubicBezTo>
                <a:cubicBezTo>
                  <a:pt x="2919" y="356"/>
                  <a:pt x="2920" y="356"/>
                  <a:pt x="2922" y="356"/>
                </a:cubicBezTo>
                <a:cubicBezTo>
                  <a:pt x="2923" y="356"/>
                  <a:pt x="2924" y="356"/>
                  <a:pt x="2925" y="356"/>
                </a:cubicBezTo>
                <a:cubicBezTo>
                  <a:pt x="2927" y="356"/>
                  <a:pt x="2931" y="356"/>
                  <a:pt x="2931" y="352"/>
                </a:cubicBezTo>
                <a:cubicBezTo>
                  <a:pt x="2931" y="354"/>
                  <a:pt x="2931" y="356"/>
                  <a:pt x="2931" y="357"/>
                </a:cubicBezTo>
                <a:cubicBezTo>
                  <a:pt x="2930" y="358"/>
                  <a:pt x="2929" y="358"/>
                  <a:pt x="2927" y="359"/>
                </a:cubicBezTo>
                <a:cubicBezTo>
                  <a:pt x="2926" y="360"/>
                  <a:pt x="2925" y="361"/>
                  <a:pt x="2926" y="362"/>
                </a:cubicBezTo>
                <a:cubicBezTo>
                  <a:pt x="2927" y="364"/>
                  <a:pt x="2929" y="366"/>
                  <a:pt x="2930" y="368"/>
                </a:cubicBezTo>
                <a:cubicBezTo>
                  <a:pt x="2932" y="369"/>
                  <a:pt x="2934" y="369"/>
                  <a:pt x="2935" y="367"/>
                </a:cubicBezTo>
                <a:cubicBezTo>
                  <a:pt x="2936" y="367"/>
                  <a:pt x="2936" y="366"/>
                  <a:pt x="2937" y="365"/>
                </a:cubicBezTo>
                <a:cubicBezTo>
                  <a:pt x="2939" y="364"/>
                  <a:pt x="2940" y="363"/>
                  <a:pt x="2942" y="362"/>
                </a:cubicBezTo>
                <a:cubicBezTo>
                  <a:pt x="2946" y="357"/>
                  <a:pt x="2948" y="351"/>
                  <a:pt x="2950" y="345"/>
                </a:cubicBezTo>
                <a:cubicBezTo>
                  <a:pt x="2950" y="345"/>
                  <a:pt x="2949" y="344"/>
                  <a:pt x="2949" y="344"/>
                </a:cubicBezTo>
                <a:cubicBezTo>
                  <a:pt x="2948" y="343"/>
                  <a:pt x="2947" y="342"/>
                  <a:pt x="2945" y="341"/>
                </a:cubicBezTo>
                <a:close/>
                <a:moveTo>
                  <a:pt x="2898" y="347"/>
                </a:moveTo>
                <a:cubicBezTo>
                  <a:pt x="2898" y="348"/>
                  <a:pt x="2896" y="349"/>
                  <a:pt x="2895" y="350"/>
                </a:cubicBezTo>
                <a:cubicBezTo>
                  <a:pt x="2894" y="350"/>
                  <a:pt x="2894" y="351"/>
                  <a:pt x="2894" y="352"/>
                </a:cubicBezTo>
                <a:cubicBezTo>
                  <a:pt x="2894" y="355"/>
                  <a:pt x="2898" y="359"/>
                  <a:pt x="2901" y="359"/>
                </a:cubicBezTo>
                <a:cubicBezTo>
                  <a:pt x="2903" y="359"/>
                  <a:pt x="2904" y="358"/>
                  <a:pt x="2903" y="356"/>
                </a:cubicBezTo>
                <a:cubicBezTo>
                  <a:pt x="2901" y="353"/>
                  <a:pt x="2900" y="350"/>
                  <a:pt x="2898" y="347"/>
                </a:cubicBezTo>
                <a:close/>
                <a:moveTo>
                  <a:pt x="2951" y="349"/>
                </a:moveTo>
                <a:cubicBezTo>
                  <a:pt x="2949" y="354"/>
                  <a:pt x="2946" y="358"/>
                  <a:pt x="2944" y="363"/>
                </a:cubicBezTo>
                <a:cubicBezTo>
                  <a:pt x="2947" y="363"/>
                  <a:pt x="2949" y="363"/>
                  <a:pt x="2952" y="363"/>
                </a:cubicBezTo>
                <a:cubicBezTo>
                  <a:pt x="2952" y="363"/>
                  <a:pt x="2952" y="362"/>
                  <a:pt x="2952" y="361"/>
                </a:cubicBezTo>
                <a:cubicBezTo>
                  <a:pt x="2952" y="358"/>
                  <a:pt x="2952" y="356"/>
                  <a:pt x="2952" y="354"/>
                </a:cubicBezTo>
                <a:cubicBezTo>
                  <a:pt x="2952" y="352"/>
                  <a:pt x="2951" y="351"/>
                  <a:pt x="2951" y="349"/>
                </a:cubicBezTo>
                <a:close/>
                <a:moveTo>
                  <a:pt x="2898" y="329"/>
                </a:moveTo>
                <a:cubicBezTo>
                  <a:pt x="2898" y="329"/>
                  <a:pt x="2897" y="330"/>
                  <a:pt x="2896" y="330"/>
                </a:cubicBezTo>
                <a:cubicBezTo>
                  <a:pt x="2896" y="330"/>
                  <a:pt x="2895" y="330"/>
                  <a:pt x="2895" y="329"/>
                </a:cubicBezTo>
                <a:cubicBezTo>
                  <a:pt x="2894" y="329"/>
                  <a:pt x="2894" y="328"/>
                  <a:pt x="2894" y="327"/>
                </a:cubicBezTo>
                <a:cubicBezTo>
                  <a:pt x="2895" y="325"/>
                  <a:pt x="2895" y="323"/>
                  <a:pt x="2896" y="322"/>
                </a:cubicBezTo>
                <a:cubicBezTo>
                  <a:pt x="2896" y="322"/>
                  <a:pt x="2896" y="322"/>
                  <a:pt x="2895" y="322"/>
                </a:cubicBezTo>
                <a:cubicBezTo>
                  <a:pt x="2894" y="322"/>
                  <a:pt x="2893" y="323"/>
                  <a:pt x="2892" y="324"/>
                </a:cubicBezTo>
                <a:cubicBezTo>
                  <a:pt x="2892" y="325"/>
                  <a:pt x="2893" y="331"/>
                  <a:pt x="2895" y="331"/>
                </a:cubicBezTo>
                <a:cubicBezTo>
                  <a:pt x="2896" y="332"/>
                  <a:pt x="2898" y="331"/>
                  <a:pt x="2898" y="329"/>
                </a:cubicBezTo>
                <a:close/>
                <a:moveTo>
                  <a:pt x="2898" y="347"/>
                </a:moveTo>
                <a:cubicBezTo>
                  <a:pt x="2897" y="348"/>
                  <a:pt x="2896" y="349"/>
                  <a:pt x="2895" y="350"/>
                </a:cubicBezTo>
                <a:cubicBezTo>
                  <a:pt x="2894" y="350"/>
                  <a:pt x="2894" y="351"/>
                  <a:pt x="2894" y="352"/>
                </a:cubicBezTo>
                <a:cubicBezTo>
                  <a:pt x="2894" y="355"/>
                  <a:pt x="2898" y="359"/>
                  <a:pt x="2901" y="359"/>
                </a:cubicBezTo>
                <a:cubicBezTo>
                  <a:pt x="2903" y="359"/>
                  <a:pt x="2904" y="357"/>
                  <a:pt x="2903" y="356"/>
                </a:cubicBezTo>
                <a:cubicBezTo>
                  <a:pt x="2901" y="353"/>
                  <a:pt x="2900" y="350"/>
                  <a:pt x="2898" y="347"/>
                </a:cubicBezTo>
                <a:close/>
                <a:moveTo>
                  <a:pt x="2951" y="349"/>
                </a:moveTo>
                <a:cubicBezTo>
                  <a:pt x="2948" y="354"/>
                  <a:pt x="2946" y="358"/>
                  <a:pt x="2944" y="362"/>
                </a:cubicBezTo>
                <a:cubicBezTo>
                  <a:pt x="2946" y="362"/>
                  <a:pt x="2949" y="363"/>
                  <a:pt x="2952" y="362"/>
                </a:cubicBezTo>
                <a:cubicBezTo>
                  <a:pt x="2952" y="362"/>
                  <a:pt x="2952" y="361"/>
                  <a:pt x="2952" y="361"/>
                </a:cubicBezTo>
                <a:cubicBezTo>
                  <a:pt x="2952" y="358"/>
                  <a:pt x="2952" y="356"/>
                  <a:pt x="2952" y="353"/>
                </a:cubicBezTo>
                <a:cubicBezTo>
                  <a:pt x="2952" y="352"/>
                  <a:pt x="2951" y="350"/>
                  <a:pt x="2951" y="349"/>
                </a:cubicBezTo>
                <a:close/>
                <a:moveTo>
                  <a:pt x="2898" y="329"/>
                </a:moveTo>
                <a:cubicBezTo>
                  <a:pt x="2897" y="329"/>
                  <a:pt x="2897" y="330"/>
                  <a:pt x="2896" y="330"/>
                </a:cubicBezTo>
                <a:cubicBezTo>
                  <a:pt x="2896" y="330"/>
                  <a:pt x="2895" y="330"/>
                  <a:pt x="2895" y="329"/>
                </a:cubicBezTo>
                <a:cubicBezTo>
                  <a:pt x="2894" y="329"/>
                  <a:pt x="2894" y="328"/>
                  <a:pt x="2894" y="327"/>
                </a:cubicBezTo>
                <a:cubicBezTo>
                  <a:pt x="2895" y="325"/>
                  <a:pt x="2895" y="323"/>
                  <a:pt x="2896" y="321"/>
                </a:cubicBezTo>
                <a:cubicBezTo>
                  <a:pt x="2896" y="321"/>
                  <a:pt x="2896" y="321"/>
                  <a:pt x="2895" y="321"/>
                </a:cubicBezTo>
                <a:cubicBezTo>
                  <a:pt x="2894" y="322"/>
                  <a:pt x="2893" y="323"/>
                  <a:pt x="2893" y="324"/>
                </a:cubicBezTo>
                <a:cubicBezTo>
                  <a:pt x="2892" y="325"/>
                  <a:pt x="2893" y="330"/>
                  <a:pt x="2895" y="331"/>
                </a:cubicBezTo>
                <a:cubicBezTo>
                  <a:pt x="2896" y="332"/>
                  <a:pt x="2898" y="331"/>
                  <a:pt x="2898" y="329"/>
                </a:cubicBezTo>
                <a:close/>
                <a:moveTo>
                  <a:pt x="2950" y="321"/>
                </a:moveTo>
                <a:cubicBezTo>
                  <a:pt x="2954" y="317"/>
                  <a:pt x="2954" y="317"/>
                  <a:pt x="2958" y="316"/>
                </a:cubicBezTo>
                <a:cubicBezTo>
                  <a:pt x="2958" y="318"/>
                  <a:pt x="2959" y="319"/>
                  <a:pt x="2960" y="319"/>
                </a:cubicBezTo>
                <a:cubicBezTo>
                  <a:pt x="2958" y="320"/>
                  <a:pt x="2956" y="322"/>
                  <a:pt x="2954" y="323"/>
                </a:cubicBezTo>
                <a:cubicBezTo>
                  <a:pt x="2953" y="322"/>
                  <a:pt x="2953" y="321"/>
                  <a:pt x="2952" y="320"/>
                </a:cubicBezTo>
                <a:cubicBezTo>
                  <a:pt x="2952" y="320"/>
                  <a:pt x="2951" y="320"/>
                  <a:pt x="2950" y="321"/>
                </a:cubicBezTo>
                <a:close/>
                <a:moveTo>
                  <a:pt x="2956" y="320"/>
                </a:moveTo>
                <a:cubicBezTo>
                  <a:pt x="2956" y="320"/>
                  <a:pt x="2955" y="319"/>
                  <a:pt x="2954" y="319"/>
                </a:cubicBezTo>
                <a:cubicBezTo>
                  <a:pt x="2954" y="319"/>
                  <a:pt x="2953" y="320"/>
                  <a:pt x="2953" y="321"/>
                </a:cubicBezTo>
                <a:cubicBezTo>
                  <a:pt x="2953" y="321"/>
                  <a:pt x="2954" y="321"/>
                  <a:pt x="2954" y="322"/>
                </a:cubicBezTo>
                <a:cubicBezTo>
                  <a:pt x="2955" y="321"/>
                  <a:pt x="2955" y="321"/>
                  <a:pt x="2956" y="320"/>
                </a:cubicBezTo>
                <a:close/>
                <a:moveTo>
                  <a:pt x="2937" y="311"/>
                </a:moveTo>
                <a:cubicBezTo>
                  <a:pt x="2931" y="310"/>
                  <a:pt x="2928" y="312"/>
                  <a:pt x="2927" y="320"/>
                </a:cubicBezTo>
                <a:cubicBezTo>
                  <a:pt x="2928" y="318"/>
                  <a:pt x="2929" y="316"/>
                  <a:pt x="2930" y="313"/>
                </a:cubicBezTo>
                <a:cubicBezTo>
                  <a:pt x="2931" y="313"/>
                  <a:pt x="2931" y="313"/>
                  <a:pt x="2931" y="313"/>
                </a:cubicBezTo>
                <a:cubicBezTo>
                  <a:pt x="2931" y="315"/>
                  <a:pt x="2931" y="315"/>
                  <a:pt x="2931" y="316"/>
                </a:cubicBezTo>
                <a:cubicBezTo>
                  <a:pt x="2932" y="313"/>
                  <a:pt x="2934" y="311"/>
                  <a:pt x="2937" y="311"/>
                </a:cubicBezTo>
                <a:close/>
                <a:moveTo>
                  <a:pt x="2981" y="312"/>
                </a:moveTo>
                <a:cubicBezTo>
                  <a:pt x="2979" y="314"/>
                  <a:pt x="2977" y="315"/>
                  <a:pt x="2976" y="316"/>
                </a:cubicBezTo>
                <a:cubicBezTo>
                  <a:pt x="2978" y="317"/>
                  <a:pt x="2980" y="315"/>
                  <a:pt x="2981" y="312"/>
                </a:cubicBezTo>
                <a:close/>
                <a:moveTo>
                  <a:pt x="2948" y="314"/>
                </a:moveTo>
                <a:cubicBezTo>
                  <a:pt x="2949" y="313"/>
                  <a:pt x="2950" y="312"/>
                  <a:pt x="2951" y="310"/>
                </a:cubicBezTo>
                <a:cubicBezTo>
                  <a:pt x="2948" y="312"/>
                  <a:pt x="2948" y="312"/>
                  <a:pt x="2948" y="314"/>
                </a:cubicBezTo>
                <a:close/>
                <a:moveTo>
                  <a:pt x="2958" y="335"/>
                </a:moveTo>
                <a:cubicBezTo>
                  <a:pt x="2956" y="336"/>
                  <a:pt x="2955" y="337"/>
                  <a:pt x="2955" y="338"/>
                </a:cubicBezTo>
                <a:cubicBezTo>
                  <a:pt x="2956" y="337"/>
                  <a:pt x="2957" y="336"/>
                  <a:pt x="2958" y="335"/>
                </a:cubicBezTo>
                <a:close/>
                <a:moveTo>
                  <a:pt x="2957" y="320"/>
                </a:moveTo>
                <a:cubicBezTo>
                  <a:pt x="2956" y="320"/>
                  <a:pt x="2955" y="320"/>
                  <a:pt x="2955" y="320"/>
                </a:cubicBezTo>
                <a:cubicBezTo>
                  <a:pt x="2954" y="320"/>
                  <a:pt x="2953" y="320"/>
                  <a:pt x="2953" y="321"/>
                </a:cubicBezTo>
                <a:cubicBezTo>
                  <a:pt x="2953" y="321"/>
                  <a:pt x="2954" y="322"/>
                  <a:pt x="2954" y="322"/>
                </a:cubicBezTo>
                <a:cubicBezTo>
                  <a:pt x="2955" y="322"/>
                  <a:pt x="2955" y="321"/>
                  <a:pt x="2957" y="320"/>
                </a:cubicBezTo>
                <a:close/>
                <a:moveTo>
                  <a:pt x="3481" y="441"/>
                </a:moveTo>
                <a:cubicBezTo>
                  <a:pt x="3481" y="443"/>
                  <a:pt x="3482" y="444"/>
                  <a:pt x="3482" y="446"/>
                </a:cubicBezTo>
                <a:cubicBezTo>
                  <a:pt x="3483" y="447"/>
                  <a:pt x="3483" y="449"/>
                  <a:pt x="3484" y="451"/>
                </a:cubicBezTo>
                <a:cubicBezTo>
                  <a:pt x="3484" y="452"/>
                  <a:pt x="3484" y="454"/>
                  <a:pt x="3484" y="456"/>
                </a:cubicBezTo>
                <a:cubicBezTo>
                  <a:pt x="3485" y="459"/>
                  <a:pt x="3484" y="460"/>
                  <a:pt x="3480" y="460"/>
                </a:cubicBezTo>
                <a:cubicBezTo>
                  <a:pt x="3478" y="460"/>
                  <a:pt x="3475" y="460"/>
                  <a:pt x="3472" y="460"/>
                </a:cubicBezTo>
                <a:cubicBezTo>
                  <a:pt x="3472" y="460"/>
                  <a:pt x="3471" y="460"/>
                  <a:pt x="3471" y="460"/>
                </a:cubicBezTo>
                <a:cubicBezTo>
                  <a:pt x="3469" y="462"/>
                  <a:pt x="3467" y="463"/>
                  <a:pt x="3466" y="465"/>
                </a:cubicBezTo>
                <a:cubicBezTo>
                  <a:pt x="3464" y="467"/>
                  <a:pt x="3461" y="467"/>
                  <a:pt x="3459" y="465"/>
                </a:cubicBezTo>
                <a:cubicBezTo>
                  <a:pt x="3457" y="463"/>
                  <a:pt x="3456" y="461"/>
                  <a:pt x="3454" y="458"/>
                </a:cubicBezTo>
                <a:cubicBezTo>
                  <a:pt x="3453" y="456"/>
                  <a:pt x="3454" y="455"/>
                  <a:pt x="3456" y="453"/>
                </a:cubicBezTo>
                <a:cubicBezTo>
                  <a:pt x="3453" y="453"/>
                  <a:pt x="3452" y="453"/>
                  <a:pt x="3450" y="453"/>
                </a:cubicBezTo>
                <a:cubicBezTo>
                  <a:pt x="3449" y="455"/>
                  <a:pt x="3448" y="457"/>
                  <a:pt x="3447" y="459"/>
                </a:cubicBezTo>
                <a:cubicBezTo>
                  <a:pt x="3447" y="460"/>
                  <a:pt x="3447" y="461"/>
                  <a:pt x="3447" y="461"/>
                </a:cubicBezTo>
                <a:cubicBezTo>
                  <a:pt x="3447" y="465"/>
                  <a:pt x="3446" y="466"/>
                  <a:pt x="3443" y="465"/>
                </a:cubicBezTo>
                <a:cubicBezTo>
                  <a:pt x="3440" y="465"/>
                  <a:pt x="3437" y="464"/>
                  <a:pt x="3434" y="463"/>
                </a:cubicBezTo>
                <a:cubicBezTo>
                  <a:pt x="3432" y="463"/>
                  <a:pt x="3431" y="461"/>
                  <a:pt x="3432" y="459"/>
                </a:cubicBezTo>
                <a:cubicBezTo>
                  <a:pt x="3432" y="458"/>
                  <a:pt x="3432" y="458"/>
                  <a:pt x="3433" y="458"/>
                </a:cubicBezTo>
                <a:cubicBezTo>
                  <a:pt x="3430" y="456"/>
                  <a:pt x="3428" y="456"/>
                  <a:pt x="3426" y="454"/>
                </a:cubicBezTo>
                <a:cubicBezTo>
                  <a:pt x="3425" y="453"/>
                  <a:pt x="3424" y="451"/>
                  <a:pt x="3423" y="450"/>
                </a:cubicBezTo>
                <a:cubicBezTo>
                  <a:pt x="3422" y="448"/>
                  <a:pt x="3422" y="446"/>
                  <a:pt x="3424" y="444"/>
                </a:cubicBezTo>
                <a:cubicBezTo>
                  <a:pt x="3427" y="442"/>
                  <a:pt x="3428" y="439"/>
                  <a:pt x="3427" y="435"/>
                </a:cubicBezTo>
                <a:cubicBezTo>
                  <a:pt x="3427" y="433"/>
                  <a:pt x="3427" y="431"/>
                  <a:pt x="3427" y="429"/>
                </a:cubicBezTo>
                <a:cubicBezTo>
                  <a:pt x="3426" y="429"/>
                  <a:pt x="3424" y="428"/>
                  <a:pt x="3423" y="427"/>
                </a:cubicBezTo>
                <a:cubicBezTo>
                  <a:pt x="3422" y="425"/>
                  <a:pt x="3421" y="423"/>
                  <a:pt x="3421" y="421"/>
                </a:cubicBezTo>
                <a:cubicBezTo>
                  <a:pt x="3421" y="419"/>
                  <a:pt x="3424" y="416"/>
                  <a:pt x="3427" y="415"/>
                </a:cubicBezTo>
                <a:cubicBezTo>
                  <a:pt x="3427" y="416"/>
                  <a:pt x="3427" y="417"/>
                  <a:pt x="3428" y="418"/>
                </a:cubicBezTo>
                <a:cubicBezTo>
                  <a:pt x="3428" y="419"/>
                  <a:pt x="3428" y="419"/>
                  <a:pt x="3428" y="421"/>
                </a:cubicBezTo>
                <a:cubicBezTo>
                  <a:pt x="3427" y="420"/>
                  <a:pt x="3427" y="420"/>
                  <a:pt x="3427" y="420"/>
                </a:cubicBezTo>
                <a:cubicBezTo>
                  <a:pt x="3426" y="421"/>
                  <a:pt x="3426" y="423"/>
                  <a:pt x="3425" y="425"/>
                </a:cubicBezTo>
                <a:cubicBezTo>
                  <a:pt x="3426" y="424"/>
                  <a:pt x="3427" y="424"/>
                  <a:pt x="3427" y="424"/>
                </a:cubicBezTo>
                <a:cubicBezTo>
                  <a:pt x="3429" y="423"/>
                  <a:pt x="3429" y="422"/>
                  <a:pt x="3430" y="421"/>
                </a:cubicBezTo>
                <a:cubicBezTo>
                  <a:pt x="3435" y="414"/>
                  <a:pt x="3440" y="410"/>
                  <a:pt x="3448" y="408"/>
                </a:cubicBezTo>
                <a:cubicBezTo>
                  <a:pt x="3451" y="408"/>
                  <a:pt x="3455" y="407"/>
                  <a:pt x="3457" y="404"/>
                </a:cubicBezTo>
                <a:cubicBezTo>
                  <a:pt x="3457" y="404"/>
                  <a:pt x="3458" y="403"/>
                  <a:pt x="3458" y="403"/>
                </a:cubicBezTo>
                <a:cubicBezTo>
                  <a:pt x="3461" y="403"/>
                  <a:pt x="3462" y="400"/>
                  <a:pt x="3464" y="399"/>
                </a:cubicBezTo>
                <a:cubicBezTo>
                  <a:pt x="3472" y="391"/>
                  <a:pt x="3484" y="391"/>
                  <a:pt x="3491" y="397"/>
                </a:cubicBezTo>
                <a:cubicBezTo>
                  <a:pt x="3494" y="399"/>
                  <a:pt x="3497" y="401"/>
                  <a:pt x="3499" y="403"/>
                </a:cubicBezTo>
                <a:cubicBezTo>
                  <a:pt x="3500" y="404"/>
                  <a:pt x="3502" y="406"/>
                  <a:pt x="3503" y="408"/>
                </a:cubicBezTo>
                <a:cubicBezTo>
                  <a:pt x="3504" y="410"/>
                  <a:pt x="3504" y="410"/>
                  <a:pt x="3506" y="408"/>
                </a:cubicBezTo>
                <a:cubicBezTo>
                  <a:pt x="3506" y="408"/>
                  <a:pt x="3507" y="407"/>
                  <a:pt x="3508" y="406"/>
                </a:cubicBezTo>
                <a:cubicBezTo>
                  <a:pt x="3510" y="404"/>
                  <a:pt x="3513" y="404"/>
                  <a:pt x="3514" y="407"/>
                </a:cubicBezTo>
                <a:cubicBezTo>
                  <a:pt x="3515" y="410"/>
                  <a:pt x="3516" y="413"/>
                  <a:pt x="3517" y="416"/>
                </a:cubicBezTo>
                <a:cubicBezTo>
                  <a:pt x="3517" y="420"/>
                  <a:pt x="3517" y="425"/>
                  <a:pt x="3515" y="429"/>
                </a:cubicBezTo>
                <a:cubicBezTo>
                  <a:pt x="3513" y="435"/>
                  <a:pt x="3508" y="439"/>
                  <a:pt x="3502" y="439"/>
                </a:cubicBezTo>
                <a:cubicBezTo>
                  <a:pt x="3501" y="439"/>
                  <a:pt x="3500" y="439"/>
                  <a:pt x="3500" y="439"/>
                </a:cubicBezTo>
                <a:cubicBezTo>
                  <a:pt x="3497" y="439"/>
                  <a:pt x="3496" y="439"/>
                  <a:pt x="3495" y="441"/>
                </a:cubicBezTo>
                <a:cubicBezTo>
                  <a:pt x="3494" y="446"/>
                  <a:pt x="3488" y="447"/>
                  <a:pt x="3485" y="444"/>
                </a:cubicBezTo>
                <a:cubicBezTo>
                  <a:pt x="3484" y="443"/>
                  <a:pt x="3483" y="442"/>
                  <a:pt x="3482" y="441"/>
                </a:cubicBezTo>
                <a:cubicBezTo>
                  <a:pt x="3481" y="441"/>
                  <a:pt x="3481" y="441"/>
                  <a:pt x="3481" y="441"/>
                </a:cubicBezTo>
                <a:close/>
                <a:moveTo>
                  <a:pt x="3475" y="437"/>
                </a:moveTo>
                <a:cubicBezTo>
                  <a:pt x="3479" y="439"/>
                  <a:pt x="3482" y="440"/>
                  <a:pt x="3485" y="442"/>
                </a:cubicBezTo>
                <a:cubicBezTo>
                  <a:pt x="3487" y="444"/>
                  <a:pt x="3489" y="445"/>
                  <a:pt x="3491" y="444"/>
                </a:cubicBezTo>
                <a:cubicBezTo>
                  <a:pt x="3493" y="443"/>
                  <a:pt x="3495" y="441"/>
                  <a:pt x="3495" y="438"/>
                </a:cubicBezTo>
                <a:cubicBezTo>
                  <a:pt x="3495" y="439"/>
                  <a:pt x="3494" y="439"/>
                  <a:pt x="3494" y="439"/>
                </a:cubicBezTo>
                <a:cubicBezTo>
                  <a:pt x="3493" y="440"/>
                  <a:pt x="3492" y="441"/>
                  <a:pt x="3491" y="442"/>
                </a:cubicBezTo>
                <a:cubicBezTo>
                  <a:pt x="3490" y="444"/>
                  <a:pt x="3489" y="443"/>
                  <a:pt x="3488" y="443"/>
                </a:cubicBezTo>
                <a:cubicBezTo>
                  <a:pt x="3487" y="443"/>
                  <a:pt x="3487" y="442"/>
                  <a:pt x="3487" y="441"/>
                </a:cubicBezTo>
                <a:cubicBezTo>
                  <a:pt x="3487" y="439"/>
                  <a:pt x="3487" y="437"/>
                  <a:pt x="3488" y="435"/>
                </a:cubicBezTo>
                <a:cubicBezTo>
                  <a:pt x="3491" y="435"/>
                  <a:pt x="3494" y="437"/>
                  <a:pt x="3498" y="437"/>
                </a:cubicBezTo>
                <a:cubicBezTo>
                  <a:pt x="3505" y="438"/>
                  <a:pt x="3511" y="437"/>
                  <a:pt x="3514" y="428"/>
                </a:cubicBezTo>
                <a:cubicBezTo>
                  <a:pt x="3516" y="423"/>
                  <a:pt x="3515" y="418"/>
                  <a:pt x="3515" y="413"/>
                </a:cubicBezTo>
                <a:cubicBezTo>
                  <a:pt x="3514" y="411"/>
                  <a:pt x="3513" y="410"/>
                  <a:pt x="3513" y="408"/>
                </a:cubicBezTo>
                <a:cubicBezTo>
                  <a:pt x="3512" y="406"/>
                  <a:pt x="3511" y="406"/>
                  <a:pt x="3509" y="407"/>
                </a:cubicBezTo>
                <a:cubicBezTo>
                  <a:pt x="3508" y="409"/>
                  <a:pt x="3506" y="410"/>
                  <a:pt x="3504" y="411"/>
                </a:cubicBezTo>
                <a:cubicBezTo>
                  <a:pt x="3504" y="412"/>
                  <a:pt x="3503" y="412"/>
                  <a:pt x="3503" y="414"/>
                </a:cubicBezTo>
                <a:cubicBezTo>
                  <a:pt x="3504" y="417"/>
                  <a:pt x="3503" y="420"/>
                  <a:pt x="3502" y="423"/>
                </a:cubicBezTo>
                <a:cubicBezTo>
                  <a:pt x="3502" y="421"/>
                  <a:pt x="3502" y="419"/>
                  <a:pt x="3502" y="418"/>
                </a:cubicBezTo>
                <a:cubicBezTo>
                  <a:pt x="3502" y="417"/>
                  <a:pt x="3502" y="416"/>
                  <a:pt x="3502" y="416"/>
                </a:cubicBezTo>
                <a:cubicBezTo>
                  <a:pt x="3501" y="416"/>
                  <a:pt x="3500" y="416"/>
                  <a:pt x="3500" y="417"/>
                </a:cubicBezTo>
                <a:cubicBezTo>
                  <a:pt x="3500" y="418"/>
                  <a:pt x="3499" y="419"/>
                  <a:pt x="3498" y="421"/>
                </a:cubicBezTo>
                <a:cubicBezTo>
                  <a:pt x="3498" y="421"/>
                  <a:pt x="3498" y="421"/>
                  <a:pt x="3498" y="421"/>
                </a:cubicBezTo>
                <a:cubicBezTo>
                  <a:pt x="3498" y="419"/>
                  <a:pt x="3498" y="418"/>
                  <a:pt x="3499" y="415"/>
                </a:cubicBezTo>
                <a:cubicBezTo>
                  <a:pt x="3498" y="416"/>
                  <a:pt x="3497" y="416"/>
                  <a:pt x="3497" y="417"/>
                </a:cubicBezTo>
                <a:cubicBezTo>
                  <a:pt x="3496" y="418"/>
                  <a:pt x="3496" y="418"/>
                  <a:pt x="3495" y="419"/>
                </a:cubicBezTo>
                <a:cubicBezTo>
                  <a:pt x="3496" y="416"/>
                  <a:pt x="3496" y="416"/>
                  <a:pt x="3502" y="414"/>
                </a:cubicBezTo>
                <a:cubicBezTo>
                  <a:pt x="3502" y="414"/>
                  <a:pt x="3501" y="413"/>
                  <a:pt x="3501" y="413"/>
                </a:cubicBezTo>
                <a:cubicBezTo>
                  <a:pt x="3498" y="414"/>
                  <a:pt x="3497" y="412"/>
                  <a:pt x="3497" y="410"/>
                </a:cubicBezTo>
                <a:cubicBezTo>
                  <a:pt x="3498" y="410"/>
                  <a:pt x="3500" y="409"/>
                  <a:pt x="3502" y="409"/>
                </a:cubicBezTo>
                <a:cubicBezTo>
                  <a:pt x="3500" y="406"/>
                  <a:pt x="3498" y="404"/>
                  <a:pt x="3495" y="403"/>
                </a:cubicBezTo>
                <a:cubicBezTo>
                  <a:pt x="3495" y="403"/>
                  <a:pt x="3495" y="403"/>
                  <a:pt x="3495" y="402"/>
                </a:cubicBezTo>
                <a:cubicBezTo>
                  <a:pt x="3492" y="400"/>
                  <a:pt x="3490" y="398"/>
                  <a:pt x="3487" y="396"/>
                </a:cubicBezTo>
                <a:cubicBezTo>
                  <a:pt x="3485" y="395"/>
                  <a:pt x="3482" y="394"/>
                  <a:pt x="3480" y="394"/>
                </a:cubicBezTo>
                <a:cubicBezTo>
                  <a:pt x="3477" y="395"/>
                  <a:pt x="3473" y="396"/>
                  <a:pt x="3470" y="397"/>
                </a:cubicBezTo>
                <a:cubicBezTo>
                  <a:pt x="3467" y="398"/>
                  <a:pt x="3465" y="399"/>
                  <a:pt x="3463" y="402"/>
                </a:cubicBezTo>
                <a:cubicBezTo>
                  <a:pt x="3465" y="402"/>
                  <a:pt x="3466" y="402"/>
                  <a:pt x="3467" y="402"/>
                </a:cubicBezTo>
                <a:cubicBezTo>
                  <a:pt x="3467" y="403"/>
                  <a:pt x="3466" y="403"/>
                  <a:pt x="3465" y="403"/>
                </a:cubicBezTo>
                <a:cubicBezTo>
                  <a:pt x="3463" y="404"/>
                  <a:pt x="3460" y="403"/>
                  <a:pt x="3458" y="406"/>
                </a:cubicBezTo>
                <a:cubicBezTo>
                  <a:pt x="3455" y="410"/>
                  <a:pt x="3451" y="413"/>
                  <a:pt x="3447" y="418"/>
                </a:cubicBezTo>
                <a:cubicBezTo>
                  <a:pt x="3446" y="419"/>
                  <a:pt x="3445" y="422"/>
                  <a:pt x="3444" y="424"/>
                </a:cubicBezTo>
                <a:cubicBezTo>
                  <a:pt x="3444" y="425"/>
                  <a:pt x="3444" y="425"/>
                  <a:pt x="3444" y="426"/>
                </a:cubicBezTo>
                <a:cubicBezTo>
                  <a:pt x="3445" y="428"/>
                  <a:pt x="3446" y="430"/>
                  <a:pt x="3448" y="432"/>
                </a:cubicBezTo>
                <a:cubicBezTo>
                  <a:pt x="3449" y="430"/>
                  <a:pt x="3450" y="429"/>
                  <a:pt x="3451" y="427"/>
                </a:cubicBezTo>
                <a:cubicBezTo>
                  <a:pt x="3451" y="429"/>
                  <a:pt x="3451" y="430"/>
                  <a:pt x="3450" y="431"/>
                </a:cubicBezTo>
                <a:cubicBezTo>
                  <a:pt x="3449" y="433"/>
                  <a:pt x="3448" y="434"/>
                  <a:pt x="3448" y="435"/>
                </a:cubicBezTo>
                <a:cubicBezTo>
                  <a:pt x="3447" y="436"/>
                  <a:pt x="3448" y="437"/>
                  <a:pt x="3448" y="438"/>
                </a:cubicBezTo>
                <a:cubicBezTo>
                  <a:pt x="3451" y="442"/>
                  <a:pt x="3454" y="442"/>
                  <a:pt x="3458" y="440"/>
                </a:cubicBezTo>
                <a:cubicBezTo>
                  <a:pt x="3460" y="438"/>
                  <a:pt x="3463" y="437"/>
                  <a:pt x="3466" y="436"/>
                </a:cubicBezTo>
                <a:cubicBezTo>
                  <a:pt x="3467" y="436"/>
                  <a:pt x="3468" y="435"/>
                  <a:pt x="3468" y="433"/>
                </a:cubicBezTo>
                <a:cubicBezTo>
                  <a:pt x="3468" y="430"/>
                  <a:pt x="3468" y="427"/>
                  <a:pt x="3468" y="423"/>
                </a:cubicBezTo>
                <a:cubicBezTo>
                  <a:pt x="3468" y="420"/>
                  <a:pt x="3468" y="418"/>
                  <a:pt x="3468" y="414"/>
                </a:cubicBezTo>
                <a:cubicBezTo>
                  <a:pt x="3469" y="417"/>
                  <a:pt x="3469" y="420"/>
                  <a:pt x="3470" y="422"/>
                </a:cubicBezTo>
                <a:cubicBezTo>
                  <a:pt x="3471" y="427"/>
                  <a:pt x="3471" y="431"/>
                  <a:pt x="3469" y="436"/>
                </a:cubicBezTo>
                <a:cubicBezTo>
                  <a:pt x="3469" y="437"/>
                  <a:pt x="3468" y="437"/>
                  <a:pt x="3468" y="437"/>
                </a:cubicBezTo>
                <a:cubicBezTo>
                  <a:pt x="3464" y="438"/>
                  <a:pt x="3461" y="440"/>
                  <a:pt x="3458" y="441"/>
                </a:cubicBezTo>
                <a:cubicBezTo>
                  <a:pt x="3453" y="444"/>
                  <a:pt x="3449" y="442"/>
                  <a:pt x="3446" y="439"/>
                </a:cubicBezTo>
                <a:cubicBezTo>
                  <a:pt x="3446" y="438"/>
                  <a:pt x="3446" y="437"/>
                  <a:pt x="3446" y="437"/>
                </a:cubicBezTo>
                <a:cubicBezTo>
                  <a:pt x="3447" y="434"/>
                  <a:pt x="3446" y="432"/>
                  <a:pt x="3444" y="430"/>
                </a:cubicBezTo>
                <a:cubicBezTo>
                  <a:pt x="3443" y="428"/>
                  <a:pt x="3441" y="426"/>
                  <a:pt x="3442" y="423"/>
                </a:cubicBezTo>
                <a:cubicBezTo>
                  <a:pt x="3443" y="421"/>
                  <a:pt x="3444" y="419"/>
                  <a:pt x="3445" y="418"/>
                </a:cubicBezTo>
                <a:cubicBezTo>
                  <a:pt x="3447" y="415"/>
                  <a:pt x="3449" y="413"/>
                  <a:pt x="3451" y="410"/>
                </a:cubicBezTo>
                <a:cubicBezTo>
                  <a:pt x="3451" y="410"/>
                  <a:pt x="3450" y="410"/>
                  <a:pt x="3450" y="410"/>
                </a:cubicBezTo>
                <a:cubicBezTo>
                  <a:pt x="3445" y="411"/>
                  <a:pt x="3440" y="413"/>
                  <a:pt x="3437" y="416"/>
                </a:cubicBezTo>
                <a:cubicBezTo>
                  <a:pt x="3432" y="420"/>
                  <a:pt x="3429" y="425"/>
                  <a:pt x="3429" y="432"/>
                </a:cubicBezTo>
                <a:cubicBezTo>
                  <a:pt x="3428" y="439"/>
                  <a:pt x="3431" y="445"/>
                  <a:pt x="3434" y="451"/>
                </a:cubicBezTo>
                <a:cubicBezTo>
                  <a:pt x="3435" y="452"/>
                  <a:pt x="3435" y="453"/>
                  <a:pt x="3435" y="454"/>
                </a:cubicBezTo>
                <a:cubicBezTo>
                  <a:pt x="3435" y="456"/>
                  <a:pt x="3435" y="458"/>
                  <a:pt x="3434" y="459"/>
                </a:cubicBezTo>
                <a:cubicBezTo>
                  <a:pt x="3433" y="461"/>
                  <a:pt x="3434" y="461"/>
                  <a:pt x="3435" y="462"/>
                </a:cubicBezTo>
                <a:cubicBezTo>
                  <a:pt x="3438" y="463"/>
                  <a:pt x="3441" y="463"/>
                  <a:pt x="3444" y="463"/>
                </a:cubicBezTo>
                <a:cubicBezTo>
                  <a:pt x="3444" y="463"/>
                  <a:pt x="3445" y="463"/>
                  <a:pt x="3445" y="462"/>
                </a:cubicBezTo>
                <a:cubicBezTo>
                  <a:pt x="3446" y="461"/>
                  <a:pt x="3446" y="459"/>
                  <a:pt x="3446" y="459"/>
                </a:cubicBezTo>
                <a:cubicBezTo>
                  <a:pt x="3448" y="456"/>
                  <a:pt x="3448" y="454"/>
                  <a:pt x="3448" y="451"/>
                </a:cubicBezTo>
                <a:cubicBezTo>
                  <a:pt x="3448" y="450"/>
                  <a:pt x="3448" y="450"/>
                  <a:pt x="3448" y="450"/>
                </a:cubicBezTo>
                <a:cubicBezTo>
                  <a:pt x="3448" y="449"/>
                  <a:pt x="3448" y="449"/>
                  <a:pt x="3448" y="449"/>
                </a:cubicBezTo>
                <a:cubicBezTo>
                  <a:pt x="3449" y="452"/>
                  <a:pt x="3450" y="452"/>
                  <a:pt x="3452" y="452"/>
                </a:cubicBezTo>
                <a:cubicBezTo>
                  <a:pt x="3453" y="452"/>
                  <a:pt x="3454" y="452"/>
                  <a:pt x="3455" y="452"/>
                </a:cubicBezTo>
                <a:cubicBezTo>
                  <a:pt x="3457" y="452"/>
                  <a:pt x="3460" y="452"/>
                  <a:pt x="3461" y="448"/>
                </a:cubicBezTo>
                <a:cubicBezTo>
                  <a:pt x="3461" y="450"/>
                  <a:pt x="3461" y="452"/>
                  <a:pt x="3461" y="453"/>
                </a:cubicBezTo>
                <a:cubicBezTo>
                  <a:pt x="3460" y="454"/>
                  <a:pt x="3458" y="454"/>
                  <a:pt x="3457" y="455"/>
                </a:cubicBezTo>
                <a:cubicBezTo>
                  <a:pt x="3456" y="456"/>
                  <a:pt x="3455" y="457"/>
                  <a:pt x="3456" y="458"/>
                </a:cubicBezTo>
                <a:cubicBezTo>
                  <a:pt x="3457" y="460"/>
                  <a:pt x="3458" y="462"/>
                  <a:pt x="3460" y="464"/>
                </a:cubicBezTo>
                <a:cubicBezTo>
                  <a:pt x="3462" y="465"/>
                  <a:pt x="3464" y="465"/>
                  <a:pt x="3465" y="463"/>
                </a:cubicBezTo>
                <a:cubicBezTo>
                  <a:pt x="3466" y="463"/>
                  <a:pt x="3466" y="462"/>
                  <a:pt x="3467" y="461"/>
                </a:cubicBezTo>
                <a:cubicBezTo>
                  <a:pt x="3469" y="460"/>
                  <a:pt x="3470" y="459"/>
                  <a:pt x="3472" y="458"/>
                </a:cubicBezTo>
                <a:cubicBezTo>
                  <a:pt x="3476" y="453"/>
                  <a:pt x="3478" y="447"/>
                  <a:pt x="3480" y="441"/>
                </a:cubicBezTo>
                <a:cubicBezTo>
                  <a:pt x="3480" y="441"/>
                  <a:pt x="3479" y="440"/>
                  <a:pt x="3478" y="440"/>
                </a:cubicBezTo>
                <a:cubicBezTo>
                  <a:pt x="3478" y="439"/>
                  <a:pt x="3477" y="438"/>
                  <a:pt x="3475" y="437"/>
                </a:cubicBezTo>
                <a:close/>
                <a:moveTo>
                  <a:pt x="3428" y="443"/>
                </a:moveTo>
                <a:cubicBezTo>
                  <a:pt x="3427" y="444"/>
                  <a:pt x="3426" y="445"/>
                  <a:pt x="3425" y="446"/>
                </a:cubicBezTo>
                <a:cubicBezTo>
                  <a:pt x="3424" y="446"/>
                  <a:pt x="3424" y="447"/>
                  <a:pt x="3424" y="448"/>
                </a:cubicBezTo>
                <a:cubicBezTo>
                  <a:pt x="3424" y="451"/>
                  <a:pt x="3428" y="455"/>
                  <a:pt x="3431" y="455"/>
                </a:cubicBezTo>
                <a:cubicBezTo>
                  <a:pt x="3433" y="455"/>
                  <a:pt x="3434" y="454"/>
                  <a:pt x="3433" y="452"/>
                </a:cubicBezTo>
                <a:cubicBezTo>
                  <a:pt x="3431" y="449"/>
                  <a:pt x="3430" y="446"/>
                  <a:pt x="3428" y="443"/>
                </a:cubicBezTo>
                <a:close/>
                <a:moveTo>
                  <a:pt x="3481" y="445"/>
                </a:moveTo>
                <a:cubicBezTo>
                  <a:pt x="3478" y="450"/>
                  <a:pt x="3476" y="454"/>
                  <a:pt x="3474" y="459"/>
                </a:cubicBezTo>
                <a:cubicBezTo>
                  <a:pt x="3477" y="459"/>
                  <a:pt x="3479" y="459"/>
                  <a:pt x="3482" y="459"/>
                </a:cubicBezTo>
                <a:cubicBezTo>
                  <a:pt x="3482" y="459"/>
                  <a:pt x="3482" y="458"/>
                  <a:pt x="3482" y="457"/>
                </a:cubicBezTo>
                <a:cubicBezTo>
                  <a:pt x="3482" y="454"/>
                  <a:pt x="3482" y="452"/>
                  <a:pt x="3482" y="450"/>
                </a:cubicBezTo>
                <a:cubicBezTo>
                  <a:pt x="3482" y="448"/>
                  <a:pt x="3481" y="447"/>
                  <a:pt x="3481" y="445"/>
                </a:cubicBezTo>
                <a:close/>
                <a:moveTo>
                  <a:pt x="3428" y="425"/>
                </a:moveTo>
                <a:cubicBezTo>
                  <a:pt x="3427" y="425"/>
                  <a:pt x="3427" y="426"/>
                  <a:pt x="3426" y="426"/>
                </a:cubicBezTo>
                <a:cubicBezTo>
                  <a:pt x="3426" y="426"/>
                  <a:pt x="3425" y="426"/>
                  <a:pt x="3425" y="425"/>
                </a:cubicBezTo>
                <a:cubicBezTo>
                  <a:pt x="3424" y="425"/>
                  <a:pt x="3424" y="424"/>
                  <a:pt x="3424" y="423"/>
                </a:cubicBezTo>
                <a:cubicBezTo>
                  <a:pt x="3425" y="421"/>
                  <a:pt x="3425" y="419"/>
                  <a:pt x="3426" y="418"/>
                </a:cubicBezTo>
                <a:cubicBezTo>
                  <a:pt x="3426" y="418"/>
                  <a:pt x="3426" y="418"/>
                  <a:pt x="3425" y="418"/>
                </a:cubicBezTo>
                <a:cubicBezTo>
                  <a:pt x="3424" y="418"/>
                  <a:pt x="3423" y="419"/>
                  <a:pt x="3422" y="420"/>
                </a:cubicBezTo>
                <a:cubicBezTo>
                  <a:pt x="3422" y="421"/>
                  <a:pt x="3423" y="427"/>
                  <a:pt x="3425" y="427"/>
                </a:cubicBezTo>
                <a:cubicBezTo>
                  <a:pt x="3426" y="428"/>
                  <a:pt x="3428" y="427"/>
                  <a:pt x="3428" y="425"/>
                </a:cubicBezTo>
                <a:close/>
                <a:moveTo>
                  <a:pt x="3428" y="443"/>
                </a:moveTo>
                <a:cubicBezTo>
                  <a:pt x="3427" y="444"/>
                  <a:pt x="3426" y="445"/>
                  <a:pt x="3424" y="446"/>
                </a:cubicBezTo>
                <a:cubicBezTo>
                  <a:pt x="3424" y="446"/>
                  <a:pt x="3424" y="447"/>
                  <a:pt x="3424" y="448"/>
                </a:cubicBezTo>
                <a:cubicBezTo>
                  <a:pt x="3424" y="451"/>
                  <a:pt x="3428" y="455"/>
                  <a:pt x="3431" y="455"/>
                </a:cubicBezTo>
                <a:cubicBezTo>
                  <a:pt x="3433" y="455"/>
                  <a:pt x="3434" y="453"/>
                  <a:pt x="3433" y="452"/>
                </a:cubicBezTo>
                <a:cubicBezTo>
                  <a:pt x="3431" y="449"/>
                  <a:pt x="3430" y="446"/>
                  <a:pt x="3428" y="443"/>
                </a:cubicBezTo>
                <a:close/>
                <a:moveTo>
                  <a:pt x="3481" y="445"/>
                </a:moveTo>
                <a:cubicBezTo>
                  <a:pt x="3478" y="450"/>
                  <a:pt x="3476" y="454"/>
                  <a:pt x="3474" y="458"/>
                </a:cubicBezTo>
                <a:cubicBezTo>
                  <a:pt x="3476" y="458"/>
                  <a:pt x="3479" y="459"/>
                  <a:pt x="3481" y="458"/>
                </a:cubicBezTo>
                <a:cubicBezTo>
                  <a:pt x="3482" y="458"/>
                  <a:pt x="3482" y="457"/>
                  <a:pt x="3482" y="457"/>
                </a:cubicBezTo>
                <a:cubicBezTo>
                  <a:pt x="3482" y="454"/>
                  <a:pt x="3482" y="452"/>
                  <a:pt x="3482" y="449"/>
                </a:cubicBezTo>
                <a:cubicBezTo>
                  <a:pt x="3481" y="448"/>
                  <a:pt x="3481" y="446"/>
                  <a:pt x="3481" y="445"/>
                </a:cubicBezTo>
                <a:close/>
                <a:moveTo>
                  <a:pt x="3428" y="425"/>
                </a:moveTo>
                <a:cubicBezTo>
                  <a:pt x="3427" y="425"/>
                  <a:pt x="3427" y="426"/>
                  <a:pt x="3426" y="426"/>
                </a:cubicBezTo>
                <a:cubicBezTo>
                  <a:pt x="3425" y="426"/>
                  <a:pt x="3425" y="426"/>
                  <a:pt x="3425" y="425"/>
                </a:cubicBezTo>
                <a:cubicBezTo>
                  <a:pt x="3424" y="425"/>
                  <a:pt x="3424" y="424"/>
                  <a:pt x="3424" y="423"/>
                </a:cubicBezTo>
                <a:cubicBezTo>
                  <a:pt x="3425" y="421"/>
                  <a:pt x="3425" y="419"/>
                  <a:pt x="3426" y="417"/>
                </a:cubicBezTo>
                <a:cubicBezTo>
                  <a:pt x="3425" y="417"/>
                  <a:pt x="3425" y="417"/>
                  <a:pt x="3425" y="417"/>
                </a:cubicBezTo>
                <a:cubicBezTo>
                  <a:pt x="3424" y="418"/>
                  <a:pt x="3423" y="419"/>
                  <a:pt x="3423" y="420"/>
                </a:cubicBezTo>
                <a:cubicBezTo>
                  <a:pt x="3422" y="421"/>
                  <a:pt x="3423" y="426"/>
                  <a:pt x="3425" y="427"/>
                </a:cubicBezTo>
                <a:cubicBezTo>
                  <a:pt x="3426" y="428"/>
                  <a:pt x="3428" y="427"/>
                  <a:pt x="3428" y="425"/>
                </a:cubicBezTo>
                <a:close/>
                <a:moveTo>
                  <a:pt x="3480" y="417"/>
                </a:moveTo>
                <a:cubicBezTo>
                  <a:pt x="3484" y="413"/>
                  <a:pt x="3484" y="413"/>
                  <a:pt x="3488" y="412"/>
                </a:cubicBezTo>
                <a:cubicBezTo>
                  <a:pt x="3488" y="414"/>
                  <a:pt x="3489" y="415"/>
                  <a:pt x="3490" y="415"/>
                </a:cubicBezTo>
                <a:cubicBezTo>
                  <a:pt x="3488" y="416"/>
                  <a:pt x="3486" y="418"/>
                  <a:pt x="3484" y="419"/>
                </a:cubicBezTo>
                <a:cubicBezTo>
                  <a:pt x="3483" y="418"/>
                  <a:pt x="3483" y="417"/>
                  <a:pt x="3482" y="416"/>
                </a:cubicBezTo>
                <a:cubicBezTo>
                  <a:pt x="3482" y="416"/>
                  <a:pt x="3481" y="416"/>
                  <a:pt x="3480" y="417"/>
                </a:cubicBezTo>
                <a:close/>
                <a:moveTo>
                  <a:pt x="3486" y="416"/>
                </a:moveTo>
                <a:cubicBezTo>
                  <a:pt x="3486" y="416"/>
                  <a:pt x="3485" y="415"/>
                  <a:pt x="3484" y="415"/>
                </a:cubicBezTo>
                <a:cubicBezTo>
                  <a:pt x="3484" y="415"/>
                  <a:pt x="3483" y="416"/>
                  <a:pt x="3483" y="417"/>
                </a:cubicBezTo>
                <a:cubicBezTo>
                  <a:pt x="3483" y="417"/>
                  <a:pt x="3484" y="417"/>
                  <a:pt x="3484" y="418"/>
                </a:cubicBezTo>
                <a:cubicBezTo>
                  <a:pt x="3485" y="417"/>
                  <a:pt x="3485" y="417"/>
                  <a:pt x="3486" y="416"/>
                </a:cubicBezTo>
                <a:close/>
                <a:moveTo>
                  <a:pt x="3467" y="407"/>
                </a:moveTo>
                <a:cubicBezTo>
                  <a:pt x="3461" y="406"/>
                  <a:pt x="3458" y="408"/>
                  <a:pt x="3457" y="416"/>
                </a:cubicBezTo>
                <a:cubicBezTo>
                  <a:pt x="3458" y="414"/>
                  <a:pt x="3459" y="412"/>
                  <a:pt x="3460" y="409"/>
                </a:cubicBezTo>
                <a:cubicBezTo>
                  <a:pt x="3461" y="409"/>
                  <a:pt x="3461" y="409"/>
                  <a:pt x="3461" y="409"/>
                </a:cubicBezTo>
                <a:cubicBezTo>
                  <a:pt x="3461" y="411"/>
                  <a:pt x="3461" y="411"/>
                  <a:pt x="3461" y="412"/>
                </a:cubicBezTo>
                <a:cubicBezTo>
                  <a:pt x="3462" y="409"/>
                  <a:pt x="3464" y="407"/>
                  <a:pt x="3467" y="407"/>
                </a:cubicBezTo>
                <a:close/>
                <a:moveTo>
                  <a:pt x="3511" y="408"/>
                </a:moveTo>
                <a:cubicBezTo>
                  <a:pt x="3509" y="410"/>
                  <a:pt x="3507" y="411"/>
                  <a:pt x="3506" y="412"/>
                </a:cubicBezTo>
                <a:cubicBezTo>
                  <a:pt x="3508" y="413"/>
                  <a:pt x="3510" y="411"/>
                  <a:pt x="3511" y="408"/>
                </a:cubicBezTo>
                <a:close/>
                <a:moveTo>
                  <a:pt x="3478" y="410"/>
                </a:moveTo>
                <a:cubicBezTo>
                  <a:pt x="3479" y="409"/>
                  <a:pt x="3480" y="408"/>
                  <a:pt x="3481" y="406"/>
                </a:cubicBezTo>
                <a:cubicBezTo>
                  <a:pt x="3478" y="408"/>
                  <a:pt x="3477" y="408"/>
                  <a:pt x="3478" y="410"/>
                </a:cubicBezTo>
                <a:close/>
                <a:moveTo>
                  <a:pt x="3488" y="431"/>
                </a:moveTo>
                <a:cubicBezTo>
                  <a:pt x="3486" y="432"/>
                  <a:pt x="3485" y="433"/>
                  <a:pt x="3485" y="433"/>
                </a:cubicBezTo>
                <a:cubicBezTo>
                  <a:pt x="3486" y="433"/>
                  <a:pt x="3487" y="432"/>
                  <a:pt x="3488" y="431"/>
                </a:cubicBezTo>
                <a:close/>
                <a:moveTo>
                  <a:pt x="3487" y="416"/>
                </a:moveTo>
                <a:cubicBezTo>
                  <a:pt x="3486" y="416"/>
                  <a:pt x="3485" y="415"/>
                  <a:pt x="3484" y="415"/>
                </a:cubicBezTo>
                <a:cubicBezTo>
                  <a:pt x="3484" y="415"/>
                  <a:pt x="3483" y="416"/>
                  <a:pt x="3483" y="417"/>
                </a:cubicBezTo>
                <a:cubicBezTo>
                  <a:pt x="3483" y="417"/>
                  <a:pt x="3484" y="417"/>
                  <a:pt x="3484" y="418"/>
                </a:cubicBezTo>
                <a:cubicBezTo>
                  <a:pt x="3485" y="417"/>
                  <a:pt x="3485" y="417"/>
                  <a:pt x="3487" y="416"/>
                </a:cubicBezTo>
                <a:close/>
                <a:moveTo>
                  <a:pt x="3034" y="298"/>
                </a:moveTo>
                <a:cubicBezTo>
                  <a:pt x="3034" y="298"/>
                  <a:pt x="3034" y="298"/>
                  <a:pt x="3034" y="298"/>
                </a:cubicBezTo>
                <a:cubicBezTo>
                  <a:pt x="3029" y="298"/>
                  <a:pt x="3029" y="298"/>
                  <a:pt x="3029" y="298"/>
                </a:cubicBezTo>
                <a:cubicBezTo>
                  <a:pt x="3027" y="299"/>
                  <a:pt x="3026" y="301"/>
                  <a:pt x="3024" y="302"/>
                </a:cubicBezTo>
                <a:cubicBezTo>
                  <a:pt x="3022" y="303"/>
                  <a:pt x="3020" y="304"/>
                  <a:pt x="3018" y="305"/>
                </a:cubicBezTo>
                <a:cubicBezTo>
                  <a:pt x="3017" y="306"/>
                  <a:pt x="3015" y="307"/>
                  <a:pt x="3013" y="307"/>
                </a:cubicBezTo>
                <a:cubicBezTo>
                  <a:pt x="3011" y="308"/>
                  <a:pt x="3010" y="309"/>
                  <a:pt x="3008" y="309"/>
                </a:cubicBezTo>
                <a:cubicBezTo>
                  <a:pt x="3008" y="309"/>
                  <a:pt x="3008" y="309"/>
                  <a:pt x="3008" y="319"/>
                </a:cubicBezTo>
                <a:cubicBezTo>
                  <a:pt x="3010" y="318"/>
                  <a:pt x="3013" y="318"/>
                  <a:pt x="3016" y="316"/>
                </a:cubicBezTo>
                <a:cubicBezTo>
                  <a:pt x="3018" y="315"/>
                  <a:pt x="3021" y="314"/>
                  <a:pt x="3023" y="313"/>
                </a:cubicBezTo>
                <a:cubicBezTo>
                  <a:pt x="3023" y="313"/>
                  <a:pt x="3023" y="313"/>
                  <a:pt x="3023" y="371"/>
                </a:cubicBezTo>
                <a:cubicBezTo>
                  <a:pt x="3023" y="371"/>
                  <a:pt x="3023" y="371"/>
                  <a:pt x="3034" y="371"/>
                </a:cubicBezTo>
                <a:cubicBezTo>
                  <a:pt x="3034" y="371"/>
                  <a:pt x="3034" y="371"/>
                  <a:pt x="3034" y="298"/>
                </a:cubicBezTo>
                <a:close/>
                <a:moveTo>
                  <a:pt x="3081" y="298"/>
                </a:moveTo>
                <a:cubicBezTo>
                  <a:pt x="3081" y="298"/>
                  <a:pt x="3081" y="298"/>
                  <a:pt x="3081" y="298"/>
                </a:cubicBezTo>
                <a:cubicBezTo>
                  <a:pt x="3076" y="298"/>
                  <a:pt x="3076" y="298"/>
                  <a:pt x="3076" y="298"/>
                </a:cubicBezTo>
                <a:cubicBezTo>
                  <a:pt x="3075" y="299"/>
                  <a:pt x="3073" y="301"/>
                  <a:pt x="3071" y="302"/>
                </a:cubicBezTo>
                <a:cubicBezTo>
                  <a:pt x="3069" y="303"/>
                  <a:pt x="3067" y="304"/>
                  <a:pt x="3065" y="305"/>
                </a:cubicBezTo>
                <a:cubicBezTo>
                  <a:pt x="3064" y="306"/>
                  <a:pt x="3061" y="307"/>
                  <a:pt x="3060" y="307"/>
                </a:cubicBezTo>
                <a:cubicBezTo>
                  <a:pt x="3058" y="308"/>
                  <a:pt x="3056" y="309"/>
                  <a:pt x="3054" y="309"/>
                </a:cubicBezTo>
                <a:cubicBezTo>
                  <a:pt x="3054" y="309"/>
                  <a:pt x="3054" y="309"/>
                  <a:pt x="3054" y="319"/>
                </a:cubicBezTo>
                <a:cubicBezTo>
                  <a:pt x="3057" y="318"/>
                  <a:pt x="3060" y="318"/>
                  <a:pt x="3063" y="316"/>
                </a:cubicBezTo>
                <a:cubicBezTo>
                  <a:pt x="3065" y="315"/>
                  <a:pt x="3067" y="314"/>
                  <a:pt x="3070" y="313"/>
                </a:cubicBezTo>
                <a:cubicBezTo>
                  <a:pt x="3070" y="313"/>
                  <a:pt x="3070" y="313"/>
                  <a:pt x="3070" y="371"/>
                </a:cubicBezTo>
                <a:cubicBezTo>
                  <a:pt x="3070" y="371"/>
                  <a:pt x="3070" y="371"/>
                  <a:pt x="3081" y="371"/>
                </a:cubicBezTo>
                <a:cubicBezTo>
                  <a:pt x="3081" y="371"/>
                  <a:pt x="3081" y="371"/>
                  <a:pt x="3081" y="298"/>
                </a:cubicBezTo>
                <a:close/>
                <a:moveTo>
                  <a:pt x="3127" y="298"/>
                </a:moveTo>
                <a:cubicBezTo>
                  <a:pt x="3127" y="298"/>
                  <a:pt x="3127" y="298"/>
                  <a:pt x="3127" y="298"/>
                </a:cubicBezTo>
                <a:cubicBezTo>
                  <a:pt x="3123" y="298"/>
                  <a:pt x="3123" y="298"/>
                  <a:pt x="3123" y="298"/>
                </a:cubicBezTo>
                <a:cubicBezTo>
                  <a:pt x="3121" y="299"/>
                  <a:pt x="3119" y="301"/>
                  <a:pt x="3117" y="302"/>
                </a:cubicBezTo>
                <a:cubicBezTo>
                  <a:pt x="3116" y="303"/>
                  <a:pt x="3113" y="304"/>
                  <a:pt x="3112" y="305"/>
                </a:cubicBezTo>
                <a:cubicBezTo>
                  <a:pt x="3110" y="305"/>
                  <a:pt x="3108" y="306"/>
                  <a:pt x="3106" y="307"/>
                </a:cubicBezTo>
                <a:cubicBezTo>
                  <a:pt x="3105" y="307"/>
                  <a:pt x="3103" y="308"/>
                  <a:pt x="3101" y="309"/>
                </a:cubicBezTo>
                <a:cubicBezTo>
                  <a:pt x="3101" y="309"/>
                  <a:pt x="3101" y="309"/>
                  <a:pt x="3101" y="319"/>
                </a:cubicBezTo>
                <a:cubicBezTo>
                  <a:pt x="3104" y="318"/>
                  <a:pt x="3107" y="317"/>
                  <a:pt x="3109" y="316"/>
                </a:cubicBezTo>
                <a:cubicBezTo>
                  <a:pt x="3111" y="315"/>
                  <a:pt x="3114" y="314"/>
                  <a:pt x="3116" y="313"/>
                </a:cubicBezTo>
                <a:cubicBezTo>
                  <a:pt x="3116" y="313"/>
                  <a:pt x="3116" y="313"/>
                  <a:pt x="3116" y="371"/>
                </a:cubicBezTo>
                <a:cubicBezTo>
                  <a:pt x="3116" y="371"/>
                  <a:pt x="3116" y="371"/>
                  <a:pt x="3127" y="371"/>
                </a:cubicBezTo>
                <a:cubicBezTo>
                  <a:pt x="3127" y="371"/>
                  <a:pt x="3127" y="371"/>
                  <a:pt x="3127" y="298"/>
                </a:cubicBezTo>
                <a:close/>
                <a:moveTo>
                  <a:pt x="3264" y="330"/>
                </a:moveTo>
                <a:cubicBezTo>
                  <a:pt x="3264" y="330"/>
                  <a:pt x="3264" y="330"/>
                  <a:pt x="3264" y="330"/>
                </a:cubicBezTo>
                <a:cubicBezTo>
                  <a:pt x="3263" y="339"/>
                  <a:pt x="3263" y="339"/>
                  <a:pt x="3263" y="339"/>
                </a:cubicBezTo>
                <a:cubicBezTo>
                  <a:pt x="3270" y="339"/>
                  <a:pt x="3271" y="342"/>
                  <a:pt x="3271" y="344"/>
                </a:cubicBezTo>
                <a:cubicBezTo>
                  <a:pt x="3271" y="347"/>
                  <a:pt x="3270" y="349"/>
                  <a:pt x="3270" y="352"/>
                </a:cubicBezTo>
                <a:cubicBezTo>
                  <a:pt x="3270" y="354"/>
                  <a:pt x="3269" y="356"/>
                  <a:pt x="3269" y="359"/>
                </a:cubicBezTo>
                <a:cubicBezTo>
                  <a:pt x="3269" y="368"/>
                  <a:pt x="3275" y="371"/>
                  <a:pt x="3284" y="371"/>
                </a:cubicBezTo>
                <a:cubicBezTo>
                  <a:pt x="3284" y="371"/>
                  <a:pt x="3284" y="371"/>
                  <a:pt x="3288" y="371"/>
                </a:cubicBezTo>
                <a:cubicBezTo>
                  <a:pt x="3288" y="371"/>
                  <a:pt x="3288" y="371"/>
                  <a:pt x="3288" y="362"/>
                </a:cubicBezTo>
                <a:cubicBezTo>
                  <a:pt x="3288" y="362"/>
                  <a:pt x="3288" y="362"/>
                  <a:pt x="3286" y="362"/>
                </a:cubicBezTo>
                <a:cubicBezTo>
                  <a:pt x="3283" y="362"/>
                  <a:pt x="3281" y="360"/>
                  <a:pt x="3281" y="356"/>
                </a:cubicBezTo>
                <a:cubicBezTo>
                  <a:pt x="3281" y="355"/>
                  <a:pt x="3281" y="353"/>
                  <a:pt x="3282" y="352"/>
                </a:cubicBezTo>
                <a:cubicBezTo>
                  <a:pt x="3282" y="350"/>
                  <a:pt x="3282" y="348"/>
                  <a:pt x="3282" y="346"/>
                </a:cubicBezTo>
                <a:cubicBezTo>
                  <a:pt x="3282" y="338"/>
                  <a:pt x="3279" y="336"/>
                  <a:pt x="3274" y="334"/>
                </a:cubicBezTo>
                <a:cubicBezTo>
                  <a:pt x="3274" y="334"/>
                  <a:pt x="3274" y="334"/>
                  <a:pt x="3274" y="334"/>
                </a:cubicBezTo>
                <a:cubicBezTo>
                  <a:pt x="3279" y="333"/>
                  <a:pt x="3282" y="331"/>
                  <a:pt x="3282" y="323"/>
                </a:cubicBezTo>
                <a:cubicBezTo>
                  <a:pt x="3282" y="321"/>
                  <a:pt x="3282" y="319"/>
                  <a:pt x="3282" y="317"/>
                </a:cubicBezTo>
                <a:cubicBezTo>
                  <a:pt x="3281" y="315"/>
                  <a:pt x="3281" y="313"/>
                  <a:pt x="3281" y="312"/>
                </a:cubicBezTo>
                <a:cubicBezTo>
                  <a:pt x="3281" y="309"/>
                  <a:pt x="3283" y="306"/>
                  <a:pt x="3286" y="306"/>
                </a:cubicBezTo>
                <a:cubicBezTo>
                  <a:pt x="3286" y="306"/>
                  <a:pt x="3286" y="306"/>
                  <a:pt x="3288" y="306"/>
                </a:cubicBezTo>
                <a:cubicBezTo>
                  <a:pt x="3288" y="306"/>
                  <a:pt x="3288" y="306"/>
                  <a:pt x="3288" y="297"/>
                </a:cubicBezTo>
                <a:cubicBezTo>
                  <a:pt x="3288" y="297"/>
                  <a:pt x="3288" y="297"/>
                  <a:pt x="3284" y="297"/>
                </a:cubicBezTo>
                <a:cubicBezTo>
                  <a:pt x="3275" y="297"/>
                  <a:pt x="3269" y="301"/>
                  <a:pt x="3269" y="310"/>
                </a:cubicBezTo>
                <a:cubicBezTo>
                  <a:pt x="3269" y="312"/>
                  <a:pt x="3270" y="315"/>
                  <a:pt x="3270" y="317"/>
                </a:cubicBezTo>
                <a:cubicBezTo>
                  <a:pt x="3270" y="319"/>
                  <a:pt x="3271" y="322"/>
                  <a:pt x="3271" y="324"/>
                </a:cubicBezTo>
                <a:cubicBezTo>
                  <a:pt x="3271" y="327"/>
                  <a:pt x="3270" y="330"/>
                  <a:pt x="3264" y="330"/>
                </a:cubicBezTo>
                <a:close/>
                <a:moveTo>
                  <a:pt x="3319" y="339"/>
                </a:moveTo>
                <a:cubicBezTo>
                  <a:pt x="3319" y="339"/>
                  <a:pt x="3319" y="339"/>
                  <a:pt x="3319" y="339"/>
                </a:cubicBezTo>
                <a:cubicBezTo>
                  <a:pt x="3319" y="330"/>
                  <a:pt x="3319" y="330"/>
                  <a:pt x="3319" y="330"/>
                </a:cubicBezTo>
                <a:cubicBezTo>
                  <a:pt x="3312" y="330"/>
                  <a:pt x="3312" y="327"/>
                  <a:pt x="3312" y="324"/>
                </a:cubicBezTo>
                <a:cubicBezTo>
                  <a:pt x="3312" y="322"/>
                  <a:pt x="3312" y="319"/>
                  <a:pt x="3312" y="317"/>
                </a:cubicBezTo>
                <a:cubicBezTo>
                  <a:pt x="3313" y="315"/>
                  <a:pt x="3313" y="312"/>
                  <a:pt x="3313" y="310"/>
                </a:cubicBezTo>
                <a:cubicBezTo>
                  <a:pt x="3313" y="301"/>
                  <a:pt x="3307" y="297"/>
                  <a:pt x="3298" y="297"/>
                </a:cubicBezTo>
                <a:cubicBezTo>
                  <a:pt x="3298" y="297"/>
                  <a:pt x="3298" y="297"/>
                  <a:pt x="3295" y="297"/>
                </a:cubicBezTo>
                <a:cubicBezTo>
                  <a:pt x="3295" y="297"/>
                  <a:pt x="3295" y="297"/>
                  <a:pt x="3295" y="306"/>
                </a:cubicBezTo>
                <a:cubicBezTo>
                  <a:pt x="3295" y="306"/>
                  <a:pt x="3295" y="306"/>
                  <a:pt x="3296" y="306"/>
                </a:cubicBezTo>
                <a:cubicBezTo>
                  <a:pt x="3300" y="306"/>
                  <a:pt x="3301" y="309"/>
                  <a:pt x="3301" y="312"/>
                </a:cubicBezTo>
                <a:cubicBezTo>
                  <a:pt x="3301" y="313"/>
                  <a:pt x="3301" y="315"/>
                  <a:pt x="3301" y="317"/>
                </a:cubicBezTo>
                <a:cubicBezTo>
                  <a:pt x="3300" y="319"/>
                  <a:pt x="3300" y="321"/>
                  <a:pt x="3300" y="323"/>
                </a:cubicBezTo>
                <a:cubicBezTo>
                  <a:pt x="3300" y="331"/>
                  <a:pt x="3303" y="333"/>
                  <a:pt x="3309" y="334"/>
                </a:cubicBezTo>
                <a:cubicBezTo>
                  <a:pt x="3309" y="334"/>
                  <a:pt x="3309" y="334"/>
                  <a:pt x="3309" y="334"/>
                </a:cubicBezTo>
                <a:cubicBezTo>
                  <a:pt x="3303" y="336"/>
                  <a:pt x="3300" y="338"/>
                  <a:pt x="3300" y="346"/>
                </a:cubicBezTo>
                <a:cubicBezTo>
                  <a:pt x="3300" y="348"/>
                  <a:pt x="3300" y="350"/>
                  <a:pt x="3301" y="352"/>
                </a:cubicBezTo>
                <a:cubicBezTo>
                  <a:pt x="3301" y="353"/>
                  <a:pt x="3301" y="355"/>
                  <a:pt x="3301" y="356"/>
                </a:cubicBezTo>
                <a:cubicBezTo>
                  <a:pt x="3301" y="360"/>
                  <a:pt x="3300" y="362"/>
                  <a:pt x="3296" y="362"/>
                </a:cubicBezTo>
                <a:cubicBezTo>
                  <a:pt x="3296" y="362"/>
                  <a:pt x="3296" y="362"/>
                  <a:pt x="3295" y="362"/>
                </a:cubicBezTo>
                <a:cubicBezTo>
                  <a:pt x="3295" y="362"/>
                  <a:pt x="3295" y="362"/>
                  <a:pt x="3295" y="371"/>
                </a:cubicBezTo>
                <a:cubicBezTo>
                  <a:pt x="3295" y="371"/>
                  <a:pt x="3295" y="371"/>
                  <a:pt x="3298" y="371"/>
                </a:cubicBezTo>
                <a:cubicBezTo>
                  <a:pt x="3307" y="371"/>
                  <a:pt x="3313" y="368"/>
                  <a:pt x="3313" y="359"/>
                </a:cubicBezTo>
                <a:cubicBezTo>
                  <a:pt x="3313" y="356"/>
                  <a:pt x="3313" y="354"/>
                  <a:pt x="3312" y="352"/>
                </a:cubicBezTo>
                <a:cubicBezTo>
                  <a:pt x="3312" y="349"/>
                  <a:pt x="3312" y="347"/>
                  <a:pt x="3312" y="344"/>
                </a:cubicBezTo>
                <a:cubicBezTo>
                  <a:pt x="3312" y="342"/>
                  <a:pt x="3312" y="339"/>
                  <a:pt x="3319" y="339"/>
                </a:cubicBezTo>
                <a:close/>
                <a:moveTo>
                  <a:pt x="3366" y="298"/>
                </a:moveTo>
                <a:cubicBezTo>
                  <a:pt x="3366" y="298"/>
                  <a:pt x="3366" y="298"/>
                  <a:pt x="3366" y="298"/>
                </a:cubicBezTo>
                <a:cubicBezTo>
                  <a:pt x="3360" y="298"/>
                  <a:pt x="3360" y="298"/>
                  <a:pt x="3360" y="298"/>
                </a:cubicBezTo>
                <a:cubicBezTo>
                  <a:pt x="3358" y="299"/>
                  <a:pt x="3357" y="301"/>
                  <a:pt x="3355" y="302"/>
                </a:cubicBezTo>
                <a:cubicBezTo>
                  <a:pt x="3353" y="303"/>
                  <a:pt x="3351" y="304"/>
                  <a:pt x="3349" y="305"/>
                </a:cubicBezTo>
                <a:cubicBezTo>
                  <a:pt x="3347" y="305"/>
                  <a:pt x="3346" y="306"/>
                  <a:pt x="3344" y="307"/>
                </a:cubicBezTo>
                <a:cubicBezTo>
                  <a:pt x="3342" y="307"/>
                  <a:pt x="3340" y="308"/>
                  <a:pt x="3338" y="309"/>
                </a:cubicBezTo>
                <a:cubicBezTo>
                  <a:pt x="3338" y="309"/>
                  <a:pt x="3338" y="309"/>
                  <a:pt x="3338" y="319"/>
                </a:cubicBezTo>
                <a:cubicBezTo>
                  <a:pt x="3341" y="318"/>
                  <a:pt x="3344" y="317"/>
                  <a:pt x="3346" y="316"/>
                </a:cubicBezTo>
                <a:cubicBezTo>
                  <a:pt x="3349" y="315"/>
                  <a:pt x="3352" y="314"/>
                  <a:pt x="3354" y="313"/>
                </a:cubicBezTo>
                <a:cubicBezTo>
                  <a:pt x="3354" y="313"/>
                  <a:pt x="3354" y="313"/>
                  <a:pt x="3354" y="371"/>
                </a:cubicBezTo>
                <a:cubicBezTo>
                  <a:pt x="3354" y="371"/>
                  <a:pt x="3354" y="371"/>
                  <a:pt x="3366" y="371"/>
                </a:cubicBezTo>
                <a:cubicBezTo>
                  <a:pt x="3366" y="371"/>
                  <a:pt x="3366" y="371"/>
                  <a:pt x="3366" y="298"/>
                </a:cubicBezTo>
                <a:close/>
                <a:moveTo>
                  <a:pt x="3412" y="298"/>
                </a:moveTo>
                <a:cubicBezTo>
                  <a:pt x="3412" y="298"/>
                  <a:pt x="3412" y="298"/>
                  <a:pt x="3412" y="298"/>
                </a:cubicBezTo>
                <a:cubicBezTo>
                  <a:pt x="3407" y="298"/>
                  <a:pt x="3407" y="298"/>
                  <a:pt x="3407" y="298"/>
                </a:cubicBezTo>
                <a:cubicBezTo>
                  <a:pt x="3405" y="299"/>
                  <a:pt x="3403" y="301"/>
                  <a:pt x="3401" y="302"/>
                </a:cubicBezTo>
                <a:cubicBezTo>
                  <a:pt x="3400" y="303"/>
                  <a:pt x="3397" y="304"/>
                  <a:pt x="3396" y="305"/>
                </a:cubicBezTo>
                <a:cubicBezTo>
                  <a:pt x="3395" y="306"/>
                  <a:pt x="3392" y="307"/>
                  <a:pt x="3391" y="307"/>
                </a:cubicBezTo>
                <a:cubicBezTo>
                  <a:pt x="3389" y="308"/>
                  <a:pt x="3387" y="309"/>
                  <a:pt x="3385" y="309"/>
                </a:cubicBezTo>
                <a:cubicBezTo>
                  <a:pt x="3385" y="309"/>
                  <a:pt x="3385" y="309"/>
                  <a:pt x="3385" y="319"/>
                </a:cubicBezTo>
                <a:cubicBezTo>
                  <a:pt x="3388" y="318"/>
                  <a:pt x="3391" y="318"/>
                  <a:pt x="3393" y="316"/>
                </a:cubicBezTo>
                <a:cubicBezTo>
                  <a:pt x="3396" y="315"/>
                  <a:pt x="3398" y="314"/>
                  <a:pt x="3400" y="313"/>
                </a:cubicBezTo>
                <a:cubicBezTo>
                  <a:pt x="3400" y="313"/>
                  <a:pt x="3400" y="313"/>
                  <a:pt x="3400" y="371"/>
                </a:cubicBezTo>
                <a:cubicBezTo>
                  <a:pt x="3400" y="371"/>
                  <a:pt x="3400" y="371"/>
                  <a:pt x="3412" y="371"/>
                </a:cubicBezTo>
                <a:cubicBezTo>
                  <a:pt x="3412" y="371"/>
                  <a:pt x="3412" y="371"/>
                  <a:pt x="3412" y="298"/>
                </a:cubicBezTo>
                <a:close/>
                <a:moveTo>
                  <a:pt x="3458" y="298"/>
                </a:moveTo>
                <a:cubicBezTo>
                  <a:pt x="3458" y="298"/>
                  <a:pt x="3458" y="298"/>
                  <a:pt x="3458" y="298"/>
                </a:cubicBezTo>
                <a:cubicBezTo>
                  <a:pt x="3453" y="298"/>
                  <a:pt x="3453" y="298"/>
                  <a:pt x="3453" y="298"/>
                </a:cubicBezTo>
                <a:cubicBezTo>
                  <a:pt x="3451" y="299"/>
                  <a:pt x="3450" y="301"/>
                  <a:pt x="3448" y="302"/>
                </a:cubicBezTo>
                <a:cubicBezTo>
                  <a:pt x="3446" y="303"/>
                  <a:pt x="3444" y="304"/>
                  <a:pt x="3443" y="305"/>
                </a:cubicBezTo>
                <a:cubicBezTo>
                  <a:pt x="3440" y="306"/>
                  <a:pt x="3439" y="307"/>
                  <a:pt x="3437" y="307"/>
                </a:cubicBezTo>
                <a:cubicBezTo>
                  <a:pt x="3435" y="308"/>
                  <a:pt x="3433" y="309"/>
                  <a:pt x="3432" y="309"/>
                </a:cubicBezTo>
                <a:cubicBezTo>
                  <a:pt x="3432" y="309"/>
                  <a:pt x="3432" y="309"/>
                  <a:pt x="3432" y="319"/>
                </a:cubicBezTo>
                <a:cubicBezTo>
                  <a:pt x="3435" y="318"/>
                  <a:pt x="3438" y="318"/>
                  <a:pt x="3440" y="316"/>
                </a:cubicBezTo>
                <a:cubicBezTo>
                  <a:pt x="3442" y="315"/>
                  <a:pt x="3445" y="314"/>
                  <a:pt x="3446" y="313"/>
                </a:cubicBezTo>
                <a:cubicBezTo>
                  <a:pt x="3446" y="313"/>
                  <a:pt x="3446" y="313"/>
                  <a:pt x="3446" y="371"/>
                </a:cubicBezTo>
                <a:cubicBezTo>
                  <a:pt x="3446" y="371"/>
                  <a:pt x="3446" y="371"/>
                  <a:pt x="3458" y="371"/>
                </a:cubicBezTo>
                <a:cubicBezTo>
                  <a:pt x="3458" y="371"/>
                  <a:pt x="3458" y="371"/>
                  <a:pt x="3458" y="298"/>
                </a:cubicBezTo>
                <a:close/>
                <a:moveTo>
                  <a:pt x="3207" y="345"/>
                </a:moveTo>
                <a:cubicBezTo>
                  <a:pt x="3208" y="347"/>
                  <a:pt x="3208" y="348"/>
                  <a:pt x="3209" y="350"/>
                </a:cubicBezTo>
                <a:cubicBezTo>
                  <a:pt x="3209" y="351"/>
                  <a:pt x="3210" y="353"/>
                  <a:pt x="3210" y="355"/>
                </a:cubicBezTo>
                <a:cubicBezTo>
                  <a:pt x="3210" y="356"/>
                  <a:pt x="3210" y="358"/>
                  <a:pt x="3210" y="360"/>
                </a:cubicBezTo>
                <a:cubicBezTo>
                  <a:pt x="3211" y="363"/>
                  <a:pt x="3210" y="364"/>
                  <a:pt x="3207" y="364"/>
                </a:cubicBezTo>
                <a:cubicBezTo>
                  <a:pt x="3204" y="364"/>
                  <a:pt x="3201" y="364"/>
                  <a:pt x="3199" y="364"/>
                </a:cubicBezTo>
                <a:cubicBezTo>
                  <a:pt x="3198" y="364"/>
                  <a:pt x="3197" y="364"/>
                  <a:pt x="3197" y="364"/>
                </a:cubicBezTo>
                <a:cubicBezTo>
                  <a:pt x="3195" y="366"/>
                  <a:pt x="3194" y="367"/>
                  <a:pt x="3193" y="369"/>
                </a:cubicBezTo>
                <a:cubicBezTo>
                  <a:pt x="3191" y="371"/>
                  <a:pt x="3188" y="371"/>
                  <a:pt x="3185" y="369"/>
                </a:cubicBezTo>
                <a:cubicBezTo>
                  <a:pt x="3183" y="367"/>
                  <a:pt x="3182" y="365"/>
                  <a:pt x="3181" y="362"/>
                </a:cubicBezTo>
                <a:cubicBezTo>
                  <a:pt x="3180" y="360"/>
                  <a:pt x="3180" y="359"/>
                  <a:pt x="3183" y="357"/>
                </a:cubicBezTo>
                <a:cubicBezTo>
                  <a:pt x="3180" y="357"/>
                  <a:pt x="3178" y="357"/>
                  <a:pt x="3177" y="357"/>
                </a:cubicBezTo>
                <a:cubicBezTo>
                  <a:pt x="3176" y="359"/>
                  <a:pt x="3175" y="361"/>
                  <a:pt x="3174" y="363"/>
                </a:cubicBezTo>
                <a:cubicBezTo>
                  <a:pt x="3174" y="364"/>
                  <a:pt x="3173" y="365"/>
                  <a:pt x="3173" y="365"/>
                </a:cubicBezTo>
                <a:cubicBezTo>
                  <a:pt x="3173" y="369"/>
                  <a:pt x="3172" y="370"/>
                  <a:pt x="3169" y="369"/>
                </a:cubicBezTo>
                <a:cubicBezTo>
                  <a:pt x="3166" y="369"/>
                  <a:pt x="3163" y="368"/>
                  <a:pt x="3160" y="367"/>
                </a:cubicBezTo>
                <a:cubicBezTo>
                  <a:pt x="3158" y="367"/>
                  <a:pt x="3158" y="365"/>
                  <a:pt x="3158" y="363"/>
                </a:cubicBezTo>
                <a:cubicBezTo>
                  <a:pt x="3159" y="362"/>
                  <a:pt x="3159" y="362"/>
                  <a:pt x="3159" y="362"/>
                </a:cubicBezTo>
                <a:cubicBezTo>
                  <a:pt x="3157" y="360"/>
                  <a:pt x="3154" y="360"/>
                  <a:pt x="3152" y="358"/>
                </a:cubicBezTo>
                <a:cubicBezTo>
                  <a:pt x="3151" y="357"/>
                  <a:pt x="3150" y="355"/>
                  <a:pt x="3149" y="354"/>
                </a:cubicBezTo>
                <a:cubicBezTo>
                  <a:pt x="3148" y="352"/>
                  <a:pt x="3148" y="350"/>
                  <a:pt x="3150" y="348"/>
                </a:cubicBezTo>
                <a:cubicBezTo>
                  <a:pt x="3153" y="346"/>
                  <a:pt x="3154" y="343"/>
                  <a:pt x="3153" y="339"/>
                </a:cubicBezTo>
                <a:cubicBezTo>
                  <a:pt x="3153" y="337"/>
                  <a:pt x="3153" y="335"/>
                  <a:pt x="3153" y="333"/>
                </a:cubicBezTo>
                <a:cubicBezTo>
                  <a:pt x="3152" y="333"/>
                  <a:pt x="3150" y="332"/>
                  <a:pt x="3150" y="331"/>
                </a:cubicBezTo>
                <a:cubicBezTo>
                  <a:pt x="3148" y="329"/>
                  <a:pt x="3148" y="327"/>
                  <a:pt x="3148" y="325"/>
                </a:cubicBezTo>
                <a:cubicBezTo>
                  <a:pt x="3147" y="323"/>
                  <a:pt x="3151" y="320"/>
                  <a:pt x="3153" y="319"/>
                </a:cubicBezTo>
                <a:cubicBezTo>
                  <a:pt x="3154" y="320"/>
                  <a:pt x="3154" y="321"/>
                  <a:pt x="3154" y="322"/>
                </a:cubicBezTo>
                <a:cubicBezTo>
                  <a:pt x="3154" y="323"/>
                  <a:pt x="3154" y="323"/>
                  <a:pt x="3155" y="325"/>
                </a:cubicBezTo>
                <a:cubicBezTo>
                  <a:pt x="3154" y="324"/>
                  <a:pt x="3153" y="324"/>
                  <a:pt x="3153" y="324"/>
                </a:cubicBezTo>
                <a:cubicBezTo>
                  <a:pt x="3153" y="325"/>
                  <a:pt x="3152" y="327"/>
                  <a:pt x="3152" y="329"/>
                </a:cubicBezTo>
                <a:cubicBezTo>
                  <a:pt x="3153" y="328"/>
                  <a:pt x="3153" y="328"/>
                  <a:pt x="3154" y="328"/>
                </a:cubicBezTo>
                <a:cubicBezTo>
                  <a:pt x="3155" y="327"/>
                  <a:pt x="3156" y="326"/>
                  <a:pt x="3157" y="325"/>
                </a:cubicBezTo>
                <a:cubicBezTo>
                  <a:pt x="3161" y="318"/>
                  <a:pt x="3167" y="314"/>
                  <a:pt x="3175" y="312"/>
                </a:cubicBezTo>
                <a:cubicBezTo>
                  <a:pt x="3178" y="312"/>
                  <a:pt x="3181" y="311"/>
                  <a:pt x="3183" y="308"/>
                </a:cubicBezTo>
                <a:cubicBezTo>
                  <a:pt x="3183" y="308"/>
                  <a:pt x="3184" y="307"/>
                  <a:pt x="3184" y="307"/>
                </a:cubicBezTo>
                <a:cubicBezTo>
                  <a:pt x="3187" y="307"/>
                  <a:pt x="3189" y="304"/>
                  <a:pt x="3191" y="303"/>
                </a:cubicBezTo>
                <a:cubicBezTo>
                  <a:pt x="3198" y="295"/>
                  <a:pt x="3210" y="295"/>
                  <a:pt x="3218" y="301"/>
                </a:cubicBezTo>
                <a:cubicBezTo>
                  <a:pt x="3220" y="303"/>
                  <a:pt x="3223" y="305"/>
                  <a:pt x="3225" y="307"/>
                </a:cubicBezTo>
                <a:cubicBezTo>
                  <a:pt x="3227" y="308"/>
                  <a:pt x="3228" y="310"/>
                  <a:pt x="3229" y="312"/>
                </a:cubicBezTo>
                <a:cubicBezTo>
                  <a:pt x="3230" y="314"/>
                  <a:pt x="3231" y="314"/>
                  <a:pt x="3232" y="312"/>
                </a:cubicBezTo>
                <a:cubicBezTo>
                  <a:pt x="3233" y="312"/>
                  <a:pt x="3233" y="311"/>
                  <a:pt x="3234" y="310"/>
                </a:cubicBezTo>
                <a:cubicBezTo>
                  <a:pt x="3236" y="308"/>
                  <a:pt x="3239" y="308"/>
                  <a:pt x="3241" y="311"/>
                </a:cubicBezTo>
                <a:cubicBezTo>
                  <a:pt x="3242" y="314"/>
                  <a:pt x="3243" y="317"/>
                  <a:pt x="3243" y="320"/>
                </a:cubicBezTo>
                <a:cubicBezTo>
                  <a:pt x="3244" y="324"/>
                  <a:pt x="3243" y="329"/>
                  <a:pt x="3242" y="333"/>
                </a:cubicBezTo>
                <a:cubicBezTo>
                  <a:pt x="3239" y="339"/>
                  <a:pt x="3235" y="343"/>
                  <a:pt x="3228" y="343"/>
                </a:cubicBezTo>
                <a:cubicBezTo>
                  <a:pt x="3227" y="343"/>
                  <a:pt x="3227" y="343"/>
                  <a:pt x="3226" y="343"/>
                </a:cubicBezTo>
                <a:cubicBezTo>
                  <a:pt x="3224" y="343"/>
                  <a:pt x="3223" y="343"/>
                  <a:pt x="3222" y="345"/>
                </a:cubicBezTo>
                <a:cubicBezTo>
                  <a:pt x="3220" y="350"/>
                  <a:pt x="3215" y="351"/>
                  <a:pt x="3211" y="348"/>
                </a:cubicBezTo>
                <a:cubicBezTo>
                  <a:pt x="3210" y="347"/>
                  <a:pt x="3209" y="346"/>
                  <a:pt x="3208" y="345"/>
                </a:cubicBezTo>
                <a:cubicBezTo>
                  <a:pt x="3208" y="345"/>
                  <a:pt x="3208" y="345"/>
                  <a:pt x="3207" y="345"/>
                </a:cubicBezTo>
                <a:close/>
                <a:moveTo>
                  <a:pt x="3202" y="341"/>
                </a:moveTo>
                <a:cubicBezTo>
                  <a:pt x="3205" y="343"/>
                  <a:pt x="3209" y="344"/>
                  <a:pt x="3212" y="346"/>
                </a:cubicBezTo>
                <a:cubicBezTo>
                  <a:pt x="3213" y="348"/>
                  <a:pt x="3215" y="349"/>
                  <a:pt x="3217" y="348"/>
                </a:cubicBezTo>
                <a:cubicBezTo>
                  <a:pt x="3220" y="347"/>
                  <a:pt x="3221" y="345"/>
                  <a:pt x="3221" y="342"/>
                </a:cubicBezTo>
                <a:cubicBezTo>
                  <a:pt x="3221" y="343"/>
                  <a:pt x="3220" y="343"/>
                  <a:pt x="3220" y="343"/>
                </a:cubicBezTo>
                <a:cubicBezTo>
                  <a:pt x="3220" y="344"/>
                  <a:pt x="3219" y="345"/>
                  <a:pt x="3218" y="346"/>
                </a:cubicBezTo>
                <a:cubicBezTo>
                  <a:pt x="3217" y="348"/>
                  <a:pt x="3215" y="347"/>
                  <a:pt x="3215" y="347"/>
                </a:cubicBezTo>
                <a:cubicBezTo>
                  <a:pt x="3214" y="347"/>
                  <a:pt x="3213" y="346"/>
                  <a:pt x="3213" y="345"/>
                </a:cubicBezTo>
                <a:cubicBezTo>
                  <a:pt x="3213" y="343"/>
                  <a:pt x="3214" y="341"/>
                  <a:pt x="3214" y="339"/>
                </a:cubicBezTo>
                <a:cubicBezTo>
                  <a:pt x="3217" y="339"/>
                  <a:pt x="3221" y="341"/>
                  <a:pt x="3224" y="341"/>
                </a:cubicBezTo>
                <a:cubicBezTo>
                  <a:pt x="3232" y="342"/>
                  <a:pt x="3237" y="341"/>
                  <a:pt x="3241" y="332"/>
                </a:cubicBezTo>
                <a:cubicBezTo>
                  <a:pt x="3242" y="327"/>
                  <a:pt x="3242" y="322"/>
                  <a:pt x="3241" y="317"/>
                </a:cubicBezTo>
                <a:cubicBezTo>
                  <a:pt x="3241" y="315"/>
                  <a:pt x="3240" y="314"/>
                  <a:pt x="3239" y="312"/>
                </a:cubicBezTo>
                <a:cubicBezTo>
                  <a:pt x="3238" y="310"/>
                  <a:pt x="3237" y="310"/>
                  <a:pt x="3236" y="311"/>
                </a:cubicBezTo>
                <a:cubicBezTo>
                  <a:pt x="3234" y="313"/>
                  <a:pt x="3233" y="314"/>
                  <a:pt x="3231" y="315"/>
                </a:cubicBezTo>
                <a:cubicBezTo>
                  <a:pt x="3230" y="316"/>
                  <a:pt x="3229" y="316"/>
                  <a:pt x="3230" y="318"/>
                </a:cubicBezTo>
                <a:cubicBezTo>
                  <a:pt x="3230" y="321"/>
                  <a:pt x="3230" y="324"/>
                  <a:pt x="3228" y="327"/>
                </a:cubicBezTo>
                <a:cubicBezTo>
                  <a:pt x="3228" y="325"/>
                  <a:pt x="3229" y="323"/>
                  <a:pt x="3229" y="322"/>
                </a:cubicBezTo>
                <a:cubicBezTo>
                  <a:pt x="3229" y="321"/>
                  <a:pt x="3228" y="320"/>
                  <a:pt x="3228" y="320"/>
                </a:cubicBezTo>
                <a:cubicBezTo>
                  <a:pt x="3228" y="320"/>
                  <a:pt x="3227" y="320"/>
                  <a:pt x="3227" y="321"/>
                </a:cubicBezTo>
                <a:cubicBezTo>
                  <a:pt x="3226" y="322"/>
                  <a:pt x="3225" y="323"/>
                  <a:pt x="3224" y="325"/>
                </a:cubicBezTo>
                <a:cubicBezTo>
                  <a:pt x="3224" y="325"/>
                  <a:pt x="3224" y="325"/>
                  <a:pt x="3224" y="325"/>
                </a:cubicBezTo>
                <a:cubicBezTo>
                  <a:pt x="3224" y="323"/>
                  <a:pt x="3225" y="322"/>
                  <a:pt x="3225" y="319"/>
                </a:cubicBezTo>
                <a:cubicBezTo>
                  <a:pt x="3224" y="320"/>
                  <a:pt x="3224" y="320"/>
                  <a:pt x="3223" y="321"/>
                </a:cubicBezTo>
                <a:cubicBezTo>
                  <a:pt x="3223" y="322"/>
                  <a:pt x="3222" y="322"/>
                  <a:pt x="3222" y="323"/>
                </a:cubicBezTo>
                <a:cubicBezTo>
                  <a:pt x="3222" y="320"/>
                  <a:pt x="3223" y="320"/>
                  <a:pt x="3228" y="318"/>
                </a:cubicBezTo>
                <a:cubicBezTo>
                  <a:pt x="3228" y="318"/>
                  <a:pt x="3227" y="317"/>
                  <a:pt x="3227" y="317"/>
                </a:cubicBezTo>
                <a:cubicBezTo>
                  <a:pt x="3224" y="318"/>
                  <a:pt x="3224" y="316"/>
                  <a:pt x="3223" y="314"/>
                </a:cubicBezTo>
                <a:cubicBezTo>
                  <a:pt x="3225" y="314"/>
                  <a:pt x="3226" y="313"/>
                  <a:pt x="3228" y="313"/>
                </a:cubicBezTo>
                <a:cubicBezTo>
                  <a:pt x="3226" y="310"/>
                  <a:pt x="3225" y="308"/>
                  <a:pt x="3222" y="307"/>
                </a:cubicBezTo>
                <a:cubicBezTo>
                  <a:pt x="3221" y="307"/>
                  <a:pt x="3221" y="307"/>
                  <a:pt x="3221" y="306"/>
                </a:cubicBezTo>
                <a:cubicBezTo>
                  <a:pt x="3219" y="304"/>
                  <a:pt x="3216" y="302"/>
                  <a:pt x="3213" y="300"/>
                </a:cubicBezTo>
                <a:cubicBezTo>
                  <a:pt x="3211" y="299"/>
                  <a:pt x="3208" y="298"/>
                  <a:pt x="3206" y="298"/>
                </a:cubicBezTo>
                <a:cubicBezTo>
                  <a:pt x="3203" y="299"/>
                  <a:pt x="3200" y="300"/>
                  <a:pt x="3197" y="301"/>
                </a:cubicBezTo>
                <a:cubicBezTo>
                  <a:pt x="3194" y="302"/>
                  <a:pt x="3191" y="303"/>
                  <a:pt x="3190" y="306"/>
                </a:cubicBezTo>
                <a:cubicBezTo>
                  <a:pt x="3191" y="306"/>
                  <a:pt x="3192" y="306"/>
                  <a:pt x="3193" y="306"/>
                </a:cubicBezTo>
                <a:cubicBezTo>
                  <a:pt x="3193" y="307"/>
                  <a:pt x="3192" y="307"/>
                  <a:pt x="3192" y="307"/>
                </a:cubicBezTo>
                <a:cubicBezTo>
                  <a:pt x="3189" y="308"/>
                  <a:pt x="3186" y="307"/>
                  <a:pt x="3184" y="310"/>
                </a:cubicBezTo>
                <a:cubicBezTo>
                  <a:pt x="3181" y="314"/>
                  <a:pt x="3177" y="317"/>
                  <a:pt x="3173" y="322"/>
                </a:cubicBezTo>
                <a:cubicBezTo>
                  <a:pt x="3172" y="323"/>
                  <a:pt x="3171" y="326"/>
                  <a:pt x="3170" y="328"/>
                </a:cubicBezTo>
                <a:cubicBezTo>
                  <a:pt x="3170" y="329"/>
                  <a:pt x="3170" y="329"/>
                  <a:pt x="3170" y="330"/>
                </a:cubicBezTo>
                <a:cubicBezTo>
                  <a:pt x="3172" y="332"/>
                  <a:pt x="3173" y="334"/>
                  <a:pt x="3174" y="336"/>
                </a:cubicBezTo>
                <a:cubicBezTo>
                  <a:pt x="3175" y="334"/>
                  <a:pt x="3177" y="333"/>
                  <a:pt x="3178" y="331"/>
                </a:cubicBezTo>
                <a:cubicBezTo>
                  <a:pt x="3177" y="333"/>
                  <a:pt x="3177" y="334"/>
                  <a:pt x="3176" y="335"/>
                </a:cubicBezTo>
                <a:cubicBezTo>
                  <a:pt x="3175" y="337"/>
                  <a:pt x="3175" y="338"/>
                  <a:pt x="3174" y="339"/>
                </a:cubicBezTo>
                <a:cubicBezTo>
                  <a:pt x="3174" y="340"/>
                  <a:pt x="3174" y="341"/>
                  <a:pt x="3175" y="342"/>
                </a:cubicBezTo>
                <a:cubicBezTo>
                  <a:pt x="3177" y="346"/>
                  <a:pt x="3180" y="346"/>
                  <a:pt x="3184" y="344"/>
                </a:cubicBezTo>
                <a:cubicBezTo>
                  <a:pt x="3186" y="342"/>
                  <a:pt x="3189" y="341"/>
                  <a:pt x="3192" y="340"/>
                </a:cubicBezTo>
                <a:cubicBezTo>
                  <a:pt x="3193" y="340"/>
                  <a:pt x="3195" y="339"/>
                  <a:pt x="3195" y="337"/>
                </a:cubicBezTo>
                <a:cubicBezTo>
                  <a:pt x="3195" y="334"/>
                  <a:pt x="3195" y="331"/>
                  <a:pt x="3195" y="327"/>
                </a:cubicBezTo>
                <a:cubicBezTo>
                  <a:pt x="3195" y="324"/>
                  <a:pt x="3195" y="322"/>
                  <a:pt x="3195" y="318"/>
                </a:cubicBezTo>
                <a:cubicBezTo>
                  <a:pt x="3195" y="321"/>
                  <a:pt x="3196" y="324"/>
                  <a:pt x="3196" y="326"/>
                </a:cubicBezTo>
                <a:cubicBezTo>
                  <a:pt x="3197" y="331"/>
                  <a:pt x="3197" y="335"/>
                  <a:pt x="3196" y="340"/>
                </a:cubicBezTo>
                <a:cubicBezTo>
                  <a:pt x="3195" y="341"/>
                  <a:pt x="3195" y="341"/>
                  <a:pt x="3194" y="341"/>
                </a:cubicBezTo>
                <a:cubicBezTo>
                  <a:pt x="3191" y="342"/>
                  <a:pt x="3188" y="344"/>
                  <a:pt x="3184" y="345"/>
                </a:cubicBezTo>
                <a:cubicBezTo>
                  <a:pt x="3179" y="348"/>
                  <a:pt x="3176" y="346"/>
                  <a:pt x="3172" y="343"/>
                </a:cubicBezTo>
                <a:cubicBezTo>
                  <a:pt x="3172" y="342"/>
                  <a:pt x="3172" y="341"/>
                  <a:pt x="3172" y="341"/>
                </a:cubicBezTo>
                <a:cubicBezTo>
                  <a:pt x="3173" y="338"/>
                  <a:pt x="3172" y="336"/>
                  <a:pt x="3171" y="334"/>
                </a:cubicBezTo>
                <a:cubicBezTo>
                  <a:pt x="3169" y="332"/>
                  <a:pt x="3168" y="330"/>
                  <a:pt x="3169" y="327"/>
                </a:cubicBezTo>
                <a:cubicBezTo>
                  <a:pt x="3169" y="325"/>
                  <a:pt x="3170" y="323"/>
                  <a:pt x="3172" y="322"/>
                </a:cubicBezTo>
                <a:cubicBezTo>
                  <a:pt x="3173" y="319"/>
                  <a:pt x="3175" y="317"/>
                  <a:pt x="3177" y="314"/>
                </a:cubicBezTo>
                <a:cubicBezTo>
                  <a:pt x="3177" y="314"/>
                  <a:pt x="3176" y="314"/>
                  <a:pt x="3176" y="314"/>
                </a:cubicBezTo>
                <a:cubicBezTo>
                  <a:pt x="3171" y="315"/>
                  <a:pt x="3167" y="317"/>
                  <a:pt x="3163" y="320"/>
                </a:cubicBezTo>
                <a:cubicBezTo>
                  <a:pt x="3158" y="324"/>
                  <a:pt x="3155" y="329"/>
                  <a:pt x="3155" y="336"/>
                </a:cubicBezTo>
                <a:cubicBezTo>
                  <a:pt x="3155" y="343"/>
                  <a:pt x="3157" y="349"/>
                  <a:pt x="3161" y="355"/>
                </a:cubicBezTo>
                <a:cubicBezTo>
                  <a:pt x="3161" y="356"/>
                  <a:pt x="3162" y="357"/>
                  <a:pt x="3161" y="358"/>
                </a:cubicBezTo>
                <a:cubicBezTo>
                  <a:pt x="3161" y="360"/>
                  <a:pt x="3161" y="362"/>
                  <a:pt x="3160" y="363"/>
                </a:cubicBezTo>
                <a:cubicBezTo>
                  <a:pt x="3160" y="365"/>
                  <a:pt x="3160" y="365"/>
                  <a:pt x="3161" y="366"/>
                </a:cubicBezTo>
                <a:cubicBezTo>
                  <a:pt x="3164" y="367"/>
                  <a:pt x="3167" y="367"/>
                  <a:pt x="3170" y="367"/>
                </a:cubicBezTo>
                <a:cubicBezTo>
                  <a:pt x="3171" y="367"/>
                  <a:pt x="3172" y="367"/>
                  <a:pt x="3172" y="366"/>
                </a:cubicBezTo>
                <a:cubicBezTo>
                  <a:pt x="3172" y="365"/>
                  <a:pt x="3172" y="363"/>
                  <a:pt x="3173" y="363"/>
                </a:cubicBezTo>
                <a:cubicBezTo>
                  <a:pt x="3175" y="360"/>
                  <a:pt x="3175" y="358"/>
                  <a:pt x="3175" y="355"/>
                </a:cubicBezTo>
                <a:cubicBezTo>
                  <a:pt x="3175" y="354"/>
                  <a:pt x="3175" y="354"/>
                  <a:pt x="3175" y="354"/>
                </a:cubicBezTo>
                <a:cubicBezTo>
                  <a:pt x="3175" y="353"/>
                  <a:pt x="3175" y="353"/>
                  <a:pt x="3175" y="353"/>
                </a:cubicBezTo>
                <a:cubicBezTo>
                  <a:pt x="3175" y="356"/>
                  <a:pt x="3177" y="356"/>
                  <a:pt x="3179" y="356"/>
                </a:cubicBezTo>
                <a:cubicBezTo>
                  <a:pt x="3179" y="356"/>
                  <a:pt x="3181" y="356"/>
                  <a:pt x="3181" y="356"/>
                </a:cubicBezTo>
                <a:cubicBezTo>
                  <a:pt x="3184" y="356"/>
                  <a:pt x="3187" y="356"/>
                  <a:pt x="3188" y="352"/>
                </a:cubicBezTo>
                <a:cubicBezTo>
                  <a:pt x="3188" y="354"/>
                  <a:pt x="3188" y="356"/>
                  <a:pt x="3188" y="357"/>
                </a:cubicBezTo>
                <a:cubicBezTo>
                  <a:pt x="3186" y="358"/>
                  <a:pt x="3185" y="358"/>
                  <a:pt x="3184" y="359"/>
                </a:cubicBezTo>
                <a:cubicBezTo>
                  <a:pt x="3182" y="360"/>
                  <a:pt x="3182" y="361"/>
                  <a:pt x="3183" y="362"/>
                </a:cubicBezTo>
                <a:cubicBezTo>
                  <a:pt x="3184" y="364"/>
                  <a:pt x="3185" y="366"/>
                  <a:pt x="3186" y="368"/>
                </a:cubicBezTo>
                <a:cubicBezTo>
                  <a:pt x="3188" y="369"/>
                  <a:pt x="3190" y="369"/>
                  <a:pt x="3192" y="367"/>
                </a:cubicBezTo>
                <a:cubicBezTo>
                  <a:pt x="3192" y="367"/>
                  <a:pt x="3193" y="366"/>
                  <a:pt x="3193" y="365"/>
                </a:cubicBezTo>
                <a:cubicBezTo>
                  <a:pt x="3195" y="364"/>
                  <a:pt x="3197" y="363"/>
                  <a:pt x="3198" y="362"/>
                </a:cubicBezTo>
                <a:cubicBezTo>
                  <a:pt x="3203" y="357"/>
                  <a:pt x="3204" y="351"/>
                  <a:pt x="3206" y="345"/>
                </a:cubicBezTo>
                <a:cubicBezTo>
                  <a:pt x="3206" y="345"/>
                  <a:pt x="3205" y="344"/>
                  <a:pt x="3205" y="344"/>
                </a:cubicBezTo>
                <a:cubicBezTo>
                  <a:pt x="3204" y="343"/>
                  <a:pt x="3203" y="342"/>
                  <a:pt x="3202" y="341"/>
                </a:cubicBezTo>
                <a:close/>
                <a:moveTo>
                  <a:pt x="3155" y="347"/>
                </a:moveTo>
                <a:cubicBezTo>
                  <a:pt x="3154" y="348"/>
                  <a:pt x="3152" y="349"/>
                  <a:pt x="3151" y="350"/>
                </a:cubicBezTo>
                <a:cubicBezTo>
                  <a:pt x="3151" y="350"/>
                  <a:pt x="3150" y="351"/>
                  <a:pt x="3150" y="352"/>
                </a:cubicBezTo>
                <a:cubicBezTo>
                  <a:pt x="3150" y="355"/>
                  <a:pt x="3155" y="359"/>
                  <a:pt x="3158" y="359"/>
                </a:cubicBezTo>
                <a:cubicBezTo>
                  <a:pt x="3159" y="359"/>
                  <a:pt x="3160" y="358"/>
                  <a:pt x="3159" y="356"/>
                </a:cubicBezTo>
                <a:cubicBezTo>
                  <a:pt x="3158" y="353"/>
                  <a:pt x="3156" y="350"/>
                  <a:pt x="3155" y="347"/>
                </a:cubicBezTo>
                <a:close/>
                <a:moveTo>
                  <a:pt x="3207" y="349"/>
                </a:moveTo>
                <a:cubicBezTo>
                  <a:pt x="3205" y="354"/>
                  <a:pt x="3203" y="358"/>
                  <a:pt x="3200" y="363"/>
                </a:cubicBezTo>
                <a:cubicBezTo>
                  <a:pt x="3203" y="363"/>
                  <a:pt x="3205" y="363"/>
                  <a:pt x="3208" y="363"/>
                </a:cubicBezTo>
                <a:cubicBezTo>
                  <a:pt x="3208" y="363"/>
                  <a:pt x="3209" y="362"/>
                  <a:pt x="3209" y="361"/>
                </a:cubicBezTo>
                <a:cubicBezTo>
                  <a:pt x="3209" y="358"/>
                  <a:pt x="3209" y="356"/>
                  <a:pt x="3208" y="354"/>
                </a:cubicBezTo>
                <a:cubicBezTo>
                  <a:pt x="3208" y="352"/>
                  <a:pt x="3208" y="351"/>
                  <a:pt x="3207" y="349"/>
                </a:cubicBezTo>
                <a:close/>
                <a:moveTo>
                  <a:pt x="3155" y="329"/>
                </a:moveTo>
                <a:cubicBezTo>
                  <a:pt x="3154" y="329"/>
                  <a:pt x="3153" y="330"/>
                  <a:pt x="3153" y="330"/>
                </a:cubicBezTo>
                <a:cubicBezTo>
                  <a:pt x="3152" y="330"/>
                  <a:pt x="3151" y="330"/>
                  <a:pt x="3151" y="329"/>
                </a:cubicBezTo>
                <a:cubicBezTo>
                  <a:pt x="3151" y="329"/>
                  <a:pt x="3150" y="328"/>
                  <a:pt x="3150" y="327"/>
                </a:cubicBezTo>
                <a:cubicBezTo>
                  <a:pt x="3151" y="325"/>
                  <a:pt x="3152" y="323"/>
                  <a:pt x="3152" y="322"/>
                </a:cubicBezTo>
                <a:cubicBezTo>
                  <a:pt x="3152" y="322"/>
                  <a:pt x="3152" y="322"/>
                  <a:pt x="3152" y="322"/>
                </a:cubicBezTo>
                <a:cubicBezTo>
                  <a:pt x="3151" y="322"/>
                  <a:pt x="3150" y="323"/>
                  <a:pt x="3149" y="324"/>
                </a:cubicBezTo>
                <a:cubicBezTo>
                  <a:pt x="3148" y="325"/>
                  <a:pt x="3150" y="331"/>
                  <a:pt x="3151" y="331"/>
                </a:cubicBezTo>
                <a:cubicBezTo>
                  <a:pt x="3153" y="332"/>
                  <a:pt x="3155" y="331"/>
                  <a:pt x="3155" y="329"/>
                </a:cubicBezTo>
                <a:close/>
                <a:moveTo>
                  <a:pt x="3155" y="347"/>
                </a:moveTo>
                <a:cubicBezTo>
                  <a:pt x="3154" y="348"/>
                  <a:pt x="3152" y="349"/>
                  <a:pt x="3151" y="350"/>
                </a:cubicBezTo>
                <a:cubicBezTo>
                  <a:pt x="3150" y="350"/>
                  <a:pt x="3150" y="351"/>
                  <a:pt x="3150" y="352"/>
                </a:cubicBezTo>
                <a:cubicBezTo>
                  <a:pt x="3150" y="355"/>
                  <a:pt x="3155" y="359"/>
                  <a:pt x="3158" y="359"/>
                </a:cubicBezTo>
                <a:cubicBezTo>
                  <a:pt x="3159" y="359"/>
                  <a:pt x="3160" y="357"/>
                  <a:pt x="3159" y="356"/>
                </a:cubicBezTo>
                <a:cubicBezTo>
                  <a:pt x="3158" y="353"/>
                  <a:pt x="3156" y="350"/>
                  <a:pt x="3155" y="347"/>
                </a:cubicBezTo>
                <a:close/>
                <a:moveTo>
                  <a:pt x="3207" y="349"/>
                </a:moveTo>
                <a:cubicBezTo>
                  <a:pt x="3205" y="354"/>
                  <a:pt x="3202" y="358"/>
                  <a:pt x="3200" y="362"/>
                </a:cubicBezTo>
                <a:cubicBezTo>
                  <a:pt x="3203" y="362"/>
                  <a:pt x="3205" y="363"/>
                  <a:pt x="3208" y="362"/>
                </a:cubicBezTo>
                <a:cubicBezTo>
                  <a:pt x="3208" y="362"/>
                  <a:pt x="3209" y="361"/>
                  <a:pt x="3209" y="361"/>
                </a:cubicBezTo>
                <a:cubicBezTo>
                  <a:pt x="3209" y="358"/>
                  <a:pt x="3209" y="356"/>
                  <a:pt x="3208" y="353"/>
                </a:cubicBezTo>
                <a:cubicBezTo>
                  <a:pt x="3208" y="352"/>
                  <a:pt x="3207" y="350"/>
                  <a:pt x="3207" y="349"/>
                </a:cubicBezTo>
                <a:close/>
                <a:moveTo>
                  <a:pt x="3154" y="329"/>
                </a:moveTo>
                <a:cubicBezTo>
                  <a:pt x="3154" y="329"/>
                  <a:pt x="3153" y="330"/>
                  <a:pt x="3152" y="330"/>
                </a:cubicBezTo>
                <a:cubicBezTo>
                  <a:pt x="3152" y="330"/>
                  <a:pt x="3151" y="330"/>
                  <a:pt x="3151" y="329"/>
                </a:cubicBezTo>
                <a:cubicBezTo>
                  <a:pt x="3150" y="329"/>
                  <a:pt x="3150" y="328"/>
                  <a:pt x="3150" y="327"/>
                </a:cubicBezTo>
                <a:cubicBezTo>
                  <a:pt x="3151" y="325"/>
                  <a:pt x="3151" y="323"/>
                  <a:pt x="3152" y="321"/>
                </a:cubicBezTo>
                <a:cubicBezTo>
                  <a:pt x="3152" y="321"/>
                  <a:pt x="3152" y="321"/>
                  <a:pt x="3151" y="321"/>
                </a:cubicBezTo>
                <a:cubicBezTo>
                  <a:pt x="3150" y="322"/>
                  <a:pt x="3149" y="323"/>
                  <a:pt x="3148" y="324"/>
                </a:cubicBezTo>
                <a:cubicBezTo>
                  <a:pt x="3148" y="325"/>
                  <a:pt x="3149" y="330"/>
                  <a:pt x="3151" y="331"/>
                </a:cubicBezTo>
                <a:cubicBezTo>
                  <a:pt x="3152" y="332"/>
                  <a:pt x="3154" y="331"/>
                  <a:pt x="3154" y="329"/>
                </a:cubicBezTo>
                <a:close/>
                <a:moveTo>
                  <a:pt x="3207" y="321"/>
                </a:moveTo>
                <a:cubicBezTo>
                  <a:pt x="3210" y="317"/>
                  <a:pt x="3210" y="317"/>
                  <a:pt x="3214" y="316"/>
                </a:cubicBezTo>
                <a:cubicBezTo>
                  <a:pt x="3214" y="318"/>
                  <a:pt x="3215" y="319"/>
                  <a:pt x="3216" y="319"/>
                </a:cubicBezTo>
                <a:cubicBezTo>
                  <a:pt x="3214" y="320"/>
                  <a:pt x="3212" y="322"/>
                  <a:pt x="3210" y="323"/>
                </a:cubicBezTo>
                <a:cubicBezTo>
                  <a:pt x="3209" y="322"/>
                  <a:pt x="3209" y="321"/>
                  <a:pt x="3208" y="320"/>
                </a:cubicBezTo>
                <a:cubicBezTo>
                  <a:pt x="3208" y="320"/>
                  <a:pt x="3208" y="320"/>
                  <a:pt x="3207" y="321"/>
                </a:cubicBezTo>
                <a:close/>
                <a:moveTo>
                  <a:pt x="3212" y="320"/>
                </a:moveTo>
                <a:cubicBezTo>
                  <a:pt x="3212" y="320"/>
                  <a:pt x="3211" y="319"/>
                  <a:pt x="3211" y="319"/>
                </a:cubicBezTo>
                <a:cubicBezTo>
                  <a:pt x="3210" y="319"/>
                  <a:pt x="3209" y="320"/>
                  <a:pt x="3209" y="321"/>
                </a:cubicBezTo>
                <a:cubicBezTo>
                  <a:pt x="3209" y="321"/>
                  <a:pt x="3210" y="321"/>
                  <a:pt x="3210" y="322"/>
                </a:cubicBezTo>
                <a:cubicBezTo>
                  <a:pt x="3211" y="321"/>
                  <a:pt x="3211" y="321"/>
                  <a:pt x="3212" y="320"/>
                </a:cubicBezTo>
                <a:close/>
                <a:moveTo>
                  <a:pt x="3194" y="311"/>
                </a:moveTo>
                <a:cubicBezTo>
                  <a:pt x="3187" y="310"/>
                  <a:pt x="3184" y="312"/>
                  <a:pt x="3183" y="320"/>
                </a:cubicBezTo>
                <a:cubicBezTo>
                  <a:pt x="3184" y="318"/>
                  <a:pt x="3186" y="316"/>
                  <a:pt x="3187" y="313"/>
                </a:cubicBezTo>
                <a:cubicBezTo>
                  <a:pt x="3187" y="313"/>
                  <a:pt x="3187" y="313"/>
                  <a:pt x="3187" y="313"/>
                </a:cubicBezTo>
                <a:cubicBezTo>
                  <a:pt x="3187" y="315"/>
                  <a:pt x="3188" y="315"/>
                  <a:pt x="3188" y="316"/>
                </a:cubicBezTo>
                <a:cubicBezTo>
                  <a:pt x="3189" y="313"/>
                  <a:pt x="3190" y="311"/>
                  <a:pt x="3194" y="311"/>
                </a:cubicBezTo>
                <a:close/>
                <a:moveTo>
                  <a:pt x="3237" y="312"/>
                </a:moveTo>
                <a:cubicBezTo>
                  <a:pt x="3236" y="314"/>
                  <a:pt x="3234" y="315"/>
                  <a:pt x="3232" y="316"/>
                </a:cubicBezTo>
                <a:cubicBezTo>
                  <a:pt x="3234" y="317"/>
                  <a:pt x="3236" y="315"/>
                  <a:pt x="3237" y="312"/>
                </a:cubicBezTo>
                <a:close/>
                <a:moveTo>
                  <a:pt x="3204" y="314"/>
                </a:moveTo>
                <a:cubicBezTo>
                  <a:pt x="3205" y="313"/>
                  <a:pt x="3206" y="312"/>
                  <a:pt x="3208" y="310"/>
                </a:cubicBezTo>
                <a:cubicBezTo>
                  <a:pt x="3204" y="312"/>
                  <a:pt x="3203" y="312"/>
                  <a:pt x="3204" y="314"/>
                </a:cubicBezTo>
                <a:close/>
                <a:moveTo>
                  <a:pt x="3214" y="335"/>
                </a:moveTo>
                <a:cubicBezTo>
                  <a:pt x="3212" y="336"/>
                  <a:pt x="3212" y="337"/>
                  <a:pt x="3212" y="338"/>
                </a:cubicBezTo>
                <a:cubicBezTo>
                  <a:pt x="3212" y="337"/>
                  <a:pt x="3213" y="336"/>
                  <a:pt x="3214" y="335"/>
                </a:cubicBezTo>
                <a:close/>
                <a:moveTo>
                  <a:pt x="3212" y="320"/>
                </a:moveTo>
                <a:cubicBezTo>
                  <a:pt x="3212" y="320"/>
                  <a:pt x="3211" y="320"/>
                  <a:pt x="3211" y="320"/>
                </a:cubicBezTo>
                <a:cubicBezTo>
                  <a:pt x="3210" y="320"/>
                  <a:pt x="3210" y="320"/>
                  <a:pt x="3210" y="321"/>
                </a:cubicBezTo>
                <a:cubicBezTo>
                  <a:pt x="3210" y="321"/>
                  <a:pt x="3210" y="322"/>
                  <a:pt x="3210" y="322"/>
                </a:cubicBezTo>
                <a:cubicBezTo>
                  <a:pt x="3211" y="322"/>
                  <a:pt x="3211" y="321"/>
                  <a:pt x="3212" y="320"/>
                </a:cubicBezTo>
                <a:close/>
                <a:moveTo>
                  <a:pt x="3504" y="298"/>
                </a:moveTo>
                <a:cubicBezTo>
                  <a:pt x="3504" y="298"/>
                  <a:pt x="3504" y="298"/>
                  <a:pt x="3504" y="298"/>
                </a:cubicBezTo>
                <a:cubicBezTo>
                  <a:pt x="3499" y="298"/>
                  <a:pt x="3499" y="298"/>
                  <a:pt x="3499" y="298"/>
                </a:cubicBezTo>
                <a:cubicBezTo>
                  <a:pt x="3497" y="299"/>
                  <a:pt x="3496" y="301"/>
                  <a:pt x="3494" y="302"/>
                </a:cubicBezTo>
                <a:cubicBezTo>
                  <a:pt x="3492" y="303"/>
                  <a:pt x="3490" y="304"/>
                  <a:pt x="3488" y="305"/>
                </a:cubicBezTo>
                <a:cubicBezTo>
                  <a:pt x="3486" y="306"/>
                  <a:pt x="3485" y="307"/>
                  <a:pt x="3483" y="307"/>
                </a:cubicBezTo>
                <a:cubicBezTo>
                  <a:pt x="3481" y="308"/>
                  <a:pt x="3479" y="309"/>
                  <a:pt x="3477" y="309"/>
                </a:cubicBezTo>
                <a:cubicBezTo>
                  <a:pt x="3477" y="309"/>
                  <a:pt x="3477" y="309"/>
                  <a:pt x="3477" y="319"/>
                </a:cubicBezTo>
                <a:cubicBezTo>
                  <a:pt x="3480" y="318"/>
                  <a:pt x="3483" y="318"/>
                  <a:pt x="3486" y="316"/>
                </a:cubicBezTo>
                <a:cubicBezTo>
                  <a:pt x="3488" y="315"/>
                  <a:pt x="3491" y="314"/>
                  <a:pt x="3492" y="313"/>
                </a:cubicBezTo>
                <a:cubicBezTo>
                  <a:pt x="3492" y="313"/>
                  <a:pt x="3492" y="313"/>
                  <a:pt x="3492" y="371"/>
                </a:cubicBezTo>
                <a:cubicBezTo>
                  <a:pt x="3492" y="371"/>
                  <a:pt x="3492" y="371"/>
                  <a:pt x="3504" y="371"/>
                </a:cubicBezTo>
                <a:cubicBezTo>
                  <a:pt x="3504" y="371"/>
                  <a:pt x="3504" y="371"/>
                  <a:pt x="3504" y="298"/>
                </a:cubicBezTo>
                <a:close/>
                <a:moveTo>
                  <a:pt x="3625" y="298"/>
                </a:moveTo>
                <a:cubicBezTo>
                  <a:pt x="3625" y="298"/>
                  <a:pt x="3625" y="298"/>
                  <a:pt x="3625" y="298"/>
                </a:cubicBezTo>
                <a:cubicBezTo>
                  <a:pt x="3620" y="298"/>
                  <a:pt x="3620" y="298"/>
                  <a:pt x="3620" y="298"/>
                </a:cubicBezTo>
                <a:cubicBezTo>
                  <a:pt x="3618" y="299"/>
                  <a:pt x="3617" y="301"/>
                  <a:pt x="3614" y="302"/>
                </a:cubicBezTo>
                <a:cubicBezTo>
                  <a:pt x="3613" y="303"/>
                  <a:pt x="3611" y="304"/>
                  <a:pt x="3609" y="305"/>
                </a:cubicBezTo>
                <a:cubicBezTo>
                  <a:pt x="3608" y="306"/>
                  <a:pt x="3606" y="307"/>
                  <a:pt x="3604" y="307"/>
                </a:cubicBezTo>
                <a:cubicBezTo>
                  <a:pt x="3602" y="308"/>
                  <a:pt x="3601" y="309"/>
                  <a:pt x="3598" y="309"/>
                </a:cubicBezTo>
                <a:cubicBezTo>
                  <a:pt x="3598" y="309"/>
                  <a:pt x="3598" y="309"/>
                  <a:pt x="3598" y="319"/>
                </a:cubicBezTo>
                <a:cubicBezTo>
                  <a:pt x="3601" y="318"/>
                  <a:pt x="3604" y="318"/>
                  <a:pt x="3607" y="316"/>
                </a:cubicBezTo>
                <a:cubicBezTo>
                  <a:pt x="3609" y="315"/>
                  <a:pt x="3611" y="314"/>
                  <a:pt x="3614" y="313"/>
                </a:cubicBezTo>
                <a:cubicBezTo>
                  <a:pt x="3614" y="313"/>
                  <a:pt x="3614" y="313"/>
                  <a:pt x="3614" y="371"/>
                </a:cubicBezTo>
                <a:cubicBezTo>
                  <a:pt x="3614" y="371"/>
                  <a:pt x="3614" y="371"/>
                  <a:pt x="3625" y="371"/>
                </a:cubicBezTo>
                <a:cubicBezTo>
                  <a:pt x="3625" y="371"/>
                  <a:pt x="3625" y="371"/>
                  <a:pt x="3625" y="298"/>
                </a:cubicBezTo>
                <a:close/>
                <a:moveTo>
                  <a:pt x="3672" y="298"/>
                </a:moveTo>
                <a:cubicBezTo>
                  <a:pt x="3672" y="298"/>
                  <a:pt x="3672" y="298"/>
                  <a:pt x="3672" y="298"/>
                </a:cubicBezTo>
                <a:cubicBezTo>
                  <a:pt x="3667" y="298"/>
                  <a:pt x="3667" y="298"/>
                  <a:pt x="3667" y="298"/>
                </a:cubicBezTo>
                <a:cubicBezTo>
                  <a:pt x="3665" y="299"/>
                  <a:pt x="3664" y="301"/>
                  <a:pt x="3661" y="302"/>
                </a:cubicBezTo>
                <a:cubicBezTo>
                  <a:pt x="3660" y="303"/>
                  <a:pt x="3658" y="304"/>
                  <a:pt x="3656" y="305"/>
                </a:cubicBezTo>
                <a:cubicBezTo>
                  <a:pt x="3655" y="306"/>
                  <a:pt x="3653" y="307"/>
                  <a:pt x="3651" y="307"/>
                </a:cubicBezTo>
                <a:cubicBezTo>
                  <a:pt x="3649" y="308"/>
                  <a:pt x="3648" y="309"/>
                  <a:pt x="3645" y="309"/>
                </a:cubicBezTo>
                <a:cubicBezTo>
                  <a:pt x="3645" y="309"/>
                  <a:pt x="3645" y="309"/>
                  <a:pt x="3645" y="319"/>
                </a:cubicBezTo>
                <a:cubicBezTo>
                  <a:pt x="3648" y="318"/>
                  <a:pt x="3651" y="318"/>
                  <a:pt x="3653" y="316"/>
                </a:cubicBezTo>
                <a:cubicBezTo>
                  <a:pt x="3656" y="315"/>
                  <a:pt x="3659" y="314"/>
                  <a:pt x="3661" y="313"/>
                </a:cubicBezTo>
                <a:cubicBezTo>
                  <a:pt x="3661" y="313"/>
                  <a:pt x="3661" y="313"/>
                  <a:pt x="3661" y="371"/>
                </a:cubicBezTo>
                <a:cubicBezTo>
                  <a:pt x="3661" y="371"/>
                  <a:pt x="3661" y="371"/>
                  <a:pt x="3672" y="371"/>
                </a:cubicBezTo>
                <a:cubicBezTo>
                  <a:pt x="3672" y="371"/>
                  <a:pt x="3672" y="371"/>
                  <a:pt x="3672" y="298"/>
                </a:cubicBezTo>
                <a:close/>
                <a:moveTo>
                  <a:pt x="3718" y="298"/>
                </a:moveTo>
                <a:cubicBezTo>
                  <a:pt x="3718" y="298"/>
                  <a:pt x="3718" y="298"/>
                  <a:pt x="3718" y="298"/>
                </a:cubicBezTo>
                <a:cubicBezTo>
                  <a:pt x="3714" y="298"/>
                  <a:pt x="3714" y="298"/>
                  <a:pt x="3714" y="298"/>
                </a:cubicBezTo>
                <a:cubicBezTo>
                  <a:pt x="3712" y="299"/>
                  <a:pt x="3710" y="301"/>
                  <a:pt x="3708" y="302"/>
                </a:cubicBezTo>
                <a:cubicBezTo>
                  <a:pt x="3707" y="303"/>
                  <a:pt x="3704" y="304"/>
                  <a:pt x="3703" y="305"/>
                </a:cubicBezTo>
                <a:cubicBezTo>
                  <a:pt x="3701" y="305"/>
                  <a:pt x="3699" y="306"/>
                  <a:pt x="3697" y="307"/>
                </a:cubicBezTo>
                <a:cubicBezTo>
                  <a:pt x="3696" y="307"/>
                  <a:pt x="3693" y="308"/>
                  <a:pt x="3692" y="309"/>
                </a:cubicBezTo>
                <a:cubicBezTo>
                  <a:pt x="3692" y="309"/>
                  <a:pt x="3692" y="309"/>
                  <a:pt x="3692" y="319"/>
                </a:cubicBezTo>
                <a:cubicBezTo>
                  <a:pt x="3695" y="318"/>
                  <a:pt x="3698" y="317"/>
                  <a:pt x="3700" y="316"/>
                </a:cubicBezTo>
                <a:cubicBezTo>
                  <a:pt x="3702" y="315"/>
                  <a:pt x="3705" y="314"/>
                  <a:pt x="3707" y="313"/>
                </a:cubicBezTo>
                <a:cubicBezTo>
                  <a:pt x="3707" y="313"/>
                  <a:pt x="3707" y="313"/>
                  <a:pt x="3707" y="371"/>
                </a:cubicBezTo>
                <a:cubicBezTo>
                  <a:pt x="3707" y="371"/>
                  <a:pt x="3707" y="371"/>
                  <a:pt x="3718" y="371"/>
                </a:cubicBezTo>
                <a:cubicBezTo>
                  <a:pt x="3718" y="371"/>
                  <a:pt x="3718" y="371"/>
                  <a:pt x="3718" y="298"/>
                </a:cubicBezTo>
                <a:close/>
                <a:moveTo>
                  <a:pt x="3524" y="330"/>
                </a:moveTo>
                <a:cubicBezTo>
                  <a:pt x="3524" y="330"/>
                  <a:pt x="3524" y="330"/>
                  <a:pt x="3524" y="330"/>
                </a:cubicBezTo>
                <a:cubicBezTo>
                  <a:pt x="3524" y="339"/>
                  <a:pt x="3524" y="339"/>
                  <a:pt x="3524" y="339"/>
                </a:cubicBezTo>
                <a:cubicBezTo>
                  <a:pt x="3530" y="339"/>
                  <a:pt x="3531" y="342"/>
                  <a:pt x="3531" y="344"/>
                </a:cubicBezTo>
                <a:cubicBezTo>
                  <a:pt x="3531" y="347"/>
                  <a:pt x="3530" y="349"/>
                  <a:pt x="3530" y="352"/>
                </a:cubicBezTo>
                <a:cubicBezTo>
                  <a:pt x="3530" y="354"/>
                  <a:pt x="3529" y="356"/>
                  <a:pt x="3529" y="359"/>
                </a:cubicBezTo>
                <a:cubicBezTo>
                  <a:pt x="3529" y="368"/>
                  <a:pt x="3535" y="371"/>
                  <a:pt x="3544" y="371"/>
                </a:cubicBezTo>
                <a:cubicBezTo>
                  <a:pt x="3544" y="371"/>
                  <a:pt x="3544" y="371"/>
                  <a:pt x="3548" y="371"/>
                </a:cubicBezTo>
                <a:cubicBezTo>
                  <a:pt x="3548" y="371"/>
                  <a:pt x="3548" y="371"/>
                  <a:pt x="3548" y="362"/>
                </a:cubicBezTo>
                <a:cubicBezTo>
                  <a:pt x="3548" y="362"/>
                  <a:pt x="3548" y="362"/>
                  <a:pt x="3546" y="362"/>
                </a:cubicBezTo>
                <a:cubicBezTo>
                  <a:pt x="3542" y="362"/>
                  <a:pt x="3541" y="360"/>
                  <a:pt x="3541" y="356"/>
                </a:cubicBezTo>
                <a:cubicBezTo>
                  <a:pt x="3541" y="355"/>
                  <a:pt x="3541" y="353"/>
                  <a:pt x="3542" y="352"/>
                </a:cubicBezTo>
                <a:cubicBezTo>
                  <a:pt x="3542" y="350"/>
                  <a:pt x="3542" y="348"/>
                  <a:pt x="3542" y="346"/>
                </a:cubicBezTo>
                <a:cubicBezTo>
                  <a:pt x="3542" y="338"/>
                  <a:pt x="3539" y="336"/>
                  <a:pt x="3534" y="334"/>
                </a:cubicBezTo>
                <a:cubicBezTo>
                  <a:pt x="3534" y="334"/>
                  <a:pt x="3534" y="334"/>
                  <a:pt x="3534" y="334"/>
                </a:cubicBezTo>
                <a:cubicBezTo>
                  <a:pt x="3539" y="333"/>
                  <a:pt x="3542" y="331"/>
                  <a:pt x="3542" y="323"/>
                </a:cubicBezTo>
                <a:cubicBezTo>
                  <a:pt x="3542" y="321"/>
                  <a:pt x="3542" y="319"/>
                  <a:pt x="3542" y="317"/>
                </a:cubicBezTo>
                <a:cubicBezTo>
                  <a:pt x="3541" y="315"/>
                  <a:pt x="3541" y="313"/>
                  <a:pt x="3541" y="312"/>
                </a:cubicBezTo>
                <a:cubicBezTo>
                  <a:pt x="3541" y="309"/>
                  <a:pt x="3542" y="306"/>
                  <a:pt x="3546" y="306"/>
                </a:cubicBezTo>
                <a:cubicBezTo>
                  <a:pt x="3546" y="306"/>
                  <a:pt x="3546" y="306"/>
                  <a:pt x="3548" y="306"/>
                </a:cubicBezTo>
                <a:cubicBezTo>
                  <a:pt x="3548" y="306"/>
                  <a:pt x="3548" y="306"/>
                  <a:pt x="3548" y="297"/>
                </a:cubicBezTo>
                <a:cubicBezTo>
                  <a:pt x="3548" y="297"/>
                  <a:pt x="3548" y="297"/>
                  <a:pt x="3544" y="297"/>
                </a:cubicBezTo>
                <a:cubicBezTo>
                  <a:pt x="3535" y="297"/>
                  <a:pt x="3529" y="301"/>
                  <a:pt x="3529" y="310"/>
                </a:cubicBezTo>
                <a:cubicBezTo>
                  <a:pt x="3529" y="312"/>
                  <a:pt x="3530" y="315"/>
                  <a:pt x="3530" y="317"/>
                </a:cubicBezTo>
                <a:cubicBezTo>
                  <a:pt x="3530" y="319"/>
                  <a:pt x="3531" y="322"/>
                  <a:pt x="3531" y="324"/>
                </a:cubicBezTo>
                <a:cubicBezTo>
                  <a:pt x="3531" y="327"/>
                  <a:pt x="3530" y="330"/>
                  <a:pt x="3524" y="330"/>
                </a:cubicBezTo>
                <a:close/>
                <a:moveTo>
                  <a:pt x="3579" y="339"/>
                </a:moveTo>
                <a:cubicBezTo>
                  <a:pt x="3579" y="339"/>
                  <a:pt x="3579" y="339"/>
                  <a:pt x="3579" y="339"/>
                </a:cubicBezTo>
                <a:cubicBezTo>
                  <a:pt x="3579" y="330"/>
                  <a:pt x="3579" y="330"/>
                  <a:pt x="3579" y="330"/>
                </a:cubicBezTo>
                <a:cubicBezTo>
                  <a:pt x="3572" y="330"/>
                  <a:pt x="3572" y="327"/>
                  <a:pt x="3572" y="324"/>
                </a:cubicBezTo>
                <a:cubicBezTo>
                  <a:pt x="3572" y="322"/>
                  <a:pt x="3572" y="319"/>
                  <a:pt x="3572" y="317"/>
                </a:cubicBezTo>
                <a:cubicBezTo>
                  <a:pt x="3573" y="315"/>
                  <a:pt x="3573" y="312"/>
                  <a:pt x="3573" y="310"/>
                </a:cubicBezTo>
                <a:cubicBezTo>
                  <a:pt x="3573" y="301"/>
                  <a:pt x="3567" y="297"/>
                  <a:pt x="3558" y="297"/>
                </a:cubicBezTo>
                <a:cubicBezTo>
                  <a:pt x="3558" y="297"/>
                  <a:pt x="3558" y="297"/>
                  <a:pt x="3554" y="297"/>
                </a:cubicBezTo>
                <a:cubicBezTo>
                  <a:pt x="3554" y="297"/>
                  <a:pt x="3554" y="297"/>
                  <a:pt x="3554" y="306"/>
                </a:cubicBezTo>
                <a:cubicBezTo>
                  <a:pt x="3554" y="306"/>
                  <a:pt x="3554" y="306"/>
                  <a:pt x="3556" y="306"/>
                </a:cubicBezTo>
                <a:cubicBezTo>
                  <a:pt x="3560" y="306"/>
                  <a:pt x="3561" y="309"/>
                  <a:pt x="3561" y="312"/>
                </a:cubicBezTo>
                <a:cubicBezTo>
                  <a:pt x="3561" y="313"/>
                  <a:pt x="3561" y="315"/>
                  <a:pt x="3561" y="317"/>
                </a:cubicBezTo>
                <a:cubicBezTo>
                  <a:pt x="3560" y="319"/>
                  <a:pt x="3560" y="321"/>
                  <a:pt x="3560" y="323"/>
                </a:cubicBezTo>
                <a:cubicBezTo>
                  <a:pt x="3560" y="331"/>
                  <a:pt x="3563" y="333"/>
                  <a:pt x="3569" y="334"/>
                </a:cubicBezTo>
                <a:cubicBezTo>
                  <a:pt x="3569" y="334"/>
                  <a:pt x="3569" y="334"/>
                  <a:pt x="3569" y="334"/>
                </a:cubicBezTo>
                <a:cubicBezTo>
                  <a:pt x="3563" y="336"/>
                  <a:pt x="3560" y="338"/>
                  <a:pt x="3560" y="346"/>
                </a:cubicBezTo>
                <a:cubicBezTo>
                  <a:pt x="3560" y="348"/>
                  <a:pt x="3560" y="350"/>
                  <a:pt x="3561" y="352"/>
                </a:cubicBezTo>
                <a:cubicBezTo>
                  <a:pt x="3561" y="353"/>
                  <a:pt x="3561" y="355"/>
                  <a:pt x="3561" y="356"/>
                </a:cubicBezTo>
                <a:cubicBezTo>
                  <a:pt x="3561" y="360"/>
                  <a:pt x="3560" y="362"/>
                  <a:pt x="3556" y="362"/>
                </a:cubicBezTo>
                <a:cubicBezTo>
                  <a:pt x="3556" y="362"/>
                  <a:pt x="3556" y="362"/>
                  <a:pt x="3554" y="362"/>
                </a:cubicBezTo>
                <a:cubicBezTo>
                  <a:pt x="3554" y="362"/>
                  <a:pt x="3554" y="362"/>
                  <a:pt x="3554" y="371"/>
                </a:cubicBezTo>
                <a:cubicBezTo>
                  <a:pt x="3554" y="371"/>
                  <a:pt x="3554" y="371"/>
                  <a:pt x="3558" y="371"/>
                </a:cubicBezTo>
                <a:cubicBezTo>
                  <a:pt x="3567" y="371"/>
                  <a:pt x="3573" y="368"/>
                  <a:pt x="3573" y="359"/>
                </a:cubicBezTo>
                <a:cubicBezTo>
                  <a:pt x="3573" y="356"/>
                  <a:pt x="3573" y="354"/>
                  <a:pt x="3572" y="352"/>
                </a:cubicBezTo>
                <a:cubicBezTo>
                  <a:pt x="3572" y="349"/>
                  <a:pt x="3572" y="347"/>
                  <a:pt x="3572" y="344"/>
                </a:cubicBezTo>
                <a:cubicBezTo>
                  <a:pt x="3572" y="342"/>
                  <a:pt x="3572" y="339"/>
                  <a:pt x="3579" y="339"/>
                </a:cubicBezTo>
                <a:close/>
                <a:moveTo>
                  <a:pt x="3762" y="371"/>
                </a:moveTo>
                <a:cubicBezTo>
                  <a:pt x="3755" y="371"/>
                  <a:pt x="3748" y="368"/>
                  <a:pt x="3744" y="363"/>
                </a:cubicBezTo>
                <a:cubicBezTo>
                  <a:pt x="3740" y="356"/>
                  <a:pt x="3738" y="347"/>
                  <a:pt x="3738" y="335"/>
                </a:cubicBezTo>
                <a:cubicBezTo>
                  <a:pt x="3738" y="321"/>
                  <a:pt x="3740" y="312"/>
                  <a:pt x="3745" y="305"/>
                </a:cubicBezTo>
                <a:cubicBezTo>
                  <a:pt x="3749" y="299"/>
                  <a:pt x="3756" y="295"/>
                  <a:pt x="3764" y="295"/>
                </a:cubicBezTo>
                <a:cubicBezTo>
                  <a:pt x="3780" y="295"/>
                  <a:pt x="3788" y="308"/>
                  <a:pt x="3788" y="333"/>
                </a:cubicBezTo>
                <a:cubicBezTo>
                  <a:pt x="3788" y="346"/>
                  <a:pt x="3786" y="355"/>
                  <a:pt x="3781" y="362"/>
                </a:cubicBezTo>
                <a:cubicBezTo>
                  <a:pt x="3777" y="368"/>
                  <a:pt x="3770" y="371"/>
                  <a:pt x="3762" y="371"/>
                </a:cubicBezTo>
                <a:close/>
                <a:moveTo>
                  <a:pt x="3764" y="305"/>
                </a:moveTo>
                <a:cubicBezTo>
                  <a:pt x="3754" y="305"/>
                  <a:pt x="3750" y="315"/>
                  <a:pt x="3750" y="335"/>
                </a:cubicBezTo>
                <a:cubicBezTo>
                  <a:pt x="3750" y="353"/>
                  <a:pt x="3754" y="362"/>
                  <a:pt x="3763" y="362"/>
                </a:cubicBezTo>
                <a:cubicBezTo>
                  <a:pt x="3772" y="362"/>
                  <a:pt x="3776" y="353"/>
                  <a:pt x="3776" y="334"/>
                </a:cubicBezTo>
                <a:cubicBezTo>
                  <a:pt x="3776" y="314"/>
                  <a:pt x="3772" y="305"/>
                  <a:pt x="3764" y="305"/>
                </a:cubicBezTo>
                <a:close/>
                <a:moveTo>
                  <a:pt x="3833" y="371"/>
                </a:moveTo>
                <a:cubicBezTo>
                  <a:pt x="3825" y="371"/>
                  <a:pt x="3818" y="368"/>
                  <a:pt x="3815" y="363"/>
                </a:cubicBezTo>
                <a:cubicBezTo>
                  <a:pt x="3810" y="356"/>
                  <a:pt x="3808" y="347"/>
                  <a:pt x="3808" y="335"/>
                </a:cubicBezTo>
                <a:cubicBezTo>
                  <a:pt x="3808" y="321"/>
                  <a:pt x="3810" y="312"/>
                  <a:pt x="3815" y="305"/>
                </a:cubicBezTo>
                <a:cubicBezTo>
                  <a:pt x="3819" y="299"/>
                  <a:pt x="3826" y="295"/>
                  <a:pt x="3835" y="295"/>
                </a:cubicBezTo>
                <a:cubicBezTo>
                  <a:pt x="3851" y="295"/>
                  <a:pt x="3859" y="308"/>
                  <a:pt x="3859" y="333"/>
                </a:cubicBezTo>
                <a:cubicBezTo>
                  <a:pt x="3859" y="346"/>
                  <a:pt x="3857" y="355"/>
                  <a:pt x="3852" y="362"/>
                </a:cubicBezTo>
                <a:cubicBezTo>
                  <a:pt x="3847" y="368"/>
                  <a:pt x="3841" y="371"/>
                  <a:pt x="3833" y="371"/>
                </a:cubicBezTo>
                <a:close/>
                <a:moveTo>
                  <a:pt x="3834" y="305"/>
                </a:moveTo>
                <a:cubicBezTo>
                  <a:pt x="3825" y="305"/>
                  <a:pt x="3820" y="315"/>
                  <a:pt x="3820" y="335"/>
                </a:cubicBezTo>
                <a:cubicBezTo>
                  <a:pt x="3820" y="353"/>
                  <a:pt x="3824" y="362"/>
                  <a:pt x="3833" y="362"/>
                </a:cubicBezTo>
                <a:cubicBezTo>
                  <a:pt x="3842" y="362"/>
                  <a:pt x="3847" y="353"/>
                  <a:pt x="3847" y="334"/>
                </a:cubicBezTo>
                <a:cubicBezTo>
                  <a:pt x="3847" y="314"/>
                  <a:pt x="3842" y="305"/>
                  <a:pt x="3834" y="305"/>
                </a:cubicBezTo>
                <a:close/>
                <a:moveTo>
                  <a:pt x="1978" y="394"/>
                </a:moveTo>
                <a:cubicBezTo>
                  <a:pt x="1978" y="394"/>
                  <a:pt x="1978" y="394"/>
                  <a:pt x="1978" y="394"/>
                </a:cubicBezTo>
                <a:cubicBezTo>
                  <a:pt x="1973" y="394"/>
                  <a:pt x="1973" y="394"/>
                  <a:pt x="1973" y="394"/>
                </a:cubicBezTo>
                <a:cubicBezTo>
                  <a:pt x="1971" y="395"/>
                  <a:pt x="1969" y="397"/>
                  <a:pt x="1967" y="398"/>
                </a:cubicBezTo>
                <a:cubicBezTo>
                  <a:pt x="1966" y="399"/>
                  <a:pt x="1964" y="400"/>
                  <a:pt x="1962" y="401"/>
                </a:cubicBezTo>
                <a:cubicBezTo>
                  <a:pt x="1960" y="402"/>
                  <a:pt x="1958" y="403"/>
                  <a:pt x="1957" y="403"/>
                </a:cubicBezTo>
                <a:cubicBezTo>
                  <a:pt x="1955" y="404"/>
                  <a:pt x="1953" y="405"/>
                  <a:pt x="1951" y="405"/>
                </a:cubicBezTo>
                <a:cubicBezTo>
                  <a:pt x="1951" y="405"/>
                  <a:pt x="1951" y="405"/>
                  <a:pt x="1951" y="415"/>
                </a:cubicBezTo>
                <a:cubicBezTo>
                  <a:pt x="1954" y="414"/>
                  <a:pt x="1957" y="414"/>
                  <a:pt x="1960" y="412"/>
                </a:cubicBezTo>
                <a:cubicBezTo>
                  <a:pt x="1962" y="411"/>
                  <a:pt x="1964" y="410"/>
                  <a:pt x="1966" y="409"/>
                </a:cubicBezTo>
                <a:cubicBezTo>
                  <a:pt x="1966" y="409"/>
                  <a:pt x="1966" y="409"/>
                  <a:pt x="1966" y="467"/>
                </a:cubicBezTo>
                <a:cubicBezTo>
                  <a:pt x="1966" y="467"/>
                  <a:pt x="1966" y="467"/>
                  <a:pt x="1978" y="467"/>
                </a:cubicBezTo>
                <a:cubicBezTo>
                  <a:pt x="1978" y="467"/>
                  <a:pt x="1978" y="467"/>
                  <a:pt x="1978" y="394"/>
                </a:cubicBezTo>
                <a:close/>
                <a:moveTo>
                  <a:pt x="2025" y="394"/>
                </a:moveTo>
                <a:cubicBezTo>
                  <a:pt x="2025" y="394"/>
                  <a:pt x="2025" y="394"/>
                  <a:pt x="2025" y="394"/>
                </a:cubicBezTo>
                <a:cubicBezTo>
                  <a:pt x="2020" y="394"/>
                  <a:pt x="2020" y="394"/>
                  <a:pt x="2020" y="394"/>
                </a:cubicBezTo>
                <a:cubicBezTo>
                  <a:pt x="2018" y="395"/>
                  <a:pt x="2017" y="397"/>
                  <a:pt x="2015" y="398"/>
                </a:cubicBezTo>
                <a:cubicBezTo>
                  <a:pt x="2013" y="399"/>
                  <a:pt x="2011" y="400"/>
                  <a:pt x="2009" y="401"/>
                </a:cubicBezTo>
                <a:cubicBezTo>
                  <a:pt x="2008" y="402"/>
                  <a:pt x="2006" y="403"/>
                  <a:pt x="2004" y="403"/>
                </a:cubicBezTo>
                <a:cubicBezTo>
                  <a:pt x="2002" y="404"/>
                  <a:pt x="2001" y="405"/>
                  <a:pt x="1999" y="405"/>
                </a:cubicBezTo>
                <a:cubicBezTo>
                  <a:pt x="1999" y="405"/>
                  <a:pt x="1999" y="405"/>
                  <a:pt x="1999" y="415"/>
                </a:cubicBezTo>
                <a:cubicBezTo>
                  <a:pt x="2001" y="414"/>
                  <a:pt x="2004" y="414"/>
                  <a:pt x="2007" y="412"/>
                </a:cubicBezTo>
                <a:cubicBezTo>
                  <a:pt x="2009" y="411"/>
                  <a:pt x="2012" y="410"/>
                  <a:pt x="2014" y="409"/>
                </a:cubicBezTo>
                <a:cubicBezTo>
                  <a:pt x="2014" y="409"/>
                  <a:pt x="2014" y="409"/>
                  <a:pt x="2014" y="467"/>
                </a:cubicBezTo>
                <a:cubicBezTo>
                  <a:pt x="2014" y="467"/>
                  <a:pt x="2014" y="467"/>
                  <a:pt x="2025" y="467"/>
                </a:cubicBezTo>
                <a:cubicBezTo>
                  <a:pt x="2025" y="467"/>
                  <a:pt x="2025" y="467"/>
                  <a:pt x="2025" y="394"/>
                </a:cubicBezTo>
                <a:close/>
                <a:moveTo>
                  <a:pt x="2072" y="394"/>
                </a:moveTo>
                <a:cubicBezTo>
                  <a:pt x="2072" y="394"/>
                  <a:pt x="2072" y="394"/>
                  <a:pt x="2072" y="394"/>
                </a:cubicBezTo>
                <a:cubicBezTo>
                  <a:pt x="2068" y="394"/>
                  <a:pt x="2068" y="394"/>
                  <a:pt x="2068" y="394"/>
                </a:cubicBezTo>
                <a:cubicBezTo>
                  <a:pt x="2066" y="395"/>
                  <a:pt x="2064" y="397"/>
                  <a:pt x="2062" y="398"/>
                </a:cubicBezTo>
                <a:cubicBezTo>
                  <a:pt x="2060" y="399"/>
                  <a:pt x="2058" y="400"/>
                  <a:pt x="2057" y="401"/>
                </a:cubicBezTo>
                <a:cubicBezTo>
                  <a:pt x="2055" y="401"/>
                  <a:pt x="2053" y="402"/>
                  <a:pt x="2051" y="403"/>
                </a:cubicBezTo>
                <a:cubicBezTo>
                  <a:pt x="2050" y="403"/>
                  <a:pt x="2048" y="404"/>
                  <a:pt x="2046" y="405"/>
                </a:cubicBezTo>
                <a:cubicBezTo>
                  <a:pt x="2046" y="405"/>
                  <a:pt x="2046" y="405"/>
                  <a:pt x="2046" y="415"/>
                </a:cubicBezTo>
                <a:cubicBezTo>
                  <a:pt x="2049" y="414"/>
                  <a:pt x="2052" y="413"/>
                  <a:pt x="2054" y="412"/>
                </a:cubicBezTo>
                <a:cubicBezTo>
                  <a:pt x="2056" y="411"/>
                  <a:pt x="2059" y="410"/>
                  <a:pt x="2060" y="409"/>
                </a:cubicBezTo>
                <a:cubicBezTo>
                  <a:pt x="2060" y="409"/>
                  <a:pt x="2060" y="409"/>
                  <a:pt x="2060" y="467"/>
                </a:cubicBezTo>
                <a:cubicBezTo>
                  <a:pt x="2060" y="467"/>
                  <a:pt x="2060" y="467"/>
                  <a:pt x="2072" y="467"/>
                </a:cubicBezTo>
                <a:cubicBezTo>
                  <a:pt x="2072" y="467"/>
                  <a:pt x="2072" y="467"/>
                  <a:pt x="2072" y="394"/>
                </a:cubicBezTo>
                <a:close/>
                <a:moveTo>
                  <a:pt x="2117" y="467"/>
                </a:moveTo>
                <a:cubicBezTo>
                  <a:pt x="2109" y="467"/>
                  <a:pt x="2103" y="464"/>
                  <a:pt x="2098" y="459"/>
                </a:cubicBezTo>
                <a:cubicBezTo>
                  <a:pt x="2095" y="452"/>
                  <a:pt x="2093" y="443"/>
                  <a:pt x="2093" y="431"/>
                </a:cubicBezTo>
                <a:cubicBezTo>
                  <a:pt x="2093" y="417"/>
                  <a:pt x="2095" y="408"/>
                  <a:pt x="2099" y="401"/>
                </a:cubicBezTo>
                <a:cubicBezTo>
                  <a:pt x="2104" y="395"/>
                  <a:pt x="2110" y="391"/>
                  <a:pt x="2119" y="391"/>
                </a:cubicBezTo>
                <a:cubicBezTo>
                  <a:pt x="2135" y="391"/>
                  <a:pt x="2143" y="404"/>
                  <a:pt x="2143" y="429"/>
                </a:cubicBezTo>
                <a:cubicBezTo>
                  <a:pt x="2143" y="442"/>
                  <a:pt x="2141" y="451"/>
                  <a:pt x="2136" y="458"/>
                </a:cubicBezTo>
                <a:cubicBezTo>
                  <a:pt x="2131" y="464"/>
                  <a:pt x="2125" y="467"/>
                  <a:pt x="2117" y="467"/>
                </a:cubicBezTo>
                <a:close/>
                <a:moveTo>
                  <a:pt x="2118" y="401"/>
                </a:moveTo>
                <a:cubicBezTo>
                  <a:pt x="2109" y="401"/>
                  <a:pt x="2104" y="411"/>
                  <a:pt x="2104" y="431"/>
                </a:cubicBezTo>
                <a:cubicBezTo>
                  <a:pt x="2104" y="449"/>
                  <a:pt x="2109" y="458"/>
                  <a:pt x="2117" y="458"/>
                </a:cubicBezTo>
                <a:cubicBezTo>
                  <a:pt x="2126" y="458"/>
                  <a:pt x="2131" y="449"/>
                  <a:pt x="2131" y="430"/>
                </a:cubicBezTo>
                <a:cubicBezTo>
                  <a:pt x="2131" y="410"/>
                  <a:pt x="2126" y="401"/>
                  <a:pt x="2118" y="401"/>
                </a:cubicBezTo>
                <a:close/>
                <a:moveTo>
                  <a:pt x="2188" y="467"/>
                </a:moveTo>
                <a:cubicBezTo>
                  <a:pt x="2180" y="467"/>
                  <a:pt x="2174" y="464"/>
                  <a:pt x="2170" y="459"/>
                </a:cubicBezTo>
                <a:cubicBezTo>
                  <a:pt x="2166" y="452"/>
                  <a:pt x="2164" y="443"/>
                  <a:pt x="2164" y="431"/>
                </a:cubicBezTo>
                <a:cubicBezTo>
                  <a:pt x="2164" y="417"/>
                  <a:pt x="2166" y="408"/>
                  <a:pt x="2170" y="401"/>
                </a:cubicBezTo>
                <a:cubicBezTo>
                  <a:pt x="2175" y="395"/>
                  <a:pt x="2181" y="391"/>
                  <a:pt x="2190" y="391"/>
                </a:cubicBezTo>
                <a:cubicBezTo>
                  <a:pt x="2206" y="391"/>
                  <a:pt x="2214" y="404"/>
                  <a:pt x="2214" y="429"/>
                </a:cubicBezTo>
                <a:cubicBezTo>
                  <a:pt x="2214" y="442"/>
                  <a:pt x="2212" y="451"/>
                  <a:pt x="2208" y="458"/>
                </a:cubicBezTo>
                <a:cubicBezTo>
                  <a:pt x="2202" y="464"/>
                  <a:pt x="2197" y="467"/>
                  <a:pt x="2188" y="467"/>
                </a:cubicBezTo>
                <a:close/>
                <a:moveTo>
                  <a:pt x="2189" y="401"/>
                </a:moveTo>
                <a:cubicBezTo>
                  <a:pt x="2180" y="401"/>
                  <a:pt x="2175" y="411"/>
                  <a:pt x="2175" y="431"/>
                </a:cubicBezTo>
                <a:cubicBezTo>
                  <a:pt x="2175" y="449"/>
                  <a:pt x="2180" y="458"/>
                  <a:pt x="2189" y="458"/>
                </a:cubicBezTo>
                <a:cubicBezTo>
                  <a:pt x="2197" y="458"/>
                  <a:pt x="2202" y="449"/>
                  <a:pt x="2202" y="430"/>
                </a:cubicBezTo>
                <a:cubicBezTo>
                  <a:pt x="2202" y="410"/>
                  <a:pt x="2197" y="401"/>
                  <a:pt x="2189" y="401"/>
                </a:cubicBezTo>
                <a:close/>
                <a:moveTo>
                  <a:pt x="2400" y="467"/>
                </a:moveTo>
                <a:cubicBezTo>
                  <a:pt x="2393" y="467"/>
                  <a:pt x="2387" y="464"/>
                  <a:pt x="2383" y="458"/>
                </a:cubicBezTo>
                <a:cubicBezTo>
                  <a:pt x="2379" y="452"/>
                  <a:pt x="2376" y="442"/>
                  <a:pt x="2376" y="431"/>
                </a:cubicBezTo>
                <a:cubicBezTo>
                  <a:pt x="2376" y="417"/>
                  <a:pt x="2379" y="408"/>
                  <a:pt x="2383" y="401"/>
                </a:cubicBezTo>
                <a:cubicBezTo>
                  <a:pt x="2387" y="394"/>
                  <a:pt x="2394" y="391"/>
                  <a:pt x="2403" y="391"/>
                </a:cubicBezTo>
                <a:cubicBezTo>
                  <a:pt x="2419" y="391"/>
                  <a:pt x="2427" y="404"/>
                  <a:pt x="2427" y="429"/>
                </a:cubicBezTo>
                <a:cubicBezTo>
                  <a:pt x="2427" y="442"/>
                  <a:pt x="2425" y="451"/>
                  <a:pt x="2420" y="458"/>
                </a:cubicBezTo>
                <a:cubicBezTo>
                  <a:pt x="2415" y="464"/>
                  <a:pt x="2409" y="467"/>
                  <a:pt x="2400" y="467"/>
                </a:cubicBezTo>
                <a:close/>
                <a:moveTo>
                  <a:pt x="2402" y="401"/>
                </a:moveTo>
                <a:cubicBezTo>
                  <a:pt x="2393" y="401"/>
                  <a:pt x="2389" y="410"/>
                  <a:pt x="2389" y="430"/>
                </a:cubicBezTo>
                <a:cubicBezTo>
                  <a:pt x="2389" y="448"/>
                  <a:pt x="2393" y="458"/>
                  <a:pt x="2402" y="458"/>
                </a:cubicBezTo>
                <a:cubicBezTo>
                  <a:pt x="2410" y="458"/>
                  <a:pt x="2414" y="448"/>
                  <a:pt x="2414" y="430"/>
                </a:cubicBezTo>
                <a:cubicBezTo>
                  <a:pt x="2414" y="410"/>
                  <a:pt x="2411" y="401"/>
                  <a:pt x="2402" y="401"/>
                </a:cubicBezTo>
                <a:close/>
                <a:moveTo>
                  <a:pt x="2519" y="467"/>
                </a:moveTo>
                <a:cubicBezTo>
                  <a:pt x="2511" y="467"/>
                  <a:pt x="2505" y="464"/>
                  <a:pt x="2501" y="458"/>
                </a:cubicBezTo>
                <a:cubicBezTo>
                  <a:pt x="2497" y="452"/>
                  <a:pt x="2494" y="442"/>
                  <a:pt x="2494" y="431"/>
                </a:cubicBezTo>
                <a:cubicBezTo>
                  <a:pt x="2494" y="417"/>
                  <a:pt x="2497" y="408"/>
                  <a:pt x="2501" y="401"/>
                </a:cubicBezTo>
                <a:cubicBezTo>
                  <a:pt x="2505" y="394"/>
                  <a:pt x="2512" y="391"/>
                  <a:pt x="2521" y="391"/>
                </a:cubicBezTo>
                <a:cubicBezTo>
                  <a:pt x="2537" y="391"/>
                  <a:pt x="2545" y="404"/>
                  <a:pt x="2545" y="429"/>
                </a:cubicBezTo>
                <a:cubicBezTo>
                  <a:pt x="2545" y="442"/>
                  <a:pt x="2543" y="451"/>
                  <a:pt x="2538" y="458"/>
                </a:cubicBezTo>
                <a:cubicBezTo>
                  <a:pt x="2533" y="464"/>
                  <a:pt x="2527" y="467"/>
                  <a:pt x="2519" y="467"/>
                </a:cubicBezTo>
                <a:close/>
                <a:moveTo>
                  <a:pt x="2520" y="401"/>
                </a:moveTo>
                <a:cubicBezTo>
                  <a:pt x="2511" y="401"/>
                  <a:pt x="2507" y="410"/>
                  <a:pt x="2507" y="430"/>
                </a:cubicBezTo>
                <a:cubicBezTo>
                  <a:pt x="2507" y="448"/>
                  <a:pt x="2511" y="458"/>
                  <a:pt x="2520" y="458"/>
                </a:cubicBezTo>
                <a:cubicBezTo>
                  <a:pt x="2528" y="458"/>
                  <a:pt x="2532" y="448"/>
                  <a:pt x="2532" y="430"/>
                </a:cubicBezTo>
                <a:cubicBezTo>
                  <a:pt x="2532" y="410"/>
                  <a:pt x="2529" y="401"/>
                  <a:pt x="2520" y="401"/>
                </a:cubicBezTo>
                <a:close/>
                <a:moveTo>
                  <a:pt x="2474" y="394"/>
                </a:moveTo>
                <a:cubicBezTo>
                  <a:pt x="2474" y="394"/>
                  <a:pt x="2474" y="394"/>
                  <a:pt x="2474" y="394"/>
                </a:cubicBezTo>
                <a:cubicBezTo>
                  <a:pt x="2469" y="394"/>
                  <a:pt x="2469" y="394"/>
                  <a:pt x="2469" y="394"/>
                </a:cubicBezTo>
                <a:cubicBezTo>
                  <a:pt x="2467" y="395"/>
                  <a:pt x="2465" y="397"/>
                  <a:pt x="2463" y="398"/>
                </a:cubicBezTo>
                <a:cubicBezTo>
                  <a:pt x="2462" y="399"/>
                  <a:pt x="2460" y="400"/>
                  <a:pt x="2458" y="401"/>
                </a:cubicBezTo>
                <a:cubicBezTo>
                  <a:pt x="2457" y="401"/>
                  <a:pt x="2455" y="402"/>
                  <a:pt x="2453" y="403"/>
                </a:cubicBezTo>
                <a:cubicBezTo>
                  <a:pt x="2451" y="403"/>
                  <a:pt x="2450" y="404"/>
                  <a:pt x="2447" y="405"/>
                </a:cubicBezTo>
                <a:cubicBezTo>
                  <a:pt x="2447" y="405"/>
                  <a:pt x="2447" y="405"/>
                  <a:pt x="2447" y="415"/>
                </a:cubicBezTo>
                <a:cubicBezTo>
                  <a:pt x="2450" y="414"/>
                  <a:pt x="2453" y="413"/>
                  <a:pt x="2455" y="412"/>
                </a:cubicBezTo>
                <a:cubicBezTo>
                  <a:pt x="2458" y="411"/>
                  <a:pt x="2460" y="410"/>
                  <a:pt x="2462" y="409"/>
                </a:cubicBezTo>
                <a:cubicBezTo>
                  <a:pt x="2462" y="409"/>
                  <a:pt x="2462" y="409"/>
                  <a:pt x="2462" y="467"/>
                </a:cubicBezTo>
                <a:cubicBezTo>
                  <a:pt x="2462" y="467"/>
                  <a:pt x="2462" y="467"/>
                  <a:pt x="2474" y="467"/>
                </a:cubicBezTo>
                <a:cubicBezTo>
                  <a:pt x="2474" y="467"/>
                  <a:pt x="2474" y="467"/>
                  <a:pt x="2474" y="394"/>
                </a:cubicBezTo>
                <a:close/>
                <a:moveTo>
                  <a:pt x="2590" y="467"/>
                </a:moveTo>
                <a:cubicBezTo>
                  <a:pt x="2582" y="467"/>
                  <a:pt x="2576" y="464"/>
                  <a:pt x="2572" y="459"/>
                </a:cubicBezTo>
                <a:cubicBezTo>
                  <a:pt x="2568" y="452"/>
                  <a:pt x="2565" y="443"/>
                  <a:pt x="2565" y="431"/>
                </a:cubicBezTo>
                <a:cubicBezTo>
                  <a:pt x="2565" y="417"/>
                  <a:pt x="2568" y="408"/>
                  <a:pt x="2572" y="401"/>
                </a:cubicBezTo>
                <a:cubicBezTo>
                  <a:pt x="2576" y="395"/>
                  <a:pt x="2583" y="391"/>
                  <a:pt x="2592" y="391"/>
                </a:cubicBezTo>
                <a:cubicBezTo>
                  <a:pt x="2608" y="391"/>
                  <a:pt x="2616" y="404"/>
                  <a:pt x="2616" y="429"/>
                </a:cubicBezTo>
                <a:cubicBezTo>
                  <a:pt x="2616" y="442"/>
                  <a:pt x="2614" y="451"/>
                  <a:pt x="2609" y="458"/>
                </a:cubicBezTo>
                <a:cubicBezTo>
                  <a:pt x="2604" y="464"/>
                  <a:pt x="2598" y="467"/>
                  <a:pt x="2590" y="467"/>
                </a:cubicBezTo>
                <a:close/>
                <a:moveTo>
                  <a:pt x="2591" y="401"/>
                </a:moveTo>
                <a:cubicBezTo>
                  <a:pt x="2582" y="401"/>
                  <a:pt x="2577" y="411"/>
                  <a:pt x="2577" y="431"/>
                </a:cubicBezTo>
                <a:cubicBezTo>
                  <a:pt x="2577" y="449"/>
                  <a:pt x="2582" y="458"/>
                  <a:pt x="2590" y="458"/>
                </a:cubicBezTo>
                <a:cubicBezTo>
                  <a:pt x="2599" y="458"/>
                  <a:pt x="2603" y="449"/>
                  <a:pt x="2603" y="430"/>
                </a:cubicBezTo>
                <a:cubicBezTo>
                  <a:pt x="2603" y="410"/>
                  <a:pt x="2599" y="401"/>
                  <a:pt x="2591" y="401"/>
                </a:cubicBezTo>
                <a:close/>
                <a:moveTo>
                  <a:pt x="2637" y="426"/>
                </a:moveTo>
                <a:cubicBezTo>
                  <a:pt x="2637" y="426"/>
                  <a:pt x="2637" y="426"/>
                  <a:pt x="2637" y="426"/>
                </a:cubicBezTo>
                <a:cubicBezTo>
                  <a:pt x="2636" y="435"/>
                  <a:pt x="2636" y="435"/>
                  <a:pt x="2636" y="435"/>
                </a:cubicBezTo>
                <a:cubicBezTo>
                  <a:pt x="2643" y="435"/>
                  <a:pt x="2644" y="438"/>
                  <a:pt x="2644" y="440"/>
                </a:cubicBezTo>
                <a:cubicBezTo>
                  <a:pt x="2644" y="443"/>
                  <a:pt x="2643" y="445"/>
                  <a:pt x="2643" y="448"/>
                </a:cubicBezTo>
                <a:cubicBezTo>
                  <a:pt x="2643" y="450"/>
                  <a:pt x="2642" y="452"/>
                  <a:pt x="2642" y="455"/>
                </a:cubicBezTo>
                <a:cubicBezTo>
                  <a:pt x="2642" y="464"/>
                  <a:pt x="2648" y="467"/>
                  <a:pt x="2657" y="467"/>
                </a:cubicBezTo>
                <a:cubicBezTo>
                  <a:pt x="2657" y="467"/>
                  <a:pt x="2657" y="467"/>
                  <a:pt x="2660" y="467"/>
                </a:cubicBezTo>
                <a:cubicBezTo>
                  <a:pt x="2660" y="467"/>
                  <a:pt x="2660" y="467"/>
                  <a:pt x="2660" y="458"/>
                </a:cubicBezTo>
                <a:cubicBezTo>
                  <a:pt x="2660" y="458"/>
                  <a:pt x="2660" y="458"/>
                  <a:pt x="2659" y="458"/>
                </a:cubicBezTo>
                <a:cubicBezTo>
                  <a:pt x="2655" y="458"/>
                  <a:pt x="2654" y="456"/>
                  <a:pt x="2654" y="452"/>
                </a:cubicBezTo>
                <a:cubicBezTo>
                  <a:pt x="2654" y="451"/>
                  <a:pt x="2654" y="449"/>
                  <a:pt x="2655" y="448"/>
                </a:cubicBezTo>
                <a:cubicBezTo>
                  <a:pt x="2655" y="446"/>
                  <a:pt x="2655" y="444"/>
                  <a:pt x="2655" y="442"/>
                </a:cubicBezTo>
                <a:cubicBezTo>
                  <a:pt x="2655" y="434"/>
                  <a:pt x="2652" y="432"/>
                  <a:pt x="2646" y="430"/>
                </a:cubicBezTo>
                <a:cubicBezTo>
                  <a:pt x="2646" y="430"/>
                  <a:pt x="2646" y="430"/>
                  <a:pt x="2646" y="430"/>
                </a:cubicBezTo>
                <a:cubicBezTo>
                  <a:pt x="2652" y="429"/>
                  <a:pt x="2655" y="427"/>
                  <a:pt x="2655" y="419"/>
                </a:cubicBezTo>
                <a:cubicBezTo>
                  <a:pt x="2655" y="417"/>
                  <a:pt x="2655" y="415"/>
                  <a:pt x="2655" y="413"/>
                </a:cubicBezTo>
                <a:cubicBezTo>
                  <a:pt x="2654" y="411"/>
                  <a:pt x="2654" y="409"/>
                  <a:pt x="2654" y="408"/>
                </a:cubicBezTo>
                <a:cubicBezTo>
                  <a:pt x="2654" y="405"/>
                  <a:pt x="2655" y="402"/>
                  <a:pt x="2659" y="402"/>
                </a:cubicBezTo>
                <a:cubicBezTo>
                  <a:pt x="2659" y="402"/>
                  <a:pt x="2659" y="402"/>
                  <a:pt x="2660" y="402"/>
                </a:cubicBezTo>
                <a:cubicBezTo>
                  <a:pt x="2660" y="402"/>
                  <a:pt x="2660" y="402"/>
                  <a:pt x="2660" y="393"/>
                </a:cubicBezTo>
                <a:cubicBezTo>
                  <a:pt x="2660" y="393"/>
                  <a:pt x="2660" y="393"/>
                  <a:pt x="2657" y="393"/>
                </a:cubicBezTo>
                <a:cubicBezTo>
                  <a:pt x="2648" y="393"/>
                  <a:pt x="2642" y="397"/>
                  <a:pt x="2642" y="406"/>
                </a:cubicBezTo>
                <a:cubicBezTo>
                  <a:pt x="2642" y="408"/>
                  <a:pt x="2643" y="411"/>
                  <a:pt x="2643" y="413"/>
                </a:cubicBezTo>
                <a:cubicBezTo>
                  <a:pt x="2643" y="415"/>
                  <a:pt x="2644" y="418"/>
                  <a:pt x="2644" y="420"/>
                </a:cubicBezTo>
                <a:cubicBezTo>
                  <a:pt x="2644" y="423"/>
                  <a:pt x="2643" y="426"/>
                  <a:pt x="2637" y="426"/>
                </a:cubicBezTo>
                <a:close/>
                <a:moveTo>
                  <a:pt x="2692" y="435"/>
                </a:moveTo>
                <a:cubicBezTo>
                  <a:pt x="2692" y="435"/>
                  <a:pt x="2692" y="435"/>
                  <a:pt x="2692" y="435"/>
                </a:cubicBezTo>
                <a:cubicBezTo>
                  <a:pt x="2692" y="426"/>
                  <a:pt x="2692" y="426"/>
                  <a:pt x="2692" y="426"/>
                </a:cubicBezTo>
                <a:cubicBezTo>
                  <a:pt x="2685" y="426"/>
                  <a:pt x="2685" y="423"/>
                  <a:pt x="2685" y="420"/>
                </a:cubicBezTo>
                <a:cubicBezTo>
                  <a:pt x="2685" y="418"/>
                  <a:pt x="2685" y="415"/>
                  <a:pt x="2685" y="413"/>
                </a:cubicBezTo>
                <a:cubicBezTo>
                  <a:pt x="2686" y="411"/>
                  <a:pt x="2686" y="408"/>
                  <a:pt x="2686" y="406"/>
                </a:cubicBezTo>
                <a:cubicBezTo>
                  <a:pt x="2686" y="397"/>
                  <a:pt x="2681" y="393"/>
                  <a:pt x="2671" y="393"/>
                </a:cubicBezTo>
                <a:cubicBezTo>
                  <a:pt x="2671" y="393"/>
                  <a:pt x="2671" y="393"/>
                  <a:pt x="2668" y="393"/>
                </a:cubicBezTo>
                <a:cubicBezTo>
                  <a:pt x="2668" y="393"/>
                  <a:pt x="2668" y="393"/>
                  <a:pt x="2668" y="402"/>
                </a:cubicBezTo>
                <a:cubicBezTo>
                  <a:pt x="2668" y="402"/>
                  <a:pt x="2668" y="402"/>
                  <a:pt x="2669" y="402"/>
                </a:cubicBezTo>
                <a:cubicBezTo>
                  <a:pt x="2673" y="402"/>
                  <a:pt x="2674" y="405"/>
                  <a:pt x="2674" y="408"/>
                </a:cubicBezTo>
                <a:cubicBezTo>
                  <a:pt x="2674" y="409"/>
                  <a:pt x="2674" y="411"/>
                  <a:pt x="2674" y="413"/>
                </a:cubicBezTo>
                <a:cubicBezTo>
                  <a:pt x="2674" y="415"/>
                  <a:pt x="2674" y="417"/>
                  <a:pt x="2674" y="419"/>
                </a:cubicBezTo>
                <a:cubicBezTo>
                  <a:pt x="2674" y="427"/>
                  <a:pt x="2676" y="429"/>
                  <a:pt x="2682" y="430"/>
                </a:cubicBezTo>
                <a:cubicBezTo>
                  <a:pt x="2682" y="430"/>
                  <a:pt x="2682" y="430"/>
                  <a:pt x="2682" y="430"/>
                </a:cubicBezTo>
                <a:cubicBezTo>
                  <a:pt x="2676" y="432"/>
                  <a:pt x="2674" y="434"/>
                  <a:pt x="2674" y="442"/>
                </a:cubicBezTo>
                <a:cubicBezTo>
                  <a:pt x="2674" y="444"/>
                  <a:pt x="2674" y="446"/>
                  <a:pt x="2674" y="448"/>
                </a:cubicBezTo>
                <a:cubicBezTo>
                  <a:pt x="2674" y="449"/>
                  <a:pt x="2674" y="451"/>
                  <a:pt x="2674" y="452"/>
                </a:cubicBezTo>
                <a:cubicBezTo>
                  <a:pt x="2674" y="456"/>
                  <a:pt x="2673" y="458"/>
                  <a:pt x="2669" y="458"/>
                </a:cubicBezTo>
                <a:cubicBezTo>
                  <a:pt x="2669" y="458"/>
                  <a:pt x="2669" y="458"/>
                  <a:pt x="2668" y="458"/>
                </a:cubicBezTo>
                <a:cubicBezTo>
                  <a:pt x="2668" y="458"/>
                  <a:pt x="2668" y="458"/>
                  <a:pt x="2668" y="467"/>
                </a:cubicBezTo>
                <a:cubicBezTo>
                  <a:pt x="2668" y="467"/>
                  <a:pt x="2668" y="467"/>
                  <a:pt x="2671" y="467"/>
                </a:cubicBezTo>
                <a:cubicBezTo>
                  <a:pt x="2680" y="467"/>
                  <a:pt x="2686" y="464"/>
                  <a:pt x="2686" y="455"/>
                </a:cubicBezTo>
                <a:cubicBezTo>
                  <a:pt x="2686" y="452"/>
                  <a:pt x="2686" y="450"/>
                  <a:pt x="2685" y="448"/>
                </a:cubicBezTo>
                <a:cubicBezTo>
                  <a:pt x="2685" y="445"/>
                  <a:pt x="2685" y="443"/>
                  <a:pt x="2685" y="440"/>
                </a:cubicBezTo>
                <a:cubicBezTo>
                  <a:pt x="2685" y="438"/>
                  <a:pt x="2685" y="435"/>
                  <a:pt x="2692" y="435"/>
                </a:cubicBezTo>
                <a:close/>
                <a:moveTo>
                  <a:pt x="2812" y="467"/>
                </a:moveTo>
                <a:cubicBezTo>
                  <a:pt x="2804" y="467"/>
                  <a:pt x="2798" y="464"/>
                  <a:pt x="2794" y="459"/>
                </a:cubicBezTo>
                <a:cubicBezTo>
                  <a:pt x="2790" y="452"/>
                  <a:pt x="2788" y="443"/>
                  <a:pt x="2788" y="431"/>
                </a:cubicBezTo>
                <a:cubicBezTo>
                  <a:pt x="2788" y="417"/>
                  <a:pt x="2790" y="408"/>
                  <a:pt x="2794" y="401"/>
                </a:cubicBezTo>
                <a:cubicBezTo>
                  <a:pt x="2799" y="395"/>
                  <a:pt x="2805" y="391"/>
                  <a:pt x="2814" y="391"/>
                </a:cubicBezTo>
                <a:cubicBezTo>
                  <a:pt x="2830" y="391"/>
                  <a:pt x="2838" y="404"/>
                  <a:pt x="2838" y="429"/>
                </a:cubicBezTo>
                <a:cubicBezTo>
                  <a:pt x="2838" y="442"/>
                  <a:pt x="2836" y="451"/>
                  <a:pt x="2831" y="458"/>
                </a:cubicBezTo>
                <a:cubicBezTo>
                  <a:pt x="2826" y="464"/>
                  <a:pt x="2820" y="467"/>
                  <a:pt x="2812" y="467"/>
                </a:cubicBezTo>
                <a:close/>
                <a:moveTo>
                  <a:pt x="2813" y="401"/>
                </a:moveTo>
                <a:cubicBezTo>
                  <a:pt x="2804" y="401"/>
                  <a:pt x="2799" y="411"/>
                  <a:pt x="2799" y="431"/>
                </a:cubicBezTo>
                <a:cubicBezTo>
                  <a:pt x="2799" y="449"/>
                  <a:pt x="2804" y="458"/>
                  <a:pt x="2813" y="458"/>
                </a:cubicBezTo>
                <a:cubicBezTo>
                  <a:pt x="2821" y="458"/>
                  <a:pt x="2826" y="449"/>
                  <a:pt x="2826" y="430"/>
                </a:cubicBezTo>
                <a:cubicBezTo>
                  <a:pt x="2826" y="410"/>
                  <a:pt x="2821" y="401"/>
                  <a:pt x="2813" y="401"/>
                </a:cubicBezTo>
                <a:close/>
                <a:moveTo>
                  <a:pt x="2886" y="394"/>
                </a:moveTo>
                <a:cubicBezTo>
                  <a:pt x="2886" y="394"/>
                  <a:pt x="2886" y="394"/>
                  <a:pt x="2886" y="394"/>
                </a:cubicBezTo>
                <a:cubicBezTo>
                  <a:pt x="2881" y="394"/>
                  <a:pt x="2881" y="394"/>
                  <a:pt x="2881" y="394"/>
                </a:cubicBezTo>
                <a:cubicBezTo>
                  <a:pt x="2879" y="395"/>
                  <a:pt x="2877" y="397"/>
                  <a:pt x="2875" y="398"/>
                </a:cubicBezTo>
                <a:cubicBezTo>
                  <a:pt x="2874" y="399"/>
                  <a:pt x="2871" y="400"/>
                  <a:pt x="2870" y="401"/>
                </a:cubicBezTo>
                <a:cubicBezTo>
                  <a:pt x="2868" y="401"/>
                  <a:pt x="2866" y="402"/>
                  <a:pt x="2865" y="403"/>
                </a:cubicBezTo>
                <a:cubicBezTo>
                  <a:pt x="2862" y="403"/>
                  <a:pt x="2861" y="404"/>
                  <a:pt x="2859" y="405"/>
                </a:cubicBezTo>
                <a:cubicBezTo>
                  <a:pt x="2859" y="405"/>
                  <a:pt x="2859" y="405"/>
                  <a:pt x="2859" y="415"/>
                </a:cubicBezTo>
                <a:cubicBezTo>
                  <a:pt x="2862" y="414"/>
                  <a:pt x="2865" y="413"/>
                  <a:pt x="2867" y="412"/>
                </a:cubicBezTo>
                <a:cubicBezTo>
                  <a:pt x="2870" y="411"/>
                  <a:pt x="2872" y="410"/>
                  <a:pt x="2874" y="409"/>
                </a:cubicBezTo>
                <a:cubicBezTo>
                  <a:pt x="2874" y="409"/>
                  <a:pt x="2874" y="409"/>
                  <a:pt x="2874" y="467"/>
                </a:cubicBezTo>
                <a:cubicBezTo>
                  <a:pt x="2874" y="467"/>
                  <a:pt x="2874" y="467"/>
                  <a:pt x="2886" y="467"/>
                </a:cubicBezTo>
                <a:cubicBezTo>
                  <a:pt x="2886" y="467"/>
                  <a:pt x="2886" y="467"/>
                  <a:pt x="2886" y="394"/>
                </a:cubicBezTo>
                <a:close/>
                <a:moveTo>
                  <a:pt x="2718" y="467"/>
                </a:moveTo>
                <a:cubicBezTo>
                  <a:pt x="2721" y="448"/>
                  <a:pt x="2721" y="448"/>
                  <a:pt x="2721" y="448"/>
                </a:cubicBezTo>
                <a:cubicBezTo>
                  <a:pt x="2712" y="448"/>
                  <a:pt x="2712" y="448"/>
                  <a:pt x="2712" y="448"/>
                </a:cubicBezTo>
                <a:cubicBezTo>
                  <a:pt x="2712" y="436"/>
                  <a:pt x="2712" y="436"/>
                  <a:pt x="2712" y="436"/>
                </a:cubicBezTo>
                <a:cubicBezTo>
                  <a:pt x="2723" y="436"/>
                  <a:pt x="2723" y="436"/>
                  <a:pt x="2723" y="436"/>
                </a:cubicBezTo>
                <a:cubicBezTo>
                  <a:pt x="2725" y="425"/>
                  <a:pt x="2725" y="425"/>
                  <a:pt x="2725" y="425"/>
                </a:cubicBezTo>
                <a:cubicBezTo>
                  <a:pt x="2715" y="425"/>
                  <a:pt x="2715" y="425"/>
                  <a:pt x="2715" y="425"/>
                </a:cubicBezTo>
                <a:cubicBezTo>
                  <a:pt x="2715" y="413"/>
                  <a:pt x="2715" y="413"/>
                  <a:pt x="2715" y="413"/>
                </a:cubicBezTo>
                <a:cubicBezTo>
                  <a:pt x="2726" y="413"/>
                  <a:pt x="2726" y="413"/>
                  <a:pt x="2726" y="413"/>
                </a:cubicBezTo>
                <a:cubicBezTo>
                  <a:pt x="2729" y="395"/>
                  <a:pt x="2729" y="395"/>
                  <a:pt x="2729" y="395"/>
                </a:cubicBezTo>
                <a:cubicBezTo>
                  <a:pt x="2740" y="395"/>
                  <a:pt x="2740" y="395"/>
                  <a:pt x="2740" y="395"/>
                </a:cubicBezTo>
                <a:cubicBezTo>
                  <a:pt x="2737" y="413"/>
                  <a:pt x="2737" y="413"/>
                  <a:pt x="2737" y="413"/>
                </a:cubicBezTo>
                <a:cubicBezTo>
                  <a:pt x="2747" y="413"/>
                  <a:pt x="2747" y="413"/>
                  <a:pt x="2747" y="413"/>
                </a:cubicBezTo>
                <a:cubicBezTo>
                  <a:pt x="2750" y="395"/>
                  <a:pt x="2750" y="395"/>
                  <a:pt x="2750" y="395"/>
                </a:cubicBezTo>
                <a:cubicBezTo>
                  <a:pt x="2761" y="395"/>
                  <a:pt x="2761" y="395"/>
                  <a:pt x="2761" y="395"/>
                </a:cubicBezTo>
                <a:cubicBezTo>
                  <a:pt x="2758" y="413"/>
                  <a:pt x="2758" y="413"/>
                  <a:pt x="2758" y="413"/>
                </a:cubicBezTo>
                <a:cubicBezTo>
                  <a:pt x="2767" y="413"/>
                  <a:pt x="2767" y="413"/>
                  <a:pt x="2767" y="413"/>
                </a:cubicBezTo>
                <a:cubicBezTo>
                  <a:pt x="2767" y="425"/>
                  <a:pt x="2767" y="425"/>
                  <a:pt x="2767" y="425"/>
                </a:cubicBezTo>
                <a:cubicBezTo>
                  <a:pt x="2756" y="425"/>
                  <a:pt x="2756" y="425"/>
                  <a:pt x="2756" y="425"/>
                </a:cubicBezTo>
                <a:cubicBezTo>
                  <a:pt x="2755" y="436"/>
                  <a:pt x="2755" y="436"/>
                  <a:pt x="2755" y="436"/>
                </a:cubicBezTo>
                <a:cubicBezTo>
                  <a:pt x="2764" y="436"/>
                  <a:pt x="2764" y="436"/>
                  <a:pt x="2764" y="436"/>
                </a:cubicBezTo>
                <a:cubicBezTo>
                  <a:pt x="2764" y="448"/>
                  <a:pt x="2764" y="448"/>
                  <a:pt x="2764" y="448"/>
                </a:cubicBezTo>
                <a:cubicBezTo>
                  <a:pt x="2753" y="448"/>
                  <a:pt x="2753" y="448"/>
                  <a:pt x="2753" y="448"/>
                </a:cubicBezTo>
                <a:cubicBezTo>
                  <a:pt x="2750" y="467"/>
                  <a:pt x="2750" y="467"/>
                  <a:pt x="2750" y="467"/>
                </a:cubicBezTo>
                <a:cubicBezTo>
                  <a:pt x="2739" y="467"/>
                  <a:pt x="2739" y="467"/>
                  <a:pt x="2739" y="467"/>
                </a:cubicBezTo>
                <a:cubicBezTo>
                  <a:pt x="2742" y="448"/>
                  <a:pt x="2742" y="448"/>
                  <a:pt x="2742" y="448"/>
                </a:cubicBezTo>
                <a:cubicBezTo>
                  <a:pt x="2732" y="448"/>
                  <a:pt x="2732" y="448"/>
                  <a:pt x="2732" y="448"/>
                </a:cubicBezTo>
                <a:cubicBezTo>
                  <a:pt x="2729" y="467"/>
                  <a:pt x="2729" y="467"/>
                  <a:pt x="2729" y="467"/>
                </a:cubicBezTo>
                <a:cubicBezTo>
                  <a:pt x="2718" y="467"/>
                  <a:pt x="2718" y="467"/>
                  <a:pt x="2718" y="467"/>
                </a:cubicBezTo>
                <a:cubicBezTo>
                  <a:pt x="2718" y="467"/>
                  <a:pt x="2718" y="467"/>
                  <a:pt x="2718" y="467"/>
                </a:cubicBezTo>
                <a:close/>
                <a:moveTo>
                  <a:pt x="2744" y="436"/>
                </a:moveTo>
                <a:cubicBezTo>
                  <a:pt x="2745" y="425"/>
                  <a:pt x="2745" y="425"/>
                  <a:pt x="2745" y="425"/>
                </a:cubicBezTo>
                <a:cubicBezTo>
                  <a:pt x="2736" y="425"/>
                  <a:pt x="2736" y="425"/>
                  <a:pt x="2736" y="425"/>
                </a:cubicBezTo>
                <a:cubicBezTo>
                  <a:pt x="2734" y="436"/>
                  <a:pt x="2734" y="436"/>
                  <a:pt x="2734" y="436"/>
                </a:cubicBezTo>
                <a:cubicBezTo>
                  <a:pt x="2744" y="436"/>
                  <a:pt x="2744" y="436"/>
                  <a:pt x="2744" y="436"/>
                </a:cubicBezTo>
                <a:cubicBezTo>
                  <a:pt x="2744" y="436"/>
                  <a:pt x="2744" y="436"/>
                  <a:pt x="2744" y="436"/>
                </a:cubicBezTo>
                <a:close/>
                <a:moveTo>
                  <a:pt x="2262" y="394"/>
                </a:moveTo>
                <a:cubicBezTo>
                  <a:pt x="2262" y="394"/>
                  <a:pt x="2262" y="394"/>
                  <a:pt x="2262" y="394"/>
                </a:cubicBezTo>
                <a:cubicBezTo>
                  <a:pt x="2257" y="394"/>
                  <a:pt x="2257" y="394"/>
                  <a:pt x="2257" y="394"/>
                </a:cubicBezTo>
                <a:cubicBezTo>
                  <a:pt x="2254" y="395"/>
                  <a:pt x="2253" y="397"/>
                  <a:pt x="2251" y="398"/>
                </a:cubicBezTo>
                <a:cubicBezTo>
                  <a:pt x="2249" y="399"/>
                  <a:pt x="2248" y="400"/>
                  <a:pt x="2246" y="401"/>
                </a:cubicBezTo>
                <a:cubicBezTo>
                  <a:pt x="2244" y="402"/>
                  <a:pt x="2242" y="403"/>
                  <a:pt x="2241" y="403"/>
                </a:cubicBezTo>
                <a:cubicBezTo>
                  <a:pt x="2238" y="404"/>
                  <a:pt x="2237" y="405"/>
                  <a:pt x="2235" y="405"/>
                </a:cubicBezTo>
                <a:cubicBezTo>
                  <a:pt x="2235" y="405"/>
                  <a:pt x="2235" y="405"/>
                  <a:pt x="2235" y="415"/>
                </a:cubicBezTo>
                <a:cubicBezTo>
                  <a:pt x="2238" y="414"/>
                  <a:pt x="2241" y="414"/>
                  <a:pt x="2243" y="412"/>
                </a:cubicBezTo>
                <a:cubicBezTo>
                  <a:pt x="2246" y="411"/>
                  <a:pt x="2248" y="410"/>
                  <a:pt x="2250" y="409"/>
                </a:cubicBezTo>
                <a:cubicBezTo>
                  <a:pt x="2250" y="409"/>
                  <a:pt x="2250" y="409"/>
                  <a:pt x="2250" y="467"/>
                </a:cubicBezTo>
                <a:cubicBezTo>
                  <a:pt x="2250" y="467"/>
                  <a:pt x="2250" y="467"/>
                  <a:pt x="2262" y="467"/>
                </a:cubicBezTo>
                <a:cubicBezTo>
                  <a:pt x="2262" y="467"/>
                  <a:pt x="2262" y="467"/>
                  <a:pt x="2262" y="394"/>
                </a:cubicBezTo>
                <a:close/>
                <a:moveTo>
                  <a:pt x="2309" y="394"/>
                </a:moveTo>
                <a:cubicBezTo>
                  <a:pt x="2309" y="394"/>
                  <a:pt x="2309" y="394"/>
                  <a:pt x="2309" y="394"/>
                </a:cubicBezTo>
                <a:cubicBezTo>
                  <a:pt x="2304" y="394"/>
                  <a:pt x="2304" y="394"/>
                  <a:pt x="2304" y="394"/>
                </a:cubicBezTo>
                <a:cubicBezTo>
                  <a:pt x="2302" y="395"/>
                  <a:pt x="2300" y="397"/>
                  <a:pt x="2298" y="398"/>
                </a:cubicBezTo>
                <a:cubicBezTo>
                  <a:pt x="2297" y="399"/>
                  <a:pt x="2295" y="400"/>
                  <a:pt x="2293" y="401"/>
                </a:cubicBezTo>
                <a:cubicBezTo>
                  <a:pt x="2292" y="402"/>
                  <a:pt x="2290" y="403"/>
                  <a:pt x="2288" y="403"/>
                </a:cubicBezTo>
                <a:cubicBezTo>
                  <a:pt x="2286" y="404"/>
                  <a:pt x="2284" y="405"/>
                  <a:pt x="2282" y="405"/>
                </a:cubicBezTo>
                <a:cubicBezTo>
                  <a:pt x="2282" y="405"/>
                  <a:pt x="2282" y="405"/>
                  <a:pt x="2282" y="415"/>
                </a:cubicBezTo>
                <a:cubicBezTo>
                  <a:pt x="2285" y="414"/>
                  <a:pt x="2288" y="414"/>
                  <a:pt x="2290" y="412"/>
                </a:cubicBezTo>
                <a:cubicBezTo>
                  <a:pt x="2293" y="411"/>
                  <a:pt x="2295" y="410"/>
                  <a:pt x="2298" y="409"/>
                </a:cubicBezTo>
                <a:cubicBezTo>
                  <a:pt x="2298" y="409"/>
                  <a:pt x="2298" y="409"/>
                  <a:pt x="2298" y="467"/>
                </a:cubicBezTo>
                <a:cubicBezTo>
                  <a:pt x="2298" y="467"/>
                  <a:pt x="2298" y="467"/>
                  <a:pt x="2309" y="467"/>
                </a:cubicBezTo>
                <a:cubicBezTo>
                  <a:pt x="2309" y="467"/>
                  <a:pt x="2309" y="467"/>
                  <a:pt x="2309" y="394"/>
                </a:cubicBezTo>
                <a:close/>
                <a:moveTo>
                  <a:pt x="2356" y="394"/>
                </a:moveTo>
                <a:cubicBezTo>
                  <a:pt x="2356" y="394"/>
                  <a:pt x="2356" y="394"/>
                  <a:pt x="2356" y="394"/>
                </a:cubicBezTo>
                <a:cubicBezTo>
                  <a:pt x="2351" y="394"/>
                  <a:pt x="2351" y="394"/>
                  <a:pt x="2351" y="394"/>
                </a:cubicBezTo>
                <a:cubicBezTo>
                  <a:pt x="2349" y="395"/>
                  <a:pt x="2348" y="397"/>
                  <a:pt x="2346" y="398"/>
                </a:cubicBezTo>
                <a:cubicBezTo>
                  <a:pt x="2344" y="399"/>
                  <a:pt x="2342" y="400"/>
                  <a:pt x="2341" y="401"/>
                </a:cubicBezTo>
                <a:cubicBezTo>
                  <a:pt x="2338" y="401"/>
                  <a:pt x="2337" y="402"/>
                  <a:pt x="2335" y="403"/>
                </a:cubicBezTo>
                <a:cubicBezTo>
                  <a:pt x="2333" y="403"/>
                  <a:pt x="2331" y="404"/>
                  <a:pt x="2330" y="405"/>
                </a:cubicBezTo>
                <a:cubicBezTo>
                  <a:pt x="2330" y="405"/>
                  <a:pt x="2330" y="405"/>
                  <a:pt x="2330" y="415"/>
                </a:cubicBezTo>
                <a:cubicBezTo>
                  <a:pt x="2333" y="414"/>
                  <a:pt x="2336" y="413"/>
                  <a:pt x="2338" y="412"/>
                </a:cubicBezTo>
                <a:cubicBezTo>
                  <a:pt x="2340" y="411"/>
                  <a:pt x="2343" y="410"/>
                  <a:pt x="2344" y="409"/>
                </a:cubicBezTo>
                <a:cubicBezTo>
                  <a:pt x="2344" y="409"/>
                  <a:pt x="2344" y="409"/>
                  <a:pt x="2344" y="467"/>
                </a:cubicBezTo>
                <a:cubicBezTo>
                  <a:pt x="2344" y="467"/>
                  <a:pt x="2344" y="467"/>
                  <a:pt x="2356" y="467"/>
                </a:cubicBezTo>
                <a:cubicBezTo>
                  <a:pt x="2356" y="467"/>
                  <a:pt x="2356" y="467"/>
                  <a:pt x="2356" y="394"/>
                </a:cubicBezTo>
                <a:close/>
                <a:moveTo>
                  <a:pt x="2563" y="298"/>
                </a:moveTo>
                <a:cubicBezTo>
                  <a:pt x="2563" y="298"/>
                  <a:pt x="2563" y="298"/>
                  <a:pt x="2563" y="298"/>
                </a:cubicBezTo>
                <a:cubicBezTo>
                  <a:pt x="2558" y="298"/>
                  <a:pt x="2558" y="298"/>
                  <a:pt x="2558" y="298"/>
                </a:cubicBezTo>
                <a:cubicBezTo>
                  <a:pt x="2556" y="299"/>
                  <a:pt x="2554" y="301"/>
                  <a:pt x="2552" y="302"/>
                </a:cubicBezTo>
                <a:cubicBezTo>
                  <a:pt x="2551" y="303"/>
                  <a:pt x="2549" y="304"/>
                  <a:pt x="2547" y="305"/>
                </a:cubicBezTo>
                <a:cubicBezTo>
                  <a:pt x="2545" y="305"/>
                  <a:pt x="2543" y="306"/>
                  <a:pt x="2542" y="307"/>
                </a:cubicBezTo>
                <a:cubicBezTo>
                  <a:pt x="2540" y="307"/>
                  <a:pt x="2538" y="308"/>
                  <a:pt x="2536" y="309"/>
                </a:cubicBezTo>
                <a:cubicBezTo>
                  <a:pt x="2536" y="309"/>
                  <a:pt x="2536" y="309"/>
                  <a:pt x="2536" y="319"/>
                </a:cubicBezTo>
                <a:cubicBezTo>
                  <a:pt x="2539" y="318"/>
                  <a:pt x="2542" y="317"/>
                  <a:pt x="2544" y="316"/>
                </a:cubicBezTo>
                <a:cubicBezTo>
                  <a:pt x="2547" y="315"/>
                  <a:pt x="2549" y="314"/>
                  <a:pt x="2551" y="313"/>
                </a:cubicBezTo>
                <a:cubicBezTo>
                  <a:pt x="2551" y="313"/>
                  <a:pt x="2551" y="313"/>
                  <a:pt x="2551" y="371"/>
                </a:cubicBezTo>
                <a:cubicBezTo>
                  <a:pt x="2551" y="371"/>
                  <a:pt x="2551" y="371"/>
                  <a:pt x="2563" y="371"/>
                </a:cubicBezTo>
                <a:cubicBezTo>
                  <a:pt x="2563" y="371"/>
                  <a:pt x="2563" y="371"/>
                  <a:pt x="2563" y="298"/>
                </a:cubicBezTo>
                <a:close/>
                <a:moveTo>
                  <a:pt x="2610" y="298"/>
                </a:moveTo>
                <a:cubicBezTo>
                  <a:pt x="2610" y="298"/>
                  <a:pt x="2610" y="298"/>
                  <a:pt x="2610" y="298"/>
                </a:cubicBezTo>
                <a:cubicBezTo>
                  <a:pt x="2605" y="298"/>
                  <a:pt x="2605" y="298"/>
                  <a:pt x="2605" y="298"/>
                </a:cubicBezTo>
                <a:cubicBezTo>
                  <a:pt x="2602" y="299"/>
                  <a:pt x="2601" y="301"/>
                  <a:pt x="2599" y="302"/>
                </a:cubicBezTo>
                <a:cubicBezTo>
                  <a:pt x="2597" y="303"/>
                  <a:pt x="2595" y="304"/>
                  <a:pt x="2594" y="305"/>
                </a:cubicBezTo>
                <a:cubicBezTo>
                  <a:pt x="2592" y="306"/>
                  <a:pt x="2590" y="307"/>
                  <a:pt x="2589" y="307"/>
                </a:cubicBezTo>
                <a:cubicBezTo>
                  <a:pt x="2586" y="308"/>
                  <a:pt x="2585" y="309"/>
                  <a:pt x="2583" y="309"/>
                </a:cubicBezTo>
                <a:cubicBezTo>
                  <a:pt x="2583" y="309"/>
                  <a:pt x="2583" y="309"/>
                  <a:pt x="2583" y="319"/>
                </a:cubicBezTo>
                <a:cubicBezTo>
                  <a:pt x="2586" y="318"/>
                  <a:pt x="2589" y="318"/>
                  <a:pt x="2591" y="316"/>
                </a:cubicBezTo>
                <a:cubicBezTo>
                  <a:pt x="2594" y="315"/>
                  <a:pt x="2596" y="314"/>
                  <a:pt x="2598" y="313"/>
                </a:cubicBezTo>
                <a:cubicBezTo>
                  <a:pt x="2598" y="313"/>
                  <a:pt x="2598" y="313"/>
                  <a:pt x="2598" y="371"/>
                </a:cubicBezTo>
                <a:cubicBezTo>
                  <a:pt x="2598" y="371"/>
                  <a:pt x="2598" y="371"/>
                  <a:pt x="2610" y="371"/>
                </a:cubicBezTo>
                <a:cubicBezTo>
                  <a:pt x="2610" y="371"/>
                  <a:pt x="2610" y="371"/>
                  <a:pt x="2610" y="298"/>
                </a:cubicBezTo>
                <a:close/>
                <a:moveTo>
                  <a:pt x="2655" y="298"/>
                </a:moveTo>
                <a:cubicBezTo>
                  <a:pt x="2655" y="298"/>
                  <a:pt x="2655" y="298"/>
                  <a:pt x="2655" y="298"/>
                </a:cubicBezTo>
                <a:cubicBezTo>
                  <a:pt x="2651" y="298"/>
                  <a:pt x="2651" y="298"/>
                  <a:pt x="2651" y="298"/>
                </a:cubicBezTo>
                <a:cubicBezTo>
                  <a:pt x="2649" y="299"/>
                  <a:pt x="2647" y="301"/>
                  <a:pt x="2645" y="302"/>
                </a:cubicBezTo>
                <a:cubicBezTo>
                  <a:pt x="2644" y="303"/>
                  <a:pt x="2642" y="304"/>
                  <a:pt x="2640" y="305"/>
                </a:cubicBezTo>
                <a:cubicBezTo>
                  <a:pt x="2638" y="306"/>
                  <a:pt x="2636" y="307"/>
                  <a:pt x="2634" y="307"/>
                </a:cubicBezTo>
                <a:cubicBezTo>
                  <a:pt x="2633" y="308"/>
                  <a:pt x="2631" y="309"/>
                  <a:pt x="2629" y="309"/>
                </a:cubicBezTo>
                <a:cubicBezTo>
                  <a:pt x="2629" y="309"/>
                  <a:pt x="2629" y="309"/>
                  <a:pt x="2629" y="319"/>
                </a:cubicBezTo>
                <a:cubicBezTo>
                  <a:pt x="2632" y="318"/>
                  <a:pt x="2635" y="318"/>
                  <a:pt x="2637" y="316"/>
                </a:cubicBezTo>
                <a:cubicBezTo>
                  <a:pt x="2639" y="315"/>
                  <a:pt x="2642" y="314"/>
                  <a:pt x="2644" y="313"/>
                </a:cubicBezTo>
                <a:cubicBezTo>
                  <a:pt x="2644" y="313"/>
                  <a:pt x="2644" y="313"/>
                  <a:pt x="2644" y="371"/>
                </a:cubicBezTo>
                <a:cubicBezTo>
                  <a:pt x="2644" y="371"/>
                  <a:pt x="2644" y="371"/>
                  <a:pt x="2655" y="371"/>
                </a:cubicBezTo>
                <a:cubicBezTo>
                  <a:pt x="2655" y="371"/>
                  <a:pt x="2655" y="371"/>
                  <a:pt x="2655" y="298"/>
                </a:cubicBezTo>
                <a:close/>
                <a:moveTo>
                  <a:pt x="2702" y="298"/>
                </a:moveTo>
                <a:cubicBezTo>
                  <a:pt x="2702" y="298"/>
                  <a:pt x="2702" y="298"/>
                  <a:pt x="2702" y="298"/>
                </a:cubicBezTo>
                <a:cubicBezTo>
                  <a:pt x="2697" y="298"/>
                  <a:pt x="2697" y="298"/>
                  <a:pt x="2697" y="298"/>
                </a:cubicBezTo>
                <a:cubicBezTo>
                  <a:pt x="2695" y="299"/>
                  <a:pt x="2694" y="301"/>
                  <a:pt x="2691" y="302"/>
                </a:cubicBezTo>
                <a:cubicBezTo>
                  <a:pt x="2690" y="303"/>
                  <a:pt x="2688" y="304"/>
                  <a:pt x="2686" y="305"/>
                </a:cubicBezTo>
                <a:cubicBezTo>
                  <a:pt x="2685" y="306"/>
                  <a:pt x="2683" y="307"/>
                  <a:pt x="2681" y="307"/>
                </a:cubicBezTo>
                <a:cubicBezTo>
                  <a:pt x="2679" y="308"/>
                  <a:pt x="2678" y="309"/>
                  <a:pt x="2675" y="309"/>
                </a:cubicBezTo>
                <a:cubicBezTo>
                  <a:pt x="2675" y="309"/>
                  <a:pt x="2675" y="309"/>
                  <a:pt x="2675" y="319"/>
                </a:cubicBezTo>
                <a:cubicBezTo>
                  <a:pt x="2678" y="318"/>
                  <a:pt x="2681" y="318"/>
                  <a:pt x="2683" y="316"/>
                </a:cubicBezTo>
                <a:cubicBezTo>
                  <a:pt x="2686" y="315"/>
                  <a:pt x="2688" y="314"/>
                  <a:pt x="2691" y="313"/>
                </a:cubicBezTo>
                <a:cubicBezTo>
                  <a:pt x="2691" y="313"/>
                  <a:pt x="2691" y="313"/>
                  <a:pt x="2691" y="371"/>
                </a:cubicBezTo>
                <a:cubicBezTo>
                  <a:pt x="2691" y="371"/>
                  <a:pt x="2691" y="371"/>
                  <a:pt x="2702" y="371"/>
                </a:cubicBezTo>
                <a:cubicBezTo>
                  <a:pt x="2702" y="371"/>
                  <a:pt x="2702" y="371"/>
                  <a:pt x="2702" y="298"/>
                </a:cubicBezTo>
                <a:close/>
                <a:moveTo>
                  <a:pt x="2824" y="298"/>
                </a:moveTo>
                <a:cubicBezTo>
                  <a:pt x="2824" y="298"/>
                  <a:pt x="2824" y="298"/>
                  <a:pt x="2824" y="298"/>
                </a:cubicBezTo>
                <a:cubicBezTo>
                  <a:pt x="2819" y="298"/>
                  <a:pt x="2819" y="298"/>
                  <a:pt x="2819" y="298"/>
                </a:cubicBezTo>
                <a:cubicBezTo>
                  <a:pt x="2817" y="299"/>
                  <a:pt x="2815" y="301"/>
                  <a:pt x="2813" y="302"/>
                </a:cubicBezTo>
                <a:cubicBezTo>
                  <a:pt x="2812" y="303"/>
                  <a:pt x="2810" y="304"/>
                  <a:pt x="2808" y="305"/>
                </a:cubicBezTo>
                <a:cubicBezTo>
                  <a:pt x="2806" y="306"/>
                  <a:pt x="2804" y="307"/>
                  <a:pt x="2803" y="307"/>
                </a:cubicBezTo>
                <a:cubicBezTo>
                  <a:pt x="2801" y="308"/>
                  <a:pt x="2799" y="309"/>
                  <a:pt x="2797" y="309"/>
                </a:cubicBezTo>
                <a:cubicBezTo>
                  <a:pt x="2797" y="309"/>
                  <a:pt x="2797" y="309"/>
                  <a:pt x="2797" y="319"/>
                </a:cubicBezTo>
                <a:cubicBezTo>
                  <a:pt x="2800" y="318"/>
                  <a:pt x="2803" y="318"/>
                  <a:pt x="2806" y="316"/>
                </a:cubicBezTo>
                <a:cubicBezTo>
                  <a:pt x="2808" y="315"/>
                  <a:pt x="2810" y="314"/>
                  <a:pt x="2812" y="313"/>
                </a:cubicBezTo>
                <a:cubicBezTo>
                  <a:pt x="2812" y="313"/>
                  <a:pt x="2812" y="313"/>
                  <a:pt x="2812" y="371"/>
                </a:cubicBezTo>
                <a:cubicBezTo>
                  <a:pt x="2812" y="371"/>
                  <a:pt x="2812" y="371"/>
                  <a:pt x="2824" y="371"/>
                </a:cubicBezTo>
                <a:cubicBezTo>
                  <a:pt x="2824" y="371"/>
                  <a:pt x="2824" y="371"/>
                  <a:pt x="2824" y="298"/>
                </a:cubicBezTo>
                <a:close/>
                <a:moveTo>
                  <a:pt x="2871" y="298"/>
                </a:moveTo>
                <a:cubicBezTo>
                  <a:pt x="2871" y="298"/>
                  <a:pt x="2871" y="298"/>
                  <a:pt x="2871" y="298"/>
                </a:cubicBezTo>
                <a:cubicBezTo>
                  <a:pt x="2866" y="298"/>
                  <a:pt x="2866" y="298"/>
                  <a:pt x="2866" y="298"/>
                </a:cubicBezTo>
                <a:cubicBezTo>
                  <a:pt x="2864" y="299"/>
                  <a:pt x="2862" y="301"/>
                  <a:pt x="2860" y="302"/>
                </a:cubicBezTo>
                <a:cubicBezTo>
                  <a:pt x="2859" y="303"/>
                  <a:pt x="2856" y="304"/>
                  <a:pt x="2855" y="305"/>
                </a:cubicBezTo>
                <a:cubicBezTo>
                  <a:pt x="2853" y="306"/>
                  <a:pt x="2851" y="307"/>
                  <a:pt x="2850" y="307"/>
                </a:cubicBezTo>
                <a:cubicBezTo>
                  <a:pt x="2848" y="308"/>
                  <a:pt x="2846" y="309"/>
                  <a:pt x="2844" y="309"/>
                </a:cubicBezTo>
                <a:cubicBezTo>
                  <a:pt x="2844" y="309"/>
                  <a:pt x="2844" y="309"/>
                  <a:pt x="2844" y="319"/>
                </a:cubicBezTo>
                <a:cubicBezTo>
                  <a:pt x="2847" y="318"/>
                  <a:pt x="2850" y="318"/>
                  <a:pt x="2852" y="316"/>
                </a:cubicBezTo>
                <a:cubicBezTo>
                  <a:pt x="2855" y="315"/>
                  <a:pt x="2857" y="314"/>
                  <a:pt x="2859" y="313"/>
                </a:cubicBezTo>
                <a:cubicBezTo>
                  <a:pt x="2859" y="313"/>
                  <a:pt x="2859" y="313"/>
                  <a:pt x="2859" y="371"/>
                </a:cubicBezTo>
                <a:cubicBezTo>
                  <a:pt x="2859" y="371"/>
                  <a:pt x="2859" y="371"/>
                  <a:pt x="2871" y="371"/>
                </a:cubicBezTo>
                <a:cubicBezTo>
                  <a:pt x="2871" y="371"/>
                  <a:pt x="2871" y="371"/>
                  <a:pt x="2871" y="298"/>
                </a:cubicBezTo>
                <a:close/>
                <a:moveTo>
                  <a:pt x="2722" y="330"/>
                </a:moveTo>
                <a:cubicBezTo>
                  <a:pt x="2722" y="330"/>
                  <a:pt x="2722" y="330"/>
                  <a:pt x="2722" y="330"/>
                </a:cubicBezTo>
                <a:cubicBezTo>
                  <a:pt x="2722" y="339"/>
                  <a:pt x="2722" y="339"/>
                  <a:pt x="2722" y="339"/>
                </a:cubicBezTo>
                <a:cubicBezTo>
                  <a:pt x="2728" y="339"/>
                  <a:pt x="2729" y="342"/>
                  <a:pt x="2729" y="344"/>
                </a:cubicBezTo>
                <a:cubicBezTo>
                  <a:pt x="2729" y="347"/>
                  <a:pt x="2729" y="349"/>
                  <a:pt x="2729" y="352"/>
                </a:cubicBezTo>
                <a:cubicBezTo>
                  <a:pt x="2728" y="354"/>
                  <a:pt x="2728" y="356"/>
                  <a:pt x="2728" y="359"/>
                </a:cubicBezTo>
                <a:cubicBezTo>
                  <a:pt x="2728" y="368"/>
                  <a:pt x="2734" y="371"/>
                  <a:pt x="2743" y="371"/>
                </a:cubicBezTo>
                <a:cubicBezTo>
                  <a:pt x="2743" y="371"/>
                  <a:pt x="2743" y="371"/>
                  <a:pt x="2746" y="371"/>
                </a:cubicBezTo>
                <a:cubicBezTo>
                  <a:pt x="2746" y="371"/>
                  <a:pt x="2746" y="371"/>
                  <a:pt x="2746" y="362"/>
                </a:cubicBezTo>
                <a:cubicBezTo>
                  <a:pt x="2746" y="362"/>
                  <a:pt x="2746" y="362"/>
                  <a:pt x="2745" y="362"/>
                </a:cubicBezTo>
                <a:cubicBezTo>
                  <a:pt x="2741" y="362"/>
                  <a:pt x="2740" y="360"/>
                  <a:pt x="2740" y="356"/>
                </a:cubicBezTo>
                <a:cubicBezTo>
                  <a:pt x="2740" y="355"/>
                  <a:pt x="2740" y="353"/>
                  <a:pt x="2740" y="352"/>
                </a:cubicBezTo>
                <a:cubicBezTo>
                  <a:pt x="2740" y="350"/>
                  <a:pt x="2741" y="348"/>
                  <a:pt x="2741" y="346"/>
                </a:cubicBezTo>
                <a:cubicBezTo>
                  <a:pt x="2741" y="338"/>
                  <a:pt x="2738" y="336"/>
                  <a:pt x="2732" y="334"/>
                </a:cubicBezTo>
                <a:cubicBezTo>
                  <a:pt x="2732" y="334"/>
                  <a:pt x="2732" y="334"/>
                  <a:pt x="2732" y="334"/>
                </a:cubicBezTo>
                <a:cubicBezTo>
                  <a:pt x="2738" y="333"/>
                  <a:pt x="2741" y="331"/>
                  <a:pt x="2741" y="323"/>
                </a:cubicBezTo>
                <a:cubicBezTo>
                  <a:pt x="2741" y="321"/>
                  <a:pt x="2740" y="319"/>
                  <a:pt x="2740" y="317"/>
                </a:cubicBezTo>
                <a:cubicBezTo>
                  <a:pt x="2740" y="315"/>
                  <a:pt x="2740" y="313"/>
                  <a:pt x="2740" y="312"/>
                </a:cubicBezTo>
                <a:cubicBezTo>
                  <a:pt x="2740" y="309"/>
                  <a:pt x="2741" y="306"/>
                  <a:pt x="2745" y="306"/>
                </a:cubicBezTo>
                <a:cubicBezTo>
                  <a:pt x="2745" y="306"/>
                  <a:pt x="2745" y="306"/>
                  <a:pt x="2746" y="306"/>
                </a:cubicBezTo>
                <a:cubicBezTo>
                  <a:pt x="2746" y="306"/>
                  <a:pt x="2746" y="306"/>
                  <a:pt x="2746" y="297"/>
                </a:cubicBezTo>
                <a:cubicBezTo>
                  <a:pt x="2746" y="297"/>
                  <a:pt x="2746" y="297"/>
                  <a:pt x="2743" y="297"/>
                </a:cubicBezTo>
                <a:cubicBezTo>
                  <a:pt x="2734" y="297"/>
                  <a:pt x="2728" y="301"/>
                  <a:pt x="2728" y="310"/>
                </a:cubicBezTo>
                <a:cubicBezTo>
                  <a:pt x="2728" y="312"/>
                  <a:pt x="2728" y="315"/>
                  <a:pt x="2728" y="317"/>
                </a:cubicBezTo>
                <a:cubicBezTo>
                  <a:pt x="2729" y="319"/>
                  <a:pt x="2729" y="322"/>
                  <a:pt x="2729" y="324"/>
                </a:cubicBezTo>
                <a:cubicBezTo>
                  <a:pt x="2729" y="327"/>
                  <a:pt x="2728" y="330"/>
                  <a:pt x="2722" y="330"/>
                </a:cubicBezTo>
                <a:close/>
                <a:moveTo>
                  <a:pt x="2777" y="339"/>
                </a:moveTo>
                <a:cubicBezTo>
                  <a:pt x="2777" y="339"/>
                  <a:pt x="2777" y="339"/>
                  <a:pt x="2777" y="339"/>
                </a:cubicBezTo>
                <a:cubicBezTo>
                  <a:pt x="2777" y="330"/>
                  <a:pt x="2777" y="330"/>
                  <a:pt x="2777" y="330"/>
                </a:cubicBezTo>
                <a:cubicBezTo>
                  <a:pt x="2771" y="330"/>
                  <a:pt x="2770" y="327"/>
                  <a:pt x="2770" y="324"/>
                </a:cubicBezTo>
                <a:cubicBezTo>
                  <a:pt x="2770" y="322"/>
                  <a:pt x="2770" y="319"/>
                  <a:pt x="2771" y="317"/>
                </a:cubicBezTo>
                <a:cubicBezTo>
                  <a:pt x="2771" y="315"/>
                  <a:pt x="2771" y="312"/>
                  <a:pt x="2771" y="310"/>
                </a:cubicBezTo>
                <a:cubicBezTo>
                  <a:pt x="2771" y="301"/>
                  <a:pt x="2766" y="297"/>
                  <a:pt x="2757" y="297"/>
                </a:cubicBezTo>
                <a:cubicBezTo>
                  <a:pt x="2757" y="297"/>
                  <a:pt x="2757" y="297"/>
                  <a:pt x="2753" y="297"/>
                </a:cubicBezTo>
                <a:cubicBezTo>
                  <a:pt x="2753" y="297"/>
                  <a:pt x="2753" y="297"/>
                  <a:pt x="2753" y="306"/>
                </a:cubicBezTo>
                <a:cubicBezTo>
                  <a:pt x="2753" y="306"/>
                  <a:pt x="2753" y="306"/>
                  <a:pt x="2755" y="306"/>
                </a:cubicBezTo>
                <a:cubicBezTo>
                  <a:pt x="2758" y="306"/>
                  <a:pt x="2760" y="309"/>
                  <a:pt x="2760" y="312"/>
                </a:cubicBezTo>
                <a:cubicBezTo>
                  <a:pt x="2760" y="313"/>
                  <a:pt x="2759" y="315"/>
                  <a:pt x="2759" y="317"/>
                </a:cubicBezTo>
                <a:cubicBezTo>
                  <a:pt x="2759" y="319"/>
                  <a:pt x="2759" y="321"/>
                  <a:pt x="2759" y="323"/>
                </a:cubicBezTo>
                <a:cubicBezTo>
                  <a:pt x="2759" y="331"/>
                  <a:pt x="2762" y="333"/>
                  <a:pt x="2768" y="334"/>
                </a:cubicBezTo>
                <a:cubicBezTo>
                  <a:pt x="2768" y="334"/>
                  <a:pt x="2768" y="334"/>
                  <a:pt x="2768" y="334"/>
                </a:cubicBezTo>
                <a:cubicBezTo>
                  <a:pt x="2762" y="336"/>
                  <a:pt x="2759" y="338"/>
                  <a:pt x="2759" y="346"/>
                </a:cubicBezTo>
                <a:cubicBezTo>
                  <a:pt x="2759" y="348"/>
                  <a:pt x="2759" y="350"/>
                  <a:pt x="2759" y="352"/>
                </a:cubicBezTo>
                <a:cubicBezTo>
                  <a:pt x="2759" y="353"/>
                  <a:pt x="2760" y="355"/>
                  <a:pt x="2760" y="356"/>
                </a:cubicBezTo>
                <a:cubicBezTo>
                  <a:pt x="2760" y="360"/>
                  <a:pt x="2759" y="362"/>
                  <a:pt x="2755" y="362"/>
                </a:cubicBezTo>
                <a:cubicBezTo>
                  <a:pt x="2755" y="362"/>
                  <a:pt x="2755" y="362"/>
                  <a:pt x="2753" y="362"/>
                </a:cubicBezTo>
                <a:cubicBezTo>
                  <a:pt x="2753" y="362"/>
                  <a:pt x="2753" y="362"/>
                  <a:pt x="2753" y="371"/>
                </a:cubicBezTo>
                <a:cubicBezTo>
                  <a:pt x="2753" y="371"/>
                  <a:pt x="2753" y="371"/>
                  <a:pt x="2757" y="371"/>
                </a:cubicBezTo>
                <a:cubicBezTo>
                  <a:pt x="2766" y="371"/>
                  <a:pt x="2771" y="368"/>
                  <a:pt x="2771" y="359"/>
                </a:cubicBezTo>
                <a:cubicBezTo>
                  <a:pt x="2771" y="356"/>
                  <a:pt x="2771" y="354"/>
                  <a:pt x="2771" y="352"/>
                </a:cubicBezTo>
                <a:cubicBezTo>
                  <a:pt x="2770" y="349"/>
                  <a:pt x="2770" y="347"/>
                  <a:pt x="2770" y="344"/>
                </a:cubicBezTo>
                <a:cubicBezTo>
                  <a:pt x="2770" y="342"/>
                  <a:pt x="2771" y="339"/>
                  <a:pt x="2777" y="339"/>
                </a:cubicBezTo>
                <a:close/>
                <a:moveTo>
                  <a:pt x="2163" y="371"/>
                </a:moveTo>
                <a:cubicBezTo>
                  <a:pt x="2156" y="371"/>
                  <a:pt x="2149" y="368"/>
                  <a:pt x="2145" y="363"/>
                </a:cubicBezTo>
                <a:cubicBezTo>
                  <a:pt x="2141" y="356"/>
                  <a:pt x="2139" y="347"/>
                  <a:pt x="2139" y="335"/>
                </a:cubicBezTo>
                <a:cubicBezTo>
                  <a:pt x="2139" y="321"/>
                  <a:pt x="2141" y="312"/>
                  <a:pt x="2145" y="305"/>
                </a:cubicBezTo>
                <a:cubicBezTo>
                  <a:pt x="2150" y="299"/>
                  <a:pt x="2156" y="295"/>
                  <a:pt x="2165" y="295"/>
                </a:cubicBezTo>
                <a:cubicBezTo>
                  <a:pt x="2182" y="295"/>
                  <a:pt x="2190" y="308"/>
                  <a:pt x="2190" y="333"/>
                </a:cubicBezTo>
                <a:cubicBezTo>
                  <a:pt x="2190" y="346"/>
                  <a:pt x="2187" y="355"/>
                  <a:pt x="2182" y="362"/>
                </a:cubicBezTo>
                <a:cubicBezTo>
                  <a:pt x="2178" y="368"/>
                  <a:pt x="2171" y="371"/>
                  <a:pt x="2163" y="371"/>
                </a:cubicBezTo>
                <a:close/>
                <a:moveTo>
                  <a:pt x="2165" y="305"/>
                </a:moveTo>
                <a:cubicBezTo>
                  <a:pt x="2155" y="305"/>
                  <a:pt x="2151" y="315"/>
                  <a:pt x="2151" y="335"/>
                </a:cubicBezTo>
                <a:cubicBezTo>
                  <a:pt x="2151" y="353"/>
                  <a:pt x="2155" y="362"/>
                  <a:pt x="2164" y="362"/>
                </a:cubicBezTo>
                <a:cubicBezTo>
                  <a:pt x="2173" y="362"/>
                  <a:pt x="2177" y="353"/>
                  <a:pt x="2177" y="334"/>
                </a:cubicBezTo>
                <a:cubicBezTo>
                  <a:pt x="2177" y="314"/>
                  <a:pt x="2173" y="305"/>
                  <a:pt x="2165" y="305"/>
                </a:cubicBezTo>
                <a:close/>
                <a:moveTo>
                  <a:pt x="2233" y="371"/>
                </a:moveTo>
                <a:cubicBezTo>
                  <a:pt x="2226" y="371"/>
                  <a:pt x="2220" y="368"/>
                  <a:pt x="2216" y="363"/>
                </a:cubicBezTo>
                <a:cubicBezTo>
                  <a:pt x="2211" y="356"/>
                  <a:pt x="2209" y="347"/>
                  <a:pt x="2209" y="335"/>
                </a:cubicBezTo>
                <a:cubicBezTo>
                  <a:pt x="2209" y="321"/>
                  <a:pt x="2211" y="312"/>
                  <a:pt x="2216" y="305"/>
                </a:cubicBezTo>
                <a:cubicBezTo>
                  <a:pt x="2220" y="299"/>
                  <a:pt x="2227" y="295"/>
                  <a:pt x="2236" y="295"/>
                </a:cubicBezTo>
                <a:cubicBezTo>
                  <a:pt x="2252" y="295"/>
                  <a:pt x="2260" y="308"/>
                  <a:pt x="2260" y="333"/>
                </a:cubicBezTo>
                <a:cubicBezTo>
                  <a:pt x="2260" y="346"/>
                  <a:pt x="2258" y="355"/>
                  <a:pt x="2253" y="362"/>
                </a:cubicBezTo>
                <a:cubicBezTo>
                  <a:pt x="2248" y="368"/>
                  <a:pt x="2242" y="371"/>
                  <a:pt x="2233" y="371"/>
                </a:cubicBezTo>
                <a:close/>
                <a:moveTo>
                  <a:pt x="2235" y="305"/>
                </a:moveTo>
                <a:cubicBezTo>
                  <a:pt x="2226" y="305"/>
                  <a:pt x="2221" y="315"/>
                  <a:pt x="2221" y="335"/>
                </a:cubicBezTo>
                <a:cubicBezTo>
                  <a:pt x="2221" y="353"/>
                  <a:pt x="2225" y="362"/>
                  <a:pt x="2234" y="362"/>
                </a:cubicBezTo>
                <a:cubicBezTo>
                  <a:pt x="2243" y="362"/>
                  <a:pt x="2247" y="353"/>
                  <a:pt x="2247" y="334"/>
                </a:cubicBezTo>
                <a:cubicBezTo>
                  <a:pt x="2247" y="314"/>
                  <a:pt x="2243" y="305"/>
                  <a:pt x="2235" y="305"/>
                </a:cubicBezTo>
                <a:close/>
                <a:moveTo>
                  <a:pt x="2444" y="371"/>
                </a:moveTo>
                <a:cubicBezTo>
                  <a:pt x="2436" y="371"/>
                  <a:pt x="2430" y="368"/>
                  <a:pt x="2426" y="362"/>
                </a:cubicBezTo>
                <a:cubicBezTo>
                  <a:pt x="2422" y="356"/>
                  <a:pt x="2420" y="346"/>
                  <a:pt x="2420" y="335"/>
                </a:cubicBezTo>
                <a:cubicBezTo>
                  <a:pt x="2420" y="321"/>
                  <a:pt x="2422" y="312"/>
                  <a:pt x="2426" y="305"/>
                </a:cubicBezTo>
                <a:cubicBezTo>
                  <a:pt x="2430" y="298"/>
                  <a:pt x="2437" y="295"/>
                  <a:pt x="2446" y="295"/>
                </a:cubicBezTo>
                <a:cubicBezTo>
                  <a:pt x="2462" y="295"/>
                  <a:pt x="2470" y="308"/>
                  <a:pt x="2470" y="333"/>
                </a:cubicBezTo>
                <a:cubicBezTo>
                  <a:pt x="2470" y="346"/>
                  <a:pt x="2468" y="355"/>
                  <a:pt x="2463" y="362"/>
                </a:cubicBezTo>
                <a:cubicBezTo>
                  <a:pt x="2458" y="368"/>
                  <a:pt x="2452" y="371"/>
                  <a:pt x="2444" y="371"/>
                </a:cubicBezTo>
                <a:close/>
                <a:moveTo>
                  <a:pt x="2445" y="305"/>
                </a:moveTo>
                <a:cubicBezTo>
                  <a:pt x="2436" y="305"/>
                  <a:pt x="2432" y="314"/>
                  <a:pt x="2432" y="334"/>
                </a:cubicBezTo>
                <a:cubicBezTo>
                  <a:pt x="2432" y="352"/>
                  <a:pt x="2436" y="362"/>
                  <a:pt x="2445" y="362"/>
                </a:cubicBezTo>
                <a:cubicBezTo>
                  <a:pt x="2453" y="362"/>
                  <a:pt x="2458" y="352"/>
                  <a:pt x="2458" y="334"/>
                </a:cubicBezTo>
                <a:cubicBezTo>
                  <a:pt x="2458" y="314"/>
                  <a:pt x="2454" y="305"/>
                  <a:pt x="2445" y="305"/>
                </a:cubicBezTo>
                <a:close/>
                <a:moveTo>
                  <a:pt x="2516" y="298"/>
                </a:moveTo>
                <a:cubicBezTo>
                  <a:pt x="2516" y="298"/>
                  <a:pt x="2516" y="298"/>
                  <a:pt x="2516" y="298"/>
                </a:cubicBezTo>
                <a:cubicBezTo>
                  <a:pt x="2511" y="298"/>
                  <a:pt x="2511" y="298"/>
                  <a:pt x="2511" y="298"/>
                </a:cubicBezTo>
                <a:cubicBezTo>
                  <a:pt x="2509" y="299"/>
                  <a:pt x="2507" y="301"/>
                  <a:pt x="2505" y="302"/>
                </a:cubicBezTo>
                <a:cubicBezTo>
                  <a:pt x="2504" y="303"/>
                  <a:pt x="2502" y="304"/>
                  <a:pt x="2500" y="305"/>
                </a:cubicBezTo>
                <a:cubicBezTo>
                  <a:pt x="2499" y="305"/>
                  <a:pt x="2497" y="306"/>
                  <a:pt x="2495" y="307"/>
                </a:cubicBezTo>
                <a:cubicBezTo>
                  <a:pt x="2493" y="307"/>
                  <a:pt x="2492" y="308"/>
                  <a:pt x="2490" y="309"/>
                </a:cubicBezTo>
                <a:cubicBezTo>
                  <a:pt x="2490" y="309"/>
                  <a:pt x="2490" y="309"/>
                  <a:pt x="2490" y="319"/>
                </a:cubicBezTo>
                <a:cubicBezTo>
                  <a:pt x="2492" y="318"/>
                  <a:pt x="2495" y="317"/>
                  <a:pt x="2497" y="316"/>
                </a:cubicBezTo>
                <a:cubicBezTo>
                  <a:pt x="2500" y="315"/>
                  <a:pt x="2502" y="314"/>
                  <a:pt x="2505" y="313"/>
                </a:cubicBezTo>
                <a:cubicBezTo>
                  <a:pt x="2505" y="313"/>
                  <a:pt x="2505" y="313"/>
                  <a:pt x="2505" y="371"/>
                </a:cubicBezTo>
                <a:cubicBezTo>
                  <a:pt x="2505" y="371"/>
                  <a:pt x="2505" y="371"/>
                  <a:pt x="2516" y="371"/>
                </a:cubicBezTo>
                <a:cubicBezTo>
                  <a:pt x="2516" y="371"/>
                  <a:pt x="2516" y="371"/>
                  <a:pt x="2516" y="298"/>
                </a:cubicBezTo>
                <a:close/>
                <a:moveTo>
                  <a:pt x="2307" y="298"/>
                </a:moveTo>
                <a:cubicBezTo>
                  <a:pt x="2307" y="298"/>
                  <a:pt x="2307" y="298"/>
                  <a:pt x="2307" y="298"/>
                </a:cubicBezTo>
                <a:cubicBezTo>
                  <a:pt x="2302" y="298"/>
                  <a:pt x="2302" y="298"/>
                  <a:pt x="2302" y="298"/>
                </a:cubicBezTo>
                <a:cubicBezTo>
                  <a:pt x="2299" y="299"/>
                  <a:pt x="2298" y="301"/>
                  <a:pt x="2296" y="302"/>
                </a:cubicBezTo>
                <a:cubicBezTo>
                  <a:pt x="2294" y="303"/>
                  <a:pt x="2293" y="304"/>
                  <a:pt x="2290" y="305"/>
                </a:cubicBezTo>
                <a:cubicBezTo>
                  <a:pt x="2289" y="306"/>
                  <a:pt x="2287" y="307"/>
                  <a:pt x="2285" y="307"/>
                </a:cubicBezTo>
                <a:cubicBezTo>
                  <a:pt x="2283" y="308"/>
                  <a:pt x="2282" y="309"/>
                  <a:pt x="2279" y="309"/>
                </a:cubicBezTo>
                <a:cubicBezTo>
                  <a:pt x="2279" y="309"/>
                  <a:pt x="2279" y="309"/>
                  <a:pt x="2279" y="319"/>
                </a:cubicBezTo>
                <a:cubicBezTo>
                  <a:pt x="2282" y="318"/>
                  <a:pt x="2285" y="318"/>
                  <a:pt x="2288" y="316"/>
                </a:cubicBezTo>
                <a:cubicBezTo>
                  <a:pt x="2290" y="315"/>
                  <a:pt x="2293" y="314"/>
                  <a:pt x="2295" y="313"/>
                </a:cubicBezTo>
                <a:cubicBezTo>
                  <a:pt x="2295" y="313"/>
                  <a:pt x="2295" y="313"/>
                  <a:pt x="2295" y="371"/>
                </a:cubicBezTo>
                <a:cubicBezTo>
                  <a:pt x="2295" y="371"/>
                  <a:pt x="2295" y="371"/>
                  <a:pt x="2307" y="371"/>
                </a:cubicBezTo>
                <a:cubicBezTo>
                  <a:pt x="2307" y="371"/>
                  <a:pt x="2307" y="371"/>
                  <a:pt x="2307" y="298"/>
                </a:cubicBezTo>
                <a:close/>
                <a:moveTo>
                  <a:pt x="2354" y="298"/>
                </a:moveTo>
                <a:cubicBezTo>
                  <a:pt x="2354" y="298"/>
                  <a:pt x="2354" y="298"/>
                  <a:pt x="2354" y="298"/>
                </a:cubicBezTo>
                <a:cubicBezTo>
                  <a:pt x="2349" y="298"/>
                  <a:pt x="2349" y="298"/>
                  <a:pt x="2349" y="298"/>
                </a:cubicBezTo>
                <a:cubicBezTo>
                  <a:pt x="2346" y="299"/>
                  <a:pt x="2345" y="301"/>
                  <a:pt x="2343" y="302"/>
                </a:cubicBezTo>
                <a:cubicBezTo>
                  <a:pt x="2341" y="303"/>
                  <a:pt x="2339" y="304"/>
                  <a:pt x="2338" y="305"/>
                </a:cubicBezTo>
                <a:cubicBezTo>
                  <a:pt x="2336" y="306"/>
                  <a:pt x="2334" y="307"/>
                  <a:pt x="2332" y="307"/>
                </a:cubicBezTo>
                <a:cubicBezTo>
                  <a:pt x="2330" y="308"/>
                  <a:pt x="2329" y="309"/>
                  <a:pt x="2326" y="309"/>
                </a:cubicBezTo>
                <a:cubicBezTo>
                  <a:pt x="2326" y="309"/>
                  <a:pt x="2326" y="309"/>
                  <a:pt x="2326" y="319"/>
                </a:cubicBezTo>
                <a:cubicBezTo>
                  <a:pt x="2329" y="318"/>
                  <a:pt x="2332" y="318"/>
                  <a:pt x="2335" y="316"/>
                </a:cubicBezTo>
                <a:cubicBezTo>
                  <a:pt x="2338" y="315"/>
                  <a:pt x="2340" y="314"/>
                  <a:pt x="2342" y="313"/>
                </a:cubicBezTo>
                <a:cubicBezTo>
                  <a:pt x="2342" y="313"/>
                  <a:pt x="2342" y="313"/>
                  <a:pt x="2342" y="371"/>
                </a:cubicBezTo>
                <a:cubicBezTo>
                  <a:pt x="2342" y="371"/>
                  <a:pt x="2342" y="371"/>
                  <a:pt x="2354" y="371"/>
                </a:cubicBezTo>
                <a:cubicBezTo>
                  <a:pt x="2354" y="371"/>
                  <a:pt x="2354" y="371"/>
                  <a:pt x="2354" y="298"/>
                </a:cubicBezTo>
                <a:close/>
                <a:moveTo>
                  <a:pt x="2399" y="298"/>
                </a:moveTo>
                <a:cubicBezTo>
                  <a:pt x="2399" y="298"/>
                  <a:pt x="2399" y="298"/>
                  <a:pt x="2399" y="298"/>
                </a:cubicBezTo>
                <a:cubicBezTo>
                  <a:pt x="2395" y="298"/>
                  <a:pt x="2395" y="298"/>
                  <a:pt x="2395" y="298"/>
                </a:cubicBezTo>
                <a:cubicBezTo>
                  <a:pt x="2393" y="299"/>
                  <a:pt x="2391" y="301"/>
                  <a:pt x="2389" y="302"/>
                </a:cubicBezTo>
                <a:cubicBezTo>
                  <a:pt x="2388" y="303"/>
                  <a:pt x="2386" y="304"/>
                  <a:pt x="2384" y="305"/>
                </a:cubicBezTo>
                <a:cubicBezTo>
                  <a:pt x="2382" y="305"/>
                  <a:pt x="2381" y="306"/>
                  <a:pt x="2378" y="307"/>
                </a:cubicBezTo>
                <a:cubicBezTo>
                  <a:pt x="2377" y="307"/>
                  <a:pt x="2375" y="308"/>
                  <a:pt x="2373" y="309"/>
                </a:cubicBezTo>
                <a:cubicBezTo>
                  <a:pt x="2373" y="309"/>
                  <a:pt x="2373" y="309"/>
                  <a:pt x="2373" y="319"/>
                </a:cubicBezTo>
                <a:cubicBezTo>
                  <a:pt x="2376" y="318"/>
                  <a:pt x="2379" y="317"/>
                  <a:pt x="2381" y="316"/>
                </a:cubicBezTo>
                <a:cubicBezTo>
                  <a:pt x="2384" y="315"/>
                  <a:pt x="2386" y="314"/>
                  <a:pt x="2388" y="313"/>
                </a:cubicBezTo>
                <a:cubicBezTo>
                  <a:pt x="2388" y="313"/>
                  <a:pt x="2388" y="313"/>
                  <a:pt x="2388" y="371"/>
                </a:cubicBezTo>
                <a:cubicBezTo>
                  <a:pt x="2388" y="371"/>
                  <a:pt x="2388" y="371"/>
                  <a:pt x="2399" y="371"/>
                </a:cubicBezTo>
                <a:cubicBezTo>
                  <a:pt x="2399" y="371"/>
                  <a:pt x="2399" y="371"/>
                  <a:pt x="2399" y="298"/>
                </a:cubicBezTo>
                <a:close/>
                <a:moveTo>
                  <a:pt x="1965" y="371"/>
                </a:moveTo>
                <a:cubicBezTo>
                  <a:pt x="1958" y="371"/>
                  <a:pt x="1951" y="368"/>
                  <a:pt x="1948" y="363"/>
                </a:cubicBezTo>
                <a:cubicBezTo>
                  <a:pt x="1943" y="356"/>
                  <a:pt x="1941" y="347"/>
                  <a:pt x="1941" y="335"/>
                </a:cubicBezTo>
                <a:cubicBezTo>
                  <a:pt x="1941" y="321"/>
                  <a:pt x="1943" y="312"/>
                  <a:pt x="1948" y="305"/>
                </a:cubicBezTo>
                <a:cubicBezTo>
                  <a:pt x="1952" y="299"/>
                  <a:pt x="1959" y="295"/>
                  <a:pt x="1967" y="295"/>
                </a:cubicBezTo>
                <a:cubicBezTo>
                  <a:pt x="1983" y="295"/>
                  <a:pt x="1991" y="308"/>
                  <a:pt x="1991" y="333"/>
                </a:cubicBezTo>
                <a:cubicBezTo>
                  <a:pt x="1991" y="346"/>
                  <a:pt x="1989" y="355"/>
                  <a:pt x="1985" y="362"/>
                </a:cubicBezTo>
                <a:cubicBezTo>
                  <a:pt x="1980" y="368"/>
                  <a:pt x="1974" y="371"/>
                  <a:pt x="1965" y="371"/>
                </a:cubicBezTo>
                <a:close/>
                <a:moveTo>
                  <a:pt x="1967" y="305"/>
                </a:moveTo>
                <a:cubicBezTo>
                  <a:pt x="1958" y="305"/>
                  <a:pt x="1953" y="315"/>
                  <a:pt x="1953" y="335"/>
                </a:cubicBezTo>
                <a:cubicBezTo>
                  <a:pt x="1953" y="353"/>
                  <a:pt x="1957" y="362"/>
                  <a:pt x="1966" y="362"/>
                </a:cubicBezTo>
                <a:cubicBezTo>
                  <a:pt x="1975" y="362"/>
                  <a:pt x="1979" y="353"/>
                  <a:pt x="1979" y="334"/>
                </a:cubicBezTo>
                <a:cubicBezTo>
                  <a:pt x="1979" y="314"/>
                  <a:pt x="1975" y="305"/>
                  <a:pt x="1967" y="305"/>
                </a:cubicBezTo>
                <a:close/>
                <a:moveTo>
                  <a:pt x="2026" y="298"/>
                </a:moveTo>
                <a:cubicBezTo>
                  <a:pt x="2026" y="298"/>
                  <a:pt x="2026" y="298"/>
                  <a:pt x="2026" y="298"/>
                </a:cubicBezTo>
                <a:cubicBezTo>
                  <a:pt x="2021" y="298"/>
                  <a:pt x="2021" y="298"/>
                  <a:pt x="2021" y="298"/>
                </a:cubicBezTo>
                <a:cubicBezTo>
                  <a:pt x="2019" y="299"/>
                  <a:pt x="2018" y="301"/>
                  <a:pt x="2015" y="302"/>
                </a:cubicBezTo>
                <a:cubicBezTo>
                  <a:pt x="2014" y="303"/>
                  <a:pt x="2012" y="304"/>
                  <a:pt x="2010" y="305"/>
                </a:cubicBezTo>
                <a:cubicBezTo>
                  <a:pt x="2009" y="306"/>
                  <a:pt x="2006" y="307"/>
                  <a:pt x="2005" y="307"/>
                </a:cubicBezTo>
                <a:cubicBezTo>
                  <a:pt x="2003" y="308"/>
                  <a:pt x="2001" y="309"/>
                  <a:pt x="1999" y="309"/>
                </a:cubicBezTo>
                <a:cubicBezTo>
                  <a:pt x="1999" y="309"/>
                  <a:pt x="1999" y="309"/>
                  <a:pt x="1999" y="319"/>
                </a:cubicBezTo>
                <a:cubicBezTo>
                  <a:pt x="2002" y="318"/>
                  <a:pt x="2005" y="318"/>
                  <a:pt x="2008" y="316"/>
                </a:cubicBezTo>
                <a:cubicBezTo>
                  <a:pt x="2010" y="315"/>
                  <a:pt x="2012" y="314"/>
                  <a:pt x="2015" y="313"/>
                </a:cubicBezTo>
                <a:cubicBezTo>
                  <a:pt x="2015" y="313"/>
                  <a:pt x="2015" y="313"/>
                  <a:pt x="2015" y="371"/>
                </a:cubicBezTo>
                <a:cubicBezTo>
                  <a:pt x="2015" y="371"/>
                  <a:pt x="2015" y="371"/>
                  <a:pt x="2026" y="371"/>
                </a:cubicBezTo>
                <a:cubicBezTo>
                  <a:pt x="2026" y="371"/>
                  <a:pt x="2026" y="371"/>
                  <a:pt x="2026" y="298"/>
                </a:cubicBezTo>
                <a:close/>
                <a:moveTo>
                  <a:pt x="2073" y="298"/>
                </a:moveTo>
                <a:cubicBezTo>
                  <a:pt x="2073" y="298"/>
                  <a:pt x="2073" y="298"/>
                  <a:pt x="2073" y="298"/>
                </a:cubicBezTo>
                <a:cubicBezTo>
                  <a:pt x="2068" y="298"/>
                  <a:pt x="2068" y="298"/>
                  <a:pt x="2068" y="298"/>
                </a:cubicBezTo>
                <a:cubicBezTo>
                  <a:pt x="2066" y="299"/>
                  <a:pt x="2065" y="301"/>
                  <a:pt x="2062" y="302"/>
                </a:cubicBezTo>
                <a:cubicBezTo>
                  <a:pt x="2061" y="303"/>
                  <a:pt x="2059" y="304"/>
                  <a:pt x="2057" y="305"/>
                </a:cubicBezTo>
                <a:cubicBezTo>
                  <a:pt x="2056" y="306"/>
                  <a:pt x="2053" y="307"/>
                  <a:pt x="2052" y="307"/>
                </a:cubicBezTo>
                <a:cubicBezTo>
                  <a:pt x="2050" y="308"/>
                  <a:pt x="2048" y="309"/>
                  <a:pt x="2046" y="309"/>
                </a:cubicBezTo>
                <a:cubicBezTo>
                  <a:pt x="2046" y="309"/>
                  <a:pt x="2046" y="309"/>
                  <a:pt x="2046" y="319"/>
                </a:cubicBezTo>
                <a:cubicBezTo>
                  <a:pt x="2049" y="318"/>
                  <a:pt x="2052" y="318"/>
                  <a:pt x="2054" y="316"/>
                </a:cubicBezTo>
                <a:cubicBezTo>
                  <a:pt x="2057" y="315"/>
                  <a:pt x="2059" y="314"/>
                  <a:pt x="2062" y="313"/>
                </a:cubicBezTo>
                <a:cubicBezTo>
                  <a:pt x="2062" y="313"/>
                  <a:pt x="2062" y="313"/>
                  <a:pt x="2062" y="371"/>
                </a:cubicBezTo>
                <a:cubicBezTo>
                  <a:pt x="2062" y="371"/>
                  <a:pt x="2062" y="371"/>
                  <a:pt x="2073" y="371"/>
                </a:cubicBezTo>
                <a:cubicBezTo>
                  <a:pt x="2073" y="371"/>
                  <a:pt x="2073" y="371"/>
                  <a:pt x="2073" y="298"/>
                </a:cubicBezTo>
                <a:close/>
                <a:moveTo>
                  <a:pt x="2119" y="298"/>
                </a:moveTo>
                <a:cubicBezTo>
                  <a:pt x="2119" y="298"/>
                  <a:pt x="2119" y="298"/>
                  <a:pt x="2119" y="298"/>
                </a:cubicBezTo>
                <a:cubicBezTo>
                  <a:pt x="2115" y="298"/>
                  <a:pt x="2115" y="298"/>
                  <a:pt x="2115" y="298"/>
                </a:cubicBezTo>
                <a:cubicBezTo>
                  <a:pt x="2113" y="299"/>
                  <a:pt x="2111" y="301"/>
                  <a:pt x="2109" y="302"/>
                </a:cubicBezTo>
                <a:cubicBezTo>
                  <a:pt x="2108" y="303"/>
                  <a:pt x="2105" y="304"/>
                  <a:pt x="2104" y="305"/>
                </a:cubicBezTo>
                <a:cubicBezTo>
                  <a:pt x="2102" y="305"/>
                  <a:pt x="2100" y="306"/>
                  <a:pt x="2098" y="307"/>
                </a:cubicBezTo>
                <a:cubicBezTo>
                  <a:pt x="2097" y="307"/>
                  <a:pt x="2095" y="308"/>
                  <a:pt x="2093" y="309"/>
                </a:cubicBezTo>
                <a:cubicBezTo>
                  <a:pt x="2093" y="309"/>
                  <a:pt x="2093" y="309"/>
                  <a:pt x="2093" y="319"/>
                </a:cubicBezTo>
                <a:cubicBezTo>
                  <a:pt x="2096" y="318"/>
                  <a:pt x="2099" y="317"/>
                  <a:pt x="2101" y="316"/>
                </a:cubicBezTo>
                <a:cubicBezTo>
                  <a:pt x="2103" y="315"/>
                  <a:pt x="2106" y="314"/>
                  <a:pt x="2108" y="313"/>
                </a:cubicBezTo>
                <a:cubicBezTo>
                  <a:pt x="2108" y="313"/>
                  <a:pt x="2108" y="313"/>
                  <a:pt x="2108" y="371"/>
                </a:cubicBezTo>
                <a:cubicBezTo>
                  <a:pt x="2108" y="371"/>
                  <a:pt x="2108" y="371"/>
                  <a:pt x="2119" y="371"/>
                </a:cubicBezTo>
                <a:cubicBezTo>
                  <a:pt x="2119" y="371"/>
                  <a:pt x="2119" y="371"/>
                  <a:pt x="2119" y="298"/>
                </a:cubicBezTo>
                <a:close/>
                <a:moveTo>
                  <a:pt x="1978" y="597"/>
                </a:moveTo>
                <a:cubicBezTo>
                  <a:pt x="1978" y="597"/>
                  <a:pt x="1978" y="597"/>
                  <a:pt x="1978" y="597"/>
                </a:cubicBezTo>
                <a:cubicBezTo>
                  <a:pt x="1973" y="597"/>
                  <a:pt x="1973" y="597"/>
                  <a:pt x="1973" y="597"/>
                </a:cubicBezTo>
                <a:cubicBezTo>
                  <a:pt x="1971" y="598"/>
                  <a:pt x="1969" y="599"/>
                  <a:pt x="1967" y="600"/>
                </a:cubicBezTo>
                <a:cubicBezTo>
                  <a:pt x="1966" y="602"/>
                  <a:pt x="1963" y="602"/>
                  <a:pt x="1962" y="603"/>
                </a:cubicBezTo>
                <a:cubicBezTo>
                  <a:pt x="1960" y="605"/>
                  <a:pt x="1958" y="605"/>
                  <a:pt x="1957" y="606"/>
                </a:cubicBezTo>
                <a:cubicBezTo>
                  <a:pt x="1955" y="607"/>
                  <a:pt x="1953" y="607"/>
                  <a:pt x="1951" y="607"/>
                </a:cubicBezTo>
                <a:cubicBezTo>
                  <a:pt x="1951" y="607"/>
                  <a:pt x="1951" y="607"/>
                  <a:pt x="1951" y="618"/>
                </a:cubicBezTo>
                <a:cubicBezTo>
                  <a:pt x="1954" y="617"/>
                  <a:pt x="1957" y="616"/>
                  <a:pt x="1959" y="615"/>
                </a:cubicBezTo>
                <a:cubicBezTo>
                  <a:pt x="1962" y="614"/>
                  <a:pt x="1964" y="613"/>
                  <a:pt x="1966" y="611"/>
                </a:cubicBezTo>
                <a:cubicBezTo>
                  <a:pt x="1966" y="611"/>
                  <a:pt x="1966" y="611"/>
                  <a:pt x="1966" y="670"/>
                </a:cubicBezTo>
                <a:cubicBezTo>
                  <a:pt x="1966" y="670"/>
                  <a:pt x="1966" y="670"/>
                  <a:pt x="1978" y="670"/>
                </a:cubicBezTo>
                <a:cubicBezTo>
                  <a:pt x="1978" y="670"/>
                  <a:pt x="1978" y="670"/>
                  <a:pt x="1978" y="597"/>
                </a:cubicBezTo>
                <a:close/>
                <a:moveTo>
                  <a:pt x="1978" y="492"/>
                </a:moveTo>
                <a:cubicBezTo>
                  <a:pt x="1978" y="492"/>
                  <a:pt x="1978" y="492"/>
                  <a:pt x="1978" y="492"/>
                </a:cubicBezTo>
                <a:cubicBezTo>
                  <a:pt x="1974" y="492"/>
                  <a:pt x="1974" y="492"/>
                  <a:pt x="1974" y="492"/>
                </a:cubicBezTo>
                <a:cubicBezTo>
                  <a:pt x="1972" y="494"/>
                  <a:pt x="1970" y="495"/>
                  <a:pt x="1968" y="496"/>
                </a:cubicBezTo>
                <a:cubicBezTo>
                  <a:pt x="1967" y="497"/>
                  <a:pt x="1965" y="498"/>
                  <a:pt x="1963" y="499"/>
                </a:cubicBezTo>
                <a:cubicBezTo>
                  <a:pt x="1961" y="500"/>
                  <a:pt x="1960" y="500"/>
                  <a:pt x="1958" y="501"/>
                </a:cubicBezTo>
                <a:cubicBezTo>
                  <a:pt x="1956" y="502"/>
                  <a:pt x="1954" y="503"/>
                  <a:pt x="1952" y="503"/>
                </a:cubicBezTo>
                <a:cubicBezTo>
                  <a:pt x="1952" y="503"/>
                  <a:pt x="1952" y="503"/>
                  <a:pt x="1952" y="513"/>
                </a:cubicBezTo>
                <a:cubicBezTo>
                  <a:pt x="1955" y="513"/>
                  <a:pt x="1958" y="511"/>
                  <a:pt x="1960" y="511"/>
                </a:cubicBezTo>
                <a:cubicBezTo>
                  <a:pt x="1963" y="510"/>
                  <a:pt x="1965" y="508"/>
                  <a:pt x="1967" y="507"/>
                </a:cubicBezTo>
                <a:cubicBezTo>
                  <a:pt x="1967" y="507"/>
                  <a:pt x="1967" y="507"/>
                  <a:pt x="1967" y="566"/>
                </a:cubicBezTo>
                <a:cubicBezTo>
                  <a:pt x="1967" y="566"/>
                  <a:pt x="1967" y="566"/>
                  <a:pt x="1978" y="566"/>
                </a:cubicBezTo>
                <a:cubicBezTo>
                  <a:pt x="1978" y="566"/>
                  <a:pt x="1978" y="566"/>
                  <a:pt x="1978" y="492"/>
                </a:cubicBezTo>
                <a:close/>
                <a:moveTo>
                  <a:pt x="2922" y="281"/>
                </a:moveTo>
                <a:cubicBezTo>
                  <a:pt x="2915" y="281"/>
                  <a:pt x="2908" y="278"/>
                  <a:pt x="2904" y="272"/>
                </a:cubicBezTo>
                <a:cubicBezTo>
                  <a:pt x="2900" y="265"/>
                  <a:pt x="2898" y="257"/>
                  <a:pt x="2898" y="244"/>
                </a:cubicBezTo>
                <a:cubicBezTo>
                  <a:pt x="2898" y="231"/>
                  <a:pt x="2900" y="222"/>
                  <a:pt x="2905" y="215"/>
                </a:cubicBezTo>
                <a:cubicBezTo>
                  <a:pt x="2909" y="208"/>
                  <a:pt x="2916" y="205"/>
                  <a:pt x="2924" y="205"/>
                </a:cubicBezTo>
                <a:cubicBezTo>
                  <a:pt x="2940" y="205"/>
                  <a:pt x="2948" y="217"/>
                  <a:pt x="2948" y="243"/>
                </a:cubicBezTo>
                <a:cubicBezTo>
                  <a:pt x="2948" y="255"/>
                  <a:pt x="2946" y="265"/>
                  <a:pt x="2941" y="271"/>
                </a:cubicBezTo>
                <a:cubicBezTo>
                  <a:pt x="2937" y="278"/>
                  <a:pt x="2930" y="281"/>
                  <a:pt x="2922" y="281"/>
                </a:cubicBezTo>
                <a:close/>
                <a:moveTo>
                  <a:pt x="2924" y="214"/>
                </a:moveTo>
                <a:cubicBezTo>
                  <a:pt x="2914" y="214"/>
                  <a:pt x="2910" y="225"/>
                  <a:pt x="2910" y="244"/>
                </a:cubicBezTo>
                <a:cubicBezTo>
                  <a:pt x="2910" y="262"/>
                  <a:pt x="2914" y="271"/>
                  <a:pt x="2923" y="271"/>
                </a:cubicBezTo>
                <a:cubicBezTo>
                  <a:pt x="2932" y="271"/>
                  <a:pt x="2936" y="262"/>
                  <a:pt x="2936" y="243"/>
                </a:cubicBezTo>
                <a:cubicBezTo>
                  <a:pt x="2936" y="224"/>
                  <a:pt x="2932" y="214"/>
                  <a:pt x="2924" y="214"/>
                </a:cubicBezTo>
                <a:close/>
                <a:moveTo>
                  <a:pt x="2996" y="207"/>
                </a:moveTo>
                <a:cubicBezTo>
                  <a:pt x="2996" y="207"/>
                  <a:pt x="2996" y="207"/>
                  <a:pt x="2996" y="207"/>
                </a:cubicBezTo>
                <a:cubicBezTo>
                  <a:pt x="2991" y="207"/>
                  <a:pt x="2991" y="207"/>
                  <a:pt x="2991" y="207"/>
                </a:cubicBezTo>
                <a:cubicBezTo>
                  <a:pt x="2989" y="209"/>
                  <a:pt x="2987" y="210"/>
                  <a:pt x="2985" y="211"/>
                </a:cubicBezTo>
                <a:cubicBezTo>
                  <a:pt x="2984" y="212"/>
                  <a:pt x="2981" y="213"/>
                  <a:pt x="2980" y="214"/>
                </a:cubicBezTo>
                <a:cubicBezTo>
                  <a:pt x="2978" y="215"/>
                  <a:pt x="2976" y="215"/>
                  <a:pt x="2975" y="216"/>
                </a:cubicBezTo>
                <a:cubicBezTo>
                  <a:pt x="2973" y="217"/>
                  <a:pt x="2971" y="217"/>
                  <a:pt x="2969" y="218"/>
                </a:cubicBezTo>
                <a:cubicBezTo>
                  <a:pt x="2969" y="218"/>
                  <a:pt x="2969" y="218"/>
                  <a:pt x="2969" y="228"/>
                </a:cubicBezTo>
                <a:cubicBezTo>
                  <a:pt x="2972" y="228"/>
                  <a:pt x="2975" y="226"/>
                  <a:pt x="2977" y="225"/>
                </a:cubicBezTo>
                <a:cubicBezTo>
                  <a:pt x="2980" y="225"/>
                  <a:pt x="2982" y="223"/>
                  <a:pt x="2984" y="222"/>
                </a:cubicBezTo>
                <a:cubicBezTo>
                  <a:pt x="2984" y="222"/>
                  <a:pt x="2984" y="222"/>
                  <a:pt x="2984" y="281"/>
                </a:cubicBezTo>
                <a:cubicBezTo>
                  <a:pt x="2984" y="281"/>
                  <a:pt x="2984" y="281"/>
                  <a:pt x="2996" y="281"/>
                </a:cubicBezTo>
                <a:cubicBezTo>
                  <a:pt x="2996" y="281"/>
                  <a:pt x="2996" y="281"/>
                  <a:pt x="2996" y="207"/>
                </a:cubicBezTo>
                <a:close/>
                <a:moveTo>
                  <a:pt x="3043" y="207"/>
                </a:moveTo>
                <a:cubicBezTo>
                  <a:pt x="3043" y="207"/>
                  <a:pt x="3043" y="207"/>
                  <a:pt x="3043" y="207"/>
                </a:cubicBezTo>
                <a:cubicBezTo>
                  <a:pt x="3038" y="207"/>
                  <a:pt x="3038" y="207"/>
                  <a:pt x="3038" y="207"/>
                </a:cubicBezTo>
                <a:cubicBezTo>
                  <a:pt x="3036" y="209"/>
                  <a:pt x="3034" y="210"/>
                  <a:pt x="3032" y="211"/>
                </a:cubicBezTo>
                <a:cubicBezTo>
                  <a:pt x="3031" y="212"/>
                  <a:pt x="3029" y="213"/>
                  <a:pt x="3027" y="214"/>
                </a:cubicBezTo>
                <a:cubicBezTo>
                  <a:pt x="3026" y="215"/>
                  <a:pt x="3024" y="216"/>
                  <a:pt x="3022" y="217"/>
                </a:cubicBezTo>
                <a:cubicBezTo>
                  <a:pt x="3020" y="217"/>
                  <a:pt x="3019" y="218"/>
                  <a:pt x="3017" y="218"/>
                </a:cubicBezTo>
                <a:cubicBezTo>
                  <a:pt x="3017" y="218"/>
                  <a:pt x="3017" y="218"/>
                  <a:pt x="3017" y="228"/>
                </a:cubicBezTo>
                <a:cubicBezTo>
                  <a:pt x="3020" y="228"/>
                  <a:pt x="3022" y="227"/>
                  <a:pt x="3025" y="225"/>
                </a:cubicBezTo>
                <a:cubicBezTo>
                  <a:pt x="3027" y="225"/>
                  <a:pt x="3029" y="223"/>
                  <a:pt x="3032" y="222"/>
                </a:cubicBezTo>
                <a:cubicBezTo>
                  <a:pt x="3032" y="222"/>
                  <a:pt x="3032" y="222"/>
                  <a:pt x="3032" y="281"/>
                </a:cubicBezTo>
                <a:cubicBezTo>
                  <a:pt x="3032" y="281"/>
                  <a:pt x="3032" y="281"/>
                  <a:pt x="3043" y="281"/>
                </a:cubicBezTo>
                <a:cubicBezTo>
                  <a:pt x="3043" y="281"/>
                  <a:pt x="3043" y="281"/>
                  <a:pt x="3043" y="207"/>
                </a:cubicBezTo>
                <a:close/>
                <a:moveTo>
                  <a:pt x="3090" y="207"/>
                </a:moveTo>
                <a:cubicBezTo>
                  <a:pt x="3090" y="207"/>
                  <a:pt x="3090" y="207"/>
                  <a:pt x="3090" y="207"/>
                </a:cubicBezTo>
                <a:cubicBezTo>
                  <a:pt x="3085" y="207"/>
                  <a:pt x="3085" y="207"/>
                  <a:pt x="3085" y="207"/>
                </a:cubicBezTo>
                <a:cubicBezTo>
                  <a:pt x="3083" y="209"/>
                  <a:pt x="3082" y="210"/>
                  <a:pt x="3080" y="211"/>
                </a:cubicBezTo>
                <a:cubicBezTo>
                  <a:pt x="3078" y="212"/>
                  <a:pt x="3076" y="213"/>
                  <a:pt x="3074" y="214"/>
                </a:cubicBezTo>
                <a:cubicBezTo>
                  <a:pt x="3072" y="215"/>
                  <a:pt x="3071" y="216"/>
                  <a:pt x="3069" y="217"/>
                </a:cubicBezTo>
                <a:cubicBezTo>
                  <a:pt x="3067" y="217"/>
                  <a:pt x="3065" y="218"/>
                  <a:pt x="3064" y="218"/>
                </a:cubicBezTo>
                <a:cubicBezTo>
                  <a:pt x="3064" y="218"/>
                  <a:pt x="3064" y="218"/>
                  <a:pt x="3064" y="228"/>
                </a:cubicBezTo>
                <a:cubicBezTo>
                  <a:pt x="3067" y="228"/>
                  <a:pt x="3069" y="227"/>
                  <a:pt x="3072" y="225"/>
                </a:cubicBezTo>
                <a:cubicBezTo>
                  <a:pt x="3074" y="225"/>
                  <a:pt x="3077" y="223"/>
                  <a:pt x="3078" y="222"/>
                </a:cubicBezTo>
                <a:cubicBezTo>
                  <a:pt x="3078" y="222"/>
                  <a:pt x="3078" y="222"/>
                  <a:pt x="3078" y="281"/>
                </a:cubicBezTo>
                <a:cubicBezTo>
                  <a:pt x="3078" y="281"/>
                  <a:pt x="3078" y="281"/>
                  <a:pt x="3090" y="281"/>
                </a:cubicBezTo>
                <a:cubicBezTo>
                  <a:pt x="3090" y="281"/>
                  <a:pt x="3090" y="281"/>
                  <a:pt x="3090" y="207"/>
                </a:cubicBezTo>
                <a:close/>
                <a:moveTo>
                  <a:pt x="3137" y="207"/>
                </a:moveTo>
                <a:cubicBezTo>
                  <a:pt x="3137" y="207"/>
                  <a:pt x="3137" y="207"/>
                  <a:pt x="3137" y="207"/>
                </a:cubicBezTo>
                <a:cubicBezTo>
                  <a:pt x="3132" y="207"/>
                  <a:pt x="3132" y="207"/>
                  <a:pt x="3132" y="207"/>
                </a:cubicBezTo>
                <a:cubicBezTo>
                  <a:pt x="3130" y="209"/>
                  <a:pt x="3128" y="210"/>
                  <a:pt x="3126" y="211"/>
                </a:cubicBezTo>
                <a:cubicBezTo>
                  <a:pt x="3125" y="212"/>
                  <a:pt x="3123" y="213"/>
                  <a:pt x="3121" y="214"/>
                </a:cubicBezTo>
                <a:cubicBezTo>
                  <a:pt x="3120" y="215"/>
                  <a:pt x="3118" y="216"/>
                  <a:pt x="3116" y="217"/>
                </a:cubicBezTo>
                <a:cubicBezTo>
                  <a:pt x="3114" y="217"/>
                  <a:pt x="3112" y="218"/>
                  <a:pt x="3110" y="218"/>
                </a:cubicBezTo>
                <a:cubicBezTo>
                  <a:pt x="3110" y="218"/>
                  <a:pt x="3110" y="218"/>
                  <a:pt x="3110" y="228"/>
                </a:cubicBezTo>
                <a:cubicBezTo>
                  <a:pt x="3113" y="228"/>
                  <a:pt x="3116" y="227"/>
                  <a:pt x="3118" y="225"/>
                </a:cubicBezTo>
                <a:cubicBezTo>
                  <a:pt x="3121" y="225"/>
                  <a:pt x="3123" y="223"/>
                  <a:pt x="3126" y="222"/>
                </a:cubicBezTo>
                <a:cubicBezTo>
                  <a:pt x="3126" y="222"/>
                  <a:pt x="3126" y="222"/>
                  <a:pt x="3126" y="281"/>
                </a:cubicBezTo>
                <a:cubicBezTo>
                  <a:pt x="3126" y="281"/>
                  <a:pt x="3126" y="281"/>
                  <a:pt x="3137" y="281"/>
                </a:cubicBezTo>
                <a:cubicBezTo>
                  <a:pt x="3137" y="281"/>
                  <a:pt x="3137" y="281"/>
                  <a:pt x="3137" y="207"/>
                </a:cubicBezTo>
                <a:close/>
                <a:moveTo>
                  <a:pt x="3260" y="207"/>
                </a:moveTo>
                <a:cubicBezTo>
                  <a:pt x="3260" y="207"/>
                  <a:pt x="3260" y="207"/>
                  <a:pt x="3260" y="207"/>
                </a:cubicBezTo>
                <a:cubicBezTo>
                  <a:pt x="3255" y="207"/>
                  <a:pt x="3255" y="207"/>
                  <a:pt x="3255" y="207"/>
                </a:cubicBezTo>
                <a:cubicBezTo>
                  <a:pt x="3253" y="209"/>
                  <a:pt x="3252" y="210"/>
                  <a:pt x="3250" y="211"/>
                </a:cubicBezTo>
                <a:cubicBezTo>
                  <a:pt x="3248" y="212"/>
                  <a:pt x="3247" y="213"/>
                  <a:pt x="3245" y="214"/>
                </a:cubicBezTo>
                <a:cubicBezTo>
                  <a:pt x="3243" y="215"/>
                  <a:pt x="3241" y="216"/>
                  <a:pt x="3239" y="217"/>
                </a:cubicBezTo>
                <a:cubicBezTo>
                  <a:pt x="3237" y="217"/>
                  <a:pt x="3236" y="218"/>
                  <a:pt x="3234" y="218"/>
                </a:cubicBezTo>
                <a:cubicBezTo>
                  <a:pt x="3234" y="218"/>
                  <a:pt x="3234" y="218"/>
                  <a:pt x="3234" y="228"/>
                </a:cubicBezTo>
                <a:cubicBezTo>
                  <a:pt x="3237" y="228"/>
                  <a:pt x="3239" y="227"/>
                  <a:pt x="3242" y="225"/>
                </a:cubicBezTo>
                <a:cubicBezTo>
                  <a:pt x="3245" y="225"/>
                  <a:pt x="3247" y="223"/>
                  <a:pt x="3249" y="222"/>
                </a:cubicBezTo>
                <a:cubicBezTo>
                  <a:pt x="3249" y="222"/>
                  <a:pt x="3249" y="222"/>
                  <a:pt x="3249" y="281"/>
                </a:cubicBezTo>
                <a:cubicBezTo>
                  <a:pt x="3249" y="281"/>
                  <a:pt x="3249" y="281"/>
                  <a:pt x="3260" y="281"/>
                </a:cubicBezTo>
                <a:cubicBezTo>
                  <a:pt x="3260" y="281"/>
                  <a:pt x="3260" y="281"/>
                  <a:pt x="3260" y="207"/>
                </a:cubicBezTo>
                <a:close/>
                <a:moveTo>
                  <a:pt x="3308" y="207"/>
                </a:moveTo>
                <a:cubicBezTo>
                  <a:pt x="3308" y="207"/>
                  <a:pt x="3308" y="207"/>
                  <a:pt x="3308" y="207"/>
                </a:cubicBezTo>
                <a:cubicBezTo>
                  <a:pt x="3303" y="207"/>
                  <a:pt x="3303" y="207"/>
                  <a:pt x="3303" y="207"/>
                </a:cubicBezTo>
                <a:cubicBezTo>
                  <a:pt x="3301" y="209"/>
                  <a:pt x="3299" y="210"/>
                  <a:pt x="3297" y="211"/>
                </a:cubicBezTo>
                <a:cubicBezTo>
                  <a:pt x="3296" y="212"/>
                  <a:pt x="3293" y="213"/>
                  <a:pt x="3292" y="214"/>
                </a:cubicBezTo>
                <a:cubicBezTo>
                  <a:pt x="3291" y="215"/>
                  <a:pt x="3288" y="216"/>
                  <a:pt x="3287" y="217"/>
                </a:cubicBezTo>
                <a:cubicBezTo>
                  <a:pt x="3285" y="217"/>
                  <a:pt x="3283" y="218"/>
                  <a:pt x="3281" y="218"/>
                </a:cubicBezTo>
                <a:cubicBezTo>
                  <a:pt x="3281" y="218"/>
                  <a:pt x="3281" y="218"/>
                  <a:pt x="3281" y="228"/>
                </a:cubicBezTo>
                <a:cubicBezTo>
                  <a:pt x="3284" y="228"/>
                  <a:pt x="3287" y="227"/>
                  <a:pt x="3289" y="225"/>
                </a:cubicBezTo>
                <a:cubicBezTo>
                  <a:pt x="3292" y="225"/>
                  <a:pt x="3294" y="223"/>
                  <a:pt x="3296" y="222"/>
                </a:cubicBezTo>
                <a:cubicBezTo>
                  <a:pt x="3296" y="222"/>
                  <a:pt x="3296" y="222"/>
                  <a:pt x="3296" y="281"/>
                </a:cubicBezTo>
                <a:cubicBezTo>
                  <a:pt x="3296" y="281"/>
                  <a:pt x="3296" y="281"/>
                  <a:pt x="3308" y="281"/>
                </a:cubicBezTo>
                <a:cubicBezTo>
                  <a:pt x="3308" y="281"/>
                  <a:pt x="3308" y="281"/>
                  <a:pt x="3308" y="207"/>
                </a:cubicBezTo>
                <a:close/>
                <a:moveTo>
                  <a:pt x="3356" y="207"/>
                </a:moveTo>
                <a:cubicBezTo>
                  <a:pt x="3356" y="207"/>
                  <a:pt x="3356" y="207"/>
                  <a:pt x="3356" y="207"/>
                </a:cubicBezTo>
                <a:cubicBezTo>
                  <a:pt x="3350" y="207"/>
                  <a:pt x="3350" y="207"/>
                  <a:pt x="3350" y="207"/>
                </a:cubicBezTo>
                <a:cubicBezTo>
                  <a:pt x="3349" y="209"/>
                  <a:pt x="3347" y="210"/>
                  <a:pt x="3345" y="211"/>
                </a:cubicBezTo>
                <a:cubicBezTo>
                  <a:pt x="3343" y="212"/>
                  <a:pt x="3342" y="213"/>
                  <a:pt x="3340" y="214"/>
                </a:cubicBezTo>
                <a:cubicBezTo>
                  <a:pt x="3338" y="215"/>
                  <a:pt x="3336" y="216"/>
                  <a:pt x="3334" y="217"/>
                </a:cubicBezTo>
                <a:cubicBezTo>
                  <a:pt x="3332" y="217"/>
                  <a:pt x="3331" y="218"/>
                  <a:pt x="3329" y="218"/>
                </a:cubicBezTo>
                <a:cubicBezTo>
                  <a:pt x="3329" y="218"/>
                  <a:pt x="3329" y="218"/>
                  <a:pt x="3329" y="228"/>
                </a:cubicBezTo>
                <a:cubicBezTo>
                  <a:pt x="3332" y="228"/>
                  <a:pt x="3334" y="227"/>
                  <a:pt x="3337" y="225"/>
                </a:cubicBezTo>
                <a:cubicBezTo>
                  <a:pt x="3340" y="225"/>
                  <a:pt x="3342" y="223"/>
                  <a:pt x="3344" y="222"/>
                </a:cubicBezTo>
                <a:cubicBezTo>
                  <a:pt x="3344" y="222"/>
                  <a:pt x="3344" y="222"/>
                  <a:pt x="3344" y="281"/>
                </a:cubicBezTo>
                <a:cubicBezTo>
                  <a:pt x="3344" y="281"/>
                  <a:pt x="3344" y="281"/>
                  <a:pt x="3356" y="281"/>
                </a:cubicBezTo>
                <a:cubicBezTo>
                  <a:pt x="3356" y="281"/>
                  <a:pt x="3356" y="281"/>
                  <a:pt x="3356" y="207"/>
                </a:cubicBezTo>
                <a:close/>
                <a:moveTo>
                  <a:pt x="3402" y="207"/>
                </a:moveTo>
                <a:cubicBezTo>
                  <a:pt x="3402" y="207"/>
                  <a:pt x="3402" y="207"/>
                  <a:pt x="3402" y="207"/>
                </a:cubicBezTo>
                <a:cubicBezTo>
                  <a:pt x="3398" y="207"/>
                  <a:pt x="3398" y="207"/>
                  <a:pt x="3398" y="207"/>
                </a:cubicBezTo>
                <a:cubicBezTo>
                  <a:pt x="3396" y="209"/>
                  <a:pt x="3394" y="210"/>
                  <a:pt x="3392" y="211"/>
                </a:cubicBezTo>
                <a:cubicBezTo>
                  <a:pt x="3391" y="212"/>
                  <a:pt x="3388" y="213"/>
                  <a:pt x="3387" y="214"/>
                </a:cubicBezTo>
                <a:cubicBezTo>
                  <a:pt x="3385" y="215"/>
                  <a:pt x="3383" y="215"/>
                  <a:pt x="3381" y="216"/>
                </a:cubicBezTo>
                <a:cubicBezTo>
                  <a:pt x="3380" y="217"/>
                  <a:pt x="3378" y="217"/>
                  <a:pt x="3376" y="218"/>
                </a:cubicBezTo>
                <a:cubicBezTo>
                  <a:pt x="3376" y="218"/>
                  <a:pt x="3376" y="218"/>
                  <a:pt x="3376" y="228"/>
                </a:cubicBezTo>
                <a:cubicBezTo>
                  <a:pt x="3379" y="228"/>
                  <a:pt x="3382" y="226"/>
                  <a:pt x="3384" y="225"/>
                </a:cubicBezTo>
                <a:cubicBezTo>
                  <a:pt x="3386" y="225"/>
                  <a:pt x="3389" y="223"/>
                  <a:pt x="3391" y="222"/>
                </a:cubicBezTo>
                <a:cubicBezTo>
                  <a:pt x="3391" y="222"/>
                  <a:pt x="3391" y="222"/>
                  <a:pt x="3391" y="281"/>
                </a:cubicBezTo>
                <a:cubicBezTo>
                  <a:pt x="3391" y="281"/>
                  <a:pt x="3391" y="281"/>
                  <a:pt x="3402" y="281"/>
                </a:cubicBezTo>
                <a:cubicBezTo>
                  <a:pt x="3402" y="281"/>
                  <a:pt x="3402" y="281"/>
                  <a:pt x="3402" y="207"/>
                </a:cubicBezTo>
                <a:close/>
                <a:moveTo>
                  <a:pt x="3158" y="240"/>
                </a:moveTo>
                <a:cubicBezTo>
                  <a:pt x="3158" y="240"/>
                  <a:pt x="3158" y="240"/>
                  <a:pt x="3158" y="240"/>
                </a:cubicBezTo>
                <a:cubicBezTo>
                  <a:pt x="3158" y="248"/>
                  <a:pt x="3158" y="248"/>
                  <a:pt x="3158" y="248"/>
                </a:cubicBezTo>
                <a:cubicBezTo>
                  <a:pt x="3164" y="248"/>
                  <a:pt x="3165" y="251"/>
                  <a:pt x="3165" y="254"/>
                </a:cubicBezTo>
                <a:cubicBezTo>
                  <a:pt x="3165" y="256"/>
                  <a:pt x="3164" y="258"/>
                  <a:pt x="3164" y="261"/>
                </a:cubicBezTo>
                <a:cubicBezTo>
                  <a:pt x="3164" y="263"/>
                  <a:pt x="3164" y="266"/>
                  <a:pt x="3164" y="268"/>
                </a:cubicBezTo>
                <a:cubicBezTo>
                  <a:pt x="3164" y="277"/>
                  <a:pt x="3170" y="281"/>
                  <a:pt x="3178" y="281"/>
                </a:cubicBezTo>
                <a:cubicBezTo>
                  <a:pt x="3178" y="281"/>
                  <a:pt x="3178" y="281"/>
                  <a:pt x="3182" y="281"/>
                </a:cubicBezTo>
                <a:cubicBezTo>
                  <a:pt x="3182" y="281"/>
                  <a:pt x="3182" y="281"/>
                  <a:pt x="3182" y="272"/>
                </a:cubicBezTo>
                <a:cubicBezTo>
                  <a:pt x="3182" y="272"/>
                  <a:pt x="3182" y="272"/>
                  <a:pt x="3180" y="272"/>
                </a:cubicBezTo>
                <a:cubicBezTo>
                  <a:pt x="3177" y="272"/>
                  <a:pt x="3175" y="269"/>
                  <a:pt x="3175" y="266"/>
                </a:cubicBezTo>
                <a:cubicBezTo>
                  <a:pt x="3175" y="264"/>
                  <a:pt x="3175" y="263"/>
                  <a:pt x="3176" y="261"/>
                </a:cubicBezTo>
                <a:cubicBezTo>
                  <a:pt x="3176" y="259"/>
                  <a:pt x="3176" y="257"/>
                  <a:pt x="3176" y="255"/>
                </a:cubicBezTo>
                <a:cubicBezTo>
                  <a:pt x="3176" y="247"/>
                  <a:pt x="3173" y="245"/>
                  <a:pt x="3168" y="244"/>
                </a:cubicBezTo>
                <a:cubicBezTo>
                  <a:pt x="3168" y="244"/>
                  <a:pt x="3168" y="244"/>
                  <a:pt x="3168" y="243"/>
                </a:cubicBezTo>
                <a:cubicBezTo>
                  <a:pt x="3173" y="242"/>
                  <a:pt x="3176" y="240"/>
                  <a:pt x="3176" y="232"/>
                </a:cubicBezTo>
                <a:cubicBezTo>
                  <a:pt x="3176" y="230"/>
                  <a:pt x="3176" y="228"/>
                  <a:pt x="3176" y="226"/>
                </a:cubicBezTo>
                <a:cubicBezTo>
                  <a:pt x="3175" y="225"/>
                  <a:pt x="3175" y="223"/>
                  <a:pt x="3175" y="222"/>
                </a:cubicBezTo>
                <a:cubicBezTo>
                  <a:pt x="3175" y="218"/>
                  <a:pt x="3177" y="216"/>
                  <a:pt x="3180" y="216"/>
                </a:cubicBezTo>
                <a:cubicBezTo>
                  <a:pt x="3180" y="216"/>
                  <a:pt x="3180" y="216"/>
                  <a:pt x="3182" y="216"/>
                </a:cubicBezTo>
                <a:cubicBezTo>
                  <a:pt x="3182" y="216"/>
                  <a:pt x="3182" y="216"/>
                  <a:pt x="3182" y="206"/>
                </a:cubicBezTo>
                <a:cubicBezTo>
                  <a:pt x="3182" y="206"/>
                  <a:pt x="3182" y="206"/>
                  <a:pt x="3178" y="206"/>
                </a:cubicBezTo>
                <a:cubicBezTo>
                  <a:pt x="3169" y="206"/>
                  <a:pt x="3164" y="210"/>
                  <a:pt x="3164" y="219"/>
                </a:cubicBezTo>
                <a:cubicBezTo>
                  <a:pt x="3164" y="221"/>
                  <a:pt x="3164" y="224"/>
                  <a:pt x="3164" y="226"/>
                </a:cubicBezTo>
                <a:cubicBezTo>
                  <a:pt x="3164" y="229"/>
                  <a:pt x="3165" y="231"/>
                  <a:pt x="3165" y="233"/>
                </a:cubicBezTo>
                <a:cubicBezTo>
                  <a:pt x="3165" y="236"/>
                  <a:pt x="3164" y="239"/>
                  <a:pt x="3158" y="240"/>
                </a:cubicBezTo>
                <a:close/>
                <a:moveTo>
                  <a:pt x="3213" y="248"/>
                </a:moveTo>
                <a:cubicBezTo>
                  <a:pt x="3213" y="248"/>
                  <a:pt x="3213" y="248"/>
                  <a:pt x="3213" y="248"/>
                </a:cubicBezTo>
                <a:cubicBezTo>
                  <a:pt x="3213" y="240"/>
                  <a:pt x="3213" y="240"/>
                  <a:pt x="3213" y="240"/>
                </a:cubicBezTo>
                <a:cubicBezTo>
                  <a:pt x="3207" y="239"/>
                  <a:pt x="3206" y="236"/>
                  <a:pt x="3206" y="233"/>
                </a:cubicBezTo>
                <a:cubicBezTo>
                  <a:pt x="3206" y="231"/>
                  <a:pt x="3206" y="229"/>
                  <a:pt x="3207" y="226"/>
                </a:cubicBezTo>
                <a:cubicBezTo>
                  <a:pt x="3207" y="224"/>
                  <a:pt x="3207" y="221"/>
                  <a:pt x="3207" y="219"/>
                </a:cubicBezTo>
                <a:cubicBezTo>
                  <a:pt x="3207" y="210"/>
                  <a:pt x="3202" y="206"/>
                  <a:pt x="3193" y="206"/>
                </a:cubicBezTo>
                <a:cubicBezTo>
                  <a:pt x="3193" y="206"/>
                  <a:pt x="3193" y="206"/>
                  <a:pt x="3189" y="206"/>
                </a:cubicBezTo>
                <a:cubicBezTo>
                  <a:pt x="3189" y="206"/>
                  <a:pt x="3189" y="206"/>
                  <a:pt x="3189" y="216"/>
                </a:cubicBezTo>
                <a:cubicBezTo>
                  <a:pt x="3189" y="216"/>
                  <a:pt x="3189" y="216"/>
                  <a:pt x="3190" y="216"/>
                </a:cubicBezTo>
                <a:cubicBezTo>
                  <a:pt x="3194" y="216"/>
                  <a:pt x="3196" y="218"/>
                  <a:pt x="3196" y="222"/>
                </a:cubicBezTo>
                <a:cubicBezTo>
                  <a:pt x="3196" y="223"/>
                  <a:pt x="3195" y="225"/>
                  <a:pt x="3195" y="226"/>
                </a:cubicBezTo>
                <a:cubicBezTo>
                  <a:pt x="3195" y="228"/>
                  <a:pt x="3195" y="230"/>
                  <a:pt x="3195" y="232"/>
                </a:cubicBezTo>
                <a:cubicBezTo>
                  <a:pt x="3195" y="240"/>
                  <a:pt x="3197" y="242"/>
                  <a:pt x="3203" y="243"/>
                </a:cubicBezTo>
                <a:cubicBezTo>
                  <a:pt x="3203" y="243"/>
                  <a:pt x="3203" y="243"/>
                  <a:pt x="3203" y="244"/>
                </a:cubicBezTo>
                <a:cubicBezTo>
                  <a:pt x="3197" y="245"/>
                  <a:pt x="3195" y="247"/>
                  <a:pt x="3195" y="255"/>
                </a:cubicBezTo>
                <a:cubicBezTo>
                  <a:pt x="3195" y="257"/>
                  <a:pt x="3195" y="259"/>
                  <a:pt x="3195" y="261"/>
                </a:cubicBezTo>
                <a:cubicBezTo>
                  <a:pt x="3195" y="263"/>
                  <a:pt x="3196" y="264"/>
                  <a:pt x="3196" y="266"/>
                </a:cubicBezTo>
                <a:cubicBezTo>
                  <a:pt x="3196" y="269"/>
                  <a:pt x="3195" y="272"/>
                  <a:pt x="3190" y="272"/>
                </a:cubicBezTo>
                <a:cubicBezTo>
                  <a:pt x="3190" y="272"/>
                  <a:pt x="3190" y="272"/>
                  <a:pt x="3189" y="272"/>
                </a:cubicBezTo>
                <a:cubicBezTo>
                  <a:pt x="3189" y="272"/>
                  <a:pt x="3189" y="272"/>
                  <a:pt x="3189" y="281"/>
                </a:cubicBezTo>
                <a:cubicBezTo>
                  <a:pt x="3189" y="281"/>
                  <a:pt x="3189" y="281"/>
                  <a:pt x="3193" y="281"/>
                </a:cubicBezTo>
                <a:cubicBezTo>
                  <a:pt x="3202" y="281"/>
                  <a:pt x="3207" y="277"/>
                  <a:pt x="3207" y="268"/>
                </a:cubicBezTo>
                <a:cubicBezTo>
                  <a:pt x="3207" y="266"/>
                  <a:pt x="3207" y="263"/>
                  <a:pt x="3207" y="261"/>
                </a:cubicBezTo>
                <a:cubicBezTo>
                  <a:pt x="3206" y="258"/>
                  <a:pt x="3206" y="256"/>
                  <a:pt x="3206" y="254"/>
                </a:cubicBezTo>
                <a:cubicBezTo>
                  <a:pt x="3206" y="251"/>
                  <a:pt x="3207" y="248"/>
                  <a:pt x="3213" y="248"/>
                </a:cubicBezTo>
                <a:close/>
                <a:moveTo>
                  <a:pt x="3540" y="240"/>
                </a:moveTo>
                <a:cubicBezTo>
                  <a:pt x="3540" y="240"/>
                  <a:pt x="3540" y="240"/>
                  <a:pt x="3540" y="240"/>
                </a:cubicBezTo>
                <a:cubicBezTo>
                  <a:pt x="3540" y="248"/>
                  <a:pt x="3540" y="248"/>
                  <a:pt x="3540" y="248"/>
                </a:cubicBezTo>
                <a:cubicBezTo>
                  <a:pt x="3546" y="248"/>
                  <a:pt x="3547" y="251"/>
                  <a:pt x="3547" y="254"/>
                </a:cubicBezTo>
                <a:cubicBezTo>
                  <a:pt x="3547" y="256"/>
                  <a:pt x="3547" y="258"/>
                  <a:pt x="3547" y="261"/>
                </a:cubicBezTo>
                <a:cubicBezTo>
                  <a:pt x="3546" y="263"/>
                  <a:pt x="3546" y="266"/>
                  <a:pt x="3546" y="268"/>
                </a:cubicBezTo>
                <a:cubicBezTo>
                  <a:pt x="3546" y="277"/>
                  <a:pt x="3552" y="281"/>
                  <a:pt x="3561" y="281"/>
                </a:cubicBezTo>
                <a:cubicBezTo>
                  <a:pt x="3561" y="281"/>
                  <a:pt x="3561" y="281"/>
                  <a:pt x="3564" y="281"/>
                </a:cubicBezTo>
                <a:cubicBezTo>
                  <a:pt x="3564" y="281"/>
                  <a:pt x="3564" y="281"/>
                  <a:pt x="3564" y="272"/>
                </a:cubicBezTo>
                <a:cubicBezTo>
                  <a:pt x="3564" y="272"/>
                  <a:pt x="3564" y="272"/>
                  <a:pt x="3563" y="272"/>
                </a:cubicBezTo>
                <a:cubicBezTo>
                  <a:pt x="3559" y="272"/>
                  <a:pt x="3558" y="269"/>
                  <a:pt x="3558" y="266"/>
                </a:cubicBezTo>
                <a:cubicBezTo>
                  <a:pt x="3558" y="264"/>
                  <a:pt x="3558" y="263"/>
                  <a:pt x="3558" y="261"/>
                </a:cubicBezTo>
                <a:cubicBezTo>
                  <a:pt x="3558" y="259"/>
                  <a:pt x="3559" y="257"/>
                  <a:pt x="3559" y="255"/>
                </a:cubicBezTo>
                <a:cubicBezTo>
                  <a:pt x="3559" y="247"/>
                  <a:pt x="3556" y="245"/>
                  <a:pt x="3550" y="244"/>
                </a:cubicBezTo>
                <a:cubicBezTo>
                  <a:pt x="3550" y="244"/>
                  <a:pt x="3550" y="244"/>
                  <a:pt x="3550" y="243"/>
                </a:cubicBezTo>
                <a:cubicBezTo>
                  <a:pt x="3556" y="242"/>
                  <a:pt x="3559" y="240"/>
                  <a:pt x="3559" y="232"/>
                </a:cubicBezTo>
                <a:cubicBezTo>
                  <a:pt x="3559" y="230"/>
                  <a:pt x="3558" y="228"/>
                  <a:pt x="3558" y="226"/>
                </a:cubicBezTo>
                <a:cubicBezTo>
                  <a:pt x="3558" y="225"/>
                  <a:pt x="3558" y="223"/>
                  <a:pt x="3558" y="222"/>
                </a:cubicBezTo>
                <a:cubicBezTo>
                  <a:pt x="3558" y="218"/>
                  <a:pt x="3559" y="216"/>
                  <a:pt x="3563" y="216"/>
                </a:cubicBezTo>
                <a:cubicBezTo>
                  <a:pt x="3563" y="216"/>
                  <a:pt x="3563" y="216"/>
                  <a:pt x="3564" y="216"/>
                </a:cubicBezTo>
                <a:cubicBezTo>
                  <a:pt x="3564" y="216"/>
                  <a:pt x="3564" y="216"/>
                  <a:pt x="3564" y="206"/>
                </a:cubicBezTo>
                <a:cubicBezTo>
                  <a:pt x="3564" y="206"/>
                  <a:pt x="3564" y="206"/>
                  <a:pt x="3561" y="206"/>
                </a:cubicBezTo>
                <a:cubicBezTo>
                  <a:pt x="3552" y="206"/>
                  <a:pt x="3546" y="210"/>
                  <a:pt x="3546" y="219"/>
                </a:cubicBezTo>
                <a:cubicBezTo>
                  <a:pt x="3546" y="221"/>
                  <a:pt x="3546" y="224"/>
                  <a:pt x="3546" y="226"/>
                </a:cubicBezTo>
                <a:cubicBezTo>
                  <a:pt x="3547" y="229"/>
                  <a:pt x="3547" y="231"/>
                  <a:pt x="3547" y="233"/>
                </a:cubicBezTo>
                <a:cubicBezTo>
                  <a:pt x="3547" y="236"/>
                  <a:pt x="3546" y="239"/>
                  <a:pt x="3540" y="240"/>
                </a:cubicBezTo>
                <a:close/>
                <a:moveTo>
                  <a:pt x="3595" y="248"/>
                </a:moveTo>
                <a:cubicBezTo>
                  <a:pt x="3595" y="248"/>
                  <a:pt x="3595" y="248"/>
                  <a:pt x="3595" y="248"/>
                </a:cubicBezTo>
                <a:cubicBezTo>
                  <a:pt x="3595" y="240"/>
                  <a:pt x="3595" y="240"/>
                  <a:pt x="3595" y="240"/>
                </a:cubicBezTo>
                <a:cubicBezTo>
                  <a:pt x="3589" y="239"/>
                  <a:pt x="3588" y="236"/>
                  <a:pt x="3588" y="233"/>
                </a:cubicBezTo>
                <a:cubicBezTo>
                  <a:pt x="3588" y="231"/>
                  <a:pt x="3588" y="229"/>
                  <a:pt x="3589" y="226"/>
                </a:cubicBezTo>
                <a:cubicBezTo>
                  <a:pt x="3589" y="224"/>
                  <a:pt x="3589" y="221"/>
                  <a:pt x="3589" y="219"/>
                </a:cubicBezTo>
                <a:cubicBezTo>
                  <a:pt x="3589" y="210"/>
                  <a:pt x="3584" y="206"/>
                  <a:pt x="3575" y="206"/>
                </a:cubicBezTo>
                <a:cubicBezTo>
                  <a:pt x="3575" y="206"/>
                  <a:pt x="3575" y="206"/>
                  <a:pt x="3571" y="206"/>
                </a:cubicBezTo>
                <a:cubicBezTo>
                  <a:pt x="3571" y="206"/>
                  <a:pt x="3571" y="206"/>
                  <a:pt x="3571" y="216"/>
                </a:cubicBezTo>
                <a:cubicBezTo>
                  <a:pt x="3571" y="216"/>
                  <a:pt x="3571" y="216"/>
                  <a:pt x="3573" y="216"/>
                </a:cubicBezTo>
                <a:cubicBezTo>
                  <a:pt x="3576" y="216"/>
                  <a:pt x="3578" y="218"/>
                  <a:pt x="3578" y="222"/>
                </a:cubicBezTo>
                <a:cubicBezTo>
                  <a:pt x="3578" y="223"/>
                  <a:pt x="3577" y="225"/>
                  <a:pt x="3577" y="226"/>
                </a:cubicBezTo>
                <a:cubicBezTo>
                  <a:pt x="3577" y="228"/>
                  <a:pt x="3577" y="230"/>
                  <a:pt x="3577" y="232"/>
                </a:cubicBezTo>
                <a:cubicBezTo>
                  <a:pt x="3577" y="240"/>
                  <a:pt x="3580" y="242"/>
                  <a:pt x="3585" y="243"/>
                </a:cubicBezTo>
                <a:cubicBezTo>
                  <a:pt x="3585" y="243"/>
                  <a:pt x="3585" y="243"/>
                  <a:pt x="3585" y="244"/>
                </a:cubicBezTo>
                <a:cubicBezTo>
                  <a:pt x="3580" y="245"/>
                  <a:pt x="3577" y="247"/>
                  <a:pt x="3577" y="255"/>
                </a:cubicBezTo>
                <a:cubicBezTo>
                  <a:pt x="3577" y="257"/>
                  <a:pt x="3577" y="259"/>
                  <a:pt x="3577" y="261"/>
                </a:cubicBezTo>
                <a:cubicBezTo>
                  <a:pt x="3577" y="263"/>
                  <a:pt x="3578" y="264"/>
                  <a:pt x="3578" y="266"/>
                </a:cubicBezTo>
                <a:cubicBezTo>
                  <a:pt x="3578" y="269"/>
                  <a:pt x="3577" y="272"/>
                  <a:pt x="3573" y="272"/>
                </a:cubicBezTo>
                <a:cubicBezTo>
                  <a:pt x="3573" y="272"/>
                  <a:pt x="3573" y="272"/>
                  <a:pt x="3571" y="272"/>
                </a:cubicBezTo>
                <a:cubicBezTo>
                  <a:pt x="3571" y="272"/>
                  <a:pt x="3571" y="272"/>
                  <a:pt x="3571" y="281"/>
                </a:cubicBezTo>
                <a:cubicBezTo>
                  <a:pt x="3571" y="281"/>
                  <a:pt x="3571" y="281"/>
                  <a:pt x="3575" y="281"/>
                </a:cubicBezTo>
                <a:cubicBezTo>
                  <a:pt x="3584" y="281"/>
                  <a:pt x="3589" y="277"/>
                  <a:pt x="3589" y="268"/>
                </a:cubicBezTo>
                <a:cubicBezTo>
                  <a:pt x="3589" y="266"/>
                  <a:pt x="3589" y="263"/>
                  <a:pt x="3589" y="261"/>
                </a:cubicBezTo>
                <a:cubicBezTo>
                  <a:pt x="3588" y="258"/>
                  <a:pt x="3588" y="256"/>
                  <a:pt x="3588" y="254"/>
                </a:cubicBezTo>
                <a:cubicBezTo>
                  <a:pt x="3588" y="251"/>
                  <a:pt x="3589" y="248"/>
                  <a:pt x="3595" y="248"/>
                </a:cubicBezTo>
                <a:close/>
                <a:moveTo>
                  <a:pt x="3643" y="207"/>
                </a:moveTo>
                <a:cubicBezTo>
                  <a:pt x="3643" y="207"/>
                  <a:pt x="3643" y="207"/>
                  <a:pt x="3643" y="207"/>
                </a:cubicBezTo>
                <a:cubicBezTo>
                  <a:pt x="3637" y="207"/>
                  <a:pt x="3637" y="207"/>
                  <a:pt x="3637" y="207"/>
                </a:cubicBezTo>
                <a:cubicBezTo>
                  <a:pt x="3635" y="209"/>
                  <a:pt x="3634" y="210"/>
                  <a:pt x="3632" y="211"/>
                </a:cubicBezTo>
                <a:cubicBezTo>
                  <a:pt x="3630" y="212"/>
                  <a:pt x="3628" y="213"/>
                  <a:pt x="3627" y="214"/>
                </a:cubicBezTo>
                <a:cubicBezTo>
                  <a:pt x="3624" y="215"/>
                  <a:pt x="3623" y="215"/>
                  <a:pt x="3622" y="216"/>
                </a:cubicBezTo>
                <a:cubicBezTo>
                  <a:pt x="3619" y="217"/>
                  <a:pt x="3618" y="217"/>
                  <a:pt x="3616" y="218"/>
                </a:cubicBezTo>
                <a:cubicBezTo>
                  <a:pt x="3616" y="218"/>
                  <a:pt x="3616" y="218"/>
                  <a:pt x="3616" y="228"/>
                </a:cubicBezTo>
                <a:cubicBezTo>
                  <a:pt x="3619" y="228"/>
                  <a:pt x="3622" y="226"/>
                  <a:pt x="3624" y="225"/>
                </a:cubicBezTo>
                <a:cubicBezTo>
                  <a:pt x="3627" y="225"/>
                  <a:pt x="3629" y="223"/>
                  <a:pt x="3631" y="222"/>
                </a:cubicBezTo>
                <a:cubicBezTo>
                  <a:pt x="3631" y="222"/>
                  <a:pt x="3631" y="222"/>
                  <a:pt x="3631" y="281"/>
                </a:cubicBezTo>
                <a:cubicBezTo>
                  <a:pt x="3631" y="281"/>
                  <a:pt x="3631" y="281"/>
                  <a:pt x="3643" y="281"/>
                </a:cubicBezTo>
                <a:cubicBezTo>
                  <a:pt x="3643" y="281"/>
                  <a:pt x="3643" y="281"/>
                  <a:pt x="3643" y="207"/>
                </a:cubicBezTo>
                <a:close/>
                <a:moveTo>
                  <a:pt x="3690" y="207"/>
                </a:moveTo>
                <a:cubicBezTo>
                  <a:pt x="3690" y="207"/>
                  <a:pt x="3690" y="207"/>
                  <a:pt x="3690" y="207"/>
                </a:cubicBezTo>
                <a:cubicBezTo>
                  <a:pt x="3685" y="207"/>
                  <a:pt x="3685" y="207"/>
                  <a:pt x="3685" y="207"/>
                </a:cubicBezTo>
                <a:cubicBezTo>
                  <a:pt x="3682" y="209"/>
                  <a:pt x="3681" y="210"/>
                  <a:pt x="3679" y="211"/>
                </a:cubicBezTo>
                <a:cubicBezTo>
                  <a:pt x="3677" y="212"/>
                  <a:pt x="3675" y="213"/>
                  <a:pt x="3674" y="214"/>
                </a:cubicBezTo>
                <a:cubicBezTo>
                  <a:pt x="3672" y="215"/>
                  <a:pt x="3670" y="216"/>
                  <a:pt x="3669" y="217"/>
                </a:cubicBezTo>
                <a:cubicBezTo>
                  <a:pt x="3667" y="217"/>
                  <a:pt x="3665" y="218"/>
                  <a:pt x="3663" y="218"/>
                </a:cubicBezTo>
                <a:cubicBezTo>
                  <a:pt x="3663" y="218"/>
                  <a:pt x="3663" y="218"/>
                  <a:pt x="3663" y="228"/>
                </a:cubicBezTo>
                <a:cubicBezTo>
                  <a:pt x="3666" y="228"/>
                  <a:pt x="3669" y="227"/>
                  <a:pt x="3671" y="225"/>
                </a:cubicBezTo>
                <a:cubicBezTo>
                  <a:pt x="3674" y="225"/>
                  <a:pt x="3676" y="223"/>
                  <a:pt x="3678" y="222"/>
                </a:cubicBezTo>
                <a:cubicBezTo>
                  <a:pt x="3678" y="222"/>
                  <a:pt x="3678" y="222"/>
                  <a:pt x="3678" y="281"/>
                </a:cubicBezTo>
                <a:cubicBezTo>
                  <a:pt x="3678" y="281"/>
                  <a:pt x="3678" y="281"/>
                  <a:pt x="3690" y="281"/>
                </a:cubicBezTo>
                <a:cubicBezTo>
                  <a:pt x="3690" y="281"/>
                  <a:pt x="3690" y="281"/>
                  <a:pt x="3690" y="207"/>
                </a:cubicBezTo>
                <a:close/>
                <a:moveTo>
                  <a:pt x="3736" y="207"/>
                </a:moveTo>
                <a:cubicBezTo>
                  <a:pt x="3736" y="207"/>
                  <a:pt x="3736" y="207"/>
                  <a:pt x="3736" y="207"/>
                </a:cubicBezTo>
                <a:cubicBezTo>
                  <a:pt x="3732" y="207"/>
                  <a:pt x="3732" y="207"/>
                  <a:pt x="3732" y="207"/>
                </a:cubicBezTo>
                <a:cubicBezTo>
                  <a:pt x="3730" y="209"/>
                  <a:pt x="3728" y="210"/>
                  <a:pt x="3726" y="211"/>
                </a:cubicBezTo>
                <a:cubicBezTo>
                  <a:pt x="3725" y="212"/>
                  <a:pt x="3722" y="213"/>
                  <a:pt x="3721" y="214"/>
                </a:cubicBezTo>
                <a:cubicBezTo>
                  <a:pt x="3719" y="215"/>
                  <a:pt x="3717" y="216"/>
                  <a:pt x="3715" y="217"/>
                </a:cubicBezTo>
                <a:cubicBezTo>
                  <a:pt x="3714" y="217"/>
                  <a:pt x="3712" y="218"/>
                  <a:pt x="3710" y="218"/>
                </a:cubicBezTo>
                <a:cubicBezTo>
                  <a:pt x="3710" y="218"/>
                  <a:pt x="3710" y="218"/>
                  <a:pt x="3710" y="228"/>
                </a:cubicBezTo>
                <a:cubicBezTo>
                  <a:pt x="3713" y="228"/>
                  <a:pt x="3716" y="227"/>
                  <a:pt x="3718" y="225"/>
                </a:cubicBezTo>
                <a:cubicBezTo>
                  <a:pt x="3720" y="225"/>
                  <a:pt x="3723" y="223"/>
                  <a:pt x="3725" y="222"/>
                </a:cubicBezTo>
                <a:cubicBezTo>
                  <a:pt x="3725" y="222"/>
                  <a:pt x="3725" y="222"/>
                  <a:pt x="3725" y="281"/>
                </a:cubicBezTo>
                <a:cubicBezTo>
                  <a:pt x="3725" y="281"/>
                  <a:pt x="3725" y="281"/>
                  <a:pt x="3736" y="281"/>
                </a:cubicBezTo>
                <a:cubicBezTo>
                  <a:pt x="3736" y="281"/>
                  <a:pt x="3736" y="281"/>
                  <a:pt x="3736" y="207"/>
                </a:cubicBezTo>
                <a:close/>
                <a:moveTo>
                  <a:pt x="3860" y="207"/>
                </a:moveTo>
                <a:cubicBezTo>
                  <a:pt x="3860" y="207"/>
                  <a:pt x="3860" y="207"/>
                  <a:pt x="3860" y="207"/>
                </a:cubicBezTo>
                <a:cubicBezTo>
                  <a:pt x="3854" y="207"/>
                  <a:pt x="3854" y="207"/>
                  <a:pt x="3854" y="207"/>
                </a:cubicBezTo>
                <a:cubicBezTo>
                  <a:pt x="3852" y="209"/>
                  <a:pt x="3851" y="210"/>
                  <a:pt x="3848" y="211"/>
                </a:cubicBezTo>
                <a:cubicBezTo>
                  <a:pt x="3847" y="212"/>
                  <a:pt x="3845" y="213"/>
                  <a:pt x="3843" y="214"/>
                </a:cubicBezTo>
                <a:cubicBezTo>
                  <a:pt x="3842" y="215"/>
                  <a:pt x="3840" y="216"/>
                  <a:pt x="3838" y="217"/>
                </a:cubicBezTo>
                <a:cubicBezTo>
                  <a:pt x="3836" y="217"/>
                  <a:pt x="3834" y="218"/>
                  <a:pt x="3832" y="218"/>
                </a:cubicBezTo>
                <a:cubicBezTo>
                  <a:pt x="3832" y="218"/>
                  <a:pt x="3832" y="218"/>
                  <a:pt x="3832" y="228"/>
                </a:cubicBezTo>
                <a:cubicBezTo>
                  <a:pt x="3835" y="228"/>
                  <a:pt x="3838" y="227"/>
                  <a:pt x="3841" y="225"/>
                </a:cubicBezTo>
                <a:cubicBezTo>
                  <a:pt x="3843" y="225"/>
                  <a:pt x="3845" y="223"/>
                  <a:pt x="3848" y="222"/>
                </a:cubicBezTo>
                <a:cubicBezTo>
                  <a:pt x="3848" y="222"/>
                  <a:pt x="3848" y="222"/>
                  <a:pt x="3848" y="281"/>
                </a:cubicBezTo>
                <a:cubicBezTo>
                  <a:pt x="3848" y="281"/>
                  <a:pt x="3848" y="281"/>
                  <a:pt x="3860" y="281"/>
                </a:cubicBezTo>
                <a:cubicBezTo>
                  <a:pt x="3860" y="281"/>
                  <a:pt x="3860" y="281"/>
                  <a:pt x="3860" y="207"/>
                </a:cubicBezTo>
                <a:close/>
                <a:moveTo>
                  <a:pt x="3757" y="240"/>
                </a:moveTo>
                <a:cubicBezTo>
                  <a:pt x="3757" y="240"/>
                  <a:pt x="3757" y="240"/>
                  <a:pt x="3757" y="240"/>
                </a:cubicBezTo>
                <a:cubicBezTo>
                  <a:pt x="3757" y="248"/>
                  <a:pt x="3757" y="248"/>
                  <a:pt x="3757" y="248"/>
                </a:cubicBezTo>
                <a:cubicBezTo>
                  <a:pt x="3763" y="248"/>
                  <a:pt x="3764" y="251"/>
                  <a:pt x="3764" y="254"/>
                </a:cubicBezTo>
                <a:cubicBezTo>
                  <a:pt x="3764" y="256"/>
                  <a:pt x="3763" y="258"/>
                  <a:pt x="3763" y="261"/>
                </a:cubicBezTo>
                <a:cubicBezTo>
                  <a:pt x="3763" y="263"/>
                  <a:pt x="3763" y="266"/>
                  <a:pt x="3763" y="268"/>
                </a:cubicBezTo>
                <a:cubicBezTo>
                  <a:pt x="3763" y="277"/>
                  <a:pt x="3769" y="281"/>
                  <a:pt x="3777" y="281"/>
                </a:cubicBezTo>
                <a:cubicBezTo>
                  <a:pt x="3777" y="281"/>
                  <a:pt x="3777" y="281"/>
                  <a:pt x="3781" y="281"/>
                </a:cubicBezTo>
                <a:cubicBezTo>
                  <a:pt x="3781" y="281"/>
                  <a:pt x="3781" y="281"/>
                  <a:pt x="3781" y="272"/>
                </a:cubicBezTo>
                <a:cubicBezTo>
                  <a:pt x="3781" y="272"/>
                  <a:pt x="3781" y="272"/>
                  <a:pt x="3779" y="272"/>
                </a:cubicBezTo>
                <a:cubicBezTo>
                  <a:pt x="3776" y="272"/>
                  <a:pt x="3775" y="269"/>
                  <a:pt x="3775" y="266"/>
                </a:cubicBezTo>
                <a:cubicBezTo>
                  <a:pt x="3775" y="264"/>
                  <a:pt x="3775" y="263"/>
                  <a:pt x="3775" y="261"/>
                </a:cubicBezTo>
                <a:cubicBezTo>
                  <a:pt x="3775" y="259"/>
                  <a:pt x="3775" y="257"/>
                  <a:pt x="3775" y="255"/>
                </a:cubicBezTo>
                <a:cubicBezTo>
                  <a:pt x="3775" y="247"/>
                  <a:pt x="3772" y="245"/>
                  <a:pt x="3767" y="244"/>
                </a:cubicBezTo>
                <a:cubicBezTo>
                  <a:pt x="3767" y="244"/>
                  <a:pt x="3767" y="244"/>
                  <a:pt x="3767" y="243"/>
                </a:cubicBezTo>
                <a:cubicBezTo>
                  <a:pt x="3772" y="242"/>
                  <a:pt x="3775" y="240"/>
                  <a:pt x="3775" y="232"/>
                </a:cubicBezTo>
                <a:cubicBezTo>
                  <a:pt x="3775" y="230"/>
                  <a:pt x="3775" y="228"/>
                  <a:pt x="3775" y="226"/>
                </a:cubicBezTo>
                <a:cubicBezTo>
                  <a:pt x="3775" y="225"/>
                  <a:pt x="3775" y="223"/>
                  <a:pt x="3775" y="222"/>
                </a:cubicBezTo>
                <a:cubicBezTo>
                  <a:pt x="3775" y="218"/>
                  <a:pt x="3776" y="216"/>
                  <a:pt x="3779" y="216"/>
                </a:cubicBezTo>
                <a:cubicBezTo>
                  <a:pt x="3779" y="216"/>
                  <a:pt x="3779" y="216"/>
                  <a:pt x="3781" y="216"/>
                </a:cubicBezTo>
                <a:cubicBezTo>
                  <a:pt x="3781" y="216"/>
                  <a:pt x="3781" y="216"/>
                  <a:pt x="3781" y="206"/>
                </a:cubicBezTo>
                <a:cubicBezTo>
                  <a:pt x="3781" y="206"/>
                  <a:pt x="3781" y="206"/>
                  <a:pt x="3777" y="206"/>
                </a:cubicBezTo>
                <a:cubicBezTo>
                  <a:pt x="3768" y="206"/>
                  <a:pt x="3763" y="210"/>
                  <a:pt x="3763" y="219"/>
                </a:cubicBezTo>
                <a:cubicBezTo>
                  <a:pt x="3763" y="221"/>
                  <a:pt x="3763" y="224"/>
                  <a:pt x="3763" y="226"/>
                </a:cubicBezTo>
                <a:cubicBezTo>
                  <a:pt x="3763" y="229"/>
                  <a:pt x="3764" y="231"/>
                  <a:pt x="3764" y="233"/>
                </a:cubicBezTo>
                <a:cubicBezTo>
                  <a:pt x="3764" y="236"/>
                  <a:pt x="3763" y="239"/>
                  <a:pt x="3757" y="240"/>
                </a:cubicBezTo>
                <a:close/>
                <a:moveTo>
                  <a:pt x="3812" y="248"/>
                </a:moveTo>
                <a:cubicBezTo>
                  <a:pt x="3812" y="248"/>
                  <a:pt x="3812" y="248"/>
                  <a:pt x="3812" y="248"/>
                </a:cubicBezTo>
                <a:cubicBezTo>
                  <a:pt x="3812" y="240"/>
                  <a:pt x="3812" y="240"/>
                  <a:pt x="3812" y="240"/>
                </a:cubicBezTo>
                <a:cubicBezTo>
                  <a:pt x="3806" y="239"/>
                  <a:pt x="3805" y="236"/>
                  <a:pt x="3805" y="233"/>
                </a:cubicBezTo>
                <a:cubicBezTo>
                  <a:pt x="3805" y="231"/>
                  <a:pt x="3805" y="229"/>
                  <a:pt x="3806" y="226"/>
                </a:cubicBezTo>
                <a:cubicBezTo>
                  <a:pt x="3806" y="224"/>
                  <a:pt x="3806" y="221"/>
                  <a:pt x="3806" y="219"/>
                </a:cubicBezTo>
                <a:cubicBezTo>
                  <a:pt x="3806" y="210"/>
                  <a:pt x="3801" y="206"/>
                  <a:pt x="3791" y="206"/>
                </a:cubicBezTo>
                <a:cubicBezTo>
                  <a:pt x="3791" y="206"/>
                  <a:pt x="3791" y="206"/>
                  <a:pt x="3788" y="206"/>
                </a:cubicBezTo>
                <a:cubicBezTo>
                  <a:pt x="3788" y="206"/>
                  <a:pt x="3788" y="206"/>
                  <a:pt x="3788" y="216"/>
                </a:cubicBezTo>
                <a:cubicBezTo>
                  <a:pt x="3788" y="216"/>
                  <a:pt x="3788" y="216"/>
                  <a:pt x="3789" y="216"/>
                </a:cubicBezTo>
                <a:cubicBezTo>
                  <a:pt x="3793" y="216"/>
                  <a:pt x="3794" y="218"/>
                  <a:pt x="3794" y="222"/>
                </a:cubicBezTo>
                <a:cubicBezTo>
                  <a:pt x="3794" y="223"/>
                  <a:pt x="3794" y="225"/>
                  <a:pt x="3794" y="226"/>
                </a:cubicBezTo>
                <a:cubicBezTo>
                  <a:pt x="3794" y="228"/>
                  <a:pt x="3794" y="230"/>
                  <a:pt x="3794" y="232"/>
                </a:cubicBezTo>
                <a:cubicBezTo>
                  <a:pt x="3794" y="240"/>
                  <a:pt x="3796" y="242"/>
                  <a:pt x="3802" y="243"/>
                </a:cubicBezTo>
                <a:cubicBezTo>
                  <a:pt x="3802" y="243"/>
                  <a:pt x="3802" y="243"/>
                  <a:pt x="3802" y="244"/>
                </a:cubicBezTo>
                <a:cubicBezTo>
                  <a:pt x="3796" y="245"/>
                  <a:pt x="3794" y="247"/>
                  <a:pt x="3794" y="255"/>
                </a:cubicBezTo>
                <a:cubicBezTo>
                  <a:pt x="3794" y="257"/>
                  <a:pt x="3794" y="259"/>
                  <a:pt x="3794" y="261"/>
                </a:cubicBezTo>
                <a:cubicBezTo>
                  <a:pt x="3794" y="263"/>
                  <a:pt x="3794" y="264"/>
                  <a:pt x="3794" y="266"/>
                </a:cubicBezTo>
                <a:cubicBezTo>
                  <a:pt x="3794" y="269"/>
                  <a:pt x="3793" y="272"/>
                  <a:pt x="3789" y="272"/>
                </a:cubicBezTo>
                <a:cubicBezTo>
                  <a:pt x="3789" y="272"/>
                  <a:pt x="3789" y="272"/>
                  <a:pt x="3788" y="272"/>
                </a:cubicBezTo>
                <a:cubicBezTo>
                  <a:pt x="3788" y="272"/>
                  <a:pt x="3788" y="272"/>
                  <a:pt x="3788" y="281"/>
                </a:cubicBezTo>
                <a:cubicBezTo>
                  <a:pt x="3788" y="281"/>
                  <a:pt x="3788" y="281"/>
                  <a:pt x="3791" y="281"/>
                </a:cubicBezTo>
                <a:cubicBezTo>
                  <a:pt x="3800" y="281"/>
                  <a:pt x="3806" y="277"/>
                  <a:pt x="3806" y="268"/>
                </a:cubicBezTo>
                <a:cubicBezTo>
                  <a:pt x="3806" y="266"/>
                  <a:pt x="3806" y="263"/>
                  <a:pt x="3806" y="261"/>
                </a:cubicBezTo>
                <a:cubicBezTo>
                  <a:pt x="3805" y="258"/>
                  <a:pt x="3805" y="256"/>
                  <a:pt x="3805" y="254"/>
                </a:cubicBezTo>
                <a:cubicBezTo>
                  <a:pt x="3805" y="251"/>
                  <a:pt x="3806" y="248"/>
                  <a:pt x="3812" y="248"/>
                </a:cubicBezTo>
                <a:close/>
                <a:moveTo>
                  <a:pt x="2953" y="159"/>
                </a:moveTo>
                <a:cubicBezTo>
                  <a:pt x="2953" y="160"/>
                  <a:pt x="2954" y="161"/>
                  <a:pt x="2954" y="163"/>
                </a:cubicBezTo>
                <a:cubicBezTo>
                  <a:pt x="2955" y="164"/>
                  <a:pt x="2955" y="166"/>
                  <a:pt x="2956" y="168"/>
                </a:cubicBezTo>
                <a:cubicBezTo>
                  <a:pt x="2956" y="170"/>
                  <a:pt x="2956" y="171"/>
                  <a:pt x="2956" y="173"/>
                </a:cubicBezTo>
                <a:cubicBezTo>
                  <a:pt x="2957" y="176"/>
                  <a:pt x="2956" y="178"/>
                  <a:pt x="2952" y="178"/>
                </a:cubicBezTo>
                <a:cubicBezTo>
                  <a:pt x="2950" y="178"/>
                  <a:pt x="2947" y="177"/>
                  <a:pt x="2944" y="177"/>
                </a:cubicBezTo>
                <a:cubicBezTo>
                  <a:pt x="2944" y="177"/>
                  <a:pt x="2943" y="177"/>
                  <a:pt x="2943" y="178"/>
                </a:cubicBezTo>
                <a:cubicBezTo>
                  <a:pt x="2941" y="179"/>
                  <a:pt x="2939" y="180"/>
                  <a:pt x="2938" y="182"/>
                </a:cubicBezTo>
                <a:cubicBezTo>
                  <a:pt x="2936" y="184"/>
                  <a:pt x="2933" y="185"/>
                  <a:pt x="2931" y="183"/>
                </a:cubicBezTo>
                <a:cubicBezTo>
                  <a:pt x="2929" y="180"/>
                  <a:pt x="2928" y="178"/>
                  <a:pt x="2926" y="175"/>
                </a:cubicBezTo>
                <a:cubicBezTo>
                  <a:pt x="2925" y="174"/>
                  <a:pt x="2926" y="172"/>
                  <a:pt x="2928" y="170"/>
                </a:cubicBezTo>
                <a:cubicBezTo>
                  <a:pt x="2925" y="170"/>
                  <a:pt x="2924" y="170"/>
                  <a:pt x="2922" y="170"/>
                </a:cubicBezTo>
                <a:cubicBezTo>
                  <a:pt x="2921" y="172"/>
                  <a:pt x="2920" y="174"/>
                  <a:pt x="2919" y="176"/>
                </a:cubicBezTo>
                <a:cubicBezTo>
                  <a:pt x="2919" y="177"/>
                  <a:pt x="2919" y="178"/>
                  <a:pt x="2919" y="179"/>
                </a:cubicBezTo>
                <a:cubicBezTo>
                  <a:pt x="2919" y="182"/>
                  <a:pt x="2918" y="183"/>
                  <a:pt x="2915" y="183"/>
                </a:cubicBezTo>
                <a:cubicBezTo>
                  <a:pt x="2912" y="182"/>
                  <a:pt x="2909" y="182"/>
                  <a:pt x="2906" y="180"/>
                </a:cubicBezTo>
                <a:cubicBezTo>
                  <a:pt x="2904" y="180"/>
                  <a:pt x="2903" y="178"/>
                  <a:pt x="2904" y="176"/>
                </a:cubicBezTo>
                <a:cubicBezTo>
                  <a:pt x="2904" y="176"/>
                  <a:pt x="2904" y="175"/>
                  <a:pt x="2905" y="175"/>
                </a:cubicBezTo>
                <a:cubicBezTo>
                  <a:pt x="2902" y="174"/>
                  <a:pt x="2900" y="173"/>
                  <a:pt x="2898" y="171"/>
                </a:cubicBezTo>
                <a:cubicBezTo>
                  <a:pt x="2897" y="170"/>
                  <a:pt x="2896" y="168"/>
                  <a:pt x="2895" y="167"/>
                </a:cubicBezTo>
                <a:cubicBezTo>
                  <a:pt x="2894" y="165"/>
                  <a:pt x="2894" y="163"/>
                  <a:pt x="2896" y="162"/>
                </a:cubicBezTo>
                <a:cubicBezTo>
                  <a:pt x="2899" y="159"/>
                  <a:pt x="2900" y="157"/>
                  <a:pt x="2899" y="153"/>
                </a:cubicBezTo>
                <a:cubicBezTo>
                  <a:pt x="2899" y="151"/>
                  <a:pt x="2899" y="148"/>
                  <a:pt x="2899" y="147"/>
                </a:cubicBezTo>
                <a:cubicBezTo>
                  <a:pt x="2898" y="146"/>
                  <a:pt x="2896" y="145"/>
                  <a:pt x="2895" y="144"/>
                </a:cubicBezTo>
                <a:cubicBezTo>
                  <a:pt x="2894" y="143"/>
                  <a:pt x="2893" y="141"/>
                  <a:pt x="2893" y="139"/>
                </a:cubicBezTo>
                <a:cubicBezTo>
                  <a:pt x="2893" y="136"/>
                  <a:pt x="2896" y="133"/>
                  <a:pt x="2899" y="132"/>
                </a:cubicBezTo>
                <a:cubicBezTo>
                  <a:pt x="2899" y="133"/>
                  <a:pt x="2899" y="134"/>
                  <a:pt x="2900" y="135"/>
                </a:cubicBezTo>
                <a:cubicBezTo>
                  <a:pt x="2900" y="136"/>
                  <a:pt x="2900" y="137"/>
                  <a:pt x="2900" y="138"/>
                </a:cubicBezTo>
                <a:cubicBezTo>
                  <a:pt x="2899" y="138"/>
                  <a:pt x="2899" y="138"/>
                  <a:pt x="2899" y="138"/>
                </a:cubicBezTo>
                <a:cubicBezTo>
                  <a:pt x="2898" y="139"/>
                  <a:pt x="2898" y="140"/>
                  <a:pt x="2897" y="142"/>
                </a:cubicBezTo>
                <a:cubicBezTo>
                  <a:pt x="2898" y="142"/>
                  <a:pt x="2899" y="142"/>
                  <a:pt x="2899" y="141"/>
                </a:cubicBezTo>
                <a:cubicBezTo>
                  <a:pt x="2901" y="140"/>
                  <a:pt x="2901" y="139"/>
                  <a:pt x="2902" y="138"/>
                </a:cubicBezTo>
                <a:cubicBezTo>
                  <a:pt x="2907" y="131"/>
                  <a:pt x="2912" y="127"/>
                  <a:pt x="2920" y="126"/>
                </a:cubicBezTo>
                <a:cubicBezTo>
                  <a:pt x="2923" y="125"/>
                  <a:pt x="2927" y="124"/>
                  <a:pt x="2929" y="121"/>
                </a:cubicBezTo>
                <a:cubicBezTo>
                  <a:pt x="2929" y="121"/>
                  <a:pt x="2930" y="121"/>
                  <a:pt x="2930" y="121"/>
                </a:cubicBezTo>
                <a:cubicBezTo>
                  <a:pt x="2933" y="120"/>
                  <a:pt x="2934" y="118"/>
                  <a:pt x="2936" y="116"/>
                </a:cubicBezTo>
                <a:cubicBezTo>
                  <a:pt x="2944" y="108"/>
                  <a:pt x="2956" y="108"/>
                  <a:pt x="2963" y="115"/>
                </a:cubicBezTo>
                <a:cubicBezTo>
                  <a:pt x="2966" y="117"/>
                  <a:pt x="2969" y="119"/>
                  <a:pt x="2971" y="121"/>
                </a:cubicBezTo>
                <a:cubicBezTo>
                  <a:pt x="2972" y="122"/>
                  <a:pt x="2974" y="123"/>
                  <a:pt x="2975" y="125"/>
                </a:cubicBezTo>
                <a:cubicBezTo>
                  <a:pt x="2976" y="127"/>
                  <a:pt x="2976" y="127"/>
                  <a:pt x="2978" y="126"/>
                </a:cubicBezTo>
                <a:cubicBezTo>
                  <a:pt x="2978" y="125"/>
                  <a:pt x="2979" y="125"/>
                  <a:pt x="2980" y="124"/>
                </a:cubicBezTo>
                <a:cubicBezTo>
                  <a:pt x="2982" y="121"/>
                  <a:pt x="2985" y="121"/>
                  <a:pt x="2986" y="124"/>
                </a:cubicBezTo>
                <a:cubicBezTo>
                  <a:pt x="2987" y="127"/>
                  <a:pt x="2988" y="130"/>
                  <a:pt x="2989" y="133"/>
                </a:cubicBezTo>
                <a:cubicBezTo>
                  <a:pt x="2989" y="138"/>
                  <a:pt x="2989" y="142"/>
                  <a:pt x="2987" y="146"/>
                </a:cubicBezTo>
                <a:cubicBezTo>
                  <a:pt x="2985" y="153"/>
                  <a:pt x="2980" y="156"/>
                  <a:pt x="2974" y="156"/>
                </a:cubicBezTo>
                <a:cubicBezTo>
                  <a:pt x="2973" y="156"/>
                  <a:pt x="2972" y="156"/>
                  <a:pt x="2972" y="156"/>
                </a:cubicBezTo>
                <a:cubicBezTo>
                  <a:pt x="2969" y="156"/>
                  <a:pt x="2968" y="156"/>
                  <a:pt x="2967" y="159"/>
                </a:cubicBezTo>
                <a:cubicBezTo>
                  <a:pt x="2966" y="163"/>
                  <a:pt x="2960" y="164"/>
                  <a:pt x="2957" y="161"/>
                </a:cubicBezTo>
                <a:cubicBezTo>
                  <a:pt x="2956" y="160"/>
                  <a:pt x="2955" y="159"/>
                  <a:pt x="2954" y="158"/>
                </a:cubicBezTo>
                <a:cubicBezTo>
                  <a:pt x="2953" y="159"/>
                  <a:pt x="2953" y="159"/>
                  <a:pt x="2953" y="159"/>
                </a:cubicBezTo>
                <a:close/>
                <a:moveTo>
                  <a:pt x="2947" y="154"/>
                </a:moveTo>
                <a:cubicBezTo>
                  <a:pt x="2951" y="156"/>
                  <a:pt x="2954" y="157"/>
                  <a:pt x="2957" y="160"/>
                </a:cubicBezTo>
                <a:cubicBezTo>
                  <a:pt x="2959" y="161"/>
                  <a:pt x="2961" y="162"/>
                  <a:pt x="2963" y="161"/>
                </a:cubicBezTo>
                <a:cubicBezTo>
                  <a:pt x="2965" y="161"/>
                  <a:pt x="2967" y="159"/>
                  <a:pt x="2967" y="155"/>
                </a:cubicBezTo>
                <a:cubicBezTo>
                  <a:pt x="2967" y="156"/>
                  <a:pt x="2966" y="156"/>
                  <a:pt x="2966" y="156"/>
                </a:cubicBezTo>
                <a:cubicBezTo>
                  <a:pt x="2965" y="158"/>
                  <a:pt x="2964" y="159"/>
                  <a:pt x="2963" y="160"/>
                </a:cubicBezTo>
                <a:cubicBezTo>
                  <a:pt x="2962" y="161"/>
                  <a:pt x="2961" y="161"/>
                  <a:pt x="2960" y="160"/>
                </a:cubicBezTo>
                <a:cubicBezTo>
                  <a:pt x="2959" y="160"/>
                  <a:pt x="2959" y="159"/>
                  <a:pt x="2959" y="158"/>
                </a:cubicBezTo>
                <a:cubicBezTo>
                  <a:pt x="2959" y="156"/>
                  <a:pt x="2959" y="154"/>
                  <a:pt x="2960" y="152"/>
                </a:cubicBezTo>
                <a:cubicBezTo>
                  <a:pt x="2963" y="153"/>
                  <a:pt x="2966" y="154"/>
                  <a:pt x="2970" y="154"/>
                </a:cubicBezTo>
                <a:cubicBezTo>
                  <a:pt x="2977" y="155"/>
                  <a:pt x="2983" y="154"/>
                  <a:pt x="2986" y="145"/>
                </a:cubicBezTo>
                <a:cubicBezTo>
                  <a:pt x="2988" y="140"/>
                  <a:pt x="2987" y="136"/>
                  <a:pt x="2987" y="130"/>
                </a:cubicBezTo>
                <a:cubicBezTo>
                  <a:pt x="2986" y="128"/>
                  <a:pt x="2985" y="127"/>
                  <a:pt x="2985" y="125"/>
                </a:cubicBezTo>
                <a:cubicBezTo>
                  <a:pt x="2984" y="123"/>
                  <a:pt x="2983" y="123"/>
                  <a:pt x="2981" y="125"/>
                </a:cubicBezTo>
                <a:cubicBezTo>
                  <a:pt x="2980" y="126"/>
                  <a:pt x="2978" y="128"/>
                  <a:pt x="2976" y="128"/>
                </a:cubicBezTo>
                <a:cubicBezTo>
                  <a:pt x="2976" y="129"/>
                  <a:pt x="2975" y="130"/>
                  <a:pt x="2975" y="131"/>
                </a:cubicBezTo>
                <a:cubicBezTo>
                  <a:pt x="2976" y="134"/>
                  <a:pt x="2975" y="137"/>
                  <a:pt x="2974" y="140"/>
                </a:cubicBezTo>
                <a:cubicBezTo>
                  <a:pt x="2974" y="138"/>
                  <a:pt x="2974" y="136"/>
                  <a:pt x="2974" y="135"/>
                </a:cubicBezTo>
                <a:cubicBezTo>
                  <a:pt x="2974" y="134"/>
                  <a:pt x="2974" y="134"/>
                  <a:pt x="2974" y="133"/>
                </a:cubicBezTo>
                <a:cubicBezTo>
                  <a:pt x="2973" y="134"/>
                  <a:pt x="2972" y="134"/>
                  <a:pt x="2972" y="134"/>
                </a:cubicBezTo>
                <a:cubicBezTo>
                  <a:pt x="2972" y="135"/>
                  <a:pt x="2971" y="137"/>
                  <a:pt x="2970" y="138"/>
                </a:cubicBezTo>
                <a:cubicBezTo>
                  <a:pt x="2970" y="138"/>
                  <a:pt x="2970" y="138"/>
                  <a:pt x="2970" y="138"/>
                </a:cubicBezTo>
                <a:cubicBezTo>
                  <a:pt x="2970" y="136"/>
                  <a:pt x="2970" y="135"/>
                  <a:pt x="2971" y="132"/>
                </a:cubicBezTo>
                <a:cubicBezTo>
                  <a:pt x="2970" y="133"/>
                  <a:pt x="2969" y="134"/>
                  <a:pt x="2969" y="134"/>
                </a:cubicBezTo>
                <a:cubicBezTo>
                  <a:pt x="2968" y="135"/>
                  <a:pt x="2968" y="136"/>
                  <a:pt x="2967" y="136"/>
                </a:cubicBezTo>
                <a:cubicBezTo>
                  <a:pt x="2968" y="133"/>
                  <a:pt x="2968" y="133"/>
                  <a:pt x="2974" y="132"/>
                </a:cubicBezTo>
                <a:cubicBezTo>
                  <a:pt x="2974" y="131"/>
                  <a:pt x="2973" y="130"/>
                  <a:pt x="2973" y="130"/>
                </a:cubicBezTo>
                <a:cubicBezTo>
                  <a:pt x="2970" y="131"/>
                  <a:pt x="2969" y="130"/>
                  <a:pt x="2969" y="127"/>
                </a:cubicBezTo>
                <a:cubicBezTo>
                  <a:pt x="2970" y="127"/>
                  <a:pt x="2972" y="126"/>
                  <a:pt x="2974" y="126"/>
                </a:cubicBezTo>
                <a:cubicBezTo>
                  <a:pt x="2972" y="124"/>
                  <a:pt x="2970" y="121"/>
                  <a:pt x="2967" y="121"/>
                </a:cubicBezTo>
                <a:cubicBezTo>
                  <a:pt x="2967" y="121"/>
                  <a:pt x="2967" y="120"/>
                  <a:pt x="2967" y="120"/>
                </a:cubicBezTo>
                <a:cubicBezTo>
                  <a:pt x="2964" y="118"/>
                  <a:pt x="2962" y="115"/>
                  <a:pt x="2959" y="113"/>
                </a:cubicBezTo>
                <a:cubicBezTo>
                  <a:pt x="2957" y="112"/>
                  <a:pt x="2954" y="111"/>
                  <a:pt x="2952" y="111"/>
                </a:cubicBezTo>
                <a:cubicBezTo>
                  <a:pt x="2949" y="112"/>
                  <a:pt x="2945" y="113"/>
                  <a:pt x="2942" y="114"/>
                </a:cubicBezTo>
                <a:cubicBezTo>
                  <a:pt x="2939" y="115"/>
                  <a:pt x="2937" y="117"/>
                  <a:pt x="2935" y="120"/>
                </a:cubicBezTo>
                <a:cubicBezTo>
                  <a:pt x="2937" y="120"/>
                  <a:pt x="2938" y="120"/>
                  <a:pt x="2939" y="120"/>
                </a:cubicBezTo>
                <a:cubicBezTo>
                  <a:pt x="2939" y="120"/>
                  <a:pt x="2938" y="121"/>
                  <a:pt x="2937" y="121"/>
                </a:cubicBezTo>
                <a:cubicBezTo>
                  <a:pt x="2935" y="121"/>
                  <a:pt x="2932" y="121"/>
                  <a:pt x="2930" y="123"/>
                </a:cubicBezTo>
                <a:cubicBezTo>
                  <a:pt x="2927" y="127"/>
                  <a:pt x="2923" y="130"/>
                  <a:pt x="2919" y="135"/>
                </a:cubicBezTo>
                <a:cubicBezTo>
                  <a:pt x="2918" y="137"/>
                  <a:pt x="2917" y="139"/>
                  <a:pt x="2916" y="142"/>
                </a:cubicBezTo>
                <a:cubicBezTo>
                  <a:pt x="2916" y="142"/>
                  <a:pt x="2916" y="143"/>
                  <a:pt x="2916" y="143"/>
                </a:cubicBezTo>
                <a:cubicBezTo>
                  <a:pt x="2917" y="145"/>
                  <a:pt x="2918" y="147"/>
                  <a:pt x="2920" y="149"/>
                </a:cubicBezTo>
                <a:cubicBezTo>
                  <a:pt x="2921" y="147"/>
                  <a:pt x="2922" y="146"/>
                  <a:pt x="2923" y="145"/>
                </a:cubicBezTo>
                <a:cubicBezTo>
                  <a:pt x="2923" y="146"/>
                  <a:pt x="2923" y="147"/>
                  <a:pt x="2922" y="149"/>
                </a:cubicBezTo>
                <a:cubicBezTo>
                  <a:pt x="2921" y="150"/>
                  <a:pt x="2920" y="151"/>
                  <a:pt x="2920" y="153"/>
                </a:cubicBezTo>
                <a:cubicBezTo>
                  <a:pt x="2919" y="153"/>
                  <a:pt x="2920" y="155"/>
                  <a:pt x="2920" y="155"/>
                </a:cubicBezTo>
                <a:cubicBezTo>
                  <a:pt x="2923" y="159"/>
                  <a:pt x="2926" y="159"/>
                  <a:pt x="2930" y="157"/>
                </a:cubicBezTo>
                <a:cubicBezTo>
                  <a:pt x="2932" y="155"/>
                  <a:pt x="2935" y="154"/>
                  <a:pt x="2938" y="153"/>
                </a:cubicBezTo>
                <a:cubicBezTo>
                  <a:pt x="2939" y="153"/>
                  <a:pt x="2940" y="152"/>
                  <a:pt x="2940" y="151"/>
                </a:cubicBezTo>
                <a:cubicBezTo>
                  <a:pt x="2940" y="147"/>
                  <a:pt x="2940" y="144"/>
                  <a:pt x="2940" y="141"/>
                </a:cubicBezTo>
                <a:cubicBezTo>
                  <a:pt x="2940" y="138"/>
                  <a:pt x="2940" y="135"/>
                  <a:pt x="2940" y="132"/>
                </a:cubicBezTo>
                <a:cubicBezTo>
                  <a:pt x="2941" y="134"/>
                  <a:pt x="2941" y="137"/>
                  <a:pt x="2942" y="140"/>
                </a:cubicBezTo>
                <a:cubicBezTo>
                  <a:pt x="2943" y="144"/>
                  <a:pt x="2943" y="149"/>
                  <a:pt x="2941" y="153"/>
                </a:cubicBezTo>
                <a:cubicBezTo>
                  <a:pt x="2941" y="154"/>
                  <a:pt x="2940" y="155"/>
                  <a:pt x="2940" y="155"/>
                </a:cubicBezTo>
                <a:cubicBezTo>
                  <a:pt x="2936" y="155"/>
                  <a:pt x="2933" y="157"/>
                  <a:pt x="2930" y="159"/>
                </a:cubicBezTo>
                <a:cubicBezTo>
                  <a:pt x="2925" y="162"/>
                  <a:pt x="2921" y="160"/>
                  <a:pt x="2918" y="156"/>
                </a:cubicBezTo>
                <a:cubicBezTo>
                  <a:pt x="2918" y="155"/>
                  <a:pt x="2918" y="154"/>
                  <a:pt x="2918" y="154"/>
                </a:cubicBezTo>
                <a:cubicBezTo>
                  <a:pt x="2919" y="151"/>
                  <a:pt x="2918" y="149"/>
                  <a:pt x="2916" y="147"/>
                </a:cubicBezTo>
                <a:cubicBezTo>
                  <a:pt x="2915" y="145"/>
                  <a:pt x="2913" y="143"/>
                  <a:pt x="2914" y="140"/>
                </a:cubicBezTo>
                <a:cubicBezTo>
                  <a:pt x="2915" y="138"/>
                  <a:pt x="2916" y="137"/>
                  <a:pt x="2917" y="135"/>
                </a:cubicBezTo>
                <a:cubicBezTo>
                  <a:pt x="2919" y="132"/>
                  <a:pt x="2921" y="130"/>
                  <a:pt x="2923" y="127"/>
                </a:cubicBezTo>
                <a:cubicBezTo>
                  <a:pt x="2923" y="127"/>
                  <a:pt x="2922" y="127"/>
                  <a:pt x="2922" y="127"/>
                </a:cubicBezTo>
                <a:cubicBezTo>
                  <a:pt x="2917" y="128"/>
                  <a:pt x="2912" y="130"/>
                  <a:pt x="2909" y="133"/>
                </a:cubicBezTo>
                <a:cubicBezTo>
                  <a:pt x="2904" y="138"/>
                  <a:pt x="2901" y="143"/>
                  <a:pt x="2901" y="149"/>
                </a:cubicBezTo>
                <a:cubicBezTo>
                  <a:pt x="2900" y="156"/>
                  <a:pt x="2903" y="162"/>
                  <a:pt x="2906" y="168"/>
                </a:cubicBezTo>
                <a:cubicBezTo>
                  <a:pt x="2907" y="169"/>
                  <a:pt x="2907" y="170"/>
                  <a:pt x="2907" y="172"/>
                </a:cubicBezTo>
                <a:cubicBezTo>
                  <a:pt x="2907" y="173"/>
                  <a:pt x="2907" y="175"/>
                  <a:pt x="2906" y="176"/>
                </a:cubicBezTo>
                <a:cubicBezTo>
                  <a:pt x="2905" y="178"/>
                  <a:pt x="2906" y="179"/>
                  <a:pt x="2907" y="179"/>
                </a:cubicBezTo>
                <a:cubicBezTo>
                  <a:pt x="2910" y="180"/>
                  <a:pt x="2913" y="180"/>
                  <a:pt x="2916" y="181"/>
                </a:cubicBezTo>
                <a:cubicBezTo>
                  <a:pt x="2916" y="181"/>
                  <a:pt x="2917" y="180"/>
                  <a:pt x="2917" y="180"/>
                </a:cubicBezTo>
                <a:cubicBezTo>
                  <a:pt x="2918" y="178"/>
                  <a:pt x="2918" y="177"/>
                  <a:pt x="2918" y="176"/>
                </a:cubicBezTo>
                <a:cubicBezTo>
                  <a:pt x="2920" y="174"/>
                  <a:pt x="2920" y="171"/>
                  <a:pt x="2920" y="168"/>
                </a:cubicBezTo>
                <a:cubicBezTo>
                  <a:pt x="2920" y="168"/>
                  <a:pt x="2920" y="167"/>
                  <a:pt x="2920" y="167"/>
                </a:cubicBezTo>
                <a:cubicBezTo>
                  <a:pt x="2920" y="166"/>
                  <a:pt x="2920" y="166"/>
                  <a:pt x="2920" y="166"/>
                </a:cubicBezTo>
                <a:cubicBezTo>
                  <a:pt x="2921" y="169"/>
                  <a:pt x="2922" y="169"/>
                  <a:pt x="2924" y="169"/>
                </a:cubicBezTo>
                <a:cubicBezTo>
                  <a:pt x="2925" y="169"/>
                  <a:pt x="2926" y="169"/>
                  <a:pt x="2927" y="169"/>
                </a:cubicBezTo>
                <a:cubicBezTo>
                  <a:pt x="2929" y="169"/>
                  <a:pt x="2932" y="170"/>
                  <a:pt x="2933" y="165"/>
                </a:cubicBezTo>
                <a:cubicBezTo>
                  <a:pt x="2933" y="168"/>
                  <a:pt x="2933" y="169"/>
                  <a:pt x="2933" y="170"/>
                </a:cubicBezTo>
                <a:cubicBezTo>
                  <a:pt x="2932" y="171"/>
                  <a:pt x="2930" y="172"/>
                  <a:pt x="2929" y="172"/>
                </a:cubicBezTo>
                <a:cubicBezTo>
                  <a:pt x="2928" y="173"/>
                  <a:pt x="2927" y="174"/>
                  <a:pt x="2928" y="175"/>
                </a:cubicBezTo>
                <a:cubicBezTo>
                  <a:pt x="2929" y="178"/>
                  <a:pt x="2930" y="180"/>
                  <a:pt x="2932" y="182"/>
                </a:cubicBezTo>
                <a:cubicBezTo>
                  <a:pt x="2934" y="183"/>
                  <a:pt x="2936" y="182"/>
                  <a:pt x="2937" y="181"/>
                </a:cubicBezTo>
                <a:cubicBezTo>
                  <a:pt x="2938" y="180"/>
                  <a:pt x="2938" y="179"/>
                  <a:pt x="2939" y="179"/>
                </a:cubicBezTo>
                <a:cubicBezTo>
                  <a:pt x="2941" y="177"/>
                  <a:pt x="2942" y="176"/>
                  <a:pt x="2944" y="175"/>
                </a:cubicBezTo>
                <a:cubicBezTo>
                  <a:pt x="2948" y="170"/>
                  <a:pt x="2950" y="164"/>
                  <a:pt x="2952" y="159"/>
                </a:cubicBezTo>
                <a:cubicBezTo>
                  <a:pt x="2952" y="158"/>
                  <a:pt x="2951" y="157"/>
                  <a:pt x="2950" y="157"/>
                </a:cubicBezTo>
                <a:cubicBezTo>
                  <a:pt x="2950" y="156"/>
                  <a:pt x="2949" y="155"/>
                  <a:pt x="2947" y="154"/>
                </a:cubicBezTo>
                <a:close/>
                <a:moveTo>
                  <a:pt x="2900" y="161"/>
                </a:moveTo>
                <a:cubicBezTo>
                  <a:pt x="2899" y="161"/>
                  <a:pt x="2898" y="162"/>
                  <a:pt x="2897" y="163"/>
                </a:cubicBezTo>
                <a:cubicBezTo>
                  <a:pt x="2896" y="164"/>
                  <a:pt x="2896" y="164"/>
                  <a:pt x="2896" y="165"/>
                </a:cubicBezTo>
                <a:cubicBezTo>
                  <a:pt x="2896" y="168"/>
                  <a:pt x="2900" y="172"/>
                  <a:pt x="2903" y="172"/>
                </a:cubicBezTo>
                <a:cubicBezTo>
                  <a:pt x="2905" y="172"/>
                  <a:pt x="2906" y="171"/>
                  <a:pt x="2905" y="169"/>
                </a:cubicBezTo>
                <a:cubicBezTo>
                  <a:pt x="2903" y="166"/>
                  <a:pt x="2902" y="163"/>
                  <a:pt x="2900" y="161"/>
                </a:cubicBezTo>
                <a:close/>
                <a:moveTo>
                  <a:pt x="2953" y="163"/>
                </a:moveTo>
                <a:cubicBezTo>
                  <a:pt x="2950" y="167"/>
                  <a:pt x="2948" y="172"/>
                  <a:pt x="2946" y="176"/>
                </a:cubicBezTo>
                <a:cubicBezTo>
                  <a:pt x="2949" y="176"/>
                  <a:pt x="2951" y="176"/>
                  <a:pt x="2954" y="176"/>
                </a:cubicBezTo>
                <a:cubicBezTo>
                  <a:pt x="2954" y="176"/>
                  <a:pt x="2954" y="175"/>
                  <a:pt x="2954" y="174"/>
                </a:cubicBezTo>
                <a:cubicBezTo>
                  <a:pt x="2954" y="172"/>
                  <a:pt x="2954" y="169"/>
                  <a:pt x="2954" y="167"/>
                </a:cubicBezTo>
                <a:cubicBezTo>
                  <a:pt x="2954" y="165"/>
                  <a:pt x="2953" y="164"/>
                  <a:pt x="2953" y="163"/>
                </a:cubicBezTo>
                <a:close/>
                <a:moveTo>
                  <a:pt x="2900" y="142"/>
                </a:moveTo>
                <a:cubicBezTo>
                  <a:pt x="2899" y="143"/>
                  <a:pt x="2899" y="143"/>
                  <a:pt x="2898" y="143"/>
                </a:cubicBezTo>
                <a:cubicBezTo>
                  <a:pt x="2898" y="143"/>
                  <a:pt x="2897" y="143"/>
                  <a:pt x="2897" y="143"/>
                </a:cubicBezTo>
                <a:cubicBezTo>
                  <a:pt x="2896" y="142"/>
                  <a:pt x="2896" y="142"/>
                  <a:pt x="2896" y="141"/>
                </a:cubicBezTo>
                <a:cubicBezTo>
                  <a:pt x="2897" y="139"/>
                  <a:pt x="2897" y="137"/>
                  <a:pt x="2898" y="135"/>
                </a:cubicBezTo>
                <a:cubicBezTo>
                  <a:pt x="2898" y="135"/>
                  <a:pt x="2898" y="135"/>
                  <a:pt x="2897" y="135"/>
                </a:cubicBezTo>
                <a:cubicBezTo>
                  <a:pt x="2896" y="136"/>
                  <a:pt x="2895" y="136"/>
                  <a:pt x="2894" y="138"/>
                </a:cubicBezTo>
                <a:cubicBezTo>
                  <a:pt x="2894" y="139"/>
                  <a:pt x="2895" y="144"/>
                  <a:pt x="2897" y="145"/>
                </a:cubicBezTo>
                <a:cubicBezTo>
                  <a:pt x="2898" y="145"/>
                  <a:pt x="2900" y="144"/>
                  <a:pt x="2900" y="142"/>
                </a:cubicBezTo>
                <a:close/>
                <a:moveTo>
                  <a:pt x="2900" y="161"/>
                </a:moveTo>
                <a:cubicBezTo>
                  <a:pt x="2900" y="161"/>
                  <a:pt x="2898" y="162"/>
                  <a:pt x="2897" y="163"/>
                </a:cubicBezTo>
                <a:cubicBezTo>
                  <a:pt x="2897" y="164"/>
                  <a:pt x="2896" y="165"/>
                  <a:pt x="2896" y="165"/>
                </a:cubicBezTo>
                <a:cubicBezTo>
                  <a:pt x="2896" y="168"/>
                  <a:pt x="2900" y="173"/>
                  <a:pt x="2903" y="172"/>
                </a:cubicBezTo>
                <a:cubicBezTo>
                  <a:pt x="2905" y="172"/>
                  <a:pt x="2906" y="171"/>
                  <a:pt x="2905" y="169"/>
                </a:cubicBezTo>
                <a:cubicBezTo>
                  <a:pt x="2903" y="166"/>
                  <a:pt x="2902" y="163"/>
                  <a:pt x="2900" y="161"/>
                </a:cubicBezTo>
                <a:close/>
                <a:moveTo>
                  <a:pt x="2953" y="163"/>
                </a:moveTo>
                <a:cubicBezTo>
                  <a:pt x="2951" y="167"/>
                  <a:pt x="2948" y="172"/>
                  <a:pt x="2946" y="176"/>
                </a:cubicBezTo>
                <a:cubicBezTo>
                  <a:pt x="2949" y="176"/>
                  <a:pt x="2951" y="177"/>
                  <a:pt x="2954" y="176"/>
                </a:cubicBezTo>
                <a:cubicBezTo>
                  <a:pt x="2954" y="176"/>
                  <a:pt x="2955" y="175"/>
                  <a:pt x="2955" y="175"/>
                </a:cubicBezTo>
                <a:cubicBezTo>
                  <a:pt x="2955" y="172"/>
                  <a:pt x="2955" y="169"/>
                  <a:pt x="2954" y="167"/>
                </a:cubicBezTo>
                <a:cubicBezTo>
                  <a:pt x="2954" y="165"/>
                  <a:pt x="2954" y="164"/>
                  <a:pt x="2953" y="163"/>
                </a:cubicBezTo>
                <a:close/>
                <a:moveTo>
                  <a:pt x="2900" y="143"/>
                </a:moveTo>
                <a:cubicBezTo>
                  <a:pt x="2900" y="143"/>
                  <a:pt x="2899" y="143"/>
                  <a:pt x="2899" y="143"/>
                </a:cubicBezTo>
                <a:cubicBezTo>
                  <a:pt x="2898" y="143"/>
                  <a:pt x="2897" y="143"/>
                  <a:pt x="2897" y="143"/>
                </a:cubicBezTo>
                <a:cubicBezTo>
                  <a:pt x="2897" y="143"/>
                  <a:pt x="2896" y="142"/>
                  <a:pt x="2896" y="141"/>
                </a:cubicBezTo>
                <a:cubicBezTo>
                  <a:pt x="2897" y="139"/>
                  <a:pt x="2897" y="137"/>
                  <a:pt x="2898" y="135"/>
                </a:cubicBezTo>
                <a:cubicBezTo>
                  <a:pt x="2898" y="135"/>
                  <a:pt x="2898" y="135"/>
                  <a:pt x="2897" y="135"/>
                </a:cubicBezTo>
                <a:cubicBezTo>
                  <a:pt x="2897" y="136"/>
                  <a:pt x="2895" y="136"/>
                  <a:pt x="2895" y="138"/>
                </a:cubicBezTo>
                <a:cubicBezTo>
                  <a:pt x="2894" y="139"/>
                  <a:pt x="2895" y="144"/>
                  <a:pt x="2897" y="145"/>
                </a:cubicBezTo>
                <a:cubicBezTo>
                  <a:pt x="2899" y="146"/>
                  <a:pt x="2900" y="145"/>
                  <a:pt x="2900" y="143"/>
                </a:cubicBezTo>
                <a:close/>
                <a:moveTo>
                  <a:pt x="2952" y="134"/>
                </a:moveTo>
                <a:cubicBezTo>
                  <a:pt x="2956" y="131"/>
                  <a:pt x="2956" y="131"/>
                  <a:pt x="2960" y="129"/>
                </a:cubicBezTo>
                <a:cubicBezTo>
                  <a:pt x="2960" y="131"/>
                  <a:pt x="2961" y="133"/>
                  <a:pt x="2962" y="133"/>
                </a:cubicBezTo>
                <a:cubicBezTo>
                  <a:pt x="2960" y="134"/>
                  <a:pt x="2958" y="135"/>
                  <a:pt x="2956" y="137"/>
                </a:cubicBezTo>
                <a:cubicBezTo>
                  <a:pt x="2955" y="136"/>
                  <a:pt x="2955" y="135"/>
                  <a:pt x="2954" y="134"/>
                </a:cubicBezTo>
                <a:cubicBezTo>
                  <a:pt x="2954" y="134"/>
                  <a:pt x="2953" y="134"/>
                  <a:pt x="2952" y="134"/>
                </a:cubicBezTo>
                <a:close/>
                <a:moveTo>
                  <a:pt x="2958" y="134"/>
                </a:moveTo>
                <a:cubicBezTo>
                  <a:pt x="2958" y="133"/>
                  <a:pt x="2957" y="133"/>
                  <a:pt x="2956" y="133"/>
                </a:cubicBezTo>
                <a:cubicBezTo>
                  <a:pt x="2956" y="133"/>
                  <a:pt x="2955" y="134"/>
                  <a:pt x="2955" y="134"/>
                </a:cubicBezTo>
                <a:cubicBezTo>
                  <a:pt x="2955" y="135"/>
                  <a:pt x="2956" y="135"/>
                  <a:pt x="2956" y="135"/>
                </a:cubicBezTo>
                <a:cubicBezTo>
                  <a:pt x="2957" y="135"/>
                  <a:pt x="2957" y="135"/>
                  <a:pt x="2958" y="134"/>
                </a:cubicBezTo>
                <a:close/>
                <a:moveTo>
                  <a:pt x="2939" y="124"/>
                </a:moveTo>
                <a:cubicBezTo>
                  <a:pt x="2933" y="123"/>
                  <a:pt x="2930" y="126"/>
                  <a:pt x="2929" y="134"/>
                </a:cubicBezTo>
                <a:cubicBezTo>
                  <a:pt x="2930" y="132"/>
                  <a:pt x="2931" y="129"/>
                  <a:pt x="2932" y="127"/>
                </a:cubicBezTo>
                <a:cubicBezTo>
                  <a:pt x="2933" y="127"/>
                  <a:pt x="2933" y="127"/>
                  <a:pt x="2933" y="127"/>
                </a:cubicBezTo>
                <a:cubicBezTo>
                  <a:pt x="2933" y="128"/>
                  <a:pt x="2933" y="129"/>
                  <a:pt x="2933" y="130"/>
                </a:cubicBezTo>
                <a:cubicBezTo>
                  <a:pt x="2934" y="126"/>
                  <a:pt x="2936" y="124"/>
                  <a:pt x="2939" y="124"/>
                </a:cubicBezTo>
                <a:close/>
                <a:moveTo>
                  <a:pt x="2983" y="126"/>
                </a:moveTo>
                <a:cubicBezTo>
                  <a:pt x="2981" y="127"/>
                  <a:pt x="2979" y="128"/>
                  <a:pt x="2978" y="130"/>
                </a:cubicBezTo>
                <a:cubicBezTo>
                  <a:pt x="2980" y="130"/>
                  <a:pt x="2982" y="128"/>
                  <a:pt x="2983" y="126"/>
                </a:cubicBezTo>
                <a:close/>
                <a:moveTo>
                  <a:pt x="2950" y="128"/>
                </a:moveTo>
                <a:cubicBezTo>
                  <a:pt x="2951" y="126"/>
                  <a:pt x="2952" y="125"/>
                  <a:pt x="2953" y="124"/>
                </a:cubicBezTo>
                <a:cubicBezTo>
                  <a:pt x="2950" y="125"/>
                  <a:pt x="2949" y="126"/>
                  <a:pt x="2950" y="128"/>
                </a:cubicBezTo>
                <a:close/>
                <a:moveTo>
                  <a:pt x="2960" y="149"/>
                </a:moveTo>
                <a:cubicBezTo>
                  <a:pt x="2958" y="150"/>
                  <a:pt x="2957" y="150"/>
                  <a:pt x="2957" y="151"/>
                </a:cubicBezTo>
                <a:cubicBezTo>
                  <a:pt x="2958" y="151"/>
                  <a:pt x="2959" y="150"/>
                  <a:pt x="2960" y="149"/>
                </a:cubicBezTo>
                <a:close/>
                <a:moveTo>
                  <a:pt x="2959" y="134"/>
                </a:moveTo>
                <a:cubicBezTo>
                  <a:pt x="2958" y="133"/>
                  <a:pt x="2957" y="133"/>
                  <a:pt x="2956" y="133"/>
                </a:cubicBezTo>
                <a:cubicBezTo>
                  <a:pt x="2956" y="133"/>
                  <a:pt x="2955" y="134"/>
                  <a:pt x="2955" y="134"/>
                </a:cubicBezTo>
                <a:cubicBezTo>
                  <a:pt x="2955" y="134"/>
                  <a:pt x="2956" y="135"/>
                  <a:pt x="2956" y="135"/>
                </a:cubicBezTo>
                <a:cubicBezTo>
                  <a:pt x="2957" y="135"/>
                  <a:pt x="2957" y="134"/>
                  <a:pt x="2959" y="134"/>
                </a:cubicBezTo>
                <a:close/>
                <a:moveTo>
                  <a:pt x="3483" y="255"/>
                </a:moveTo>
                <a:cubicBezTo>
                  <a:pt x="3483" y="256"/>
                  <a:pt x="3484" y="257"/>
                  <a:pt x="3484" y="259"/>
                </a:cubicBezTo>
                <a:cubicBezTo>
                  <a:pt x="3485" y="260"/>
                  <a:pt x="3485" y="262"/>
                  <a:pt x="3485" y="264"/>
                </a:cubicBezTo>
                <a:cubicBezTo>
                  <a:pt x="3485" y="266"/>
                  <a:pt x="3486" y="267"/>
                  <a:pt x="3486" y="269"/>
                </a:cubicBezTo>
                <a:cubicBezTo>
                  <a:pt x="3487" y="272"/>
                  <a:pt x="3485" y="274"/>
                  <a:pt x="3482" y="274"/>
                </a:cubicBezTo>
                <a:cubicBezTo>
                  <a:pt x="3480" y="274"/>
                  <a:pt x="3477" y="273"/>
                  <a:pt x="3474" y="273"/>
                </a:cubicBezTo>
                <a:cubicBezTo>
                  <a:pt x="3474" y="273"/>
                  <a:pt x="3473" y="273"/>
                  <a:pt x="3473" y="274"/>
                </a:cubicBezTo>
                <a:cubicBezTo>
                  <a:pt x="3471" y="275"/>
                  <a:pt x="3469" y="276"/>
                  <a:pt x="3468" y="278"/>
                </a:cubicBezTo>
                <a:cubicBezTo>
                  <a:pt x="3466" y="280"/>
                  <a:pt x="3463" y="281"/>
                  <a:pt x="3461" y="279"/>
                </a:cubicBezTo>
                <a:cubicBezTo>
                  <a:pt x="3459" y="276"/>
                  <a:pt x="3458" y="274"/>
                  <a:pt x="3456" y="271"/>
                </a:cubicBezTo>
                <a:cubicBezTo>
                  <a:pt x="3455" y="270"/>
                  <a:pt x="3456" y="268"/>
                  <a:pt x="3458" y="266"/>
                </a:cubicBezTo>
                <a:cubicBezTo>
                  <a:pt x="3455" y="266"/>
                  <a:pt x="3454" y="266"/>
                  <a:pt x="3452" y="266"/>
                </a:cubicBezTo>
                <a:cubicBezTo>
                  <a:pt x="3451" y="268"/>
                  <a:pt x="3450" y="270"/>
                  <a:pt x="3449" y="272"/>
                </a:cubicBezTo>
                <a:cubicBezTo>
                  <a:pt x="3449" y="273"/>
                  <a:pt x="3449" y="274"/>
                  <a:pt x="3449" y="275"/>
                </a:cubicBezTo>
                <a:cubicBezTo>
                  <a:pt x="3449" y="278"/>
                  <a:pt x="3448" y="279"/>
                  <a:pt x="3445" y="279"/>
                </a:cubicBezTo>
                <a:cubicBezTo>
                  <a:pt x="3442" y="278"/>
                  <a:pt x="3439" y="278"/>
                  <a:pt x="3436" y="276"/>
                </a:cubicBezTo>
                <a:cubicBezTo>
                  <a:pt x="3434" y="276"/>
                  <a:pt x="3433" y="274"/>
                  <a:pt x="3434" y="272"/>
                </a:cubicBezTo>
                <a:cubicBezTo>
                  <a:pt x="3434" y="272"/>
                  <a:pt x="3434" y="271"/>
                  <a:pt x="3434" y="271"/>
                </a:cubicBezTo>
                <a:cubicBezTo>
                  <a:pt x="3432" y="270"/>
                  <a:pt x="3430" y="269"/>
                  <a:pt x="3428" y="267"/>
                </a:cubicBezTo>
                <a:cubicBezTo>
                  <a:pt x="3427" y="266"/>
                  <a:pt x="3425" y="264"/>
                  <a:pt x="3425" y="263"/>
                </a:cubicBezTo>
                <a:cubicBezTo>
                  <a:pt x="3424" y="261"/>
                  <a:pt x="3424" y="259"/>
                  <a:pt x="3426" y="258"/>
                </a:cubicBezTo>
                <a:cubicBezTo>
                  <a:pt x="3429" y="255"/>
                  <a:pt x="3430" y="253"/>
                  <a:pt x="3429" y="249"/>
                </a:cubicBezTo>
                <a:cubicBezTo>
                  <a:pt x="3429" y="247"/>
                  <a:pt x="3429" y="244"/>
                  <a:pt x="3429" y="243"/>
                </a:cubicBezTo>
                <a:cubicBezTo>
                  <a:pt x="3428" y="242"/>
                  <a:pt x="3426" y="241"/>
                  <a:pt x="3425" y="240"/>
                </a:cubicBezTo>
                <a:cubicBezTo>
                  <a:pt x="3424" y="239"/>
                  <a:pt x="3423" y="237"/>
                  <a:pt x="3423" y="235"/>
                </a:cubicBezTo>
                <a:cubicBezTo>
                  <a:pt x="3423" y="232"/>
                  <a:pt x="3426" y="229"/>
                  <a:pt x="3429" y="228"/>
                </a:cubicBezTo>
                <a:cubicBezTo>
                  <a:pt x="3429" y="229"/>
                  <a:pt x="3429" y="230"/>
                  <a:pt x="3430" y="231"/>
                </a:cubicBezTo>
                <a:cubicBezTo>
                  <a:pt x="3430" y="232"/>
                  <a:pt x="3430" y="233"/>
                  <a:pt x="3430" y="234"/>
                </a:cubicBezTo>
                <a:cubicBezTo>
                  <a:pt x="3429" y="234"/>
                  <a:pt x="3429" y="234"/>
                  <a:pt x="3429" y="234"/>
                </a:cubicBezTo>
                <a:cubicBezTo>
                  <a:pt x="3428" y="235"/>
                  <a:pt x="3428" y="236"/>
                  <a:pt x="3427" y="238"/>
                </a:cubicBezTo>
                <a:cubicBezTo>
                  <a:pt x="3428" y="238"/>
                  <a:pt x="3429" y="238"/>
                  <a:pt x="3429" y="237"/>
                </a:cubicBezTo>
                <a:cubicBezTo>
                  <a:pt x="3431" y="236"/>
                  <a:pt x="3431" y="235"/>
                  <a:pt x="3432" y="234"/>
                </a:cubicBezTo>
                <a:cubicBezTo>
                  <a:pt x="3436" y="227"/>
                  <a:pt x="3442" y="223"/>
                  <a:pt x="3450" y="222"/>
                </a:cubicBezTo>
                <a:cubicBezTo>
                  <a:pt x="3453" y="221"/>
                  <a:pt x="3456" y="220"/>
                  <a:pt x="3459" y="217"/>
                </a:cubicBezTo>
                <a:cubicBezTo>
                  <a:pt x="3459" y="217"/>
                  <a:pt x="3460" y="217"/>
                  <a:pt x="3460" y="217"/>
                </a:cubicBezTo>
                <a:cubicBezTo>
                  <a:pt x="3463" y="216"/>
                  <a:pt x="3464" y="214"/>
                  <a:pt x="3466" y="212"/>
                </a:cubicBezTo>
                <a:cubicBezTo>
                  <a:pt x="3474" y="204"/>
                  <a:pt x="3485" y="204"/>
                  <a:pt x="3493" y="211"/>
                </a:cubicBezTo>
                <a:cubicBezTo>
                  <a:pt x="3496" y="213"/>
                  <a:pt x="3498" y="215"/>
                  <a:pt x="3501" y="217"/>
                </a:cubicBezTo>
                <a:cubicBezTo>
                  <a:pt x="3502" y="218"/>
                  <a:pt x="3504" y="219"/>
                  <a:pt x="3505" y="221"/>
                </a:cubicBezTo>
                <a:cubicBezTo>
                  <a:pt x="3505" y="223"/>
                  <a:pt x="3506" y="223"/>
                  <a:pt x="3507" y="222"/>
                </a:cubicBezTo>
                <a:cubicBezTo>
                  <a:pt x="3508" y="221"/>
                  <a:pt x="3509" y="221"/>
                  <a:pt x="3510" y="220"/>
                </a:cubicBezTo>
                <a:cubicBezTo>
                  <a:pt x="3512" y="217"/>
                  <a:pt x="3515" y="217"/>
                  <a:pt x="3516" y="220"/>
                </a:cubicBezTo>
                <a:cubicBezTo>
                  <a:pt x="3517" y="223"/>
                  <a:pt x="3518" y="226"/>
                  <a:pt x="3518" y="229"/>
                </a:cubicBezTo>
                <a:cubicBezTo>
                  <a:pt x="3519" y="234"/>
                  <a:pt x="3519" y="238"/>
                  <a:pt x="3517" y="242"/>
                </a:cubicBezTo>
                <a:cubicBezTo>
                  <a:pt x="3515" y="249"/>
                  <a:pt x="3510" y="252"/>
                  <a:pt x="3504" y="252"/>
                </a:cubicBezTo>
                <a:cubicBezTo>
                  <a:pt x="3503" y="252"/>
                  <a:pt x="3502" y="252"/>
                  <a:pt x="3502" y="252"/>
                </a:cubicBezTo>
                <a:cubicBezTo>
                  <a:pt x="3499" y="252"/>
                  <a:pt x="3498" y="252"/>
                  <a:pt x="3497" y="255"/>
                </a:cubicBezTo>
                <a:cubicBezTo>
                  <a:pt x="3496" y="259"/>
                  <a:pt x="3490" y="260"/>
                  <a:pt x="3487" y="257"/>
                </a:cubicBezTo>
                <a:cubicBezTo>
                  <a:pt x="3485" y="256"/>
                  <a:pt x="3485" y="255"/>
                  <a:pt x="3484" y="254"/>
                </a:cubicBezTo>
                <a:cubicBezTo>
                  <a:pt x="3483" y="255"/>
                  <a:pt x="3483" y="255"/>
                  <a:pt x="3483" y="255"/>
                </a:cubicBezTo>
                <a:close/>
                <a:moveTo>
                  <a:pt x="3477" y="250"/>
                </a:moveTo>
                <a:cubicBezTo>
                  <a:pt x="3481" y="252"/>
                  <a:pt x="3484" y="253"/>
                  <a:pt x="3487" y="256"/>
                </a:cubicBezTo>
                <a:cubicBezTo>
                  <a:pt x="3489" y="257"/>
                  <a:pt x="3491" y="258"/>
                  <a:pt x="3493" y="257"/>
                </a:cubicBezTo>
                <a:cubicBezTo>
                  <a:pt x="3495" y="257"/>
                  <a:pt x="3497" y="255"/>
                  <a:pt x="3497" y="251"/>
                </a:cubicBezTo>
                <a:cubicBezTo>
                  <a:pt x="3496" y="252"/>
                  <a:pt x="3496" y="252"/>
                  <a:pt x="3496" y="252"/>
                </a:cubicBezTo>
                <a:cubicBezTo>
                  <a:pt x="3495" y="254"/>
                  <a:pt x="3494" y="255"/>
                  <a:pt x="3493" y="256"/>
                </a:cubicBezTo>
                <a:cubicBezTo>
                  <a:pt x="3492" y="257"/>
                  <a:pt x="3491" y="257"/>
                  <a:pt x="3490" y="256"/>
                </a:cubicBezTo>
                <a:cubicBezTo>
                  <a:pt x="3489" y="256"/>
                  <a:pt x="3489" y="255"/>
                  <a:pt x="3489" y="254"/>
                </a:cubicBezTo>
                <a:cubicBezTo>
                  <a:pt x="3489" y="252"/>
                  <a:pt x="3489" y="250"/>
                  <a:pt x="3490" y="248"/>
                </a:cubicBezTo>
                <a:cubicBezTo>
                  <a:pt x="3493" y="249"/>
                  <a:pt x="3496" y="250"/>
                  <a:pt x="3500" y="250"/>
                </a:cubicBezTo>
                <a:cubicBezTo>
                  <a:pt x="3507" y="251"/>
                  <a:pt x="3513" y="250"/>
                  <a:pt x="3516" y="241"/>
                </a:cubicBezTo>
                <a:cubicBezTo>
                  <a:pt x="3518" y="236"/>
                  <a:pt x="3517" y="232"/>
                  <a:pt x="3516" y="226"/>
                </a:cubicBezTo>
                <a:cubicBezTo>
                  <a:pt x="3516" y="224"/>
                  <a:pt x="3515" y="223"/>
                  <a:pt x="3515" y="221"/>
                </a:cubicBezTo>
                <a:cubicBezTo>
                  <a:pt x="3514" y="219"/>
                  <a:pt x="3513" y="219"/>
                  <a:pt x="3511" y="221"/>
                </a:cubicBezTo>
                <a:cubicBezTo>
                  <a:pt x="3510" y="222"/>
                  <a:pt x="3508" y="224"/>
                  <a:pt x="3506" y="224"/>
                </a:cubicBezTo>
                <a:cubicBezTo>
                  <a:pt x="3505" y="225"/>
                  <a:pt x="3505" y="226"/>
                  <a:pt x="3505" y="227"/>
                </a:cubicBezTo>
                <a:cubicBezTo>
                  <a:pt x="3506" y="230"/>
                  <a:pt x="3505" y="233"/>
                  <a:pt x="3504" y="236"/>
                </a:cubicBezTo>
                <a:cubicBezTo>
                  <a:pt x="3504" y="234"/>
                  <a:pt x="3504" y="232"/>
                  <a:pt x="3504" y="231"/>
                </a:cubicBezTo>
                <a:cubicBezTo>
                  <a:pt x="3504" y="230"/>
                  <a:pt x="3504" y="230"/>
                  <a:pt x="3504" y="229"/>
                </a:cubicBezTo>
                <a:cubicBezTo>
                  <a:pt x="3503" y="230"/>
                  <a:pt x="3502" y="230"/>
                  <a:pt x="3502" y="230"/>
                </a:cubicBezTo>
                <a:cubicBezTo>
                  <a:pt x="3502" y="231"/>
                  <a:pt x="3501" y="233"/>
                  <a:pt x="3500" y="234"/>
                </a:cubicBezTo>
                <a:cubicBezTo>
                  <a:pt x="3500" y="234"/>
                  <a:pt x="3500" y="234"/>
                  <a:pt x="3500" y="234"/>
                </a:cubicBezTo>
                <a:cubicBezTo>
                  <a:pt x="3500" y="232"/>
                  <a:pt x="3500" y="231"/>
                  <a:pt x="3501" y="228"/>
                </a:cubicBezTo>
                <a:cubicBezTo>
                  <a:pt x="3500" y="229"/>
                  <a:pt x="3499" y="230"/>
                  <a:pt x="3498" y="230"/>
                </a:cubicBezTo>
                <a:cubicBezTo>
                  <a:pt x="3498" y="231"/>
                  <a:pt x="3498" y="232"/>
                  <a:pt x="3497" y="232"/>
                </a:cubicBezTo>
                <a:cubicBezTo>
                  <a:pt x="3498" y="229"/>
                  <a:pt x="3498" y="229"/>
                  <a:pt x="3504" y="228"/>
                </a:cubicBezTo>
                <a:cubicBezTo>
                  <a:pt x="3504" y="227"/>
                  <a:pt x="3503" y="226"/>
                  <a:pt x="3503" y="226"/>
                </a:cubicBezTo>
                <a:cubicBezTo>
                  <a:pt x="3500" y="227"/>
                  <a:pt x="3499" y="226"/>
                  <a:pt x="3499" y="223"/>
                </a:cubicBezTo>
                <a:cubicBezTo>
                  <a:pt x="3500" y="223"/>
                  <a:pt x="3502" y="222"/>
                  <a:pt x="3504" y="222"/>
                </a:cubicBezTo>
                <a:cubicBezTo>
                  <a:pt x="3502" y="220"/>
                  <a:pt x="3500" y="217"/>
                  <a:pt x="3497" y="217"/>
                </a:cubicBezTo>
                <a:cubicBezTo>
                  <a:pt x="3497" y="217"/>
                  <a:pt x="3496" y="216"/>
                  <a:pt x="3496" y="216"/>
                </a:cubicBezTo>
                <a:cubicBezTo>
                  <a:pt x="3494" y="214"/>
                  <a:pt x="3492" y="211"/>
                  <a:pt x="3489" y="209"/>
                </a:cubicBezTo>
                <a:cubicBezTo>
                  <a:pt x="3487" y="208"/>
                  <a:pt x="3484" y="207"/>
                  <a:pt x="3482" y="207"/>
                </a:cubicBezTo>
                <a:cubicBezTo>
                  <a:pt x="3478" y="208"/>
                  <a:pt x="3475" y="209"/>
                  <a:pt x="3472" y="210"/>
                </a:cubicBezTo>
                <a:cubicBezTo>
                  <a:pt x="3469" y="211"/>
                  <a:pt x="3467" y="213"/>
                  <a:pt x="3465" y="216"/>
                </a:cubicBezTo>
                <a:cubicBezTo>
                  <a:pt x="3467" y="216"/>
                  <a:pt x="3468" y="216"/>
                  <a:pt x="3469" y="216"/>
                </a:cubicBezTo>
                <a:cubicBezTo>
                  <a:pt x="3469" y="216"/>
                  <a:pt x="3468" y="217"/>
                  <a:pt x="3467" y="217"/>
                </a:cubicBezTo>
                <a:cubicBezTo>
                  <a:pt x="3465" y="217"/>
                  <a:pt x="3462" y="217"/>
                  <a:pt x="3460" y="219"/>
                </a:cubicBezTo>
                <a:cubicBezTo>
                  <a:pt x="3456" y="223"/>
                  <a:pt x="3453" y="226"/>
                  <a:pt x="3449" y="231"/>
                </a:cubicBezTo>
                <a:cubicBezTo>
                  <a:pt x="3447" y="233"/>
                  <a:pt x="3447" y="235"/>
                  <a:pt x="3445" y="238"/>
                </a:cubicBezTo>
                <a:cubicBezTo>
                  <a:pt x="3445" y="238"/>
                  <a:pt x="3445" y="239"/>
                  <a:pt x="3446" y="239"/>
                </a:cubicBezTo>
                <a:cubicBezTo>
                  <a:pt x="3447" y="241"/>
                  <a:pt x="3448" y="243"/>
                  <a:pt x="3450" y="245"/>
                </a:cubicBezTo>
                <a:cubicBezTo>
                  <a:pt x="3451" y="243"/>
                  <a:pt x="3452" y="242"/>
                  <a:pt x="3453" y="241"/>
                </a:cubicBezTo>
                <a:cubicBezTo>
                  <a:pt x="3453" y="242"/>
                  <a:pt x="3453" y="243"/>
                  <a:pt x="3452" y="245"/>
                </a:cubicBezTo>
                <a:cubicBezTo>
                  <a:pt x="3451" y="246"/>
                  <a:pt x="3450" y="247"/>
                  <a:pt x="3450" y="249"/>
                </a:cubicBezTo>
                <a:cubicBezTo>
                  <a:pt x="3449" y="249"/>
                  <a:pt x="3450" y="251"/>
                  <a:pt x="3450" y="251"/>
                </a:cubicBezTo>
                <a:cubicBezTo>
                  <a:pt x="3453" y="255"/>
                  <a:pt x="3456" y="255"/>
                  <a:pt x="3460" y="253"/>
                </a:cubicBezTo>
                <a:cubicBezTo>
                  <a:pt x="3462" y="251"/>
                  <a:pt x="3465" y="250"/>
                  <a:pt x="3467" y="249"/>
                </a:cubicBezTo>
                <a:cubicBezTo>
                  <a:pt x="3469" y="249"/>
                  <a:pt x="3470" y="248"/>
                  <a:pt x="3470" y="247"/>
                </a:cubicBezTo>
                <a:cubicBezTo>
                  <a:pt x="3470" y="243"/>
                  <a:pt x="3470" y="240"/>
                  <a:pt x="3470" y="237"/>
                </a:cubicBezTo>
                <a:cubicBezTo>
                  <a:pt x="3470" y="234"/>
                  <a:pt x="3470" y="231"/>
                  <a:pt x="3470" y="228"/>
                </a:cubicBezTo>
                <a:cubicBezTo>
                  <a:pt x="3471" y="230"/>
                  <a:pt x="3471" y="233"/>
                  <a:pt x="3472" y="236"/>
                </a:cubicBezTo>
                <a:cubicBezTo>
                  <a:pt x="3473" y="240"/>
                  <a:pt x="3473" y="245"/>
                  <a:pt x="3471" y="249"/>
                </a:cubicBezTo>
                <a:cubicBezTo>
                  <a:pt x="3471" y="250"/>
                  <a:pt x="3470" y="251"/>
                  <a:pt x="3470" y="251"/>
                </a:cubicBezTo>
                <a:cubicBezTo>
                  <a:pt x="3466" y="251"/>
                  <a:pt x="3463" y="253"/>
                  <a:pt x="3460" y="255"/>
                </a:cubicBezTo>
                <a:cubicBezTo>
                  <a:pt x="3455" y="258"/>
                  <a:pt x="3451" y="256"/>
                  <a:pt x="3448" y="252"/>
                </a:cubicBezTo>
                <a:cubicBezTo>
                  <a:pt x="3447" y="251"/>
                  <a:pt x="3447" y="250"/>
                  <a:pt x="3448" y="250"/>
                </a:cubicBezTo>
                <a:cubicBezTo>
                  <a:pt x="3449" y="247"/>
                  <a:pt x="3448" y="245"/>
                  <a:pt x="3446" y="243"/>
                </a:cubicBezTo>
                <a:cubicBezTo>
                  <a:pt x="3445" y="241"/>
                  <a:pt x="3443" y="239"/>
                  <a:pt x="3444" y="236"/>
                </a:cubicBezTo>
                <a:cubicBezTo>
                  <a:pt x="3445" y="234"/>
                  <a:pt x="3446" y="233"/>
                  <a:pt x="3447" y="231"/>
                </a:cubicBezTo>
                <a:cubicBezTo>
                  <a:pt x="3449" y="228"/>
                  <a:pt x="3451" y="226"/>
                  <a:pt x="3453" y="223"/>
                </a:cubicBezTo>
                <a:cubicBezTo>
                  <a:pt x="3453" y="223"/>
                  <a:pt x="3452" y="223"/>
                  <a:pt x="3452" y="223"/>
                </a:cubicBezTo>
                <a:cubicBezTo>
                  <a:pt x="3447" y="224"/>
                  <a:pt x="3442" y="226"/>
                  <a:pt x="3438" y="229"/>
                </a:cubicBezTo>
                <a:cubicBezTo>
                  <a:pt x="3434" y="234"/>
                  <a:pt x="3431" y="239"/>
                  <a:pt x="3431" y="245"/>
                </a:cubicBezTo>
                <a:cubicBezTo>
                  <a:pt x="3430" y="252"/>
                  <a:pt x="3433" y="258"/>
                  <a:pt x="3436" y="264"/>
                </a:cubicBezTo>
                <a:cubicBezTo>
                  <a:pt x="3436" y="265"/>
                  <a:pt x="3437" y="266"/>
                  <a:pt x="3437" y="268"/>
                </a:cubicBezTo>
                <a:cubicBezTo>
                  <a:pt x="3437" y="269"/>
                  <a:pt x="3436" y="271"/>
                  <a:pt x="3436" y="272"/>
                </a:cubicBezTo>
                <a:cubicBezTo>
                  <a:pt x="3435" y="274"/>
                  <a:pt x="3436" y="275"/>
                  <a:pt x="3437" y="275"/>
                </a:cubicBezTo>
                <a:cubicBezTo>
                  <a:pt x="3440" y="276"/>
                  <a:pt x="3443" y="276"/>
                  <a:pt x="3445" y="277"/>
                </a:cubicBezTo>
                <a:cubicBezTo>
                  <a:pt x="3446" y="277"/>
                  <a:pt x="3447" y="276"/>
                  <a:pt x="3447" y="276"/>
                </a:cubicBezTo>
                <a:cubicBezTo>
                  <a:pt x="3447" y="274"/>
                  <a:pt x="3447" y="273"/>
                  <a:pt x="3448" y="272"/>
                </a:cubicBezTo>
                <a:cubicBezTo>
                  <a:pt x="3450" y="270"/>
                  <a:pt x="3450" y="267"/>
                  <a:pt x="3450" y="264"/>
                </a:cubicBezTo>
                <a:cubicBezTo>
                  <a:pt x="3450" y="264"/>
                  <a:pt x="3450" y="263"/>
                  <a:pt x="3450" y="263"/>
                </a:cubicBezTo>
                <a:cubicBezTo>
                  <a:pt x="3450" y="262"/>
                  <a:pt x="3450" y="262"/>
                  <a:pt x="3450" y="262"/>
                </a:cubicBezTo>
                <a:cubicBezTo>
                  <a:pt x="3451" y="265"/>
                  <a:pt x="3452" y="265"/>
                  <a:pt x="3454" y="265"/>
                </a:cubicBezTo>
                <a:cubicBezTo>
                  <a:pt x="3455" y="265"/>
                  <a:pt x="3456" y="265"/>
                  <a:pt x="3457" y="265"/>
                </a:cubicBezTo>
                <a:cubicBezTo>
                  <a:pt x="3459" y="265"/>
                  <a:pt x="3462" y="266"/>
                  <a:pt x="3463" y="261"/>
                </a:cubicBezTo>
                <a:cubicBezTo>
                  <a:pt x="3463" y="264"/>
                  <a:pt x="3463" y="265"/>
                  <a:pt x="3463" y="266"/>
                </a:cubicBezTo>
                <a:cubicBezTo>
                  <a:pt x="3462" y="267"/>
                  <a:pt x="3460" y="268"/>
                  <a:pt x="3459" y="268"/>
                </a:cubicBezTo>
                <a:cubicBezTo>
                  <a:pt x="3458" y="269"/>
                  <a:pt x="3457" y="270"/>
                  <a:pt x="3458" y="271"/>
                </a:cubicBezTo>
                <a:cubicBezTo>
                  <a:pt x="3459" y="274"/>
                  <a:pt x="3460" y="276"/>
                  <a:pt x="3462" y="278"/>
                </a:cubicBezTo>
                <a:cubicBezTo>
                  <a:pt x="3464" y="279"/>
                  <a:pt x="3465" y="278"/>
                  <a:pt x="3467" y="277"/>
                </a:cubicBezTo>
                <a:cubicBezTo>
                  <a:pt x="3467" y="276"/>
                  <a:pt x="3468" y="275"/>
                  <a:pt x="3469" y="275"/>
                </a:cubicBezTo>
                <a:cubicBezTo>
                  <a:pt x="3471" y="273"/>
                  <a:pt x="3472" y="272"/>
                  <a:pt x="3474" y="271"/>
                </a:cubicBezTo>
                <a:cubicBezTo>
                  <a:pt x="3478" y="266"/>
                  <a:pt x="3480" y="260"/>
                  <a:pt x="3482" y="255"/>
                </a:cubicBezTo>
                <a:cubicBezTo>
                  <a:pt x="3482" y="254"/>
                  <a:pt x="3481" y="253"/>
                  <a:pt x="3480" y="253"/>
                </a:cubicBezTo>
                <a:cubicBezTo>
                  <a:pt x="3480" y="252"/>
                  <a:pt x="3478" y="251"/>
                  <a:pt x="3477" y="250"/>
                </a:cubicBezTo>
                <a:close/>
                <a:moveTo>
                  <a:pt x="3430" y="257"/>
                </a:moveTo>
                <a:cubicBezTo>
                  <a:pt x="3429" y="257"/>
                  <a:pt x="3428" y="258"/>
                  <a:pt x="3427" y="259"/>
                </a:cubicBezTo>
                <a:cubicBezTo>
                  <a:pt x="3426" y="260"/>
                  <a:pt x="3426" y="260"/>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0" y="263"/>
                  <a:pt x="3478" y="268"/>
                  <a:pt x="3476" y="272"/>
                </a:cubicBezTo>
                <a:cubicBezTo>
                  <a:pt x="3478" y="272"/>
                  <a:pt x="3481" y="272"/>
                  <a:pt x="3484" y="272"/>
                </a:cubicBezTo>
                <a:cubicBezTo>
                  <a:pt x="3484" y="272"/>
                  <a:pt x="3484" y="271"/>
                  <a:pt x="3484" y="270"/>
                </a:cubicBezTo>
                <a:cubicBezTo>
                  <a:pt x="3484" y="268"/>
                  <a:pt x="3484" y="265"/>
                  <a:pt x="3484" y="263"/>
                </a:cubicBezTo>
                <a:cubicBezTo>
                  <a:pt x="3484" y="261"/>
                  <a:pt x="3483" y="260"/>
                  <a:pt x="3483" y="259"/>
                </a:cubicBezTo>
                <a:close/>
                <a:moveTo>
                  <a:pt x="3430" y="238"/>
                </a:moveTo>
                <a:cubicBezTo>
                  <a:pt x="3429" y="239"/>
                  <a:pt x="3429" y="239"/>
                  <a:pt x="3428" y="239"/>
                </a:cubicBezTo>
                <a:cubicBezTo>
                  <a:pt x="3427" y="239"/>
                  <a:pt x="3427" y="239"/>
                  <a:pt x="3427" y="239"/>
                </a:cubicBezTo>
                <a:cubicBezTo>
                  <a:pt x="3426" y="238"/>
                  <a:pt x="3426" y="238"/>
                  <a:pt x="3426" y="237"/>
                </a:cubicBezTo>
                <a:cubicBezTo>
                  <a:pt x="3427" y="235"/>
                  <a:pt x="3427" y="233"/>
                  <a:pt x="3428" y="231"/>
                </a:cubicBezTo>
                <a:cubicBezTo>
                  <a:pt x="3427" y="231"/>
                  <a:pt x="3427" y="231"/>
                  <a:pt x="3427" y="231"/>
                </a:cubicBezTo>
                <a:cubicBezTo>
                  <a:pt x="3426" y="232"/>
                  <a:pt x="3425" y="232"/>
                  <a:pt x="3424" y="234"/>
                </a:cubicBezTo>
                <a:cubicBezTo>
                  <a:pt x="3424" y="235"/>
                  <a:pt x="3425" y="240"/>
                  <a:pt x="3427" y="241"/>
                </a:cubicBezTo>
                <a:cubicBezTo>
                  <a:pt x="3428" y="241"/>
                  <a:pt x="3430" y="240"/>
                  <a:pt x="3430" y="238"/>
                </a:cubicBezTo>
                <a:close/>
                <a:moveTo>
                  <a:pt x="3430" y="257"/>
                </a:moveTo>
                <a:cubicBezTo>
                  <a:pt x="3430" y="257"/>
                  <a:pt x="3428" y="258"/>
                  <a:pt x="3427" y="259"/>
                </a:cubicBezTo>
                <a:cubicBezTo>
                  <a:pt x="3426" y="260"/>
                  <a:pt x="3426" y="261"/>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1" y="263"/>
                  <a:pt x="3478" y="268"/>
                  <a:pt x="3476" y="272"/>
                </a:cubicBezTo>
                <a:cubicBezTo>
                  <a:pt x="3479" y="272"/>
                  <a:pt x="3481" y="273"/>
                  <a:pt x="3484" y="272"/>
                </a:cubicBezTo>
                <a:cubicBezTo>
                  <a:pt x="3484" y="272"/>
                  <a:pt x="3485" y="271"/>
                  <a:pt x="3485" y="271"/>
                </a:cubicBezTo>
                <a:cubicBezTo>
                  <a:pt x="3485" y="268"/>
                  <a:pt x="3485" y="265"/>
                  <a:pt x="3484" y="263"/>
                </a:cubicBezTo>
                <a:cubicBezTo>
                  <a:pt x="3484" y="261"/>
                  <a:pt x="3483" y="260"/>
                  <a:pt x="3483" y="259"/>
                </a:cubicBezTo>
                <a:close/>
                <a:moveTo>
                  <a:pt x="3430" y="238"/>
                </a:moveTo>
                <a:cubicBezTo>
                  <a:pt x="3430" y="239"/>
                  <a:pt x="3429" y="239"/>
                  <a:pt x="3428" y="239"/>
                </a:cubicBezTo>
                <a:cubicBezTo>
                  <a:pt x="3428" y="239"/>
                  <a:pt x="3427" y="239"/>
                  <a:pt x="3427" y="239"/>
                </a:cubicBezTo>
                <a:cubicBezTo>
                  <a:pt x="3426" y="238"/>
                  <a:pt x="3426" y="237"/>
                  <a:pt x="3426" y="237"/>
                </a:cubicBezTo>
                <a:cubicBezTo>
                  <a:pt x="3427" y="235"/>
                  <a:pt x="3427" y="233"/>
                  <a:pt x="3428" y="231"/>
                </a:cubicBezTo>
                <a:cubicBezTo>
                  <a:pt x="3428" y="231"/>
                  <a:pt x="3428" y="231"/>
                  <a:pt x="3427" y="231"/>
                </a:cubicBezTo>
                <a:cubicBezTo>
                  <a:pt x="3426" y="232"/>
                  <a:pt x="3425" y="232"/>
                  <a:pt x="3424" y="233"/>
                </a:cubicBezTo>
                <a:cubicBezTo>
                  <a:pt x="3424" y="235"/>
                  <a:pt x="3425" y="240"/>
                  <a:pt x="3427" y="241"/>
                </a:cubicBezTo>
                <a:cubicBezTo>
                  <a:pt x="3428" y="241"/>
                  <a:pt x="3430" y="240"/>
                  <a:pt x="3430" y="238"/>
                </a:cubicBezTo>
                <a:close/>
                <a:moveTo>
                  <a:pt x="3482" y="230"/>
                </a:moveTo>
                <a:cubicBezTo>
                  <a:pt x="3485" y="227"/>
                  <a:pt x="3485" y="227"/>
                  <a:pt x="3490" y="225"/>
                </a:cubicBezTo>
                <a:cubicBezTo>
                  <a:pt x="3490" y="227"/>
                  <a:pt x="3491" y="228"/>
                  <a:pt x="3492" y="228"/>
                </a:cubicBezTo>
                <a:cubicBezTo>
                  <a:pt x="3490" y="230"/>
                  <a:pt x="3488" y="231"/>
                  <a:pt x="3486" y="232"/>
                </a:cubicBezTo>
                <a:cubicBezTo>
                  <a:pt x="3485" y="231"/>
                  <a:pt x="3485" y="231"/>
                  <a:pt x="3484" y="230"/>
                </a:cubicBezTo>
                <a:cubicBezTo>
                  <a:pt x="3483" y="230"/>
                  <a:pt x="3483" y="230"/>
                  <a:pt x="3482" y="230"/>
                </a:cubicBezTo>
                <a:close/>
                <a:moveTo>
                  <a:pt x="3488" y="230"/>
                </a:moveTo>
                <a:cubicBezTo>
                  <a:pt x="3487" y="229"/>
                  <a:pt x="3487" y="229"/>
                  <a:pt x="3486" y="229"/>
                </a:cubicBezTo>
                <a:cubicBezTo>
                  <a:pt x="3486" y="229"/>
                  <a:pt x="3485" y="230"/>
                  <a:pt x="3485" y="230"/>
                </a:cubicBezTo>
                <a:cubicBezTo>
                  <a:pt x="3485" y="230"/>
                  <a:pt x="3485" y="231"/>
                  <a:pt x="3486" y="231"/>
                </a:cubicBezTo>
                <a:cubicBezTo>
                  <a:pt x="3487" y="231"/>
                  <a:pt x="3487" y="230"/>
                  <a:pt x="3488" y="230"/>
                </a:cubicBezTo>
                <a:close/>
                <a:moveTo>
                  <a:pt x="3470" y="220"/>
                </a:moveTo>
                <a:cubicBezTo>
                  <a:pt x="3463" y="219"/>
                  <a:pt x="3460" y="222"/>
                  <a:pt x="3459" y="230"/>
                </a:cubicBezTo>
                <a:cubicBezTo>
                  <a:pt x="3460" y="228"/>
                  <a:pt x="3461" y="225"/>
                  <a:pt x="3462" y="223"/>
                </a:cubicBezTo>
                <a:cubicBezTo>
                  <a:pt x="3463" y="223"/>
                  <a:pt x="3463" y="223"/>
                  <a:pt x="3463" y="223"/>
                </a:cubicBezTo>
                <a:cubicBezTo>
                  <a:pt x="3463" y="224"/>
                  <a:pt x="3463" y="225"/>
                  <a:pt x="3463" y="226"/>
                </a:cubicBezTo>
                <a:cubicBezTo>
                  <a:pt x="3464" y="222"/>
                  <a:pt x="3466" y="220"/>
                  <a:pt x="3470" y="220"/>
                </a:cubicBezTo>
                <a:close/>
                <a:moveTo>
                  <a:pt x="3513" y="222"/>
                </a:moveTo>
                <a:cubicBezTo>
                  <a:pt x="3511" y="223"/>
                  <a:pt x="3509" y="224"/>
                  <a:pt x="3508" y="226"/>
                </a:cubicBezTo>
                <a:cubicBezTo>
                  <a:pt x="3510" y="226"/>
                  <a:pt x="3512" y="224"/>
                  <a:pt x="3513" y="222"/>
                </a:cubicBezTo>
                <a:close/>
                <a:moveTo>
                  <a:pt x="3480" y="224"/>
                </a:moveTo>
                <a:cubicBezTo>
                  <a:pt x="3481" y="222"/>
                  <a:pt x="3482" y="221"/>
                  <a:pt x="3483" y="220"/>
                </a:cubicBezTo>
                <a:cubicBezTo>
                  <a:pt x="3480" y="221"/>
                  <a:pt x="3479" y="222"/>
                  <a:pt x="3480" y="224"/>
                </a:cubicBezTo>
                <a:close/>
                <a:moveTo>
                  <a:pt x="3489" y="245"/>
                </a:moveTo>
                <a:cubicBezTo>
                  <a:pt x="3488" y="246"/>
                  <a:pt x="3487" y="246"/>
                  <a:pt x="3487" y="247"/>
                </a:cubicBezTo>
                <a:cubicBezTo>
                  <a:pt x="3487" y="247"/>
                  <a:pt x="3489" y="246"/>
                  <a:pt x="3489" y="245"/>
                </a:cubicBezTo>
                <a:close/>
                <a:moveTo>
                  <a:pt x="3488" y="230"/>
                </a:moveTo>
                <a:cubicBezTo>
                  <a:pt x="3488" y="229"/>
                  <a:pt x="3487" y="229"/>
                  <a:pt x="3486" y="229"/>
                </a:cubicBezTo>
                <a:cubicBezTo>
                  <a:pt x="3486" y="229"/>
                  <a:pt x="3485" y="230"/>
                  <a:pt x="3485" y="230"/>
                </a:cubicBezTo>
                <a:cubicBezTo>
                  <a:pt x="3485" y="230"/>
                  <a:pt x="3486" y="231"/>
                  <a:pt x="3486" y="231"/>
                </a:cubicBezTo>
                <a:cubicBezTo>
                  <a:pt x="3487" y="231"/>
                  <a:pt x="3487" y="230"/>
                  <a:pt x="3488" y="230"/>
                </a:cubicBezTo>
                <a:close/>
                <a:moveTo>
                  <a:pt x="3036" y="111"/>
                </a:moveTo>
                <a:cubicBezTo>
                  <a:pt x="3036" y="111"/>
                  <a:pt x="3036" y="111"/>
                  <a:pt x="3036" y="111"/>
                </a:cubicBezTo>
                <a:cubicBezTo>
                  <a:pt x="3031" y="111"/>
                  <a:pt x="3031" y="111"/>
                  <a:pt x="3031" y="111"/>
                </a:cubicBezTo>
                <a:cubicBezTo>
                  <a:pt x="3029" y="113"/>
                  <a:pt x="3028" y="114"/>
                  <a:pt x="3025" y="115"/>
                </a:cubicBezTo>
                <a:cubicBezTo>
                  <a:pt x="3024" y="116"/>
                  <a:pt x="3022" y="117"/>
                  <a:pt x="3020" y="118"/>
                </a:cubicBezTo>
                <a:cubicBezTo>
                  <a:pt x="3019" y="119"/>
                  <a:pt x="3017" y="120"/>
                  <a:pt x="3015" y="121"/>
                </a:cubicBezTo>
                <a:cubicBezTo>
                  <a:pt x="3013" y="121"/>
                  <a:pt x="3012" y="122"/>
                  <a:pt x="3009" y="122"/>
                </a:cubicBezTo>
                <a:cubicBezTo>
                  <a:pt x="3009" y="122"/>
                  <a:pt x="3009" y="122"/>
                  <a:pt x="3009" y="132"/>
                </a:cubicBezTo>
                <a:cubicBezTo>
                  <a:pt x="3012" y="132"/>
                  <a:pt x="3015" y="131"/>
                  <a:pt x="3017" y="129"/>
                </a:cubicBezTo>
                <a:cubicBezTo>
                  <a:pt x="3020" y="129"/>
                  <a:pt x="3023" y="127"/>
                  <a:pt x="3025" y="126"/>
                </a:cubicBezTo>
                <a:cubicBezTo>
                  <a:pt x="3025" y="126"/>
                  <a:pt x="3025" y="126"/>
                  <a:pt x="3025" y="185"/>
                </a:cubicBezTo>
                <a:cubicBezTo>
                  <a:pt x="3025" y="185"/>
                  <a:pt x="3025" y="185"/>
                  <a:pt x="3036" y="185"/>
                </a:cubicBezTo>
                <a:cubicBezTo>
                  <a:pt x="3036" y="185"/>
                  <a:pt x="3036" y="185"/>
                  <a:pt x="3036" y="111"/>
                </a:cubicBezTo>
                <a:close/>
                <a:moveTo>
                  <a:pt x="3083" y="111"/>
                </a:moveTo>
                <a:cubicBezTo>
                  <a:pt x="3083" y="111"/>
                  <a:pt x="3083" y="111"/>
                  <a:pt x="3083" y="111"/>
                </a:cubicBezTo>
                <a:cubicBezTo>
                  <a:pt x="3078" y="111"/>
                  <a:pt x="3078" y="111"/>
                  <a:pt x="3078" y="111"/>
                </a:cubicBezTo>
                <a:cubicBezTo>
                  <a:pt x="3077" y="113"/>
                  <a:pt x="3075" y="114"/>
                  <a:pt x="3073" y="115"/>
                </a:cubicBezTo>
                <a:cubicBezTo>
                  <a:pt x="3071" y="116"/>
                  <a:pt x="3070" y="117"/>
                  <a:pt x="3067" y="118"/>
                </a:cubicBezTo>
                <a:cubicBezTo>
                  <a:pt x="3066" y="119"/>
                  <a:pt x="3064" y="120"/>
                  <a:pt x="3062" y="121"/>
                </a:cubicBezTo>
                <a:cubicBezTo>
                  <a:pt x="3060" y="121"/>
                  <a:pt x="3059" y="122"/>
                  <a:pt x="3056" y="122"/>
                </a:cubicBezTo>
                <a:cubicBezTo>
                  <a:pt x="3056" y="122"/>
                  <a:pt x="3056" y="122"/>
                  <a:pt x="3056" y="132"/>
                </a:cubicBezTo>
                <a:cubicBezTo>
                  <a:pt x="3059" y="132"/>
                  <a:pt x="3062" y="131"/>
                  <a:pt x="3065" y="129"/>
                </a:cubicBezTo>
                <a:cubicBezTo>
                  <a:pt x="3067" y="129"/>
                  <a:pt x="3070" y="127"/>
                  <a:pt x="3072" y="126"/>
                </a:cubicBezTo>
                <a:cubicBezTo>
                  <a:pt x="3072" y="126"/>
                  <a:pt x="3072" y="126"/>
                  <a:pt x="3072" y="185"/>
                </a:cubicBezTo>
                <a:cubicBezTo>
                  <a:pt x="3072" y="185"/>
                  <a:pt x="3072" y="185"/>
                  <a:pt x="3083" y="185"/>
                </a:cubicBezTo>
                <a:cubicBezTo>
                  <a:pt x="3083" y="185"/>
                  <a:pt x="3083" y="185"/>
                  <a:pt x="3083" y="111"/>
                </a:cubicBezTo>
                <a:close/>
                <a:moveTo>
                  <a:pt x="3129" y="111"/>
                </a:moveTo>
                <a:cubicBezTo>
                  <a:pt x="3129" y="111"/>
                  <a:pt x="3129" y="111"/>
                  <a:pt x="3129" y="111"/>
                </a:cubicBezTo>
                <a:cubicBezTo>
                  <a:pt x="3125" y="111"/>
                  <a:pt x="3125" y="111"/>
                  <a:pt x="3125" y="111"/>
                </a:cubicBezTo>
                <a:cubicBezTo>
                  <a:pt x="3122" y="113"/>
                  <a:pt x="3121" y="114"/>
                  <a:pt x="3119" y="115"/>
                </a:cubicBezTo>
                <a:cubicBezTo>
                  <a:pt x="3117" y="116"/>
                  <a:pt x="3115" y="117"/>
                  <a:pt x="3114" y="118"/>
                </a:cubicBezTo>
                <a:cubicBezTo>
                  <a:pt x="3112" y="119"/>
                  <a:pt x="3110" y="119"/>
                  <a:pt x="3108" y="120"/>
                </a:cubicBezTo>
                <a:cubicBezTo>
                  <a:pt x="3107" y="121"/>
                  <a:pt x="3104" y="121"/>
                  <a:pt x="3103" y="122"/>
                </a:cubicBezTo>
                <a:cubicBezTo>
                  <a:pt x="3103" y="122"/>
                  <a:pt x="3103" y="122"/>
                  <a:pt x="3103" y="132"/>
                </a:cubicBezTo>
                <a:cubicBezTo>
                  <a:pt x="3106" y="132"/>
                  <a:pt x="3109" y="130"/>
                  <a:pt x="3111" y="129"/>
                </a:cubicBezTo>
                <a:cubicBezTo>
                  <a:pt x="3113" y="129"/>
                  <a:pt x="3116" y="127"/>
                  <a:pt x="3117" y="126"/>
                </a:cubicBezTo>
                <a:cubicBezTo>
                  <a:pt x="3117" y="126"/>
                  <a:pt x="3117" y="126"/>
                  <a:pt x="3117" y="185"/>
                </a:cubicBezTo>
                <a:cubicBezTo>
                  <a:pt x="3117" y="185"/>
                  <a:pt x="3117" y="185"/>
                  <a:pt x="3129" y="185"/>
                </a:cubicBezTo>
                <a:cubicBezTo>
                  <a:pt x="3129" y="185"/>
                  <a:pt x="3129" y="185"/>
                  <a:pt x="3129" y="111"/>
                </a:cubicBezTo>
                <a:close/>
                <a:moveTo>
                  <a:pt x="3266" y="144"/>
                </a:moveTo>
                <a:cubicBezTo>
                  <a:pt x="3266" y="144"/>
                  <a:pt x="3266" y="144"/>
                  <a:pt x="3266" y="144"/>
                </a:cubicBezTo>
                <a:cubicBezTo>
                  <a:pt x="3266" y="152"/>
                  <a:pt x="3266" y="152"/>
                  <a:pt x="3266" y="152"/>
                </a:cubicBezTo>
                <a:cubicBezTo>
                  <a:pt x="3272" y="152"/>
                  <a:pt x="3273" y="155"/>
                  <a:pt x="3273" y="158"/>
                </a:cubicBezTo>
                <a:cubicBezTo>
                  <a:pt x="3273" y="160"/>
                  <a:pt x="3272" y="162"/>
                  <a:pt x="3272" y="165"/>
                </a:cubicBezTo>
                <a:cubicBezTo>
                  <a:pt x="3272" y="167"/>
                  <a:pt x="3272" y="170"/>
                  <a:pt x="3272" y="172"/>
                </a:cubicBezTo>
                <a:cubicBezTo>
                  <a:pt x="3272" y="181"/>
                  <a:pt x="3278" y="185"/>
                  <a:pt x="3286" y="185"/>
                </a:cubicBezTo>
                <a:cubicBezTo>
                  <a:pt x="3286" y="185"/>
                  <a:pt x="3286" y="185"/>
                  <a:pt x="3290" y="185"/>
                </a:cubicBezTo>
                <a:cubicBezTo>
                  <a:pt x="3290" y="185"/>
                  <a:pt x="3290" y="185"/>
                  <a:pt x="3290" y="176"/>
                </a:cubicBezTo>
                <a:cubicBezTo>
                  <a:pt x="3290" y="176"/>
                  <a:pt x="3290" y="176"/>
                  <a:pt x="3288" y="176"/>
                </a:cubicBezTo>
                <a:cubicBezTo>
                  <a:pt x="3285" y="176"/>
                  <a:pt x="3283" y="173"/>
                  <a:pt x="3283" y="170"/>
                </a:cubicBezTo>
                <a:cubicBezTo>
                  <a:pt x="3283" y="168"/>
                  <a:pt x="3283" y="167"/>
                  <a:pt x="3284" y="165"/>
                </a:cubicBezTo>
                <a:cubicBezTo>
                  <a:pt x="3284" y="163"/>
                  <a:pt x="3284" y="161"/>
                  <a:pt x="3284" y="159"/>
                </a:cubicBezTo>
                <a:cubicBezTo>
                  <a:pt x="3284" y="151"/>
                  <a:pt x="3281" y="149"/>
                  <a:pt x="3276" y="148"/>
                </a:cubicBezTo>
                <a:cubicBezTo>
                  <a:pt x="3276" y="148"/>
                  <a:pt x="3276" y="148"/>
                  <a:pt x="3276" y="147"/>
                </a:cubicBezTo>
                <a:cubicBezTo>
                  <a:pt x="3281" y="146"/>
                  <a:pt x="3284" y="144"/>
                  <a:pt x="3284" y="136"/>
                </a:cubicBezTo>
                <a:cubicBezTo>
                  <a:pt x="3284" y="134"/>
                  <a:pt x="3284" y="132"/>
                  <a:pt x="3284" y="130"/>
                </a:cubicBezTo>
                <a:cubicBezTo>
                  <a:pt x="3283" y="129"/>
                  <a:pt x="3283" y="127"/>
                  <a:pt x="3283" y="126"/>
                </a:cubicBezTo>
                <a:cubicBezTo>
                  <a:pt x="3283" y="122"/>
                  <a:pt x="3285" y="120"/>
                  <a:pt x="3288" y="120"/>
                </a:cubicBezTo>
                <a:cubicBezTo>
                  <a:pt x="3288" y="120"/>
                  <a:pt x="3288" y="120"/>
                  <a:pt x="3290" y="120"/>
                </a:cubicBezTo>
                <a:cubicBezTo>
                  <a:pt x="3290" y="120"/>
                  <a:pt x="3290" y="120"/>
                  <a:pt x="3290" y="110"/>
                </a:cubicBezTo>
                <a:cubicBezTo>
                  <a:pt x="3290" y="110"/>
                  <a:pt x="3290" y="110"/>
                  <a:pt x="3286" y="110"/>
                </a:cubicBezTo>
                <a:cubicBezTo>
                  <a:pt x="3277" y="110"/>
                  <a:pt x="3272" y="114"/>
                  <a:pt x="3272" y="123"/>
                </a:cubicBezTo>
                <a:cubicBezTo>
                  <a:pt x="3272" y="125"/>
                  <a:pt x="3272" y="128"/>
                  <a:pt x="3272" y="130"/>
                </a:cubicBezTo>
                <a:cubicBezTo>
                  <a:pt x="3272" y="133"/>
                  <a:pt x="3273" y="135"/>
                  <a:pt x="3273" y="137"/>
                </a:cubicBezTo>
                <a:cubicBezTo>
                  <a:pt x="3273" y="140"/>
                  <a:pt x="3272" y="143"/>
                  <a:pt x="3266" y="144"/>
                </a:cubicBezTo>
                <a:close/>
                <a:moveTo>
                  <a:pt x="3320" y="152"/>
                </a:moveTo>
                <a:cubicBezTo>
                  <a:pt x="3320" y="152"/>
                  <a:pt x="3320" y="152"/>
                  <a:pt x="3320" y="152"/>
                </a:cubicBezTo>
                <a:cubicBezTo>
                  <a:pt x="3320" y="144"/>
                  <a:pt x="3320" y="144"/>
                  <a:pt x="3320" y="144"/>
                </a:cubicBezTo>
                <a:cubicBezTo>
                  <a:pt x="3314" y="143"/>
                  <a:pt x="3314" y="140"/>
                  <a:pt x="3314" y="137"/>
                </a:cubicBezTo>
                <a:cubicBezTo>
                  <a:pt x="3314" y="135"/>
                  <a:pt x="3314" y="133"/>
                  <a:pt x="3314" y="130"/>
                </a:cubicBezTo>
                <a:cubicBezTo>
                  <a:pt x="3315" y="128"/>
                  <a:pt x="3315" y="125"/>
                  <a:pt x="3315" y="123"/>
                </a:cubicBezTo>
                <a:cubicBezTo>
                  <a:pt x="3315" y="114"/>
                  <a:pt x="3309" y="110"/>
                  <a:pt x="3300" y="110"/>
                </a:cubicBezTo>
                <a:cubicBezTo>
                  <a:pt x="3300" y="110"/>
                  <a:pt x="3300" y="110"/>
                  <a:pt x="3296" y="110"/>
                </a:cubicBezTo>
                <a:cubicBezTo>
                  <a:pt x="3296" y="110"/>
                  <a:pt x="3296" y="110"/>
                  <a:pt x="3296" y="120"/>
                </a:cubicBezTo>
                <a:cubicBezTo>
                  <a:pt x="3296" y="120"/>
                  <a:pt x="3296" y="120"/>
                  <a:pt x="3298" y="120"/>
                </a:cubicBezTo>
                <a:cubicBezTo>
                  <a:pt x="3302" y="120"/>
                  <a:pt x="3303" y="122"/>
                  <a:pt x="3303" y="126"/>
                </a:cubicBezTo>
                <a:cubicBezTo>
                  <a:pt x="3303" y="127"/>
                  <a:pt x="3303" y="129"/>
                  <a:pt x="3303" y="130"/>
                </a:cubicBezTo>
                <a:cubicBezTo>
                  <a:pt x="3302" y="132"/>
                  <a:pt x="3302" y="134"/>
                  <a:pt x="3302" y="136"/>
                </a:cubicBezTo>
                <a:cubicBezTo>
                  <a:pt x="3302" y="144"/>
                  <a:pt x="3305" y="146"/>
                  <a:pt x="3311" y="147"/>
                </a:cubicBezTo>
                <a:cubicBezTo>
                  <a:pt x="3311" y="147"/>
                  <a:pt x="3311" y="147"/>
                  <a:pt x="3311" y="148"/>
                </a:cubicBezTo>
                <a:cubicBezTo>
                  <a:pt x="3305" y="149"/>
                  <a:pt x="3302" y="151"/>
                  <a:pt x="3302" y="159"/>
                </a:cubicBezTo>
                <a:cubicBezTo>
                  <a:pt x="3302" y="161"/>
                  <a:pt x="3302" y="163"/>
                  <a:pt x="3303" y="165"/>
                </a:cubicBezTo>
                <a:cubicBezTo>
                  <a:pt x="3303" y="167"/>
                  <a:pt x="3303" y="168"/>
                  <a:pt x="3303" y="170"/>
                </a:cubicBezTo>
                <a:cubicBezTo>
                  <a:pt x="3303" y="173"/>
                  <a:pt x="3302" y="176"/>
                  <a:pt x="3298" y="176"/>
                </a:cubicBezTo>
                <a:cubicBezTo>
                  <a:pt x="3298" y="176"/>
                  <a:pt x="3298" y="176"/>
                  <a:pt x="3296" y="176"/>
                </a:cubicBezTo>
                <a:cubicBezTo>
                  <a:pt x="3296" y="176"/>
                  <a:pt x="3296" y="176"/>
                  <a:pt x="3296" y="185"/>
                </a:cubicBezTo>
                <a:cubicBezTo>
                  <a:pt x="3296" y="185"/>
                  <a:pt x="3296" y="185"/>
                  <a:pt x="3300" y="185"/>
                </a:cubicBezTo>
                <a:cubicBezTo>
                  <a:pt x="3309" y="185"/>
                  <a:pt x="3315" y="181"/>
                  <a:pt x="3315" y="172"/>
                </a:cubicBezTo>
                <a:cubicBezTo>
                  <a:pt x="3315" y="170"/>
                  <a:pt x="3315" y="167"/>
                  <a:pt x="3314" y="165"/>
                </a:cubicBezTo>
                <a:cubicBezTo>
                  <a:pt x="3314" y="162"/>
                  <a:pt x="3314" y="160"/>
                  <a:pt x="3314" y="158"/>
                </a:cubicBezTo>
                <a:cubicBezTo>
                  <a:pt x="3314" y="155"/>
                  <a:pt x="3314" y="152"/>
                  <a:pt x="3320" y="152"/>
                </a:cubicBezTo>
                <a:close/>
                <a:moveTo>
                  <a:pt x="3368" y="111"/>
                </a:moveTo>
                <a:cubicBezTo>
                  <a:pt x="3368" y="111"/>
                  <a:pt x="3368" y="111"/>
                  <a:pt x="3368" y="111"/>
                </a:cubicBezTo>
                <a:cubicBezTo>
                  <a:pt x="3362" y="111"/>
                  <a:pt x="3362" y="111"/>
                  <a:pt x="3362" y="111"/>
                </a:cubicBezTo>
                <a:cubicBezTo>
                  <a:pt x="3360" y="113"/>
                  <a:pt x="3359" y="114"/>
                  <a:pt x="3357" y="115"/>
                </a:cubicBezTo>
                <a:cubicBezTo>
                  <a:pt x="3355" y="116"/>
                  <a:pt x="3353" y="117"/>
                  <a:pt x="3352" y="118"/>
                </a:cubicBezTo>
                <a:cubicBezTo>
                  <a:pt x="3349" y="119"/>
                  <a:pt x="3348" y="119"/>
                  <a:pt x="3346" y="120"/>
                </a:cubicBezTo>
                <a:cubicBezTo>
                  <a:pt x="3344" y="121"/>
                  <a:pt x="3343" y="121"/>
                  <a:pt x="3341" y="122"/>
                </a:cubicBezTo>
                <a:cubicBezTo>
                  <a:pt x="3341" y="122"/>
                  <a:pt x="3341" y="122"/>
                  <a:pt x="3341" y="132"/>
                </a:cubicBezTo>
                <a:cubicBezTo>
                  <a:pt x="3344" y="132"/>
                  <a:pt x="3346" y="130"/>
                  <a:pt x="3349" y="129"/>
                </a:cubicBezTo>
                <a:cubicBezTo>
                  <a:pt x="3352" y="129"/>
                  <a:pt x="3354" y="127"/>
                  <a:pt x="3356" y="126"/>
                </a:cubicBezTo>
                <a:cubicBezTo>
                  <a:pt x="3356" y="126"/>
                  <a:pt x="3356" y="126"/>
                  <a:pt x="3356" y="185"/>
                </a:cubicBezTo>
                <a:cubicBezTo>
                  <a:pt x="3356" y="185"/>
                  <a:pt x="3356" y="185"/>
                  <a:pt x="3368" y="185"/>
                </a:cubicBezTo>
                <a:cubicBezTo>
                  <a:pt x="3368" y="185"/>
                  <a:pt x="3368" y="185"/>
                  <a:pt x="3368" y="111"/>
                </a:cubicBezTo>
                <a:close/>
                <a:moveTo>
                  <a:pt x="3414" y="111"/>
                </a:moveTo>
                <a:cubicBezTo>
                  <a:pt x="3414" y="111"/>
                  <a:pt x="3414" y="111"/>
                  <a:pt x="3414" y="111"/>
                </a:cubicBezTo>
                <a:cubicBezTo>
                  <a:pt x="3409" y="111"/>
                  <a:pt x="3409" y="111"/>
                  <a:pt x="3409" y="111"/>
                </a:cubicBezTo>
                <a:cubicBezTo>
                  <a:pt x="3407" y="113"/>
                  <a:pt x="3405" y="114"/>
                  <a:pt x="3403" y="115"/>
                </a:cubicBezTo>
                <a:cubicBezTo>
                  <a:pt x="3402" y="116"/>
                  <a:pt x="3400" y="117"/>
                  <a:pt x="3398" y="118"/>
                </a:cubicBezTo>
                <a:cubicBezTo>
                  <a:pt x="3397" y="119"/>
                  <a:pt x="3394" y="120"/>
                  <a:pt x="3393" y="121"/>
                </a:cubicBezTo>
                <a:cubicBezTo>
                  <a:pt x="3391" y="121"/>
                  <a:pt x="3389" y="122"/>
                  <a:pt x="3387" y="122"/>
                </a:cubicBezTo>
                <a:cubicBezTo>
                  <a:pt x="3387" y="122"/>
                  <a:pt x="3387" y="122"/>
                  <a:pt x="3387" y="132"/>
                </a:cubicBezTo>
                <a:cubicBezTo>
                  <a:pt x="3390" y="132"/>
                  <a:pt x="3393" y="131"/>
                  <a:pt x="3395" y="129"/>
                </a:cubicBezTo>
                <a:cubicBezTo>
                  <a:pt x="3398" y="129"/>
                  <a:pt x="3400" y="127"/>
                  <a:pt x="3402" y="126"/>
                </a:cubicBezTo>
                <a:cubicBezTo>
                  <a:pt x="3402" y="126"/>
                  <a:pt x="3402" y="126"/>
                  <a:pt x="3402" y="185"/>
                </a:cubicBezTo>
                <a:cubicBezTo>
                  <a:pt x="3402" y="185"/>
                  <a:pt x="3402" y="185"/>
                  <a:pt x="3414" y="185"/>
                </a:cubicBezTo>
                <a:cubicBezTo>
                  <a:pt x="3414" y="185"/>
                  <a:pt x="3414" y="185"/>
                  <a:pt x="3414" y="111"/>
                </a:cubicBezTo>
                <a:close/>
                <a:moveTo>
                  <a:pt x="3460" y="111"/>
                </a:moveTo>
                <a:cubicBezTo>
                  <a:pt x="3460" y="111"/>
                  <a:pt x="3460" y="111"/>
                  <a:pt x="3460" y="111"/>
                </a:cubicBezTo>
                <a:cubicBezTo>
                  <a:pt x="3455" y="111"/>
                  <a:pt x="3455" y="111"/>
                  <a:pt x="3455" y="111"/>
                </a:cubicBezTo>
                <a:cubicBezTo>
                  <a:pt x="3453" y="113"/>
                  <a:pt x="3452" y="114"/>
                  <a:pt x="3450" y="115"/>
                </a:cubicBezTo>
                <a:cubicBezTo>
                  <a:pt x="3448" y="116"/>
                  <a:pt x="3446" y="117"/>
                  <a:pt x="3445" y="118"/>
                </a:cubicBezTo>
                <a:cubicBezTo>
                  <a:pt x="3442" y="119"/>
                  <a:pt x="3441" y="120"/>
                  <a:pt x="3439" y="121"/>
                </a:cubicBezTo>
                <a:cubicBezTo>
                  <a:pt x="3437" y="121"/>
                  <a:pt x="3435" y="122"/>
                  <a:pt x="3434" y="122"/>
                </a:cubicBezTo>
                <a:cubicBezTo>
                  <a:pt x="3434" y="122"/>
                  <a:pt x="3434" y="122"/>
                  <a:pt x="3434" y="132"/>
                </a:cubicBezTo>
                <a:cubicBezTo>
                  <a:pt x="3437" y="132"/>
                  <a:pt x="3440" y="131"/>
                  <a:pt x="3442" y="129"/>
                </a:cubicBezTo>
                <a:cubicBezTo>
                  <a:pt x="3444" y="129"/>
                  <a:pt x="3447" y="127"/>
                  <a:pt x="3448" y="126"/>
                </a:cubicBezTo>
                <a:cubicBezTo>
                  <a:pt x="3448" y="126"/>
                  <a:pt x="3448" y="126"/>
                  <a:pt x="3448" y="185"/>
                </a:cubicBezTo>
                <a:cubicBezTo>
                  <a:pt x="3448" y="185"/>
                  <a:pt x="3448" y="185"/>
                  <a:pt x="3460" y="185"/>
                </a:cubicBezTo>
                <a:cubicBezTo>
                  <a:pt x="3460" y="185"/>
                  <a:pt x="3460" y="185"/>
                  <a:pt x="3460" y="111"/>
                </a:cubicBezTo>
                <a:close/>
                <a:moveTo>
                  <a:pt x="3209" y="159"/>
                </a:moveTo>
                <a:cubicBezTo>
                  <a:pt x="3210" y="160"/>
                  <a:pt x="3210" y="161"/>
                  <a:pt x="3211" y="163"/>
                </a:cubicBezTo>
                <a:cubicBezTo>
                  <a:pt x="3211" y="164"/>
                  <a:pt x="3211" y="166"/>
                  <a:pt x="3212" y="168"/>
                </a:cubicBezTo>
                <a:cubicBezTo>
                  <a:pt x="3212" y="170"/>
                  <a:pt x="3212" y="171"/>
                  <a:pt x="3212" y="173"/>
                </a:cubicBezTo>
                <a:cubicBezTo>
                  <a:pt x="3213" y="176"/>
                  <a:pt x="3212" y="178"/>
                  <a:pt x="3209" y="178"/>
                </a:cubicBezTo>
                <a:cubicBezTo>
                  <a:pt x="3206" y="178"/>
                  <a:pt x="3203" y="177"/>
                  <a:pt x="3201" y="177"/>
                </a:cubicBezTo>
                <a:cubicBezTo>
                  <a:pt x="3200" y="177"/>
                  <a:pt x="3199" y="177"/>
                  <a:pt x="3199" y="178"/>
                </a:cubicBezTo>
                <a:cubicBezTo>
                  <a:pt x="3197" y="179"/>
                  <a:pt x="3196" y="180"/>
                  <a:pt x="3195" y="182"/>
                </a:cubicBezTo>
                <a:cubicBezTo>
                  <a:pt x="3193" y="184"/>
                  <a:pt x="3190" y="185"/>
                  <a:pt x="3187" y="183"/>
                </a:cubicBezTo>
                <a:cubicBezTo>
                  <a:pt x="3185" y="180"/>
                  <a:pt x="3184" y="178"/>
                  <a:pt x="3182" y="175"/>
                </a:cubicBezTo>
                <a:cubicBezTo>
                  <a:pt x="3182" y="174"/>
                  <a:pt x="3182" y="172"/>
                  <a:pt x="3184" y="170"/>
                </a:cubicBezTo>
                <a:cubicBezTo>
                  <a:pt x="3182" y="170"/>
                  <a:pt x="3180" y="170"/>
                  <a:pt x="3179" y="170"/>
                </a:cubicBezTo>
                <a:cubicBezTo>
                  <a:pt x="3178" y="172"/>
                  <a:pt x="3177" y="174"/>
                  <a:pt x="3176" y="176"/>
                </a:cubicBezTo>
                <a:cubicBezTo>
                  <a:pt x="3176" y="177"/>
                  <a:pt x="3175" y="178"/>
                  <a:pt x="3175" y="179"/>
                </a:cubicBezTo>
                <a:cubicBezTo>
                  <a:pt x="3175" y="182"/>
                  <a:pt x="3174" y="183"/>
                  <a:pt x="3171" y="183"/>
                </a:cubicBezTo>
                <a:cubicBezTo>
                  <a:pt x="3168" y="182"/>
                  <a:pt x="3165" y="182"/>
                  <a:pt x="3162" y="180"/>
                </a:cubicBezTo>
                <a:cubicBezTo>
                  <a:pt x="3160" y="180"/>
                  <a:pt x="3160" y="178"/>
                  <a:pt x="3160" y="176"/>
                </a:cubicBezTo>
                <a:cubicBezTo>
                  <a:pt x="3161" y="176"/>
                  <a:pt x="3161" y="175"/>
                  <a:pt x="3161" y="175"/>
                </a:cubicBezTo>
                <a:cubicBezTo>
                  <a:pt x="3159" y="174"/>
                  <a:pt x="3156" y="173"/>
                  <a:pt x="3154" y="171"/>
                </a:cubicBezTo>
                <a:cubicBezTo>
                  <a:pt x="3153" y="170"/>
                  <a:pt x="3152" y="168"/>
                  <a:pt x="3151" y="167"/>
                </a:cubicBezTo>
                <a:cubicBezTo>
                  <a:pt x="3150" y="165"/>
                  <a:pt x="3150" y="163"/>
                  <a:pt x="3152" y="162"/>
                </a:cubicBezTo>
                <a:cubicBezTo>
                  <a:pt x="3155" y="159"/>
                  <a:pt x="3156" y="157"/>
                  <a:pt x="3155" y="153"/>
                </a:cubicBezTo>
                <a:cubicBezTo>
                  <a:pt x="3155" y="151"/>
                  <a:pt x="3155" y="148"/>
                  <a:pt x="3155" y="147"/>
                </a:cubicBezTo>
                <a:cubicBezTo>
                  <a:pt x="3154" y="146"/>
                  <a:pt x="3152" y="145"/>
                  <a:pt x="3151" y="144"/>
                </a:cubicBezTo>
                <a:cubicBezTo>
                  <a:pt x="3150" y="143"/>
                  <a:pt x="3150" y="141"/>
                  <a:pt x="3150" y="139"/>
                </a:cubicBezTo>
                <a:cubicBezTo>
                  <a:pt x="3149" y="136"/>
                  <a:pt x="3153" y="133"/>
                  <a:pt x="3155" y="132"/>
                </a:cubicBezTo>
                <a:cubicBezTo>
                  <a:pt x="3156" y="133"/>
                  <a:pt x="3156" y="134"/>
                  <a:pt x="3156" y="135"/>
                </a:cubicBezTo>
                <a:cubicBezTo>
                  <a:pt x="3156" y="136"/>
                  <a:pt x="3156" y="137"/>
                  <a:pt x="3157" y="138"/>
                </a:cubicBezTo>
                <a:cubicBezTo>
                  <a:pt x="3156" y="138"/>
                  <a:pt x="3155" y="138"/>
                  <a:pt x="3155" y="138"/>
                </a:cubicBezTo>
                <a:cubicBezTo>
                  <a:pt x="3155" y="139"/>
                  <a:pt x="3154" y="140"/>
                  <a:pt x="3153" y="142"/>
                </a:cubicBezTo>
                <a:cubicBezTo>
                  <a:pt x="3155" y="142"/>
                  <a:pt x="3155" y="142"/>
                  <a:pt x="3156" y="141"/>
                </a:cubicBezTo>
                <a:cubicBezTo>
                  <a:pt x="3157" y="140"/>
                  <a:pt x="3158" y="139"/>
                  <a:pt x="3159" y="138"/>
                </a:cubicBezTo>
                <a:cubicBezTo>
                  <a:pt x="3163" y="131"/>
                  <a:pt x="3169" y="127"/>
                  <a:pt x="3177" y="126"/>
                </a:cubicBezTo>
                <a:cubicBezTo>
                  <a:pt x="3180" y="125"/>
                  <a:pt x="3183" y="124"/>
                  <a:pt x="3185" y="121"/>
                </a:cubicBezTo>
                <a:cubicBezTo>
                  <a:pt x="3185" y="121"/>
                  <a:pt x="3186" y="121"/>
                  <a:pt x="3186" y="121"/>
                </a:cubicBezTo>
                <a:cubicBezTo>
                  <a:pt x="3189" y="120"/>
                  <a:pt x="3191" y="118"/>
                  <a:pt x="3193" y="116"/>
                </a:cubicBezTo>
                <a:cubicBezTo>
                  <a:pt x="3200" y="108"/>
                  <a:pt x="3212" y="108"/>
                  <a:pt x="3220" y="115"/>
                </a:cubicBezTo>
                <a:cubicBezTo>
                  <a:pt x="3222" y="117"/>
                  <a:pt x="3225" y="119"/>
                  <a:pt x="3227" y="121"/>
                </a:cubicBezTo>
                <a:cubicBezTo>
                  <a:pt x="3229" y="122"/>
                  <a:pt x="3230" y="123"/>
                  <a:pt x="3231" y="125"/>
                </a:cubicBezTo>
                <a:cubicBezTo>
                  <a:pt x="3232" y="127"/>
                  <a:pt x="3233" y="127"/>
                  <a:pt x="3234" y="126"/>
                </a:cubicBezTo>
                <a:cubicBezTo>
                  <a:pt x="3235" y="125"/>
                  <a:pt x="3235" y="125"/>
                  <a:pt x="3236" y="124"/>
                </a:cubicBezTo>
                <a:cubicBezTo>
                  <a:pt x="3238" y="121"/>
                  <a:pt x="3241" y="121"/>
                  <a:pt x="3242" y="124"/>
                </a:cubicBezTo>
                <a:cubicBezTo>
                  <a:pt x="3244" y="127"/>
                  <a:pt x="3244" y="130"/>
                  <a:pt x="3245" y="133"/>
                </a:cubicBezTo>
                <a:cubicBezTo>
                  <a:pt x="3246" y="138"/>
                  <a:pt x="3245" y="142"/>
                  <a:pt x="3244" y="146"/>
                </a:cubicBezTo>
                <a:cubicBezTo>
                  <a:pt x="3241" y="153"/>
                  <a:pt x="3237" y="156"/>
                  <a:pt x="3230" y="156"/>
                </a:cubicBezTo>
                <a:cubicBezTo>
                  <a:pt x="3229" y="156"/>
                  <a:pt x="3229" y="156"/>
                  <a:pt x="3228" y="156"/>
                </a:cubicBezTo>
                <a:cubicBezTo>
                  <a:pt x="3226" y="156"/>
                  <a:pt x="3224" y="156"/>
                  <a:pt x="3224" y="159"/>
                </a:cubicBezTo>
                <a:cubicBezTo>
                  <a:pt x="3222" y="163"/>
                  <a:pt x="3217" y="164"/>
                  <a:pt x="3213" y="161"/>
                </a:cubicBezTo>
                <a:cubicBezTo>
                  <a:pt x="3212" y="160"/>
                  <a:pt x="3211" y="159"/>
                  <a:pt x="3210" y="158"/>
                </a:cubicBezTo>
                <a:cubicBezTo>
                  <a:pt x="3210" y="159"/>
                  <a:pt x="3210" y="159"/>
                  <a:pt x="3209" y="159"/>
                </a:cubicBezTo>
                <a:close/>
                <a:moveTo>
                  <a:pt x="3204" y="154"/>
                </a:moveTo>
                <a:cubicBezTo>
                  <a:pt x="3207" y="156"/>
                  <a:pt x="3211" y="157"/>
                  <a:pt x="3213" y="160"/>
                </a:cubicBezTo>
                <a:cubicBezTo>
                  <a:pt x="3215" y="161"/>
                  <a:pt x="3217" y="162"/>
                  <a:pt x="3219" y="161"/>
                </a:cubicBezTo>
                <a:cubicBezTo>
                  <a:pt x="3222" y="161"/>
                  <a:pt x="3223" y="159"/>
                  <a:pt x="3223" y="155"/>
                </a:cubicBezTo>
                <a:cubicBezTo>
                  <a:pt x="3223" y="156"/>
                  <a:pt x="3222" y="156"/>
                  <a:pt x="3222" y="156"/>
                </a:cubicBezTo>
                <a:cubicBezTo>
                  <a:pt x="3222" y="158"/>
                  <a:pt x="3221" y="159"/>
                  <a:pt x="3220" y="160"/>
                </a:cubicBezTo>
                <a:cubicBezTo>
                  <a:pt x="3219" y="161"/>
                  <a:pt x="3217" y="161"/>
                  <a:pt x="3217" y="160"/>
                </a:cubicBezTo>
                <a:cubicBezTo>
                  <a:pt x="3216" y="160"/>
                  <a:pt x="3215" y="159"/>
                  <a:pt x="3215" y="158"/>
                </a:cubicBezTo>
                <a:cubicBezTo>
                  <a:pt x="3215" y="156"/>
                  <a:pt x="3216" y="154"/>
                  <a:pt x="3216" y="152"/>
                </a:cubicBezTo>
                <a:cubicBezTo>
                  <a:pt x="3219" y="153"/>
                  <a:pt x="3222" y="154"/>
                  <a:pt x="3226" y="154"/>
                </a:cubicBezTo>
                <a:cubicBezTo>
                  <a:pt x="3233" y="155"/>
                  <a:pt x="3239" y="154"/>
                  <a:pt x="3242" y="145"/>
                </a:cubicBezTo>
                <a:cubicBezTo>
                  <a:pt x="3244" y="140"/>
                  <a:pt x="3244" y="136"/>
                  <a:pt x="3243" y="130"/>
                </a:cubicBezTo>
                <a:cubicBezTo>
                  <a:pt x="3242" y="128"/>
                  <a:pt x="3242" y="127"/>
                  <a:pt x="3241" y="125"/>
                </a:cubicBezTo>
                <a:cubicBezTo>
                  <a:pt x="3240" y="123"/>
                  <a:pt x="3239" y="123"/>
                  <a:pt x="3238" y="125"/>
                </a:cubicBezTo>
                <a:cubicBezTo>
                  <a:pt x="3236" y="126"/>
                  <a:pt x="3235" y="128"/>
                  <a:pt x="3233" y="128"/>
                </a:cubicBezTo>
                <a:cubicBezTo>
                  <a:pt x="3232" y="129"/>
                  <a:pt x="3231" y="130"/>
                  <a:pt x="3231" y="131"/>
                </a:cubicBezTo>
                <a:cubicBezTo>
                  <a:pt x="3232" y="134"/>
                  <a:pt x="3231" y="137"/>
                  <a:pt x="3230" y="140"/>
                </a:cubicBezTo>
                <a:cubicBezTo>
                  <a:pt x="3230" y="138"/>
                  <a:pt x="3231" y="136"/>
                  <a:pt x="3231" y="135"/>
                </a:cubicBezTo>
                <a:cubicBezTo>
                  <a:pt x="3231" y="134"/>
                  <a:pt x="3230" y="134"/>
                  <a:pt x="3230" y="133"/>
                </a:cubicBezTo>
                <a:cubicBezTo>
                  <a:pt x="3230" y="134"/>
                  <a:pt x="3229" y="134"/>
                  <a:pt x="3229" y="134"/>
                </a:cubicBezTo>
                <a:cubicBezTo>
                  <a:pt x="3228" y="135"/>
                  <a:pt x="3227" y="137"/>
                  <a:pt x="3226" y="138"/>
                </a:cubicBezTo>
                <a:cubicBezTo>
                  <a:pt x="3226" y="138"/>
                  <a:pt x="3226" y="138"/>
                  <a:pt x="3226" y="138"/>
                </a:cubicBezTo>
                <a:cubicBezTo>
                  <a:pt x="3226" y="136"/>
                  <a:pt x="3227" y="135"/>
                  <a:pt x="3227" y="132"/>
                </a:cubicBezTo>
                <a:cubicBezTo>
                  <a:pt x="3226" y="133"/>
                  <a:pt x="3226" y="134"/>
                  <a:pt x="3225" y="134"/>
                </a:cubicBezTo>
                <a:cubicBezTo>
                  <a:pt x="3224" y="135"/>
                  <a:pt x="3224" y="136"/>
                  <a:pt x="3224" y="136"/>
                </a:cubicBezTo>
                <a:cubicBezTo>
                  <a:pt x="3224" y="133"/>
                  <a:pt x="3224" y="133"/>
                  <a:pt x="3230" y="132"/>
                </a:cubicBezTo>
                <a:cubicBezTo>
                  <a:pt x="3230" y="131"/>
                  <a:pt x="3229" y="130"/>
                  <a:pt x="3229" y="130"/>
                </a:cubicBezTo>
                <a:cubicBezTo>
                  <a:pt x="3226" y="131"/>
                  <a:pt x="3226" y="130"/>
                  <a:pt x="3225" y="127"/>
                </a:cubicBezTo>
                <a:cubicBezTo>
                  <a:pt x="3227" y="127"/>
                  <a:pt x="3228" y="126"/>
                  <a:pt x="3230" y="126"/>
                </a:cubicBezTo>
                <a:cubicBezTo>
                  <a:pt x="3228" y="124"/>
                  <a:pt x="3227" y="121"/>
                  <a:pt x="3224" y="121"/>
                </a:cubicBezTo>
                <a:cubicBezTo>
                  <a:pt x="3223" y="121"/>
                  <a:pt x="3223" y="120"/>
                  <a:pt x="3223" y="120"/>
                </a:cubicBezTo>
                <a:cubicBezTo>
                  <a:pt x="3221" y="118"/>
                  <a:pt x="3218" y="115"/>
                  <a:pt x="3215" y="113"/>
                </a:cubicBezTo>
                <a:cubicBezTo>
                  <a:pt x="3213" y="112"/>
                  <a:pt x="3210" y="111"/>
                  <a:pt x="3208" y="111"/>
                </a:cubicBezTo>
                <a:cubicBezTo>
                  <a:pt x="3205" y="112"/>
                  <a:pt x="3202" y="113"/>
                  <a:pt x="3199" y="114"/>
                </a:cubicBezTo>
                <a:cubicBezTo>
                  <a:pt x="3196" y="115"/>
                  <a:pt x="3193" y="117"/>
                  <a:pt x="3191" y="120"/>
                </a:cubicBezTo>
                <a:cubicBezTo>
                  <a:pt x="3193" y="120"/>
                  <a:pt x="3194" y="120"/>
                  <a:pt x="3195" y="120"/>
                </a:cubicBezTo>
                <a:cubicBezTo>
                  <a:pt x="3195" y="120"/>
                  <a:pt x="3194" y="121"/>
                  <a:pt x="3193" y="121"/>
                </a:cubicBezTo>
                <a:cubicBezTo>
                  <a:pt x="3191" y="121"/>
                  <a:pt x="3188" y="121"/>
                  <a:pt x="3186" y="123"/>
                </a:cubicBezTo>
                <a:cubicBezTo>
                  <a:pt x="3183" y="127"/>
                  <a:pt x="3179" y="130"/>
                  <a:pt x="3175" y="135"/>
                </a:cubicBezTo>
                <a:cubicBezTo>
                  <a:pt x="3174" y="137"/>
                  <a:pt x="3173" y="139"/>
                  <a:pt x="3172" y="142"/>
                </a:cubicBezTo>
                <a:cubicBezTo>
                  <a:pt x="3172" y="142"/>
                  <a:pt x="3172" y="143"/>
                  <a:pt x="3172" y="143"/>
                </a:cubicBezTo>
                <a:cubicBezTo>
                  <a:pt x="3173" y="145"/>
                  <a:pt x="3175" y="147"/>
                  <a:pt x="3176" y="149"/>
                </a:cubicBezTo>
                <a:cubicBezTo>
                  <a:pt x="3177" y="147"/>
                  <a:pt x="3179" y="146"/>
                  <a:pt x="3180" y="145"/>
                </a:cubicBezTo>
                <a:cubicBezTo>
                  <a:pt x="3179" y="146"/>
                  <a:pt x="3179" y="147"/>
                  <a:pt x="3178" y="149"/>
                </a:cubicBezTo>
                <a:cubicBezTo>
                  <a:pt x="3177" y="150"/>
                  <a:pt x="3177" y="151"/>
                  <a:pt x="3176" y="153"/>
                </a:cubicBezTo>
                <a:cubicBezTo>
                  <a:pt x="3176" y="153"/>
                  <a:pt x="3176" y="155"/>
                  <a:pt x="3177" y="155"/>
                </a:cubicBezTo>
                <a:cubicBezTo>
                  <a:pt x="3179" y="159"/>
                  <a:pt x="3182" y="159"/>
                  <a:pt x="3186" y="157"/>
                </a:cubicBezTo>
                <a:cubicBezTo>
                  <a:pt x="3188" y="155"/>
                  <a:pt x="3191" y="154"/>
                  <a:pt x="3194" y="153"/>
                </a:cubicBezTo>
                <a:cubicBezTo>
                  <a:pt x="3195" y="153"/>
                  <a:pt x="3197" y="152"/>
                  <a:pt x="3197" y="151"/>
                </a:cubicBezTo>
                <a:cubicBezTo>
                  <a:pt x="3197" y="147"/>
                  <a:pt x="3197" y="144"/>
                  <a:pt x="3197" y="141"/>
                </a:cubicBezTo>
                <a:cubicBezTo>
                  <a:pt x="3197" y="138"/>
                  <a:pt x="3197" y="135"/>
                  <a:pt x="3197" y="132"/>
                </a:cubicBezTo>
                <a:cubicBezTo>
                  <a:pt x="3197" y="134"/>
                  <a:pt x="3198" y="137"/>
                  <a:pt x="3198" y="140"/>
                </a:cubicBezTo>
                <a:cubicBezTo>
                  <a:pt x="3199" y="144"/>
                  <a:pt x="3199" y="149"/>
                  <a:pt x="3198" y="153"/>
                </a:cubicBezTo>
                <a:cubicBezTo>
                  <a:pt x="3197" y="154"/>
                  <a:pt x="3197" y="155"/>
                  <a:pt x="3196" y="155"/>
                </a:cubicBezTo>
                <a:cubicBezTo>
                  <a:pt x="3193" y="155"/>
                  <a:pt x="3190" y="157"/>
                  <a:pt x="3186" y="159"/>
                </a:cubicBezTo>
                <a:cubicBezTo>
                  <a:pt x="3181" y="162"/>
                  <a:pt x="3178" y="160"/>
                  <a:pt x="3174" y="156"/>
                </a:cubicBezTo>
                <a:cubicBezTo>
                  <a:pt x="3174" y="155"/>
                  <a:pt x="3174" y="154"/>
                  <a:pt x="3174" y="154"/>
                </a:cubicBezTo>
                <a:cubicBezTo>
                  <a:pt x="3175" y="151"/>
                  <a:pt x="3174" y="149"/>
                  <a:pt x="3173" y="147"/>
                </a:cubicBezTo>
                <a:cubicBezTo>
                  <a:pt x="3171" y="145"/>
                  <a:pt x="3170" y="143"/>
                  <a:pt x="3171" y="140"/>
                </a:cubicBezTo>
                <a:cubicBezTo>
                  <a:pt x="3171" y="138"/>
                  <a:pt x="3172" y="137"/>
                  <a:pt x="3173" y="135"/>
                </a:cubicBezTo>
                <a:cubicBezTo>
                  <a:pt x="3175" y="132"/>
                  <a:pt x="3177" y="130"/>
                  <a:pt x="3179" y="127"/>
                </a:cubicBezTo>
                <a:cubicBezTo>
                  <a:pt x="3179" y="127"/>
                  <a:pt x="3178" y="127"/>
                  <a:pt x="3178" y="127"/>
                </a:cubicBezTo>
                <a:cubicBezTo>
                  <a:pt x="3173" y="128"/>
                  <a:pt x="3169" y="130"/>
                  <a:pt x="3165" y="133"/>
                </a:cubicBezTo>
                <a:cubicBezTo>
                  <a:pt x="3160" y="138"/>
                  <a:pt x="3157" y="143"/>
                  <a:pt x="3157" y="149"/>
                </a:cubicBezTo>
                <a:cubicBezTo>
                  <a:pt x="3157" y="156"/>
                  <a:pt x="3159" y="162"/>
                  <a:pt x="3162" y="168"/>
                </a:cubicBezTo>
                <a:cubicBezTo>
                  <a:pt x="3163" y="169"/>
                  <a:pt x="3164" y="170"/>
                  <a:pt x="3163" y="172"/>
                </a:cubicBezTo>
                <a:cubicBezTo>
                  <a:pt x="3163" y="173"/>
                  <a:pt x="3163" y="175"/>
                  <a:pt x="3162" y="176"/>
                </a:cubicBezTo>
                <a:cubicBezTo>
                  <a:pt x="3162" y="178"/>
                  <a:pt x="3162" y="179"/>
                  <a:pt x="3163" y="179"/>
                </a:cubicBezTo>
                <a:cubicBezTo>
                  <a:pt x="3166" y="180"/>
                  <a:pt x="3169" y="180"/>
                  <a:pt x="3172" y="181"/>
                </a:cubicBezTo>
                <a:cubicBezTo>
                  <a:pt x="3173" y="181"/>
                  <a:pt x="3173" y="180"/>
                  <a:pt x="3173" y="180"/>
                </a:cubicBezTo>
                <a:cubicBezTo>
                  <a:pt x="3174" y="178"/>
                  <a:pt x="3174" y="177"/>
                  <a:pt x="3175" y="176"/>
                </a:cubicBezTo>
                <a:cubicBezTo>
                  <a:pt x="3177" y="174"/>
                  <a:pt x="3177" y="171"/>
                  <a:pt x="3177" y="168"/>
                </a:cubicBezTo>
                <a:cubicBezTo>
                  <a:pt x="3177" y="168"/>
                  <a:pt x="3177" y="167"/>
                  <a:pt x="3177" y="167"/>
                </a:cubicBezTo>
                <a:cubicBezTo>
                  <a:pt x="3177" y="166"/>
                  <a:pt x="3177" y="166"/>
                  <a:pt x="3177" y="166"/>
                </a:cubicBezTo>
                <a:cubicBezTo>
                  <a:pt x="3177" y="169"/>
                  <a:pt x="3179" y="169"/>
                  <a:pt x="3181" y="169"/>
                </a:cubicBezTo>
                <a:cubicBezTo>
                  <a:pt x="3181" y="169"/>
                  <a:pt x="3182" y="169"/>
                  <a:pt x="3183" y="169"/>
                </a:cubicBezTo>
                <a:cubicBezTo>
                  <a:pt x="3186" y="169"/>
                  <a:pt x="3189" y="170"/>
                  <a:pt x="3190" y="165"/>
                </a:cubicBezTo>
                <a:cubicBezTo>
                  <a:pt x="3190" y="168"/>
                  <a:pt x="3190" y="169"/>
                  <a:pt x="3190" y="170"/>
                </a:cubicBezTo>
                <a:cubicBezTo>
                  <a:pt x="3188" y="171"/>
                  <a:pt x="3187" y="172"/>
                  <a:pt x="3186" y="172"/>
                </a:cubicBezTo>
                <a:cubicBezTo>
                  <a:pt x="3184" y="173"/>
                  <a:pt x="3184" y="174"/>
                  <a:pt x="3184" y="175"/>
                </a:cubicBezTo>
                <a:cubicBezTo>
                  <a:pt x="3186" y="178"/>
                  <a:pt x="3187" y="180"/>
                  <a:pt x="3188" y="182"/>
                </a:cubicBezTo>
                <a:cubicBezTo>
                  <a:pt x="3190" y="183"/>
                  <a:pt x="3192" y="182"/>
                  <a:pt x="3193" y="181"/>
                </a:cubicBezTo>
                <a:cubicBezTo>
                  <a:pt x="3194" y="180"/>
                  <a:pt x="3195" y="179"/>
                  <a:pt x="3195" y="179"/>
                </a:cubicBezTo>
                <a:cubicBezTo>
                  <a:pt x="3197" y="177"/>
                  <a:pt x="3199" y="176"/>
                  <a:pt x="3200" y="175"/>
                </a:cubicBezTo>
                <a:cubicBezTo>
                  <a:pt x="3204" y="170"/>
                  <a:pt x="3206" y="164"/>
                  <a:pt x="3208" y="159"/>
                </a:cubicBezTo>
                <a:cubicBezTo>
                  <a:pt x="3208" y="158"/>
                  <a:pt x="3207" y="157"/>
                  <a:pt x="3207" y="157"/>
                </a:cubicBezTo>
                <a:cubicBezTo>
                  <a:pt x="3206" y="156"/>
                  <a:pt x="3205" y="155"/>
                  <a:pt x="3204" y="154"/>
                </a:cubicBezTo>
                <a:close/>
                <a:moveTo>
                  <a:pt x="3157" y="161"/>
                </a:moveTo>
                <a:cubicBezTo>
                  <a:pt x="3156" y="161"/>
                  <a:pt x="3154" y="162"/>
                  <a:pt x="3153" y="163"/>
                </a:cubicBezTo>
                <a:cubicBezTo>
                  <a:pt x="3153" y="164"/>
                  <a:pt x="3152" y="164"/>
                  <a:pt x="3152" y="165"/>
                </a:cubicBezTo>
                <a:cubicBezTo>
                  <a:pt x="3152" y="168"/>
                  <a:pt x="3157" y="172"/>
                  <a:pt x="3160" y="172"/>
                </a:cubicBezTo>
                <a:cubicBezTo>
                  <a:pt x="3161" y="172"/>
                  <a:pt x="3162" y="171"/>
                  <a:pt x="3161" y="169"/>
                </a:cubicBezTo>
                <a:cubicBezTo>
                  <a:pt x="3160" y="166"/>
                  <a:pt x="3158" y="163"/>
                  <a:pt x="3157" y="161"/>
                </a:cubicBezTo>
                <a:close/>
                <a:moveTo>
                  <a:pt x="3209" y="163"/>
                </a:moveTo>
                <a:cubicBezTo>
                  <a:pt x="3207" y="167"/>
                  <a:pt x="3204" y="172"/>
                  <a:pt x="3202" y="176"/>
                </a:cubicBezTo>
                <a:cubicBezTo>
                  <a:pt x="3205" y="176"/>
                  <a:pt x="3207" y="176"/>
                  <a:pt x="3210" y="176"/>
                </a:cubicBezTo>
                <a:cubicBezTo>
                  <a:pt x="3210" y="176"/>
                  <a:pt x="3211" y="175"/>
                  <a:pt x="3211" y="174"/>
                </a:cubicBezTo>
                <a:cubicBezTo>
                  <a:pt x="3211" y="172"/>
                  <a:pt x="3211" y="169"/>
                  <a:pt x="3210" y="167"/>
                </a:cubicBezTo>
                <a:cubicBezTo>
                  <a:pt x="3210" y="165"/>
                  <a:pt x="3210" y="164"/>
                  <a:pt x="3209" y="163"/>
                </a:cubicBezTo>
                <a:close/>
                <a:moveTo>
                  <a:pt x="3157" y="142"/>
                </a:moveTo>
                <a:cubicBezTo>
                  <a:pt x="3156" y="143"/>
                  <a:pt x="3155" y="143"/>
                  <a:pt x="3155" y="143"/>
                </a:cubicBezTo>
                <a:cubicBezTo>
                  <a:pt x="3154" y="143"/>
                  <a:pt x="3153" y="143"/>
                  <a:pt x="3153" y="143"/>
                </a:cubicBezTo>
                <a:cubicBezTo>
                  <a:pt x="3153" y="142"/>
                  <a:pt x="3152" y="142"/>
                  <a:pt x="3152" y="141"/>
                </a:cubicBezTo>
                <a:cubicBezTo>
                  <a:pt x="3153" y="139"/>
                  <a:pt x="3153" y="137"/>
                  <a:pt x="3154" y="135"/>
                </a:cubicBezTo>
                <a:cubicBezTo>
                  <a:pt x="3154" y="135"/>
                  <a:pt x="3154" y="135"/>
                  <a:pt x="3153" y="135"/>
                </a:cubicBezTo>
                <a:cubicBezTo>
                  <a:pt x="3153" y="136"/>
                  <a:pt x="3151" y="136"/>
                  <a:pt x="3151" y="138"/>
                </a:cubicBezTo>
                <a:cubicBezTo>
                  <a:pt x="3150" y="139"/>
                  <a:pt x="3151" y="144"/>
                  <a:pt x="3153" y="145"/>
                </a:cubicBezTo>
                <a:cubicBezTo>
                  <a:pt x="3155" y="145"/>
                  <a:pt x="3157" y="144"/>
                  <a:pt x="3157" y="142"/>
                </a:cubicBezTo>
                <a:close/>
                <a:moveTo>
                  <a:pt x="3156" y="161"/>
                </a:moveTo>
                <a:cubicBezTo>
                  <a:pt x="3156" y="161"/>
                  <a:pt x="3154" y="162"/>
                  <a:pt x="3153" y="163"/>
                </a:cubicBezTo>
                <a:cubicBezTo>
                  <a:pt x="3152" y="164"/>
                  <a:pt x="3152" y="165"/>
                  <a:pt x="3152" y="165"/>
                </a:cubicBezTo>
                <a:cubicBezTo>
                  <a:pt x="3152" y="168"/>
                  <a:pt x="3156" y="173"/>
                  <a:pt x="3160" y="172"/>
                </a:cubicBezTo>
                <a:cubicBezTo>
                  <a:pt x="3161" y="172"/>
                  <a:pt x="3162" y="171"/>
                  <a:pt x="3161" y="169"/>
                </a:cubicBezTo>
                <a:cubicBezTo>
                  <a:pt x="3160" y="166"/>
                  <a:pt x="3158" y="163"/>
                  <a:pt x="3156" y="161"/>
                </a:cubicBezTo>
                <a:close/>
                <a:moveTo>
                  <a:pt x="3209" y="163"/>
                </a:moveTo>
                <a:cubicBezTo>
                  <a:pt x="3207" y="167"/>
                  <a:pt x="3204" y="172"/>
                  <a:pt x="3202" y="176"/>
                </a:cubicBezTo>
                <a:cubicBezTo>
                  <a:pt x="3205" y="176"/>
                  <a:pt x="3207" y="177"/>
                  <a:pt x="3210" y="176"/>
                </a:cubicBezTo>
                <a:cubicBezTo>
                  <a:pt x="3210" y="176"/>
                  <a:pt x="3211" y="175"/>
                  <a:pt x="3211" y="175"/>
                </a:cubicBezTo>
                <a:cubicBezTo>
                  <a:pt x="3211" y="172"/>
                  <a:pt x="3211" y="169"/>
                  <a:pt x="3210" y="167"/>
                </a:cubicBezTo>
                <a:cubicBezTo>
                  <a:pt x="3210" y="165"/>
                  <a:pt x="3209" y="164"/>
                  <a:pt x="3209" y="163"/>
                </a:cubicBezTo>
                <a:close/>
                <a:moveTo>
                  <a:pt x="3156" y="143"/>
                </a:moveTo>
                <a:cubicBezTo>
                  <a:pt x="3156" y="143"/>
                  <a:pt x="3155" y="143"/>
                  <a:pt x="3154" y="143"/>
                </a:cubicBezTo>
                <a:cubicBezTo>
                  <a:pt x="3154" y="143"/>
                  <a:pt x="3153" y="143"/>
                  <a:pt x="3153" y="143"/>
                </a:cubicBezTo>
                <a:cubicBezTo>
                  <a:pt x="3153" y="143"/>
                  <a:pt x="3152" y="142"/>
                  <a:pt x="3152" y="141"/>
                </a:cubicBezTo>
                <a:cubicBezTo>
                  <a:pt x="3153" y="139"/>
                  <a:pt x="3153" y="137"/>
                  <a:pt x="3154" y="135"/>
                </a:cubicBezTo>
                <a:cubicBezTo>
                  <a:pt x="3154" y="135"/>
                  <a:pt x="3154" y="135"/>
                  <a:pt x="3153" y="135"/>
                </a:cubicBezTo>
                <a:cubicBezTo>
                  <a:pt x="3153" y="136"/>
                  <a:pt x="3152" y="136"/>
                  <a:pt x="3151" y="138"/>
                </a:cubicBezTo>
                <a:cubicBezTo>
                  <a:pt x="3150" y="139"/>
                  <a:pt x="3152" y="144"/>
                  <a:pt x="3153" y="145"/>
                </a:cubicBezTo>
                <a:cubicBezTo>
                  <a:pt x="3154" y="146"/>
                  <a:pt x="3156" y="145"/>
                  <a:pt x="3156" y="143"/>
                </a:cubicBezTo>
                <a:close/>
                <a:moveTo>
                  <a:pt x="3209" y="134"/>
                </a:moveTo>
                <a:cubicBezTo>
                  <a:pt x="3212" y="131"/>
                  <a:pt x="3212" y="131"/>
                  <a:pt x="3216" y="129"/>
                </a:cubicBezTo>
                <a:cubicBezTo>
                  <a:pt x="3216" y="131"/>
                  <a:pt x="3217" y="133"/>
                  <a:pt x="3219" y="133"/>
                </a:cubicBezTo>
                <a:cubicBezTo>
                  <a:pt x="3216" y="134"/>
                  <a:pt x="3214" y="135"/>
                  <a:pt x="3212" y="137"/>
                </a:cubicBezTo>
                <a:cubicBezTo>
                  <a:pt x="3211" y="136"/>
                  <a:pt x="3211" y="135"/>
                  <a:pt x="3210" y="134"/>
                </a:cubicBezTo>
                <a:cubicBezTo>
                  <a:pt x="3210" y="134"/>
                  <a:pt x="3209" y="134"/>
                  <a:pt x="3209" y="134"/>
                </a:cubicBezTo>
                <a:close/>
                <a:moveTo>
                  <a:pt x="3215" y="134"/>
                </a:moveTo>
                <a:cubicBezTo>
                  <a:pt x="3214" y="133"/>
                  <a:pt x="3213" y="133"/>
                  <a:pt x="3213" y="133"/>
                </a:cubicBezTo>
                <a:cubicBezTo>
                  <a:pt x="3212" y="133"/>
                  <a:pt x="3211" y="134"/>
                  <a:pt x="3211" y="134"/>
                </a:cubicBezTo>
                <a:cubicBezTo>
                  <a:pt x="3211" y="135"/>
                  <a:pt x="3212" y="135"/>
                  <a:pt x="3212" y="135"/>
                </a:cubicBezTo>
                <a:cubicBezTo>
                  <a:pt x="3213" y="135"/>
                  <a:pt x="3213" y="135"/>
                  <a:pt x="3215" y="134"/>
                </a:cubicBezTo>
                <a:close/>
                <a:moveTo>
                  <a:pt x="3196" y="124"/>
                </a:moveTo>
                <a:cubicBezTo>
                  <a:pt x="3189" y="123"/>
                  <a:pt x="3186" y="126"/>
                  <a:pt x="3185" y="134"/>
                </a:cubicBezTo>
                <a:cubicBezTo>
                  <a:pt x="3186" y="132"/>
                  <a:pt x="3187" y="129"/>
                  <a:pt x="3189" y="127"/>
                </a:cubicBezTo>
                <a:cubicBezTo>
                  <a:pt x="3189" y="127"/>
                  <a:pt x="3189" y="127"/>
                  <a:pt x="3189" y="127"/>
                </a:cubicBezTo>
                <a:cubicBezTo>
                  <a:pt x="3189" y="128"/>
                  <a:pt x="3189" y="129"/>
                  <a:pt x="3189" y="130"/>
                </a:cubicBezTo>
                <a:cubicBezTo>
                  <a:pt x="3191" y="126"/>
                  <a:pt x="3192" y="124"/>
                  <a:pt x="3196" y="124"/>
                </a:cubicBezTo>
                <a:close/>
                <a:moveTo>
                  <a:pt x="3239" y="126"/>
                </a:moveTo>
                <a:cubicBezTo>
                  <a:pt x="3237" y="127"/>
                  <a:pt x="3236" y="128"/>
                  <a:pt x="3234" y="130"/>
                </a:cubicBezTo>
                <a:cubicBezTo>
                  <a:pt x="3236" y="130"/>
                  <a:pt x="3238" y="128"/>
                  <a:pt x="3239" y="126"/>
                </a:cubicBezTo>
                <a:close/>
                <a:moveTo>
                  <a:pt x="3206" y="128"/>
                </a:moveTo>
                <a:cubicBezTo>
                  <a:pt x="3207" y="126"/>
                  <a:pt x="3208" y="125"/>
                  <a:pt x="3210" y="124"/>
                </a:cubicBezTo>
                <a:cubicBezTo>
                  <a:pt x="3207" y="125"/>
                  <a:pt x="3206" y="126"/>
                  <a:pt x="3206" y="128"/>
                </a:cubicBezTo>
                <a:close/>
                <a:moveTo>
                  <a:pt x="3216" y="149"/>
                </a:moveTo>
                <a:cubicBezTo>
                  <a:pt x="3214" y="150"/>
                  <a:pt x="3213" y="150"/>
                  <a:pt x="3213" y="151"/>
                </a:cubicBezTo>
                <a:cubicBezTo>
                  <a:pt x="3214" y="151"/>
                  <a:pt x="3215" y="150"/>
                  <a:pt x="3216" y="149"/>
                </a:cubicBezTo>
                <a:close/>
                <a:moveTo>
                  <a:pt x="3215" y="134"/>
                </a:moveTo>
                <a:cubicBezTo>
                  <a:pt x="3214" y="133"/>
                  <a:pt x="3213" y="133"/>
                  <a:pt x="3213" y="133"/>
                </a:cubicBezTo>
                <a:cubicBezTo>
                  <a:pt x="3212" y="133"/>
                  <a:pt x="3212" y="134"/>
                  <a:pt x="3212" y="134"/>
                </a:cubicBezTo>
                <a:cubicBezTo>
                  <a:pt x="3212" y="134"/>
                  <a:pt x="3212" y="135"/>
                  <a:pt x="3212" y="135"/>
                </a:cubicBezTo>
                <a:cubicBezTo>
                  <a:pt x="3213" y="135"/>
                  <a:pt x="3214" y="134"/>
                  <a:pt x="3215" y="134"/>
                </a:cubicBezTo>
                <a:close/>
                <a:moveTo>
                  <a:pt x="3506" y="111"/>
                </a:moveTo>
                <a:cubicBezTo>
                  <a:pt x="3506" y="111"/>
                  <a:pt x="3506" y="111"/>
                  <a:pt x="3506" y="111"/>
                </a:cubicBezTo>
                <a:cubicBezTo>
                  <a:pt x="3501" y="111"/>
                  <a:pt x="3501" y="111"/>
                  <a:pt x="3501" y="111"/>
                </a:cubicBezTo>
                <a:cubicBezTo>
                  <a:pt x="3499" y="113"/>
                  <a:pt x="3498" y="114"/>
                  <a:pt x="3496" y="115"/>
                </a:cubicBezTo>
                <a:cubicBezTo>
                  <a:pt x="3494" y="116"/>
                  <a:pt x="3492" y="117"/>
                  <a:pt x="3490" y="118"/>
                </a:cubicBezTo>
                <a:cubicBezTo>
                  <a:pt x="3488" y="119"/>
                  <a:pt x="3487" y="120"/>
                  <a:pt x="3485" y="121"/>
                </a:cubicBezTo>
                <a:cubicBezTo>
                  <a:pt x="3483" y="121"/>
                  <a:pt x="3481" y="122"/>
                  <a:pt x="3479" y="122"/>
                </a:cubicBezTo>
                <a:cubicBezTo>
                  <a:pt x="3479" y="122"/>
                  <a:pt x="3479" y="122"/>
                  <a:pt x="3479" y="132"/>
                </a:cubicBezTo>
                <a:cubicBezTo>
                  <a:pt x="3482" y="132"/>
                  <a:pt x="3485" y="131"/>
                  <a:pt x="3487" y="129"/>
                </a:cubicBezTo>
                <a:cubicBezTo>
                  <a:pt x="3490" y="129"/>
                  <a:pt x="3493" y="127"/>
                  <a:pt x="3494" y="126"/>
                </a:cubicBezTo>
                <a:cubicBezTo>
                  <a:pt x="3494" y="126"/>
                  <a:pt x="3494" y="126"/>
                  <a:pt x="3494" y="185"/>
                </a:cubicBezTo>
                <a:cubicBezTo>
                  <a:pt x="3494" y="185"/>
                  <a:pt x="3494" y="185"/>
                  <a:pt x="3506" y="185"/>
                </a:cubicBezTo>
                <a:cubicBezTo>
                  <a:pt x="3506" y="185"/>
                  <a:pt x="3506" y="185"/>
                  <a:pt x="3506" y="111"/>
                </a:cubicBezTo>
                <a:close/>
                <a:moveTo>
                  <a:pt x="3627" y="111"/>
                </a:moveTo>
                <a:cubicBezTo>
                  <a:pt x="3627" y="111"/>
                  <a:pt x="3627" y="111"/>
                  <a:pt x="3627" y="111"/>
                </a:cubicBezTo>
                <a:cubicBezTo>
                  <a:pt x="3622" y="111"/>
                  <a:pt x="3622" y="111"/>
                  <a:pt x="3622" y="111"/>
                </a:cubicBezTo>
                <a:cubicBezTo>
                  <a:pt x="3620" y="113"/>
                  <a:pt x="3618" y="114"/>
                  <a:pt x="3616" y="115"/>
                </a:cubicBezTo>
                <a:cubicBezTo>
                  <a:pt x="3615" y="116"/>
                  <a:pt x="3613" y="117"/>
                  <a:pt x="3611" y="118"/>
                </a:cubicBezTo>
                <a:cubicBezTo>
                  <a:pt x="3610" y="119"/>
                  <a:pt x="3608" y="120"/>
                  <a:pt x="3606" y="121"/>
                </a:cubicBezTo>
                <a:cubicBezTo>
                  <a:pt x="3604" y="121"/>
                  <a:pt x="3603" y="122"/>
                  <a:pt x="3600" y="122"/>
                </a:cubicBezTo>
                <a:cubicBezTo>
                  <a:pt x="3600" y="122"/>
                  <a:pt x="3600" y="122"/>
                  <a:pt x="3600" y="132"/>
                </a:cubicBezTo>
                <a:cubicBezTo>
                  <a:pt x="3603" y="132"/>
                  <a:pt x="3606" y="131"/>
                  <a:pt x="3609" y="129"/>
                </a:cubicBezTo>
                <a:cubicBezTo>
                  <a:pt x="3611" y="129"/>
                  <a:pt x="3613" y="127"/>
                  <a:pt x="3616" y="126"/>
                </a:cubicBezTo>
                <a:cubicBezTo>
                  <a:pt x="3616" y="126"/>
                  <a:pt x="3616" y="126"/>
                  <a:pt x="3616" y="185"/>
                </a:cubicBezTo>
                <a:cubicBezTo>
                  <a:pt x="3616" y="185"/>
                  <a:pt x="3616" y="185"/>
                  <a:pt x="3627" y="185"/>
                </a:cubicBezTo>
                <a:cubicBezTo>
                  <a:pt x="3627" y="185"/>
                  <a:pt x="3627" y="185"/>
                  <a:pt x="3627" y="111"/>
                </a:cubicBezTo>
                <a:close/>
                <a:moveTo>
                  <a:pt x="3674" y="111"/>
                </a:moveTo>
                <a:cubicBezTo>
                  <a:pt x="3674" y="111"/>
                  <a:pt x="3674" y="111"/>
                  <a:pt x="3674" y="111"/>
                </a:cubicBezTo>
                <a:cubicBezTo>
                  <a:pt x="3669" y="111"/>
                  <a:pt x="3669" y="111"/>
                  <a:pt x="3669" y="111"/>
                </a:cubicBezTo>
                <a:cubicBezTo>
                  <a:pt x="3667" y="113"/>
                  <a:pt x="3666" y="114"/>
                  <a:pt x="3663" y="115"/>
                </a:cubicBezTo>
                <a:cubicBezTo>
                  <a:pt x="3662" y="116"/>
                  <a:pt x="3660" y="117"/>
                  <a:pt x="3658" y="118"/>
                </a:cubicBezTo>
                <a:cubicBezTo>
                  <a:pt x="3657" y="119"/>
                  <a:pt x="3655" y="120"/>
                  <a:pt x="3653" y="121"/>
                </a:cubicBezTo>
                <a:cubicBezTo>
                  <a:pt x="3651" y="121"/>
                  <a:pt x="3650" y="122"/>
                  <a:pt x="3647" y="122"/>
                </a:cubicBezTo>
                <a:cubicBezTo>
                  <a:pt x="3647" y="122"/>
                  <a:pt x="3647" y="122"/>
                  <a:pt x="3647" y="132"/>
                </a:cubicBezTo>
                <a:cubicBezTo>
                  <a:pt x="3650" y="132"/>
                  <a:pt x="3653" y="131"/>
                  <a:pt x="3655" y="129"/>
                </a:cubicBezTo>
                <a:cubicBezTo>
                  <a:pt x="3658" y="129"/>
                  <a:pt x="3660" y="127"/>
                  <a:pt x="3663" y="126"/>
                </a:cubicBezTo>
                <a:cubicBezTo>
                  <a:pt x="3663" y="126"/>
                  <a:pt x="3663" y="126"/>
                  <a:pt x="3663" y="185"/>
                </a:cubicBezTo>
                <a:cubicBezTo>
                  <a:pt x="3663" y="185"/>
                  <a:pt x="3663" y="185"/>
                  <a:pt x="3674" y="185"/>
                </a:cubicBezTo>
                <a:cubicBezTo>
                  <a:pt x="3674" y="185"/>
                  <a:pt x="3674" y="185"/>
                  <a:pt x="3674" y="111"/>
                </a:cubicBezTo>
                <a:close/>
                <a:moveTo>
                  <a:pt x="3720" y="111"/>
                </a:moveTo>
                <a:cubicBezTo>
                  <a:pt x="3720" y="111"/>
                  <a:pt x="3720" y="111"/>
                  <a:pt x="3720" y="111"/>
                </a:cubicBezTo>
                <a:cubicBezTo>
                  <a:pt x="3716" y="111"/>
                  <a:pt x="3716" y="111"/>
                  <a:pt x="3716" y="111"/>
                </a:cubicBezTo>
                <a:cubicBezTo>
                  <a:pt x="3714" y="113"/>
                  <a:pt x="3712" y="114"/>
                  <a:pt x="3710" y="115"/>
                </a:cubicBezTo>
                <a:cubicBezTo>
                  <a:pt x="3709" y="116"/>
                  <a:pt x="3707" y="117"/>
                  <a:pt x="3705" y="118"/>
                </a:cubicBezTo>
                <a:cubicBezTo>
                  <a:pt x="3703" y="119"/>
                  <a:pt x="3702" y="119"/>
                  <a:pt x="3699" y="120"/>
                </a:cubicBezTo>
                <a:cubicBezTo>
                  <a:pt x="3698" y="121"/>
                  <a:pt x="3696" y="121"/>
                  <a:pt x="3694" y="122"/>
                </a:cubicBezTo>
                <a:cubicBezTo>
                  <a:pt x="3694" y="122"/>
                  <a:pt x="3694" y="122"/>
                  <a:pt x="3694" y="132"/>
                </a:cubicBezTo>
                <a:cubicBezTo>
                  <a:pt x="3697" y="132"/>
                  <a:pt x="3700" y="130"/>
                  <a:pt x="3702" y="129"/>
                </a:cubicBezTo>
                <a:cubicBezTo>
                  <a:pt x="3704" y="129"/>
                  <a:pt x="3707" y="127"/>
                  <a:pt x="3709" y="126"/>
                </a:cubicBezTo>
                <a:cubicBezTo>
                  <a:pt x="3709" y="126"/>
                  <a:pt x="3709" y="126"/>
                  <a:pt x="3709" y="185"/>
                </a:cubicBezTo>
                <a:cubicBezTo>
                  <a:pt x="3709" y="185"/>
                  <a:pt x="3709" y="185"/>
                  <a:pt x="3720" y="185"/>
                </a:cubicBezTo>
                <a:cubicBezTo>
                  <a:pt x="3720" y="185"/>
                  <a:pt x="3720" y="185"/>
                  <a:pt x="3720" y="111"/>
                </a:cubicBezTo>
                <a:close/>
                <a:moveTo>
                  <a:pt x="3526" y="144"/>
                </a:moveTo>
                <a:cubicBezTo>
                  <a:pt x="3526" y="144"/>
                  <a:pt x="3526" y="144"/>
                  <a:pt x="3526" y="144"/>
                </a:cubicBezTo>
                <a:cubicBezTo>
                  <a:pt x="3525" y="152"/>
                  <a:pt x="3525" y="152"/>
                  <a:pt x="3525" y="152"/>
                </a:cubicBezTo>
                <a:cubicBezTo>
                  <a:pt x="3532" y="152"/>
                  <a:pt x="3532" y="155"/>
                  <a:pt x="3532" y="158"/>
                </a:cubicBezTo>
                <a:cubicBezTo>
                  <a:pt x="3532" y="160"/>
                  <a:pt x="3532" y="162"/>
                  <a:pt x="3532" y="165"/>
                </a:cubicBezTo>
                <a:cubicBezTo>
                  <a:pt x="3532" y="167"/>
                  <a:pt x="3531" y="170"/>
                  <a:pt x="3531" y="172"/>
                </a:cubicBezTo>
                <a:cubicBezTo>
                  <a:pt x="3531" y="181"/>
                  <a:pt x="3537" y="185"/>
                  <a:pt x="3546" y="185"/>
                </a:cubicBezTo>
                <a:cubicBezTo>
                  <a:pt x="3546" y="185"/>
                  <a:pt x="3546" y="185"/>
                  <a:pt x="3549" y="185"/>
                </a:cubicBezTo>
                <a:cubicBezTo>
                  <a:pt x="3549" y="185"/>
                  <a:pt x="3549" y="185"/>
                  <a:pt x="3549" y="176"/>
                </a:cubicBezTo>
                <a:cubicBezTo>
                  <a:pt x="3549" y="176"/>
                  <a:pt x="3549" y="176"/>
                  <a:pt x="3548" y="176"/>
                </a:cubicBezTo>
                <a:cubicBezTo>
                  <a:pt x="3544" y="176"/>
                  <a:pt x="3543" y="173"/>
                  <a:pt x="3543" y="170"/>
                </a:cubicBezTo>
                <a:cubicBezTo>
                  <a:pt x="3543" y="168"/>
                  <a:pt x="3543" y="167"/>
                  <a:pt x="3544" y="165"/>
                </a:cubicBezTo>
                <a:cubicBezTo>
                  <a:pt x="3544" y="163"/>
                  <a:pt x="3544" y="161"/>
                  <a:pt x="3544" y="159"/>
                </a:cubicBezTo>
                <a:cubicBezTo>
                  <a:pt x="3544" y="151"/>
                  <a:pt x="3541" y="149"/>
                  <a:pt x="3535" y="148"/>
                </a:cubicBezTo>
                <a:cubicBezTo>
                  <a:pt x="3535" y="148"/>
                  <a:pt x="3535" y="148"/>
                  <a:pt x="3535" y="147"/>
                </a:cubicBezTo>
                <a:cubicBezTo>
                  <a:pt x="3541" y="146"/>
                  <a:pt x="3544" y="144"/>
                  <a:pt x="3544" y="136"/>
                </a:cubicBezTo>
                <a:cubicBezTo>
                  <a:pt x="3544" y="134"/>
                  <a:pt x="3544" y="132"/>
                  <a:pt x="3544" y="130"/>
                </a:cubicBezTo>
                <a:cubicBezTo>
                  <a:pt x="3543" y="129"/>
                  <a:pt x="3543" y="127"/>
                  <a:pt x="3543" y="126"/>
                </a:cubicBezTo>
                <a:cubicBezTo>
                  <a:pt x="3543" y="122"/>
                  <a:pt x="3544" y="120"/>
                  <a:pt x="3548" y="120"/>
                </a:cubicBezTo>
                <a:cubicBezTo>
                  <a:pt x="3548" y="120"/>
                  <a:pt x="3548" y="120"/>
                  <a:pt x="3549" y="120"/>
                </a:cubicBezTo>
                <a:cubicBezTo>
                  <a:pt x="3549" y="120"/>
                  <a:pt x="3549" y="120"/>
                  <a:pt x="3549" y="110"/>
                </a:cubicBezTo>
                <a:cubicBezTo>
                  <a:pt x="3549" y="110"/>
                  <a:pt x="3549" y="110"/>
                  <a:pt x="3546" y="110"/>
                </a:cubicBezTo>
                <a:cubicBezTo>
                  <a:pt x="3537" y="110"/>
                  <a:pt x="3531" y="114"/>
                  <a:pt x="3531" y="123"/>
                </a:cubicBezTo>
                <a:cubicBezTo>
                  <a:pt x="3531" y="125"/>
                  <a:pt x="3532" y="128"/>
                  <a:pt x="3532" y="130"/>
                </a:cubicBezTo>
                <a:cubicBezTo>
                  <a:pt x="3532" y="133"/>
                  <a:pt x="3532" y="135"/>
                  <a:pt x="3532" y="137"/>
                </a:cubicBezTo>
                <a:cubicBezTo>
                  <a:pt x="3532" y="140"/>
                  <a:pt x="3532" y="143"/>
                  <a:pt x="3526" y="144"/>
                </a:cubicBezTo>
                <a:close/>
                <a:moveTo>
                  <a:pt x="3581" y="152"/>
                </a:moveTo>
                <a:cubicBezTo>
                  <a:pt x="3581" y="152"/>
                  <a:pt x="3581" y="152"/>
                  <a:pt x="3581" y="152"/>
                </a:cubicBezTo>
                <a:cubicBezTo>
                  <a:pt x="3581" y="144"/>
                  <a:pt x="3581" y="144"/>
                  <a:pt x="3581" y="144"/>
                </a:cubicBezTo>
                <a:cubicBezTo>
                  <a:pt x="3574" y="143"/>
                  <a:pt x="3574" y="140"/>
                  <a:pt x="3574" y="137"/>
                </a:cubicBezTo>
                <a:cubicBezTo>
                  <a:pt x="3574" y="135"/>
                  <a:pt x="3574" y="133"/>
                  <a:pt x="3574" y="130"/>
                </a:cubicBezTo>
                <a:cubicBezTo>
                  <a:pt x="3575" y="128"/>
                  <a:pt x="3575" y="125"/>
                  <a:pt x="3575" y="123"/>
                </a:cubicBezTo>
                <a:cubicBezTo>
                  <a:pt x="3575" y="114"/>
                  <a:pt x="3569" y="110"/>
                  <a:pt x="3560" y="110"/>
                </a:cubicBezTo>
                <a:cubicBezTo>
                  <a:pt x="3560" y="110"/>
                  <a:pt x="3560" y="110"/>
                  <a:pt x="3556" y="110"/>
                </a:cubicBezTo>
                <a:cubicBezTo>
                  <a:pt x="3556" y="110"/>
                  <a:pt x="3556" y="110"/>
                  <a:pt x="3556" y="120"/>
                </a:cubicBezTo>
                <a:cubicBezTo>
                  <a:pt x="3556" y="120"/>
                  <a:pt x="3556" y="120"/>
                  <a:pt x="3558" y="120"/>
                </a:cubicBezTo>
                <a:cubicBezTo>
                  <a:pt x="3561" y="120"/>
                  <a:pt x="3563" y="122"/>
                  <a:pt x="3563" y="126"/>
                </a:cubicBezTo>
                <a:cubicBezTo>
                  <a:pt x="3563" y="127"/>
                  <a:pt x="3563" y="129"/>
                  <a:pt x="3563" y="130"/>
                </a:cubicBezTo>
                <a:cubicBezTo>
                  <a:pt x="3562" y="132"/>
                  <a:pt x="3562" y="134"/>
                  <a:pt x="3562" y="136"/>
                </a:cubicBezTo>
                <a:cubicBezTo>
                  <a:pt x="3562" y="144"/>
                  <a:pt x="3565" y="146"/>
                  <a:pt x="3571" y="147"/>
                </a:cubicBezTo>
                <a:cubicBezTo>
                  <a:pt x="3571" y="147"/>
                  <a:pt x="3571" y="147"/>
                  <a:pt x="3571" y="148"/>
                </a:cubicBezTo>
                <a:cubicBezTo>
                  <a:pt x="3565" y="149"/>
                  <a:pt x="3562" y="151"/>
                  <a:pt x="3562" y="159"/>
                </a:cubicBezTo>
                <a:cubicBezTo>
                  <a:pt x="3562" y="161"/>
                  <a:pt x="3562" y="163"/>
                  <a:pt x="3563" y="165"/>
                </a:cubicBezTo>
                <a:cubicBezTo>
                  <a:pt x="3563" y="167"/>
                  <a:pt x="3563" y="168"/>
                  <a:pt x="3563" y="170"/>
                </a:cubicBezTo>
                <a:cubicBezTo>
                  <a:pt x="3563" y="173"/>
                  <a:pt x="3562" y="176"/>
                  <a:pt x="3558" y="176"/>
                </a:cubicBezTo>
                <a:cubicBezTo>
                  <a:pt x="3558" y="176"/>
                  <a:pt x="3558" y="176"/>
                  <a:pt x="3556" y="176"/>
                </a:cubicBezTo>
                <a:cubicBezTo>
                  <a:pt x="3556" y="176"/>
                  <a:pt x="3556" y="176"/>
                  <a:pt x="3556" y="185"/>
                </a:cubicBezTo>
                <a:cubicBezTo>
                  <a:pt x="3556" y="185"/>
                  <a:pt x="3556" y="185"/>
                  <a:pt x="3560" y="185"/>
                </a:cubicBezTo>
                <a:cubicBezTo>
                  <a:pt x="3569" y="185"/>
                  <a:pt x="3575" y="181"/>
                  <a:pt x="3575" y="172"/>
                </a:cubicBezTo>
                <a:cubicBezTo>
                  <a:pt x="3575" y="170"/>
                  <a:pt x="3575" y="167"/>
                  <a:pt x="3574" y="165"/>
                </a:cubicBezTo>
                <a:cubicBezTo>
                  <a:pt x="3574" y="162"/>
                  <a:pt x="3574" y="160"/>
                  <a:pt x="3574" y="158"/>
                </a:cubicBezTo>
                <a:cubicBezTo>
                  <a:pt x="3574" y="155"/>
                  <a:pt x="3574" y="152"/>
                  <a:pt x="3581" y="152"/>
                </a:cubicBezTo>
                <a:close/>
                <a:moveTo>
                  <a:pt x="3764" y="185"/>
                </a:moveTo>
                <a:cubicBezTo>
                  <a:pt x="3757" y="185"/>
                  <a:pt x="3750" y="182"/>
                  <a:pt x="3746" y="176"/>
                </a:cubicBezTo>
                <a:cubicBezTo>
                  <a:pt x="3742" y="169"/>
                  <a:pt x="3740" y="161"/>
                  <a:pt x="3740" y="148"/>
                </a:cubicBezTo>
                <a:cubicBezTo>
                  <a:pt x="3740" y="135"/>
                  <a:pt x="3742" y="126"/>
                  <a:pt x="3747" y="119"/>
                </a:cubicBezTo>
                <a:cubicBezTo>
                  <a:pt x="3751" y="112"/>
                  <a:pt x="3758" y="109"/>
                  <a:pt x="3766" y="109"/>
                </a:cubicBezTo>
                <a:cubicBezTo>
                  <a:pt x="3782" y="109"/>
                  <a:pt x="3790" y="121"/>
                  <a:pt x="3790" y="147"/>
                </a:cubicBezTo>
                <a:cubicBezTo>
                  <a:pt x="3790" y="159"/>
                  <a:pt x="3788" y="169"/>
                  <a:pt x="3783" y="175"/>
                </a:cubicBezTo>
                <a:cubicBezTo>
                  <a:pt x="3779" y="182"/>
                  <a:pt x="3772" y="185"/>
                  <a:pt x="3764" y="185"/>
                </a:cubicBezTo>
                <a:close/>
                <a:moveTo>
                  <a:pt x="3766" y="118"/>
                </a:moveTo>
                <a:cubicBezTo>
                  <a:pt x="3756" y="118"/>
                  <a:pt x="3752" y="129"/>
                  <a:pt x="3752" y="148"/>
                </a:cubicBezTo>
                <a:cubicBezTo>
                  <a:pt x="3752" y="166"/>
                  <a:pt x="3756" y="175"/>
                  <a:pt x="3765" y="175"/>
                </a:cubicBezTo>
                <a:cubicBezTo>
                  <a:pt x="3774" y="175"/>
                  <a:pt x="3778" y="166"/>
                  <a:pt x="3778" y="147"/>
                </a:cubicBezTo>
                <a:cubicBezTo>
                  <a:pt x="3778" y="128"/>
                  <a:pt x="3774" y="118"/>
                  <a:pt x="3766" y="118"/>
                </a:cubicBezTo>
                <a:close/>
                <a:moveTo>
                  <a:pt x="3835" y="185"/>
                </a:moveTo>
                <a:cubicBezTo>
                  <a:pt x="3827" y="185"/>
                  <a:pt x="3821" y="182"/>
                  <a:pt x="3817" y="176"/>
                </a:cubicBezTo>
                <a:cubicBezTo>
                  <a:pt x="3813" y="169"/>
                  <a:pt x="3811" y="161"/>
                  <a:pt x="3811" y="148"/>
                </a:cubicBezTo>
                <a:cubicBezTo>
                  <a:pt x="3811" y="135"/>
                  <a:pt x="3813" y="126"/>
                  <a:pt x="3817" y="119"/>
                </a:cubicBezTo>
                <a:cubicBezTo>
                  <a:pt x="3822" y="112"/>
                  <a:pt x="3828" y="109"/>
                  <a:pt x="3837" y="109"/>
                </a:cubicBezTo>
                <a:cubicBezTo>
                  <a:pt x="3853" y="109"/>
                  <a:pt x="3861" y="121"/>
                  <a:pt x="3861" y="147"/>
                </a:cubicBezTo>
                <a:cubicBezTo>
                  <a:pt x="3861" y="159"/>
                  <a:pt x="3859" y="169"/>
                  <a:pt x="3854" y="175"/>
                </a:cubicBezTo>
                <a:cubicBezTo>
                  <a:pt x="3849" y="182"/>
                  <a:pt x="3843" y="185"/>
                  <a:pt x="3835" y="185"/>
                </a:cubicBezTo>
                <a:close/>
                <a:moveTo>
                  <a:pt x="3836" y="118"/>
                </a:moveTo>
                <a:cubicBezTo>
                  <a:pt x="3827" y="118"/>
                  <a:pt x="3822" y="129"/>
                  <a:pt x="3822" y="148"/>
                </a:cubicBezTo>
                <a:cubicBezTo>
                  <a:pt x="3822" y="166"/>
                  <a:pt x="3827" y="175"/>
                  <a:pt x="3835" y="175"/>
                </a:cubicBezTo>
                <a:cubicBezTo>
                  <a:pt x="3844" y="175"/>
                  <a:pt x="3849" y="166"/>
                  <a:pt x="3849" y="147"/>
                </a:cubicBezTo>
                <a:cubicBezTo>
                  <a:pt x="3849" y="128"/>
                  <a:pt x="3844" y="118"/>
                  <a:pt x="3836" y="118"/>
                </a:cubicBezTo>
                <a:close/>
                <a:moveTo>
                  <a:pt x="1980" y="207"/>
                </a:moveTo>
                <a:cubicBezTo>
                  <a:pt x="1980" y="207"/>
                  <a:pt x="1980" y="207"/>
                  <a:pt x="1980" y="207"/>
                </a:cubicBezTo>
                <a:cubicBezTo>
                  <a:pt x="1975" y="207"/>
                  <a:pt x="1975" y="207"/>
                  <a:pt x="1975" y="207"/>
                </a:cubicBezTo>
                <a:cubicBezTo>
                  <a:pt x="1973" y="209"/>
                  <a:pt x="1971" y="210"/>
                  <a:pt x="1969" y="211"/>
                </a:cubicBezTo>
                <a:cubicBezTo>
                  <a:pt x="1968" y="212"/>
                  <a:pt x="1966" y="213"/>
                  <a:pt x="1964" y="214"/>
                </a:cubicBezTo>
                <a:cubicBezTo>
                  <a:pt x="1962" y="215"/>
                  <a:pt x="1960" y="216"/>
                  <a:pt x="1959" y="217"/>
                </a:cubicBezTo>
                <a:cubicBezTo>
                  <a:pt x="1957" y="217"/>
                  <a:pt x="1955" y="218"/>
                  <a:pt x="1953" y="218"/>
                </a:cubicBezTo>
                <a:cubicBezTo>
                  <a:pt x="1953" y="218"/>
                  <a:pt x="1953" y="218"/>
                  <a:pt x="1953" y="228"/>
                </a:cubicBezTo>
                <a:cubicBezTo>
                  <a:pt x="1956" y="228"/>
                  <a:pt x="1959" y="227"/>
                  <a:pt x="1962" y="225"/>
                </a:cubicBezTo>
                <a:cubicBezTo>
                  <a:pt x="1964" y="225"/>
                  <a:pt x="1966" y="223"/>
                  <a:pt x="1968" y="222"/>
                </a:cubicBezTo>
                <a:cubicBezTo>
                  <a:pt x="1968" y="222"/>
                  <a:pt x="1968" y="222"/>
                  <a:pt x="1968" y="281"/>
                </a:cubicBezTo>
                <a:cubicBezTo>
                  <a:pt x="1968" y="281"/>
                  <a:pt x="1968" y="281"/>
                  <a:pt x="1980" y="281"/>
                </a:cubicBezTo>
                <a:cubicBezTo>
                  <a:pt x="1980" y="281"/>
                  <a:pt x="1980" y="281"/>
                  <a:pt x="1980" y="207"/>
                </a:cubicBezTo>
                <a:close/>
                <a:moveTo>
                  <a:pt x="2027" y="207"/>
                </a:moveTo>
                <a:cubicBezTo>
                  <a:pt x="2027" y="207"/>
                  <a:pt x="2027" y="207"/>
                  <a:pt x="2027" y="207"/>
                </a:cubicBezTo>
                <a:cubicBezTo>
                  <a:pt x="2022" y="207"/>
                  <a:pt x="2022" y="207"/>
                  <a:pt x="2022" y="207"/>
                </a:cubicBezTo>
                <a:cubicBezTo>
                  <a:pt x="2020" y="209"/>
                  <a:pt x="2019" y="210"/>
                  <a:pt x="2016" y="211"/>
                </a:cubicBezTo>
                <a:cubicBezTo>
                  <a:pt x="2015" y="212"/>
                  <a:pt x="2013" y="213"/>
                  <a:pt x="2011" y="214"/>
                </a:cubicBezTo>
                <a:cubicBezTo>
                  <a:pt x="2010" y="215"/>
                  <a:pt x="2008" y="216"/>
                  <a:pt x="2006" y="217"/>
                </a:cubicBezTo>
                <a:cubicBezTo>
                  <a:pt x="2004" y="217"/>
                  <a:pt x="2003" y="218"/>
                  <a:pt x="2000" y="218"/>
                </a:cubicBezTo>
                <a:cubicBezTo>
                  <a:pt x="2000" y="218"/>
                  <a:pt x="2000" y="218"/>
                  <a:pt x="2000" y="228"/>
                </a:cubicBezTo>
                <a:cubicBezTo>
                  <a:pt x="2003" y="228"/>
                  <a:pt x="2006" y="227"/>
                  <a:pt x="2008" y="225"/>
                </a:cubicBezTo>
                <a:cubicBezTo>
                  <a:pt x="2011" y="225"/>
                  <a:pt x="2014" y="223"/>
                  <a:pt x="2016" y="222"/>
                </a:cubicBezTo>
                <a:cubicBezTo>
                  <a:pt x="2016" y="222"/>
                  <a:pt x="2016" y="222"/>
                  <a:pt x="2016" y="281"/>
                </a:cubicBezTo>
                <a:cubicBezTo>
                  <a:pt x="2016" y="281"/>
                  <a:pt x="2016" y="281"/>
                  <a:pt x="2027" y="281"/>
                </a:cubicBezTo>
                <a:cubicBezTo>
                  <a:pt x="2027" y="281"/>
                  <a:pt x="2027" y="281"/>
                  <a:pt x="2027" y="207"/>
                </a:cubicBezTo>
                <a:close/>
                <a:moveTo>
                  <a:pt x="2074" y="207"/>
                </a:moveTo>
                <a:cubicBezTo>
                  <a:pt x="2074" y="207"/>
                  <a:pt x="2074" y="207"/>
                  <a:pt x="2074" y="207"/>
                </a:cubicBezTo>
                <a:cubicBezTo>
                  <a:pt x="2070" y="207"/>
                  <a:pt x="2070" y="207"/>
                  <a:pt x="2070" y="207"/>
                </a:cubicBezTo>
                <a:cubicBezTo>
                  <a:pt x="2067" y="209"/>
                  <a:pt x="2066" y="210"/>
                  <a:pt x="2064" y="211"/>
                </a:cubicBezTo>
                <a:cubicBezTo>
                  <a:pt x="2062" y="212"/>
                  <a:pt x="2060" y="213"/>
                  <a:pt x="2059" y="214"/>
                </a:cubicBezTo>
                <a:cubicBezTo>
                  <a:pt x="2057" y="215"/>
                  <a:pt x="2055" y="215"/>
                  <a:pt x="2053" y="216"/>
                </a:cubicBezTo>
                <a:cubicBezTo>
                  <a:pt x="2052" y="217"/>
                  <a:pt x="2049" y="217"/>
                  <a:pt x="2048" y="218"/>
                </a:cubicBezTo>
                <a:cubicBezTo>
                  <a:pt x="2048" y="218"/>
                  <a:pt x="2048" y="218"/>
                  <a:pt x="2048" y="228"/>
                </a:cubicBezTo>
                <a:cubicBezTo>
                  <a:pt x="2051" y="228"/>
                  <a:pt x="2054" y="226"/>
                  <a:pt x="2056" y="225"/>
                </a:cubicBezTo>
                <a:cubicBezTo>
                  <a:pt x="2058" y="225"/>
                  <a:pt x="2061" y="223"/>
                  <a:pt x="2062" y="222"/>
                </a:cubicBezTo>
                <a:cubicBezTo>
                  <a:pt x="2062" y="222"/>
                  <a:pt x="2062" y="222"/>
                  <a:pt x="2062" y="281"/>
                </a:cubicBezTo>
                <a:cubicBezTo>
                  <a:pt x="2062" y="281"/>
                  <a:pt x="2062" y="281"/>
                  <a:pt x="2074" y="281"/>
                </a:cubicBezTo>
                <a:cubicBezTo>
                  <a:pt x="2074" y="281"/>
                  <a:pt x="2074" y="281"/>
                  <a:pt x="2074" y="207"/>
                </a:cubicBezTo>
                <a:close/>
                <a:moveTo>
                  <a:pt x="2119" y="281"/>
                </a:moveTo>
                <a:cubicBezTo>
                  <a:pt x="2111" y="281"/>
                  <a:pt x="2105" y="278"/>
                  <a:pt x="2100" y="272"/>
                </a:cubicBezTo>
                <a:cubicBezTo>
                  <a:pt x="2097" y="265"/>
                  <a:pt x="2095" y="257"/>
                  <a:pt x="2095" y="244"/>
                </a:cubicBezTo>
                <a:cubicBezTo>
                  <a:pt x="2095" y="231"/>
                  <a:pt x="2097" y="222"/>
                  <a:pt x="2101" y="215"/>
                </a:cubicBezTo>
                <a:cubicBezTo>
                  <a:pt x="2106" y="208"/>
                  <a:pt x="2112" y="205"/>
                  <a:pt x="2121" y="205"/>
                </a:cubicBezTo>
                <a:cubicBezTo>
                  <a:pt x="2137" y="205"/>
                  <a:pt x="2145" y="217"/>
                  <a:pt x="2145" y="243"/>
                </a:cubicBezTo>
                <a:cubicBezTo>
                  <a:pt x="2145" y="255"/>
                  <a:pt x="2143" y="265"/>
                  <a:pt x="2138" y="271"/>
                </a:cubicBezTo>
                <a:cubicBezTo>
                  <a:pt x="2133" y="278"/>
                  <a:pt x="2127" y="281"/>
                  <a:pt x="2119" y="281"/>
                </a:cubicBezTo>
                <a:close/>
                <a:moveTo>
                  <a:pt x="2120" y="214"/>
                </a:moveTo>
                <a:cubicBezTo>
                  <a:pt x="2111" y="214"/>
                  <a:pt x="2106" y="225"/>
                  <a:pt x="2106" y="244"/>
                </a:cubicBezTo>
                <a:cubicBezTo>
                  <a:pt x="2106" y="262"/>
                  <a:pt x="2111" y="271"/>
                  <a:pt x="2119" y="271"/>
                </a:cubicBezTo>
                <a:cubicBezTo>
                  <a:pt x="2128" y="271"/>
                  <a:pt x="2133" y="262"/>
                  <a:pt x="2133" y="243"/>
                </a:cubicBezTo>
                <a:cubicBezTo>
                  <a:pt x="2133" y="224"/>
                  <a:pt x="2128" y="214"/>
                  <a:pt x="2120" y="214"/>
                </a:cubicBezTo>
                <a:close/>
                <a:moveTo>
                  <a:pt x="2190" y="281"/>
                </a:moveTo>
                <a:cubicBezTo>
                  <a:pt x="2182" y="281"/>
                  <a:pt x="2176" y="278"/>
                  <a:pt x="2172" y="272"/>
                </a:cubicBezTo>
                <a:cubicBezTo>
                  <a:pt x="2168" y="265"/>
                  <a:pt x="2166" y="257"/>
                  <a:pt x="2166" y="244"/>
                </a:cubicBezTo>
                <a:cubicBezTo>
                  <a:pt x="2166" y="231"/>
                  <a:pt x="2168" y="222"/>
                  <a:pt x="2172" y="215"/>
                </a:cubicBezTo>
                <a:cubicBezTo>
                  <a:pt x="2177" y="208"/>
                  <a:pt x="2183" y="205"/>
                  <a:pt x="2192" y="205"/>
                </a:cubicBezTo>
                <a:cubicBezTo>
                  <a:pt x="2208" y="205"/>
                  <a:pt x="2216" y="217"/>
                  <a:pt x="2216" y="243"/>
                </a:cubicBezTo>
                <a:cubicBezTo>
                  <a:pt x="2216" y="255"/>
                  <a:pt x="2214" y="265"/>
                  <a:pt x="2209" y="271"/>
                </a:cubicBezTo>
                <a:cubicBezTo>
                  <a:pt x="2204" y="278"/>
                  <a:pt x="2198" y="281"/>
                  <a:pt x="2190" y="281"/>
                </a:cubicBezTo>
                <a:close/>
                <a:moveTo>
                  <a:pt x="2191" y="214"/>
                </a:moveTo>
                <a:cubicBezTo>
                  <a:pt x="2182" y="214"/>
                  <a:pt x="2177" y="225"/>
                  <a:pt x="2177" y="244"/>
                </a:cubicBezTo>
                <a:cubicBezTo>
                  <a:pt x="2177" y="262"/>
                  <a:pt x="2182" y="271"/>
                  <a:pt x="2190" y="271"/>
                </a:cubicBezTo>
                <a:cubicBezTo>
                  <a:pt x="2199" y="271"/>
                  <a:pt x="2204" y="262"/>
                  <a:pt x="2204" y="243"/>
                </a:cubicBezTo>
                <a:cubicBezTo>
                  <a:pt x="2204" y="224"/>
                  <a:pt x="2199" y="214"/>
                  <a:pt x="2191" y="214"/>
                </a:cubicBezTo>
                <a:close/>
                <a:moveTo>
                  <a:pt x="2403" y="281"/>
                </a:moveTo>
                <a:cubicBezTo>
                  <a:pt x="2395" y="281"/>
                  <a:pt x="2389" y="278"/>
                  <a:pt x="2385" y="271"/>
                </a:cubicBezTo>
                <a:cubicBezTo>
                  <a:pt x="2380" y="265"/>
                  <a:pt x="2378" y="256"/>
                  <a:pt x="2378" y="244"/>
                </a:cubicBezTo>
                <a:cubicBezTo>
                  <a:pt x="2378" y="231"/>
                  <a:pt x="2380" y="222"/>
                  <a:pt x="2385" y="214"/>
                </a:cubicBezTo>
                <a:cubicBezTo>
                  <a:pt x="2389" y="208"/>
                  <a:pt x="2396" y="205"/>
                  <a:pt x="2405" y="205"/>
                </a:cubicBezTo>
                <a:cubicBezTo>
                  <a:pt x="2421" y="205"/>
                  <a:pt x="2429" y="217"/>
                  <a:pt x="2429" y="242"/>
                </a:cubicBezTo>
                <a:cubicBezTo>
                  <a:pt x="2429" y="255"/>
                  <a:pt x="2427" y="265"/>
                  <a:pt x="2422" y="271"/>
                </a:cubicBezTo>
                <a:cubicBezTo>
                  <a:pt x="2417" y="278"/>
                  <a:pt x="2411" y="281"/>
                  <a:pt x="2403" y="281"/>
                </a:cubicBezTo>
                <a:close/>
                <a:moveTo>
                  <a:pt x="2404" y="214"/>
                </a:moveTo>
                <a:cubicBezTo>
                  <a:pt x="2395" y="214"/>
                  <a:pt x="2391" y="224"/>
                  <a:pt x="2391" y="243"/>
                </a:cubicBezTo>
                <a:cubicBezTo>
                  <a:pt x="2391" y="262"/>
                  <a:pt x="2395" y="271"/>
                  <a:pt x="2404" y="271"/>
                </a:cubicBezTo>
                <a:cubicBezTo>
                  <a:pt x="2412" y="271"/>
                  <a:pt x="2417" y="262"/>
                  <a:pt x="2417" y="243"/>
                </a:cubicBezTo>
                <a:cubicBezTo>
                  <a:pt x="2417" y="224"/>
                  <a:pt x="2413" y="214"/>
                  <a:pt x="2404" y="214"/>
                </a:cubicBezTo>
                <a:close/>
                <a:moveTo>
                  <a:pt x="2521" y="281"/>
                </a:moveTo>
                <a:cubicBezTo>
                  <a:pt x="2513" y="281"/>
                  <a:pt x="2507" y="278"/>
                  <a:pt x="2503" y="271"/>
                </a:cubicBezTo>
                <a:cubicBezTo>
                  <a:pt x="2499" y="265"/>
                  <a:pt x="2496" y="256"/>
                  <a:pt x="2496" y="244"/>
                </a:cubicBezTo>
                <a:cubicBezTo>
                  <a:pt x="2496" y="231"/>
                  <a:pt x="2499" y="222"/>
                  <a:pt x="2503" y="214"/>
                </a:cubicBezTo>
                <a:cubicBezTo>
                  <a:pt x="2507" y="208"/>
                  <a:pt x="2514" y="205"/>
                  <a:pt x="2523" y="205"/>
                </a:cubicBezTo>
                <a:cubicBezTo>
                  <a:pt x="2539" y="205"/>
                  <a:pt x="2547" y="217"/>
                  <a:pt x="2547" y="242"/>
                </a:cubicBezTo>
                <a:cubicBezTo>
                  <a:pt x="2547" y="255"/>
                  <a:pt x="2545" y="265"/>
                  <a:pt x="2541" y="271"/>
                </a:cubicBezTo>
                <a:cubicBezTo>
                  <a:pt x="2535" y="278"/>
                  <a:pt x="2530" y="281"/>
                  <a:pt x="2521" y="281"/>
                </a:cubicBezTo>
                <a:close/>
                <a:moveTo>
                  <a:pt x="2522" y="214"/>
                </a:moveTo>
                <a:cubicBezTo>
                  <a:pt x="2513" y="214"/>
                  <a:pt x="2509" y="224"/>
                  <a:pt x="2509" y="243"/>
                </a:cubicBezTo>
                <a:cubicBezTo>
                  <a:pt x="2509" y="262"/>
                  <a:pt x="2513" y="271"/>
                  <a:pt x="2522" y="271"/>
                </a:cubicBezTo>
                <a:cubicBezTo>
                  <a:pt x="2530" y="271"/>
                  <a:pt x="2535" y="262"/>
                  <a:pt x="2535" y="243"/>
                </a:cubicBezTo>
                <a:cubicBezTo>
                  <a:pt x="2535" y="224"/>
                  <a:pt x="2531" y="214"/>
                  <a:pt x="2522" y="214"/>
                </a:cubicBezTo>
                <a:close/>
                <a:moveTo>
                  <a:pt x="2476" y="207"/>
                </a:moveTo>
                <a:cubicBezTo>
                  <a:pt x="2476" y="207"/>
                  <a:pt x="2476" y="207"/>
                  <a:pt x="2476" y="207"/>
                </a:cubicBezTo>
                <a:cubicBezTo>
                  <a:pt x="2471" y="207"/>
                  <a:pt x="2471" y="207"/>
                  <a:pt x="2471" y="207"/>
                </a:cubicBezTo>
                <a:cubicBezTo>
                  <a:pt x="2469" y="209"/>
                  <a:pt x="2467" y="210"/>
                  <a:pt x="2465" y="211"/>
                </a:cubicBezTo>
                <a:cubicBezTo>
                  <a:pt x="2464" y="212"/>
                  <a:pt x="2462" y="213"/>
                  <a:pt x="2460" y="214"/>
                </a:cubicBezTo>
                <a:cubicBezTo>
                  <a:pt x="2459" y="215"/>
                  <a:pt x="2457" y="215"/>
                  <a:pt x="2455" y="216"/>
                </a:cubicBezTo>
                <a:cubicBezTo>
                  <a:pt x="2453" y="217"/>
                  <a:pt x="2451" y="217"/>
                  <a:pt x="2449" y="218"/>
                </a:cubicBezTo>
                <a:cubicBezTo>
                  <a:pt x="2449" y="218"/>
                  <a:pt x="2449" y="218"/>
                  <a:pt x="2449" y="228"/>
                </a:cubicBezTo>
                <a:cubicBezTo>
                  <a:pt x="2452" y="228"/>
                  <a:pt x="2455" y="226"/>
                  <a:pt x="2457" y="225"/>
                </a:cubicBezTo>
                <a:cubicBezTo>
                  <a:pt x="2460" y="225"/>
                  <a:pt x="2462" y="223"/>
                  <a:pt x="2465" y="222"/>
                </a:cubicBezTo>
                <a:cubicBezTo>
                  <a:pt x="2465" y="222"/>
                  <a:pt x="2465" y="222"/>
                  <a:pt x="2465" y="281"/>
                </a:cubicBezTo>
                <a:cubicBezTo>
                  <a:pt x="2465" y="281"/>
                  <a:pt x="2465" y="281"/>
                  <a:pt x="2476" y="281"/>
                </a:cubicBezTo>
                <a:cubicBezTo>
                  <a:pt x="2476" y="281"/>
                  <a:pt x="2476" y="281"/>
                  <a:pt x="2476" y="207"/>
                </a:cubicBezTo>
                <a:close/>
                <a:moveTo>
                  <a:pt x="2592" y="281"/>
                </a:moveTo>
                <a:cubicBezTo>
                  <a:pt x="2584" y="281"/>
                  <a:pt x="2578" y="278"/>
                  <a:pt x="2574" y="272"/>
                </a:cubicBezTo>
                <a:cubicBezTo>
                  <a:pt x="2570" y="265"/>
                  <a:pt x="2567" y="257"/>
                  <a:pt x="2567" y="244"/>
                </a:cubicBezTo>
                <a:cubicBezTo>
                  <a:pt x="2567" y="231"/>
                  <a:pt x="2570" y="222"/>
                  <a:pt x="2574" y="215"/>
                </a:cubicBezTo>
                <a:cubicBezTo>
                  <a:pt x="2578" y="208"/>
                  <a:pt x="2585" y="205"/>
                  <a:pt x="2594" y="205"/>
                </a:cubicBezTo>
                <a:cubicBezTo>
                  <a:pt x="2610" y="205"/>
                  <a:pt x="2618" y="217"/>
                  <a:pt x="2618" y="243"/>
                </a:cubicBezTo>
                <a:cubicBezTo>
                  <a:pt x="2618" y="255"/>
                  <a:pt x="2616" y="265"/>
                  <a:pt x="2612" y="271"/>
                </a:cubicBezTo>
                <a:cubicBezTo>
                  <a:pt x="2606" y="278"/>
                  <a:pt x="2601" y="281"/>
                  <a:pt x="2592" y="281"/>
                </a:cubicBezTo>
                <a:close/>
                <a:moveTo>
                  <a:pt x="2593" y="214"/>
                </a:moveTo>
                <a:cubicBezTo>
                  <a:pt x="2584" y="214"/>
                  <a:pt x="2579" y="225"/>
                  <a:pt x="2579" y="244"/>
                </a:cubicBezTo>
                <a:cubicBezTo>
                  <a:pt x="2579" y="262"/>
                  <a:pt x="2584" y="271"/>
                  <a:pt x="2592" y="271"/>
                </a:cubicBezTo>
                <a:cubicBezTo>
                  <a:pt x="2601" y="271"/>
                  <a:pt x="2606" y="262"/>
                  <a:pt x="2606" y="243"/>
                </a:cubicBezTo>
                <a:cubicBezTo>
                  <a:pt x="2606" y="224"/>
                  <a:pt x="2601" y="214"/>
                  <a:pt x="2593" y="214"/>
                </a:cubicBezTo>
                <a:close/>
                <a:moveTo>
                  <a:pt x="2639" y="240"/>
                </a:moveTo>
                <a:cubicBezTo>
                  <a:pt x="2639" y="240"/>
                  <a:pt x="2639" y="240"/>
                  <a:pt x="2639" y="240"/>
                </a:cubicBezTo>
                <a:cubicBezTo>
                  <a:pt x="2638" y="248"/>
                  <a:pt x="2638" y="248"/>
                  <a:pt x="2638" y="248"/>
                </a:cubicBezTo>
                <a:cubicBezTo>
                  <a:pt x="2645" y="248"/>
                  <a:pt x="2646" y="251"/>
                  <a:pt x="2646" y="254"/>
                </a:cubicBezTo>
                <a:cubicBezTo>
                  <a:pt x="2646" y="256"/>
                  <a:pt x="2645" y="258"/>
                  <a:pt x="2645" y="261"/>
                </a:cubicBezTo>
                <a:cubicBezTo>
                  <a:pt x="2645" y="263"/>
                  <a:pt x="2644" y="266"/>
                  <a:pt x="2644" y="268"/>
                </a:cubicBezTo>
                <a:cubicBezTo>
                  <a:pt x="2644" y="277"/>
                  <a:pt x="2650" y="281"/>
                  <a:pt x="2659" y="281"/>
                </a:cubicBezTo>
                <a:cubicBezTo>
                  <a:pt x="2659" y="281"/>
                  <a:pt x="2659" y="281"/>
                  <a:pt x="2663" y="281"/>
                </a:cubicBezTo>
                <a:cubicBezTo>
                  <a:pt x="2663" y="281"/>
                  <a:pt x="2663" y="281"/>
                  <a:pt x="2663" y="272"/>
                </a:cubicBezTo>
                <a:cubicBezTo>
                  <a:pt x="2663" y="272"/>
                  <a:pt x="2663" y="272"/>
                  <a:pt x="2661" y="272"/>
                </a:cubicBezTo>
                <a:cubicBezTo>
                  <a:pt x="2658" y="272"/>
                  <a:pt x="2656" y="269"/>
                  <a:pt x="2656" y="266"/>
                </a:cubicBezTo>
                <a:cubicBezTo>
                  <a:pt x="2656" y="264"/>
                  <a:pt x="2656" y="263"/>
                  <a:pt x="2657" y="261"/>
                </a:cubicBezTo>
                <a:cubicBezTo>
                  <a:pt x="2657" y="259"/>
                  <a:pt x="2657" y="257"/>
                  <a:pt x="2657" y="255"/>
                </a:cubicBezTo>
                <a:cubicBezTo>
                  <a:pt x="2657" y="247"/>
                  <a:pt x="2654" y="245"/>
                  <a:pt x="2649" y="244"/>
                </a:cubicBezTo>
                <a:cubicBezTo>
                  <a:pt x="2649" y="244"/>
                  <a:pt x="2649" y="244"/>
                  <a:pt x="2649" y="243"/>
                </a:cubicBezTo>
                <a:cubicBezTo>
                  <a:pt x="2654" y="242"/>
                  <a:pt x="2657" y="240"/>
                  <a:pt x="2657" y="232"/>
                </a:cubicBezTo>
                <a:cubicBezTo>
                  <a:pt x="2657" y="230"/>
                  <a:pt x="2657" y="228"/>
                  <a:pt x="2657" y="226"/>
                </a:cubicBezTo>
                <a:cubicBezTo>
                  <a:pt x="2656" y="225"/>
                  <a:pt x="2656" y="223"/>
                  <a:pt x="2656" y="222"/>
                </a:cubicBezTo>
                <a:cubicBezTo>
                  <a:pt x="2656" y="218"/>
                  <a:pt x="2658" y="216"/>
                  <a:pt x="2661" y="216"/>
                </a:cubicBezTo>
                <a:cubicBezTo>
                  <a:pt x="2661" y="216"/>
                  <a:pt x="2661" y="216"/>
                  <a:pt x="2663" y="216"/>
                </a:cubicBezTo>
                <a:cubicBezTo>
                  <a:pt x="2663" y="216"/>
                  <a:pt x="2663" y="216"/>
                  <a:pt x="2663" y="206"/>
                </a:cubicBezTo>
                <a:cubicBezTo>
                  <a:pt x="2663" y="206"/>
                  <a:pt x="2663" y="206"/>
                  <a:pt x="2659" y="206"/>
                </a:cubicBezTo>
                <a:cubicBezTo>
                  <a:pt x="2650" y="206"/>
                  <a:pt x="2644" y="210"/>
                  <a:pt x="2644" y="219"/>
                </a:cubicBezTo>
                <a:cubicBezTo>
                  <a:pt x="2644" y="221"/>
                  <a:pt x="2645" y="224"/>
                  <a:pt x="2645" y="226"/>
                </a:cubicBezTo>
                <a:cubicBezTo>
                  <a:pt x="2645" y="229"/>
                  <a:pt x="2646" y="231"/>
                  <a:pt x="2646" y="233"/>
                </a:cubicBezTo>
                <a:cubicBezTo>
                  <a:pt x="2646" y="236"/>
                  <a:pt x="2645" y="239"/>
                  <a:pt x="2639" y="240"/>
                </a:cubicBezTo>
                <a:close/>
                <a:moveTo>
                  <a:pt x="2694" y="248"/>
                </a:moveTo>
                <a:cubicBezTo>
                  <a:pt x="2694" y="248"/>
                  <a:pt x="2694" y="248"/>
                  <a:pt x="2694" y="248"/>
                </a:cubicBezTo>
                <a:cubicBezTo>
                  <a:pt x="2694" y="240"/>
                  <a:pt x="2694" y="240"/>
                  <a:pt x="2694" y="240"/>
                </a:cubicBezTo>
                <a:cubicBezTo>
                  <a:pt x="2687" y="239"/>
                  <a:pt x="2687" y="236"/>
                  <a:pt x="2687" y="233"/>
                </a:cubicBezTo>
                <a:cubicBezTo>
                  <a:pt x="2687" y="231"/>
                  <a:pt x="2687" y="229"/>
                  <a:pt x="2687" y="226"/>
                </a:cubicBezTo>
                <a:cubicBezTo>
                  <a:pt x="2688" y="224"/>
                  <a:pt x="2688" y="221"/>
                  <a:pt x="2688" y="219"/>
                </a:cubicBezTo>
                <a:cubicBezTo>
                  <a:pt x="2688" y="210"/>
                  <a:pt x="2683" y="206"/>
                  <a:pt x="2673" y="206"/>
                </a:cubicBezTo>
                <a:cubicBezTo>
                  <a:pt x="2673" y="206"/>
                  <a:pt x="2673" y="206"/>
                  <a:pt x="2670" y="206"/>
                </a:cubicBezTo>
                <a:cubicBezTo>
                  <a:pt x="2670" y="206"/>
                  <a:pt x="2670" y="206"/>
                  <a:pt x="2670" y="216"/>
                </a:cubicBezTo>
                <a:cubicBezTo>
                  <a:pt x="2670" y="216"/>
                  <a:pt x="2670" y="216"/>
                  <a:pt x="2671" y="216"/>
                </a:cubicBezTo>
                <a:cubicBezTo>
                  <a:pt x="2675" y="216"/>
                  <a:pt x="2676" y="218"/>
                  <a:pt x="2676" y="222"/>
                </a:cubicBezTo>
                <a:cubicBezTo>
                  <a:pt x="2676" y="223"/>
                  <a:pt x="2676" y="225"/>
                  <a:pt x="2676" y="226"/>
                </a:cubicBezTo>
                <a:cubicBezTo>
                  <a:pt x="2676" y="228"/>
                  <a:pt x="2676" y="230"/>
                  <a:pt x="2676" y="232"/>
                </a:cubicBezTo>
                <a:cubicBezTo>
                  <a:pt x="2676" y="240"/>
                  <a:pt x="2678" y="242"/>
                  <a:pt x="2684" y="243"/>
                </a:cubicBezTo>
                <a:cubicBezTo>
                  <a:pt x="2684" y="243"/>
                  <a:pt x="2684" y="243"/>
                  <a:pt x="2684" y="244"/>
                </a:cubicBezTo>
                <a:cubicBezTo>
                  <a:pt x="2678" y="245"/>
                  <a:pt x="2676" y="247"/>
                  <a:pt x="2676" y="255"/>
                </a:cubicBezTo>
                <a:cubicBezTo>
                  <a:pt x="2676" y="257"/>
                  <a:pt x="2676" y="259"/>
                  <a:pt x="2676" y="261"/>
                </a:cubicBezTo>
                <a:cubicBezTo>
                  <a:pt x="2676" y="263"/>
                  <a:pt x="2676" y="264"/>
                  <a:pt x="2676" y="266"/>
                </a:cubicBezTo>
                <a:cubicBezTo>
                  <a:pt x="2676" y="269"/>
                  <a:pt x="2675" y="272"/>
                  <a:pt x="2671" y="272"/>
                </a:cubicBezTo>
                <a:cubicBezTo>
                  <a:pt x="2671" y="272"/>
                  <a:pt x="2671" y="272"/>
                  <a:pt x="2670" y="272"/>
                </a:cubicBezTo>
                <a:cubicBezTo>
                  <a:pt x="2670" y="272"/>
                  <a:pt x="2670" y="272"/>
                  <a:pt x="2670" y="281"/>
                </a:cubicBezTo>
                <a:cubicBezTo>
                  <a:pt x="2670" y="281"/>
                  <a:pt x="2670" y="281"/>
                  <a:pt x="2673" y="281"/>
                </a:cubicBezTo>
                <a:cubicBezTo>
                  <a:pt x="2682" y="281"/>
                  <a:pt x="2688" y="277"/>
                  <a:pt x="2688" y="268"/>
                </a:cubicBezTo>
                <a:cubicBezTo>
                  <a:pt x="2688" y="266"/>
                  <a:pt x="2688" y="263"/>
                  <a:pt x="2687" y="261"/>
                </a:cubicBezTo>
                <a:cubicBezTo>
                  <a:pt x="2687" y="258"/>
                  <a:pt x="2687" y="256"/>
                  <a:pt x="2687" y="254"/>
                </a:cubicBezTo>
                <a:cubicBezTo>
                  <a:pt x="2687" y="251"/>
                  <a:pt x="2687" y="248"/>
                  <a:pt x="2694" y="248"/>
                </a:cubicBezTo>
                <a:close/>
                <a:moveTo>
                  <a:pt x="2814" y="281"/>
                </a:moveTo>
                <a:cubicBezTo>
                  <a:pt x="2807" y="281"/>
                  <a:pt x="2800" y="278"/>
                  <a:pt x="2796" y="272"/>
                </a:cubicBezTo>
                <a:cubicBezTo>
                  <a:pt x="2792" y="265"/>
                  <a:pt x="2790" y="257"/>
                  <a:pt x="2790" y="244"/>
                </a:cubicBezTo>
                <a:cubicBezTo>
                  <a:pt x="2790" y="231"/>
                  <a:pt x="2792" y="222"/>
                  <a:pt x="2796" y="215"/>
                </a:cubicBezTo>
                <a:cubicBezTo>
                  <a:pt x="2801" y="208"/>
                  <a:pt x="2807" y="205"/>
                  <a:pt x="2816" y="205"/>
                </a:cubicBezTo>
                <a:cubicBezTo>
                  <a:pt x="2832" y="205"/>
                  <a:pt x="2840" y="217"/>
                  <a:pt x="2840" y="243"/>
                </a:cubicBezTo>
                <a:cubicBezTo>
                  <a:pt x="2840" y="255"/>
                  <a:pt x="2838" y="265"/>
                  <a:pt x="2833" y="271"/>
                </a:cubicBezTo>
                <a:cubicBezTo>
                  <a:pt x="2829" y="278"/>
                  <a:pt x="2822" y="281"/>
                  <a:pt x="2814" y="281"/>
                </a:cubicBezTo>
                <a:close/>
                <a:moveTo>
                  <a:pt x="2815" y="214"/>
                </a:moveTo>
                <a:cubicBezTo>
                  <a:pt x="2806" y="214"/>
                  <a:pt x="2801" y="225"/>
                  <a:pt x="2801" y="244"/>
                </a:cubicBezTo>
                <a:cubicBezTo>
                  <a:pt x="2801" y="262"/>
                  <a:pt x="2806" y="271"/>
                  <a:pt x="2815" y="271"/>
                </a:cubicBezTo>
                <a:cubicBezTo>
                  <a:pt x="2824" y="271"/>
                  <a:pt x="2828" y="262"/>
                  <a:pt x="2828" y="243"/>
                </a:cubicBezTo>
                <a:cubicBezTo>
                  <a:pt x="2828" y="224"/>
                  <a:pt x="2824" y="214"/>
                  <a:pt x="2815" y="214"/>
                </a:cubicBezTo>
                <a:close/>
                <a:moveTo>
                  <a:pt x="2888" y="207"/>
                </a:moveTo>
                <a:cubicBezTo>
                  <a:pt x="2888" y="207"/>
                  <a:pt x="2888" y="207"/>
                  <a:pt x="2888" y="207"/>
                </a:cubicBezTo>
                <a:cubicBezTo>
                  <a:pt x="2883" y="207"/>
                  <a:pt x="2883" y="207"/>
                  <a:pt x="2883" y="207"/>
                </a:cubicBezTo>
                <a:cubicBezTo>
                  <a:pt x="2881" y="209"/>
                  <a:pt x="2879" y="210"/>
                  <a:pt x="2877" y="211"/>
                </a:cubicBezTo>
                <a:cubicBezTo>
                  <a:pt x="2875" y="212"/>
                  <a:pt x="2873" y="213"/>
                  <a:pt x="2872" y="214"/>
                </a:cubicBezTo>
                <a:cubicBezTo>
                  <a:pt x="2870" y="215"/>
                  <a:pt x="2868" y="215"/>
                  <a:pt x="2867" y="216"/>
                </a:cubicBezTo>
                <a:cubicBezTo>
                  <a:pt x="2864" y="217"/>
                  <a:pt x="2863" y="217"/>
                  <a:pt x="2861" y="218"/>
                </a:cubicBezTo>
                <a:cubicBezTo>
                  <a:pt x="2861" y="218"/>
                  <a:pt x="2861" y="218"/>
                  <a:pt x="2861" y="228"/>
                </a:cubicBezTo>
                <a:cubicBezTo>
                  <a:pt x="2864" y="228"/>
                  <a:pt x="2867" y="226"/>
                  <a:pt x="2869" y="225"/>
                </a:cubicBezTo>
                <a:cubicBezTo>
                  <a:pt x="2872" y="225"/>
                  <a:pt x="2874" y="223"/>
                  <a:pt x="2876" y="222"/>
                </a:cubicBezTo>
                <a:cubicBezTo>
                  <a:pt x="2876" y="222"/>
                  <a:pt x="2876" y="222"/>
                  <a:pt x="2876" y="281"/>
                </a:cubicBezTo>
                <a:cubicBezTo>
                  <a:pt x="2876" y="281"/>
                  <a:pt x="2876" y="281"/>
                  <a:pt x="2888" y="281"/>
                </a:cubicBezTo>
                <a:cubicBezTo>
                  <a:pt x="2888" y="281"/>
                  <a:pt x="2888" y="281"/>
                  <a:pt x="2888" y="207"/>
                </a:cubicBezTo>
                <a:close/>
                <a:moveTo>
                  <a:pt x="2720" y="281"/>
                </a:moveTo>
                <a:cubicBezTo>
                  <a:pt x="2723" y="262"/>
                  <a:pt x="2723" y="262"/>
                  <a:pt x="2723" y="262"/>
                </a:cubicBezTo>
                <a:cubicBezTo>
                  <a:pt x="2714" y="262"/>
                  <a:pt x="2714" y="262"/>
                  <a:pt x="2714" y="262"/>
                </a:cubicBezTo>
                <a:cubicBezTo>
                  <a:pt x="2714" y="249"/>
                  <a:pt x="2714" y="249"/>
                  <a:pt x="2714" y="249"/>
                </a:cubicBezTo>
                <a:cubicBezTo>
                  <a:pt x="2725" y="249"/>
                  <a:pt x="2725" y="249"/>
                  <a:pt x="2725" y="249"/>
                </a:cubicBezTo>
                <a:cubicBezTo>
                  <a:pt x="2727" y="239"/>
                  <a:pt x="2727" y="239"/>
                  <a:pt x="2727" y="239"/>
                </a:cubicBezTo>
                <a:cubicBezTo>
                  <a:pt x="2717" y="239"/>
                  <a:pt x="2717" y="239"/>
                  <a:pt x="2717" y="239"/>
                </a:cubicBezTo>
                <a:cubicBezTo>
                  <a:pt x="2717" y="227"/>
                  <a:pt x="2717" y="227"/>
                  <a:pt x="2717" y="227"/>
                </a:cubicBezTo>
                <a:cubicBezTo>
                  <a:pt x="2729" y="227"/>
                  <a:pt x="2729" y="227"/>
                  <a:pt x="2729" y="227"/>
                </a:cubicBezTo>
                <a:cubicBezTo>
                  <a:pt x="2731" y="208"/>
                  <a:pt x="2731" y="208"/>
                  <a:pt x="2731" y="208"/>
                </a:cubicBezTo>
                <a:cubicBezTo>
                  <a:pt x="2743" y="208"/>
                  <a:pt x="2743" y="208"/>
                  <a:pt x="2743" y="208"/>
                </a:cubicBezTo>
                <a:cubicBezTo>
                  <a:pt x="2740" y="227"/>
                  <a:pt x="2740" y="227"/>
                  <a:pt x="2740" y="227"/>
                </a:cubicBezTo>
                <a:cubicBezTo>
                  <a:pt x="2749" y="227"/>
                  <a:pt x="2749" y="227"/>
                  <a:pt x="2749" y="227"/>
                </a:cubicBezTo>
                <a:cubicBezTo>
                  <a:pt x="2752" y="208"/>
                  <a:pt x="2752" y="208"/>
                  <a:pt x="2752" y="208"/>
                </a:cubicBezTo>
                <a:cubicBezTo>
                  <a:pt x="2764" y="208"/>
                  <a:pt x="2764" y="208"/>
                  <a:pt x="2764" y="208"/>
                </a:cubicBezTo>
                <a:cubicBezTo>
                  <a:pt x="2760" y="227"/>
                  <a:pt x="2760" y="227"/>
                  <a:pt x="2760" y="227"/>
                </a:cubicBezTo>
                <a:cubicBezTo>
                  <a:pt x="2769" y="227"/>
                  <a:pt x="2769" y="227"/>
                  <a:pt x="2769" y="227"/>
                </a:cubicBezTo>
                <a:cubicBezTo>
                  <a:pt x="2769" y="239"/>
                  <a:pt x="2769" y="239"/>
                  <a:pt x="2769" y="239"/>
                </a:cubicBezTo>
                <a:cubicBezTo>
                  <a:pt x="2759" y="239"/>
                  <a:pt x="2759" y="239"/>
                  <a:pt x="2759" y="239"/>
                </a:cubicBezTo>
                <a:cubicBezTo>
                  <a:pt x="2757" y="249"/>
                  <a:pt x="2757" y="249"/>
                  <a:pt x="2757" y="249"/>
                </a:cubicBezTo>
                <a:cubicBezTo>
                  <a:pt x="2766" y="249"/>
                  <a:pt x="2766" y="249"/>
                  <a:pt x="2766" y="249"/>
                </a:cubicBezTo>
                <a:cubicBezTo>
                  <a:pt x="2766" y="262"/>
                  <a:pt x="2766" y="262"/>
                  <a:pt x="2766" y="262"/>
                </a:cubicBezTo>
                <a:cubicBezTo>
                  <a:pt x="2755" y="262"/>
                  <a:pt x="2755" y="262"/>
                  <a:pt x="2755" y="262"/>
                </a:cubicBezTo>
                <a:cubicBezTo>
                  <a:pt x="2753" y="281"/>
                  <a:pt x="2753" y="281"/>
                  <a:pt x="2753" y="281"/>
                </a:cubicBezTo>
                <a:cubicBezTo>
                  <a:pt x="2741" y="281"/>
                  <a:pt x="2741" y="281"/>
                  <a:pt x="2741" y="281"/>
                </a:cubicBezTo>
                <a:cubicBezTo>
                  <a:pt x="2744" y="262"/>
                  <a:pt x="2744" y="262"/>
                  <a:pt x="2744" y="262"/>
                </a:cubicBezTo>
                <a:cubicBezTo>
                  <a:pt x="2734" y="262"/>
                  <a:pt x="2734" y="262"/>
                  <a:pt x="2734" y="262"/>
                </a:cubicBezTo>
                <a:cubicBezTo>
                  <a:pt x="2732" y="281"/>
                  <a:pt x="2732" y="281"/>
                  <a:pt x="2732" y="281"/>
                </a:cubicBezTo>
                <a:cubicBezTo>
                  <a:pt x="2720" y="281"/>
                  <a:pt x="2720" y="281"/>
                  <a:pt x="2720" y="281"/>
                </a:cubicBezTo>
                <a:cubicBezTo>
                  <a:pt x="2720" y="281"/>
                  <a:pt x="2720" y="281"/>
                  <a:pt x="2720" y="281"/>
                </a:cubicBezTo>
                <a:close/>
                <a:moveTo>
                  <a:pt x="2746" y="249"/>
                </a:moveTo>
                <a:cubicBezTo>
                  <a:pt x="2747" y="239"/>
                  <a:pt x="2747" y="239"/>
                  <a:pt x="2747" y="239"/>
                </a:cubicBezTo>
                <a:cubicBezTo>
                  <a:pt x="2738" y="239"/>
                  <a:pt x="2738" y="239"/>
                  <a:pt x="2738" y="239"/>
                </a:cubicBezTo>
                <a:cubicBezTo>
                  <a:pt x="2736" y="249"/>
                  <a:pt x="2736" y="249"/>
                  <a:pt x="2736" y="249"/>
                </a:cubicBezTo>
                <a:cubicBezTo>
                  <a:pt x="2746" y="249"/>
                  <a:pt x="2746" y="249"/>
                  <a:pt x="2746" y="249"/>
                </a:cubicBezTo>
                <a:cubicBezTo>
                  <a:pt x="2746" y="249"/>
                  <a:pt x="2746" y="249"/>
                  <a:pt x="2746" y="249"/>
                </a:cubicBezTo>
                <a:close/>
                <a:moveTo>
                  <a:pt x="2264" y="207"/>
                </a:moveTo>
                <a:cubicBezTo>
                  <a:pt x="2264" y="207"/>
                  <a:pt x="2264" y="207"/>
                  <a:pt x="2264" y="207"/>
                </a:cubicBezTo>
                <a:cubicBezTo>
                  <a:pt x="2258" y="207"/>
                  <a:pt x="2258" y="207"/>
                  <a:pt x="2258" y="207"/>
                </a:cubicBezTo>
                <a:cubicBezTo>
                  <a:pt x="2256" y="209"/>
                  <a:pt x="2255" y="210"/>
                  <a:pt x="2253" y="211"/>
                </a:cubicBezTo>
                <a:cubicBezTo>
                  <a:pt x="2251" y="212"/>
                  <a:pt x="2250" y="213"/>
                  <a:pt x="2248" y="214"/>
                </a:cubicBezTo>
                <a:cubicBezTo>
                  <a:pt x="2246" y="215"/>
                  <a:pt x="2244" y="216"/>
                  <a:pt x="2242" y="217"/>
                </a:cubicBezTo>
                <a:cubicBezTo>
                  <a:pt x="2240" y="217"/>
                  <a:pt x="2239" y="218"/>
                  <a:pt x="2237" y="218"/>
                </a:cubicBezTo>
                <a:cubicBezTo>
                  <a:pt x="2237" y="218"/>
                  <a:pt x="2237" y="218"/>
                  <a:pt x="2237" y="228"/>
                </a:cubicBezTo>
                <a:cubicBezTo>
                  <a:pt x="2240" y="228"/>
                  <a:pt x="2242" y="227"/>
                  <a:pt x="2245" y="225"/>
                </a:cubicBezTo>
                <a:cubicBezTo>
                  <a:pt x="2248" y="225"/>
                  <a:pt x="2250" y="223"/>
                  <a:pt x="2252" y="222"/>
                </a:cubicBezTo>
                <a:cubicBezTo>
                  <a:pt x="2252" y="222"/>
                  <a:pt x="2252" y="222"/>
                  <a:pt x="2252" y="281"/>
                </a:cubicBezTo>
                <a:cubicBezTo>
                  <a:pt x="2252" y="281"/>
                  <a:pt x="2252" y="281"/>
                  <a:pt x="2264" y="281"/>
                </a:cubicBezTo>
                <a:cubicBezTo>
                  <a:pt x="2264" y="281"/>
                  <a:pt x="2264" y="281"/>
                  <a:pt x="2264" y="207"/>
                </a:cubicBezTo>
                <a:close/>
                <a:moveTo>
                  <a:pt x="2312" y="207"/>
                </a:moveTo>
                <a:cubicBezTo>
                  <a:pt x="2312" y="207"/>
                  <a:pt x="2312" y="207"/>
                  <a:pt x="2312" y="207"/>
                </a:cubicBezTo>
                <a:cubicBezTo>
                  <a:pt x="2306" y="207"/>
                  <a:pt x="2306" y="207"/>
                  <a:pt x="2306" y="207"/>
                </a:cubicBezTo>
                <a:cubicBezTo>
                  <a:pt x="2304" y="209"/>
                  <a:pt x="2303" y="210"/>
                  <a:pt x="2300" y="211"/>
                </a:cubicBezTo>
                <a:cubicBezTo>
                  <a:pt x="2299" y="212"/>
                  <a:pt x="2297" y="213"/>
                  <a:pt x="2295" y="214"/>
                </a:cubicBezTo>
                <a:cubicBezTo>
                  <a:pt x="2294" y="215"/>
                  <a:pt x="2292" y="216"/>
                  <a:pt x="2290" y="217"/>
                </a:cubicBezTo>
                <a:cubicBezTo>
                  <a:pt x="2288" y="217"/>
                  <a:pt x="2286" y="218"/>
                  <a:pt x="2284" y="218"/>
                </a:cubicBezTo>
                <a:cubicBezTo>
                  <a:pt x="2284" y="218"/>
                  <a:pt x="2284" y="218"/>
                  <a:pt x="2284" y="228"/>
                </a:cubicBezTo>
                <a:cubicBezTo>
                  <a:pt x="2287" y="228"/>
                  <a:pt x="2290" y="227"/>
                  <a:pt x="2292" y="225"/>
                </a:cubicBezTo>
                <a:cubicBezTo>
                  <a:pt x="2295" y="225"/>
                  <a:pt x="2297" y="223"/>
                  <a:pt x="2300" y="222"/>
                </a:cubicBezTo>
                <a:cubicBezTo>
                  <a:pt x="2300" y="222"/>
                  <a:pt x="2300" y="222"/>
                  <a:pt x="2300" y="281"/>
                </a:cubicBezTo>
                <a:cubicBezTo>
                  <a:pt x="2300" y="281"/>
                  <a:pt x="2300" y="281"/>
                  <a:pt x="2312" y="281"/>
                </a:cubicBezTo>
                <a:cubicBezTo>
                  <a:pt x="2312" y="281"/>
                  <a:pt x="2312" y="281"/>
                  <a:pt x="2312" y="207"/>
                </a:cubicBezTo>
                <a:close/>
                <a:moveTo>
                  <a:pt x="2358" y="207"/>
                </a:moveTo>
                <a:cubicBezTo>
                  <a:pt x="2358" y="207"/>
                  <a:pt x="2358" y="207"/>
                  <a:pt x="2358" y="207"/>
                </a:cubicBezTo>
                <a:cubicBezTo>
                  <a:pt x="2354" y="207"/>
                  <a:pt x="2354" y="207"/>
                  <a:pt x="2354" y="207"/>
                </a:cubicBezTo>
                <a:cubicBezTo>
                  <a:pt x="2351" y="209"/>
                  <a:pt x="2350" y="210"/>
                  <a:pt x="2348" y="211"/>
                </a:cubicBezTo>
                <a:cubicBezTo>
                  <a:pt x="2346" y="212"/>
                  <a:pt x="2344" y="213"/>
                  <a:pt x="2343" y="214"/>
                </a:cubicBezTo>
                <a:cubicBezTo>
                  <a:pt x="2340" y="215"/>
                  <a:pt x="2339" y="215"/>
                  <a:pt x="2337" y="216"/>
                </a:cubicBezTo>
                <a:cubicBezTo>
                  <a:pt x="2335" y="217"/>
                  <a:pt x="2333" y="217"/>
                  <a:pt x="2332" y="218"/>
                </a:cubicBezTo>
                <a:cubicBezTo>
                  <a:pt x="2332" y="218"/>
                  <a:pt x="2332" y="218"/>
                  <a:pt x="2332" y="228"/>
                </a:cubicBezTo>
                <a:cubicBezTo>
                  <a:pt x="2335" y="228"/>
                  <a:pt x="2338" y="226"/>
                  <a:pt x="2340" y="225"/>
                </a:cubicBezTo>
                <a:cubicBezTo>
                  <a:pt x="2342" y="225"/>
                  <a:pt x="2345" y="223"/>
                  <a:pt x="2346" y="222"/>
                </a:cubicBezTo>
                <a:cubicBezTo>
                  <a:pt x="2346" y="222"/>
                  <a:pt x="2346" y="222"/>
                  <a:pt x="2346" y="281"/>
                </a:cubicBezTo>
                <a:cubicBezTo>
                  <a:pt x="2346" y="281"/>
                  <a:pt x="2346" y="281"/>
                  <a:pt x="2358" y="281"/>
                </a:cubicBezTo>
                <a:cubicBezTo>
                  <a:pt x="2358" y="281"/>
                  <a:pt x="2358" y="281"/>
                  <a:pt x="2358" y="207"/>
                </a:cubicBezTo>
                <a:close/>
                <a:moveTo>
                  <a:pt x="2565" y="111"/>
                </a:moveTo>
                <a:cubicBezTo>
                  <a:pt x="2565" y="111"/>
                  <a:pt x="2565" y="111"/>
                  <a:pt x="2565" y="111"/>
                </a:cubicBezTo>
                <a:cubicBezTo>
                  <a:pt x="2560" y="111"/>
                  <a:pt x="2560" y="111"/>
                  <a:pt x="2560" y="111"/>
                </a:cubicBezTo>
                <a:cubicBezTo>
                  <a:pt x="2558" y="113"/>
                  <a:pt x="2556" y="114"/>
                  <a:pt x="2554" y="115"/>
                </a:cubicBezTo>
                <a:cubicBezTo>
                  <a:pt x="2553" y="116"/>
                  <a:pt x="2550" y="117"/>
                  <a:pt x="2549" y="118"/>
                </a:cubicBezTo>
                <a:cubicBezTo>
                  <a:pt x="2547" y="119"/>
                  <a:pt x="2545" y="119"/>
                  <a:pt x="2544" y="120"/>
                </a:cubicBezTo>
                <a:cubicBezTo>
                  <a:pt x="2542" y="121"/>
                  <a:pt x="2540" y="121"/>
                  <a:pt x="2538" y="122"/>
                </a:cubicBezTo>
                <a:cubicBezTo>
                  <a:pt x="2538" y="122"/>
                  <a:pt x="2538" y="122"/>
                  <a:pt x="2538" y="132"/>
                </a:cubicBezTo>
                <a:cubicBezTo>
                  <a:pt x="2541" y="132"/>
                  <a:pt x="2544" y="130"/>
                  <a:pt x="2546" y="129"/>
                </a:cubicBezTo>
                <a:cubicBezTo>
                  <a:pt x="2549" y="129"/>
                  <a:pt x="2551" y="127"/>
                  <a:pt x="2553" y="126"/>
                </a:cubicBezTo>
                <a:cubicBezTo>
                  <a:pt x="2553" y="126"/>
                  <a:pt x="2553" y="126"/>
                  <a:pt x="2553" y="185"/>
                </a:cubicBezTo>
                <a:cubicBezTo>
                  <a:pt x="2553" y="185"/>
                  <a:pt x="2553" y="185"/>
                  <a:pt x="2565" y="185"/>
                </a:cubicBezTo>
                <a:cubicBezTo>
                  <a:pt x="2565" y="185"/>
                  <a:pt x="2565" y="185"/>
                  <a:pt x="2565" y="111"/>
                </a:cubicBezTo>
                <a:close/>
                <a:moveTo>
                  <a:pt x="2612" y="111"/>
                </a:moveTo>
                <a:cubicBezTo>
                  <a:pt x="2612" y="111"/>
                  <a:pt x="2612" y="111"/>
                  <a:pt x="2612" y="111"/>
                </a:cubicBezTo>
                <a:cubicBezTo>
                  <a:pt x="2607" y="111"/>
                  <a:pt x="2607" y="111"/>
                  <a:pt x="2607" y="111"/>
                </a:cubicBezTo>
                <a:cubicBezTo>
                  <a:pt x="2604" y="113"/>
                  <a:pt x="2603" y="114"/>
                  <a:pt x="2601" y="115"/>
                </a:cubicBezTo>
                <a:cubicBezTo>
                  <a:pt x="2599" y="116"/>
                  <a:pt x="2597" y="117"/>
                  <a:pt x="2596" y="118"/>
                </a:cubicBezTo>
                <a:cubicBezTo>
                  <a:pt x="2594" y="119"/>
                  <a:pt x="2592" y="120"/>
                  <a:pt x="2591" y="121"/>
                </a:cubicBezTo>
                <a:cubicBezTo>
                  <a:pt x="2589" y="121"/>
                  <a:pt x="2587" y="122"/>
                  <a:pt x="2585" y="122"/>
                </a:cubicBezTo>
                <a:cubicBezTo>
                  <a:pt x="2585" y="122"/>
                  <a:pt x="2585" y="122"/>
                  <a:pt x="2585" y="132"/>
                </a:cubicBezTo>
                <a:cubicBezTo>
                  <a:pt x="2588" y="132"/>
                  <a:pt x="2591" y="131"/>
                  <a:pt x="2593" y="129"/>
                </a:cubicBezTo>
                <a:cubicBezTo>
                  <a:pt x="2596" y="129"/>
                  <a:pt x="2598" y="127"/>
                  <a:pt x="2600" y="126"/>
                </a:cubicBezTo>
                <a:cubicBezTo>
                  <a:pt x="2600" y="126"/>
                  <a:pt x="2600" y="126"/>
                  <a:pt x="2600" y="185"/>
                </a:cubicBezTo>
                <a:cubicBezTo>
                  <a:pt x="2600" y="185"/>
                  <a:pt x="2600" y="185"/>
                  <a:pt x="2612" y="185"/>
                </a:cubicBezTo>
                <a:cubicBezTo>
                  <a:pt x="2612" y="185"/>
                  <a:pt x="2612" y="185"/>
                  <a:pt x="2612" y="111"/>
                </a:cubicBezTo>
                <a:close/>
                <a:moveTo>
                  <a:pt x="2658" y="111"/>
                </a:moveTo>
                <a:cubicBezTo>
                  <a:pt x="2658" y="111"/>
                  <a:pt x="2658" y="111"/>
                  <a:pt x="2658" y="111"/>
                </a:cubicBezTo>
                <a:cubicBezTo>
                  <a:pt x="2653" y="111"/>
                  <a:pt x="2653" y="111"/>
                  <a:pt x="2653" y="111"/>
                </a:cubicBezTo>
                <a:cubicBezTo>
                  <a:pt x="2651" y="113"/>
                  <a:pt x="2650" y="114"/>
                  <a:pt x="2647" y="115"/>
                </a:cubicBezTo>
                <a:cubicBezTo>
                  <a:pt x="2646" y="116"/>
                  <a:pt x="2644" y="117"/>
                  <a:pt x="2642" y="118"/>
                </a:cubicBezTo>
                <a:cubicBezTo>
                  <a:pt x="2640" y="119"/>
                  <a:pt x="2639" y="120"/>
                  <a:pt x="2636" y="121"/>
                </a:cubicBezTo>
                <a:cubicBezTo>
                  <a:pt x="2635" y="121"/>
                  <a:pt x="2633" y="122"/>
                  <a:pt x="2631" y="122"/>
                </a:cubicBezTo>
                <a:cubicBezTo>
                  <a:pt x="2631" y="122"/>
                  <a:pt x="2631" y="122"/>
                  <a:pt x="2631" y="132"/>
                </a:cubicBezTo>
                <a:cubicBezTo>
                  <a:pt x="2634" y="132"/>
                  <a:pt x="2637" y="131"/>
                  <a:pt x="2639" y="129"/>
                </a:cubicBezTo>
                <a:cubicBezTo>
                  <a:pt x="2641" y="129"/>
                  <a:pt x="2644" y="127"/>
                  <a:pt x="2646" y="126"/>
                </a:cubicBezTo>
                <a:cubicBezTo>
                  <a:pt x="2646" y="126"/>
                  <a:pt x="2646" y="126"/>
                  <a:pt x="2646" y="185"/>
                </a:cubicBezTo>
                <a:cubicBezTo>
                  <a:pt x="2646" y="185"/>
                  <a:pt x="2646" y="185"/>
                  <a:pt x="2658" y="185"/>
                </a:cubicBezTo>
                <a:cubicBezTo>
                  <a:pt x="2658" y="185"/>
                  <a:pt x="2658" y="185"/>
                  <a:pt x="2658" y="111"/>
                </a:cubicBezTo>
                <a:close/>
                <a:moveTo>
                  <a:pt x="2704" y="111"/>
                </a:moveTo>
                <a:cubicBezTo>
                  <a:pt x="2704" y="111"/>
                  <a:pt x="2704" y="111"/>
                  <a:pt x="2704" y="111"/>
                </a:cubicBezTo>
                <a:cubicBezTo>
                  <a:pt x="2699" y="111"/>
                  <a:pt x="2699" y="111"/>
                  <a:pt x="2699" y="111"/>
                </a:cubicBezTo>
                <a:cubicBezTo>
                  <a:pt x="2697" y="113"/>
                  <a:pt x="2695" y="114"/>
                  <a:pt x="2693" y="115"/>
                </a:cubicBezTo>
                <a:cubicBezTo>
                  <a:pt x="2692" y="116"/>
                  <a:pt x="2690" y="117"/>
                  <a:pt x="2688" y="118"/>
                </a:cubicBezTo>
                <a:cubicBezTo>
                  <a:pt x="2687" y="119"/>
                  <a:pt x="2685" y="120"/>
                  <a:pt x="2683" y="121"/>
                </a:cubicBezTo>
                <a:cubicBezTo>
                  <a:pt x="2681" y="121"/>
                  <a:pt x="2679" y="122"/>
                  <a:pt x="2677" y="122"/>
                </a:cubicBezTo>
                <a:cubicBezTo>
                  <a:pt x="2677" y="122"/>
                  <a:pt x="2677" y="122"/>
                  <a:pt x="2677" y="132"/>
                </a:cubicBezTo>
                <a:cubicBezTo>
                  <a:pt x="2680" y="132"/>
                  <a:pt x="2683" y="131"/>
                  <a:pt x="2685" y="129"/>
                </a:cubicBezTo>
                <a:cubicBezTo>
                  <a:pt x="2688" y="129"/>
                  <a:pt x="2690" y="127"/>
                  <a:pt x="2693" y="126"/>
                </a:cubicBezTo>
                <a:cubicBezTo>
                  <a:pt x="2693" y="126"/>
                  <a:pt x="2693" y="126"/>
                  <a:pt x="2693" y="185"/>
                </a:cubicBezTo>
                <a:cubicBezTo>
                  <a:pt x="2693" y="185"/>
                  <a:pt x="2693" y="185"/>
                  <a:pt x="2704" y="185"/>
                </a:cubicBezTo>
                <a:cubicBezTo>
                  <a:pt x="2704" y="185"/>
                  <a:pt x="2704" y="185"/>
                  <a:pt x="2704" y="111"/>
                </a:cubicBezTo>
                <a:close/>
                <a:moveTo>
                  <a:pt x="2826" y="111"/>
                </a:moveTo>
                <a:cubicBezTo>
                  <a:pt x="2826" y="111"/>
                  <a:pt x="2826" y="111"/>
                  <a:pt x="2826" y="111"/>
                </a:cubicBezTo>
                <a:cubicBezTo>
                  <a:pt x="2821" y="111"/>
                  <a:pt x="2821" y="111"/>
                  <a:pt x="2821" y="111"/>
                </a:cubicBezTo>
                <a:cubicBezTo>
                  <a:pt x="2819" y="113"/>
                  <a:pt x="2817" y="114"/>
                  <a:pt x="2815" y="115"/>
                </a:cubicBezTo>
                <a:cubicBezTo>
                  <a:pt x="2814" y="116"/>
                  <a:pt x="2812" y="117"/>
                  <a:pt x="2810" y="118"/>
                </a:cubicBezTo>
                <a:cubicBezTo>
                  <a:pt x="2809" y="119"/>
                  <a:pt x="2806" y="120"/>
                  <a:pt x="2805" y="121"/>
                </a:cubicBezTo>
                <a:cubicBezTo>
                  <a:pt x="2803" y="121"/>
                  <a:pt x="2801" y="122"/>
                  <a:pt x="2799" y="122"/>
                </a:cubicBezTo>
                <a:cubicBezTo>
                  <a:pt x="2799" y="122"/>
                  <a:pt x="2799" y="122"/>
                  <a:pt x="2799" y="132"/>
                </a:cubicBezTo>
                <a:cubicBezTo>
                  <a:pt x="2802" y="132"/>
                  <a:pt x="2805" y="131"/>
                  <a:pt x="2808" y="129"/>
                </a:cubicBezTo>
                <a:cubicBezTo>
                  <a:pt x="2810" y="129"/>
                  <a:pt x="2812" y="127"/>
                  <a:pt x="2814" y="126"/>
                </a:cubicBezTo>
                <a:cubicBezTo>
                  <a:pt x="2814" y="126"/>
                  <a:pt x="2814" y="126"/>
                  <a:pt x="2814" y="185"/>
                </a:cubicBezTo>
                <a:cubicBezTo>
                  <a:pt x="2814" y="185"/>
                  <a:pt x="2814" y="185"/>
                  <a:pt x="2826" y="185"/>
                </a:cubicBezTo>
                <a:cubicBezTo>
                  <a:pt x="2826" y="185"/>
                  <a:pt x="2826" y="185"/>
                  <a:pt x="2826" y="111"/>
                </a:cubicBezTo>
                <a:close/>
                <a:moveTo>
                  <a:pt x="2873" y="111"/>
                </a:moveTo>
                <a:cubicBezTo>
                  <a:pt x="2873" y="111"/>
                  <a:pt x="2873" y="111"/>
                  <a:pt x="2873" y="111"/>
                </a:cubicBezTo>
                <a:cubicBezTo>
                  <a:pt x="2868" y="111"/>
                  <a:pt x="2868" y="111"/>
                  <a:pt x="2868" y="111"/>
                </a:cubicBezTo>
                <a:cubicBezTo>
                  <a:pt x="2866" y="113"/>
                  <a:pt x="2864" y="114"/>
                  <a:pt x="2862" y="115"/>
                </a:cubicBezTo>
                <a:cubicBezTo>
                  <a:pt x="2861" y="116"/>
                  <a:pt x="2858" y="117"/>
                  <a:pt x="2857" y="118"/>
                </a:cubicBezTo>
                <a:cubicBezTo>
                  <a:pt x="2855" y="119"/>
                  <a:pt x="2853" y="120"/>
                  <a:pt x="2852" y="121"/>
                </a:cubicBezTo>
                <a:cubicBezTo>
                  <a:pt x="2849" y="121"/>
                  <a:pt x="2848" y="122"/>
                  <a:pt x="2846" y="122"/>
                </a:cubicBezTo>
                <a:cubicBezTo>
                  <a:pt x="2846" y="122"/>
                  <a:pt x="2846" y="122"/>
                  <a:pt x="2846" y="132"/>
                </a:cubicBezTo>
                <a:cubicBezTo>
                  <a:pt x="2849" y="132"/>
                  <a:pt x="2852" y="131"/>
                  <a:pt x="2854" y="129"/>
                </a:cubicBezTo>
                <a:cubicBezTo>
                  <a:pt x="2857" y="129"/>
                  <a:pt x="2859" y="127"/>
                  <a:pt x="2861" y="126"/>
                </a:cubicBezTo>
                <a:cubicBezTo>
                  <a:pt x="2861" y="126"/>
                  <a:pt x="2861" y="126"/>
                  <a:pt x="2861" y="185"/>
                </a:cubicBezTo>
                <a:cubicBezTo>
                  <a:pt x="2861" y="185"/>
                  <a:pt x="2861" y="185"/>
                  <a:pt x="2873" y="185"/>
                </a:cubicBezTo>
                <a:cubicBezTo>
                  <a:pt x="2873" y="185"/>
                  <a:pt x="2873" y="185"/>
                  <a:pt x="2873" y="111"/>
                </a:cubicBezTo>
                <a:close/>
                <a:moveTo>
                  <a:pt x="2725" y="144"/>
                </a:moveTo>
                <a:cubicBezTo>
                  <a:pt x="2725" y="144"/>
                  <a:pt x="2725" y="144"/>
                  <a:pt x="2725" y="144"/>
                </a:cubicBezTo>
                <a:cubicBezTo>
                  <a:pt x="2724" y="152"/>
                  <a:pt x="2724" y="152"/>
                  <a:pt x="2724" y="152"/>
                </a:cubicBezTo>
                <a:cubicBezTo>
                  <a:pt x="2731" y="152"/>
                  <a:pt x="2731" y="155"/>
                  <a:pt x="2731" y="158"/>
                </a:cubicBezTo>
                <a:cubicBezTo>
                  <a:pt x="2731" y="160"/>
                  <a:pt x="2731" y="162"/>
                  <a:pt x="2731" y="165"/>
                </a:cubicBezTo>
                <a:cubicBezTo>
                  <a:pt x="2731" y="167"/>
                  <a:pt x="2730" y="170"/>
                  <a:pt x="2730" y="172"/>
                </a:cubicBezTo>
                <a:cubicBezTo>
                  <a:pt x="2730" y="181"/>
                  <a:pt x="2736" y="185"/>
                  <a:pt x="2745" y="185"/>
                </a:cubicBezTo>
                <a:cubicBezTo>
                  <a:pt x="2745" y="185"/>
                  <a:pt x="2745" y="185"/>
                  <a:pt x="2748" y="185"/>
                </a:cubicBezTo>
                <a:cubicBezTo>
                  <a:pt x="2748" y="185"/>
                  <a:pt x="2748" y="185"/>
                  <a:pt x="2748" y="176"/>
                </a:cubicBezTo>
                <a:cubicBezTo>
                  <a:pt x="2748" y="176"/>
                  <a:pt x="2748" y="176"/>
                  <a:pt x="2747" y="176"/>
                </a:cubicBezTo>
                <a:cubicBezTo>
                  <a:pt x="2743" y="176"/>
                  <a:pt x="2742" y="173"/>
                  <a:pt x="2742" y="170"/>
                </a:cubicBezTo>
                <a:cubicBezTo>
                  <a:pt x="2742" y="168"/>
                  <a:pt x="2742" y="167"/>
                  <a:pt x="2742" y="165"/>
                </a:cubicBezTo>
                <a:cubicBezTo>
                  <a:pt x="2742" y="163"/>
                  <a:pt x="2743" y="161"/>
                  <a:pt x="2743" y="159"/>
                </a:cubicBezTo>
                <a:cubicBezTo>
                  <a:pt x="2743" y="151"/>
                  <a:pt x="2740" y="149"/>
                  <a:pt x="2734" y="148"/>
                </a:cubicBezTo>
                <a:cubicBezTo>
                  <a:pt x="2734" y="148"/>
                  <a:pt x="2734" y="148"/>
                  <a:pt x="2734" y="147"/>
                </a:cubicBezTo>
                <a:cubicBezTo>
                  <a:pt x="2740" y="146"/>
                  <a:pt x="2743" y="144"/>
                  <a:pt x="2743" y="136"/>
                </a:cubicBezTo>
                <a:cubicBezTo>
                  <a:pt x="2743" y="134"/>
                  <a:pt x="2742" y="132"/>
                  <a:pt x="2742" y="130"/>
                </a:cubicBezTo>
                <a:cubicBezTo>
                  <a:pt x="2742" y="129"/>
                  <a:pt x="2742" y="127"/>
                  <a:pt x="2742" y="126"/>
                </a:cubicBezTo>
                <a:cubicBezTo>
                  <a:pt x="2742" y="122"/>
                  <a:pt x="2743" y="120"/>
                  <a:pt x="2747" y="120"/>
                </a:cubicBezTo>
                <a:cubicBezTo>
                  <a:pt x="2747" y="120"/>
                  <a:pt x="2747" y="120"/>
                  <a:pt x="2748" y="120"/>
                </a:cubicBezTo>
                <a:cubicBezTo>
                  <a:pt x="2748" y="120"/>
                  <a:pt x="2748" y="120"/>
                  <a:pt x="2748" y="110"/>
                </a:cubicBezTo>
                <a:cubicBezTo>
                  <a:pt x="2748" y="110"/>
                  <a:pt x="2748" y="110"/>
                  <a:pt x="2745" y="110"/>
                </a:cubicBezTo>
                <a:cubicBezTo>
                  <a:pt x="2736" y="110"/>
                  <a:pt x="2730" y="114"/>
                  <a:pt x="2730" y="123"/>
                </a:cubicBezTo>
                <a:cubicBezTo>
                  <a:pt x="2730" y="125"/>
                  <a:pt x="2731" y="128"/>
                  <a:pt x="2731" y="130"/>
                </a:cubicBezTo>
                <a:cubicBezTo>
                  <a:pt x="2731" y="133"/>
                  <a:pt x="2731" y="135"/>
                  <a:pt x="2731" y="137"/>
                </a:cubicBezTo>
                <a:cubicBezTo>
                  <a:pt x="2731" y="140"/>
                  <a:pt x="2731" y="143"/>
                  <a:pt x="2725" y="144"/>
                </a:cubicBezTo>
                <a:close/>
                <a:moveTo>
                  <a:pt x="2779" y="152"/>
                </a:moveTo>
                <a:cubicBezTo>
                  <a:pt x="2779" y="152"/>
                  <a:pt x="2779" y="152"/>
                  <a:pt x="2779" y="152"/>
                </a:cubicBezTo>
                <a:cubicBezTo>
                  <a:pt x="2779" y="144"/>
                  <a:pt x="2779" y="144"/>
                  <a:pt x="2779" y="144"/>
                </a:cubicBezTo>
                <a:cubicBezTo>
                  <a:pt x="2773" y="143"/>
                  <a:pt x="2772" y="140"/>
                  <a:pt x="2772" y="137"/>
                </a:cubicBezTo>
                <a:cubicBezTo>
                  <a:pt x="2772" y="135"/>
                  <a:pt x="2772" y="133"/>
                  <a:pt x="2773" y="130"/>
                </a:cubicBezTo>
                <a:cubicBezTo>
                  <a:pt x="2773" y="128"/>
                  <a:pt x="2773" y="125"/>
                  <a:pt x="2773" y="123"/>
                </a:cubicBezTo>
                <a:cubicBezTo>
                  <a:pt x="2773" y="114"/>
                  <a:pt x="2768" y="110"/>
                  <a:pt x="2759" y="110"/>
                </a:cubicBezTo>
                <a:cubicBezTo>
                  <a:pt x="2759" y="110"/>
                  <a:pt x="2759" y="110"/>
                  <a:pt x="2755" y="110"/>
                </a:cubicBezTo>
                <a:cubicBezTo>
                  <a:pt x="2755" y="110"/>
                  <a:pt x="2755" y="110"/>
                  <a:pt x="2755" y="120"/>
                </a:cubicBezTo>
                <a:cubicBezTo>
                  <a:pt x="2755" y="120"/>
                  <a:pt x="2755" y="120"/>
                  <a:pt x="2757" y="120"/>
                </a:cubicBezTo>
                <a:cubicBezTo>
                  <a:pt x="2760" y="120"/>
                  <a:pt x="2762" y="122"/>
                  <a:pt x="2762" y="126"/>
                </a:cubicBezTo>
                <a:cubicBezTo>
                  <a:pt x="2762" y="127"/>
                  <a:pt x="2761" y="129"/>
                  <a:pt x="2761" y="130"/>
                </a:cubicBezTo>
                <a:cubicBezTo>
                  <a:pt x="2761" y="132"/>
                  <a:pt x="2761" y="134"/>
                  <a:pt x="2761" y="136"/>
                </a:cubicBezTo>
                <a:cubicBezTo>
                  <a:pt x="2761" y="144"/>
                  <a:pt x="2764" y="146"/>
                  <a:pt x="2769" y="147"/>
                </a:cubicBezTo>
                <a:cubicBezTo>
                  <a:pt x="2769" y="147"/>
                  <a:pt x="2769" y="147"/>
                  <a:pt x="2769" y="148"/>
                </a:cubicBezTo>
                <a:cubicBezTo>
                  <a:pt x="2764" y="149"/>
                  <a:pt x="2761" y="151"/>
                  <a:pt x="2761" y="159"/>
                </a:cubicBezTo>
                <a:cubicBezTo>
                  <a:pt x="2761" y="161"/>
                  <a:pt x="2761" y="163"/>
                  <a:pt x="2761" y="165"/>
                </a:cubicBezTo>
                <a:cubicBezTo>
                  <a:pt x="2761" y="167"/>
                  <a:pt x="2762" y="168"/>
                  <a:pt x="2762" y="170"/>
                </a:cubicBezTo>
                <a:cubicBezTo>
                  <a:pt x="2762" y="173"/>
                  <a:pt x="2761" y="176"/>
                  <a:pt x="2757" y="176"/>
                </a:cubicBezTo>
                <a:cubicBezTo>
                  <a:pt x="2757" y="176"/>
                  <a:pt x="2757" y="176"/>
                  <a:pt x="2755" y="176"/>
                </a:cubicBezTo>
                <a:cubicBezTo>
                  <a:pt x="2755" y="176"/>
                  <a:pt x="2755" y="176"/>
                  <a:pt x="2755" y="185"/>
                </a:cubicBezTo>
                <a:cubicBezTo>
                  <a:pt x="2755" y="185"/>
                  <a:pt x="2755" y="185"/>
                  <a:pt x="2759" y="185"/>
                </a:cubicBezTo>
                <a:cubicBezTo>
                  <a:pt x="2768" y="185"/>
                  <a:pt x="2773" y="181"/>
                  <a:pt x="2773" y="172"/>
                </a:cubicBezTo>
                <a:cubicBezTo>
                  <a:pt x="2773" y="170"/>
                  <a:pt x="2773" y="167"/>
                  <a:pt x="2773" y="165"/>
                </a:cubicBezTo>
                <a:cubicBezTo>
                  <a:pt x="2772" y="162"/>
                  <a:pt x="2772" y="160"/>
                  <a:pt x="2772" y="158"/>
                </a:cubicBezTo>
                <a:cubicBezTo>
                  <a:pt x="2772" y="155"/>
                  <a:pt x="2773" y="152"/>
                  <a:pt x="2779" y="152"/>
                </a:cubicBezTo>
                <a:close/>
                <a:moveTo>
                  <a:pt x="2165" y="185"/>
                </a:moveTo>
                <a:cubicBezTo>
                  <a:pt x="2158" y="185"/>
                  <a:pt x="2151" y="182"/>
                  <a:pt x="2147" y="176"/>
                </a:cubicBezTo>
                <a:cubicBezTo>
                  <a:pt x="2143" y="169"/>
                  <a:pt x="2141" y="161"/>
                  <a:pt x="2141" y="148"/>
                </a:cubicBezTo>
                <a:cubicBezTo>
                  <a:pt x="2141" y="135"/>
                  <a:pt x="2143" y="126"/>
                  <a:pt x="2148" y="119"/>
                </a:cubicBezTo>
                <a:cubicBezTo>
                  <a:pt x="2152" y="112"/>
                  <a:pt x="2159" y="109"/>
                  <a:pt x="2167" y="109"/>
                </a:cubicBezTo>
                <a:cubicBezTo>
                  <a:pt x="2183" y="109"/>
                  <a:pt x="2192" y="121"/>
                  <a:pt x="2192" y="147"/>
                </a:cubicBezTo>
                <a:cubicBezTo>
                  <a:pt x="2192" y="159"/>
                  <a:pt x="2189" y="169"/>
                  <a:pt x="2184" y="175"/>
                </a:cubicBezTo>
                <a:cubicBezTo>
                  <a:pt x="2180" y="182"/>
                  <a:pt x="2173" y="185"/>
                  <a:pt x="2165" y="185"/>
                </a:cubicBezTo>
                <a:close/>
                <a:moveTo>
                  <a:pt x="2167" y="118"/>
                </a:moveTo>
                <a:cubicBezTo>
                  <a:pt x="2157" y="118"/>
                  <a:pt x="2153" y="129"/>
                  <a:pt x="2153" y="148"/>
                </a:cubicBezTo>
                <a:cubicBezTo>
                  <a:pt x="2153" y="166"/>
                  <a:pt x="2157" y="175"/>
                  <a:pt x="2166" y="175"/>
                </a:cubicBezTo>
                <a:cubicBezTo>
                  <a:pt x="2175" y="175"/>
                  <a:pt x="2179" y="166"/>
                  <a:pt x="2179" y="147"/>
                </a:cubicBezTo>
                <a:cubicBezTo>
                  <a:pt x="2179" y="128"/>
                  <a:pt x="2175" y="118"/>
                  <a:pt x="2167" y="118"/>
                </a:cubicBezTo>
                <a:close/>
                <a:moveTo>
                  <a:pt x="2235" y="185"/>
                </a:moveTo>
                <a:cubicBezTo>
                  <a:pt x="2228" y="185"/>
                  <a:pt x="2221" y="182"/>
                  <a:pt x="2218" y="176"/>
                </a:cubicBezTo>
                <a:cubicBezTo>
                  <a:pt x="2213" y="169"/>
                  <a:pt x="2211" y="161"/>
                  <a:pt x="2211" y="148"/>
                </a:cubicBezTo>
                <a:cubicBezTo>
                  <a:pt x="2211" y="135"/>
                  <a:pt x="2213" y="126"/>
                  <a:pt x="2218" y="119"/>
                </a:cubicBezTo>
                <a:cubicBezTo>
                  <a:pt x="2222" y="112"/>
                  <a:pt x="2229" y="109"/>
                  <a:pt x="2238" y="109"/>
                </a:cubicBezTo>
                <a:cubicBezTo>
                  <a:pt x="2254" y="109"/>
                  <a:pt x="2262" y="121"/>
                  <a:pt x="2262" y="147"/>
                </a:cubicBezTo>
                <a:cubicBezTo>
                  <a:pt x="2262" y="159"/>
                  <a:pt x="2259" y="169"/>
                  <a:pt x="2255" y="175"/>
                </a:cubicBezTo>
                <a:cubicBezTo>
                  <a:pt x="2250" y="182"/>
                  <a:pt x="2244" y="185"/>
                  <a:pt x="2235" y="185"/>
                </a:cubicBezTo>
                <a:close/>
                <a:moveTo>
                  <a:pt x="2237" y="118"/>
                </a:moveTo>
                <a:cubicBezTo>
                  <a:pt x="2228" y="118"/>
                  <a:pt x="2223" y="129"/>
                  <a:pt x="2223" y="148"/>
                </a:cubicBezTo>
                <a:cubicBezTo>
                  <a:pt x="2223" y="166"/>
                  <a:pt x="2227" y="175"/>
                  <a:pt x="2236" y="175"/>
                </a:cubicBezTo>
                <a:cubicBezTo>
                  <a:pt x="2245" y="175"/>
                  <a:pt x="2249" y="166"/>
                  <a:pt x="2249" y="147"/>
                </a:cubicBezTo>
                <a:cubicBezTo>
                  <a:pt x="2249" y="128"/>
                  <a:pt x="2245" y="118"/>
                  <a:pt x="2237" y="118"/>
                </a:cubicBezTo>
                <a:close/>
                <a:moveTo>
                  <a:pt x="2446" y="185"/>
                </a:moveTo>
                <a:cubicBezTo>
                  <a:pt x="2438" y="185"/>
                  <a:pt x="2432" y="182"/>
                  <a:pt x="2428" y="175"/>
                </a:cubicBezTo>
                <a:cubicBezTo>
                  <a:pt x="2424" y="169"/>
                  <a:pt x="2421" y="160"/>
                  <a:pt x="2421" y="148"/>
                </a:cubicBezTo>
                <a:cubicBezTo>
                  <a:pt x="2421" y="135"/>
                  <a:pt x="2424" y="126"/>
                  <a:pt x="2428" y="118"/>
                </a:cubicBezTo>
                <a:cubicBezTo>
                  <a:pt x="2432" y="112"/>
                  <a:pt x="2439" y="109"/>
                  <a:pt x="2448" y="109"/>
                </a:cubicBezTo>
                <a:cubicBezTo>
                  <a:pt x="2464" y="109"/>
                  <a:pt x="2472" y="121"/>
                  <a:pt x="2472" y="146"/>
                </a:cubicBezTo>
                <a:cubicBezTo>
                  <a:pt x="2472" y="159"/>
                  <a:pt x="2470" y="169"/>
                  <a:pt x="2465" y="175"/>
                </a:cubicBezTo>
                <a:cubicBezTo>
                  <a:pt x="2460" y="182"/>
                  <a:pt x="2454" y="185"/>
                  <a:pt x="2446" y="185"/>
                </a:cubicBezTo>
                <a:close/>
                <a:moveTo>
                  <a:pt x="2447" y="118"/>
                </a:moveTo>
                <a:cubicBezTo>
                  <a:pt x="2438" y="118"/>
                  <a:pt x="2434" y="128"/>
                  <a:pt x="2434" y="147"/>
                </a:cubicBezTo>
                <a:cubicBezTo>
                  <a:pt x="2434" y="166"/>
                  <a:pt x="2438" y="175"/>
                  <a:pt x="2447" y="175"/>
                </a:cubicBezTo>
                <a:cubicBezTo>
                  <a:pt x="2455" y="175"/>
                  <a:pt x="2459" y="166"/>
                  <a:pt x="2459" y="147"/>
                </a:cubicBezTo>
                <a:cubicBezTo>
                  <a:pt x="2459" y="128"/>
                  <a:pt x="2456" y="118"/>
                  <a:pt x="2447" y="118"/>
                </a:cubicBezTo>
                <a:close/>
                <a:moveTo>
                  <a:pt x="2518" y="111"/>
                </a:moveTo>
                <a:cubicBezTo>
                  <a:pt x="2518" y="111"/>
                  <a:pt x="2518" y="111"/>
                  <a:pt x="2518" y="111"/>
                </a:cubicBezTo>
                <a:cubicBezTo>
                  <a:pt x="2513" y="111"/>
                  <a:pt x="2513" y="111"/>
                  <a:pt x="2513" y="111"/>
                </a:cubicBezTo>
                <a:cubicBezTo>
                  <a:pt x="2511" y="113"/>
                  <a:pt x="2510" y="114"/>
                  <a:pt x="2508" y="115"/>
                </a:cubicBezTo>
                <a:cubicBezTo>
                  <a:pt x="2506" y="116"/>
                  <a:pt x="2504" y="117"/>
                  <a:pt x="2502" y="118"/>
                </a:cubicBezTo>
                <a:cubicBezTo>
                  <a:pt x="2501" y="119"/>
                  <a:pt x="2499" y="119"/>
                  <a:pt x="2497" y="120"/>
                </a:cubicBezTo>
                <a:cubicBezTo>
                  <a:pt x="2495" y="121"/>
                  <a:pt x="2494" y="121"/>
                  <a:pt x="2492" y="122"/>
                </a:cubicBezTo>
                <a:cubicBezTo>
                  <a:pt x="2492" y="122"/>
                  <a:pt x="2492" y="122"/>
                  <a:pt x="2492" y="132"/>
                </a:cubicBezTo>
                <a:cubicBezTo>
                  <a:pt x="2494" y="132"/>
                  <a:pt x="2497" y="130"/>
                  <a:pt x="2500" y="129"/>
                </a:cubicBezTo>
                <a:cubicBezTo>
                  <a:pt x="2502" y="129"/>
                  <a:pt x="2505" y="127"/>
                  <a:pt x="2507" y="126"/>
                </a:cubicBezTo>
                <a:cubicBezTo>
                  <a:pt x="2507" y="126"/>
                  <a:pt x="2507" y="126"/>
                  <a:pt x="2507" y="185"/>
                </a:cubicBezTo>
                <a:cubicBezTo>
                  <a:pt x="2507" y="185"/>
                  <a:pt x="2507" y="185"/>
                  <a:pt x="2518" y="185"/>
                </a:cubicBezTo>
                <a:cubicBezTo>
                  <a:pt x="2518" y="185"/>
                  <a:pt x="2518" y="185"/>
                  <a:pt x="2518" y="111"/>
                </a:cubicBezTo>
                <a:close/>
                <a:moveTo>
                  <a:pt x="2309" y="111"/>
                </a:moveTo>
                <a:cubicBezTo>
                  <a:pt x="2309" y="111"/>
                  <a:pt x="2309" y="111"/>
                  <a:pt x="2309" y="111"/>
                </a:cubicBezTo>
                <a:cubicBezTo>
                  <a:pt x="2304" y="111"/>
                  <a:pt x="2304" y="111"/>
                  <a:pt x="2304" y="111"/>
                </a:cubicBezTo>
                <a:cubicBezTo>
                  <a:pt x="2301" y="113"/>
                  <a:pt x="2300" y="114"/>
                  <a:pt x="2298" y="115"/>
                </a:cubicBezTo>
                <a:cubicBezTo>
                  <a:pt x="2296" y="116"/>
                  <a:pt x="2295" y="117"/>
                  <a:pt x="2293" y="118"/>
                </a:cubicBezTo>
                <a:cubicBezTo>
                  <a:pt x="2291" y="119"/>
                  <a:pt x="2289" y="120"/>
                  <a:pt x="2288" y="121"/>
                </a:cubicBezTo>
                <a:cubicBezTo>
                  <a:pt x="2285" y="121"/>
                  <a:pt x="2284" y="122"/>
                  <a:pt x="2282" y="122"/>
                </a:cubicBezTo>
                <a:cubicBezTo>
                  <a:pt x="2282" y="122"/>
                  <a:pt x="2282" y="122"/>
                  <a:pt x="2282" y="132"/>
                </a:cubicBezTo>
                <a:cubicBezTo>
                  <a:pt x="2285" y="132"/>
                  <a:pt x="2288" y="131"/>
                  <a:pt x="2290" y="129"/>
                </a:cubicBezTo>
                <a:cubicBezTo>
                  <a:pt x="2293" y="129"/>
                  <a:pt x="2295" y="127"/>
                  <a:pt x="2297" y="126"/>
                </a:cubicBezTo>
                <a:cubicBezTo>
                  <a:pt x="2297" y="126"/>
                  <a:pt x="2297" y="126"/>
                  <a:pt x="2297" y="185"/>
                </a:cubicBezTo>
                <a:cubicBezTo>
                  <a:pt x="2297" y="185"/>
                  <a:pt x="2297" y="185"/>
                  <a:pt x="2309" y="185"/>
                </a:cubicBezTo>
                <a:cubicBezTo>
                  <a:pt x="2309" y="185"/>
                  <a:pt x="2309" y="185"/>
                  <a:pt x="2309" y="111"/>
                </a:cubicBezTo>
                <a:close/>
                <a:moveTo>
                  <a:pt x="2356" y="111"/>
                </a:moveTo>
                <a:cubicBezTo>
                  <a:pt x="2356" y="111"/>
                  <a:pt x="2356" y="111"/>
                  <a:pt x="2356" y="111"/>
                </a:cubicBezTo>
                <a:cubicBezTo>
                  <a:pt x="2351" y="111"/>
                  <a:pt x="2351" y="111"/>
                  <a:pt x="2351" y="111"/>
                </a:cubicBezTo>
                <a:cubicBezTo>
                  <a:pt x="2348" y="113"/>
                  <a:pt x="2347" y="114"/>
                  <a:pt x="2345" y="115"/>
                </a:cubicBezTo>
                <a:cubicBezTo>
                  <a:pt x="2343" y="116"/>
                  <a:pt x="2341" y="117"/>
                  <a:pt x="2339" y="118"/>
                </a:cubicBezTo>
                <a:cubicBezTo>
                  <a:pt x="2338" y="119"/>
                  <a:pt x="2336" y="120"/>
                  <a:pt x="2334" y="121"/>
                </a:cubicBezTo>
                <a:cubicBezTo>
                  <a:pt x="2332" y="121"/>
                  <a:pt x="2331" y="122"/>
                  <a:pt x="2328" y="122"/>
                </a:cubicBezTo>
                <a:cubicBezTo>
                  <a:pt x="2328" y="122"/>
                  <a:pt x="2328" y="122"/>
                  <a:pt x="2328" y="132"/>
                </a:cubicBezTo>
                <a:cubicBezTo>
                  <a:pt x="2331" y="132"/>
                  <a:pt x="2334" y="131"/>
                  <a:pt x="2336" y="129"/>
                </a:cubicBezTo>
                <a:cubicBezTo>
                  <a:pt x="2339" y="129"/>
                  <a:pt x="2342" y="127"/>
                  <a:pt x="2344" y="126"/>
                </a:cubicBezTo>
                <a:cubicBezTo>
                  <a:pt x="2344" y="126"/>
                  <a:pt x="2344" y="126"/>
                  <a:pt x="2344" y="185"/>
                </a:cubicBezTo>
                <a:cubicBezTo>
                  <a:pt x="2344" y="185"/>
                  <a:pt x="2344" y="185"/>
                  <a:pt x="2356" y="185"/>
                </a:cubicBezTo>
                <a:cubicBezTo>
                  <a:pt x="2356" y="185"/>
                  <a:pt x="2356" y="185"/>
                  <a:pt x="2356" y="111"/>
                </a:cubicBezTo>
                <a:close/>
                <a:moveTo>
                  <a:pt x="2401" y="111"/>
                </a:moveTo>
                <a:cubicBezTo>
                  <a:pt x="2401" y="111"/>
                  <a:pt x="2401" y="111"/>
                  <a:pt x="2401" y="111"/>
                </a:cubicBezTo>
                <a:cubicBezTo>
                  <a:pt x="2397" y="111"/>
                  <a:pt x="2397" y="111"/>
                  <a:pt x="2397" y="111"/>
                </a:cubicBezTo>
                <a:cubicBezTo>
                  <a:pt x="2395" y="113"/>
                  <a:pt x="2393" y="114"/>
                  <a:pt x="2391" y="115"/>
                </a:cubicBezTo>
                <a:cubicBezTo>
                  <a:pt x="2390" y="116"/>
                  <a:pt x="2388" y="117"/>
                  <a:pt x="2386" y="118"/>
                </a:cubicBezTo>
                <a:cubicBezTo>
                  <a:pt x="2384" y="119"/>
                  <a:pt x="2383" y="119"/>
                  <a:pt x="2380" y="120"/>
                </a:cubicBezTo>
                <a:cubicBezTo>
                  <a:pt x="2379" y="121"/>
                  <a:pt x="2377" y="121"/>
                  <a:pt x="2375" y="122"/>
                </a:cubicBezTo>
                <a:cubicBezTo>
                  <a:pt x="2375" y="122"/>
                  <a:pt x="2375" y="122"/>
                  <a:pt x="2375" y="132"/>
                </a:cubicBezTo>
                <a:cubicBezTo>
                  <a:pt x="2378" y="132"/>
                  <a:pt x="2381" y="130"/>
                  <a:pt x="2383" y="129"/>
                </a:cubicBezTo>
                <a:cubicBezTo>
                  <a:pt x="2385" y="129"/>
                  <a:pt x="2388" y="127"/>
                  <a:pt x="2390" y="126"/>
                </a:cubicBezTo>
                <a:cubicBezTo>
                  <a:pt x="2390" y="126"/>
                  <a:pt x="2390" y="126"/>
                  <a:pt x="2390" y="185"/>
                </a:cubicBezTo>
                <a:cubicBezTo>
                  <a:pt x="2390" y="185"/>
                  <a:pt x="2390" y="185"/>
                  <a:pt x="2401" y="185"/>
                </a:cubicBezTo>
                <a:cubicBezTo>
                  <a:pt x="2401" y="185"/>
                  <a:pt x="2401" y="185"/>
                  <a:pt x="2401" y="111"/>
                </a:cubicBezTo>
                <a:close/>
                <a:moveTo>
                  <a:pt x="1967" y="185"/>
                </a:moveTo>
                <a:cubicBezTo>
                  <a:pt x="1960" y="185"/>
                  <a:pt x="1953" y="182"/>
                  <a:pt x="1949" y="176"/>
                </a:cubicBezTo>
                <a:cubicBezTo>
                  <a:pt x="1945" y="169"/>
                  <a:pt x="1943" y="161"/>
                  <a:pt x="1943" y="148"/>
                </a:cubicBezTo>
                <a:cubicBezTo>
                  <a:pt x="1943" y="135"/>
                  <a:pt x="1945" y="126"/>
                  <a:pt x="1949" y="119"/>
                </a:cubicBezTo>
                <a:cubicBezTo>
                  <a:pt x="1954" y="112"/>
                  <a:pt x="1960" y="109"/>
                  <a:pt x="1969" y="109"/>
                </a:cubicBezTo>
                <a:cubicBezTo>
                  <a:pt x="1985" y="109"/>
                  <a:pt x="1993" y="121"/>
                  <a:pt x="1993" y="147"/>
                </a:cubicBezTo>
                <a:cubicBezTo>
                  <a:pt x="1993" y="159"/>
                  <a:pt x="1991" y="169"/>
                  <a:pt x="1987" y="175"/>
                </a:cubicBezTo>
                <a:cubicBezTo>
                  <a:pt x="1982" y="182"/>
                  <a:pt x="1976" y="185"/>
                  <a:pt x="1967" y="185"/>
                </a:cubicBezTo>
                <a:close/>
                <a:moveTo>
                  <a:pt x="1968" y="118"/>
                </a:moveTo>
                <a:cubicBezTo>
                  <a:pt x="1960" y="118"/>
                  <a:pt x="1955" y="129"/>
                  <a:pt x="1955" y="148"/>
                </a:cubicBezTo>
                <a:cubicBezTo>
                  <a:pt x="1955" y="166"/>
                  <a:pt x="1959" y="175"/>
                  <a:pt x="1968" y="175"/>
                </a:cubicBezTo>
                <a:cubicBezTo>
                  <a:pt x="1976" y="175"/>
                  <a:pt x="1981" y="166"/>
                  <a:pt x="1981" y="147"/>
                </a:cubicBezTo>
                <a:cubicBezTo>
                  <a:pt x="1981" y="128"/>
                  <a:pt x="1976" y="118"/>
                  <a:pt x="1968" y="118"/>
                </a:cubicBezTo>
                <a:close/>
                <a:moveTo>
                  <a:pt x="2028" y="111"/>
                </a:moveTo>
                <a:cubicBezTo>
                  <a:pt x="2028" y="111"/>
                  <a:pt x="2028" y="111"/>
                  <a:pt x="2028" y="111"/>
                </a:cubicBezTo>
                <a:cubicBezTo>
                  <a:pt x="2023" y="111"/>
                  <a:pt x="2023" y="111"/>
                  <a:pt x="2023" y="111"/>
                </a:cubicBezTo>
                <a:cubicBezTo>
                  <a:pt x="2021" y="113"/>
                  <a:pt x="2020" y="114"/>
                  <a:pt x="2017" y="115"/>
                </a:cubicBezTo>
                <a:cubicBezTo>
                  <a:pt x="2016" y="116"/>
                  <a:pt x="2015" y="117"/>
                  <a:pt x="2012" y="118"/>
                </a:cubicBezTo>
                <a:cubicBezTo>
                  <a:pt x="2011" y="119"/>
                  <a:pt x="2009" y="120"/>
                  <a:pt x="2007" y="121"/>
                </a:cubicBezTo>
                <a:cubicBezTo>
                  <a:pt x="2005" y="121"/>
                  <a:pt x="2004" y="122"/>
                  <a:pt x="2001" y="122"/>
                </a:cubicBezTo>
                <a:cubicBezTo>
                  <a:pt x="2001" y="122"/>
                  <a:pt x="2001" y="122"/>
                  <a:pt x="2001" y="132"/>
                </a:cubicBezTo>
                <a:cubicBezTo>
                  <a:pt x="2004" y="132"/>
                  <a:pt x="2007" y="131"/>
                  <a:pt x="2010" y="129"/>
                </a:cubicBezTo>
                <a:cubicBezTo>
                  <a:pt x="2012" y="129"/>
                  <a:pt x="2015" y="127"/>
                  <a:pt x="2017" y="126"/>
                </a:cubicBezTo>
                <a:cubicBezTo>
                  <a:pt x="2017" y="126"/>
                  <a:pt x="2017" y="126"/>
                  <a:pt x="2017" y="185"/>
                </a:cubicBezTo>
                <a:cubicBezTo>
                  <a:pt x="2017" y="185"/>
                  <a:pt x="2017" y="185"/>
                  <a:pt x="2028" y="185"/>
                </a:cubicBezTo>
                <a:cubicBezTo>
                  <a:pt x="2028" y="185"/>
                  <a:pt x="2028" y="185"/>
                  <a:pt x="2028" y="111"/>
                </a:cubicBezTo>
                <a:close/>
                <a:moveTo>
                  <a:pt x="2075" y="111"/>
                </a:moveTo>
                <a:cubicBezTo>
                  <a:pt x="2075" y="111"/>
                  <a:pt x="2075" y="111"/>
                  <a:pt x="2075" y="111"/>
                </a:cubicBezTo>
                <a:cubicBezTo>
                  <a:pt x="2070" y="111"/>
                  <a:pt x="2070" y="111"/>
                  <a:pt x="2070" y="111"/>
                </a:cubicBezTo>
                <a:cubicBezTo>
                  <a:pt x="2068" y="113"/>
                  <a:pt x="2066" y="114"/>
                  <a:pt x="2064" y="115"/>
                </a:cubicBezTo>
                <a:cubicBezTo>
                  <a:pt x="2063" y="116"/>
                  <a:pt x="2061" y="117"/>
                  <a:pt x="2059" y="118"/>
                </a:cubicBezTo>
                <a:cubicBezTo>
                  <a:pt x="2058" y="119"/>
                  <a:pt x="2055" y="120"/>
                  <a:pt x="2054" y="121"/>
                </a:cubicBezTo>
                <a:cubicBezTo>
                  <a:pt x="2052" y="121"/>
                  <a:pt x="2050" y="122"/>
                  <a:pt x="2048" y="122"/>
                </a:cubicBezTo>
                <a:cubicBezTo>
                  <a:pt x="2048" y="122"/>
                  <a:pt x="2048" y="122"/>
                  <a:pt x="2048" y="132"/>
                </a:cubicBezTo>
                <a:cubicBezTo>
                  <a:pt x="2051" y="132"/>
                  <a:pt x="2054" y="131"/>
                  <a:pt x="2056" y="129"/>
                </a:cubicBezTo>
                <a:cubicBezTo>
                  <a:pt x="2059" y="129"/>
                  <a:pt x="2061" y="127"/>
                  <a:pt x="2064" y="126"/>
                </a:cubicBezTo>
                <a:cubicBezTo>
                  <a:pt x="2064" y="126"/>
                  <a:pt x="2064" y="126"/>
                  <a:pt x="2064" y="185"/>
                </a:cubicBezTo>
                <a:cubicBezTo>
                  <a:pt x="2064" y="185"/>
                  <a:pt x="2064" y="185"/>
                  <a:pt x="2075" y="185"/>
                </a:cubicBezTo>
                <a:cubicBezTo>
                  <a:pt x="2075" y="185"/>
                  <a:pt x="2075" y="185"/>
                  <a:pt x="2075" y="111"/>
                </a:cubicBezTo>
                <a:close/>
                <a:moveTo>
                  <a:pt x="2121" y="111"/>
                </a:moveTo>
                <a:cubicBezTo>
                  <a:pt x="2121" y="111"/>
                  <a:pt x="2121" y="111"/>
                  <a:pt x="2121" y="111"/>
                </a:cubicBezTo>
                <a:cubicBezTo>
                  <a:pt x="2117" y="111"/>
                  <a:pt x="2117" y="111"/>
                  <a:pt x="2117" y="111"/>
                </a:cubicBezTo>
                <a:cubicBezTo>
                  <a:pt x="2114" y="113"/>
                  <a:pt x="2113" y="114"/>
                  <a:pt x="2111" y="115"/>
                </a:cubicBezTo>
                <a:cubicBezTo>
                  <a:pt x="2109" y="116"/>
                  <a:pt x="2107" y="117"/>
                  <a:pt x="2106" y="118"/>
                </a:cubicBezTo>
                <a:cubicBezTo>
                  <a:pt x="2104" y="119"/>
                  <a:pt x="2102" y="119"/>
                  <a:pt x="2100" y="120"/>
                </a:cubicBezTo>
                <a:cubicBezTo>
                  <a:pt x="2099" y="121"/>
                  <a:pt x="2096" y="121"/>
                  <a:pt x="2095" y="122"/>
                </a:cubicBezTo>
                <a:cubicBezTo>
                  <a:pt x="2095" y="122"/>
                  <a:pt x="2095" y="122"/>
                  <a:pt x="2095" y="132"/>
                </a:cubicBezTo>
                <a:cubicBezTo>
                  <a:pt x="2098" y="132"/>
                  <a:pt x="2101" y="130"/>
                  <a:pt x="2103" y="129"/>
                </a:cubicBezTo>
                <a:cubicBezTo>
                  <a:pt x="2105" y="129"/>
                  <a:pt x="2108" y="127"/>
                  <a:pt x="2109" y="126"/>
                </a:cubicBezTo>
                <a:cubicBezTo>
                  <a:pt x="2109" y="126"/>
                  <a:pt x="2109" y="126"/>
                  <a:pt x="2109" y="185"/>
                </a:cubicBezTo>
                <a:cubicBezTo>
                  <a:pt x="2109" y="185"/>
                  <a:pt x="2109" y="185"/>
                  <a:pt x="2121" y="185"/>
                </a:cubicBezTo>
                <a:cubicBezTo>
                  <a:pt x="2121" y="185"/>
                  <a:pt x="2121" y="185"/>
                  <a:pt x="2121" y="111"/>
                </a:cubicBezTo>
                <a:close/>
                <a:moveTo>
                  <a:pt x="2036" y="77"/>
                </a:moveTo>
                <a:cubicBezTo>
                  <a:pt x="2029" y="77"/>
                  <a:pt x="2022" y="74"/>
                  <a:pt x="2018" y="68"/>
                </a:cubicBezTo>
                <a:cubicBezTo>
                  <a:pt x="2014" y="62"/>
                  <a:pt x="2012" y="53"/>
                  <a:pt x="2012" y="41"/>
                </a:cubicBezTo>
                <a:cubicBezTo>
                  <a:pt x="2012" y="28"/>
                  <a:pt x="2014" y="18"/>
                  <a:pt x="2019" y="12"/>
                </a:cubicBezTo>
                <a:cubicBezTo>
                  <a:pt x="2023" y="5"/>
                  <a:pt x="2030" y="1"/>
                  <a:pt x="2038" y="1"/>
                </a:cubicBezTo>
                <a:cubicBezTo>
                  <a:pt x="2054" y="1"/>
                  <a:pt x="2062" y="14"/>
                  <a:pt x="2062" y="39"/>
                </a:cubicBezTo>
                <a:cubicBezTo>
                  <a:pt x="2062" y="52"/>
                  <a:pt x="2060" y="61"/>
                  <a:pt x="2055" y="68"/>
                </a:cubicBezTo>
                <a:cubicBezTo>
                  <a:pt x="2051" y="74"/>
                  <a:pt x="2044" y="77"/>
                  <a:pt x="2036" y="77"/>
                </a:cubicBezTo>
                <a:close/>
                <a:moveTo>
                  <a:pt x="2038" y="11"/>
                </a:moveTo>
                <a:cubicBezTo>
                  <a:pt x="2028" y="11"/>
                  <a:pt x="2024" y="21"/>
                  <a:pt x="2024" y="41"/>
                </a:cubicBezTo>
                <a:cubicBezTo>
                  <a:pt x="2024" y="59"/>
                  <a:pt x="2028" y="68"/>
                  <a:pt x="2037" y="68"/>
                </a:cubicBezTo>
                <a:cubicBezTo>
                  <a:pt x="2046" y="68"/>
                  <a:pt x="2050" y="59"/>
                  <a:pt x="2050" y="40"/>
                </a:cubicBezTo>
                <a:cubicBezTo>
                  <a:pt x="2050" y="20"/>
                  <a:pt x="2046" y="11"/>
                  <a:pt x="2038" y="11"/>
                </a:cubicBezTo>
                <a:close/>
                <a:moveTo>
                  <a:pt x="2110" y="4"/>
                </a:moveTo>
                <a:cubicBezTo>
                  <a:pt x="2110" y="4"/>
                  <a:pt x="2110" y="4"/>
                  <a:pt x="2110" y="4"/>
                </a:cubicBezTo>
                <a:cubicBezTo>
                  <a:pt x="2105" y="4"/>
                  <a:pt x="2105" y="4"/>
                  <a:pt x="2105" y="4"/>
                </a:cubicBezTo>
                <a:cubicBezTo>
                  <a:pt x="2103" y="5"/>
                  <a:pt x="2101" y="7"/>
                  <a:pt x="2099" y="7"/>
                </a:cubicBezTo>
                <a:cubicBezTo>
                  <a:pt x="2098" y="9"/>
                  <a:pt x="2095" y="10"/>
                  <a:pt x="2094" y="10"/>
                </a:cubicBezTo>
                <a:cubicBezTo>
                  <a:pt x="2092" y="11"/>
                  <a:pt x="2090" y="12"/>
                  <a:pt x="2089" y="12"/>
                </a:cubicBezTo>
                <a:cubicBezTo>
                  <a:pt x="2087" y="13"/>
                  <a:pt x="2085" y="14"/>
                  <a:pt x="2083" y="15"/>
                </a:cubicBezTo>
                <a:cubicBezTo>
                  <a:pt x="2083" y="15"/>
                  <a:pt x="2083" y="15"/>
                  <a:pt x="2083" y="25"/>
                </a:cubicBezTo>
                <a:cubicBezTo>
                  <a:pt x="2086" y="24"/>
                  <a:pt x="2089" y="23"/>
                  <a:pt x="2091" y="22"/>
                </a:cubicBezTo>
                <a:cubicBezTo>
                  <a:pt x="2094" y="21"/>
                  <a:pt x="2096" y="20"/>
                  <a:pt x="2098" y="18"/>
                </a:cubicBezTo>
                <a:cubicBezTo>
                  <a:pt x="2098" y="18"/>
                  <a:pt x="2098" y="18"/>
                  <a:pt x="2098" y="77"/>
                </a:cubicBezTo>
                <a:cubicBezTo>
                  <a:pt x="2098" y="77"/>
                  <a:pt x="2098" y="77"/>
                  <a:pt x="2110" y="77"/>
                </a:cubicBezTo>
                <a:cubicBezTo>
                  <a:pt x="2110" y="77"/>
                  <a:pt x="2110" y="77"/>
                  <a:pt x="2110" y="4"/>
                </a:cubicBezTo>
                <a:close/>
                <a:moveTo>
                  <a:pt x="2157" y="4"/>
                </a:moveTo>
                <a:cubicBezTo>
                  <a:pt x="2157" y="4"/>
                  <a:pt x="2157" y="4"/>
                  <a:pt x="2157" y="4"/>
                </a:cubicBezTo>
                <a:cubicBezTo>
                  <a:pt x="2152" y="4"/>
                  <a:pt x="2152" y="4"/>
                  <a:pt x="2152" y="4"/>
                </a:cubicBezTo>
                <a:cubicBezTo>
                  <a:pt x="2150" y="5"/>
                  <a:pt x="2148" y="7"/>
                  <a:pt x="2146" y="7"/>
                </a:cubicBezTo>
                <a:cubicBezTo>
                  <a:pt x="2145" y="9"/>
                  <a:pt x="2143" y="10"/>
                  <a:pt x="2141" y="10"/>
                </a:cubicBezTo>
                <a:cubicBezTo>
                  <a:pt x="2140" y="12"/>
                  <a:pt x="2138" y="12"/>
                  <a:pt x="2136" y="13"/>
                </a:cubicBezTo>
                <a:cubicBezTo>
                  <a:pt x="2134" y="14"/>
                  <a:pt x="2133" y="15"/>
                  <a:pt x="2131" y="15"/>
                </a:cubicBezTo>
                <a:cubicBezTo>
                  <a:pt x="2131" y="15"/>
                  <a:pt x="2131" y="15"/>
                  <a:pt x="2131" y="25"/>
                </a:cubicBezTo>
                <a:cubicBezTo>
                  <a:pt x="2133" y="24"/>
                  <a:pt x="2136" y="23"/>
                  <a:pt x="2138" y="22"/>
                </a:cubicBezTo>
                <a:cubicBezTo>
                  <a:pt x="2141" y="21"/>
                  <a:pt x="2143" y="20"/>
                  <a:pt x="2146" y="18"/>
                </a:cubicBezTo>
                <a:cubicBezTo>
                  <a:pt x="2146" y="18"/>
                  <a:pt x="2146" y="18"/>
                  <a:pt x="2146" y="77"/>
                </a:cubicBezTo>
                <a:cubicBezTo>
                  <a:pt x="2146" y="77"/>
                  <a:pt x="2146" y="77"/>
                  <a:pt x="2157" y="77"/>
                </a:cubicBezTo>
                <a:cubicBezTo>
                  <a:pt x="2157" y="77"/>
                  <a:pt x="2157" y="77"/>
                  <a:pt x="2157" y="4"/>
                </a:cubicBezTo>
                <a:close/>
                <a:moveTo>
                  <a:pt x="2204" y="4"/>
                </a:moveTo>
                <a:cubicBezTo>
                  <a:pt x="2204" y="4"/>
                  <a:pt x="2204" y="4"/>
                  <a:pt x="2204" y="4"/>
                </a:cubicBezTo>
                <a:cubicBezTo>
                  <a:pt x="2199" y="4"/>
                  <a:pt x="2199" y="4"/>
                  <a:pt x="2199" y="4"/>
                </a:cubicBezTo>
                <a:cubicBezTo>
                  <a:pt x="2197" y="5"/>
                  <a:pt x="2195" y="7"/>
                  <a:pt x="2193" y="7"/>
                </a:cubicBezTo>
                <a:cubicBezTo>
                  <a:pt x="2192" y="9"/>
                  <a:pt x="2190" y="10"/>
                  <a:pt x="2188" y="10"/>
                </a:cubicBezTo>
                <a:cubicBezTo>
                  <a:pt x="2186" y="12"/>
                  <a:pt x="2184" y="12"/>
                  <a:pt x="2182" y="13"/>
                </a:cubicBezTo>
                <a:cubicBezTo>
                  <a:pt x="2181" y="14"/>
                  <a:pt x="2179" y="15"/>
                  <a:pt x="2177" y="15"/>
                </a:cubicBezTo>
                <a:cubicBezTo>
                  <a:pt x="2177" y="15"/>
                  <a:pt x="2177" y="15"/>
                  <a:pt x="2177" y="25"/>
                </a:cubicBezTo>
                <a:cubicBezTo>
                  <a:pt x="2180" y="24"/>
                  <a:pt x="2183" y="23"/>
                  <a:pt x="2185" y="22"/>
                </a:cubicBezTo>
                <a:cubicBezTo>
                  <a:pt x="2187" y="21"/>
                  <a:pt x="2190" y="20"/>
                  <a:pt x="2192" y="18"/>
                </a:cubicBezTo>
                <a:cubicBezTo>
                  <a:pt x="2192" y="18"/>
                  <a:pt x="2192" y="18"/>
                  <a:pt x="2192" y="77"/>
                </a:cubicBezTo>
                <a:cubicBezTo>
                  <a:pt x="2192" y="77"/>
                  <a:pt x="2192" y="77"/>
                  <a:pt x="2204" y="77"/>
                </a:cubicBezTo>
                <a:cubicBezTo>
                  <a:pt x="2204" y="77"/>
                  <a:pt x="2204" y="77"/>
                  <a:pt x="2204" y="4"/>
                </a:cubicBezTo>
                <a:close/>
                <a:moveTo>
                  <a:pt x="2251" y="4"/>
                </a:moveTo>
                <a:cubicBezTo>
                  <a:pt x="2251" y="4"/>
                  <a:pt x="2251" y="4"/>
                  <a:pt x="2251" y="4"/>
                </a:cubicBezTo>
                <a:cubicBezTo>
                  <a:pt x="2246" y="4"/>
                  <a:pt x="2246" y="4"/>
                  <a:pt x="2246" y="4"/>
                </a:cubicBezTo>
                <a:cubicBezTo>
                  <a:pt x="2244" y="5"/>
                  <a:pt x="2242" y="7"/>
                  <a:pt x="2240" y="7"/>
                </a:cubicBezTo>
                <a:cubicBezTo>
                  <a:pt x="2238" y="9"/>
                  <a:pt x="2237" y="10"/>
                  <a:pt x="2235" y="10"/>
                </a:cubicBezTo>
                <a:cubicBezTo>
                  <a:pt x="2233" y="12"/>
                  <a:pt x="2231" y="12"/>
                  <a:pt x="2230" y="13"/>
                </a:cubicBezTo>
                <a:cubicBezTo>
                  <a:pt x="2227" y="14"/>
                  <a:pt x="2226" y="15"/>
                  <a:pt x="2224" y="15"/>
                </a:cubicBezTo>
                <a:cubicBezTo>
                  <a:pt x="2224" y="15"/>
                  <a:pt x="2224" y="15"/>
                  <a:pt x="2224" y="25"/>
                </a:cubicBezTo>
                <a:cubicBezTo>
                  <a:pt x="2227" y="24"/>
                  <a:pt x="2230" y="23"/>
                  <a:pt x="2232" y="22"/>
                </a:cubicBezTo>
                <a:cubicBezTo>
                  <a:pt x="2235" y="21"/>
                  <a:pt x="2237" y="20"/>
                  <a:pt x="2239" y="18"/>
                </a:cubicBezTo>
                <a:cubicBezTo>
                  <a:pt x="2239" y="18"/>
                  <a:pt x="2239" y="18"/>
                  <a:pt x="2239" y="77"/>
                </a:cubicBezTo>
                <a:cubicBezTo>
                  <a:pt x="2239" y="77"/>
                  <a:pt x="2239" y="77"/>
                  <a:pt x="2251" y="77"/>
                </a:cubicBezTo>
                <a:cubicBezTo>
                  <a:pt x="2251" y="77"/>
                  <a:pt x="2251" y="77"/>
                  <a:pt x="2251" y="4"/>
                </a:cubicBezTo>
                <a:close/>
                <a:moveTo>
                  <a:pt x="2374" y="4"/>
                </a:moveTo>
                <a:cubicBezTo>
                  <a:pt x="2374" y="4"/>
                  <a:pt x="2374" y="4"/>
                  <a:pt x="2374" y="4"/>
                </a:cubicBezTo>
                <a:cubicBezTo>
                  <a:pt x="2369" y="4"/>
                  <a:pt x="2369" y="4"/>
                  <a:pt x="2369" y="4"/>
                </a:cubicBezTo>
                <a:cubicBezTo>
                  <a:pt x="2367" y="5"/>
                  <a:pt x="2365" y="7"/>
                  <a:pt x="2363" y="7"/>
                </a:cubicBezTo>
                <a:cubicBezTo>
                  <a:pt x="2362" y="9"/>
                  <a:pt x="2360" y="10"/>
                  <a:pt x="2358" y="10"/>
                </a:cubicBezTo>
                <a:cubicBezTo>
                  <a:pt x="2356" y="12"/>
                  <a:pt x="2354" y="12"/>
                  <a:pt x="2353" y="13"/>
                </a:cubicBezTo>
                <a:cubicBezTo>
                  <a:pt x="2351" y="14"/>
                  <a:pt x="2349" y="15"/>
                  <a:pt x="2347" y="15"/>
                </a:cubicBezTo>
                <a:cubicBezTo>
                  <a:pt x="2347" y="15"/>
                  <a:pt x="2347" y="15"/>
                  <a:pt x="2347" y="25"/>
                </a:cubicBezTo>
                <a:cubicBezTo>
                  <a:pt x="2350" y="24"/>
                  <a:pt x="2353" y="23"/>
                  <a:pt x="2356" y="22"/>
                </a:cubicBezTo>
                <a:cubicBezTo>
                  <a:pt x="2358" y="21"/>
                  <a:pt x="2360" y="20"/>
                  <a:pt x="2362" y="18"/>
                </a:cubicBezTo>
                <a:cubicBezTo>
                  <a:pt x="2362" y="18"/>
                  <a:pt x="2362" y="18"/>
                  <a:pt x="2362" y="77"/>
                </a:cubicBezTo>
                <a:cubicBezTo>
                  <a:pt x="2362" y="77"/>
                  <a:pt x="2362" y="77"/>
                  <a:pt x="2374" y="77"/>
                </a:cubicBezTo>
                <a:cubicBezTo>
                  <a:pt x="2374" y="77"/>
                  <a:pt x="2374" y="77"/>
                  <a:pt x="2374" y="4"/>
                </a:cubicBezTo>
                <a:close/>
                <a:moveTo>
                  <a:pt x="2421" y="4"/>
                </a:moveTo>
                <a:cubicBezTo>
                  <a:pt x="2421" y="4"/>
                  <a:pt x="2421" y="4"/>
                  <a:pt x="2421" y="4"/>
                </a:cubicBezTo>
                <a:cubicBezTo>
                  <a:pt x="2416" y="4"/>
                  <a:pt x="2416" y="4"/>
                  <a:pt x="2416" y="4"/>
                </a:cubicBezTo>
                <a:cubicBezTo>
                  <a:pt x="2414" y="5"/>
                  <a:pt x="2413" y="7"/>
                  <a:pt x="2411" y="7"/>
                </a:cubicBezTo>
                <a:cubicBezTo>
                  <a:pt x="2409" y="9"/>
                  <a:pt x="2407" y="10"/>
                  <a:pt x="2405" y="10"/>
                </a:cubicBezTo>
                <a:cubicBezTo>
                  <a:pt x="2404" y="12"/>
                  <a:pt x="2402" y="12"/>
                  <a:pt x="2400" y="13"/>
                </a:cubicBezTo>
                <a:cubicBezTo>
                  <a:pt x="2398" y="14"/>
                  <a:pt x="2397" y="15"/>
                  <a:pt x="2395" y="15"/>
                </a:cubicBezTo>
                <a:cubicBezTo>
                  <a:pt x="2395" y="15"/>
                  <a:pt x="2395" y="15"/>
                  <a:pt x="2395" y="25"/>
                </a:cubicBezTo>
                <a:cubicBezTo>
                  <a:pt x="2397" y="24"/>
                  <a:pt x="2400" y="23"/>
                  <a:pt x="2403" y="22"/>
                </a:cubicBezTo>
                <a:cubicBezTo>
                  <a:pt x="2405" y="21"/>
                  <a:pt x="2408" y="20"/>
                  <a:pt x="2410" y="18"/>
                </a:cubicBezTo>
                <a:cubicBezTo>
                  <a:pt x="2410" y="18"/>
                  <a:pt x="2410" y="18"/>
                  <a:pt x="2410" y="77"/>
                </a:cubicBezTo>
                <a:cubicBezTo>
                  <a:pt x="2410" y="77"/>
                  <a:pt x="2410" y="77"/>
                  <a:pt x="2421" y="77"/>
                </a:cubicBezTo>
                <a:cubicBezTo>
                  <a:pt x="2421" y="77"/>
                  <a:pt x="2421" y="77"/>
                  <a:pt x="2421" y="4"/>
                </a:cubicBezTo>
                <a:close/>
                <a:moveTo>
                  <a:pt x="2469" y="4"/>
                </a:moveTo>
                <a:cubicBezTo>
                  <a:pt x="2469" y="4"/>
                  <a:pt x="2469" y="4"/>
                  <a:pt x="2469" y="4"/>
                </a:cubicBezTo>
                <a:cubicBezTo>
                  <a:pt x="2464" y="4"/>
                  <a:pt x="2464" y="4"/>
                  <a:pt x="2464" y="4"/>
                </a:cubicBezTo>
                <a:cubicBezTo>
                  <a:pt x="2462" y="5"/>
                  <a:pt x="2460" y="7"/>
                  <a:pt x="2459" y="7"/>
                </a:cubicBezTo>
                <a:cubicBezTo>
                  <a:pt x="2457" y="9"/>
                  <a:pt x="2455" y="10"/>
                  <a:pt x="2453" y="10"/>
                </a:cubicBezTo>
                <a:cubicBezTo>
                  <a:pt x="2452" y="12"/>
                  <a:pt x="2449" y="12"/>
                  <a:pt x="2448" y="13"/>
                </a:cubicBezTo>
                <a:cubicBezTo>
                  <a:pt x="2446" y="14"/>
                  <a:pt x="2444" y="15"/>
                  <a:pt x="2442" y="15"/>
                </a:cubicBezTo>
                <a:cubicBezTo>
                  <a:pt x="2442" y="15"/>
                  <a:pt x="2442" y="15"/>
                  <a:pt x="2442" y="25"/>
                </a:cubicBezTo>
                <a:cubicBezTo>
                  <a:pt x="2445" y="24"/>
                  <a:pt x="2448" y="23"/>
                  <a:pt x="2451" y="22"/>
                </a:cubicBezTo>
                <a:cubicBezTo>
                  <a:pt x="2453" y="21"/>
                  <a:pt x="2455" y="20"/>
                  <a:pt x="2457" y="18"/>
                </a:cubicBezTo>
                <a:cubicBezTo>
                  <a:pt x="2457" y="18"/>
                  <a:pt x="2457" y="18"/>
                  <a:pt x="2457" y="77"/>
                </a:cubicBezTo>
                <a:cubicBezTo>
                  <a:pt x="2457" y="77"/>
                  <a:pt x="2457" y="77"/>
                  <a:pt x="2469" y="77"/>
                </a:cubicBezTo>
                <a:cubicBezTo>
                  <a:pt x="2469" y="77"/>
                  <a:pt x="2469" y="77"/>
                  <a:pt x="2469" y="4"/>
                </a:cubicBezTo>
                <a:close/>
                <a:moveTo>
                  <a:pt x="2516" y="4"/>
                </a:moveTo>
                <a:cubicBezTo>
                  <a:pt x="2516" y="4"/>
                  <a:pt x="2516" y="4"/>
                  <a:pt x="2516" y="4"/>
                </a:cubicBezTo>
                <a:cubicBezTo>
                  <a:pt x="2511" y="4"/>
                  <a:pt x="2511" y="4"/>
                  <a:pt x="2511" y="4"/>
                </a:cubicBezTo>
                <a:cubicBezTo>
                  <a:pt x="2509" y="5"/>
                  <a:pt x="2508" y="7"/>
                  <a:pt x="2505" y="7"/>
                </a:cubicBezTo>
                <a:cubicBezTo>
                  <a:pt x="2504" y="9"/>
                  <a:pt x="2502" y="10"/>
                  <a:pt x="2500" y="10"/>
                </a:cubicBezTo>
                <a:cubicBezTo>
                  <a:pt x="2498" y="11"/>
                  <a:pt x="2497" y="12"/>
                  <a:pt x="2495" y="12"/>
                </a:cubicBezTo>
                <a:cubicBezTo>
                  <a:pt x="2493" y="13"/>
                  <a:pt x="2491" y="14"/>
                  <a:pt x="2490" y="15"/>
                </a:cubicBezTo>
                <a:cubicBezTo>
                  <a:pt x="2490" y="15"/>
                  <a:pt x="2490" y="15"/>
                  <a:pt x="2490" y="25"/>
                </a:cubicBezTo>
                <a:cubicBezTo>
                  <a:pt x="2492" y="24"/>
                  <a:pt x="2495" y="23"/>
                  <a:pt x="2498" y="22"/>
                </a:cubicBezTo>
                <a:cubicBezTo>
                  <a:pt x="2500" y="21"/>
                  <a:pt x="2503" y="20"/>
                  <a:pt x="2504" y="18"/>
                </a:cubicBezTo>
                <a:cubicBezTo>
                  <a:pt x="2504" y="18"/>
                  <a:pt x="2504" y="18"/>
                  <a:pt x="2504" y="77"/>
                </a:cubicBezTo>
                <a:cubicBezTo>
                  <a:pt x="2504" y="77"/>
                  <a:pt x="2504" y="77"/>
                  <a:pt x="2516" y="77"/>
                </a:cubicBezTo>
                <a:cubicBezTo>
                  <a:pt x="2516" y="77"/>
                  <a:pt x="2516" y="77"/>
                  <a:pt x="2516" y="4"/>
                </a:cubicBezTo>
                <a:close/>
                <a:moveTo>
                  <a:pt x="2272" y="36"/>
                </a:moveTo>
                <a:cubicBezTo>
                  <a:pt x="2272" y="36"/>
                  <a:pt x="2272" y="36"/>
                  <a:pt x="2272" y="36"/>
                </a:cubicBezTo>
                <a:cubicBezTo>
                  <a:pt x="2271" y="44"/>
                  <a:pt x="2271" y="44"/>
                  <a:pt x="2271" y="44"/>
                </a:cubicBezTo>
                <a:cubicBezTo>
                  <a:pt x="2278" y="45"/>
                  <a:pt x="2278" y="48"/>
                  <a:pt x="2278" y="50"/>
                </a:cubicBezTo>
                <a:cubicBezTo>
                  <a:pt x="2278" y="53"/>
                  <a:pt x="2278" y="55"/>
                  <a:pt x="2278" y="57"/>
                </a:cubicBezTo>
                <a:cubicBezTo>
                  <a:pt x="2278" y="60"/>
                  <a:pt x="2277" y="62"/>
                  <a:pt x="2277" y="65"/>
                </a:cubicBezTo>
                <a:cubicBezTo>
                  <a:pt x="2277" y="74"/>
                  <a:pt x="2283" y="77"/>
                  <a:pt x="2292" y="77"/>
                </a:cubicBezTo>
                <a:cubicBezTo>
                  <a:pt x="2292" y="77"/>
                  <a:pt x="2292" y="77"/>
                  <a:pt x="2296" y="77"/>
                </a:cubicBezTo>
                <a:cubicBezTo>
                  <a:pt x="2296" y="77"/>
                  <a:pt x="2296" y="77"/>
                  <a:pt x="2296" y="68"/>
                </a:cubicBezTo>
                <a:cubicBezTo>
                  <a:pt x="2296" y="68"/>
                  <a:pt x="2296" y="68"/>
                  <a:pt x="2294" y="68"/>
                </a:cubicBezTo>
                <a:cubicBezTo>
                  <a:pt x="2290" y="68"/>
                  <a:pt x="2289" y="66"/>
                  <a:pt x="2289" y="62"/>
                </a:cubicBezTo>
                <a:cubicBezTo>
                  <a:pt x="2289" y="61"/>
                  <a:pt x="2289" y="59"/>
                  <a:pt x="2290" y="57"/>
                </a:cubicBezTo>
                <a:cubicBezTo>
                  <a:pt x="2290" y="56"/>
                  <a:pt x="2290" y="54"/>
                  <a:pt x="2290" y="52"/>
                </a:cubicBezTo>
                <a:cubicBezTo>
                  <a:pt x="2290" y="44"/>
                  <a:pt x="2287" y="42"/>
                  <a:pt x="2281" y="40"/>
                </a:cubicBezTo>
                <a:cubicBezTo>
                  <a:pt x="2281" y="40"/>
                  <a:pt x="2281" y="40"/>
                  <a:pt x="2281" y="40"/>
                </a:cubicBezTo>
                <a:cubicBezTo>
                  <a:pt x="2287" y="39"/>
                  <a:pt x="2290" y="37"/>
                  <a:pt x="2290" y="29"/>
                </a:cubicBezTo>
                <a:cubicBezTo>
                  <a:pt x="2290" y="27"/>
                  <a:pt x="2290" y="25"/>
                  <a:pt x="2290" y="23"/>
                </a:cubicBezTo>
                <a:cubicBezTo>
                  <a:pt x="2289" y="21"/>
                  <a:pt x="2289" y="20"/>
                  <a:pt x="2289" y="18"/>
                </a:cubicBezTo>
                <a:cubicBezTo>
                  <a:pt x="2289" y="15"/>
                  <a:pt x="2290" y="13"/>
                  <a:pt x="2294" y="13"/>
                </a:cubicBezTo>
                <a:cubicBezTo>
                  <a:pt x="2294" y="13"/>
                  <a:pt x="2294" y="13"/>
                  <a:pt x="2296" y="13"/>
                </a:cubicBezTo>
                <a:cubicBezTo>
                  <a:pt x="2296" y="13"/>
                  <a:pt x="2296" y="13"/>
                  <a:pt x="2296" y="3"/>
                </a:cubicBezTo>
                <a:cubicBezTo>
                  <a:pt x="2296" y="3"/>
                  <a:pt x="2296" y="3"/>
                  <a:pt x="2292" y="3"/>
                </a:cubicBezTo>
                <a:cubicBezTo>
                  <a:pt x="2283" y="3"/>
                  <a:pt x="2277" y="7"/>
                  <a:pt x="2277" y="16"/>
                </a:cubicBezTo>
                <a:cubicBezTo>
                  <a:pt x="2277" y="18"/>
                  <a:pt x="2278" y="21"/>
                  <a:pt x="2278" y="23"/>
                </a:cubicBezTo>
                <a:cubicBezTo>
                  <a:pt x="2278" y="26"/>
                  <a:pt x="2278" y="28"/>
                  <a:pt x="2278" y="30"/>
                </a:cubicBezTo>
                <a:cubicBezTo>
                  <a:pt x="2278" y="33"/>
                  <a:pt x="2278" y="36"/>
                  <a:pt x="2272" y="36"/>
                </a:cubicBezTo>
                <a:close/>
                <a:moveTo>
                  <a:pt x="2326" y="44"/>
                </a:moveTo>
                <a:cubicBezTo>
                  <a:pt x="2326" y="44"/>
                  <a:pt x="2326" y="44"/>
                  <a:pt x="2326" y="44"/>
                </a:cubicBezTo>
                <a:cubicBezTo>
                  <a:pt x="2326" y="36"/>
                  <a:pt x="2326" y="36"/>
                  <a:pt x="2326" y="36"/>
                </a:cubicBezTo>
                <a:cubicBezTo>
                  <a:pt x="2320" y="36"/>
                  <a:pt x="2320" y="33"/>
                  <a:pt x="2320" y="30"/>
                </a:cubicBezTo>
                <a:cubicBezTo>
                  <a:pt x="2320" y="28"/>
                  <a:pt x="2320" y="26"/>
                  <a:pt x="2320" y="23"/>
                </a:cubicBezTo>
                <a:cubicBezTo>
                  <a:pt x="2321" y="21"/>
                  <a:pt x="2321" y="18"/>
                  <a:pt x="2321" y="16"/>
                </a:cubicBezTo>
                <a:cubicBezTo>
                  <a:pt x="2321" y="7"/>
                  <a:pt x="2315" y="3"/>
                  <a:pt x="2306" y="3"/>
                </a:cubicBezTo>
                <a:cubicBezTo>
                  <a:pt x="2306" y="3"/>
                  <a:pt x="2306" y="3"/>
                  <a:pt x="2302" y="3"/>
                </a:cubicBezTo>
                <a:cubicBezTo>
                  <a:pt x="2302" y="3"/>
                  <a:pt x="2302" y="3"/>
                  <a:pt x="2302" y="13"/>
                </a:cubicBezTo>
                <a:cubicBezTo>
                  <a:pt x="2302" y="13"/>
                  <a:pt x="2302" y="13"/>
                  <a:pt x="2304" y="13"/>
                </a:cubicBezTo>
                <a:cubicBezTo>
                  <a:pt x="2308" y="13"/>
                  <a:pt x="2309" y="15"/>
                  <a:pt x="2309" y="18"/>
                </a:cubicBezTo>
                <a:cubicBezTo>
                  <a:pt x="2309" y="20"/>
                  <a:pt x="2309" y="21"/>
                  <a:pt x="2309" y="23"/>
                </a:cubicBezTo>
                <a:cubicBezTo>
                  <a:pt x="2308" y="25"/>
                  <a:pt x="2308" y="27"/>
                  <a:pt x="2308" y="29"/>
                </a:cubicBezTo>
                <a:cubicBezTo>
                  <a:pt x="2308" y="37"/>
                  <a:pt x="2311" y="39"/>
                  <a:pt x="2317" y="40"/>
                </a:cubicBezTo>
                <a:cubicBezTo>
                  <a:pt x="2317" y="40"/>
                  <a:pt x="2317" y="40"/>
                  <a:pt x="2317" y="40"/>
                </a:cubicBezTo>
                <a:cubicBezTo>
                  <a:pt x="2311" y="42"/>
                  <a:pt x="2308" y="44"/>
                  <a:pt x="2308" y="52"/>
                </a:cubicBezTo>
                <a:cubicBezTo>
                  <a:pt x="2308" y="54"/>
                  <a:pt x="2308" y="56"/>
                  <a:pt x="2309" y="57"/>
                </a:cubicBezTo>
                <a:cubicBezTo>
                  <a:pt x="2309" y="59"/>
                  <a:pt x="2309" y="61"/>
                  <a:pt x="2309" y="62"/>
                </a:cubicBezTo>
                <a:cubicBezTo>
                  <a:pt x="2309" y="66"/>
                  <a:pt x="2308" y="68"/>
                  <a:pt x="2304" y="68"/>
                </a:cubicBezTo>
                <a:cubicBezTo>
                  <a:pt x="2304" y="68"/>
                  <a:pt x="2304" y="68"/>
                  <a:pt x="2302" y="68"/>
                </a:cubicBezTo>
                <a:cubicBezTo>
                  <a:pt x="2302" y="68"/>
                  <a:pt x="2302" y="68"/>
                  <a:pt x="2302" y="77"/>
                </a:cubicBezTo>
                <a:cubicBezTo>
                  <a:pt x="2302" y="77"/>
                  <a:pt x="2302" y="77"/>
                  <a:pt x="2306" y="77"/>
                </a:cubicBezTo>
                <a:cubicBezTo>
                  <a:pt x="2315" y="77"/>
                  <a:pt x="2321" y="74"/>
                  <a:pt x="2321" y="65"/>
                </a:cubicBezTo>
                <a:cubicBezTo>
                  <a:pt x="2321" y="62"/>
                  <a:pt x="2321" y="60"/>
                  <a:pt x="2320" y="57"/>
                </a:cubicBezTo>
                <a:cubicBezTo>
                  <a:pt x="2320" y="55"/>
                  <a:pt x="2320" y="53"/>
                  <a:pt x="2320" y="50"/>
                </a:cubicBezTo>
                <a:cubicBezTo>
                  <a:pt x="2320" y="48"/>
                  <a:pt x="2320" y="45"/>
                  <a:pt x="2326" y="44"/>
                </a:cubicBezTo>
                <a:close/>
                <a:moveTo>
                  <a:pt x="2653" y="36"/>
                </a:moveTo>
                <a:cubicBezTo>
                  <a:pt x="2653" y="36"/>
                  <a:pt x="2653" y="36"/>
                  <a:pt x="2653" y="36"/>
                </a:cubicBezTo>
                <a:cubicBezTo>
                  <a:pt x="2653" y="44"/>
                  <a:pt x="2653" y="44"/>
                  <a:pt x="2653" y="44"/>
                </a:cubicBezTo>
                <a:cubicBezTo>
                  <a:pt x="2659" y="45"/>
                  <a:pt x="2660" y="48"/>
                  <a:pt x="2660" y="50"/>
                </a:cubicBezTo>
                <a:cubicBezTo>
                  <a:pt x="2660" y="53"/>
                  <a:pt x="2660" y="55"/>
                  <a:pt x="2660" y="57"/>
                </a:cubicBezTo>
                <a:cubicBezTo>
                  <a:pt x="2659" y="60"/>
                  <a:pt x="2659" y="62"/>
                  <a:pt x="2659" y="65"/>
                </a:cubicBezTo>
                <a:cubicBezTo>
                  <a:pt x="2659" y="74"/>
                  <a:pt x="2665" y="77"/>
                  <a:pt x="2674" y="77"/>
                </a:cubicBezTo>
                <a:cubicBezTo>
                  <a:pt x="2674" y="77"/>
                  <a:pt x="2674" y="77"/>
                  <a:pt x="2677" y="77"/>
                </a:cubicBezTo>
                <a:cubicBezTo>
                  <a:pt x="2677" y="77"/>
                  <a:pt x="2677" y="77"/>
                  <a:pt x="2677" y="68"/>
                </a:cubicBezTo>
                <a:cubicBezTo>
                  <a:pt x="2677" y="68"/>
                  <a:pt x="2677" y="68"/>
                  <a:pt x="2676" y="68"/>
                </a:cubicBezTo>
                <a:cubicBezTo>
                  <a:pt x="2672" y="68"/>
                  <a:pt x="2671" y="66"/>
                  <a:pt x="2671" y="62"/>
                </a:cubicBezTo>
                <a:cubicBezTo>
                  <a:pt x="2671" y="61"/>
                  <a:pt x="2671" y="59"/>
                  <a:pt x="2671" y="57"/>
                </a:cubicBezTo>
                <a:cubicBezTo>
                  <a:pt x="2671" y="56"/>
                  <a:pt x="2672" y="54"/>
                  <a:pt x="2672" y="52"/>
                </a:cubicBezTo>
                <a:cubicBezTo>
                  <a:pt x="2672" y="44"/>
                  <a:pt x="2669" y="42"/>
                  <a:pt x="2663" y="40"/>
                </a:cubicBezTo>
                <a:cubicBezTo>
                  <a:pt x="2663" y="40"/>
                  <a:pt x="2663" y="40"/>
                  <a:pt x="2663" y="40"/>
                </a:cubicBezTo>
                <a:cubicBezTo>
                  <a:pt x="2669" y="39"/>
                  <a:pt x="2672" y="37"/>
                  <a:pt x="2672" y="29"/>
                </a:cubicBezTo>
                <a:cubicBezTo>
                  <a:pt x="2672" y="27"/>
                  <a:pt x="2671" y="25"/>
                  <a:pt x="2671" y="23"/>
                </a:cubicBezTo>
                <a:cubicBezTo>
                  <a:pt x="2671" y="21"/>
                  <a:pt x="2671" y="20"/>
                  <a:pt x="2671" y="18"/>
                </a:cubicBezTo>
                <a:cubicBezTo>
                  <a:pt x="2671" y="15"/>
                  <a:pt x="2672" y="13"/>
                  <a:pt x="2676" y="13"/>
                </a:cubicBezTo>
                <a:cubicBezTo>
                  <a:pt x="2676" y="13"/>
                  <a:pt x="2676" y="13"/>
                  <a:pt x="2677" y="13"/>
                </a:cubicBezTo>
                <a:cubicBezTo>
                  <a:pt x="2677" y="13"/>
                  <a:pt x="2677" y="13"/>
                  <a:pt x="2677" y="3"/>
                </a:cubicBezTo>
                <a:cubicBezTo>
                  <a:pt x="2677" y="3"/>
                  <a:pt x="2677" y="3"/>
                  <a:pt x="2674" y="3"/>
                </a:cubicBezTo>
                <a:cubicBezTo>
                  <a:pt x="2664" y="3"/>
                  <a:pt x="2659" y="7"/>
                  <a:pt x="2659" y="16"/>
                </a:cubicBezTo>
                <a:cubicBezTo>
                  <a:pt x="2659" y="18"/>
                  <a:pt x="2659" y="21"/>
                  <a:pt x="2659" y="23"/>
                </a:cubicBezTo>
                <a:cubicBezTo>
                  <a:pt x="2660" y="26"/>
                  <a:pt x="2660" y="28"/>
                  <a:pt x="2660" y="30"/>
                </a:cubicBezTo>
                <a:cubicBezTo>
                  <a:pt x="2660" y="33"/>
                  <a:pt x="2659" y="36"/>
                  <a:pt x="2653" y="36"/>
                </a:cubicBezTo>
                <a:close/>
                <a:moveTo>
                  <a:pt x="2708" y="44"/>
                </a:moveTo>
                <a:cubicBezTo>
                  <a:pt x="2708" y="44"/>
                  <a:pt x="2708" y="44"/>
                  <a:pt x="2708" y="44"/>
                </a:cubicBezTo>
                <a:cubicBezTo>
                  <a:pt x="2708" y="36"/>
                  <a:pt x="2708" y="36"/>
                  <a:pt x="2708" y="36"/>
                </a:cubicBezTo>
                <a:cubicBezTo>
                  <a:pt x="2702" y="36"/>
                  <a:pt x="2701" y="33"/>
                  <a:pt x="2701" y="30"/>
                </a:cubicBezTo>
                <a:cubicBezTo>
                  <a:pt x="2701" y="28"/>
                  <a:pt x="2701" y="26"/>
                  <a:pt x="2702" y="23"/>
                </a:cubicBezTo>
                <a:cubicBezTo>
                  <a:pt x="2702" y="21"/>
                  <a:pt x="2702" y="18"/>
                  <a:pt x="2702" y="16"/>
                </a:cubicBezTo>
                <a:cubicBezTo>
                  <a:pt x="2702" y="7"/>
                  <a:pt x="2697" y="3"/>
                  <a:pt x="2688" y="3"/>
                </a:cubicBezTo>
                <a:cubicBezTo>
                  <a:pt x="2688" y="3"/>
                  <a:pt x="2688" y="3"/>
                  <a:pt x="2684" y="3"/>
                </a:cubicBezTo>
                <a:cubicBezTo>
                  <a:pt x="2684" y="3"/>
                  <a:pt x="2684" y="3"/>
                  <a:pt x="2684" y="13"/>
                </a:cubicBezTo>
                <a:cubicBezTo>
                  <a:pt x="2684" y="13"/>
                  <a:pt x="2684" y="13"/>
                  <a:pt x="2685" y="13"/>
                </a:cubicBezTo>
                <a:cubicBezTo>
                  <a:pt x="2689" y="13"/>
                  <a:pt x="2691" y="15"/>
                  <a:pt x="2691" y="18"/>
                </a:cubicBezTo>
                <a:cubicBezTo>
                  <a:pt x="2691" y="20"/>
                  <a:pt x="2690" y="21"/>
                  <a:pt x="2690" y="23"/>
                </a:cubicBezTo>
                <a:cubicBezTo>
                  <a:pt x="2690" y="25"/>
                  <a:pt x="2690" y="27"/>
                  <a:pt x="2690" y="29"/>
                </a:cubicBezTo>
                <a:cubicBezTo>
                  <a:pt x="2690" y="37"/>
                  <a:pt x="2693" y="39"/>
                  <a:pt x="2698" y="40"/>
                </a:cubicBezTo>
                <a:cubicBezTo>
                  <a:pt x="2698" y="40"/>
                  <a:pt x="2698" y="40"/>
                  <a:pt x="2698" y="40"/>
                </a:cubicBezTo>
                <a:cubicBezTo>
                  <a:pt x="2693" y="42"/>
                  <a:pt x="2690" y="44"/>
                  <a:pt x="2690" y="52"/>
                </a:cubicBezTo>
                <a:cubicBezTo>
                  <a:pt x="2690" y="54"/>
                  <a:pt x="2690" y="56"/>
                  <a:pt x="2690" y="57"/>
                </a:cubicBezTo>
                <a:cubicBezTo>
                  <a:pt x="2690" y="59"/>
                  <a:pt x="2691" y="61"/>
                  <a:pt x="2691" y="62"/>
                </a:cubicBezTo>
                <a:cubicBezTo>
                  <a:pt x="2691" y="66"/>
                  <a:pt x="2690" y="68"/>
                  <a:pt x="2685" y="68"/>
                </a:cubicBezTo>
                <a:cubicBezTo>
                  <a:pt x="2685" y="68"/>
                  <a:pt x="2685" y="68"/>
                  <a:pt x="2684" y="68"/>
                </a:cubicBezTo>
                <a:cubicBezTo>
                  <a:pt x="2684" y="68"/>
                  <a:pt x="2684" y="68"/>
                  <a:pt x="2684" y="77"/>
                </a:cubicBezTo>
                <a:cubicBezTo>
                  <a:pt x="2684" y="77"/>
                  <a:pt x="2684" y="77"/>
                  <a:pt x="2688" y="77"/>
                </a:cubicBezTo>
                <a:cubicBezTo>
                  <a:pt x="2697" y="77"/>
                  <a:pt x="2702" y="74"/>
                  <a:pt x="2702" y="65"/>
                </a:cubicBezTo>
                <a:cubicBezTo>
                  <a:pt x="2702" y="62"/>
                  <a:pt x="2702" y="60"/>
                  <a:pt x="2702" y="57"/>
                </a:cubicBezTo>
                <a:cubicBezTo>
                  <a:pt x="2701" y="55"/>
                  <a:pt x="2701" y="53"/>
                  <a:pt x="2701" y="50"/>
                </a:cubicBezTo>
                <a:cubicBezTo>
                  <a:pt x="2701" y="48"/>
                  <a:pt x="2702" y="45"/>
                  <a:pt x="2708" y="44"/>
                </a:cubicBezTo>
                <a:close/>
                <a:moveTo>
                  <a:pt x="2756" y="4"/>
                </a:moveTo>
                <a:cubicBezTo>
                  <a:pt x="2756" y="4"/>
                  <a:pt x="2756" y="4"/>
                  <a:pt x="2756" y="4"/>
                </a:cubicBezTo>
                <a:cubicBezTo>
                  <a:pt x="2750" y="4"/>
                  <a:pt x="2750" y="4"/>
                  <a:pt x="2750" y="4"/>
                </a:cubicBezTo>
                <a:cubicBezTo>
                  <a:pt x="2748" y="5"/>
                  <a:pt x="2747" y="7"/>
                  <a:pt x="2745" y="7"/>
                </a:cubicBezTo>
                <a:cubicBezTo>
                  <a:pt x="2743" y="9"/>
                  <a:pt x="2741" y="10"/>
                  <a:pt x="2740" y="10"/>
                </a:cubicBezTo>
                <a:cubicBezTo>
                  <a:pt x="2737" y="11"/>
                  <a:pt x="2736" y="12"/>
                  <a:pt x="2734" y="12"/>
                </a:cubicBezTo>
                <a:cubicBezTo>
                  <a:pt x="2732" y="13"/>
                  <a:pt x="2731" y="14"/>
                  <a:pt x="2729" y="15"/>
                </a:cubicBezTo>
                <a:cubicBezTo>
                  <a:pt x="2729" y="15"/>
                  <a:pt x="2729" y="15"/>
                  <a:pt x="2729" y="25"/>
                </a:cubicBezTo>
                <a:cubicBezTo>
                  <a:pt x="2732" y="24"/>
                  <a:pt x="2734" y="23"/>
                  <a:pt x="2737" y="22"/>
                </a:cubicBezTo>
                <a:cubicBezTo>
                  <a:pt x="2740" y="21"/>
                  <a:pt x="2742" y="20"/>
                  <a:pt x="2744" y="18"/>
                </a:cubicBezTo>
                <a:cubicBezTo>
                  <a:pt x="2744" y="18"/>
                  <a:pt x="2744" y="18"/>
                  <a:pt x="2744" y="77"/>
                </a:cubicBezTo>
                <a:cubicBezTo>
                  <a:pt x="2744" y="77"/>
                  <a:pt x="2744" y="77"/>
                  <a:pt x="2756" y="77"/>
                </a:cubicBezTo>
                <a:cubicBezTo>
                  <a:pt x="2756" y="77"/>
                  <a:pt x="2756" y="77"/>
                  <a:pt x="2756" y="4"/>
                </a:cubicBezTo>
                <a:close/>
                <a:moveTo>
                  <a:pt x="2803" y="4"/>
                </a:moveTo>
                <a:cubicBezTo>
                  <a:pt x="2803" y="4"/>
                  <a:pt x="2803" y="4"/>
                  <a:pt x="2803" y="4"/>
                </a:cubicBezTo>
                <a:cubicBezTo>
                  <a:pt x="2798" y="4"/>
                  <a:pt x="2798" y="4"/>
                  <a:pt x="2798" y="4"/>
                </a:cubicBezTo>
                <a:cubicBezTo>
                  <a:pt x="2795" y="5"/>
                  <a:pt x="2794" y="7"/>
                  <a:pt x="2792" y="7"/>
                </a:cubicBezTo>
                <a:cubicBezTo>
                  <a:pt x="2790" y="9"/>
                  <a:pt x="2788" y="10"/>
                  <a:pt x="2787" y="10"/>
                </a:cubicBezTo>
                <a:cubicBezTo>
                  <a:pt x="2785" y="12"/>
                  <a:pt x="2783" y="12"/>
                  <a:pt x="2782" y="13"/>
                </a:cubicBezTo>
                <a:cubicBezTo>
                  <a:pt x="2780" y="14"/>
                  <a:pt x="2778" y="15"/>
                  <a:pt x="2776" y="15"/>
                </a:cubicBezTo>
                <a:cubicBezTo>
                  <a:pt x="2776" y="15"/>
                  <a:pt x="2776" y="15"/>
                  <a:pt x="2776" y="25"/>
                </a:cubicBezTo>
                <a:cubicBezTo>
                  <a:pt x="2779" y="24"/>
                  <a:pt x="2782" y="23"/>
                  <a:pt x="2784" y="22"/>
                </a:cubicBezTo>
                <a:cubicBezTo>
                  <a:pt x="2787" y="21"/>
                  <a:pt x="2789" y="20"/>
                  <a:pt x="2791" y="18"/>
                </a:cubicBezTo>
                <a:cubicBezTo>
                  <a:pt x="2791" y="18"/>
                  <a:pt x="2791" y="18"/>
                  <a:pt x="2791" y="77"/>
                </a:cubicBezTo>
                <a:cubicBezTo>
                  <a:pt x="2791" y="77"/>
                  <a:pt x="2791" y="77"/>
                  <a:pt x="2803" y="77"/>
                </a:cubicBezTo>
                <a:cubicBezTo>
                  <a:pt x="2803" y="77"/>
                  <a:pt x="2803" y="77"/>
                  <a:pt x="2803" y="4"/>
                </a:cubicBezTo>
                <a:close/>
                <a:moveTo>
                  <a:pt x="2849" y="4"/>
                </a:moveTo>
                <a:cubicBezTo>
                  <a:pt x="2849" y="4"/>
                  <a:pt x="2849" y="4"/>
                  <a:pt x="2849" y="4"/>
                </a:cubicBezTo>
                <a:cubicBezTo>
                  <a:pt x="2845" y="4"/>
                  <a:pt x="2845" y="4"/>
                  <a:pt x="2845" y="4"/>
                </a:cubicBezTo>
                <a:cubicBezTo>
                  <a:pt x="2843" y="5"/>
                  <a:pt x="2841" y="7"/>
                  <a:pt x="2839" y="7"/>
                </a:cubicBezTo>
                <a:cubicBezTo>
                  <a:pt x="2838" y="9"/>
                  <a:pt x="2835" y="10"/>
                  <a:pt x="2834" y="10"/>
                </a:cubicBezTo>
                <a:cubicBezTo>
                  <a:pt x="2832" y="12"/>
                  <a:pt x="2830" y="12"/>
                  <a:pt x="2828" y="13"/>
                </a:cubicBezTo>
                <a:cubicBezTo>
                  <a:pt x="2827" y="14"/>
                  <a:pt x="2825" y="15"/>
                  <a:pt x="2823" y="15"/>
                </a:cubicBezTo>
                <a:cubicBezTo>
                  <a:pt x="2823" y="15"/>
                  <a:pt x="2823" y="15"/>
                  <a:pt x="2823" y="25"/>
                </a:cubicBezTo>
                <a:cubicBezTo>
                  <a:pt x="2826" y="24"/>
                  <a:pt x="2829" y="23"/>
                  <a:pt x="2831" y="22"/>
                </a:cubicBezTo>
                <a:cubicBezTo>
                  <a:pt x="2833" y="21"/>
                  <a:pt x="2836" y="20"/>
                  <a:pt x="2838" y="18"/>
                </a:cubicBezTo>
                <a:cubicBezTo>
                  <a:pt x="2838" y="18"/>
                  <a:pt x="2838" y="18"/>
                  <a:pt x="2838" y="77"/>
                </a:cubicBezTo>
                <a:cubicBezTo>
                  <a:pt x="2838" y="77"/>
                  <a:pt x="2838" y="77"/>
                  <a:pt x="2849" y="77"/>
                </a:cubicBezTo>
                <a:cubicBezTo>
                  <a:pt x="2849" y="77"/>
                  <a:pt x="2849" y="77"/>
                  <a:pt x="2849" y="4"/>
                </a:cubicBezTo>
                <a:close/>
                <a:moveTo>
                  <a:pt x="2972" y="4"/>
                </a:moveTo>
                <a:cubicBezTo>
                  <a:pt x="2972" y="4"/>
                  <a:pt x="2972" y="4"/>
                  <a:pt x="2972" y="4"/>
                </a:cubicBezTo>
                <a:cubicBezTo>
                  <a:pt x="2967" y="4"/>
                  <a:pt x="2967" y="4"/>
                  <a:pt x="2967" y="4"/>
                </a:cubicBezTo>
                <a:cubicBezTo>
                  <a:pt x="2965" y="5"/>
                  <a:pt x="2963" y="7"/>
                  <a:pt x="2961" y="7"/>
                </a:cubicBezTo>
                <a:cubicBezTo>
                  <a:pt x="2960" y="9"/>
                  <a:pt x="2958" y="10"/>
                  <a:pt x="2956" y="10"/>
                </a:cubicBezTo>
                <a:cubicBezTo>
                  <a:pt x="2955" y="12"/>
                  <a:pt x="2952" y="12"/>
                  <a:pt x="2951" y="13"/>
                </a:cubicBezTo>
                <a:cubicBezTo>
                  <a:pt x="2949" y="14"/>
                  <a:pt x="2947" y="15"/>
                  <a:pt x="2945" y="15"/>
                </a:cubicBezTo>
                <a:cubicBezTo>
                  <a:pt x="2945" y="15"/>
                  <a:pt x="2945" y="15"/>
                  <a:pt x="2945" y="25"/>
                </a:cubicBezTo>
                <a:cubicBezTo>
                  <a:pt x="2948" y="24"/>
                  <a:pt x="2951" y="23"/>
                  <a:pt x="2954" y="22"/>
                </a:cubicBezTo>
                <a:cubicBezTo>
                  <a:pt x="2956" y="21"/>
                  <a:pt x="2958" y="20"/>
                  <a:pt x="2960" y="18"/>
                </a:cubicBezTo>
                <a:cubicBezTo>
                  <a:pt x="2960" y="18"/>
                  <a:pt x="2960" y="18"/>
                  <a:pt x="2960" y="77"/>
                </a:cubicBezTo>
                <a:cubicBezTo>
                  <a:pt x="2960" y="77"/>
                  <a:pt x="2960" y="77"/>
                  <a:pt x="2972" y="77"/>
                </a:cubicBezTo>
                <a:cubicBezTo>
                  <a:pt x="2972" y="77"/>
                  <a:pt x="2972" y="77"/>
                  <a:pt x="2972" y="4"/>
                </a:cubicBezTo>
                <a:close/>
                <a:moveTo>
                  <a:pt x="3020" y="4"/>
                </a:moveTo>
                <a:cubicBezTo>
                  <a:pt x="3020" y="4"/>
                  <a:pt x="3020" y="4"/>
                  <a:pt x="3020" y="4"/>
                </a:cubicBezTo>
                <a:cubicBezTo>
                  <a:pt x="3014" y="4"/>
                  <a:pt x="3014" y="4"/>
                  <a:pt x="3014" y="4"/>
                </a:cubicBezTo>
                <a:cubicBezTo>
                  <a:pt x="3012" y="5"/>
                  <a:pt x="3011" y="7"/>
                  <a:pt x="3009" y="7"/>
                </a:cubicBezTo>
                <a:cubicBezTo>
                  <a:pt x="3007" y="9"/>
                  <a:pt x="3005" y="10"/>
                  <a:pt x="3004" y="10"/>
                </a:cubicBezTo>
                <a:cubicBezTo>
                  <a:pt x="3002" y="12"/>
                  <a:pt x="3000" y="12"/>
                  <a:pt x="2998" y="13"/>
                </a:cubicBezTo>
                <a:cubicBezTo>
                  <a:pt x="2996" y="14"/>
                  <a:pt x="2995" y="15"/>
                  <a:pt x="2993" y="15"/>
                </a:cubicBezTo>
                <a:cubicBezTo>
                  <a:pt x="2993" y="15"/>
                  <a:pt x="2993" y="15"/>
                  <a:pt x="2993" y="25"/>
                </a:cubicBezTo>
                <a:cubicBezTo>
                  <a:pt x="2996" y="24"/>
                  <a:pt x="2998" y="23"/>
                  <a:pt x="3001" y="22"/>
                </a:cubicBezTo>
                <a:cubicBezTo>
                  <a:pt x="3004" y="21"/>
                  <a:pt x="3006" y="20"/>
                  <a:pt x="3008" y="18"/>
                </a:cubicBezTo>
                <a:cubicBezTo>
                  <a:pt x="3008" y="18"/>
                  <a:pt x="3008" y="18"/>
                  <a:pt x="3008" y="77"/>
                </a:cubicBezTo>
                <a:cubicBezTo>
                  <a:pt x="3008" y="77"/>
                  <a:pt x="3008" y="77"/>
                  <a:pt x="3020" y="77"/>
                </a:cubicBezTo>
                <a:cubicBezTo>
                  <a:pt x="3020" y="77"/>
                  <a:pt x="3020" y="77"/>
                  <a:pt x="3020" y="4"/>
                </a:cubicBezTo>
                <a:close/>
                <a:moveTo>
                  <a:pt x="3066" y="4"/>
                </a:moveTo>
                <a:cubicBezTo>
                  <a:pt x="3066" y="4"/>
                  <a:pt x="3066" y="4"/>
                  <a:pt x="3066" y="4"/>
                </a:cubicBezTo>
                <a:cubicBezTo>
                  <a:pt x="3062" y="4"/>
                  <a:pt x="3062" y="4"/>
                  <a:pt x="3062" y="4"/>
                </a:cubicBezTo>
                <a:cubicBezTo>
                  <a:pt x="3060" y="5"/>
                  <a:pt x="3058" y="7"/>
                  <a:pt x="3056" y="7"/>
                </a:cubicBezTo>
                <a:cubicBezTo>
                  <a:pt x="3055" y="9"/>
                  <a:pt x="3052" y="10"/>
                  <a:pt x="3051" y="10"/>
                </a:cubicBezTo>
                <a:cubicBezTo>
                  <a:pt x="3049" y="11"/>
                  <a:pt x="3047" y="12"/>
                  <a:pt x="3045" y="12"/>
                </a:cubicBezTo>
                <a:cubicBezTo>
                  <a:pt x="3044" y="13"/>
                  <a:pt x="3042" y="14"/>
                  <a:pt x="3040" y="15"/>
                </a:cubicBezTo>
                <a:cubicBezTo>
                  <a:pt x="3040" y="15"/>
                  <a:pt x="3040" y="15"/>
                  <a:pt x="3040" y="25"/>
                </a:cubicBezTo>
                <a:cubicBezTo>
                  <a:pt x="3043" y="24"/>
                  <a:pt x="3046" y="23"/>
                  <a:pt x="3048" y="22"/>
                </a:cubicBezTo>
                <a:cubicBezTo>
                  <a:pt x="3050" y="21"/>
                  <a:pt x="3053" y="20"/>
                  <a:pt x="3055" y="18"/>
                </a:cubicBezTo>
                <a:cubicBezTo>
                  <a:pt x="3055" y="18"/>
                  <a:pt x="3055" y="18"/>
                  <a:pt x="3055" y="77"/>
                </a:cubicBezTo>
                <a:cubicBezTo>
                  <a:pt x="3055" y="77"/>
                  <a:pt x="3055" y="77"/>
                  <a:pt x="3066" y="77"/>
                </a:cubicBezTo>
                <a:cubicBezTo>
                  <a:pt x="3066" y="77"/>
                  <a:pt x="3066" y="77"/>
                  <a:pt x="3066" y="4"/>
                </a:cubicBezTo>
                <a:close/>
                <a:moveTo>
                  <a:pt x="3111" y="77"/>
                </a:moveTo>
                <a:cubicBezTo>
                  <a:pt x="3104" y="77"/>
                  <a:pt x="3097" y="74"/>
                  <a:pt x="3093" y="68"/>
                </a:cubicBezTo>
                <a:cubicBezTo>
                  <a:pt x="3089" y="62"/>
                  <a:pt x="3087" y="53"/>
                  <a:pt x="3087" y="41"/>
                </a:cubicBezTo>
                <a:cubicBezTo>
                  <a:pt x="3087" y="28"/>
                  <a:pt x="3089" y="18"/>
                  <a:pt x="3093" y="12"/>
                </a:cubicBezTo>
                <a:cubicBezTo>
                  <a:pt x="3098" y="5"/>
                  <a:pt x="3104" y="1"/>
                  <a:pt x="3113" y="1"/>
                </a:cubicBezTo>
                <a:cubicBezTo>
                  <a:pt x="3129" y="1"/>
                  <a:pt x="3137" y="14"/>
                  <a:pt x="3137" y="39"/>
                </a:cubicBezTo>
                <a:cubicBezTo>
                  <a:pt x="3137" y="52"/>
                  <a:pt x="3135" y="61"/>
                  <a:pt x="3130" y="68"/>
                </a:cubicBezTo>
                <a:cubicBezTo>
                  <a:pt x="3125" y="74"/>
                  <a:pt x="3119" y="77"/>
                  <a:pt x="3111" y="77"/>
                </a:cubicBezTo>
                <a:close/>
                <a:moveTo>
                  <a:pt x="3112" y="11"/>
                </a:moveTo>
                <a:cubicBezTo>
                  <a:pt x="3103" y="11"/>
                  <a:pt x="3098" y="21"/>
                  <a:pt x="3098" y="41"/>
                </a:cubicBezTo>
                <a:cubicBezTo>
                  <a:pt x="3098" y="59"/>
                  <a:pt x="3103" y="68"/>
                  <a:pt x="3112" y="68"/>
                </a:cubicBezTo>
                <a:cubicBezTo>
                  <a:pt x="3120" y="68"/>
                  <a:pt x="3125" y="59"/>
                  <a:pt x="3125" y="40"/>
                </a:cubicBezTo>
                <a:cubicBezTo>
                  <a:pt x="3125" y="20"/>
                  <a:pt x="3120" y="11"/>
                  <a:pt x="3112" y="11"/>
                </a:cubicBezTo>
                <a:close/>
                <a:moveTo>
                  <a:pt x="3182" y="77"/>
                </a:moveTo>
                <a:cubicBezTo>
                  <a:pt x="3174" y="77"/>
                  <a:pt x="3168" y="74"/>
                  <a:pt x="3164" y="68"/>
                </a:cubicBezTo>
                <a:cubicBezTo>
                  <a:pt x="3160" y="62"/>
                  <a:pt x="3157" y="53"/>
                  <a:pt x="3157" y="41"/>
                </a:cubicBezTo>
                <a:cubicBezTo>
                  <a:pt x="3157" y="28"/>
                  <a:pt x="3160" y="18"/>
                  <a:pt x="3164" y="12"/>
                </a:cubicBezTo>
                <a:cubicBezTo>
                  <a:pt x="3168" y="5"/>
                  <a:pt x="3175" y="1"/>
                  <a:pt x="3184" y="1"/>
                </a:cubicBezTo>
                <a:cubicBezTo>
                  <a:pt x="3200" y="1"/>
                  <a:pt x="3208" y="14"/>
                  <a:pt x="3208" y="39"/>
                </a:cubicBezTo>
                <a:cubicBezTo>
                  <a:pt x="3208" y="52"/>
                  <a:pt x="3206" y="61"/>
                  <a:pt x="3202" y="68"/>
                </a:cubicBezTo>
                <a:cubicBezTo>
                  <a:pt x="3196" y="74"/>
                  <a:pt x="3190" y="77"/>
                  <a:pt x="3182" y="77"/>
                </a:cubicBezTo>
                <a:close/>
                <a:moveTo>
                  <a:pt x="3183" y="11"/>
                </a:moveTo>
                <a:cubicBezTo>
                  <a:pt x="3174" y="11"/>
                  <a:pt x="3169" y="21"/>
                  <a:pt x="3169" y="41"/>
                </a:cubicBezTo>
                <a:cubicBezTo>
                  <a:pt x="3169" y="59"/>
                  <a:pt x="3174" y="68"/>
                  <a:pt x="3182" y="68"/>
                </a:cubicBezTo>
                <a:cubicBezTo>
                  <a:pt x="3191" y="68"/>
                  <a:pt x="3196" y="59"/>
                  <a:pt x="3196" y="40"/>
                </a:cubicBezTo>
                <a:cubicBezTo>
                  <a:pt x="3196" y="20"/>
                  <a:pt x="3191" y="11"/>
                  <a:pt x="3183" y="11"/>
                </a:cubicBezTo>
                <a:close/>
                <a:moveTo>
                  <a:pt x="2870" y="36"/>
                </a:moveTo>
                <a:cubicBezTo>
                  <a:pt x="2870" y="36"/>
                  <a:pt x="2870" y="36"/>
                  <a:pt x="2870" y="36"/>
                </a:cubicBezTo>
                <a:cubicBezTo>
                  <a:pt x="2869" y="44"/>
                  <a:pt x="2869" y="44"/>
                  <a:pt x="2869" y="44"/>
                </a:cubicBezTo>
                <a:cubicBezTo>
                  <a:pt x="2876" y="45"/>
                  <a:pt x="2876" y="48"/>
                  <a:pt x="2876" y="50"/>
                </a:cubicBezTo>
                <a:cubicBezTo>
                  <a:pt x="2876" y="53"/>
                  <a:pt x="2876" y="55"/>
                  <a:pt x="2876" y="57"/>
                </a:cubicBezTo>
                <a:cubicBezTo>
                  <a:pt x="2876" y="60"/>
                  <a:pt x="2875" y="62"/>
                  <a:pt x="2875" y="65"/>
                </a:cubicBezTo>
                <a:cubicBezTo>
                  <a:pt x="2875" y="74"/>
                  <a:pt x="2881" y="77"/>
                  <a:pt x="2890" y="77"/>
                </a:cubicBezTo>
                <a:cubicBezTo>
                  <a:pt x="2890" y="77"/>
                  <a:pt x="2890" y="77"/>
                  <a:pt x="2894" y="77"/>
                </a:cubicBezTo>
                <a:cubicBezTo>
                  <a:pt x="2894" y="77"/>
                  <a:pt x="2894" y="77"/>
                  <a:pt x="2894" y="68"/>
                </a:cubicBezTo>
                <a:cubicBezTo>
                  <a:pt x="2894" y="68"/>
                  <a:pt x="2894" y="68"/>
                  <a:pt x="2892" y="68"/>
                </a:cubicBezTo>
                <a:cubicBezTo>
                  <a:pt x="2889" y="68"/>
                  <a:pt x="2887" y="66"/>
                  <a:pt x="2887" y="62"/>
                </a:cubicBezTo>
                <a:cubicBezTo>
                  <a:pt x="2887" y="61"/>
                  <a:pt x="2887" y="59"/>
                  <a:pt x="2888" y="57"/>
                </a:cubicBezTo>
                <a:cubicBezTo>
                  <a:pt x="2888" y="56"/>
                  <a:pt x="2888" y="54"/>
                  <a:pt x="2888" y="52"/>
                </a:cubicBezTo>
                <a:cubicBezTo>
                  <a:pt x="2888" y="44"/>
                  <a:pt x="2885" y="42"/>
                  <a:pt x="2879" y="40"/>
                </a:cubicBezTo>
                <a:cubicBezTo>
                  <a:pt x="2879" y="40"/>
                  <a:pt x="2879" y="40"/>
                  <a:pt x="2879" y="40"/>
                </a:cubicBezTo>
                <a:cubicBezTo>
                  <a:pt x="2885" y="39"/>
                  <a:pt x="2888" y="37"/>
                  <a:pt x="2888" y="29"/>
                </a:cubicBezTo>
                <a:cubicBezTo>
                  <a:pt x="2888" y="27"/>
                  <a:pt x="2888" y="25"/>
                  <a:pt x="2888" y="23"/>
                </a:cubicBezTo>
                <a:cubicBezTo>
                  <a:pt x="2887" y="21"/>
                  <a:pt x="2887" y="20"/>
                  <a:pt x="2887" y="18"/>
                </a:cubicBezTo>
                <a:cubicBezTo>
                  <a:pt x="2887" y="15"/>
                  <a:pt x="2889" y="13"/>
                  <a:pt x="2892" y="13"/>
                </a:cubicBezTo>
                <a:cubicBezTo>
                  <a:pt x="2892" y="13"/>
                  <a:pt x="2892" y="13"/>
                  <a:pt x="2894" y="13"/>
                </a:cubicBezTo>
                <a:cubicBezTo>
                  <a:pt x="2894" y="13"/>
                  <a:pt x="2894" y="13"/>
                  <a:pt x="2894" y="3"/>
                </a:cubicBezTo>
                <a:cubicBezTo>
                  <a:pt x="2894" y="3"/>
                  <a:pt x="2894" y="3"/>
                  <a:pt x="2890" y="3"/>
                </a:cubicBezTo>
                <a:cubicBezTo>
                  <a:pt x="2881" y="3"/>
                  <a:pt x="2875" y="7"/>
                  <a:pt x="2875" y="16"/>
                </a:cubicBezTo>
                <a:cubicBezTo>
                  <a:pt x="2875" y="18"/>
                  <a:pt x="2876" y="21"/>
                  <a:pt x="2876" y="23"/>
                </a:cubicBezTo>
                <a:cubicBezTo>
                  <a:pt x="2876" y="26"/>
                  <a:pt x="2876" y="28"/>
                  <a:pt x="2876" y="30"/>
                </a:cubicBezTo>
                <a:cubicBezTo>
                  <a:pt x="2876" y="33"/>
                  <a:pt x="2876" y="36"/>
                  <a:pt x="2870" y="36"/>
                </a:cubicBezTo>
                <a:close/>
                <a:moveTo>
                  <a:pt x="2924" y="44"/>
                </a:moveTo>
                <a:cubicBezTo>
                  <a:pt x="2924" y="44"/>
                  <a:pt x="2924" y="44"/>
                  <a:pt x="2924" y="44"/>
                </a:cubicBezTo>
                <a:cubicBezTo>
                  <a:pt x="2924" y="36"/>
                  <a:pt x="2924" y="36"/>
                  <a:pt x="2924" y="36"/>
                </a:cubicBezTo>
                <a:cubicBezTo>
                  <a:pt x="2918" y="36"/>
                  <a:pt x="2918" y="33"/>
                  <a:pt x="2918" y="30"/>
                </a:cubicBezTo>
                <a:cubicBezTo>
                  <a:pt x="2918" y="28"/>
                  <a:pt x="2918" y="26"/>
                  <a:pt x="2918" y="23"/>
                </a:cubicBezTo>
                <a:cubicBezTo>
                  <a:pt x="2919" y="21"/>
                  <a:pt x="2919" y="18"/>
                  <a:pt x="2919" y="16"/>
                </a:cubicBezTo>
                <a:cubicBezTo>
                  <a:pt x="2919" y="7"/>
                  <a:pt x="2913" y="3"/>
                  <a:pt x="2904" y="3"/>
                </a:cubicBezTo>
                <a:cubicBezTo>
                  <a:pt x="2904" y="3"/>
                  <a:pt x="2904" y="3"/>
                  <a:pt x="2900" y="3"/>
                </a:cubicBezTo>
                <a:cubicBezTo>
                  <a:pt x="2900" y="3"/>
                  <a:pt x="2900" y="3"/>
                  <a:pt x="2900" y="13"/>
                </a:cubicBezTo>
                <a:cubicBezTo>
                  <a:pt x="2900" y="13"/>
                  <a:pt x="2900" y="13"/>
                  <a:pt x="2902" y="13"/>
                </a:cubicBezTo>
                <a:cubicBezTo>
                  <a:pt x="2906" y="13"/>
                  <a:pt x="2907" y="15"/>
                  <a:pt x="2907" y="18"/>
                </a:cubicBezTo>
                <a:cubicBezTo>
                  <a:pt x="2907" y="20"/>
                  <a:pt x="2907" y="21"/>
                  <a:pt x="2907" y="23"/>
                </a:cubicBezTo>
                <a:cubicBezTo>
                  <a:pt x="2906" y="25"/>
                  <a:pt x="2906" y="27"/>
                  <a:pt x="2906" y="29"/>
                </a:cubicBezTo>
                <a:cubicBezTo>
                  <a:pt x="2906" y="37"/>
                  <a:pt x="2909" y="39"/>
                  <a:pt x="2915" y="40"/>
                </a:cubicBezTo>
                <a:cubicBezTo>
                  <a:pt x="2915" y="40"/>
                  <a:pt x="2915" y="40"/>
                  <a:pt x="2915" y="40"/>
                </a:cubicBezTo>
                <a:cubicBezTo>
                  <a:pt x="2909" y="42"/>
                  <a:pt x="2906" y="44"/>
                  <a:pt x="2906" y="52"/>
                </a:cubicBezTo>
                <a:cubicBezTo>
                  <a:pt x="2906" y="54"/>
                  <a:pt x="2906" y="56"/>
                  <a:pt x="2907" y="57"/>
                </a:cubicBezTo>
                <a:cubicBezTo>
                  <a:pt x="2907" y="59"/>
                  <a:pt x="2907" y="61"/>
                  <a:pt x="2907" y="62"/>
                </a:cubicBezTo>
                <a:cubicBezTo>
                  <a:pt x="2907" y="66"/>
                  <a:pt x="2906" y="68"/>
                  <a:pt x="2902" y="68"/>
                </a:cubicBezTo>
                <a:cubicBezTo>
                  <a:pt x="2902" y="68"/>
                  <a:pt x="2902" y="68"/>
                  <a:pt x="2900" y="68"/>
                </a:cubicBezTo>
                <a:cubicBezTo>
                  <a:pt x="2900" y="68"/>
                  <a:pt x="2900" y="68"/>
                  <a:pt x="2900" y="77"/>
                </a:cubicBezTo>
                <a:cubicBezTo>
                  <a:pt x="2900" y="77"/>
                  <a:pt x="2900" y="77"/>
                  <a:pt x="2904" y="77"/>
                </a:cubicBezTo>
                <a:cubicBezTo>
                  <a:pt x="2913" y="77"/>
                  <a:pt x="2919" y="74"/>
                  <a:pt x="2919" y="65"/>
                </a:cubicBezTo>
                <a:cubicBezTo>
                  <a:pt x="2919" y="62"/>
                  <a:pt x="2919" y="60"/>
                  <a:pt x="2918" y="57"/>
                </a:cubicBezTo>
                <a:cubicBezTo>
                  <a:pt x="2918" y="55"/>
                  <a:pt x="2918" y="53"/>
                  <a:pt x="2918" y="50"/>
                </a:cubicBezTo>
                <a:cubicBezTo>
                  <a:pt x="2918" y="48"/>
                  <a:pt x="2918" y="45"/>
                  <a:pt x="2924" y="44"/>
                </a:cubicBezTo>
                <a:close/>
                <a:moveTo>
                  <a:pt x="3685" y="44"/>
                </a:moveTo>
                <a:cubicBezTo>
                  <a:pt x="3685" y="44"/>
                  <a:pt x="3685" y="44"/>
                  <a:pt x="3685" y="44"/>
                </a:cubicBezTo>
                <a:cubicBezTo>
                  <a:pt x="3685" y="36"/>
                  <a:pt x="3685" y="36"/>
                  <a:pt x="3685" y="36"/>
                </a:cubicBezTo>
                <a:cubicBezTo>
                  <a:pt x="3679" y="36"/>
                  <a:pt x="3678" y="33"/>
                  <a:pt x="3678" y="30"/>
                </a:cubicBezTo>
                <a:cubicBezTo>
                  <a:pt x="3678" y="28"/>
                  <a:pt x="3678" y="26"/>
                  <a:pt x="3679" y="23"/>
                </a:cubicBezTo>
                <a:cubicBezTo>
                  <a:pt x="3679" y="21"/>
                  <a:pt x="3679" y="18"/>
                  <a:pt x="3679" y="16"/>
                </a:cubicBezTo>
                <a:cubicBezTo>
                  <a:pt x="3679" y="7"/>
                  <a:pt x="3674" y="3"/>
                  <a:pt x="3665" y="3"/>
                </a:cubicBezTo>
                <a:cubicBezTo>
                  <a:pt x="3665" y="3"/>
                  <a:pt x="3665" y="3"/>
                  <a:pt x="3661" y="3"/>
                </a:cubicBezTo>
                <a:cubicBezTo>
                  <a:pt x="3661" y="3"/>
                  <a:pt x="3661" y="3"/>
                  <a:pt x="3661" y="13"/>
                </a:cubicBezTo>
                <a:cubicBezTo>
                  <a:pt x="3661" y="13"/>
                  <a:pt x="3661" y="13"/>
                  <a:pt x="3662" y="13"/>
                </a:cubicBezTo>
                <a:cubicBezTo>
                  <a:pt x="3666" y="13"/>
                  <a:pt x="3667" y="15"/>
                  <a:pt x="3667" y="18"/>
                </a:cubicBezTo>
                <a:cubicBezTo>
                  <a:pt x="3667" y="20"/>
                  <a:pt x="3667" y="21"/>
                  <a:pt x="3667" y="23"/>
                </a:cubicBezTo>
                <a:cubicBezTo>
                  <a:pt x="3667" y="25"/>
                  <a:pt x="3667" y="27"/>
                  <a:pt x="3667" y="29"/>
                </a:cubicBezTo>
                <a:cubicBezTo>
                  <a:pt x="3667" y="37"/>
                  <a:pt x="3669" y="39"/>
                  <a:pt x="3675" y="40"/>
                </a:cubicBezTo>
                <a:cubicBezTo>
                  <a:pt x="3675" y="40"/>
                  <a:pt x="3675" y="40"/>
                  <a:pt x="3675" y="40"/>
                </a:cubicBezTo>
                <a:cubicBezTo>
                  <a:pt x="3669" y="42"/>
                  <a:pt x="3667" y="44"/>
                  <a:pt x="3667" y="52"/>
                </a:cubicBezTo>
                <a:cubicBezTo>
                  <a:pt x="3667" y="54"/>
                  <a:pt x="3667" y="56"/>
                  <a:pt x="3667" y="57"/>
                </a:cubicBezTo>
                <a:cubicBezTo>
                  <a:pt x="3667" y="59"/>
                  <a:pt x="3667" y="61"/>
                  <a:pt x="3667" y="62"/>
                </a:cubicBezTo>
                <a:cubicBezTo>
                  <a:pt x="3667" y="66"/>
                  <a:pt x="3666" y="68"/>
                  <a:pt x="3662" y="68"/>
                </a:cubicBezTo>
                <a:cubicBezTo>
                  <a:pt x="3662" y="68"/>
                  <a:pt x="3662" y="68"/>
                  <a:pt x="3661" y="68"/>
                </a:cubicBezTo>
                <a:cubicBezTo>
                  <a:pt x="3661" y="68"/>
                  <a:pt x="3661" y="68"/>
                  <a:pt x="3661" y="77"/>
                </a:cubicBezTo>
                <a:cubicBezTo>
                  <a:pt x="3661" y="77"/>
                  <a:pt x="3661" y="77"/>
                  <a:pt x="3665" y="77"/>
                </a:cubicBezTo>
                <a:cubicBezTo>
                  <a:pt x="3673" y="77"/>
                  <a:pt x="3679" y="74"/>
                  <a:pt x="3679" y="65"/>
                </a:cubicBezTo>
                <a:cubicBezTo>
                  <a:pt x="3679" y="62"/>
                  <a:pt x="3679" y="60"/>
                  <a:pt x="3679" y="57"/>
                </a:cubicBezTo>
                <a:cubicBezTo>
                  <a:pt x="3678" y="55"/>
                  <a:pt x="3678" y="53"/>
                  <a:pt x="3678" y="50"/>
                </a:cubicBezTo>
                <a:cubicBezTo>
                  <a:pt x="3678" y="48"/>
                  <a:pt x="3679" y="45"/>
                  <a:pt x="3685" y="44"/>
                </a:cubicBezTo>
                <a:close/>
                <a:moveTo>
                  <a:pt x="3805" y="77"/>
                </a:moveTo>
                <a:cubicBezTo>
                  <a:pt x="3798" y="77"/>
                  <a:pt x="3791" y="74"/>
                  <a:pt x="3787" y="68"/>
                </a:cubicBezTo>
                <a:cubicBezTo>
                  <a:pt x="3783" y="62"/>
                  <a:pt x="3781" y="53"/>
                  <a:pt x="3781" y="41"/>
                </a:cubicBezTo>
                <a:cubicBezTo>
                  <a:pt x="3781" y="28"/>
                  <a:pt x="3783" y="18"/>
                  <a:pt x="3787" y="12"/>
                </a:cubicBezTo>
                <a:cubicBezTo>
                  <a:pt x="3792" y="5"/>
                  <a:pt x="3798" y="1"/>
                  <a:pt x="3807" y="1"/>
                </a:cubicBezTo>
                <a:cubicBezTo>
                  <a:pt x="3823" y="1"/>
                  <a:pt x="3831" y="14"/>
                  <a:pt x="3831" y="39"/>
                </a:cubicBezTo>
                <a:cubicBezTo>
                  <a:pt x="3831" y="52"/>
                  <a:pt x="3829" y="61"/>
                  <a:pt x="3824" y="68"/>
                </a:cubicBezTo>
                <a:cubicBezTo>
                  <a:pt x="3820" y="74"/>
                  <a:pt x="3813" y="77"/>
                  <a:pt x="3805" y="77"/>
                </a:cubicBezTo>
                <a:close/>
                <a:moveTo>
                  <a:pt x="3806" y="11"/>
                </a:moveTo>
                <a:cubicBezTo>
                  <a:pt x="3797" y="11"/>
                  <a:pt x="3793" y="21"/>
                  <a:pt x="3793" y="41"/>
                </a:cubicBezTo>
                <a:cubicBezTo>
                  <a:pt x="3793" y="59"/>
                  <a:pt x="3797" y="68"/>
                  <a:pt x="3806" y="68"/>
                </a:cubicBezTo>
                <a:cubicBezTo>
                  <a:pt x="3814" y="68"/>
                  <a:pt x="3819" y="59"/>
                  <a:pt x="3819" y="40"/>
                </a:cubicBezTo>
                <a:cubicBezTo>
                  <a:pt x="3819" y="20"/>
                  <a:pt x="3814" y="11"/>
                  <a:pt x="3806" y="11"/>
                </a:cubicBezTo>
                <a:close/>
                <a:moveTo>
                  <a:pt x="3711" y="77"/>
                </a:moveTo>
                <a:cubicBezTo>
                  <a:pt x="3714" y="58"/>
                  <a:pt x="3714" y="58"/>
                  <a:pt x="3714" y="58"/>
                </a:cubicBezTo>
                <a:cubicBezTo>
                  <a:pt x="3705" y="58"/>
                  <a:pt x="3705" y="58"/>
                  <a:pt x="3705" y="58"/>
                </a:cubicBezTo>
                <a:cubicBezTo>
                  <a:pt x="3705" y="46"/>
                  <a:pt x="3705" y="46"/>
                  <a:pt x="3705" y="46"/>
                </a:cubicBezTo>
                <a:cubicBezTo>
                  <a:pt x="3716" y="46"/>
                  <a:pt x="3716" y="46"/>
                  <a:pt x="3716" y="46"/>
                </a:cubicBezTo>
                <a:cubicBezTo>
                  <a:pt x="3718" y="35"/>
                  <a:pt x="3718" y="35"/>
                  <a:pt x="3718" y="35"/>
                </a:cubicBezTo>
                <a:cubicBezTo>
                  <a:pt x="3708" y="35"/>
                  <a:pt x="3708" y="35"/>
                  <a:pt x="3708" y="35"/>
                </a:cubicBezTo>
                <a:cubicBezTo>
                  <a:pt x="3708" y="23"/>
                  <a:pt x="3708" y="23"/>
                  <a:pt x="3708" y="23"/>
                </a:cubicBezTo>
                <a:cubicBezTo>
                  <a:pt x="3720" y="23"/>
                  <a:pt x="3720" y="23"/>
                  <a:pt x="3720" y="23"/>
                </a:cubicBezTo>
                <a:cubicBezTo>
                  <a:pt x="3722" y="5"/>
                  <a:pt x="3722" y="5"/>
                  <a:pt x="3722" y="5"/>
                </a:cubicBezTo>
                <a:cubicBezTo>
                  <a:pt x="3734" y="5"/>
                  <a:pt x="3734" y="5"/>
                  <a:pt x="3734" y="5"/>
                </a:cubicBezTo>
                <a:cubicBezTo>
                  <a:pt x="3731" y="23"/>
                  <a:pt x="3731" y="23"/>
                  <a:pt x="3731" y="23"/>
                </a:cubicBezTo>
                <a:cubicBezTo>
                  <a:pt x="3740" y="23"/>
                  <a:pt x="3740" y="23"/>
                  <a:pt x="3740" y="23"/>
                </a:cubicBezTo>
                <a:cubicBezTo>
                  <a:pt x="3743" y="5"/>
                  <a:pt x="3743" y="5"/>
                  <a:pt x="3743" y="5"/>
                </a:cubicBezTo>
                <a:cubicBezTo>
                  <a:pt x="3754" y="5"/>
                  <a:pt x="3754" y="5"/>
                  <a:pt x="3754" y="5"/>
                </a:cubicBezTo>
                <a:cubicBezTo>
                  <a:pt x="3751" y="23"/>
                  <a:pt x="3751" y="23"/>
                  <a:pt x="3751" y="23"/>
                </a:cubicBezTo>
                <a:cubicBezTo>
                  <a:pt x="3760" y="23"/>
                  <a:pt x="3760" y="23"/>
                  <a:pt x="3760" y="23"/>
                </a:cubicBezTo>
                <a:cubicBezTo>
                  <a:pt x="3760" y="35"/>
                  <a:pt x="3760" y="35"/>
                  <a:pt x="3760" y="35"/>
                </a:cubicBezTo>
                <a:cubicBezTo>
                  <a:pt x="3750" y="35"/>
                  <a:pt x="3750" y="35"/>
                  <a:pt x="3750" y="35"/>
                </a:cubicBezTo>
                <a:cubicBezTo>
                  <a:pt x="3748" y="46"/>
                  <a:pt x="3748" y="46"/>
                  <a:pt x="3748" y="46"/>
                </a:cubicBezTo>
                <a:cubicBezTo>
                  <a:pt x="3757" y="46"/>
                  <a:pt x="3757" y="46"/>
                  <a:pt x="3757" y="46"/>
                </a:cubicBezTo>
                <a:cubicBezTo>
                  <a:pt x="3757" y="58"/>
                  <a:pt x="3757" y="58"/>
                  <a:pt x="3757" y="58"/>
                </a:cubicBezTo>
                <a:cubicBezTo>
                  <a:pt x="3746" y="58"/>
                  <a:pt x="3746" y="58"/>
                  <a:pt x="3746" y="58"/>
                </a:cubicBezTo>
                <a:cubicBezTo>
                  <a:pt x="3743" y="77"/>
                  <a:pt x="3743" y="77"/>
                  <a:pt x="3743" y="77"/>
                </a:cubicBezTo>
                <a:cubicBezTo>
                  <a:pt x="3732" y="77"/>
                  <a:pt x="3732" y="77"/>
                  <a:pt x="3732" y="77"/>
                </a:cubicBezTo>
                <a:cubicBezTo>
                  <a:pt x="3735" y="58"/>
                  <a:pt x="3735" y="58"/>
                  <a:pt x="3735" y="58"/>
                </a:cubicBezTo>
                <a:cubicBezTo>
                  <a:pt x="3725" y="58"/>
                  <a:pt x="3725" y="58"/>
                  <a:pt x="3725" y="58"/>
                </a:cubicBezTo>
                <a:cubicBezTo>
                  <a:pt x="3723" y="77"/>
                  <a:pt x="3723" y="77"/>
                  <a:pt x="3723" y="77"/>
                </a:cubicBezTo>
                <a:cubicBezTo>
                  <a:pt x="3711" y="77"/>
                  <a:pt x="3711" y="77"/>
                  <a:pt x="3711" y="77"/>
                </a:cubicBezTo>
                <a:cubicBezTo>
                  <a:pt x="3711" y="77"/>
                  <a:pt x="3711" y="77"/>
                  <a:pt x="3711" y="77"/>
                </a:cubicBezTo>
                <a:close/>
                <a:moveTo>
                  <a:pt x="3737" y="46"/>
                </a:moveTo>
                <a:cubicBezTo>
                  <a:pt x="3738" y="35"/>
                  <a:pt x="3738" y="35"/>
                  <a:pt x="3738" y="35"/>
                </a:cubicBezTo>
                <a:cubicBezTo>
                  <a:pt x="3729" y="35"/>
                  <a:pt x="3729" y="35"/>
                  <a:pt x="3729" y="35"/>
                </a:cubicBezTo>
                <a:cubicBezTo>
                  <a:pt x="3727" y="46"/>
                  <a:pt x="3727" y="46"/>
                  <a:pt x="3727" y="46"/>
                </a:cubicBezTo>
                <a:cubicBezTo>
                  <a:pt x="3737" y="46"/>
                  <a:pt x="3737" y="46"/>
                  <a:pt x="3737" y="46"/>
                </a:cubicBezTo>
                <a:cubicBezTo>
                  <a:pt x="3737" y="46"/>
                  <a:pt x="3737" y="46"/>
                  <a:pt x="3737" y="46"/>
                </a:cubicBezTo>
                <a:close/>
                <a:moveTo>
                  <a:pt x="2596" y="51"/>
                </a:moveTo>
                <a:cubicBezTo>
                  <a:pt x="2596" y="53"/>
                  <a:pt x="2597" y="54"/>
                  <a:pt x="2598" y="55"/>
                </a:cubicBezTo>
                <a:cubicBezTo>
                  <a:pt x="2598" y="57"/>
                  <a:pt x="2598" y="59"/>
                  <a:pt x="2599" y="61"/>
                </a:cubicBezTo>
                <a:cubicBezTo>
                  <a:pt x="2599" y="62"/>
                  <a:pt x="2599" y="64"/>
                  <a:pt x="2599" y="65"/>
                </a:cubicBezTo>
                <a:cubicBezTo>
                  <a:pt x="2600" y="68"/>
                  <a:pt x="2599" y="70"/>
                  <a:pt x="2596" y="70"/>
                </a:cubicBezTo>
                <a:cubicBezTo>
                  <a:pt x="2593" y="70"/>
                  <a:pt x="2590" y="70"/>
                  <a:pt x="2587" y="70"/>
                </a:cubicBezTo>
                <a:cubicBezTo>
                  <a:pt x="2587" y="70"/>
                  <a:pt x="2586" y="70"/>
                  <a:pt x="2586" y="70"/>
                </a:cubicBezTo>
                <a:cubicBezTo>
                  <a:pt x="2584" y="72"/>
                  <a:pt x="2583" y="73"/>
                  <a:pt x="2581" y="74"/>
                </a:cubicBezTo>
                <a:cubicBezTo>
                  <a:pt x="2579" y="77"/>
                  <a:pt x="2576" y="77"/>
                  <a:pt x="2574" y="75"/>
                </a:cubicBezTo>
                <a:cubicBezTo>
                  <a:pt x="2572" y="73"/>
                  <a:pt x="2571" y="70"/>
                  <a:pt x="2569" y="68"/>
                </a:cubicBezTo>
                <a:cubicBezTo>
                  <a:pt x="2568" y="66"/>
                  <a:pt x="2569" y="64"/>
                  <a:pt x="2571" y="63"/>
                </a:cubicBezTo>
                <a:cubicBezTo>
                  <a:pt x="2568" y="63"/>
                  <a:pt x="2567" y="63"/>
                  <a:pt x="2565" y="63"/>
                </a:cubicBezTo>
                <a:cubicBezTo>
                  <a:pt x="2564" y="65"/>
                  <a:pt x="2563" y="67"/>
                  <a:pt x="2562" y="69"/>
                </a:cubicBezTo>
                <a:cubicBezTo>
                  <a:pt x="2562" y="70"/>
                  <a:pt x="2562" y="70"/>
                  <a:pt x="2562" y="71"/>
                </a:cubicBezTo>
                <a:cubicBezTo>
                  <a:pt x="2562" y="74"/>
                  <a:pt x="2561" y="76"/>
                  <a:pt x="2558" y="75"/>
                </a:cubicBezTo>
                <a:cubicBezTo>
                  <a:pt x="2555" y="75"/>
                  <a:pt x="2552" y="74"/>
                  <a:pt x="2549" y="73"/>
                </a:cubicBezTo>
                <a:cubicBezTo>
                  <a:pt x="2547" y="72"/>
                  <a:pt x="2546" y="71"/>
                  <a:pt x="2547" y="69"/>
                </a:cubicBezTo>
                <a:cubicBezTo>
                  <a:pt x="2547" y="68"/>
                  <a:pt x="2547" y="67"/>
                  <a:pt x="2548" y="67"/>
                </a:cubicBezTo>
                <a:cubicBezTo>
                  <a:pt x="2545" y="66"/>
                  <a:pt x="2543" y="65"/>
                  <a:pt x="2541" y="64"/>
                </a:cubicBezTo>
                <a:cubicBezTo>
                  <a:pt x="2540" y="63"/>
                  <a:pt x="2538" y="61"/>
                  <a:pt x="2538" y="59"/>
                </a:cubicBezTo>
                <a:cubicBezTo>
                  <a:pt x="2537" y="57"/>
                  <a:pt x="2537" y="56"/>
                  <a:pt x="2539" y="54"/>
                </a:cubicBezTo>
                <a:cubicBezTo>
                  <a:pt x="2542" y="52"/>
                  <a:pt x="2543" y="49"/>
                  <a:pt x="2542" y="45"/>
                </a:cubicBezTo>
                <a:cubicBezTo>
                  <a:pt x="2542" y="43"/>
                  <a:pt x="2542" y="41"/>
                  <a:pt x="2542" y="39"/>
                </a:cubicBezTo>
                <a:cubicBezTo>
                  <a:pt x="2541" y="38"/>
                  <a:pt x="2539" y="38"/>
                  <a:pt x="2538" y="37"/>
                </a:cubicBezTo>
                <a:cubicBezTo>
                  <a:pt x="2537" y="35"/>
                  <a:pt x="2536" y="33"/>
                  <a:pt x="2536" y="31"/>
                </a:cubicBezTo>
                <a:cubicBezTo>
                  <a:pt x="2536" y="28"/>
                  <a:pt x="2539" y="26"/>
                  <a:pt x="2542" y="25"/>
                </a:cubicBezTo>
                <a:cubicBezTo>
                  <a:pt x="2542" y="26"/>
                  <a:pt x="2542" y="26"/>
                  <a:pt x="2543" y="27"/>
                </a:cubicBezTo>
                <a:cubicBezTo>
                  <a:pt x="2543" y="28"/>
                  <a:pt x="2543" y="29"/>
                  <a:pt x="2543" y="30"/>
                </a:cubicBezTo>
                <a:cubicBezTo>
                  <a:pt x="2542" y="30"/>
                  <a:pt x="2542" y="30"/>
                  <a:pt x="2542" y="30"/>
                </a:cubicBezTo>
                <a:cubicBezTo>
                  <a:pt x="2541" y="31"/>
                  <a:pt x="2541" y="32"/>
                  <a:pt x="2540" y="34"/>
                </a:cubicBezTo>
                <a:cubicBezTo>
                  <a:pt x="2541" y="34"/>
                  <a:pt x="2542" y="34"/>
                  <a:pt x="2542" y="34"/>
                </a:cubicBezTo>
                <a:cubicBezTo>
                  <a:pt x="2544" y="32"/>
                  <a:pt x="2544" y="32"/>
                  <a:pt x="2545" y="30"/>
                </a:cubicBezTo>
                <a:cubicBezTo>
                  <a:pt x="2549" y="24"/>
                  <a:pt x="2555" y="20"/>
                  <a:pt x="2563" y="18"/>
                </a:cubicBezTo>
                <a:cubicBezTo>
                  <a:pt x="2566" y="18"/>
                  <a:pt x="2570" y="17"/>
                  <a:pt x="2572" y="14"/>
                </a:cubicBezTo>
                <a:cubicBezTo>
                  <a:pt x="2572" y="13"/>
                  <a:pt x="2573" y="13"/>
                  <a:pt x="2573" y="13"/>
                </a:cubicBezTo>
                <a:cubicBezTo>
                  <a:pt x="2576" y="13"/>
                  <a:pt x="2577" y="10"/>
                  <a:pt x="2579" y="8"/>
                </a:cubicBezTo>
                <a:cubicBezTo>
                  <a:pt x="2587" y="1"/>
                  <a:pt x="2599" y="0"/>
                  <a:pt x="2607" y="7"/>
                </a:cubicBezTo>
                <a:cubicBezTo>
                  <a:pt x="2609" y="9"/>
                  <a:pt x="2612" y="11"/>
                  <a:pt x="2614" y="13"/>
                </a:cubicBezTo>
                <a:cubicBezTo>
                  <a:pt x="2616" y="14"/>
                  <a:pt x="2617" y="16"/>
                  <a:pt x="2618" y="18"/>
                </a:cubicBezTo>
                <a:cubicBezTo>
                  <a:pt x="2619" y="19"/>
                  <a:pt x="2620" y="19"/>
                  <a:pt x="2621" y="18"/>
                </a:cubicBezTo>
                <a:cubicBezTo>
                  <a:pt x="2622" y="18"/>
                  <a:pt x="2622" y="17"/>
                  <a:pt x="2623" y="16"/>
                </a:cubicBezTo>
                <a:cubicBezTo>
                  <a:pt x="2625" y="13"/>
                  <a:pt x="2628" y="13"/>
                  <a:pt x="2630" y="17"/>
                </a:cubicBezTo>
                <a:cubicBezTo>
                  <a:pt x="2631" y="20"/>
                  <a:pt x="2631" y="23"/>
                  <a:pt x="2632" y="26"/>
                </a:cubicBezTo>
                <a:cubicBezTo>
                  <a:pt x="2633" y="30"/>
                  <a:pt x="2632" y="34"/>
                  <a:pt x="2631" y="39"/>
                </a:cubicBezTo>
                <a:cubicBezTo>
                  <a:pt x="2628" y="45"/>
                  <a:pt x="2624" y="49"/>
                  <a:pt x="2617" y="49"/>
                </a:cubicBezTo>
                <a:cubicBezTo>
                  <a:pt x="2616" y="49"/>
                  <a:pt x="2616" y="49"/>
                  <a:pt x="2615" y="49"/>
                </a:cubicBezTo>
                <a:cubicBezTo>
                  <a:pt x="2613" y="48"/>
                  <a:pt x="2611" y="49"/>
                  <a:pt x="2611" y="51"/>
                </a:cubicBezTo>
                <a:cubicBezTo>
                  <a:pt x="2609" y="55"/>
                  <a:pt x="2603" y="57"/>
                  <a:pt x="2600" y="54"/>
                </a:cubicBezTo>
                <a:cubicBezTo>
                  <a:pt x="2599" y="53"/>
                  <a:pt x="2598" y="52"/>
                  <a:pt x="2597" y="51"/>
                </a:cubicBezTo>
                <a:cubicBezTo>
                  <a:pt x="2596" y="51"/>
                  <a:pt x="2596" y="51"/>
                  <a:pt x="2596" y="51"/>
                </a:cubicBezTo>
                <a:close/>
                <a:moveTo>
                  <a:pt x="2590" y="47"/>
                </a:moveTo>
                <a:cubicBezTo>
                  <a:pt x="2594" y="48"/>
                  <a:pt x="2598" y="49"/>
                  <a:pt x="2600" y="52"/>
                </a:cubicBezTo>
                <a:cubicBezTo>
                  <a:pt x="2602" y="54"/>
                  <a:pt x="2604" y="55"/>
                  <a:pt x="2606" y="54"/>
                </a:cubicBezTo>
                <a:cubicBezTo>
                  <a:pt x="2609" y="53"/>
                  <a:pt x="2610" y="51"/>
                  <a:pt x="2610" y="48"/>
                </a:cubicBezTo>
                <a:cubicBezTo>
                  <a:pt x="2610" y="48"/>
                  <a:pt x="2609" y="48"/>
                  <a:pt x="2609" y="49"/>
                </a:cubicBezTo>
                <a:cubicBezTo>
                  <a:pt x="2609" y="50"/>
                  <a:pt x="2607" y="51"/>
                  <a:pt x="2607" y="52"/>
                </a:cubicBezTo>
                <a:cubicBezTo>
                  <a:pt x="2605" y="53"/>
                  <a:pt x="2604" y="53"/>
                  <a:pt x="2603" y="53"/>
                </a:cubicBezTo>
                <a:cubicBezTo>
                  <a:pt x="2603" y="53"/>
                  <a:pt x="2602" y="51"/>
                  <a:pt x="2602" y="51"/>
                </a:cubicBezTo>
                <a:cubicBezTo>
                  <a:pt x="2602" y="48"/>
                  <a:pt x="2603" y="46"/>
                  <a:pt x="2603" y="44"/>
                </a:cubicBezTo>
                <a:cubicBezTo>
                  <a:pt x="2606" y="45"/>
                  <a:pt x="2609" y="46"/>
                  <a:pt x="2613" y="47"/>
                </a:cubicBezTo>
                <a:cubicBezTo>
                  <a:pt x="2620" y="48"/>
                  <a:pt x="2626" y="46"/>
                  <a:pt x="2630" y="38"/>
                </a:cubicBezTo>
                <a:cubicBezTo>
                  <a:pt x="2631" y="33"/>
                  <a:pt x="2631" y="28"/>
                  <a:pt x="2630" y="23"/>
                </a:cubicBezTo>
                <a:cubicBezTo>
                  <a:pt x="2630" y="21"/>
                  <a:pt x="2629" y="19"/>
                  <a:pt x="2628" y="17"/>
                </a:cubicBezTo>
                <a:cubicBezTo>
                  <a:pt x="2627" y="16"/>
                  <a:pt x="2626" y="15"/>
                  <a:pt x="2625" y="17"/>
                </a:cubicBezTo>
                <a:cubicBezTo>
                  <a:pt x="2623" y="19"/>
                  <a:pt x="2622" y="20"/>
                  <a:pt x="2620" y="21"/>
                </a:cubicBezTo>
                <a:cubicBezTo>
                  <a:pt x="2619" y="21"/>
                  <a:pt x="2618" y="22"/>
                  <a:pt x="2618" y="23"/>
                </a:cubicBezTo>
                <a:cubicBezTo>
                  <a:pt x="2619" y="26"/>
                  <a:pt x="2618" y="30"/>
                  <a:pt x="2617" y="33"/>
                </a:cubicBezTo>
                <a:cubicBezTo>
                  <a:pt x="2617" y="31"/>
                  <a:pt x="2618" y="29"/>
                  <a:pt x="2618" y="27"/>
                </a:cubicBezTo>
                <a:cubicBezTo>
                  <a:pt x="2618" y="26"/>
                  <a:pt x="2617" y="26"/>
                  <a:pt x="2617" y="26"/>
                </a:cubicBezTo>
                <a:cubicBezTo>
                  <a:pt x="2616" y="26"/>
                  <a:pt x="2616" y="26"/>
                  <a:pt x="2616" y="26"/>
                </a:cubicBezTo>
                <a:cubicBezTo>
                  <a:pt x="2615" y="28"/>
                  <a:pt x="2614" y="29"/>
                  <a:pt x="2613" y="30"/>
                </a:cubicBezTo>
                <a:cubicBezTo>
                  <a:pt x="2613" y="30"/>
                  <a:pt x="2613" y="30"/>
                  <a:pt x="2613" y="30"/>
                </a:cubicBezTo>
                <a:cubicBezTo>
                  <a:pt x="2613" y="29"/>
                  <a:pt x="2614" y="27"/>
                  <a:pt x="2614" y="25"/>
                </a:cubicBezTo>
                <a:cubicBezTo>
                  <a:pt x="2613" y="26"/>
                  <a:pt x="2613" y="26"/>
                  <a:pt x="2612" y="27"/>
                </a:cubicBezTo>
                <a:cubicBezTo>
                  <a:pt x="2611" y="27"/>
                  <a:pt x="2611" y="28"/>
                  <a:pt x="2611" y="29"/>
                </a:cubicBezTo>
                <a:cubicBezTo>
                  <a:pt x="2611" y="25"/>
                  <a:pt x="2611" y="25"/>
                  <a:pt x="2617" y="24"/>
                </a:cubicBezTo>
                <a:cubicBezTo>
                  <a:pt x="2617" y="24"/>
                  <a:pt x="2616" y="23"/>
                  <a:pt x="2616" y="23"/>
                </a:cubicBezTo>
                <a:cubicBezTo>
                  <a:pt x="2613" y="24"/>
                  <a:pt x="2613" y="22"/>
                  <a:pt x="2612" y="20"/>
                </a:cubicBezTo>
                <a:cubicBezTo>
                  <a:pt x="2614" y="19"/>
                  <a:pt x="2615" y="19"/>
                  <a:pt x="2617" y="19"/>
                </a:cubicBezTo>
                <a:cubicBezTo>
                  <a:pt x="2615" y="16"/>
                  <a:pt x="2614" y="13"/>
                  <a:pt x="2611" y="13"/>
                </a:cubicBezTo>
                <a:cubicBezTo>
                  <a:pt x="2610" y="13"/>
                  <a:pt x="2610" y="13"/>
                  <a:pt x="2610" y="12"/>
                </a:cubicBezTo>
                <a:cubicBezTo>
                  <a:pt x="2607" y="10"/>
                  <a:pt x="2605" y="8"/>
                  <a:pt x="2602" y="6"/>
                </a:cubicBezTo>
                <a:cubicBezTo>
                  <a:pt x="2600" y="5"/>
                  <a:pt x="2597" y="4"/>
                  <a:pt x="2595" y="4"/>
                </a:cubicBezTo>
                <a:cubicBezTo>
                  <a:pt x="2592" y="4"/>
                  <a:pt x="2589" y="6"/>
                  <a:pt x="2585" y="6"/>
                </a:cubicBezTo>
                <a:cubicBezTo>
                  <a:pt x="2583" y="7"/>
                  <a:pt x="2580" y="9"/>
                  <a:pt x="2578" y="12"/>
                </a:cubicBezTo>
                <a:cubicBezTo>
                  <a:pt x="2580" y="12"/>
                  <a:pt x="2581" y="12"/>
                  <a:pt x="2582" y="12"/>
                </a:cubicBezTo>
                <a:cubicBezTo>
                  <a:pt x="2582" y="13"/>
                  <a:pt x="2581" y="13"/>
                  <a:pt x="2580" y="13"/>
                </a:cubicBezTo>
                <a:cubicBezTo>
                  <a:pt x="2578" y="14"/>
                  <a:pt x="2575" y="13"/>
                  <a:pt x="2573" y="15"/>
                </a:cubicBezTo>
                <a:cubicBezTo>
                  <a:pt x="2570" y="19"/>
                  <a:pt x="2566" y="23"/>
                  <a:pt x="2562" y="27"/>
                </a:cubicBezTo>
                <a:cubicBezTo>
                  <a:pt x="2561" y="29"/>
                  <a:pt x="2560" y="32"/>
                  <a:pt x="2559" y="34"/>
                </a:cubicBezTo>
                <a:cubicBezTo>
                  <a:pt x="2559" y="34"/>
                  <a:pt x="2559" y="35"/>
                  <a:pt x="2559" y="36"/>
                </a:cubicBezTo>
                <a:cubicBezTo>
                  <a:pt x="2560" y="38"/>
                  <a:pt x="2561" y="40"/>
                  <a:pt x="2563" y="42"/>
                </a:cubicBezTo>
                <a:cubicBezTo>
                  <a:pt x="2564" y="40"/>
                  <a:pt x="2565" y="38"/>
                  <a:pt x="2566" y="37"/>
                </a:cubicBezTo>
                <a:cubicBezTo>
                  <a:pt x="2566" y="38"/>
                  <a:pt x="2566" y="40"/>
                  <a:pt x="2565" y="41"/>
                </a:cubicBezTo>
                <a:cubicBezTo>
                  <a:pt x="2564" y="42"/>
                  <a:pt x="2563" y="44"/>
                  <a:pt x="2563" y="45"/>
                </a:cubicBezTo>
                <a:cubicBezTo>
                  <a:pt x="2562" y="46"/>
                  <a:pt x="2563" y="47"/>
                  <a:pt x="2563" y="48"/>
                </a:cubicBezTo>
                <a:cubicBezTo>
                  <a:pt x="2566" y="51"/>
                  <a:pt x="2569" y="51"/>
                  <a:pt x="2573" y="49"/>
                </a:cubicBezTo>
                <a:cubicBezTo>
                  <a:pt x="2575" y="48"/>
                  <a:pt x="2578" y="47"/>
                  <a:pt x="2581" y="46"/>
                </a:cubicBezTo>
                <a:cubicBezTo>
                  <a:pt x="2582" y="45"/>
                  <a:pt x="2583" y="45"/>
                  <a:pt x="2583" y="43"/>
                </a:cubicBezTo>
                <a:cubicBezTo>
                  <a:pt x="2583" y="40"/>
                  <a:pt x="2583" y="36"/>
                  <a:pt x="2583" y="33"/>
                </a:cubicBezTo>
                <a:cubicBezTo>
                  <a:pt x="2583" y="30"/>
                  <a:pt x="2583" y="27"/>
                  <a:pt x="2583" y="24"/>
                </a:cubicBezTo>
                <a:cubicBezTo>
                  <a:pt x="2584" y="27"/>
                  <a:pt x="2585" y="30"/>
                  <a:pt x="2585" y="32"/>
                </a:cubicBezTo>
                <a:cubicBezTo>
                  <a:pt x="2586" y="37"/>
                  <a:pt x="2586" y="41"/>
                  <a:pt x="2585" y="45"/>
                </a:cubicBezTo>
                <a:cubicBezTo>
                  <a:pt x="2584" y="46"/>
                  <a:pt x="2583" y="47"/>
                  <a:pt x="2583" y="47"/>
                </a:cubicBezTo>
                <a:cubicBezTo>
                  <a:pt x="2579" y="47"/>
                  <a:pt x="2576" y="49"/>
                  <a:pt x="2573" y="51"/>
                </a:cubicBezTo>
                <a:cubicBezTo>
                  <a:pt x="2568" y="54"/>
                  <a:pt x="2564" y="52"/>
                  <a:pt x="2561" y="48"/>
                </a:cubicBezTo>
                <a:cubicBezTo>
                  <a:pt x="2561" y="48"/>
                  <a:pt x="2561" y="47"/>
                  <a:pt x="2561" y="46"/>
                </a:cubicBezTo>
                <a:cubicBezTo>
                  <a:pt x="2562" y="44"/>
                  <a:pt x="2561" y="42"/>
                  <a:pt x="2559" y="40"/>
                </a:cubicBezTo>
                <a:cubicBezTo>
                  <a:pt x="2558" y="38"/>
                  <a:pt x="2556" y="36"/>
                  <a:pt x="2557" y="33"/>
                </a:cubicBezTo>
                <a:cubicBezTo>
                  <a:pt x="2558" y="31"/>
                  <a:pt x="2559" y="29"/>
                  <a:pt x="2560" y="28"/>
                </a:cubicBezTo>
                <a:cubicBezTo>
                  <a:pt x="2562" y="25"/>
                  <a:pt x="2564" y="23"/>
                  <a:pt x="2566" y="20"/>
                </a:cubicBezTo>
                <a:cubicBezTo>
                  <a:pt x="2566" y="20"/>
                  <a:pt x="2565" y="20"/>
                  <a:pt x="2565" y="20"/>
                </a:cubicBezTo>
                <a:cubicBezTo>
                  <a:pt x="2560" y="21"/>
                  <a:pt x="2555" y="23"/>
                  <a:pt x="2551" y="26"/>
                </a:cubicBezTo>
                <a:cubicBezTo>
                  <a:pt x="2547" y="30"/>
                  <a:pt x="2544" y="35"/>
                  <a:pt x="2544" y="42"/>
                </a:cubicBezTo>
                <a:cubicBezTo>
                  <a:pt x="2543" y="49"/>
                  <a:pt x="2546" y="55"/>
                  <a:pt x="2549" y="61"/>
                </a:cubicBezTo>
                <a:cubicBezTo>
                  <a:pt x="2549" y="61"/>
                  <a:pt x="2550" y="63"/>
                  <a:pt x="2550" y="64"/>
                </a:cubicBezTo>
                <a:cubicBezTo>
                  <a:pt x="2550" y="66"/>
                  <a:pt x="2549" y="67"/>
                  <a:pt x="2549" y="68"/>
                </a:cubicBezTo>
                <a:cubicBezTo>
                  <a:pt x="2548" y="70"/>
                  <a:pt x="2549" y="71"/>
                  <a:pt x="2550" y="72"/>
                </a:cubicBezTo>
                <a:cubicBezTo>
                  <a:pt x="2553" y="72"/>
                  <a:pt x="2556" y="73"/>
                  <a:pt x="2559" y="73"/>
                </a:cubicBezTo>
                <a:cubicBezTo>
                  <a:pt x="2559" y="73"/>
                  <a:pt x="2560" y="72"/>
                  <a:pt x="2560" y="72"/>
                </a:cubicBezTo>
                <a:cubicBezTo>
                  <a:pt x="2561" y="71"/>
                  <a:pt x="2561" y="69"/>
                  <a:pt x="2561" y="68"/>
                </a:cubicBezTo>
                <a:cubicBezTo>
                  <a:pt x="2563" y="66"/>
                  <a:pt x="2563" y="63"/>
                  <a:pt x="2563" y="61"/>
                </a:cubicBezTo>
                <a:cubicBezTo>
                  <a:pt x="2563" y="60"/>
                  <a:pt x="2563" y="60"/>
                  <a:pt x="2563" y="59"/>
                </a:cubicBezTo>
                <a:cubicBezTo>
                  <a:pt x="2563" y="59"/>
                  <a:pt x="2563" y="59"/>
                  <a:pt x="2563" y="59"/>
                </a:cubicBezTo>
                <a:cubicBezTo>
                  <a:pt x="2564" y="61"/>
                  <a:pt x="2565" y="61"/>
                  <a:pt x="2567" y="61"/>
                </a:cubicBezTo>
                <a:cubicBezTo>
                  <a:pt x="2568" y="61"/>
                  <a:pt x="2569" y="61"/>
                  <a:pt x="2570" y="61"/>
                </a:cubicBezTo>
                <a:cubicBezTo>
                  <a:pt x="2572" y="61"/>
                  <a:pt x="2576" y="62"/>
                  <a:pt x="2576" y="58"/>
                </a:cubicBezTo>
                <a:cubicBezTo>
                  <a:pt x="2576" y="60"/>
                  <a:pt x="2576" y="62"/>
                  <a:pt x="2576" y="63"/>
                </a:cubicBezTo>
                <a:cubicBezTo>
                  <a:pt x="2575" y="63"/>
                  <a:pt x="2574" y="64"/>
                  <a:pt x="2572" y="64"/>
                </a:cubicBezTo>
                <a:cubicBezTo>
                  <a:pt x="2571" y="65"/>
                  <a:pt x="2570" y="67"/>
                  <a:pt x="2571" y="68"/>
                </a:cubicBezTo>
                <a:cubicBezTo>
                  <a:pt x="2572" y="70"/>
                  <a:pt x="2574" y="72"/>
                  <a:pt x="2575" y="74"/>
                </a:cubicBezTo>
                <a:cubicBezTo>
                  <a:pt x="2577" y="75"/>
                  <a:pt x="2579" y="75"/>
                  <a:pt x="2580" y="73"/>
                </a:cubicBezTo>
                <a:cubicBezTo>
                  <a:pt x="2581" y="72"/>
                  <a:pt x="2581" y="72"/>
                  <a:pt x="2582" y="71"/>
                </a:cubicBezTo>
                <a:cubicBezTo>
                  <a:pt x="2584" y="70"/>
                  <a:pt x="2585" y="68"/>
                  <a:pt x="2587" y="67"/>
                </a:cubicBezTo>
                <a:cubicBezTo>
                  <a:pt x="2591" y="63"/>
                  <a:pt x="2593" y="57"/>
                  <a:pt x="2595" y="51"/>
                </a:cubicBezTo>
                <a:cubicBezTo>
                  <a:pt x="2595" y="51"/>
                  <a:pt x="2594" y="50"/>
                  <a:pt x="2594" y="49"/>
                </a:cubicBezTo>
                <a:cubicBezTo>
                  <a:pt x="2593" y="48"/>
                  <a:pt x="2592" y="47"/>
                  <a:pt x="2590" y="47"/>
                </a:cubicBezTo>
                <a:close/>
                <a:moveTo>
                  <a:pt x="2543" y="53"/>
                </a:moveTo>
                <a:cubicBezTo>
                  <a:pt x="2542" y="54"/>
                  <a:pt x="2541" y="55"/>
                  <a:pt x="2540" y="56"/>
                </a:cubicBezTo>
                <a:cubicBezTo>
                  <a:pt x="2539" y="56"/>
                  <a:pt x="2539" y="57"/>
                  <a:pt x="2539" y="58"/>
                </a:cubicBezTo>
                <a:cubicBezTo>
                  <a:pt x="2539" y="61"/>
                  <a:pt x="2543" y="65"/>
                  <a:pt x="2546" y="64"/>
                </a:cubicBezTo>
                <a:cubicBezTo>
                  <a:pt x="2548" y="64"/>
                  <a:pt x="2549" y="63"/>
                  <a:pt x="2548" y="62"/>
                </a:cubicBezTo>
                <a:cubicBezTo>
                  <a:pt x="2546" y="59"/>
                  <a:pt x="2545" y="56"/>
                  <a:pt x="2543" y="53"/>
                </a:cubicBezTo>
                <a:close/>
                <a:moveTo>
                  <a:pt x="2596" y="55"/>
                </a:moveTo>
                <a:cubicBezTo>
                  <a:pt x="2594" y="60"/>
                  <a:pt x="2591" y="64"/>
                  <a:pt x="2589" y="68"/>
                </a:cubicBezTo>
                <a:cubicBezTo>
                  <a:pt x="2592" y="68"/>
                  <a:pt x="2594" y="69"/>
                  <a:pt x="2597" y="68"/>
                </a:cubicBezTo>
                <a:cubicBezTo>
                  <a:pt x="2597" y="68"/>
                  <a:pt x="2598" y="67"/>
                  <a:pt x="2598" y="67"/>
                </a:cubicBezTo>
                <a:cubicBezTo>
                  <a:pt x="2598" y="64"/>
                  <a:pt x="2598" y="62"/>
                  <a:pt x="2597" y="59"/>
                </a:cubicBezTo>
                <a:cubicBezTo>
                  <a:pt x="2597" y="58"/>
                  <a:pt x="2596" y="57"/>
                  <a:pt x="2596" y="55"/>
                </a:cubicBezTo>
                <a:close/>
                <a:moveTo>
                  <a:pt x="2543" y="35"/>
                </a:moveTo>
                <a:cubicBezTo>
                  <a:pt x="2542" y="35"/>
                  <a:pt x="2542" y="36"/>
                  <a:pt x="2541" y="36"/>
                </a:cubicBezTo>
                <a:cubicBezTo>
                  <a:pt x="2540" y="36"/>
                  <a:pt x="2540" y="36"/>
                  <a:pt x="2540" y="35"/>
                </a:cubicBezTo>
                <a:cubicBezTo>
                  <a:pt x="2539" y="35"/>
                  <a:pt x="2539" y="34"/>
                  <a:pt x="2539" y="33"/>
                </a:cubicBezTo>
                <a:cubicBezTo>
                  <a:pt x="2540" y="31"/>
                  <a:pt x="2540" y="29"/>
                  <a:pt x="2541" y="27"/>
                </a:cubicBezTo>
                <a:cubicBezTo>
                  <a:pt x="2540" y="27"/>
                  <a:pt x="2540" y="27"/>
                  <a:pt x="2540" y="27"/>
                </a:cubicBezTo>
                <a:cubicBezTo>
                  <a:pt x="2539" y="28"/>
                  <a:pt x="2538" y="29"/>
                  <a:pt x="2537" y="30"/>
                </a:cubicBezTo>
                <a:cubicBezTo>
                  <a:pt x="2536" y="31"/>
                  <a:pt x="2538" y="36"/>
                  <a:pt x="2540" y="37"/>
                </a:cubicBezTo>
                <a:cubicBezTo>
                  <a:pt x="2541" y="38"/>
                  <a:pt x="2543" y="37"/>
                  <a:pt x="2543" y="35"/>
                </a:cubicBezTo>
                <a:close/>
                <a:moveTo>
                  <a:pt x="2543" y="53"/>
                </a:moveTo>
                <a:cubicBezTo>
                  <a:pt x="2543" y="54"/>
                  <a:pt x="2541" y="55"/>
                  <a:pt x="2540" y="56"/>
                </a:cubicBezTo>
                <a:cubicBezTo>
                  <a:pt x="2539" y="56"/>
                  <a:pt x="2539" y="57"/>
                  <a:pt x="2539" y="58"/>
                </a:cubicBezTo>
                <a:cubicBezTo>
                  <a:pt x="2539" y="61"/>
                  <a:pt x="2543" y="65"/>
                  <a:pt x="2546" y="65"/>
                </a:cubicBezTo>
                <a:cubicBezTo>
                  <a:pt x="2548" y="65"/>
                  <a:pt x="2549" y="64"/>
                  <a:pt x="2548" y="62"/>
                </a:cubicBezTo>
                <a:cubicBezTo>
                  <a:pt x="2546" y="59"/>
                  <a:pt x="2545" y="56"/>
                  <a:pt x="2543" y="53"/>
                </a:cubicBezTo>
                <a:close/>
                <a:moveTo>
                  <a:pt x="2596" y="55"/>
                </a:moveTo>
                <a:cubicBezTo>
                  <a:pt x="2594" y="60"/>
                  <a:pt x="2591" y="64"/>
                  <a:pt x="2589" y="69"/>
                </a:cubicBezTo>
                <a:cubicBezTo>
                  <a:pt x="2592" y="69"/>
                  <a:pt x="2594" y="69"/>
                  <a:pt x="2597" y="69"/>
                </a:cubicBezTo>
                <a:cubicBezTo>
                  <a:pt x="2597" y="69"/>
                  <a:pt x="2598" y="67"/>
                  <a:pt x="2598" y="67"/>
                </a:cubicBezTo>
                <a:cubicBezTo>
                  <a:pt x="2598" y="64"/>
                  <a:pt x="2598" y="62"/>
                  <a:pt x="2597" y="59"/>
                </a:cubicBezTo>
                <a:cubicBezTo>
                  <a:pt x="2597" y="58"/>
                  <a:pt x="2596" y="57"/>
                  <a:pt x="2596" y="55"/>
                </a:cubicBezTo>
                <a:close/>
                <a:moveTo>
                  <a:pt x="2543" y="35"/>
                </a:moveTo>
                <a:cubicBezTo>
                  <a:pt x="2543" y="35"/>
                  <a:pt x="2542" y="36"/>
                  <a:pt x="2541" y="36"/>
                </a:cubicBezTo>
                <a:cubicBezTo>
                  <a:pt x="2541" y="36"/>
                  <a:pt x="2540" y="36"/>
                  <a:pt x="2540" y="35"/>
                </a:cubicBezTo>
                <a:cubicBezTo>
                  <a:pt x="2539" y="35"/>
                  <a:pt x="2539" y="34"/>
                  <a:pt x="2539" y="33"/>
                </a:cubicBezTo>
                <a:cubicBezTo>
                  <a:pt x="2540" y="31"/>
                  <a:pt x="2540" y="29"/>
                  <a:pt x="2541" y="27"/>
                </a:cubicBezTo>
                <a:cubicBezTo>
                  <a:pt x="2541" y="27"/>
                  <a:pt x="2541" y="27"/>
                  <a:pt x="2540" y="27"/>
                </a:cubicBezTo>
                <a:cubicBezTo>
                  <a:pt x="2539" y="28"/>
                  <a:pt x="2538" y="29"/>
                  <a:pt x="2537" y="30"/>
                </a:cubicBezTo>
                <a:cubicBezTo>
                  <a:pt x="2537" y="31"/>
                  <a:pt x="2538" y="37"/>
                  <a:pt x="2540" y="37"/>
                </a:cubicBezTo>
                <a:cubicBezTo>
                  <a:pt x="2541" y="38"/>
                  <a:pt x="2543" y="37"/>
                  <a:pt x="2543" y="35"/>
                </a:cubicBezTo>
                <a:close/>
                <a:moveTo>
                  <a:pt x="2596" y="27"/>
                </a:moveTo>
                <a:cubicBezTo>
                  <a:pt x="2599" y="23"/>
                  <a:pt x="2599" y="23"/>
                  <a:pt x="2603" y="22"/>
                </a:cubicBezTo>
                <a:cubicBezTo>
                  <a:pt x="2603" y="24"/>
                  <a:pt x="2604" y="25"/>
                  <a:pt x="2605" y="25"/>
                </a:cubicBezTo>
                <a:cubicBezTo>
                  <a:pt x="2603" y="26"/>
                  <a:pt x="2601" y="28"/>
                  <a:pt x="2599" y="29"/>
                </a:cubicBezTo>
                <a:cubicBezTo>
                  <a:pt x="2598" y="28"/>
                  <a:pt x="2598" y="28"/>
                  <a:pt x="2597" y="26"/>
                </a:cubicBezTo>
                <a:cubicBezTo>
                  <a:pt x="2597" y="26"/>
                  <a:pt x="2596" y="26"/>
                  <a:pt x="2596" y="27"/>
                </a:cubicBezTo>
                <a:close/>
                <a:moveTo>
                  <a:pt x="2601" y="26"/>
                </a:moveTo>
                <a:cubicBezTo>
                  <a:pt x="2601" y="26"/>
                  <a:pt x="2600" y="26"/>
                  <a:pt x="2600" y="26"/>
                </a:cubicBezTo>
                <a:cubicBezTo>
                  <a:pt x="2599" y="26"/>
                  <a:pt x="2598" y="26"/>
                  <a:pt x="2598" y="27"/>
                </a:cubicBezTo>
                <a:cubicBezTo>
                  <a:pt x="2598" y="27"/>
                  <a:pt x="2599" y="28"/>
                  <a:pt x="2599" y="28"/>
                </a:cubicBezTo>
                <a:cubicBezTo>
                  <a:pt x="2600" y="28"/>
                  <a:pt x="2600" y="27"/>
                  <a:pt x="2601" y="26"/>
                </a:cubicBezTo>
                <a:close/>
                <a:moveTo>
                  <a:pt x="2583" y="17"/>
                </a:moveTo>
                <a:cubicBezTo>
                  <a:pt x="2576" y="16"/>
                  <a:pt x="2573" y="19"/>
                  <a:pt x="2572" y="26"/>
                </a:cubicBezTo>
                <a:cubicBezTo>
                  <a:pt x="2573" y="24"/>
                  <a:pt x="2575" y="22"/>
                  <a:pt x="2576" y="20"/>
                </a:cubicBezTo>
                <a:cubicBezTo>
                  <a:pt x="2576" y="20"/>
                  <a:pt x="2576" y="20"/>
                  <a:pt x="2576" y="20"/>
                </a:cubicBezTo>
                <a:cubicBezTo>
                  <a:pt x="2576" y="21"/>
                  <a:pt x="2576" y="22"/>
                  <a:pt x="2576" y="22"/>
                </a:cubicBezTo>
                <a:cubicBezTo>
                  <a:pt x="2578" y="19"/>
                  <a:pt x="2579" y="17"/>
                  <a:pt x="2583" y="17"/>
                </a:cubicBezTo>
                <a:close/>
                <a:moveTo>
                  <a:pt x="2626" y="18"/>
                </a:moveTo>
                <a:cubicBezTo>
                  <a:pt x="2624" y="19"/>
                  <a:pt x="2622" y="21"/>
                  <a:pt x="2621" y="22"/>
                </a:cubicBezTo>
                <a:cubicBezTo>
                  <a:pt x="2623" y="23"/>
                  <a:pt x="2625" y="21"/>
                  <a:pt x="2626" y="18"/>
                </a:cubicBezTo>
                <a:close/>
                <a:moveTo>
                  <a:pt x="2593" y="21"/>
                </a:moveTo>
                <a:cubicBezTo>
                  <a:pt x="2594" y="19"/>
                  <a:pt x="2595" y="18"/>
                  <a:pt x="2596" y="17"/>
                </a:cubicBezTo>
                <a:cubicBezTo>
                  <a:pt x="2593" y="18"/>
                  <a:pt x="2592" y="19"/>
                  <a:pt x="2593" y="21"/>
                </a:cubicBezTo>
                <a:close/>
                <a:moveTo>
                  <a:pt x="2603" y="42"/>
                </a:moveTo>
                <a:cubicBezTo>
                  <a:pt x="2601" y="42"/>
                  <a:pt x="2600" y="43"/>
                  <a:pt x="2600" y="44"/>
                </a:cubicBezTo>
                <a:cubicBezTo>
                  <a:pt x="2600" y="43"/>
                  <a:pt x="2602" y="42"/>
                  <a:pt x="2603" y="42"/>
                </a:cubicBezTo>
                <a:close/>
                <a:moveTo>
                  <a:pt x="2601" y="26"/>
                </a:moveTo>
                <a:cubicBezTo>
                  <a:pt x="2601" y="26"/>
                  <a:pt x="2600" y="25"/>
                  <a:pt x="2600" y="25"/>
                </a:cubicBezTo>
                <a:cubicBezTo>
                  <a:pt x="2599" y="25"/>
                  <a:pt x="2599" y="26"/>
                  <a:pt x="2599" y="27"/>
                </a:cubicBezTo>
                <a:cubicBezTo>
                  <a:pt x="2599" y="27"/>
                  <a:pt x="2599" y="27"/>
                  <a:pt x="2599" y="28"/>
                </a:cubicBezTo>
                <a:cubicBezTo>
                  <a:pt x="2600" y="27"/>
                  <a:pt x="2600" y="27"/>
                  <a:pt x="2601" y="26"/>
                </a:cubicBezTo>
                <a:close/>
                <a:moveTo>
                  <a:pt x="3256" y="4"/>
                </a:moveTo>
                <a:cubicBezTo>
                  <a:pt x="3256" y="4"/>
                  <a:pt x="3256" y="4"/>
                  <a:pt x="3256" y="4"/>
                </a:cubicBezTo>
                <a:cubicBezTo>
                  <a:pt x="3251" y="4"/>
                  <a:pt x="3251" y="4"/>
                  <a:pt x="3251" y="4"/>
                </a:cubicBezTo>
                <a:cubicBezTo>
                  <a:pt x="3248" y="5"/>
                  <a:pt x="3247" y="7"/>
                  <a:pt x="3245" y="7"/>
                </a:cubicBezTo>
                <a:cubicBezTo>
                  <a:pt x="3243" y="9"/>
                  <a:pt x="3242" y="10"/>
                  <a:pt x="3239" y="10"/>
                </a:cubicBezTo>
                <a:cubicBezTo>
                  <a:pt x="3238" y="12"/>
                  <a:pt x="3236" y="12"/>
                  <a:pt x="3234" y="13"/>
                </a:cubicBezTo>
                <a:cubicBezTo>
                  <a:pt x="3232" y="14"/>
                  <a:pt x="3231" y="15"/>
                  <a:pt x="3228" y="15"/>
                </a:cubicBezTo>
                <a:cubicBezTo>
                  <a:pt x="3228" y="15"/>
                  <a:pt x="3228" y="15"/>
                  <a:pt x="3228" y="25"/>
                </a:cubicBezTo>
                <a:cubicBezTo>
                  <a:pt x="3231" y="24"/>
                  <a:pt x="3234" y="23"/>
                  <a:pt x="3237" y="22"/>
                </a:cubicBezTo>
                <a:cubicBezTo>
                  <a:pt x="3239" y="21"/>
                  <a:pt x="3242" y="20"/>
                  <a:pt x="3244" y="18"/>
                </a:cubicBezTo>
                <a:cubicBezTo>
                  <a:pt x="3244" y="18"/>
                  <a:pt x="3244" y="18"/>
                  <a:pt x="3244" y="77"/>
                </a:cubicBezTo>
                <a:cubicBezTo>
                  <a:pt x="3244" y="77"/>
                  <a:pt x="3244" y="77"/>
                  <a:pt x="3256" y="77"/>
                </a:cubicBezTo>
                <a:cubicBezTo>
                  <a:pt x="3256" y="77"/>
                  <a:pt x="3256" y="77"/>
                  <a:pt x="3256" y="4"/>
                </a:cubicBezTo>
                <a:close/>
                <a:moveTo>
                  <a:pt x="3303" y="4"/>
                </a:moveTo>
                <a:cubicBezTo>
                  <a:pt x="3303" y="4"/>
                  <a:pt x="3303" y="4"/>
                  <a:pt x="3303" y="4"/>
                </a:cubicBezTo>
                <a:cubicBezTo>
                  <a:pt x="3298" y="4"/>
                  <a:pt x="3298" y="4"/>
                  <a:pt x="3298" y="4"/>
                </a:cubicBezTo>
                <a:cubicBezTo>
                  <a:pt x="3296" y="5"/>
                  <a:pt x="3294" y="7"/>
                  <a:pt x="3292" y="7"/>
                </a:cubicBezTo>
                <a:cubicBezTo>
                  <a:pt x="3291" y="9"/>
                  <a:pt x="3288" y="10"/>
                  <a:pt x="3287" y="10"/>
                </a:cubicBezTo>
                <a:cubicBezTo>
                  <a:pt x="3285" y="12"/>
                  <a:pt x="3283" y="12"/>
                  <a:pt x="3282" y="13"/>
                </a:cubicBezTo>
                <a:cubicBezTo>
                  <a:pt x="3280" y="14"/>
                  <a:pt x="3278" y="15"/>
                  <a:pt x="3276" y="15"/>
                </a:cubicBezTo>
                <a:cubicBezTo>
                  <a:pt x="3276" y="15"/>
                  <a:pt x="3276" y="15"/>
                  <a:pt x="3276" y="25"/>
                </a:cubicBezTo>
                <a:cubicBezTo>
                  <a:pt x="3279" y="24"/>
                  <a:pt x="3282" y="23"/>
                  <a:pt x="3284" y="22"/>
                </a:cubicBezTo>
                <a:cubicBezTo>
                  <a:pt x="3287" y="21"/>
                  <a:pt x="3289" y="20"/>
                  <a:pt x="3291" y="18"/>
                </a:cubicBezTo>
                <a:cubicBezTo>
                  <a:pt x="3291" y="18"/>
                  <a:pt x="3291" y="18"/>
                  <a:pt x="3291" y="77"/>
                </a:cubicBezTo>
                <a:cubicBezTo>
                  <a:pt x="3291" y="77"/>
                  <a:pt x="3291" y="77"/>
                  <a:pt x="3303" y="77"/>
                </a:cubicBezTo>
                <a:cubicBezTo>
                  <a:pt x="3303" y="77"/>
                  <a:pt x="3303" y="77"/>
                  <a:pt x="3303" y="4"/>
                </a:cubicBezTo>
                <a:close/>
                <a:moveTo>
                  <a:pt x="3349" y="4"/>
                </a:moveTo>
                <a:cubicBezTo>
                  <a:pt x="3349" y="4"/>
                  <a:pt x="3349" y="4"/>
                  <a:pt x="3349" y="4"/>
                </a:cubicBezTo>
                <a:cubicBezTo>
                  <a:pt x="3345" y="4"/>
                  <a:pt x="3345" y="4"/>
                  <a:pt x="3345" y="4"/>
                </a:cubicBezTo>
                <a:cubicBezTo>
                  <a:pt x="3343" y="5"/>
                  <a:pt x="3341" y="7"/>
                  <a:pt x="3339" y="7"/>
                </a:cubicBezTo>
                <a:cubicBezTo>
                  <a:pt x="3338" y="9"/>
                  <a:pt x="3336" y="10"/>
                  <a:pt x="3334" y="10"/>
                </a:cubicBezTo>
                <a:cubicBezTo>
                  <a:pt x="3332" y="11"/>
                  <a:pt x="3331" y="12"/>
                  <a:pt x="3328" y="12"/>
                </a:cubicBezTo>
                <a:cubicBezTo>
                  <a:pt x="3327" y="13"/>
                  <a:pt x="3325" y="14"/>
                  <a:pt x="3323" y="15"/>
                </a:cubicBezTo>
                <a:cubicBezTo>
                  <a:pt x="3323" y="15"/>
                  <a:pt x="3323" y="15"/>
                  <a:pt x="3323" y="25"/>
                </a:cubicBezTo>
                <a:cubicBezTo>
                  <a:pt x="3326" y="24"/>
                  <a:pt x="3329" y="23"/>
                  <a:pt x="3331" y="22"/>
                </a:cubicBezTo>
                <a:cubicBezTo>
                  <a:pt x="3333" y="21"/>
                  <a:pt x="3336" y="20"/>
                  <a:pt x="3338" y="18"/>
                </a:cubicBezTo>
                <a:cubicBezTo>
                  <a:pt x="3338" y="18"/>
                  <a:pt x="3338" y="18"/>
                  <a:pt x="3338" y="77"/>
                </a:cubicBezTo>
                <a:cubicBezTo>
                  <a:pt x="3338" y="77"/>
                  <a:pt x="3338" y="77"/>
                  <a:pt x="3349" y="77"/>
                </a:cubicBezTo>
                <a:cubicBezTo>
                  <a:pt x="3349" y="77"/>
                  <a:pt x="3349" y="77"/>
                  <a:pt x="3349" y="4"/>
                </a:cubicBezTo>
                <a:close/>
                <a:moveTo>
                  <a:pt x="1984" y="3"/>
                </a:moveTo>
                <a:cubicBezTo>
                  <a:pt x="1984" y="3"/>
                  <a:pt x="1984" y="3"/>
                  <a:pt x="1984" y="3"/>
                </a:cubicBezTo>
                <a:cubicBezTo>
                  <a:pt x="1979" y="3"/>
                  <a:pt x="1979" y="3"/>
                  <a:pt x="1979" y="3"/>
                </a:cubicBezTo>
                <a:cubicBezTo>
                  <a:pt x="1977" y="5"/>
                  <a:pt x="1975" y="6"/>
                  <a:pt x="1973" y="7"/>
                </a:cubicBezTo>
                <a:cubicBezTo>
                  <a:pt x="1972" y="8"/>
                  <a:pt x="1970" y="9"/>
                  <a:pt x="1968" y="10"/>
                </a:cubicBezTo>
                <a:cubicBezTo>
                  <a:pt x="1967" y="11"/>
                  <a:pt x="1965" y="12"/>
                  <a:pt x="1963" y="13"/>
                </a:cubicBezTo>
                <a:cubicBezTo>
                  <a:pt x="1961" y="13"/>
                  <a:pt x="1959" y="14"/>
                  <a:pt x="1957" y="14"/>
                </a:cubicBezTo>
                <a:cubicBezTo>
                  <a:pt x="1957" y="14"/>
                  <a:pt x="1957" y="14"/>
                  <a:pt x="1957" y="24"/>
                </a:cubicBezTo>
                <a:cubicBezTo>
                  <a:pt x="1960" y="23"/>
                  <a:pt x="1963" y="23"/>
                  <a:pt x="1965" y="21"/>
                </a:cubicBezTo>
                <a:cubicBezTo>
                  <a:pt x="1968" y="21"/>
                  <a:pt x="1970" y="19"/>
                  <a:pt x="1973" y="18"/>
                </a:cubicBezTo>
                <a:cubicBezTo>
                  <a:pt x="1973" y="18"/>
                  <a:pt x="1973" y="18"/>
                  <a:pt x="1973" y="76"/>
                </a:cubicBezTo>
                <a:cubicBezTo>
                  <a:pt x="1973" y="76"/>
                  <a:pt x="1973" y="76"/>
                  <a:pt x="1984" y="76"/>
                </a:cubicBezTo>
                <a:cubicBezTo>
                  <a:pt x="1984" y="76"/>
                  <a:pt x="1984" y="76"/>
                  <a:pt x="1984" y="3"/>
                </a:cubicBezTo>
                <a:close/>
                <a:moveTo>
                  <a:pt x="1582" y="5"/>
                </a:moveTo>
                <a:cubicBezTo>
                  <a:pt x="1582" y="5"/>
                  <a:pt x="1582" y="5"/>
                  <a:pt x="1582" y="5"/>
                </a:cubicBezTo>
                <a:cubicBezTo>
                  <a:pt x="1577" y="5"/>
                  <a:pt x="1577" y="5"/>
                  <a:pt x="1577" y="5"/>
                </a:cubicBezTo>
                <a:cubicBezTo>
                  <a:pt x="1575" y="7"/>
                  <a:pt x="1574" y="8"/>
                  <a:pt x="1571" y="9"/>
                </a:cubicBezTo>
                <a:cubicBezTo>
                  <a:pt x="1570" y="10"/>
                  <a:pt x="1568" y="11"/>
                  <a:pt x="1566" y="12"/>
                </a:cubicBezTo>
                <a:cubicBezTo>
                  <a:pt x="1564" y="12"/>
                  <a:pt x="1562" y="13"/>
                  <a:pt x="1561" y="14"/>
                </a:cubicBezTo>
                <a:cubicBezTo>
                  <a:pt x="1559" y="15"/>
                  <a:pt x="1557" y="15"/>
                  <a:pt x="1555" y="16"/>
                </a:cubicBezTo>
                <a:cubicBezTo>
                  <a:pt x="1555" y="16"/>
                  <a:pt x="1555" y="16"/>
                  <a:pt x="1555" y="26"/>
                </a:cubicBezTo>
                <a:cubicBezTo>
                  <a:pt x="1558" y="26"/>
                  <a:pt x="1561" y="24"/>
                  <a:pt x="1563" y="23"/>
                </a:cubicBezTo>
                <a:cubicBezTo>
                  <a:pt x="1566" y="23"/>
                  <a:pt x="1568" y="21"/>
                  <a:pt x="1571" y="20"/>
                </a:cubicBezTo>
                <a:cubicBezTo>
                  <a:pt x="1571" y="20"/>
                  <a:pt x="1571" y="20"/>
                  <a:pt x="1571" y="79"/>
                </a:cubicBezTo>
                <a:cubicBezTo>
                  <a:pt x="1571" y="79"/>
                  <a:pt x="1571" y="79"/>
                  <a:pt x="1582" y="79"/>
                </a:cubicBezTo>
                <a:cubicBezTo>
                  <a:pt x="1582" y="79"/>
                  <a:pt x="1582" y="79"/>
                  <a:pt x="1582" y="5"/>
                </a:cubicBezTo>
                <a:close/>
                <a:moveTo>
                  <a:pt x="1680" y="79"/>
                </a:moveTo>
                <a:cubicBezTo>
                  <a:pt x="1673" y="79"/>
                  <a:pt x="1667" y="76"/>
                  <a:pt x="1662" y="70"/>
                </a:cubicBezTo>
                <a:cubicBezTo>
                  <a:pt x="1659" y="63"/>
                  <a:pt x="1656" y="54"/>
                  <a:pt x="1656" y="42"/>
                </a:cubicBezTo>
                <a:cubicBezTo>
                  <a:pt x="1656" y="29"/>
                  <a:pt x="1659" y="19"/>
                  <a:pt x="1663" y="13"/>
                </a:cubicBezTo>
                <a:cubicBezTo>
                  <a:pt x="1667" y="6"/>
                  <a:pt x="1674" y="2"/>
                  <a:pt x="1683" y="2"/>
                </a:cubicBezTo>
                <a:cubicBezTo>
                  <a:pt x="1699" y="2"/>
                  <a:pt x="1707" y="15"/>
                  <a:pt x="1707" y="40"/>
                </a:cubicBezTo>
                <a:cubicBezTo>
                  <a:pt x="1707" y="53"/>
                  <a:pt x="1705" y="62"/>
                  <a:pt x="1699" y="69"/>
                </a:cubicBezTo>
                <a:cubicBezTo>
                  <a:pt x="1695" y="76"/>
                  <a:pt x="1688" y="79"/>
                  <a:pt x="1680" y="79"/>
                </a:cubicBezTo>
                <a:close/>
                <a:moveTo>
                  <a:pt x="1682" y="12"/>
                </a:moveTo>
                <a:cubicBezTo>
                  <a:pt x="1672" y="12"/>
                  <a:pt x="1668" y="22"/>
                  <a:pt x="1668" y="42"/>
                </a:cubicBezTo>
                <a:cubicBezTo>
                  <a:pt x="1668" y="60"/>
                  <a:pt x="1672" y="69"/>
                  <a:pt x="1681" y="69"/>
                </a:cubicBezTo>
                <a:cubicBezTo>
                  <a:pt x="1690" y="69"/>
                  <a:pt x="1694" y="60"/>
                  <a:pt x="1694" y="41"/>
                </a:cubicBezTo>
                <a:cubicBezTo>
                  <a:pt x="1694" y="21"/>
                  <a:pt x="1690" y="12"/>
                  <a:pt x="1682" y="12"/>
                </a:cubicBezTo>
                <a:close/>
                <a:moveTo>
                  <a:pt x="1754" y="5"/>
                </a:moveTo>
                <a:cubicBezTo>
                  <a:pt x="1754" y="5"/>
                  <a:pt x="1754" y="5"/>
                  <a:pt x="1754" y="5"/>
                </a:cubicBezTo>
                <a:cubicBezTo>
                  <a:pt x="1749" y="5"/>
                  <a:pt x="1749" y="5"/>
                  <a:pt x="1749" y="5"/>
                </a:cubicBezTo>
                <a:cubicBezTo>
                  <a:pt x="1747" y="7"/>
                  <a:pt x="1746" y="8"/>
                  <a:pt x="1743" y="9"/>
                </a:cubicBezTo>
                <a:cubicBezTo>
                  <a:pt x="1742" y="10"/>
                  <a:pt x="1740" y="11"/>
                  <a:pt x="1738" y="12"/>
                </a:cubicBezTo>
                <a:cubicBezTo>
                  <a:pt x="1736" y="12"/>
                  <a:pt x="1735" y="13"/>
                  <a:pt x="1733" y="14"/>
                </a:cubicBezTo>
                <a:cubicBezTo>
                  <a:pt x="1731" y="15"/>
                  <a:pt x="1730" y="15"/>
                  <a:pt x="1727" y="16"/>
                </a:cubicBezTo>
                <a:cubicBezTo>
                  <a:pt x="1727" y="16"/>
                  <a:pt x="1727" y="16"/>
                  <a:pt x="1727" y="26"/>
                </a:cubicBezTo>
                <a:cubicBezTo>
                  <a:pt x="1730" y="26"/>
                  <a:pt x="1733" y="24"/>
                  <a:pt x="1735" y="23"/>
                </a:cubicBezTo>
                <a:cubicBezTo>
                  <a:pt x="1738" y="23"/>
                  <a:pt x="1740" y="21"/>
                  <a:pt x="1743" y="20"/>
                </a:cubicBezTo>
                <a:cubicBezTo>
                  <a:pt x="1743" y="20"/>
                  <a:pt x="1743" y="20"/>
                  <a:pt x="1743" y="79"/>
                </a:cubicBezTo>
                <a:cubicBezTo>
                  <a:pt x="1743" y="79"/>
                  <a:pt x="1743" y="79"/>
                  <a:pt x="1754" y="79"/>
                </a:cubicBezTo>
                <a:cubicBezTo>
                  <a:pt x="1754" y="79"/>
                  <a:pt x="1754" y="79"/>
                  <a:pt x="1754" y="5"/>
                </a:cubicBezTo>
                <a:close/>
                <a:moveTo>
                  <a:pt x="1628" y="4"/>
                </a:moveTo>
                <a:cubicBezTo>
                  <a:pt x="1628" y="4"/>
                  <a:pt x="1628" y="4"/>
                  <a:pt x="1628" y="4"/>
                </a:cubicBezTo>
                <a:cubicBezTo>
                  <a:pt x="1623" y="4"/>
                  <a:pt x="1623" y="4"/>
                  <a:pt x="1623" y="4"/>
                </a:cubicBezTo>
                <a:cubicBezTo>
                  <a:pt x="1621" y="6"/>
                  <a:pt x="1620" y="7"/>
                  <a:pt x="1618" y="8"/>
                </a:cubicBezTo>
                <a:cubicBezTo>
                  <a:pt x="1616" y="9"/>
                  <a:pt x="1614" y="10"/>
                  <a:pt x="1613" y="11"/>
                </a:cubicBezTo>
                <a:cubicBezTo>
                  <a:pt x="1611" y="12"/>
                  <a:pt x="1609" y="13"/>
                  <a:pt x="1607" y="14"/>
                </a:cubicBezTo>
                <a:cubicBezTo>
                  <a:pt x="1605" y="14"/>
                  <a:pt x="1604" y="15"/>
                  <a:pt x="1602" y="15"/>
                </a:cubicBezTo>
                <a:cubicBezTo>
                  <a:pt x="1602" y="15"/>
                  <a:pt x="1602" y="15"/>
                  <a:pt x="1602" y="25"/>
                </a:cubicBezTo>
                <a:cubicBezTo>
                  <a:pt x="1605" y="25"/>
                  <a:pt x="1607" y="24"/>
                  <a:pt x="1610" y="22"/>
                </a:cubicBezTo>
                <a:cubicBezTo>
                  <a:pt x="1613" y="22"/>
                  <a:pt x="1615" y="20"/>
                  <a:pt x="1617" y="19"/>
                </a:cubicBezTo>
                <a:cubicBezTo>
                  <a:pt x="1617" y="19"/>
                  <a:pt x="1617" y="19"/>
                  <a:pt x="1617" y="78"/>
                </a:cubicBezTo>
                <a:cubicBezTo>
                  <a:pt x="1617" y="78"/>
                  <a:pt x="1617" y="78"/>
                  <a:pt x="1628" y="78"/>
                </a:cubicBezTo>
                <a:cubicBezTo>
                  <a:pt x="1628" y="78"/>
                  <a:pt x="1628" y="78"/>
                  <a:pt x="1628" y="4"/>
                </a:cubicBezTo>
                <a:close/>
                <a:moveTo>
                  <a:pt x="3370" y="38"/>
                </a:moveTo>
                <a:cubicBezTo>
                  <a:pt x="3370" y="38"/>
                  <a:pt x="3370" y="38"/>
                  <a:pt x="3370" y="38"/>
                </a:cubicBezTo>
                <a:cubicBezTo>
                  <a:pt x="3369" y="47"/>
                  <a:pt x="3369" y="47"/>
                  <a:pt x="3369" y="47"/>
                </a:cubicBezTo>
                <a:cubicBezTo>
                  <a:pt x="3376" y="47"/>
                  <a:pt x="3377" y="50"/>
                  <a:pt x="3377" y="53"/>
                </a:cubicBezTo>
                <a:cubicBezTo>
                  <a:pt x="3377" y="55"/>
                  <a:pt x="3376" y="57"/>
                  <a:pt x="3376" y="60"/>
                </a:cubicBezTo>
                <a:cubicBezTo>
                  <a:pt x="3376" y="62"/>
                  <a:pt x="3375" y="65"/>
                  <a:pt x="3375" y="67"/>
                </a:cubicBezTo>
                <a:cubicBezTo>
                  <a:pt x="3375" y="76"/>
                  <a:pt x="3382" y="80"/>
                  <a:pt x="3390" y="80"/>
                </a:cubicBezTo>
                <a:cubicBezTo>
                  <a:pt x="3390" y="80"/>
                  <a:pt x="3390" y="80"/>
                  <a:pt x="3394" y="80"/>
                </a:cubicBezTo>
                <a:cubicBezTo>
                  <a:pt x="3394" y="80"/>
                  <a:pt x="3394" y="80"/>
                  <a:pt x="3394" y="71"/>
                </a:cubicBezTo>
                <a:cubicBezTo>
                  <a:pt x="3394" y="71"/>
                  <a:pt x="3394" y="71"/>
                  <a:pt x="3392" y="71"/>
                </a:cubicBezTo>
                <a:cubicBezTo>
                  <a:pt x="3389" y="71"/>
                  <a:pt x="3388" y="68"/>
                  <a:pt x="3388" y="65"/>
                </a:cubicBezTo>
                <a:cubicBezTo>
                  <a:pt x="3388" y="63"/>
                  <a:pt x="3388" y="62"/>
                  <a:pt x="3388" y="60"/>
                </a:cubicBezTo>
                <a:cubicBezTo>
                  <a:pt x="3388" y="58"/>
                  <a:pt x="3388" y="56"/>
                  <a:pt x="3388" y="54"/>
                </a:cubicBezTo>
                <a:cubicBezTo>
                  <a:pt x="3388" y="46"/>
                  <a:pt x="3385" y="44"/>
                  <a:pt x="3380" y="43"/>
                </a:cubicBezTo>
                <a:cubicBezTo>
                  <a:pt x="3380" y="43"/>
                  <a:pt x="3380" y="43"/>
                  <a:pt x="3380" y="42"/>
                </a:cubicBezTo>
                <a:cubicBezTo>
                  <a:pt x="3385" y="41"/>
                  <a:pt x="3388" y="39"/>
                  <a:pt x="3388" y="31"/>
                </a:cubicBezTo>
                <a:cubicBezTo>
                  <a:pt x="3388" y="29"/>
                  <a:pt x="3388" y="27"/>
                  <a:pt x="3388" y="25"/>
                </a:cubicBezTo>
                <a:cubicBezTo>
                  <a:pt x="3388" y="23"/>
                  <a:pt x="3388" y="22"/>
                  <a:pt x="3388" y="20"/>
                </a:cubicBezTo>
                <a:cubicBezTo>
                  <a:pt x="3388" y="17"/>
                  <a:pt x="3389" y="15"/>
                  <a:pt x="3392" y="15"/>
                </a:cubicBezTo>
                <a:cubicBezTo>
                  <a:pt x="3392" y="15"/>
                  <a:pt x="3392" y="15"/>
                  <a:pt x="3394" y="15"/>
                </a:cubicBezTo>
                <a:cubicBezTo>
                  <a:pt x="3394" y="15"/>
                  <a:pt x="3394" y="15"/>
                  <a:pt x="3394" y="5"/>
                </a:cubicBezTo>
                <a:cubicBezTo>
                  <a:pt x="3394" y="5"/>
                  <a:pt x="3394" y="5"/>
                  <a:pt x="3390" y="5"/>
                </a:cubicBezTo>
                <a:cubicBezTo>
                  <a:pt x="3381" y="5"/>
                  <a:pt x="3375" y="9"/>
                  <a:pt x="3375" y="18"/>
                </a:cubicBezTo>
                <a:cubicBezTo>
                  <a:pt x="3375" y="20"/>
                  <a:pt x="3376" y="23"/>
                  <a:pt x="3376" y="25"/>
                </a:cubicBezTo>
                <a:cubicBezTo>
                  <a:pt x="3376" y="28"/>
                  <a:pt x="3377" y="30"/>
                  <a:pt x="3377" y="32"/>
                </a:cubicBezTo>
                <a:cubicBezTo>
                  <a:pt x="3377" y="35"/>
                  <a:pt x="3376" y="38"/>
                  <a:pt x="3370" y="38"/>
                </a:cubicBezTo>
                <a:close/>
                <a:moveTo>
                  <a:pt x="3425" y="47"/>
                </a:moveTo>
                <a:cubicBezTo>
                  <a:pt x="3425" y="47"/>
                  <a:pt x="3425" y="47"/>
                  <a:pt x="3425" y="47"/>
                </a:cubicBezTo>
                <a:cubicBezTo>
                  <a:pt x="3425" y="38"/>
                  <a:pt x="3425" y="38"/>
                  <a:pt x="3425" y="38"/>
                </a:cubicBezTo>
                <a:cubicBezTo>
                  <a:pt x="3418" y="38"/>
                  <a:pt x="3418" y="35"/>
                  <a:pt x="3418" y="32"/>
                </a:cubicBezTo>
                <a:cubicBezTo>
                  <a:pt x="3418" y="30"/>
                  <a:pt x="3418" y="28"/>
                  <a:pt x="3418" y="25"/>
                </a:cubicBezTo>
                <a:cubicBezTo>
                  <a:pt x="3419" y="23"/>
                  <a:pt x="3419" y="20"/>
                  <a:pt x="3419" y="18"/>
                </a:cubicBezTo>
                <a:cubicBezTo>
                  <a:pt x="3419" y="9"/>
                  <a:pt x="3414" y="5"/>
                  <a:pt x="3404" y="5"/>
                </a:cubicBezTo>
                <a:cubicBezTo>
                  <a:pt x="3404" y="5"/>
                  <a:pt x="3404" y="5"/>
                  <a:pt x="3401" y="5"/>
                </a:cubicBezTo>
                <a:cubicBezTo>
                  <a:pt x="3401" y="5"/>
                  <a:pt x="3401" y="5"/>
                  <a:pt x="3401" y="15"/>
                </a:cubicBezTo>
                <a:cubicBezTo>
                  <a:pt x="3401" y="15"/>
                  <a:pt x="3401" y="15"/>
                  <a:pt x="3402" y="15"/>
                </a:cubicBezTo>
                <a:cubicBezTo>
                  <a:pt x="3406" y="15"/>
                  <a:pt x="3407" y="17"/>
                  <a:pt x="3407" y="20"/>
                </a:cubicBezTo>
                <a:cubicBezTo>
                  <a:pt x="3407" y="22"/>
                  <a:pt x="3407" y="23"/>
                  <a:pt x="3407" y="25"/>
                </a:cubicBezTo>
                <a:cubicBezTo>
                  <a:pt x="3407" y="27"/>
                  <a:pt x="3407" y="29"/>
                  <a:pt x="3407" y="31"/>
                </a:cubicBezTo>
                <a:cubicBezTo>
                  <a:pt x="3407" y="39"/>
                  <a:pt x="3409" y="41"/>
                  <a:pt x="3415" y="42"/>
                </a:cubicBezTo>
                <a:cubicBezTo>
                  <a:pt x="3415" y="42"/>
                  <a:pt x="3415" y="42"/>
                  <a:pt x="3415" y="43"/>
                </a:cubicBezTo>
                <a:cubicBezTo>
                  <a:pt x="3409" y="44"/>
                  <a:pt x="3407" y="46"/>
                  <a:pt x="3407" y="54"/>
                </a:cubicBezTo>
                <a:cubicBezTo>
                  <a:pt x="3407" y="56"/>
                  <a:pt x="3407" y="58"/>
                  <a:pt x="3407" y="60"/>
                </a:cubicBezTo>
                <a:cubicBezTo>
                  <a:pt x="3407" y="62"/>
                  <a:pt x="3407" y="63"/>
                  <a:pt x="3407" y="65"/>
                </a:cubicBezTo>
                <a:cubicBezTo>
                  <a:pt x="3407" y="68"/>
                  <a:pt x="3406" y="71"/>
                  <a:pt x="3402" y="71"/>
                </a:cubicBezTo>
                <a:cubicBezTo>
                  <a:pt x="3402" y="71"/>
                  <a:pt x="3402" y="71"/>
                  <a:pt x="3401" y="71"/>
                </a:cubicBezTo>
                <a:cubicBezTo>
                  <a:pt x="3401" y="71"/>
                  <a:pt x="3401" y="71"/>
                  <a:pt x="3401" y="80"/>
                </a:cubicBezTo>
                <a:cubicBezTo>
                  <a:pt x="3401" y="80"/>
                  <a:pt x="3401" y="80"/>
                  <a:pt x="3404" y="80"/>
                </a:cubicBezTo>
                <a:cubicBezTo>
                  <a:pt x="3413" y="80"/>
                  <a:pt x="3419" y="76"/>
                  <a:pt x="3419" y="67"/>
                </a:cubicBezTo>
                <a:cubicBezTo>
                  <a:pt x="3419" y="65"/>
                  <a:pt x="3419" y="62"/>
                  <a:pt x="3418" y="60"/>
                </a:cubicBezTo>
                <a:cubicBezTo>
                  <a:pt x="3418" y="57"/>
                  <a:pt x="3418" y="55"/>
                  <a:pt x="3418" y="53"/>
                </a:cubicBezTo>
                <a:cubicBezTo>
                  <a:pt x="3418" y="50"/>
                  <a:pt x="3418" y="47"/>
                  <a:pt x="3425" y="47"/>
                </a:cubicBezTo>
                <a:close/>
                <a:moveTo>
                  <a:pt x="3472" y="6"/>
                </a:moveTo>
                <a:cubicBezTo>
                  <a:pt x="3472" y="6"/>
                  <a:pt x="3472" y="6"/>
                  <a:pt x="3472" y="6"/>
                </a:cubicBezTo>
                <a:cubicBezTo>
                  <a:pt x="3467" y="6"/>
                  <a:pt x="3467" y="6"/>
                  <a:pt x="3467" y="6"/>
                </a:cubicBezTo>
                <a:cubicBezTo>
                  <a:pt x="3464" y="8"/>
                  <a:pt x="3463" y="9"/>
                  <a:pt x="3461" y="10"/>
                </a:cubicBezTo>
                <a:cubicBezTo>
                  <a:pt x="3459" y="11"/>
                  <a:pt x="3457" y="12"/>
                  <a:pt x="3455" y="13"/>
                </a:cubicBezTo>
                <a:cubicBezTo>
                  <a:pt x="3453" y="13"/>
                  <a:pt x="3452" y="14"/>
                  <a:pt x="3450" y="15"/>
                </a:cubicBezTo>
                <a:cubicBezTo>
                  <a:pt x="3448" y="16"/>
                  <a:pt x="3447" y="16"/>
                  <a:pt x="3444" y="17"/>
                </a:cubicBezTo>
                <a:cubicBezTo>
                  <a:pt x="3444" y="17"/>
                  <a:pt x="3444" y="17"/>
                  <a:pt x="3444" y="27"/>
                </a:cubicBezTo>
                <a:cubicBezTo>
                  <a:pt x="3447" y="26"/>
                  <a:pt x="3450" y="25"/>
                  <a:pt x="3452" y="24"/>
                </a:cubicBezTo>
                <a:cubicBezTo>
                  <a:pt x="3455" y="24"/>
                  <a:pt x="3458" y="22"/>
                  <a:pt x="3460" y="21"/>
                </a:cubicBezTo>
                <a:cubicBezTo>
                  <a:pt x="3460" y="21"/>
                  <a:pt x="3460" y="21"/>
                  <a:pt x="3460" y="80"/>
                </a:cubicBezTo>
                <a:cubicBezTo>
                  <a:pt x="3460" y="80"/>
                  <a:pt x="3460" y="80"/>
                  <a:pt x="3472" y="80"/>
                </a:cubicBezTo>
                <a:cubicBezTo>
                  <a:pt x="3472" y="80"/>
                  <a:pt x="3472" y="80"/>
                  <a:pt x="3472" y="6"/>
                </a:cubicBezTo>
                <a:close/>
                <a:moveTo>
                  <a:pt x="3518" y="6"/>
                </a:moveTo>
                <a:cubicBezTo>
                  <a:pt x="3518" y="6"/>
                  <a:pt x="3518" y="6"/>
                  <a:pt x="3518" y="6"/>
                </a:cubicBezTo>
                <a:cubicBezTo>
                  <a:pt x="3513" y="6"/>
                  <a:pt x="3513" y="6"/>
                  <a:pt x="3513" y="6"/>
                </a:cubicBezTo>
                <a:cubicBezTo>
                  <a:pt x="3511" y="8"/>
                  <a:pt x="3509" y="9"/>
                  <a:pt x="3507" y="10"/>
                </a:cubicBezTo>
                <a:cubicBezTo>
                  <a:pt x="3506" y="11"/>
                  <a:pt x="3504" y="12"/>
                  <a:pt x="3502" y="13"/>
                </a:cubicBezTo>
                <a:cubicBezTo>
                  <a:pt x="3501" y="14"/>
                  <a:pt x="3499" y="15"/>
                  <a:pt x="3497" y="16"/>
                </a:cubicBezTo>
                <a:cubicBezTo>
                  <a:pt x="3495" y="16"/>
                  <a:pt x="3494" y="17"/>
                  <a:pt x="3491" y="17"/>
                </a:cubicBezTo>
                <a:cubicBezTo>
                  <a:pt x="3491" y="17"/>
                  <a:pt x="3491" y="17"/>
                  <a:pt x="3491" y="27"/>
                </a:cubicBezTo>
                <a:cubicBezTo>
                  <a:pt x="3494" y="26"/>
                  <a:pt x="3497" y="26"/>
                  <a:pt x="3499" y="24"/>
                </a:cubicBezTo>
                <a:cubicBezTo>
                  <a:pt x="3502" y="24"/>
                  <a:pt x="3504" y="22"/>
                  <a:pt x="3506" y="21"/>
                </a:cubicBezTo>
                <a:cubicBezTo>
                  <a:pt x="3506" y="21"/>
                  <a:pt x="3506" y="21"/>
                  <a:pt x="3506" y="80"/>
                </a:cubicBezTo>
                <a:cubicBezTo>
                  <a:pt x="3506" y="80"/>
                  <a:pt x="3506" y="80"/>
                  <a:pt x="3518" y="80"/>
                </a:cubicBezTo>
                <a:cubicBezTo>
                  <a:pt x="3518" y="80"/>
                  <a:pt x="3518" y="80"/>
                  <a:pt x="3518" y="6"/>
                </a:cubicBezTo>
                <a:close/>
                <a:moveTo>
                  <a:pt x="3564" y="6"/>
                </a:moveTo>
                <a:cubicBezTo>
                  <a:pt x="3564" y="6"/>
                  <a:pt x="3564" y="6"/>
                  <a:pt x="3564" y="6"/>
                </a:cubicBezTo>
                <a:cubicBezTo>
                  <a:pt x="3560" y="6"/>
                  <a:pt x="3560" y="6"/>
                  <a:pt x="3560" y="6"/>
                </a:cubicBezTo>
                <a:cubicBezTo>
                  <a:pt x="3557" y="8"/>
                  <a:pt x="3556" y="9"/>
                  <a:pt x="3554" y="10"/>
                </a:cubicBezTo>
                <a:cubicBezTo>
                  <a:pt x="3552" y="11"/>
                  <a:pt x="3550" y="12"/>
                  <a:pt x="3549" y="13"/>
                </a:cubicBezTo>
                <a:cubicBezTo>
                  <a:pt x="3547" y="14"/>
                  <a:pt x="3545" y="15"/>
                  <a:pt x="3543" y="16"/>
                </a:cubicBezTo>
                <a:cubicBezTo>
                  <a:pt x="3542" y="16"/>
                  <a:pt x="3539" y="17"/>
                  <a:pt x="3538" y="17"/>
                </a:cubicBezTo>
                <a:cubicBezTo>
                  <a:pt x="3538" y="17"/>
                  <a:pt x="3538" y="17"/>
                  <a:pt x="3538" y="27"/>
                </a:cubicBezTo>
                <a:cubicBezTo>
                  <a:pt x="3541" y="26"/>
                  <a:pt x="3544" y="26"/>
                  <a:pt x="3546" y="24"/>
                </a:cubicBezTo>
                <a:cubicBezTo>
                  <a:pt x="3548" y="24"/>
                  <a:pt x="3551" y="22"/>
                  <a:pt x="3552" y="21"/>
                </a:cubicBezTo>
                <a:cubicBezTo>
                  <a:pt x="3552" y="21"/>
                  <a:pt x="3552" y="21"/>
                  <a:pt x="3552" y="80"/>
                </a:cubicBezTo>
                <a:cubicBezTo>
                  <a:pt x="3552" y="80"/>
                  <a:pt x="3552" y="80"/>
                  <a:pt x="3564" y="80"/>
                </a:cubicBezTo>
                <a:cubicBezTo>
                  <a:pt x="3564" y="80"/>
                  <a:pt x="3564" y="80"/>
                  <a:pt x="3564" y="6"/>
                </a:cubicBezTo>
                <a:close/>
                <a:moveTo>
                  <a:pt x="3609" y="6"/>
                </a:moveTo>
                <a:cubicBezTo>
                  <a:pt x="3609" y="6"/>
                  <a:pt x="3609" y="6"/>
                  <a:pt x="3609" y="6"/>
                </a:cubicBezTo>
                <a:cubicBezTo>
                  <a:pt x="3605" y="6"/>
                  <a:pt x="3605" y="6"/>
                  <a:pt x="3605" y="6"/>
                </a:cubicBezTo>
                <a:cubicBezTo>
                  <a:pt x="3603" y="8"/>
                  <a:pt x="3602" y="9"/>
                  <a:pt x="3599" y="10"/>
                </a:cubicBezTo>
                <a:cubicBezTo>
                  <a:pt x="3598" y="11"/>
                  <a:pt x="3596" y="12"/>
                  <a:pt x="3594" y="13"/>
                </a:cubicBezTo>
                <a:cubicBezTo>
                  <a:pt x="3592" y="14"/>
                  <a:pt x="3591" y="15"/>
                  <a:pt x="3589" y="16"/>
                </a:cubicBezTo>
                <a:cubicBezTo>
                  <a:pt x="3587" y="16"/>
                  <a:pt x="3585" y="17"/>
                  <a:pt x="3584" y="17"/>
                </a:cubicBezTo>
                <a:cubicBezTo>
                  <a:pt x="3584" y="17"/>
                  <a:pt x="3584" y="17"/>
                  <a:pt x="3584" y="27"/>
                </a:cubicBezTo>
                <a:cubicBezTo>
                  <a:pt x="3586" y="26"/>
                  <a:pt x="3589" y="26"/>
                  <a:pt x="3591" y="24"/>
                </a:cubicBezTo>
                <a:cubicBezTo>
                  <a:pt x="3594" y="24"/>
                  <a:pt x="3596" y="22"/>
                  <a:pt x="3598" y="21"/>
                </a:cubicBezTo>
                <a:cubicBezTo>
                  <a:pt x="3598" y="21"/>
                  <a:pt x="3598" y="21"/>
                  <a:pt x="3598" y="80"/>
                </a:cubicBezTo>
                <a:cubicBezTo>
                  <a:pt x="3598" y="80"/>
                  <a:pt x="3598" y="80"/>
                  <a:pt x="3609" y="80"/>
                </a:cubicBezTo>
                <a:cubicBezTo>
                  <a:pt x="3609" y="80"/>
                  <a:pt x="3609" y="80"/>
                  <a:pt x="3609" y="6"/>
                </a:cubicBezTo>
                <a:close/>
                <a:moveTo>
                  <a:pt x="3630" y="38"/>
                </a:moveTo>
                <a:cubicBezTo>
                  <a:pt x="3630" y="38"/>
                  <a:pt x="3630" y="38"/>
                  <a:pt x="3630" y="38"/>
                </a:cubicBezTo>
                <a:cubicBezTo>
                  <a:pt x="3630" y="47"/>
                  <a:pt x="3630" y="47"/>
                  <a:pt x="3630" y="47"/>
                </a:cubicBezTo>
                <a:cubicBezTo>
                  <a:pt x="3636" y="47"/>
                  <a:pt x="3637" y="50"/>
                  <a:pt x="3637" y="53"/>
                </a:cubicBezTo>
                <a:cubicBezTo>
                  <a:pt x="3637" y="55"/>
                  <a:pt x="3636" y="57"/>
                  <a:pt x="3636" y="60"/>
                </a:cubicBezTo>
                <a:cubicBezTo>
                  <a:pt x="3636" y="62"/>
                  <a:pt x="3636" y="65"/>
                  <a:pt x="3636" y="67"/>
                </a:cubicBezTo>
                <a:cubicBezTo>
                  <a:pt x="3636" y="76"/>
                  <a:pt x="3641" y="80"/>
                  <a:pt x="3650" y="80"/>
                </a:cubicBezTo>
                <a:cubicBezTo>
                  <a:pt x="3650" y="80"/>
                  <a:pt x="3650" y="80"/>
                  <a:pt x="3654" y="80"/>
                </a:cubicBezTo>
                <a:cubicBezTo>
                  <a:pt x="3654" y="80"/>
                  <a:pt x="3654" y="80"/>
                  <a:pt x="3654" y="71"/>
                </a:cubicBezTo>
                <a:cubicBezTo>
                  <a:pt x="3654" y="71"/>
                  <a:pt x="3654" y="71"/>
                  <a:pt x="3652" y="71"/>
                </a:cubicBezTo>
                <a:cubicBezTo>
                  <a:pt x="3648" y="71"/>
                  <a:pt x="3647" y="68"/>
                  <a:pt x="3647" y="65"/>
                </a:cubicBezTo>
                <a:cubicBezTo>
                  <a:pt x="3647" y="63"/>
                  <a:pt x="3647" y="62"/>
                  <a:pt x="3648" y="60"/>
                </a:cubicBezTo>
                <a:cubicBezTo>
                  <a:pt x="3648" y="58"/>
                  <a:pt x="3648" y="56"/>
                  <a:pt x="3648" y="54"/>
                </a:cubicBezTo>
                <a:cubicBezTo>
                  <a:pt x="3648" y="46"/>
                  <a:pt x="3645" y="44"/>
                  <a:pt x="3640" y="43"/>
                </a:cubicBezTo>
                <a:cubicBezTo>
                  <a:pt x="3640" y="43"/>
                  <a:pt x="3640" y="43"/>
                  <a:pt x="3640" y="42"/>
                </a:cubicBezTo>
                <a:cubicBezTo>
                  <a:pt x="3645" y="41"/>
                  <a:pt x="3648" y="39"/>
                  <a:pt x="3648" y="31"/>
                </a:cubicBezTo>
                <a:cubicBezTo>
                  <a:pt x="3648" y="29"/>
                  <a:pt x="3648" y="27"/>
                  <a:pt x="3648" y="25"/>
                </a:cubicBezTo>
                <a:cubicBezTo>
                  <a:pt x="3647" y="23"/>
                  <a:pt x="3647" y="22"/>
                  <a:pt x="3647" y="20"/>
                </a:cubicBezTo>
                <a:cubicBezTo>
                  <a:pt x="3647" y="17"/>
                  <a:pt x="3648" y="15"/>
                  <a:pt x="3652" y="15"/>
                </a:cubicBezTo>
                <a:cubicBezTo>
                  <a:pt x="3652" y="15"/>
                  <a:pt x="3652" y="15"/>
                  <a:pt x="3654" y="15"/>
                </a:cubicBezTo>
                <a:cubicBezTo>
                  <a:pt x="3654" y="15"/>
                  <a:pt x="3654" y="15"/>
                  <a:pt x="3654" y="5"/>
                </a:cubicBezTo>
                <a:cubicBezTo>
                  <a:pt x="3654" y="5"/>
                  <a:pt x="3654" y="5"/>
                  <a:pt x="3650" y="5"/>
                </a:cubicBezTo>
                <a:cubicBezTo>
                  <a:pt x="3641" y="5"/>
                  <a:pt x="3636" y="9"/>
                  <a:pt x="3636" y="18"/>
                </a:cubicBezTo>
                <a:cubicBezTo>
                  <a:pt x="3636" y="20"/>
                  <a:pt x="3636" y="23"/>
                  <a:pt x="3636" y="25"/>
                </a:cubicBezTo>
                <a:cubicBezTo>
                  <a:pt x="3636" y="28"/>
                  <a:pt x="3637" y="30"/>
                  <a:pt x="3637" y="32"/>
                </a:cubicBezTo>
                <a:cubicBezTo>
                  <a:pt x="3637" y="35"/>
                  <a:pt x="3636" y="38"/>
                  <a:pt x="3630" y="38"/>
                </a:cubicBezTo>
                <a:close/>
                <a:moveTo>
                  <a:pt x="89" y="2177"/>
                </a:moveTo>
                <a:cubicBezTo>
                  <a:pt x="81" y="2177"/>
                  <a:pt x="75" y="2174"/>
                  <a:pt x="70" y="2168"/>
                </a:cubicBezTo>
                <a:cubicBezTo>
                  <a:pt x="67" y="2162"/>
                  <a:pt x="65" y="2153"/>
                  <a:pt x="65" y="2141"/>
                </a:cubicBezTo>
                <a:cubicBezTo>
                  <a:pt x="65" y="2128"/>
                  <a:pt x="67" y="2118"/>
                  <a:pt x="71" y="2112"/>
                </a:cubicBezTo>
                <a:cubicBezTo>
                  <a:pt x="76" y="2105"/>
                  <a:pt x="82" y="2101"/>
                  <a:pt x="91" y="2101"/>
                </a:cubicBezTo>
                <a:cubicBezTo>
                  <a:pt x="107" y="2101"/>
                  <a:pt x="115" y="2114"/>
                  <a:pt x="115" y="2139"/>
                </a:cubicBezTo>
                <a:cubicBezTo>
                  <a:pt x="115" y="2152"/>
                  <a:pt x="113" y="2161"/>
                  <a:pt x="108" y="2168"/>
                </a:cubicBezTo>
                <a:cubicBezTo>
                  <a:pt x="103" y="2174"/>
                  <a:pt x="97" y="2177"/>
                  <a:pt x="89" y="2177"/>
                </a:cubicBezTo>
                <a:close/>
                <a:moveTo>
                  <a:pt x="90" y="2111"/>
                </a:moveTo>
                <a:cubicBezTo>
                  <a:pt x="81" y="2111"/>
                  <a:pt x="76" y="2121"/>
                  <a:pt x="76" y="2141"/>
                </a:cubicBezTo>
                <a:cubicBezTo>
                  <a:pt x="76" y="2159"/>
                  <a:pt x="81" y="2168"/>
                  <a:pt x="89" y="2168"/>
                </a:cubicBezTo>
                <a:cubicBezTo>
                  <a:pt x="98" y="2168"/>
                  <a:pt x="103" y="2159"/>
                  <a:pt x="103" y="2140"/>
                </a:cubicBezTo>
                <a:cubicBezTo>
                  <a:pt x="103" y="2120"/>
                  <a:pt x="98" y="2111"/>
                  <a:pt x="90" y="2111"/>
                </a:cubicBezTo>
                <a:close/>
                <a:moveTo>
                  <a:pt x="163" y="2104"/>
                </a:moveTo>
                <a:cubicBezTo>
                  <a:pt x="163" y="2104"/>
                  <a:pt x="163" y="2104"/>
                  <a:pt x="163" y="2104"/>
                </a:cubicBezTo>
                <a:cubicBezTo>
                  <a:pt x="157" y="2104"/>
                  <a:pt x="157" y="2104"/>
                  <a:pt x="157" y="2104"/>
                </a:cubicBezTo>
                <a:cubicBezTo>
                  <a:pt x="155" y="2105"/>
                  <a:pt x="154" y="2107"/>
                  <a:pt x="152" y="2107"/>
                </a:cubicBezTo>
                <a:cubicBezTo>
                  <a:pt x="150" y="2109"/>
                  <a:pt x="148" y="2110"/>
                  <a:pt x="147" y="2110"/>
                </a:cubicBezTo>
                <a:cubicBezTo>
                  <a:pt x="144" y="2111"/>
                  <a:pt x="143" y="2112"/>
                  <a:pt x="142" y="2112"/>
                </a:cubicBezTo>
                <a:cubicBezTo>
                  <a:pt x="139" y="2113"/>
                  <a:pt x="138" y="2114"/>
                  <a:pt x="136" y="2115"/>
                </a:cubicBezTo>
                <a:cubicBezTo>
                  <a:pt x="136" y="2115"/>
                  <a:pt x="136" y="2115"/>
                  <a:pt x="136" y="2125"/>
                </a:cubicBezTo>
                <a:cubicBezTo>
                  <a:pt x="139" y="2124"/>
                  <a:pt x="142" y="2123"/>
                  <a:pt x="144" y="2122"/>
                </a:cubicBezTo>
                <a:cubicBezTo>
                  <a:pt x="147" y="2121"/>
                  <a:pt x="149" y="2120"/>
                  <a:pt x="151" y="2118"/>
                </a:cubicBezTo>
                <a:cubicBezTo>
                  <a:pt x="151" y="2118"/>
                  <a:pt x="151" y="2118"/>
                  <a:pt x="151" y="2177"/>
                </a:cubicBezTo>
                <a:cubicBezTo>
                  <a:pt x="151" y="2177"/>
                  <a:pt x="151" y="2177"/>
                  <a:pt x="163" y="2177"/>
                </a:cubicBezTo>
                <a:cubicBezTo>
                  <a:pt x="163" y="2177"/>
                  <a:pt x="163" y="2177"/>
                  <a:pt x="163" y="2104"/>
                </a:cubicBezTo>
                <a:close/>
                <a:moveTo>
                  <a:pt x="210" y="2104"/>
                </a:moveTo>
                <a:cubicBezTo>
                  <a:pt x="210" y="2104"/>
                  <a:pt x="210" y="2104"/>
                  <a:pt x="210" y="2104"/>
                </a:cubicBezTo>
                <a:cubicBezTo>
                  <a:pt x="205" y="2104"/>
                  <a:pt x="205" y="2104"/>
                  <a:pt x="205" y="2104"/>
                </a:cubicBezTo>
                <a:cubicBezTo>
                  <a:pt x="202" y="2105"/>
                  <a:pt x="201" y="2107"/>
                  <a:pt x="199" y="2107"/>
                </a:cubicBezTo>
                <a:cubicBezTo>
                  <a:pt x="197" y="2109"/>
                  <a:pt x="195" y="2110"/>
                  <a:pt x="194" y="2110"/>
                </a:cubicBezTo>
                <a:cubicBezTo>
                  <a:pt x="192" y="2112"/>
                  <a:pt x="190" y="2112"/>
                  <a:pt x="189" y="2113"/>
                </a:cubicBezTo>
                <a:cubicBezTo>
                  <a:pt x="187" y="2114"/>
                  <a:pt x="185" y="2115"/>
                  <a:pt x="183" y="2115"/>
                </a:cubicBezTo>
                <a:cubicBezTo>
                  <a:pt x="183" y="2115"/>
                  <a:pt x="183" y="2115"/>
                  <a:pt x="183" y="2125"/>
                </a:cubicBezTo>
                <a:cubicBezTo>
                  <a:pt x="186" y="2124"/>
                  <a:pt x="189" y="2123"/>
                  <a:pt x="191" y="2122"/>
                </a:cubicBezTo>
                <a:cubicBezTo>
                  <a:pt x="194" y="2121"/>
                  <a:pt x="196" y="2120"/>
                  <a:pt x="198" y="2118"/>
                </a:cubicBezTo>
                <a:cubicBezTo>
                  <a:pt x="198" y="2118"/>
                  <a:pt x="198" y="2118"/>
                  <a:pt x="198" y="2177"/>
                </a:cubicBezTo>
                <a:cubicBezTo>
                  <a:pt x="198" y="2177"/>
                  <a:pt x="198" y="2177"/>
                  <a:pt x="210" y="2177"/>
                </a:cubicBezTo>
                <a:cubicBezTo>
                  <a:pt x="210" y="2177"/>
                  <a:pt x="210" y="2177"/>
                  <a:pt x="210" y="2104"/>
                </a:cubicBezTo>
                <a:close/>
                <a:moveTo>
                  <a:pt x="256" y="2104"/>
                </a:moveTo>
                <a:cubicBezTo>
                  <a:pt x="256" y="2104"/>
                  <a:pt x="256" y="2104"/>
                  <a:pt x="256" y="2104"/>
                </a:cubicBezTo>
                <a:cubicBezTo>
                  <a:pt x="252" y="2104"/>
                  <a:pt x="252" y="2104"/>
                  <a:pt x="252" y="2104"/>
                </a:cubicBezTo>
                <a:cubicBezTo>
                  <a:pt x="250" y="2105"/>
                  <a:pt x="248" y="2107"/>
                  <a:pt x="246" y="2107"/>
                </a:cubicBezTo>
                <a:cubicBezTo>
                  <a:pt x="245" y="2109"/>
                  <a:pt x="242" y="2110"/>
                  <a:pt x="241" y="2110"/>
                </a:cubicBezTo>
                <a:cubicBezTo>
                  <a:pt x="239" y="2112"/>
                  <a:pt x="237" y="2112"/>
                  <a:pt x="235" y="2113"/>
                </a:cubicBezTo>
                <a:cubicBezTo>
                  <a:pt x="234" y="2114"/>
                  <a:pt x="232" y="2115"/>
                  <a:pt x="230" y="2115"/>
                </a:cubicBezTo>
                <a:cubicBezTo>
                  <a:pt x="230" y="2115"/>
                  <a:pt x="230" y="2115"/>
                  <a:pt x="230" y="2125"/>
                </a:cubicBezTo>
                <a:cubicBezTo>
                  <a:pt x="233" y="2124"/>
                  <a:pt x="236" y="2123"/>
                  <a:pt x="238" y="2122"/>
                </a:cubicBezTo>
                <a:cubicBezTo>
                  <a:pt x="240" y="2121"/>
                  <a:pt x="243" y="2120"/>
                  <a:pt x="245" y="2118"/>
                </a:cubicBezTo>
                <a:cubicBezTo>
                  <a:pt x="245" y="2118"/>
                  <a:pt x="245" y="2118"/>
                  <a:pt x="245" y="2177"/>
                </a:cubicBezTo>
                <a:cubicBezTo>
                  <a:pt x="245" y="2177"/>
                  <a:pt x="245" y="2177"/>
                  <a:pt x="256" y="2177"/>
                </a:cubicBezTo>
                <a:cubicBezTo>
                  <a:pt x="256" y="2177"/>
                  <a:pt x="256" y="2177"/>
                  <a:pt x="256" y="2104"/>
                </a:cubicBezTo>
                <a:close/>
                <a:moveTo>
                  <a:pt x="304" y="2104"/>
                </a:moveTo>
                <a:cubicBezTo>
                  <a:pt x="304" y="2104"/>
                  <a:pt x="304" y="2104"/>
                  <a:pt x="304" y="2104"/>
                </a:cubicBezTo>
                <a:cubicBezTo>
                  <a:pt x="299" y="2104"/>
                  <a:pt x="299" y="2104"/>
                  <a:pt x="299" y="2104"/>
                </a:cubicBezTo>
                <a:cubicBezTo>
                  <a:pt x="296" y="2105"/>
                  <a:pt x="295" y="2107"/>
                  <a:pt x="293" y="2107"/>
                </a:cubicBezTo>
                <a:cubicBezTo>
                  <a:pt x="291" y="2109"/>
                  <a:pt x="290" y="2110"/>
                  <a:pt x="288" y="2110"/>
                </a:cubicBezTo>
                <a:cubicBezTo>
                  <a:pt x="286" y="2112"/>
                  <a:pt x="284" y="2112"/>
                  <a:pt x="283" y="2113"/>
                </a:cubicBezTo>
                <a:cubicBezTo>
                  <a:pt x="280" y="2114"/>
                  <a:pt x="279" y="2115"/>
                  <a:pt x="277" y="2115"/>
                </a:cubicBezTo>
                <a:cubicBezTo>
                  <a:pt x="277" y="2115"/>
                  <a:pt x="277" y="2115"/>
                  <a:pt x="277" y="2125"/>
                </a:cubicBezTo>
                <a:cubicBezTo>
                  <a:pt x="280" y="2124"/>
                  <a:pt x="283" y="2123"/>
                  <a:pt x="285" y="2122"/>
                </a:cubicBezTo>
                <a:cubicBezTo>
                  <a:pt x="288" y="2121"/>
                  <a:pt x="290" y="2120"/>
                  <a:pt x="292" y="2118"/>
                </a:cubicBezTo>
                <a:cubicBezTo>
                  <a:pt x="292" y="2118"/>
                  <a:pt x="292" y="2118"/>
                  <a:pt x="292" y="2177"/>
                </a:cubicBezTo>
                <a:cubicBezTo>
                  <a:pt x="292" y="2177"/>
                  <a:pt x="292" y="2177"/>
                  <a:pt x="304" y="2177"/>
                </a:cubicBezTo>
                <a:cubicBezTo>
                  <a:pt x="304" y="2177"/>
                  <a:pt x="304" y="2177"/>
                  <a:pt x="304" y="2104"/>
                </a:cubicBezTo>
                <a:close/>
                <a:moveTo>
                  <a:pt x="427" y="2104"/>
                </a:moveTo>
                <a:cubicBezTo>
                  <a:pt x="427" y="2104"/>
                  <a:pt x="427" y="2104"/>
                  <a:pt x="427" y="2104"/>
                </a:cubicBezTo>
                <a:cubicBezTo>
                  <a:pt x="421" y="2104"/>
                  <a:pt x="421" y="2104"/>
                  <a:pt x="421" y="2104"/>
                </a:cubicBezTo>
                <a:cubicBezTo>
                  <a:pt x="419" y="2105"/>
                  <a:pt x="418" y="2107"/>
                  <a:pt x="416" y="2107"/>
                </a:cubicBezTo>
                <a:cubicBezTo>
                  <a:pt x="414" y="2109"/>
                  <a:pt x="413" y="2110"/>
                  <a:pt x="411" y="2110"/>
                </a:cubicBezTo>
                <a:cubicBezTo>
                  <a:pt x="409" y="2112"/>
                  <a:pt x="407" y="2112"/>
                  <a:pt x="406" y="2113"/>
                </a:cubicBezTo>
                <a:cubicBezTo>
                  <a:pt x="403" y="2114"/>
                  <a:pt x="402" y="2115"/>
                  <a:pt x="400" y="2115"/>
                </a:cubicBezTo>
                <a:cubicBezTo>
                  <a:pt x="400" y="2115"/>
                  <a:pt x="400" y="2115"/>
                  <a:pt x="400" y="2125"/>
                </a:cubicBezTo>
                <a:cubicBezTo>
                  <a:pt x="403" y="2124"/>
                  <a:pt x="406" y="2123"/>
                  <a:pt x="408" y="2122"/>
                </a:cubicBezTo>
                <a:cubicBezTo>
                  <a:pt x="411" y="2121"/>
                  <a:pt x="413" y="2120"/>
                  <a:pt x="415" y="2118"/>
                </a:cubicBezTo>
                <a:cubicBezTo>
                  <a:pt x="415" y="2118"/>
                  <a:pt x="415" y="2118"/>
                  <a:pt x="415" y="2177"/>
                </a:cubicBezTo>
                <a:cubicBezTo>
                  <a:pt x="415" y="2177"/>
                  <a:pt x="415" y="2177"/>
                  <a:pt x="427" y="2177"/>
                </a:cubicBezTo>
                <a:cubicBezTo>
                  <a:pt x="427" y="2177"/>
                  <a:pt x="427" y="2177"/>
                  <a:pt x="427" y="2104"/>
                </a:cubicBezTo>
                <a:close/>
                <a:moveTo>
                  <a:pt x="474" y="2104"/>
                </a:moveTo>
                <a:cubicBezTo>
                  <a:pt x="474" y="2104"/>
                  <a:pt x="474" y="2104"/>
                  <a:pt x="474" y="2104"/>
                </a:cubicBezTo>
                <a:cubicBezTo>
                  <a:pt x="469" y="2104"/>
                  <a:pt x="469" y="2104"/>
                  <a:pt x="469" y="2104"/>
                </a:cubicBezTo>
                <a:cubicBezTo>
                  <a:pt x="467" y="2105"/>
                  <a:pt x="465" y="2107"/>
                  <a:pt x="463" y="2107"/>
                </a:cubicBezTo>
                <a:cubicBezTo>
                  <a:pt x="462" y="2109"/>
                  <a:pt x="460" y="2110"/>
                  <a:pt x="458" y="2110"/>
                </a:cubicBezTo>
                <a:cubicBezTo>
                  <a:pt x="457" y="2112"/>
                  <a:pt x="454" y="2112"/>
                  <a:pt x="453" y="2113"/>
                </a:cubicBezTo>
                <a:cubicBezTo>
                  <a:pt x="451" y="2114"/>
                  <a:pt x="449" y="2115"/>
                  <a:pt x="447" y="2115"/>
                </a:cubicBezTo>
                <a:cubicBezTo>
                  <a:pt x="447" y="2115"/>
                  <a:pt x="447" y="2115"/>
                  <a:pt x="447" y="2125"/>
                </a:cubicBezTo>
                <a:cubicBezTo>
                  <a:pt x="450" y="2124"/>
                  <a:pt x="453" y="2123"/>
                  <a:pt x="455" y="2122"/>
                </a:cubicBezTo>
                <a:cubicBezTo>
                  <a:pt x="458" y="2121"/>
                  <a:pt x="460" y="2120"/>
                  <a:pt x="462" y="2118"/>
                </a:cubicBezTo>
                <a:cubicBezTo>
                  <a:pt x="462" y="2118"/>
                  <a:pt x="462" y="2118"/>
                  <a:pt x="462" y="2177"/>
                </a:cubicBezTo>
                <a:cubicBezTo>
                  <a:pt x="462" y="2177"/>
                  <a:pt x="462" y="2177"/>
                  <a:pt x="474" y="2177"/>
                </a:cubicBezTo>
                <a:cubicBezTo>
                  <a:pt x="474" y="2177"/>
                  <a:pt x="474" y="2177"/>
                  <a:pt x="474" y="2104"/>
                </a:cubicBezTo>
                <a:close/>
                <a:moveTo>
                  <a:pt x="522" y="2104"/>
                </a:moveTo>
                <a:cubicBezTo>
                  <a:pt x="522" y="2104"/>
                  <a:pt x="522" y="2104"/>
                  <a:pt x="522" y="2104"/>
                </a:cubicBezTo>
                <a:cubicBezTo>
                  <a:pt x="517" y="2104"/>
                  <a:pt x="517" y="2104"/>
                  <a:pt x="517" y="2104"/>
                </a:cubicBezTo>
                <a:cubicBezTo>
                  <a:pt x="515" y="2105"/>
                  <a:pt x="513" y="2107"/>
                  <a:pt x="511" y="2107"/>
                </a:cubicBezTo>
                <a:cubicBezTo>
                  <a:pt x="509" y="2109"/>
                  <a:pt x="508" y="2110"/>
                  <a:pt x="506" y="2110"/>
                </a:cubicBezTo>
                <a:cubicBezTo>
                  <a:pt x="504" y="2112"/>
                  <a:pt x="502" y="2112"/>
                  <a:pt x="501" y="2113"/>
                </a:cubicBezTo>
                <a:cubicBezTo>
                  <a:pt x="498" y="2114"/>
                  <a:pt x="497" y="2115"/>
                  <a:pt x="495" y="2115"/>
                </a:cubicBezTo>
                <a:cubicBezTo>
                  <a:pt x="495" y="2115"/>
                  <a:pt x="495" y="2115"/>
                  <a:pt x="495" y="2125"/>
                </a:cubicBezTo>
                <a:cubicBezTo>
                  <a:pt x="498" y="2124"/>
                  <a:pt x="501" y="2123"/>
                  <a:pt x="503" y="2122"/>
                </a:cubicBezTo>
                <a:cubicBezTo>
                  <a:pt x="506" y="2121"/>
                  <a:pt x="508" y="2120"/>
                  <a:pt x="510" y="2118"/>
                </a:cubicBezTo>
                <a:cubicBezTo>
                  <a:pt x="510" y="2118"/>
                  <a:pt x="510" y="2118"/>
                  <a:pt x="510" y="2177"/>
                </a:cubicBezTo>
                <a:cubicBezTo>
                  <a:pt x="510" y="2177"/>
                  <a:pt x="510" y="2177"/>
                  <a:pt x="522" y="2177"/>
                </a:cubicBezTo>
                <a:cubicBezTo>
                  <a:pt x="522" y="2177"/>
                  <a:pt x="522" y="2177"/>
                  <a:pt x="522" y="2104"/>
                </a:cubicBezTo>
                <a:close/>
                <a:moveTo>
                  <a:pt x="568" y="2104"/>
                </a:moveTo>
                <a:cubicBezTo>
                  <a:pt x="568" y="2104"/>
                  <a:pt x="568" y="2104"/>
                  <a:pt x="568" y="2104"/>
                </a:cubicBezTo>
                <a:cubicBezTo>
                  <a:pt x="564" y="2104"/>
                  <a:pt x="564" y="2104"/>
                  <a:pt x="564" y="2104"/>
                </a:cubicBezTo>
                <a:cubicBezTo>
                  <a:pt x="562" y="2105"/>
                  <a:pt x="560" y="2107"/>
                  <a:pt x="558" y="2107"/>
                </a:cubicBezTo>
                <a:cubicBezTo>
                  <a:pt x="557" y="2109"/>
                  <a:pt x="554" y="2110"/>
                  <a:pt x="553" y="2110"/>
                </a:cubicBezTo>
                <a:cubicBezTo>
                  <a:pt x="551" y="2111"/>
                  <a:pt x="549" y="2112"/>
                  <a:pt x="547" y="2112"/>
                </a:cubicBezTo>
                <a:cubicBezTo>
                  <a:pt x="546" y="2113"/>
                  <a:pt x="544" y="2114"/>
                  <a:pt x="542" y="2115"/>
                </a:cubicBezTo>
                <a:cubicBezTo>
                  <a:pt x="542" y="2115"/>
                  <a:pt x="542" y="2115"/>
                  <a:pt x="542" y="2125"/>
                </a:cubicBezTo>
                <a:cubicBezTo>
                  <a:pt x="545" y="2124"/>
                  <a:pt x="548" y="2123"/>
                  <a:pt x="550" y="2122"/>
                </a:cubicBezTo>
                <a:cubicBezTo>
                  <a:pt x="552" y="2121"/>
                  <a:pt x="555" y="2120"/>
                  <a:pt x="557" y="2118"/>
                </a:cubicBezTo>
                <a:cubicBezTo>
                  <a:pt x="557" y="2118"/>
                  <a:pt x="557" y="2118"/>
                  <a:pt x="557" y="2177"/>
                </a:cubicBezTo>
                <a:cubicBezTo>
                  <a:pt x="557" y="2177"/>
                  <a:pt x="557" y="2177"/>
                  <a:pt x="568" y="2177"/>
                </a:cubicBezTo>
                <a:cubicBezTo>
                  <a:pt x="568" y="2177"/>
                  <a:pt x="568" y="2177"/>
                  <a:pt x="568" y="2104"/>
                </a:cubicBezTo>
                <a:close/>
                <a:moveTo>
                  <a:pt x="325" y="2136"/>
                </a:moveTo>
                <a:cubicBezTo>
                  <a:pt x="325" y="2136"/>
                  <a:pt x="325" y="2136"/>
                  <a:pt x="325" y="2136"/>
                </a:cubicBezTo>
                <a:cubicBezTo>
                  <a:pt x="324" y="2144"/>
                  <a:pt x="324" y="2144"/>
                  <a:pt x="324" y="2144"/>
                </a:cubicBezTo>
                <a:cubicBezTo>
                  <a:pt x="331" y="2145"/>
                  <a:pt x="331" y="2148"/>
                  <a:pt x="331" y="2150"/>
                </a:cubicBezTo>
                <a:cubicBezTo>
                  <a:pt x="331" y="2152"/>
                  <a:pt x="331" y="2155"/>
                  <a:pt x="331" y="2157"/>
                </a:cubicBezTo>
                <a:cubicBezTo>
                  <a:pt x="331" y="2160"/>
                  <a:pt x="330" y="2162"/>
                  <a:pt x="330" y="2164"/>
                </a:cubicBezTo>
                <a:cubicBezTo>
                  <a:pt x="330" y="2174"/>
                  <a:pt x="336" y="2177"/>
                  <a:pt x="345" y="2177"/>
                </a:cubicBezTo>
                <a:cubicBezTo>
                  <a:pt x="345" y="2177"/>
                  <a:pt x="345" y="2177"/>
                  <a:pt x="348" y="2177"/>
                </a:cubicBezTo>
                <a:cubicBezTo>
                  <a:pt x="348" y="2177"/>
                  <a:pt x="348" y="2177"/>
                  <a:pt x="348" y="2168"/>
                </a:cubicBezTo>
                <a:cubicBezTo>
                  <a:pt x="348" y="2168"/>
                  <a:pt x="348" y="2168"/>
                  <a:pt x="347" y="2168"/>
                </a:cubicBezTo>
                <a:cubicBezTo>
                  <a:pt x="343" y="2168"/>
                  <a:pt x="342" y="2166"/>
                  <a:pt x="342" y="2162"/>
                </a:cubicBezTo>
                <a:cubicBezTo>
                  <a:pt x="342" y="2161"/>
                  <a:pt x="342" y="2159"/>
                  <a:pt x="342" y="2157"/>
                </a:cubicBezTo>
                <a:cubicBezTo>
                  <a:pt x="342" y="2156"/>
                  <a:pt x="343" y="2154"/>
                  <a:pt x="343" y="2151"/>
                </a:cubicBezTo>
                <a:cubicBezTo>
                  <a:pt x="343" y="2144"/>
                  <a:pt x="340" y="2141"/>
                  <a:pt x="334" y="2140"/>
                </a:cubicBezTo>
                <a:cubicBezTo>
                  <a:pt x="334" y="2140"/>
                  <a:pt x="334" y="2140"/>
                  <a:pt x="334" y="2140"/>
                </a:cubicBezTo>
                <a:cubicBezTo>
                  <a:pt x="340" y="2139"/>
                  <a:pt x="343" y="2136"/>
                  <a:pt x="343" y="2129"/>
                </a:cubicBezTo>
                <a:cubicBezTo>
                  <a:pt x="343" y="2126"/>
                  <a:pt x="342" y="2124"/>
                  <a:pt x="342" y="2123"/>
                </a:cubicBezTo>
                <a:cubicBezTo>
                  <a:pt x="342" y="2121"/>
                  <a:pt x="342" y="2119"/>
                  <a:pt x="342" y="2118"/>
                </a:cubicBezTo>
                <a:cubicBezTo>
                  <a:pt x="342" y="2114"/>
                  <a:pt x="343" y="2112"/>
                  <a:pt x="347" y="2112"/>
                </a:cubicBezTo>
                <a:cubicBezTo>
                  <a:pt x="347" y="2112"/>
                  <a:pt x="347" y="2112"/>
                  <a:pt x="348" y="2112"/>
                </a:cubicBezTo>
                <a:cubicBezTo>
                  <a:pt x="348" y="2112"/>
                  <a:pt x="348" y="2112"/>
                  <a:pt x="348" y="2103"/>
                </a:cubicBezTo>
                <a:cubicBezTo>
                  <a:pt x="348" y="2103"/>
                  <a:pt x="348" y="2103"/>
                  <a:pt x="345" y="2103"/>
                </a:cubicBezTo>
                <a:cubicBezTo>
                  <a:pt x="336" y="2103"/>
                  <a:pt x="330" y="2107"/>
                  <a:pt x="330" y="2115"/>
                </a:cubicBezTo>
                <a:cubicBezTo>
                  <a:pt x="330" y="2118"/>
                  <a:pt x="331" y="2120"/>
                  <a:pt x="331" y="2123"/>
                </a:cubicBezTo>
                <a:cubicBezTo>
                  <a:pt x="331" y="2125"/>
                  <a:pt x="331" y="2128"/>
                  <a:pt x="331" y="2130"/>
                </a:cubicBezTo>
                <a:cubicBezTo>
                  <a:pt x="331" y="2132"/>
                  <a:pt x="331" y="2136"/>
                  <a:pt x="325" y="2136"/>
                </a:cubicBezTo>
                <a:close/>
                <a:moveTo>
                  <a:pt x="379" y="2144"/>
                </a:moveTo>
                <a:cubicBezTo>
                  <a:pt x="379" y="2144"/>
                  <a:pt x="379" y="2144"/>
                  <a:pt x="379" y="2144"/>
                </a:cubicBezTo>
                <a:cubicBezTo>
                  <a:pt x="379" y="2136"/>
                  <a:pt x="379" y="2136"/>
                  <a:pt x="379" y="2136"/>
                </a:cubicBezTo>
                <a:cubicBezTo>
                  <a:pt x="373" y="2136"/>
                  <a:pt x="372" y="2132"/>
                  <a:pt x="372" y="2130"/>
                </a:cubicBezTo>
                <a:cubicBezTo>
                  <a:pt x="372" y="2128"/>
                  <a:pt x="372" y="2125"/>
                  <a:pt x="373" y="2123"/>
                </a:cubicBezTo>
                <a:cubicBezTo>
                  <a:pt x="373" y="2120"/>
                  <a:pt x="373" y="2118"/>
                  <a:pt x="373" y="2115"/>
                </a:cubicBezTo>
                <a:cubicBezTo>
                  <a:pt x="373" y="2107"/>
                  <a:pt x="368" y="2103"/>
                  <a:pt x="359" y="2103"/>
                </a:cubicBezTo>
                <a:cubicBezTo>
                  <a:pt x="359" y="2103"/>
                  <a:pt x="359" y="2103"/>
                  <a:pt x="355" y="2103"/>
                </a:cubicBezTo>
                <a:cubicBezTo>
                  <a:pt x="355" y="2103"/>
                  <a:pt x="355" y="2103"/>
                  <a:pt x="355" y="2112"/>
                </a:cubicBezTo>
                <a:cubicBezTo>
                  <a:pt x="355" y="2112"/>
                  <a:pt x="355" y="2112"/>
                  <a:pt x="357" y="2112"/>
                </a:cubicBezTo>
                <a:cubicBezTo>
                  <a:pt x="360" y="2112"/>
                  <a:pt x="362" y="2114"/>
                  <a:pt x="362" y="2118"/>
                </a:cubicBezTo>
                <a:cubicBezTo>
                  <a:pt x="362" y="2119"/>
                  <a:pt x="361" y="2121"/>
                  <a:pt x="361" y="2123"/>
                </a:cubicBezTo>
                <a:cubicBezTo>
                  <a:pt x="361" y="2124"/>
                  <a:pt x="361" y="2126"/>
                  <a:pt x="361" y="2129"/>
                </a:cubicBezTo>
                <a:cubicBezTo>
                  <a:pt x="361" y="2136"/>
                  <a:pt x="364" y="2139"/>
                  <a:pt x="369" y="2140"/>
                </a:cubicBezTo>
                <a:cubicBezTo>
                  <a:pt x="369" y="2140"/>
                  <a:pt x="369" y="2140"/>
                  <a:pt x="369" y="2140"/>
                </a:cubicBezTo>
                <a:cubicBezTo>
                  <a:pt x="364" y="2141"/>
                  <a:pt x="361" y="2144"/>
                  <a:pt x="361" y="2151"/>
                </a:cubicBezTo>
                <a:cubicBezTo>
                  <a:pt x="361" y="2154"/>
                  <a:pt x="361" y="2156"/>
                  <a:pt x="361" y="2157"/>
                </a:cubicBezTo>
                <a:cubicBezTo>
                  <a:pt x="361" y="2159"/>
                  <a:pt x="362" y="2161"/>
                  <a:pt x="362" y="2162"/>
                </a:cubicBezTo>
                <a:cubicBezTo>
                  <a:pt x="362" y="2166"/>
                  <a:pt x="361" y="2168"/>
                  <a:pt x="357" y="2168"/>
                </a:cubicBezTo>
                <a:cubicBezTo>
                  <a:pt x="357" y="2168"/>
                  <a:pt x="357" y="2168"/>
                  <a:pt x="355" y="2168"/>
                </a:cubicBezTo>
                <a:cubicBezTo>
                  <a:pt x="355" y="2168"/>
                  <a:pt x="355" y="2168"/>
                  <a:pt x="355" y="2177"/>
                </a:cubicBezTo>
                <a:cubicBezTo>
                  <a:pt x="355" y="2177"/>
                  <a:pt x="355" y="2177"/>
                  <a:pt x="359" y="2177"/>
                </a:cubicBezTo>
                <a:cubicBezTo>
                  <a:pt x="368" y="2177"/>
                  <a:pt x="373" y="2174"/>
                  <a:pt x="373" y="2164"/>
                </a:cubicBezTo>
                <a:cubicBezTo>
                  <a:pt x="373" y="2162"/>
                  <a:pt x="373" y="2160"/>
                  <a:pt x="373" y="2157"/>
                </a:cubicBezTo>
                <a:cubicBezTo>
                  <a:pt x="372" y="2155"/>
                  <a:pt x="372" y="2152"/>
                  <a:pt x="372" y="2150"/>
                </a:cubicBezTo>
                <a:cubicBezTo>
                  <a:pt x="372" y="2148"/>
                  <a:pt x="373" y="2145"/>
                  <a:pt x="379" y="2144"/>
                </a:cubicBezTo>
                <a:close/>
                <a:moveTo>
                  <a:pt x="706" y="2136"/>
                </a:moveTo>
                <a:cubicBezTo>
                  <a:pt x="706" y="2136"/>
                  <a:pt x="706" y="2136"/>
                  <a:pt x="706" y="2136"/>
                </a:cubicBezTo>
                <a:cubicBezTo>
                  <a:pt x="706" y="2144"/>
                  <a:pt x="706" y="2144"/>
                  <a:pt x="706" y="2144"/>
                </a:cubicBezTo>
                <a:cubicBezTo>
                  <a:pt x="712" y="2145"/>
                  <a:pt x="713" y="2148"/>
                  <a:pt x="713" y="2150"/>
                </a:cubicBezTo>
                <a:cubicBezTo>
                  <a:pt x="713" y="2152"/>
                  <a:pt x="713" y="2155"/>
                  <a:pt x="713" y="2157"/>
                </a:cubicBezTo>
                <a:cubicBezTo>
                  <a:pt x="712" y="2160"/>
                  <a:pt x="712" y="2162"/>
                  <a:pt x="712" y="2164"/>
                </a:cubicBezTo>
                <a:cubicBezTo>
                  <a:pt x="712" y="2174"/>
                  <a:pt x="718" y="2177"/>
                  <a:pt x="726" y="2177"/>
                </a:cubicBezTo>
                <a:cubicBezTo>
                  <a:pt x="726" y="2177"/>
                  <a:pt x="726" y="2177"/>
                  <a:pt x="730" y="2177"/>
                </a:cubicBezTo>
                <a:cubicBezTo>
                  <a:pt x="730" y="2177"/>
                  <a:pt x="730" y="2177"/>
                  <a:pt x="730" y="2168"/>
                </a:cubicBezTo>
                <a:cubicBezTo>
                  <a:pt x="730" y="2168"/>
                  <a:pt x="730" y="2168"/>
                  <a:pt x="728" y="2168"/>
                </a:cubicBezTo>
                <a:cubicBezTo>
                  <a:pt x="725" y="2168"/>
                  <a:pt x="724" y="2166"/>
                  <a:pt x="724" y="2162"/>
                </a:cubicBezTo>
                <a:cubicBezTo>
                  <a:pt x="724" y="2161"/>
                  <a:pt x="724" y="2159"/>
                  <a:pt x="724" y="2157"/>
                </a:cubicBezTo>
                <a:cubicBezTo>
                  <a:pt x="724" y="2156"/>
                  <a:pt x="724" y="2154"/>
                  <a:pt x="724" y="2151"/>
                </a:cubicBezTo>
                <a:cubicBezTo>
                  <a:pt x="724" y="2144"/>
                  <a:pt x="721" y="2141"/>
                  <a:pt x="716" y="2140"/>
                </a:cubicBezTo>
                <a:cubicBezTo>
                  <a:pt x="716" y="2140"/>
                  <a:pt x="716" y="2140"/>
                  <a:pt x="716" y="2140"/>
                </a:cubicBezTo>
                <a:cubicBezTo>
                  <a:pt x="721" y="2139"/>
                  <a:pt x="724" y="2136"/>
                  <a:pt x="724" y="2129"/>
                </a:cubicBezTo>
                <a:cubicBezTo>
                  <a:pt x="724" y="2126"/>
                  <a:pt x="724" y="2124"/>
                  <a:pt x="724" y="2123"/>
                </a:cubicBezTo>
                <a:cubicBezTo>
                  <a:pt x="724" y="2121"/>
                  <a:pt x="724" y="2119"/>
                  <a:pt x="724" y="2118"/>
                </a:cubicBezTo>
                <a:cubicBezTo>
                  <a:pt x="724" y="2114"/>
                  <a:pt x="725" y="2112"/>
                  <a:pt x="728" y="2112"/>
                </a:cubicBezTo>
                <a:cubicBezTo>
                  <a:pt x="728" y="2112"/>
                  <a:pt x="728" y="2112"/>
                  <a:pt x="730" y="2112"/>
                </a:cubicBezTo>
                <a:cubicBezTo>
                  <a:pt x="730" y="2112"/>
                  <a:pt x="730" y="2112"/>
                  <a:pt x="730" y="2103"/>
                </a:cubicBezTo>
                <a:cubicBezTo>
                  <a:pt x="730" y="2103"/>
                  <a:pt x="730" y="2103"/>
                  <a:pt x="726" y="2103"/>
                </a:cubicBezTo>
                <a:cubicBezTo>
                  <a:pt x="717" y="2103"/>
                  <a:pt x="712" y="2107"/>
                  <a:pt x="712" y="2115"/>
                </a:cubicBezTo>
                <a:cubicBezTo>
                  <a:pt x="712" y="2118"/>
                  <a:pt x="712" y="2120"/>
                  <a:pt x="712" y="2123"/>
                </a:cubicBezTo>
                <a:cubicBezTo>
                  <a:pt x="713" y="2125"/>
                  <a:pt x="713" y="2128"/>
                  <a:pt x="713" y="2130"/>
                </a:cubicBezTo>
                <a:cubicBezTo>
                  <a:pt x="713" y="2132"/>
                  <a:pt x="712" y="2136"/>
                  <a:pt x="706" y="2136"/>
                </a:cubicBezTo>
                <a:close/>
                <a:moveTo>
                  <a:pt x="761" y="2144"/>
                </a:moveTo>
                <a:cubicBezTo>
                  <a:pt x="761" y="2144"/>
                  <a:pt x="761" y="2144"/>
                  <a:pt x="761" y="2144"/>
                </a:cubicBezTo>
                <a:cubicBezTo>
                  <a:pt x="761" y="2136"/>
                  <a:pt x="761" y="2136"/>
                  <a:pt x="761" y="2136"/>
                </a:cubicBezTo>
                <a:cubicBezTo>
                  <a:pt x="754" y="2136"/>
                  <a:pt x="754" y="2132"/>
                  <a:pt x="754" y="2130"/>
                </a:cubicBezTo>
                <a:cubicBezTo>
                  <a:pt x="754" y="2128"/>
                  <a:pt x="754" y="2125"/>
                  <a:pt x="754" y="2123"/>
                </a:cubicBezTo>
                <a:cubicBezTo>
                  <a:pt x="755" y="2120"/>
                  <a:pt x="755" y="2118"/>
                  <a:pt x="755" y="2115"/>
                </a:cubicBezTo>
                <a:cubicBezTo>
                  <a:pt x="755" y="2107"/>
                  <a:pt x="750" y="2103"/>
                  <a:pt x="740" y="2103"/>
                </a:cubicBezTo>
                <a:cubicBezTo>
                  <a:pt x="740" y="2103"/>
                  <a:pt x="740" y="2103"/>
                  <a:pt x="737" y="2103"/>
                </a:cubicBezTo>
                <a:cubicBezTo>
                  <a:pt x="737" y="2103"/>
                  <a:pt x="737" y="2103"/>
                  <a:pt x="737" y="2112"/>
                </a:cubicBezTo>
                <a:cubicBezTo>
                  <a:pt x="737" y="2112"/>
                  <a:pt x="737" y="2112"/>
                  <a:pt x="738" y="2112"/>
                </a:cubicBezTo>
                <a:cubicBezTo>
                  <a:pt x="742" y="2112"/>
                  <a:pt x="743" y="2114"/>
                  <a:pt x="743" y="2118"/>
                </a:cubicBezTo>
                <a:cubicBezTo>
                  <a:pt x="743" y="2119"/>
                  <a:pt x="743" y="2121"/>
                  <a:pt x="743" y="2123"/>
                </a:cubicBezTo>
                <a:cubicBezTo>
                  <a:pt x="743" y="2124"/>
                  <a:pt x="743" y="2126"/>
                  <a:pt x="743" y="2129"/>
                </a:cubicBezTo>
                <a:cubicBezTo>
                  <a:pt x="743" y="2136"/>
                  <a:pt x="745" y="2139"/>
                  <a:pt x="751" y="2140"/>
                </a:cubicBezTo>
                <a:cubicBezTo>
                  <a:pt x="751" y="2140"/>
                  <a:pt x="751" y="2140"/>
                  <a:pt x="751" y="2140"/>
                </a:cubicBezTo>
                <a:cubicBezTo>
                  <a:pt x="745" y="2141"/>
                  <a:pt x="743" y="2144"/>
                  <a:pt x="743" y="2151"/>
                </a:cubicBezTo>
                <a:cubicBezTo>
                  <a:pt x="743" y="2154"/>
                  <a:pt x="743" y="2156"/>
                  <a:pt x="743" y="2157"/>
                </a:cubicBezTo>
                <a:cubicBezTo>
                  <a:pt x="743" y="2159"/>
                  <a:pt x="743" y="2161"/>
                  <a:pt x="743" y="2162"/>
                </a:cubicBezTo>
                <a:cubicBezTo>
                  <a:pt x="743" y="2166"/>
                  <a:pt x="742" y="2168"/>
                  <a:pt x="738" y="2168"/>
                </a:cubicBezTo>
                <a:cubicBezTo>
                  <a:pt x="738" y="2168"/>
                  <a:pt x="738" y="2168"/>
                  <a:pt x="737" y="2168"/>
                </a:cubicBezTo>
                <a:cubicBezTo>
                  <a:pt x="737" y="2168"/>
                  <a:pt x="737" y="2168"/>
                  <a:pt x="737" y="2177"/>
                </a:cubicBezTo>
                <a:cubicBezTo>
                  <a:pt x="737" y="2177"/>
                  <a:pt x="737" y="2177"/>
                  <a:pt x="740" y="2177"/>
                </a:cubicBezTo>
                <a:cubicBezTo>
                  <a:pt x="749" y="2177"/>
                  <a:pt x="755" y="2174"/>
                  <a:pt x="755" y="2164"/>
                </a:cubicBezTo>
                <a:cubicBezTo>
                  <a:pt x="755" y="2162"/>
                  <a:pt x="755" y="2160"/>
                  <a:pt x="754" y="2157"/>
                </a:cubicBezTo>
                <a:cubicBezTo>
                  <a:pt x="754" y="2155"/>
                  <a:pt x="754" y="2152"/>
                  <a:pt x="754" y="2150"/>
                </a:cubicBezTo>
                <a:cubicBezTo>
                  <a:pt x="754" y="2148"/>
                  <a:pt x="754" y="2145"/>
                  <a:pt x="761" y="2144"/>
                </a:cubicBezTo>
                <a:close/>
                <a:moveTo>
                  <a:pt x="808" y="2104"/>
                </a:moveTo>
                <a:cubicBezTo>
                  <a:pt x="808" y="2104"/>
                  <a:pt x="808" y="2104"/>
                  <a:pt x="808" y="2104"/>
                </a:cubicBezTo>
                <a:cubicBezTo>
                  <a:pt x="803" y="2104"/>
                  <a:pt x="803" y="2104"/>
                  <a:pt x="803" y="2104"/>
                </a:cubicBezTo>
                <a:cubicBezTo>
                  <a:pt x="801" y="2105"/>
                  <a:pt x="799" y="2107"/>
                  <a:pt x="797" y="2107"/>
                </a:cubicBezTo>
                <a:cubicBezTo>
                  <a:pt x="796" y="2109"/>
                  <a:pt x="794" y="2110"/>
                  <a:pt x="792" y="2110"/>
                </a:cubicBezTo>
                <a:cubicBezTo>
                  <a:pt x="790" y="2111"/>
                  <a:pt x="789" y="2112"/>
                  <a:pt x="787" y="2112"/>
                </a:cubicBezTo>
                <a:cubicBezTo>
                  <a:pt x="785" y="2113"/>
                  <a:pt x="783" y="2114"/>
                  <a:pt x="781" y="2115"/>
                </a:cubicBezTo>
                <a:cubicBezTo>
                  <a:pt x="781" y="2115"/>
                  <a:pt x="781" y="2115"/>
                  <a:pt x="781" y="2125"/>
                </a:cubicBezTo>
                <a:cubicBezTo>
                  <a:pt x="784" y="2124"/>
                  <a:pt x="787" y="2123"/>
                  <a:pt x="789" y="2122"/>
                </a:cubicBezTo>
                <a:cubicBezTo>
                  <a:pt x="792" y="2121"/>
                  <a:pt x="794" y="2120"/>
                  <a:pt x="797" y="2118"/>
                </a:cubicBezTo>
                <a:cubicBezTo>
                  <a:pt x="797" y="2118"/>
                  <a:pt x="797" y="2118"/>
                  <a:pt x="797" y="2177"/>
                </a:cubicBezTo>
                <a:cubicBezTo>
                  <a:pt x="797" y="2177"/>
                  <a:pt x="797" y="2177"/>
                  <a:pt x="808" y="2177"/>
                </a:cubicBezTo>
                <a:cubicBezTo>
                  <a:pt x="808" y="2177"/>
                  <a:pt x="808" y="2177"/>
                  <a:pt x="808" y="2104"/>
                </a:cubicBezTo>
                <a:close/>
                <a:moveTo>
                  <a:pt x="855" y="2104"/>
                </a:moveTo>
                <a:cubicBezTo>
                  <a:pt x="855" y="2104"/>
                  <a:pt x="855" y="2104"/>
                  <a:pt x="855" y="2104"/>
                </a:cubicBezTo>
                <a:cubicBezTo>
                  <a:pt x="850" y="2104"/>
                  <a:pt x="850" y="2104"/>
                  <a:pt x="850" y="2104"/>
                </a:cubicBezTo>
                <a:cubicBezTo>
                  <a:pt x="848" y="2105"/>
                  <a:pt x="847" y="2107"/>
                  <a:pt x="845" y="2107"/>
                </a:cubicBezTo>
                <a:cubicBezTo>
                  <a:pt x="843" y="2109"/>
                  <a:pt x="841" y="2110"/>
                  <a:pt x="840" y="2110"/>
                </a:cubicBezTo>
                <a:cubicBezTo>
                  <a:pt x="838" y="2112"/>
                  <a:pt x="836" y="2112"/>
                  <a:pt x="835" y="2113"/>
                </a:cubicBezTo>
                <a:cubicBezTo>
                  <a:pt x="832" y="2114"/>
                  <a:pt x="831" y="2115"/>
                  <a:pt x="829" y="2115"/>
                </a:cubicBezTo>
                <a:cubicBezTo>
                  <a:pt x="829" y="2115"/>
                  <a:pt x="829" y="2115"/>
                  <a:pt x="829" y="2125"/>
                </a:cubicBezTo>
                <a:cubicBezTo>
                  <a:pt x="832" y="2124"/>
                  <a:pt x="835" y="2123"/>
                  <a:pt x="837" y="2122"/>
                </a:cubicBezTo>
                <a:cubicBezTo>
                  <a:pt x="840" y="2121"/>
                  <a:pt x="842" y="2120"/>
                  <a:pt x="844" y="2118"/>
                </a:cubicBezTo>
                <a:cubicBezTo>
                  <a:pt x="844" y="2118"/>
                  <a:pt x="844" y="2118"/>
                  <a:pt x="844" y="2177"/>
                </a:cubicBezTo>
                <a:cubicBezTo>
                  <a:pt x="844" y="2177"/>
                  <a:pt x="844" y="2177"/>
                  <a:pt x="855" y="2177"/>
                </a:cubicBezTo>
                <a:cubicBezTo>
                  <a:pt x="855" y="2177"/>
                  <a:pt x="855" y="2177"/>
                  <a:pt x="855" y="2104"/>
                </a:cubicBezTo>
                <a:close/>
                <a:moveTo>
                  <a:pt x="902" y="2104"/>
                </a:moveTo>
                <a:cubicBezTo>
                  <a:pt x="902" y="2104"/>
                  <a:pt x="902" y="2104"/>
                  <a:pt x="902" y="2104"/>
                </a:cubicBezTo>
                <a:cubicBezTo>
                  <a:pt x="897" y="2104"/>
                  <a:pt x="897" y="2104"/>
                  <a:pt x="897" y="2104"/>
                </a:cubicBezTo>
                <a:cubicBezTo>
                  <a:pt x="895" y="2105"/>
                  <a:pt x="894" y="2107"/>
                  <a:pt x="892" y="2107"/>
                </a:cubicBezTo>
                <a:cubicBezTo>
                  <a:pt x="890" y="2109"/>
                  <a:pt x="888" y="2110"/>
                  <a:pt x="887" y="2110"/>
                </a:cubicBezTo>
                <a:cubicBezTo>
                  <a:pt x="884" y="2112"/>
                  <a:pt x="883" y="2112"/>
                  <a:pt x="881" y="2113"/>
                </a:cubicBezTo>
                <a:cubicBezTo>
                  <a:pt x="879" y="2114"/>
                  <a:pt x="877" y="2115"/>
                  <a:pt x="876" y="2115"/>
                </a:cubicBezTo>
                <a:cubicBezTo>
                  <a:pt x="876" y="2115"/>
                  <a:pt x="876" y="2115"/>
                  <a:pt x="876" y="2125"/>
                </a:cubicBezTo>
                <a:cubicBezTo>
                  <a:pt x="879" y="2124"/>
                  <a:pt x="882" y="2123"/>
                  <a:pt x="884" y="2122"/>
                </a:cubicBezTo>
                <a:cubicBezTo>
                  <a:pt x="886" y="2121"/>
                  <a:pt x="889" y="2120"/>
                  <a:pt x="890" y="2118"/>
                </a:cubicBezTo>
                <a:cubicBezTo>
                  <a:pt x="890" y="2118"/>
                  <a:pt x="890" y="2118"/>
                  <a:pt x="890" y="2177"/>
                </a:cubicBezTo>
                <a:cubicBezTo>
                  <a:pt x="890" y="2177"/>
                  <a:pt x="890" y="2177"/>
                  <a:pt x="902" y="2177"/>
                </a:cubicBezTo>
                <a:cubicBezTo>
                  <a:pt x="902" y="2177"/>
                  <a:pt x="902" y="2177"/>
                  <a:pt x="902" y="2104"/>
                </a:cubicBezTo>
                <a:close/>
                <a:moveTo>
                  <a:pt x="1025" y="2104"/>
                </a:moveTo>
                <a:cubicBezTo>
                  <a:pt x="1025" y="2104"/>
                  <a:pt x="1025" y="2104"/>
                  <a:pt x="1025" y="2104"/>
                </a:cubicBezTo>
                <a:cubicBezTo>
                  <a:pt x="1020" y="2104"/>
                  <a:pt x="1020" y="2104"/>
                  <a:pt x="1020" y="2104"/>
                </a:cubicBezTo>
                <a:cubicBezTo>
                  <a:pt x="1018" y="2105"/>
                  <a:pt x="1016" y="2107"/>
                  <a:pt x="1014" y="2107"/>
                </a:cubicBezTo>
                <a:cubicBezTo>
                  <a:pt x="1013" y="2109"/>
                  <a:pt x="1011" y="2110"/>
                  <a:pt x="1009" y="2110"/>
                </a:cubicBezTo>
                <a:cubicBezTo>
                  <a:pt x="1007" y="2112"/>
                  <a:pt x="1005" y="2112"/>
                  <a:pt x="1004" y="2113"/>
                </a:cubicBezTo>
                <a:cubicBezTo>
                  <a:pt x="1001" y="2114"/>
                  <a:pt x="1000" y="2115"/>
                  <a:pt x="998" y="2115"/>
                </a:cubicBezTo>
                <a:cubicBezTo>
                  <a:pt x="998" y="2115"/>
                  <a:pt x="998" y="2115"/>
                  <a:pt x="998" y="2125"/>
                </a:cubicBezTo>
                <a:cubicBezTo>
                  <a:pt x="1001" y="2124"/>
                  <a:pt x="1004" y="2123"/>
                  <a:pt x="1007" y="2122"/>
                </a:cubicBezTo>
                <a:cubicBezTo>
                  <a:pt x="1009" y="2121"/>
                  <a:pt x="1011" y="2120"/>
                  <a:pt x="1013" y="2118"/>
                </a:cubicBezTo>
                <a:cubicBezTo>
                  <a:pt x="1013" y="2118"/>
                  <a:pt x="1013" y="2118"/>
                  <a:pt x="1013" y="2177"/>
                </a:cubicBezTo>
                <a:cubicBezTo>
                  <a:pt x="1013" y="2177"/>
                  <a:pt x="1013" y="2177"/>
                  <a:pt x="1025" y="2177"/>
                </a:cubicBezTo>
                <a:cubicBezTo>
                  <a:pt x="1025" y="2177"/>
                  <a:pt x="1025" y="2177"/>
                  <a:pt x="1025" y="2104"/>
                </a:cubicBezTo>
                <a:close/>
                <a:moveTo>
                  <a:pt x="1073" y="2104"/>
                </a:moveTo>
                <a:cubicBezTo>
                  <a:pt x="1073" y="2104"/>
                  <a:pt x="1073" y="2104"/>
                  <a:pt x="1073" y="2104"/>
                </a:cubicBezTo>
                <a:cubicBezTo>
                  <a:pt x="1067" y="2104"/>
                  <a:pt x="1067" y="2104"/>
                  <a:pt x="1067" y="2104"/>
                </a:cubicBezTo>
                <a:cubicBezTo>
                  <a:pt x="1065" y="2105"/>
                  <a:pt x="1064" y="2107"/>
                  <a:pt x="1062" y="2107"/>
                </a:cubicBezTo>
                <a:cubicBezTo>
                  <a:pt x="1060" y="2109"/>
                  <a:pt x="1058" y="2110"/>
                  <a:pt x="1056" y="2110"/>
                </a:cubicBezTo>
                <a:cubicBezTo>
                  <a:pt x="1055" y="2112"/>
                  <a:pt x="1053" y="2112"/>
                  <a:pt x="1051" y="2113"/>
                </a:cubicBezTo>
                <a:cubicBezTo>
                  <a:pt x="1049" y="2114"/>
                  <a:pt x="1048" y="2115"/>
                  <a:pt x="1045" y="2115"/>
                </a:cubicBezTo>
                <a:cubicBezTo>
                  <a:pt x="1045" y="2115"/>
                  <a:pt x="1045" y="2115"/>
                  <a:pt x="1045" y="2125"/>
                </a:cubicBezTo>
                <a:cubicBezTo>
                  <a:pt x="1048" y="2124"/>
                  <a:pt x="1051" y="2123"/>
                  <a:pt x="1053" y="2122"/>
                </a:cubicBezTo>
                <a:cubicBezTo>
                  <a:pt x="1056" y="2121"/>
                  <a:pt x="1059" y="2120"/>
                  <a:pt x="1061" y="2118"/>
                </a:cubicBezTo>
                <a:cubicBezTo>
                  <a:pt x="1061" y="2118"/>
                  <a:pt x="1061" y="2118"/>
                  <a:pt x="1061" y="2177"/>
                </a:cubicBezTo>
                <a:cubicBezTo>
                  <a:pt x="1061" y="2177"/>
                  <a:pt x="1061" y="2177"/>
                  <a:pt x="1073" y="2177"/>
                </a:cubicBezTo>
                <a:cubicBezTo>
                  <a:pt x="1073" y="2177"/>
                  <a:pt x="1073" y="2177"/>
                  <a:pt x="1073" y="2104"/>
                </a:cubicBezTo>
                <a:close/>
                <a:moveTo>
                  <a:pt x="1119" y="2104"/>
                </a:moveTo>
                <a:cubicBezTo>
                  <a:pt x="1119" y="2104"/>
                  <a:pt x="1119" y="2104"/>
                  <a:pt x="1119" y="2104"/>
                </a:cubicBezTo>
                <a:cubicBezTo>
                  <a:pt x="1114" y="2104"/>
                  <a:pt x="1114" y="2104"/>
                  <a:pt x="1114" y="2104"/>
                </a:cubicBezTo>
                <a:cubicBezTo>
                  <a:pt x="1112" y="2105"/>
                  <a:pt x="1111" y="2107"/>
                  <a:pt x="1109" y="2107"/>
                </a:cubicBezTo>
                <a:cubicBezTo>
                  <a:pt x="1107" y="2109"/>
                  <a:pt x="1105" y="2110"/>
                  <a:pt x="1104" y="2110"/>
                </a:cubicBezTo>
                <a:cubicBezTo>
                  <a:pt x="1101" y="2111"/>
                  <a:pt x="1100" y="2112"/>
                  <a:pt x="1098" y="2112"/>
                </a:cubicBezTo>
                <a:cubicBezTo>
                  <a:pt x="1096" y="2113"/>
                  <a:pt x="1094" y="2114"/>
                  <a:pt x="1093" y="2115"/>
                </a:cubicBezTo>
                <a:cubicBezTo>
                  <a:pt x="1093" y="2115"/>
                  <a:pt x="1093" y="2115"/>
                  <a:pt x="1093" y="2125"/>
                </a:cubicBezTo>
                <a:cubicBezTo>
                  <a:pt x="1096" y="2124"/>
                  <a:pt x="1099" y="2123"/>
                  <a:pt x="1101" y="2122"/>
                </a:cubicBezTo>
                <a:cubicBezTo>
                  <a:pt x="1103" y="2121"/>
                  <a:pt x="1106" y="2120"/>
                  <a:pt x="1107" y="2118"/>
                </a:cubicBezTo>
                <a:cubicBezTo>
                  <a:pt x="1107" y="2118"/>
                  <a:pt x="1107" y="2118"/>
                  <a:pt x="1107" y="2177"/>
                </a:cubicBezTo>
                <a:cubicBezTo>
                  <a:pt x="1107" y="2177"/>
                  <a:pt x="1107" y="2177"/>
                  <a:pt x="1119" y="2177"/>
                </a:cubicBezTo>
                <a:cubicBezTo>
                  <a:pt x="1119" y="2177"/>
                  <a:pt x="1119" y="2177"/>
                  <a:pt x="1119" y="2104"/>
                </a:cubicBezTo>
                <a:close/>
                <a:moveTo>
                  <a:pt x="1163" y="2177"/>
                </a:moveTo>
                <a:cubicBezTo>
                  <a:pt x="1156" y="2177"/>
                  <a:pt x="1150" y="2174"/>
                  <a:pt x="1145" y="2168"/>
                </a:cubicBezTo>
                <a:cubicBezTo>
                  <a:pt x="1142" y="2162"/>
                  <a:pt x="1139" y="2153"/>
                  <a:pt x="1139" y="2141"/>
                </a:cubicBezTo>
                <a:cubicBezTo>
                  <a:pt x="1139" y="2128"/>
                  <a:pt x="1142" y="2118"/>
                  <a:pt x="1146" y="2112"/>
                </a:cubicBezTo>
                <a:cubicBezTo>
                  <a:pt x="1150" y="2105"/>
                  <a:pt x="1157" y="2101"/>
                  <a:pt x="1166" y="2101"/>
                </a:cubicBezTo>
                <a:cubicBezTo>
                  <a:pt x="1182" y="2101"/>
                  <a:pt x="1190" y="2114"/>
                  <a:pt x="1190" y="2139"/>
                </a:cubicBezTo>
                <a:cubicBezTo>
                  <a:pt x="1190" y="2152"/>
                  <a:pt x="1188" y="2161"/>
                  <a:pt x="1182" y="2168"/>
                </a:cubicBezTo>
                <a:cubicBezTo>
                  <a:pt x="1178" y="2174"/>
                  <a:pt x="1172" y="2177"/>
                  <a:pt x="1163" y="2177"/>
                </a:cubicBezTo>
                <a:close/>
                <a:moveTo>
                  <a:pt x="1165" y="2111"/>
                </a:moveTo>
                <a:cubicBezTo>
                  <a:pt x="1155" y="2111"/>
                  <a:pt x="1151" y="2121"/>
                  <a:pt x="1151" y="2141"/>
                </a:cubicBezTo>
                <a:cubicBezTo>
                  <a:pt x="1151" y="2159"/>
                  <a:pt x="1155" y="2168"/>
                  <a:pt x="1164" y="2168"/>
                </a:cubicBezTo>
                <a:cubicBezTo>
                  <a:pt x="1173" y="2168"/>
                  <a:pt x="1177" y="2159"/>
                  <a:pt x="1177" y="2140"/>
                </a:cubicBezTo>
                <a:cubicBezTo>
                  <a:pt x="1177" y="2120"/>
                  <a:pt x="1173" y="2111"/>
                  <a:pt x="1165" y="2111"/>
                </a:cubicBezTo>
                <a:close/>
                <a:moveTo>
                  <a:pt x="1235" y="2177"/>
                </a:moveTo>
                <a:cubicBezTo>
                  <a:pt x="1227" y="2177"/>
                  <a:pt x="1221" y="2174"/>
                  <a:pt x="1217" y="2168"/>
                </a:cubicBezTo>
                <a:cubicBezTo>
                  <a:pt x="1213" y="2162"/>
                  <a:pt x="1210" y="2153"/>
                  <a:pt x="1210" y="2141"/>
                </a:cubicBezTo>
                <a:cubicBezTo>
                  <a:pt x="1210" y="2128"/>
                  <a:pt x="1213" y="2118"/>
                  <a:pt x="1217" y="2112"/>
                </a:cubicBezTo>
                <a:cubicBezTo>
                  <a:pt x="1221" y="2105"/>
                  <a:pt x="1228" y="2101"/>
                  <a:pt x="1237" y="2101"/>
                </a:cubicBezTo>
                <a:cubicBezTo>
                  <a:pt x="1253" y="2101"/>
                  <a:pt x="1261" y="2114"/>
                  <a:pt x="1261" y="2139"/>
                </a:cubicBezTo>
                <a:cubicBezTo>
                  <a:pt x="1261" y="2152"/>
                  <a:pt x="1259" y="2161"/>
                  <a:pt x="1254" y="2168"/>
                </a:cubicBezTo>
                <a:cubicBezTo>
                  <a:pt x="1249" y="2174"/>
                  <a:pt x="1243" y="2177"/>
                  <a:pt x="1235" y="2177"/>
                </a:cubicBezTo>
                <a:close/>
                <a:moveTo>
                  <a:pt x="1236" y="2111"/>
                </a:moveTo>
                <a:cubicBezTo>
                  <a:pt x="1227" y="2111"/>
                  <a:pt x="1222" y="2121"/>
                  <a:pt x="1222" y="2141"/>
                </a:cubicBezTo>
                <a:cubicBezTo>
                  <a:pt x="1222" y="2159"/>
                  <a:pt x="1226" y="2168"/>
                  <a:pt x="1235" y="2168"/>
                </a:cubicBezTo>
                <a:cubicBezTo>
                  <a:pt x="1244" y="2168"/>
                  <a:pt x="1248" y="2159"/>
                  <a:pt x="1248" y="2140"/>
                </a:cubicBezTo>
                <a:cubicBezTo>
                  <a:pt x="1248" y="2120"/>
                  <a:pt x="1244" y="2111"/>
                  <a:pt x="1236" y="2111"/>
                </a:cubicBezTo>
                <a:close/>
                <a:moveTo>
                  <a:pt x="923" y="2136"/>
                </a:moveTo>
                <a:cubicBezTo>
                  <a:pt x="923" y="2136"/>
                  <a:pt x="923" y="2136"/>
                  <a:pt x="923" y="2136"/>
                </a:cubicBezTo>
                <a:cubicBezTo>
                  <a:pt x="922" y="2144"/>
                  <a:pt x="922" y="2144"/>
                  <a:pt x="922" y="2144"/>
                </a:cubicBezTo>
                <a:cubicBezTo>
                  <a:pt x="929" y="2145"/>
                  <a:pt x="929" y="2148"/>
                  <a:pt x="929" y="2150"/>
                </a:cubicBezTo>
                <a:cubicBezTo>
                  <a:pt x="929" y="2152"/>
                  <a:pt x="929" y="2155"/>
                  <a:pt x="929" y="2157"/>
                </a:cubicBezTo>
                <a:cubicBezTo>
                  <a:pt x="929" y="2160"/>
                  <a:pt x="928" y="2162"/>
                  <a:pt x="928" y="2164"/>
                </a:cubicBezTo>
                <a:cubicBezTo>
                  <a:pt x="928" y="2174"/>
                  <a:pt x="934" y="2177"/>
                  <a:pt x="943" y="2177"/>
                </a:cubicBezTo>
                <a:cubicBezTo>
                  <a:pt x="943" y="2177"/>
                  <a:pt x="943" y="2177"/>
                  <a:pt x="946" y="2177"/>
                </a:cubicBezTo>
                <a:cubicBezTo>
                  <a:pt x="946" y="2177"/>
                  <a:pt x="946" y="2177"/>
                  <a:pt x="946" y="2168"/>
                </a:cubicBezTo>
                <a:cubicBezTo>
                  <a:pt x="946" y="2168"/>
                  <a:pt x="946" y="2168"/>
                  <a:pt x="945" y="2168"/>
                </a:cubicBezTo>
                <a:cubicBezTo>
                  <a:pt x="941" y="2168"/>
                  <a:pt x="940" y="2166"/>
                  <a:pt x="940" y="2162"/>
                </a:cubicBezTo>
                <a:cubicBezTo>
                  <a:pt x="940" y="2161"/>
                  <a:pt x="940" y="2159"/>
                  <a:pt x="941" y="2157"/>
                </a:cubicBezTo>
                <a:cubicBezTo>
                  <a:pt x="941" y="2156"/>
                  <a:pt x="941" y="2154"/>
                  <a:pt x="941" y="2151"/>
                </a:cubicBezTo>
                <a:cubicBezTo>
                  <a:pt x="941" y="2144"/>
                  <a:pt x="938" y="2141"/>
                  <a:pt x="932" y="2140"/>
                </a:cubicBezTo>
                <a:cubicBezTo>
                  <a:pt x="932" y="2140"/>
                  <a:pt x="932" y="2140"/>
                  <a:pt x="932" y="2140"/>
                </a:cubicBezTo>
                <a:cubicBezTo>
                  <a:pt x="938" y="2139"/>
                  <a:pt x="941" y="2136"/>
                  <a:pt x="941" y="2129"/>
                </a:cubicBezTo>
                <a:cubicBezTo>
                  <a:pt x="941" y="2126"/>
                  <a:pt x="941" y="2124"/>
                  <a:pt x="941" y="2123"/>
                </a:cubicBezTo>
                <a:cubicBezTo>
                  <a:pt x="940" y="2121"/>
                  <a:pt x="940" y="2119"/>
                  <a:pt x="940" y="2118"/>
                </a:cubicBezTo>
                <a:cubicBezTo>
                  <a:pt x="940" y="2114"/>
                  <a:pt x="941" y="2112"/>
                  <a:pt x="945" y="2112"/>
                </a:cubicBezTo>
                <a:cubicBezTo>
                  <a:pt x="945" y="2112"/>
                  <a:pt x="945" y="2112"/>
                  <a:pt x="946" y="2112"/>
                </a:cubicBezTo>
                <a:cubicBezTo>
                  <a:pt x="946" y="2112"/>
                  <a:pt x="946" y="2112"/>
                  <a:pt x="946" y="2103"/>
                </a:cubicBezTo>
                <a:cubicBezTo>
                  <a:pt x="946" y="2103"/>
                  <a:pt x="946" y="2103"/>
                  <a:pt x="943" y="2103"/>
                </a:cubicBezTo>
                <a:cubicBezTo>
                  <a:pt x="934" y="2103"/>
                  <a:pt x="928" y="2107"/>
                  <a:pt x="928" y="2115"/>
                </a:cubicBezTo>
                <a:cubicBezTo>
                  <a:pt x="928" y="2118"/>
                  <a:pt x="929" y="2120"/>
                  <a:pt x="929" y="2123"/>
                </a:cubicBezTo>
                <a:cubicBezTo>
                  <a:pt x="929" y="2125"/>
                  <a:pt x="929" y="2128"/>
                  <a:pt x="929" y="2130"/>
                </a:cubicBezTo>
                <a:cubicBezTo>
                  <a:pt x="929" y="2132"/>
                  <a:pt x="929" y="2136"/>
                  <a:pt x="923" y="2136"/>
                </a:cubicBezTo>
                <a:close/>
                <a:moveTo>
                  <a:pt x="978" y="2144"/>
                </a:moveTo>
                <a:cubicBezTo>
                  <a:pt x="978" y="2144"/>
                  <a:pt x="978" y="2144"/>
                  <a:pt x="978" y="2144"/>
                </a:cubicBezTo>
                <a:cubicBezTo>
                  <a:pt x="978" y="2136"/>
                  <a:pt x="978" y="2136"/>
                  <a:pt x="978" y="2136"/>
                </a:cubicBezTo>
                <a:cubicBezTo>
                  <a:pt x="971" y="2136"/>
                  <a:pt x="971" y="2132"/>
                  <a:pt x="971" y="2130"/>
                </a:cubicBezTo>
                <a:cubicBezTo>
                  <a:pt x="971" y="2128"/>
                  <a:pt x="971" y="2125"/>
                  <a:pt x="971" y="2123"/>
                </a:cubicBezTo>
                <a:cubicBezTo>
                  <a:pt x="972" y="2120"/>
                  <a:pt x="972" y="2118"/>
                  <a:pt x="972" y="2115"/>
                </a:cubicBezTo>
                <a:cubicBezTo>
                  <a:pt x="972" y="2107"/>
                  <a:pt x="966" y="2103"/>
                  <a:pt x="957" y="2103"/>
                </a:cubicBezTo>
                <a:cubicBezTo>
                  <a:pt x="957" y="2103"/>
                  <a:pt x="957" y="2103"/>
                  <a:pt x="953" y="2103"/>
                </a:cubicBezTo>
                <a:cubicBezTo>
                  <a:pt x="953" y="2103"/>
                  <a:pt x="953" y="2103"/>
                  <a:pt x="953" y="2112"/>
                </a:cubicBezTo>
                <a:cubicBezTo>
                  <a:pt x="953" y="2112"/>
                  <a:pt x="953" y="2112"/>
                  <a:pt x="955" y="2112"/>
                </a:cubicBezTo>
                <a:cubicBezTo>
                  <a:pt x="958" y="2112"/>
                  <a:pt x="960" y="2114"/>
                  <a:pt x="960" y="2118"/>
                </a:cubicBezTo>
                <a:cubicBezTo>
                  <a:pt x="960" y="2119"/>
                  <a:pt x="960" y="2121"/>
                  <a:pt x="960" y="2123"/>
                </a:cubicBezTo>
                <a:cubicBezTo>
                  <a:pt x="959" y="2124"/>
                  <a:pt x="959" y="2126"/>
                  <a:pt x="959" y="2129"/>
                </a:cubicBezTo>
                <a:cubicBezTo>
                  <a:pt x="959" y="2136"/>
                  <a:pt x="962" y="2139"/>
                  <a:pt x="968" y="2140"/>
                </a:cubicBezTo>
                <a:cubicBezTo>
                  <a:pt x="968" y="2140"/>
                  <a:pt x="968" y="2140"/>
                  <a:pt x="968" y="2140"/>
                </a:cubicBezTo>
                <a:cubicBezTo>
                  <a:pt x="962" y="2141"/>
                  <a:pt x="959" y="2144"/>
                  <a:pt x="959" y="2151"/>
                </a:cubicBezTo>
                <a:cubicBezTo>
                  <a:pt x="959" y="2154"/>
                  <a:pt x="959" y="2156"/>
                  <a:pt x="960" y="2157"/>
                </a:cubicBezTo>
                <a:cubicBezTo>
                  <a:pt x="960" y="2159"/>
                  <a:pt x="960" y="2161"/>
                  <a:pt x="960" y="2162"/>
                </a:cubicBezTo>
                <a:cubicBezTo>
                  <a:pt x="960" y="2166"/>
                  <a:pt x="959" y="2168"/>
                  <a:pt x="955" y="2168"/>
                </a:cubicBezTo>
                <a:cubicBezTo>
                  <a:pt x="955" y="2168"/>
                  <a:pt x="955" y="2168"/>
                  <a:pt x="953" y="2168"/>
                </a:cubicBezTo>
                <a:cubicBezTo>
                  <a:pt x="953" y="2168"/>
                  <a:pt x="953" y="2168"/>
                  <a:pt x="953" y="2177"/>
                </a:cubicBezTo>
                <a:cubicBezTo>
                  <a:pt x="953" y="2177"/>
                  <a:pt x="953" y="2177"/>
                  <a:pt x="957" y="2177"/>
                </a:cubicBezTo>
                <a:cubicBezTo>
                  <a:pt x="966" y="2177"/>
                  <a:pt x="972" y="2174"/>
                  <a:pt x="972" y="2164"/>
                </a:cubicBezTo>
                <a:cubicBezTo>
                  <a:pt x="972" y="2162"/>
                  <a:pt x="972" y="2160"/>
                  <a:pt x="971" y="2157"/>
                </a:cubicBezTo>
                <a:cubicBezTo>
                  <a:pt x="971" y="2155"/>
                  <a:pt x="971" y="2152"/>
                  <a:pt x="971" y="2150"/>
                </a:cubicBezTo>
                <a:cubicBezTo>
                  <a:pt x="971" y="2148"/>
                  <a:pt x="971" y="2145"/>
                  <a:pt x="978" y="2144"/>
                </a:cubicBezTo>
                <a:close/>
                <a:moveTo>
                  <a:pt x="1447" y="2177"/>
                </a:moveTo>
                <a:cubicBezTo>
                  <a:pt x="1440" y="2177"/>
                  <a:pt x="1434" y="2174"/>
                  <a:pt x="1429" y="2168"/>
                </a:cubicBezTo>
                <a:cubicBezTo>
                  <a:pt x="1425" y="2162"/>
                  <a:pt x="1423" y="2152"/>
                  <a:pt x="1423" y="2141"/>
                </a:cubicBezTo>
                <a:cubicBezTo>
                  <a:pt x="1423" y="2128"/>
                  <a:pt x="1425" y="2118"/>
                  <a:pt x="1429" y="2111"/>
                </a:cubicBezTo>
                <a:cubicBezTo>
                  <a:pt x="1434" y="2104"/>
                  <a:pt x="1440" y="2101"/>
                  <a:pt x="1449" y="2101"/>
                </a:cubicBezTo>
                <a:cubicBezTo>
                  <a:pt x="1465" y="2101"/>
                  <a:pt x="1473" y="2114"/>
                  <a:pt x="1473" y="2139"/>
                </a:cubicBezTo>
                <a:cubicBezTo>
                  <a:pt x="1473" y="2152"/>
                  <a:pt x="1471" y="2161"/>
                  <a:pt x="1467" y="2168"/>
                </a:cubicBezTo>
                <a:cubicBezTo>
                  <a:pt x="1462" y="2174"/>
                  <a:pt x="1456" y="2177"/>
                  <a:pt x="1447" y="2177"/>
                </a:cubicBezTo>
                <a:close/>
                <a:moveTo>
                  <a:pt x="1448" y="2111"/>
                </a:moveTo>
                <a:cubicBezTo>
                  <a:pt x="1440" y="2111"/>
                  <a:pt x="1435" y="2120"/>
                  <a:pt x="1435" y="2140"/>
                </a:cubicBezTo>
                <a:cubicBezTo>
                  <a:pt x="1435" y="2158"/>
                  <a:pt x="1440" y="2168"/>
                  <a:pt x="1448" y="2168"/>
                </a:cubicBezTo>
                <a:cubicBezTo>
                  <a:pt x="1456" y="2168"/>
                  <a:pt x="1461" y="2158"/>
                  <a:pt x="1461" y="2140"/>
                </a:cubicBezTo>
                <a:cubicBezTo>
                  <a:pt x="1461" y="2120"/>
                  <a:pt x="1457" y="2111"/>
                  <a:pt x="1448" y="2111"/>
                </a:cubicBezTo>
                <a:close/>
                <a:moveTo>
                  <a:pt x="1565" y="2177"/>
                </a:moveTo>
                <a:cubicBezTo>
                  <a:pt x="1557" y="2177"/>
                  <a:pt x="1552" y="2174"/>
                  <a:pt x="1547" y="2168"/>
                </a:cubicBezTo>
                <a:cubicBezTo>
                  <a:pt x="1543" y="2162"/>
                  <a:pt x="1541" y="2152"/>
                  <a:pt x="1541" y="2141"/>
                </a:cubicBezTo>
                <a:cubicBezTo>
                  <a:pt x="1541" y="2128"/>
                  <a:pt x="1543" y="2118"/>
                  <a:pt x="1547" y="2111"/>
                </a:cubicBezTo>
                <a:cubicBezTo>
                  <a:pt x="1552" y="2104"/>
                  <a:pt x="1558" y="2101"/>
                  <a:pt x="1567" y="2101"/>
                </a:cubicBezTo>
                <a:cubicBezTo>
                  <a:pt x="1583" y="2101"/>
                  <a:pt x="1591" y="2114"/>
                  <a:pt x="1591" y="2139"/>
                </a:cubicBezTo>
                <a:cubicBezTo>
                  <a:pt x="1591" y="2152"/>
                  <a:pt x="1589" y="2161"/>
                  <a:pt x="1584" y="2168"/>
                </a:cubicBezTo>
                <a:cubicBezTo>
                  <a:pt x="1579" y="2174"/>
                  <a:pt x="1574" y="2177"/>
                  <a:pt x="1565" y="2177"/>
                </a:cubicBezTo>
                <a:close/>
                <a:moveTo>
                  <a:pt x="1566" y="2111"/>
                </a:moveTo>
                <a:cubicBezTo>
                  <a:pt x="1557" y="2111"/>
                  <a:pt x="1553" y="2120"/>
                  <a:pt x="1553" y="2140"/>
                </a:cubicBezTo>
                <a:cubicBezTo>
                  <a:pt x="1553" y="2158"/>
                  <a:pt x="1557" y="2168"/>
                  <a:pt x="1566" y="2168"/>
                </a:cubicBezTo>
                <a:cubicBezTo>
                  <a:pt x="1574" y="2168"/>
                  <a:pt x="1579" y="2158"/>
                  <a:pt x="1579" y="2140"/>
                </a:cubicBezTo>
                <a:cubicBezTo>
                  <a:pt x="1579" y="2120"/>
                  <a:pt x="1575" y="2111"/>
                  <a:pt x="1566" y="2111"/>
                </a:cubicBezTo>
                <a:close/>
                <a:moveTo>
                  <a:pt x="1520" y="2104"/>
                </a:moveTo>
                <a:cubicBezTo>
                  <a:pt x="1520" y="2104"/>
                  <a:pt x="1520" y="2104"/>
                  <a:pt x="1520" y="2104"/>
                </a:cubicBezTo>
                <a:cubicBezTo>
                  <a:pt x="1515" y="2104"/>
                  <a:pt x="1515" y="2104"/>
                  <a:pt x="1515" y="2104"/>
                </a:cubicBezTo>
                <a:cubicBezTo>
                  <a:pt x="1513" y="2105"/>
                  <a:pt x="1512" y="2107"/>
                  <a:pt x="1510" y="2107"/>
                </a:cubicBezTo>
                <a:cubicBezTo>
                  <a:pt x="1508" y="2109"/>
                  <a:pt x="1506" y="2110"/>
                  <a:pt x="1505" y="2110"/>
                </a:cubicBezTo>
                <a:cubicBezTo>
                  <a:pt x="1503" y="2111"/>
                  <a:pt x="1501" y="2112"/>
                  <a:pt x="1499" y="2112"/>
                </a:cubicBezTo>
                <a:cubicBezTo>
                  <a:pt x="1497" y="2113"/>
                  <a:pt x="1496" y="2114"/>
                  <a:pt x="1494" y="2115"/>
                </a:cubicBezTo>
                <a:cubicBezTo>
                  <a:pt x="1494" y="2115"/>
                  <a:pt x="1494" y="2115"/>
                  <a:pt x="1494" y="2125"/>
                </a:cubicBezTo>
                <a:cubicBezTo>
                  <a:pt x="1497" y="2124"/>
                  <a:pt x="1499" y="2123"/>
                  <a:pt x="1502" y="2122"/>
                </a:cubicBezTo>
                <a:cubicBezTo>
                  <a:pt x="1505" y="2121"/>
                  <a:pt x="1507" y="2120"/>
                  <a:pt x="1509" y="2118"/>
                </a:cubicBezTo>
                <a:cubicBezTo>
                  <a:pt x="1509" y="2118"/>
                  <a:pt x="1509" y="2118"/>
                  <a:pt x="1509" y="2177"/>
                </a:cubicBezTo>
                <a:cubicBezTo>
                  <a:pt x="1509" y="2177"/>
                  <a:pt x="1509" y="2177"/>
                  <a:pt x="1520" y="2177"/>
                </a:cubicBezTo>
                <a:cubicBezTo>
                  <a:pt x="1520" y="2177"/>
                  <a:pt x="1520" y="2177"/>
                  <a:pt x="1520" y="2104"/>
                </a:cubicBezTo>
                <a:close/>
                <a:moveTo>
                  <a:pt x="1636" y="2177"/>
                </a:moveTo>
                <a:cubicBezTo>
                  <a:pt x="1628" y="2177"/>
                  <a:pt x="1622" y="2174"/>
                  <a:pt x="1618" y="2168"/>
                </a:cubicBezTo>
                <a:cubicBezTo>
                  <a:pt x="1614" y="2162"/>
                  <a:pt x="1612" y="2153"/>
                  <a:pt x="1612" y="2141"/>
                </a:cubicBezTo>
                <a:cubicBezTo>
                  <a:pt x="1612" y="2128"/>
                  <a:pt x="1614" y="2118"/>
                  <a:pt x="1618" y="2112"/>
                </a:cubicBezTo>
                <a:cubicBezTo>
                  <a:pt x="1623" y="2105"/>
                  <a:pt x="1629" y="2101"/>
                  <a:pt x="1638" y="2101"/>
                </a:cubicBezTo>
                <a:cubicBezTo>
                  <a:pt x="1654" y="2101"/>
                  <a:pt x="1662" y="2114"/>
                  <a:pt x="1662" y="2139"/>
                </a:cubicBezTo>
                <a:cubicBezTo>
                  <a:pt x="1662" y="2152"/>
                  <a:pt x="1660" y="2161"/>
                  <a:pt x="1656" y="2168"/>
                </a:cubicBezTo>
                <a:cubicBezTo>
                  <a:pt x="1650" y="2174"/>
                  <a:pt x="1645" y="2177"/>
                  <a:pt x="1636" y="2177"/>
                </a:cubicBezTo>
                <a:close/>
                <a:moveTo>
                  <a:pt x="1637" y="2111"/>
                </a:moveTo>
                <a:cubicBezTo>
                  <a:pt x="1628" y="2111"/>
                  <a:pt x="1623" y="2121"/>
                  <a:pt x="1623" y="2141"/>
                </a:cubicBezTo>
                <a:cubicBezTo>
                  <a:pt x="1623" y="2159"/>
                  <a:pt x="1628" y="2168"/>
                  <a:pt x="1637" y="2168"/>
                </a:cubicBezTo>
                <a:cubicBezTo>
                  <a:pt x="1645" y="2168"/>
                  <a:pt x="1650" y="2159"/>
                  <a:pt x="1650" y="2140"/>
                </a:cubicBezTo>
                <a:cubicBezTo>
                  <a:pt x="1650" y="2120"/>
                  <a:pt x="1645" y="2111"/>
                  <a:pt x="1637" y="2111"/>
                </a:cubicBezTo>
                <a:close/>
                <a:moveTo>
                  <a:pt x="1683" y="2136"/>
                </a:moveTo>
                <a:cubicBezTo>
                  <a:pt x="1683" y="2136"/>
                  <a:pt x="1683" y="2136"/>
                  <a:pt x="1683" y="2136"/>
                </a:cubicBezTo>
                <a:cubicBezTo>
                  <a:pt x="1683" y="2144"/>
                  <a:pt x="1683" y="2144"/>
                  <a:pt x="1683" y="2144"/>
                </a:cubicBezTo>
                <a:cubicBezTo>
                  <a:pt x="1689" y="2145"/>
                  <a:pt x="1690" y="2148"/>
                  <a:pt x="1690" y="2150"/>
                </a:cubicBezTo>
                <a:cubicBezTo>
                  <a:pt x="1690" y="2152"/>
                  <a:pt x="1689" y="2155"/>
                  <a:pt x="1689" y="2157"/>
                </a:cubicBezTo>
                <a:cubicBezTo>
                  <a:pt x="1689" y="2160"/>
                  <a:pt x="1689" y="2162"/>
                  <a:pt x="1689" y="2164"/>
                </a:cubicBezTo>
                <a:cubicBezTo>
                  <a:pt x="1689" y="2174"/>
                  <a:pt x="1695" y="2177"/>
                  <a:pt x="1703" y="2177"/>
                </a:cubicBezTo>
                <a:cubicBezTo>
                  <a:pt x="1703" y="2177"/>
                  <a:pt x="1703" y="2177"/>
                  <a:pt x="1707" y="2177"/>
                </a:cubicBezTo>
                <a:cubicBezTo>
                  <a:pt x="1707" y="2177"/>
                  <a:pt x="1707" y="2177"/>
                  <a:pt x="1707" y="2168"/>
                </a:cubicBezTo>
                <a:cubicBezTo>
                  <a:pt x="1707" y="2168"/>
                  <a:pt x="1707" y="2168"/>
                  <a:pt x="1705" y="2168"/>
                </a:cubicBezTo>
                <a:cubicBezTo>
                  <a:pt x="1702" y="2168"/>
                  <a:pt x="1700" y="2166"/>
                  <a:pt x="1700" y="2162"/>
                </a:cubicBezTo>
                <a:cubicBezTo>
                  <a:pt x="1700" y="2161"/>
                  <a:pt x="1700" y="2159"/>
                  <a:pt x="1701" y="2157"/>
                </a:cubicBezTo>
                <a:cubicBezTo>
                  <a:pt x="1701" y="2156"/>
                  <a:pt x="1701" y="2154"/>
                  <a:pt x="1701" y="2151"/>
                </a:cubicBezTo>
                <a:cubicBezTo>
                  <a:pt x="1701" y="2144"/>
                  <a:pt x="1698" y="2141"/>
                  <a:pt x="1693" y="2140"/>
                </a:cubicBezTo>
                <a:cubicBezTo>
                  <a:pt x="1693" y="2140"/>
                  <a:pt x="1693" y="2140"/>
                  <a:pt x="1693" y="2140"/>
                </a:cubicBezTo>
                <a:cubicBezTo>
                  <a:pt x="1698" y="2139"/>
                  <a:pt x="1701" y="2136"/>
                  <a:pt x="1701" y="2129"/>
                </a:cubicBezTo>
                <a:cubicBezTo>
                  <a:pt x="1701" y="2126"/>
                  <a:pt x="1701" y="2124"/>
                  <a:pt x="1701" y="2123"/>
                </a:cubicBezTo>
                <a:cubicBezTo>
                  <a:pt x="1700" y="2121"/>
                  <a:pt x="1700" y="2119"/>
                  <a:pt x="1700" y="2118"/>
                </a:cubicBezTo>
                <a:cubicBezTo>
                  <a:pt x="1700" y="2114"/>
                  <a:pt x="1702" y="2112"/>
                  <a:pt x="1705" y="2112"/>
                </a:cubicBezTo>
                <a:cubicBezTo>
                  <a:pt x="1705" y="2112"/>
                  <a:pt x="1705" y="2112"/>
                  <a:pt x="1707" y="2112"/>
                </a:cubicBezTo>
                <a:cubicBezTo>
                  <a:pt x="1707" y="2112"/>
                  <a:pt x="1707" y="2112"/>
                  <a:pt x="1707" y="2103"/>
                </a:cubicBezTo>
                <a:cubicBezTo>
                  <a:pt x="1707" y="2103"/>
                  <a:pt x="1707" y="2103"/>
                  <a:pt x="1703" y="2103"/>
                </a:cubicBezTo>
                <a:cubicBezTo>
                  <a:pt x="1694" y="2103"/>
                  <a:pt x="1689" y="2107"/>
                  <a:pt x="1689" y="2115"/>
                </a:cubicBezTo>
                <a:cubicBezTo>
                  <a:pt x="1689" y="2118"/>
                  <a:pt x="1689" y="2120"/>
                  <a:pt x="1689" y="2123"/>
                </a:cubicBezTo>
                <a:cubicBezTo>
                  <a:pt x="1689" y="2125"/>
                  <a:pt x="1690" y="2128"/>
                  <a:pt x="1690" y="2130"/>
                </a:cubicBezTo>
                <a:cubicBezTo>
                  <a:pt x="1690" y="2132"/>
                  <a:pt x="1689" y="2136"/>
                  <a:pt x="1683" y="2136"/>
                </a:cubicBezTo>
                <a:close/>
                <a:moveTo>
                  <a:pt x="1737" y="2144"/>
                </a:moveTo>
                <a:cubicBezTo>
                  <a:pt x="1737" y="2144"/>
                  <a:pt x="1737" y="2144"/>
                  <a:pt x="1737" y="2144"/>
                </a:cubicBezTo>
                <a:cubicBezTo>
                  <a:pt x="1737" y="2136"/>
                  <a:pt x="1737" y="2136"/>
                  <a:pt x="1737" y="2136"/>
                </a:cubicBezTo>
                <a:cubicBezTo>
                  <a:pt x="1731" y="2136"/>
                  <a:pt x="1731" y="2132"/>
                  <a:pt x="1731" y="2130"/>
                </a:cubicBezTo>
                <a:cubicBezTo>
                  <a:pt x="1731" y="2128"/>
                  <a:pt x="1731" y="2125"/>
                  <a:pt x="1731" y="2123"/>
                </a:cubicBezTo>
                <a:cubicBezTo>
                  <a:pt x="1732" y="2120"/>
                  <a:pt x="1732" y="2118"/>
                  <a:pt x="1732" y="2115"/>
                </a:cubicBezTo>
                <a:cubicBezTo>
                  <a:pt x="1732" y="2107"/>
                  <a:pt x="1726" y="2103"/>
                  <a:pt x="1717" y="2103"/>
                </a:cubicBezTo>
                <a:cubicBezTo>
                  <a:pt x="1717" y="2103"/>
                  <a:pt x="1717" y="2103"/>
                  <a:pt x="1713" y="2103"/>
                </a:cubicBezTo>
                <a:cubicBezTo>
                  <a:pt x="1713" y="2103"/>
                  <a:pt x="1713" y="2103"/>
                  <a:pt x="1713" y="2112"/>
                </a:cubicBezTo>
                <a:cubicBezTo>
                  <a:pt x="1713" y="2112"/>
                  <a:pt x="1713" y="2112"/>
                  <a:pt x="1715" y="2112"/>
                </a:cubicBezTo>
                <a:cubicBezTo>
                  <a:pt x="1719" y="2112"/>
                  <a:pt x="1720" y="2114"/>
                  <a:pt x="1720" y="2118"/>
                </a:cubicBezTo>
                <a:cubicBezTo>
                  <a:pt x="1720" y="2119"/>
                  <a:pt x="1720" y="2121"/>
                  <a:pt x="1720" y="2123"/>
                </a:cubicBezTo>
                <a:cubicBezTo>
                  <a:pt x="1719" y="2124"/>
                  <a:pt x="1719" y="2126"/>
                  <a:pt x="1719" y="2129"/>
                </a:cubicBezTo>
                <a:cubicBezTo>
                  <a:pt x="1719" y="2136"/>
                  <a:pt x="1722" y="2139"/>
                  <a:pt x="1728" y="2140"/>
                </a:cubicBezTo>
                <a:cubicBezTo>
                  <a:pt x="1728" y="2140"/>
                  <a:pt x="1728" y="2140"/>
                  <a:pt x="1728" y="2140"/>
                </a:cubicBezTo>
                <a:cubicBezTo>
                  <a:pt x="1722" y="2141"/>
                  <a:pt x="1719" y="2144"/>
                  <a:pt x="1719" y="2151"/>
                </a:cubicBezTo>
                <a:cubicBezTo>
                  <a:pt x="1719" y="2154"/>
                  <a:pt x="1719" y="2156"/>
                  <a:pt x="1720" y="2157"/>
                </a:cubicBezTo>
                <a:cubicBezTo>
                  <a:pt x="1720" y="2159"/>
                  <a:pt x="1720" y="2161"/>
                  <a:pt x="1720" y="2162"/>
                </a:cubicBezTo>
                <a:cubicBezTo>
                  <a:pt x="1720" y="2166"/>
                  <a:pt x="1719" y="2168"/>
                  <a:pt x="1715" y="2168"/>
                </a:cubicBezTo>
                <a:cubicBezTo>
                  <a:pt x="1715" y="2168"/>
                  <a:pt x="1715" y="2168"/>
                  <a:pt x="1713" y="2168"/>
                </a:cubicBezTo>
                <a:cubicBezTo>
                  <a:pt x="1713" y="2168"/>
                  <a:pt x="1713" y="2168"/>
                  <a:pt x="1713" y="2177"/>
                </a:cubicBezTo>
                <a:cubicBezTo>
                  <a:pt x="1713" y="2177"/>
                  <a:pt x="1713" y="2177"/>
                  <a:pt x="1717" y="2177"/>
                </a:cubicBezTo>
                <a:cubicBezTo>
                  <a:pt x="1726" y="2177"/>
                  <a:pt x="1732" y="2174"/>
                  <a:pt x="1732" y="2164"/>
                </a:cubicBezTo>
                <a:cubicBezTo>
                  <a:pt x="1732" y="2162"/>
                  <a:pt x="1732" y="2160"/>
                  <a:pt x="1731" y="2157"/>
                </a:cubicBezTo>
                <a:cubicBezTo>
                  <a:pt x="1731" y="2155"/>
                  <a:pt x="1731" y="2152"/>
                  <a:pt x="1731" y="2150"/>
                </a:cubicBezTo>
                <a:cubicBezTo>
                  <a:pt x="1731" y="2148"/>
                  <a:pt x="1731" y="2145"/>
                  <a:pt x="1737" y="2144"/>
                </a:cubicBezTo>
                <a:close/>
                <a:moveTo>
                  <a:pt x="1858" y="2177"/>
                </a:moveTo>
                <a:cubicBezTo>
                  <a:pt x="1850" y="2177"/>
                  <a:pt x="1844" y="2174"/>
                  <a:pt x="1839" y="2168"/>
                </a:cubicBezTo>
                <a:cubicBezTo>
                  <a:pt x="1836" y="2162"/>
                  <a:pt x="1833" y="2153"/>
                  <a:pt x="1833" y="2141"/>
                </a:cubicBezTo>
                <a:cubicBezTo>
                  <a:pt x="1833" y="2128"/>
                  <a:pt x="1836" y="2118"/>
                  <a:pt x="1840" y="2112"/>
                </a:cubicBezTo>
                <a:cubicBezTo>
                  <a:pt x="1845" y="2105"/>
                  <a:pt x="1851" y="2101"/>
                  <a:pt x="1860" y="2101"/>
                </a:cubicBezTo>
                <a:cubicBezTo>
                  <a:pt x="1876" y="2101"/>
                  <a:pt x="1884" y="2114"/>
                  <a:pt x="1884" y="2139"/>
                </a:cubicBezTo>
                <a:cubicBezTo>
                  <a:pt x="1884" y="2152"/>
                  <a:pt x="1882" y="2161"/>
                  <a:pt x="1877" y="2168"/>
                </a:cubicBezTo>
                <a:cubicBezTo>
                  <a:pt x="1873" y="2174"/>
                  <a:pt x="1866" y="2177"/>
                  <a:pt x="1858" y="2177"/>
                </a:cubicBezTo>
                <a:close/>
                <a:moveTo>
                  <a:pt x="1859" y="2111"/>
                </a:moveTo>
                <a:cubicBezTo>
                  <a:pt x="1850" y="2111"/>
                  <a:pt x="1845" y="2121"/>
                  <a:pt x="1845" y="2141"/>
                </a:cubicBezTo>
                <a:cubicBezTo>
                  <a:pt x="1845" y="2159"/>
                  <a:pt x="1850" y="2168"/>
                  <a:pt x="1859" y="2168"/>
                </a:cubicBezTo>
                <a:cubicBezTo>
                  <a:pt x="1867" y="2168"/>
                  <a:pt x="1872" y="2159"/>
                  <a:pt x="1872" y="2140"/>
                </a:cubicBezTo>
                <a:cubicBezTo>
                  <a:pt x="1872" y="2120"/>
                  <a:pt x="1867" y="2111"/>
                  <a:pt x="1859" y="2111"/>
                </a:cubicBezTo>
                <a:close/>
                <a:moveTo>
                  <a:pt x="1932" y="2104"/>
                </a:moveTo>
                <a:cubicBezTo>
                  <a:pt x="1932" y="2104"/>
                  <a:pt x="1932" y="2104"/>
                  <a:pt x="1932" y="2104"/>
                </a:cubicBezTo>
                <a:cubicBezTo>
                  <a:pt x="1927" y="2104"/>
                  <a:pt x="1927" y="2104"/>
                  <a:pt x="1927" y="2104"/>
                </a:cubicBezTo>
                <a:cubicBezTo>
                  <a:pt x="1924" y="2105"/>
                  <a:pt x="1923" y="2107"/>
                  <a:pt x="1921" y="2107"/>
                </a:cubicBezTo>
                <a:cubicBezTo>
                  <a:pt x="1919" y="2109"/>
                  <a:pt x="1917" y="2110"/>
                  <a:pt x="1916" y="2110"/>
                </a:cubicBezTo>
                <a:cubicBezTo>
                  <a:pt x="1913" y="2111"/>
                  <a:pt x="1912" y="2112"/>
                  <a:pt x="1910" y="2112"/>
                </a:cubicBezTo>
                <a:cubicBezTo>
                  <a:pt x="1908" y="2113"/>
                  <a:pt x="1907" y="2114"/>
                  <a:pt x="1904" y="2115"/>
                </a:cubicBezTo>
                <a:cubicBezTo>
                  <a:pt x="1904" y="2115"/>
                  <a:pt x="1904" y="2115"/>
                  <a:pt x="1904" y="2125"/>
                </a:cubicBezTo>
                <a:cubicBezTo>
                  <a:pt x="1907" y="2124"/>
                  <a:pt x="1910" y="2123"/>
                  <a:pt x="1913" y="2122"/>
                </a:cubicBezTo>
                <a:cubicBezTo>
                  <a:pt x="1916" y="2121"/>
                  <a:pt x="1918" y="2120"/>
                  <a:pt x="1920" y="2118"/>
                </a:cubicBezTo>
                <a:cubicBezTo>
                  <a:pt x="1920" y="2118"/>
                  <a:pt x="1920" y="2118"/>
                  <a:pt x="1920" y="2177"/>
                </a:cubicBezTo>
                <a:cubicBezTo>
                  <a:pt x="1920" y="2177"/>
                  <a:pt x="1920" y="2177"/>
                  <a:pt x="1932" y="2177"/>
                </a:cubicBezTo>
                <a:cubicBezTo>
                  <a:pt x="1932" y="2177"/>
                  <a:pt x="1932" y="2177"/>
                  <a:pt x="1932" y="2104"/>
                </a:cubicBezTo>
                <a:close/>
                <a:moveTo>
                  <a:pt x="128" y="2056"/>
                </a:moveTo>
                <a:cubicBezTo>
                  <a:pt x="128" y="2058"/>
                  <a:pt x="129" y="2059"/>
                  <a:pt x="130" y="2060"/>
                </a:cubicBezTo>
                <a:cubicBezTo>
                  <a:pt x="130" y="2062"/>
                  <a:pt x="130" y="2064"/>
                  <a:pt x="131" y="2065"/>
                </a:cubicBezTo>
                <a:cubicBezTo>
                  <a:pt x="131" y="2067"/>
                  <a:pt x="131" y="2069"/>
                  <a:pt x="131" y="2070"/>
                </a:cubicBezTo>
                <a:cubicBezTo>
                  <a:pt x="132" y="2073"/>
                  <a:pt x="131" y="2075"/>
                  <a:pt x="128" y="2075"/>
                </a:cubicBezTo>
                <a:cubicBezTo>
                  <a:pt x="125" y="2075"/>
                  <a:pt x="122" y="2075"/>
                  <a:pt x="119" y="2075"/>
                </a:cubicBezTo>
                <a:cubicBezTo>
                  <a:pt x="119" y="2075"/>
                  <a:pt x="118" y="2075"/>
                  <a:pt x="118" y="2075"/>
                </a:cubicBezTo>
                <a:cubicBezTo>
                  <a:pt x="116" y="2077"/>
                  <a:pt x="115" y="2078"/>
                  <a:pt x="114" y="2079"/>
                </a:cubicBezTo>
                <a:cubicBezTo>
                  <a:pt x="112" y="2082"/>
                  <a:pt x="108" y="2082"/>
                  <a:pt x="106" y="2080"/>
                </a:cubicBezTo>
                <a:cubicBezTo>
                  <a:pt x="104" y="2078"/>
                  <a:pt x="103" y="2075"/>
                  <a:pt x="101" y="2073"/>
                </a:cubicBezTo>
                <a:cubicBezTo>
                  <a:pt x="101" y="2071"/>
                  <a:pt x="101" y="2069"/>
                  <a:pt x="103" y="2068"/>
                </a:cubicBezTo>
                <a:cubicBezTo>
                  <a:pt x="101" y="2068"/>
                  <a:pt x="99" y="2068"/>
                  <a:pt x="97" y="2068"/>
                </a:cubicBezTo>
                <a:cubicBezTo>
                  <a:pt x="97" y="2070"/>
                  <a:pt x="95" y="2072"/>
                  <a:pt x="95" y="2074"/>
                </a:cubicBezTo>
                <a:cubicBezTo>
                  <a:pt x="95" y="2075"/>
                  <a:pt x="94" y="2075"/>
                  <a:pt x="94" y="2076"/>
                </a:cubicBezTo>
                <a:cubicBezTo>
                  <a:pt x="94" y="2079"/>
                  <a:pt x="93" y="2081"/>
                  <a:pt x="90" y="2080"/>
                </a:cubicBezTo>
                <a:cubicBezTo>
                  <a:pt x="87" y="2080"/>
                  <a:pt x="84" y="2079"/>
                  <a:pt x="81" y="2078"/>
                </a:cubicBezTo>
                <a:cubicBezTo>
                  <a:pt x="79" y="2077"/>
                  <a:pt x="79" y="2076"/>
                  <a:pt x="79" y="2074"/>
                </a:cubicBezTo>
                <a:cubicBezTo>
                  <a:pt x="79" y="2073"/>
                  <a:pt x="79" y="2072"/>
                  <a:pt x="80" y="2072"/>
                </a:cubicBezTo>
                <a:cubicBezTo>
                  <a:pt x="77" y="2071"/>
                  <a:pt x="75" y="2070"/>
                  <a:pt x="73" y="2069"/>
                </a:cubicBezTo>
                <a:cubicBezTo>
                  <a:pt x="72" y="2068"/>
                  <a:pt x="71" y="2066"/>
                  <a:pt x="70" y="2064"/>
                </a:cubicBezTo>
                <a:cubicBezTo>
                  <a:pt x="69" y="2062"/>
                  <a:pt x="69" y="2061"/>
                  <a:pt x="71" y="2059"/>
                </a:cubicBezTo>
                <a:cubicBezTo>
                  <a:pt x="74" y="2057"/>
                  <a:pt x="75" y="2054"/>
                  <a:pt x="74" y="2050"/>
                </a:cubicBezTo>
                <a:cubicBezTo>
                  <a:pt x="74" y="2048"/>
                  <a:pt x="74" y="2046"/>
                  <a:pt x="74" y="2044"/>
                </a:cubicBezTo>
                <a:cubicBezTo>
                  <a:pt x="73" y="2043"/>
                  <a:pt x="71" y="2043"/>
                  <a:pt x="70" y="2042"/>
                </a:cubicBezTo>
                <a:cubicBezTo>
                  <a:pt x="69" y="2040"/>
                  <a:pt x="68" y="2038"/>
                  <a:pt x="68" y="2036"/>
                </a:cubicBezTo>
                <a:cubicBezTo>
                  <a:pt x="68" y="2033"/>
                  <a:pt x="72" y="2031"/>
                  <a:pt x="74" y="2030"/>
                </a:cubicBezTo>
                <a:cubicBezTo>
                  <a:pt x="75" y="2031"/>
                  <a:pt x="75" y="2031"/>
                  <a:pt x="75" y="2032"/>
                </a:cubicBezTo>
                <a:cubicBezTo>
                  <a:pt x="75" y="2033"/>
                  <a:pt x="75" y="2034"/>
                  <a:pt x="75" y="2035"/>
                </a:cubicBezTo>
                <a:cubicBezTo>
                  <a:pt x="75" y="2035"/>
                  <a:pt x="74" y="2035"/>
                  <a:pt x="74" y="2035"/>
                </a:cubicBezTo>
                <a:cubicBezTo>
                  <a:pt x="74" y="2036"/>
                  <a:pt x="73" y="2037"/>
                  <a:pt x="72" y="2039"/>
                </a:cubicBezTo>
                <a:cubicBezTo>
                  <a:pt x="74" y="2039"/>
                  <a:pt x="74" y="2039"/>
                  <a:pt x="75" y="2039"/>
                </a:cubicBezTo>
                <a:cubicBezTo>
                  <a:pt x="76" y="2037"/>
                  <a:pt x="77" y="2037"/>
                  <a:pt x="77" y="2035"/>
                </a:cubicBezTo>
                <a:cubicBezTo>
                  <a:pt x="82" y="2029"/>
                  <a:pt x="88" y="2025"/>
                  <a:pt x="95" y="2023"/>
                </a:cubicBezTo>
                <a:cubicBezTo>
                  <a:pt x="99" y="2023"/>
                  <a:pt x="102" y="2022"/>
                  <a:pt x="104" y="2019"/>
                </a:cubicBezTo>
                <a:cubicBezTo>
                  <a:pt x="104" y="2018"/>
                  <a:pt x="105" y="2018"/>
                  <a:pt x="105" y="2018"/>
                </a:cubicBezTo>
                <a:cubicBezTo>
                  <a:pt x="108" y="2018"/>
                  <a:pt x="110" y="2015"/>
                  <a:pt x="112" y="2013"/>
                </a:cubicBezTo>
                <a:cubicBezTo>
                  <a:pt x="119" y="2006"/>
                  <a:pt x="131" y="2005"/>
                  <a:pt x="139" y="2012"/>
                </a:cubicBezTo>
                <a:cubicBezTo>
                  <a:pt x="141" y="2014"/>
                  <a:pt x="144" y="2016"/>
                  <a:pt x="146" y="2018"/>
                </a:cubicBezTo>
                <a:cubicBezTo>
                  <a:pt x="148" y="2019"/>
                  <a:pt x="149" y="2021"/>
                  <a:pt x="150" y="2023"/>
                </a:cubicBezTo>
                <a:cubicBezTo>
                  <a:pt x="151" y="2024"/>
                  <a:pt x="152" y="2024"/>
                  <a:pt x="153" y="2023"/>
                </a:cubicBezTo>
                <a:cubicBezTo>
                  <a:pt x="154" y="2023"/>
                  <a:pt x="154" y="2022"/>
                  <a:pt x="155" y="2021"/>
                </a:cubicBezTo>
                <a:cubicBezTo>
                  <a:pt x="157" y="2018"/>
                  <a:pt x="160" y="2018"/>
                  <a:pt x="161" y="2022"/>
                </a:cubicBezTo>
                <a:cubicBezTo>
                  <a:pt x="163" y="2025"/>
                  <a:pt x="163" y="2027"/>
                  <a:pt x="164" y="2031"/>
                </a:cubicBezTo>
                <a:cubicBezTo>
                  <a:pt x="164" y="2035"/>
                  <a:pt x="164" y="2039"/>
                  <a:pt x="163" y="2044"/>
                </a:cubicBezTo>
                <a:cubicBezTo>
                  <a:pt x="160" y="2050"/>
                  <a:pt x="155" y="2054"/>
                  <a:pt x="149" y="2054"/>
                </a:cubicBezTo>
                <a:cubicBezTo>
                  <a:pt x="148" y="2054"/>
                  <a:pt x="148" y="2054"/>
                  <a:pt x="147" y="2054"/>
                </a:cubicBezTo>
                <a:cubicBezTo>
                  <a:pt x="144" y="2053"/>
                  <a:pt x="143" y="2054"/>
                  <a:pt x="143" y="2056"/>
                </a:cubicBezTo>
                <a:cubicBezTo>
                  <a:pt x="141" y="2060"/>
                  <a:pt x="135" y="2062"/>
                  <a:pt x="132" y="2059"/>
                </a:cubicBezTo>
                <a:cubicBezTo>
                  <a:pt x="131" y="2058"/>
                  <a:pt x="130" y="2057"/>
                  <a:pt x="129" y="2056"/>
                </a:cubicBezTo>
                <a:cubicBezTo>
                  <a:pt x="128" y="2056"/>
                  <a:pt x="128" y="2056"/>
                  <a:pt x="128" y="2056"/>
                </a:cubicBezTo>
                <a:close/>
                <a:moveTo>
                  <a:pt x="123" y="2052"/>
                </a:moveTo>
                <a:cubicBezTo>
                  <a:pt x="126" y="2053"/>
                  <a:pt x="130" y="2054"/>
                  <a:pt x="132" y="2057"/>
                </a:cubicBezTo>
                <a:cubicBezTo>
                  <a:pt x="134" y="2059"/>
                  <a:pt x="136" y="2060"/>
                  <a:pt x="138" y="2059"/>
                </a:cubicBezTo>
                <a:cubicBezTo>
                  <a:pt x="141" y="2058"/>
                  <a:pt x="142" y="2056"/>
                  <a:pt x="142" y="2053"/>
                </a:cubicBezTo>
                <a:cubicBezTo>
                  <a:pt x="142" y="2053"/>
                  <a:pt x="141" y="2053"/>
                  <a:pt x="141" y="2054"/>
                </a:cubicBezTo>
                <a:cubicBezTo>
                  <a:pt x="141" y="2055"/>
                  <a:pt x="139" y="2056"/>
                  <a:pt x="139" y="2057"/>
                </a:cubicBezTo>
                <a:cubicBezTo>
                  <a:pt x="137" y="2058"/>
                  <a:pt x="136" y="2058"/>
                  <a:pt x="135" y="2058"/>
                </a:cubicBezTo>
                <a:cubicBezTo>
                  <a:pt x="135" y="2058"/>
                  <a:pt x="134" y="2056"/>
                  <a:pt x="134" y="2056"/>
                </a:cubicBezTo>
                <a:cubicBezTo>
                  <a:pt x="134" y="2053"/>
                  <a:pt x="135" y="2051"/>
                  <a:pt x="135" y="2049"/>
                </a:cubicBezTo>
                <a:cubicBezTo>
                  <a:pt x="138" y="2050"/>
                  <a:pt x="141" y="2051"/>
                  <a:pt x="145" y="2052"/>
                </a:cubicBezTo>
                <a:cubicBezTo>
                  <a:pt x="152" y="2053"/>
                  <a:pt x="158" y="2051"/>
                  <a:pt x="161" y="2043"/>
                </a:cubicBezTo>
                <a:cubicBezTo>
                  <a:pt x="163" y="2038"/>
                  <a:pt x="163" y="2033"/>
                  <a:pt x="162" y="2028"/>
                </a:cubicBezTo>
                <a:cubicBezTo>
                  <a:pt x="161" y="2026"/>
                  <a:pt x="161" y="2024"/>
                  <a:pt x="160" y="2022"/>
                </a:cubicBezTo>
                <a:cubicBezTo>
                  <a:pt x="159" y="2021"/>
                  <a:pt x="158" y="2020"/>
                  <a:pt x="157" y="2022"/>
                </a:cubicBezTo>
                <a:cubicBezTo>
                  <a:pt x="155" y="2024"/>
                  <a:pt x="154" y="2025"/>
                  <a:pt x="152" y="2026"/>
                </a:cubicBezTo>
                <a:cubicBezTo>
                  <a:pt x="151" y="2026"/>
                  <a:pt x="150" y="2027"/>
                  <a:pt x="150" y="2028"/>
                </a:cubicBezTo>
                <a:cubicBezTo>
                  <a:pt x="151" y="2031"/>
                  <a:pt x="150" y="2035"/>
                  <a:pt x="149" y="2038"/>
                </a:cubicBezTo>
                <a:cubicBezTo>
                  <a:pt x="149" y="2036"/>
                  <a:pt x="150" y="2034"/>
                  <a:pt x="150" y="2032"/>
                </a:cubicBezTo>
                <a:cubicBezTo>
                  <a:pt x="150" y="2031"/>
                  <a:pt x="149" y="2031"/>
                  <a:pt x="149" y="2031"/>
                </a:cubicBezTo>
                <a:cubicBezTo>
                  <a:pt x="148" y="2031"/>
                  <a:pt x="148" y="2031"/>
                  <a:pt x="148" y="2031"/>
                </a:cubicBezTo>
                <a:cubicBezTo>
                  <a:pt x="147" y="2033"/>
                  <a:pt x="146" y="2034"/>
                  <a:pt x="145" y="2035"/>
                </a:cubicBezTo>
                <a:cubicBezTo>
                  <a:pt x="145" y="2035"/>
                  <a:pt x="145" y="2035"/>
                  <a:pt x="145" y="2035"/>
                </a:cubicBezTo>
                <a:cubicBezTo>
                  <a:pt x="145" y="2034"/>
                  <a:pt x="146" y="2032"/>
                  <a:pt x="146" y="2030"/>
                </a:cubicBezTo>
                <a:cubicBezTo>
                  <a:pt x="145" y="2031"/>
                  <a:pt x="144" y="2031"/>
                  <a:pt x="144" y="2032"/>
                </a:cubicBezTo>
                <a:cubicBezTo>
                  <a:pt x="143" y="2032"/>
                  <a:pt x="143" y="2033"/>
                  <a:pt x="143" y="2034"/>
                </a:cubicBezTo>
                <a:cubicBezTo>
                  <a:pt x="143" y="2030"/>
                  <a:pt x="143" y="2030"/>
                  <a:pt x="149" y="2029"/>
                </a:cubicBezTo>
                <a:cubicBezTo>
                  <a:pt x="149" y="2029"/>
                  <a:pt x="148" y="2028"/>
                  <a:pt x="148" y="2028"/>
                </a:cubicBezTo>
                <a:cubicBezTo>
                  <a:pt x="145" y="2029"/>
                  <a:pt x="144" y="2027"/>
                  <a:pt x="144" y="2025"/>
                </a:cubicBezTo>
                <a:cubicBezTo>
                  <a:pt x="146" y="2024"/>
                  <a:pt x="147" y="2024"/>
                  <a:pt x="149" y="2024"/>
                </a:cubicBezTo>
                <a:cubicBezTo>
                  <a:pt x="147" y="2021"/>
                  <a:pt x="146" y="2018"/>
                  <a:pt x="143" y="2018"/>
                </a:cubicBezTo>
                <a:cubicBezTo>
                  <a:pt x="142" y="2018"/>
                  <a:pt x="142" y="2018"/>
                  <a:pt x="142" y="2017"/>
                </a:cubicBezTo>
                <a:cubicBezTo>
                  <a:pt x="139" y="2015"/>
                  <a:pt x="137" y="2013"/>
                  <a:pt x="134" y="2011"/>
                </a:cubicBezTo>
                <a:cubicBezTo>
                  <a:pt x="132" y="2010"/>
                  <a:pt x="129" y="2009"/>
                  <a:pt x="127" y="2009"/>
                </a:cubicBezTo>
                <a:cubicBezTo>
                  <a:pt x="124" y="2009"/>
                  <a:pt x="121" y="2010"/>
                  <a:pt x="117" y="2011"/>
                </a:cubicBezTo>
                <a:cubicBezTo>
                  <a:pt x="115" y="2012"/>
                  <a:pt x="112" y="2014"/>
                  <a:pt x="110" y="2017"/>
                </a:cubicBezTo>
                <a:cubicBezTo>
                  <a:pt x="112" y="2017"/>
                  <a:pt x="113" y="2017"/>
                  <a:pt x="114" y="2017"/>
                </a:cubicBezTo>
                <a:cubicBezTo>
                  <a:pt x="114" y="2018"/>
                  <a:pt x="113" y="2018"/>
                  <a:pt x="112" y="2018"/>
                </a:cubicBezTo>
                <a:cubicBezTo>
                  <a:pt x="110" y="2019"/>
                  <a:pt x="107" y="2018"/>
                  <a:pt x="105" y="2020"/>
                </a:cubicBezTo>
                <a:cubicBezTo>
                  <a:pt x="102" y="2024"/>
                  <a:pt x="98" y="2028"/>
                  <a:pt x="94" y="2032"/>
                </a:cubicBezTo>
                <a:cubicBezTo>
                  <a:pt x="93" y="2034"/>
                  <a:pt x="92" y="2037"/>
                  <a:pt x="91" y="2039"/>
                </a:cubicBezTo>
                <a:cubicBezTo>
                  <a:pt x="91" y="2039"/>
                  <a:pt x="91" y="2040"/>
                  <a:pt x="91" y="2041"/>
                </a:cubicBezTo>
                <a:cubicBezTo>
                  <a:pt x="92" y="2043"/>
                  <a:pt x="94" y="2045"/>
                  <a:pt x="95" y="2046"/>
                </a:cubicBezTo>
                <a:cubicBezTo>
                  <a:pt x="96" y="2045"/>
                  <a:pt x="97" y="2043"/>
                  <a:pt x="99" y="2042"/>
                </a:cubicBezTo>
                <a:cubicBezTo>
                  <a:pt x="98" y="2043"/>
                  <a:pt x="98" y="2045"/>
                  <a:pt x="97" y="2046"/>
                </a:cubicBezTo>
                <a:cubicBezTo>
                  <a:pt x="96" y="2047"/>
                  <a:pt x="95" y="2048"/>
                  <a:pt x="95" y="2050"/>
                </a:cubicBezTo>
                <a:cubicBezTo>
                  <a:pt x="95" y="2051"/>
                  <a:pt x="95" y="2052"/>
                  <a:pt x="95" y="2053"/>
                </a:cubicBezTo>
                <a:cubicBezTo>
                  <a:pt x="98" y="2056"/>
                  <a:pt x="101" y="2056"/>
                  <a:pt x="105" y="2054"/>
                </a:cubicBezTo>
                <a:cubicBezTo>
                  <a:pt x="107" y="2053"/>
                  <a:pt x="110" y="2052"/>
                  <a:pt x="113" y="2051"/>
                </a:cubicBezTo>
                <a:cubicBezTo>
                  <a:pt x="114" y="2050"/>
                  <a:pt x="115" y="2050"/>
                  <a:pt x="115" y="2048"/>
                </a:cubicBezTo>
                <a:cubicBezTo>
                  <a:pt x="115" y="2045"/>
                  <a:pt x="115" y="2041"/>
                  <a:pt x="115" y="2038"/>
                </a:cubicBezTo>
                <a:cubicBezTo>
                  <a:pt x="115" y="2035"/>
                  <a:pt x="115" y="2032"/>
                  <a:pt x="115" y="2029"/>
                </a:cubicBezTo>
                <a:cubicBezTo>
                  <a:pt x="116" y="2032"/>
                  <a:pt x="117" y="2035"/>
                  <a:pt x="117" y="2037"/>
                </a:cubicBezTo>
                <a:cubicBezTo>
                  <a:pt x="118" y="2042"/>
                  <a:pt x="118" y="2046"/>
                  <a:pt x="117" y="2050"/>
                </a:cubicBezTo>
                <a:cubicBezTo>
                  <a:pt x="116" y="2051"/>
                  <a:pt x="115" y="2052"/>
                  <a:pt x="115" y="2052"/>
                </a:cubicBezTo>
                <a:cubicBezTo>
                  <a:pt x="112" y="2052"/>
                  <a:pt x="108" y="2054"/>
                  <a:pt x="105" y="2056"/>
                </a:cubicBezTo>
                <a:cubicBezTo>
                  <a:pt x="100" y="2059"/>
                  <a:pt x="97" y="2057"/>
                  <a:pt x="93" y="2053"/>
                </a:cubicBezTo>
                <a:cubicBezTo>
                  <a:pt x="93" y="2053"/>
                  <a:pt x="93" y="2052"/>
                  <a:pt x="93" y="2051"/>
                </a:cubicBezTo>
                <a:cubicBezTo>
                  <a:pt x="94" y="2049"/>
                  <a:pt x="93" y="2047"/>
                  <a:pt x="92" y="2045"/>
                </a:cubicBezTo>
                <a:cubicBezTo>
                  <a:pt x="90" y="2043"/>
                  <a:pt x="88" y="2041"/>
                  <a:pt x="90" y="2038"/>
                </a:cubicBezTo>
                <a:cubicBezTo>
                  <a:pt x="90" y="2036"/>
                  <a:pt x="91" y="2034"/>
                  <a:pt x="92" y="2033"/>
                </a:cubicBezTo>
                <a:cubicBezTo>
                  <a:pt x="94" y="2030"/>
                  <a:pt x="96" y="2027"/>
                  <a:pt x="98" y="2025"/>
                </a:cubicBezTo>
                <a:cubicBezTo>
                  <a:pt x="98" y="2025"/>
                  <a:pt x="97" y="2025"/>
                  <a:pt x="97" y="2025"/>
                </a:cubicBezTo>
                <a:cubicBezTo>
                  <a:pt x="92" y="2026"/>
                  <a:pt x="88" y="2027"/>
                  <a:pt x="84" y="2031"/>
                </a:cubicBezTo>
                <a:cubicBezTo>
                  <a:pt x="79" y="2035"/>
                  <a:pt x="76" y="2040"/>
                  <a:pt x="76" y="2047"/>
                </a:cubicBezTo>
                <a:cubicBezTo>
                  <a:pt x="75" y="2054"/>
                  <a:pt x="78" y="2060"/>
                  <a:pt x="81" y="2065"/>
                </a:cubicBezTo>
                <a:cubicBezTo>
                  <a:pt x="82" y="2066"/>
                  <a:pt x="83" y="2068"/>
                  <a:pt x="82" y="2069"/>
                </a:cubicBezTo>
                <a:cubicBezTo>
                  <a:pt x="82" y="2071"/>
                  <a:pt x="82" y="2072"/>
                  <a:pt x="81" y="2073"/>
                </a:cubicBezTo>
                <a:cubicBezTo>
                  <a:pt x="81" y="2075"/>
                  <a:pt x="81" y="2076"/>
                  <a:pt x="82" y="2077"/>
                </a:cubicBezTo>
                <a:cubicBezTo>
                  <a:pt x="85" y="2077"/>
                  <a:pt x="88" y="2078"/>
                  <a:pt x="91" y="2078"/>
                </a:cubicBezTo>
                <a:cubicBezTo>
                  <a:pt x="92" y="2078"/>
                  <a:pt x="92" y="2077"/>
                  <a:pt x="92" y="2077"/>
                </a:cubicBezTo>
                <a:cubicBezTo>
                  <a:pt x="93" y="2076"/>
                  <a:pt x="93" y="2074"/>
                  <a:pt x="94" y="2073"/>
                </a:cubicBezTo>
                <a:cubicBezTo>
                  <a:pt x="95" y="2071"/>
                  <a:pt x="95" y="2068"/>
                  <a:pt x="95" y="2065"/>
                </a:cubicBezTo>
                <a:cubicBezTo>
                  <a:pt x="95" y="2065"/>
                  <a:pt x="95" y="2065"/>
                  <a:pt x="95" y="2064"/>
                </a:cubicBezTo>
                <a:cubicBezTo>
                  <a:pt x="95" y="2064"/>
                  <a:pt x="95" y="2064"/>
                  <a:pt x="95" y="2064"/>
                </a:cubicBezTo>
                <a:cubicBezTo>
                  <a:pt x="96" y="2066"/>
                  <a:pt x="97" y="2066"/>
                  <a:pt x="99" y="2066"/>
                </a:cubicBezTo>
                <a:cubicBezTo>
                  <a:pt x="100" y="2066"/>
                  <a:pt x="101" y="2066"/>
                  <a:pt x="102" y="2066"/>
                </a:cubicBezTo>
                <a:cubicBezTo>
                  <a:pt x="104" y="2066"/>
                  <a:pt x="108" y="2067"/>
                  <a:pt x="108" y="2063"/>
                </a:cubicBezTo>
                <a:cubicBezTo>
                  <a:pt x="108" y="2065"/>
                  <a:pt x="108" y="2067"/>
                  <a:pt x="108" y="2067"/>
                </a:cubicBezTo>
                <a:cubicBezTo>
                  <a:pt x="107" y="2068"/>
                  <a:pt x="106" y="2069"/>
                  <a:pt x="104" y="2069"/>
                </a:cubicBezTo>
                <a:cubicBezTo>
                  <a:pt x="103" y="2070"/>
                  <a:pt x="103" y="2072"/>
                  <a:pt x="103" y="2073"/>
                </a:cubicBezTo>
                <a:cubicBezTo>
                  <a:pt x="104" y="2075"/>
                  <a:pt x="106" y="2077"/>
                  <a:pt x="107" y="2079"/>
                </a:cubicBezTo>
                <a:cubicBezTo>
                  <a:pt x="109" y="2080"/>
                  <a:pt x="111" y="2080"/>
                  <a:pt x="112" y="2078"/>
                </a:cubicBezTo>
                <a:cubicBezTo>
                  <a:pt x="113" y="2077"/>
                  <a:pt x="114" y="2077"/>
                  <a:pt x="114" y="2076"/>
                </a:cubicBezTo>
                <a:cubicBezTo>
                  <a:pt x="116" y="2075"/>
                  <a:pt x="117" y="2073"/>
                  <a:pt x="119" y="2072"/>
                </a:cubicBezTo>
                <a:cubicBezTo>
                  <a:pt x="123" y="2068"/>
                  <a:pt x="125" y="2062"/>
                  <a:pt x="127" y="2056"/>
                </a:cubicBezTo>
                <a:cubicBezTo>
                  <a:pt x="127" y="2056"/>
                  <a:pt x="126" y="2055"/>
                  <a:pt x="126" y="2054"/>
                </a:cubicBezTo>
                <a:cubicBezTo>
                  <a:pt x="125" y="2053"/>
                  <a:pt x="124" y="2052"/>
                  <a:pt x="123" y="2052"/>
                </a:cubicBezTo>
                <a:close/>
                <a:moveTo>
                  <a:pt x="75" y="2058"/>
                </a:moveTo>
                <a:cubicBezTo>
                  <a:pt x="75" y="2059"/>
                  <a:pt x="73" y="2060"/>
                  <a:pt x="72" y="2061"/>
                </a:cubicBezTo>
                <a:cubicBezTo>
                  <a:pt x="72" y="2061"/>
                  <a:pt x="71" y="2062"/>
                  <a:pt x="71" y="2063"/>
                </a:cubicBezTo>
                <a:cubicBezTo>
                  <a:pt x="71" y="2065"/>
                  <a:pt x="75" y="2070"/>
                  <a:pt x="79" y="2069"/>
                </a:cubicBezTo>
                <a:cubicBezTo>
                  <a:pt x="80" y="2069"/>
                  <a:pt x="81" y="2068"/>
                  <a:pt x="80" y="2067"/>
                </a:cubicBezTo>
                <a:cubicBezTo>
                  <a:pt x="79" y="2064"/>
                  <a:pt x="77" y="2061"/>
                  <a:pt x="75" y="2058"/>
                </a:cubicBezTo>
                <a:close/>
                <a:moveTo>
                  <a:pt x="128" y="2060"/>
                </a:moveTo>
                <a:cubicBezTo>
                  <a:pt x="126" y="2065"/>
                  <a:pt x="123" y="2069"/>
                  <a:pt x="121" y="2073"/>
                </a:cubicBezTo>
                <a:cubicBezTo>
                  <a:pt x="124" y="2073"/>
                  <a:pt x="126" y="2074"/>
                  <a:pt x="129" y="2073"/>
                </a:cubicBezTo>
                <a:cubicBezTo>
                  <a:pt x="129" y="2073"/>
                  <a:pt x="130" y="2072"/>
                  <a:pt x="130" y="2072"/>
                </a:cubicBezTo>
                <a:cubicBezTo>
                  <a:pt x="130" y="2069"/>
                  <a:pt x="130" y="2067"/>
                  <a:pt x="129" y="2064"/>
                </a:cubicBezTo>
                <a:cubicBezTo>
                  <a:pt x="129" y="2063"/>
                  <a:pt x="128" y="2062"/>
                  <a:pt x="128" y="2060"/>
                </a:cubicBezTo>
                <a:close/>
                <a:moveTo>
                  <a:pt x="75" y="2040"/>
                </a:moveTo>
                <a:cubicBezTo>
                  <a:pt x="75" y="2040"/>
                  <a:pt x="74" y="2041"/>
                  <a:pt x="74" y="2041"/>
                </a:cubicBezTo>
                <a:cubicBezTo>
                  <a:pt x="73" y="2041"/>
                  <a:pt x="72" y="2041"/>
                  <a:pt x="72" y="2040"/>
                </a:cubicBezTo>
                <a:cubicBezTo>
                  <a:pt x="72" y="2040"/>
                  <a:pt x="71" y="2039"/>
                  <a:pt x="71" y="2038"/>
                </a:cubicBezTo>
                <a:cubicBezTo>
                  <a:pt x="72" y="2036"/>
                  <a:pt x="72" y="2034"/>
                  <a:pt x="73" y="2032"/>
                </a:cubicBezTo>
                <a:cubicBezTo>
                  <a:pt x="73" y="2032"/>
                  <a:pt x="73" y="2032"/>
                  <a:pt x="72" y="2032"/>
                </a:cubicBezTo>
                <a:cubicBezTo>
                  <a:pt x="72" y="2033"/>
                  <a:pt x="70" y="2034"/>
                  <a:pt x="70" y="2035"/>
                </a:cubicBezTo>
                <a:cubicBezTo>
                  <a:pt x="69" y="2036"/>
                  <a:pt x="70" y="2041"/>
                  <a:pt x="72" y="2042"/>
                </a:cubicBezTo>
                <a:cubicBezTo>
                  <a:pt x="74" y="2043"/>
                  <a:pt x="75" y="2042"/>
                  <a:pt x="75" y="2040"/>
                </a:cubicBezTo>
                <a:close/>
                <a:moveTo>
                  <a:pt x="76" y="2058"/>
                </a:moveTo>
                <a:cubicBezTo>
                  <a:pt x="75" y="2058"/>
                  <a:pt x="73" y="2059"/>
                  <a:pt x="72" y="2060"/>
                </a:cubicBezTo>
                <a:cubicBezTo>
                  <a:pt x="72" y="2061"/>
                  <a:pt x="71" y="2062"/>
                  <a:pt x="71" y="2062"/>
                </a:cubicBezTo>
                <a:cubicBezTo>
                  <a:pt x="71" y="2065"/>
                  <a:pt x="76" y="2070"/>
                  <a:pt x="79" y="2069"/>
                </a:cubicBezTo>
                <a:cubicBezTo>
                  <a:pt x="80" y="2069"/>
                  <a:pt x="81" y="2068"/>
                  <a:pt x="80" y="2066"/>
                </a:cubicBezTo>
                <a:cubicBezTo>
                  <a:pt x="79" y="2063"/>
                  <a:pt x="77" y="2060"/>
                  <a:pt x="76" y="2058"/>
                </a:cubicBezTo>
                <a:close/>
                <a:moveTo>
                  <a:pt x="128" y="2060"/>
                </a:moveTo>
                <a:cubicBezTo>
                  <a:pt x="126" y="2064"/>
                  <a:pt x="124" y="2069"/>
                  <a:pt x="121" y="2073"/>
                </a:cubicBezTo>
                <a:cubicBezTo>
                  <a:pt x="124" y="2073"/>
                  <a:pt x="126" y="2073"/>
                  <a:pt x="129" y="2073"/>
                </a:cubicBezTo>
                <a:cubicBezTo>
                  <a:pt x="129" y="2073"/>
                  <a:pt x="129" y="2072"/>
                  <a:pt x="129" y="2071"/>
                </a:cubicBezTo>
                <a:cubicBezTo>
                  <a:pt x="129" y="2069"/>
                  <a:pt x="129" y="2066"/>
                  <a:pt x="129" y="2064"/>
                </a:cubicBezTo>
                <a:cubicBezTo>
                  <a:pt x="129" y="2062"/>
                  <a:pt x="128" y="2061"/>
                  <a:pt x="128" y="2060"/>
                </a:cubicBezTo>
                <a:close/>
                <a:moveTo>
                  <a:pt x="76" y="2040"/>
                </a:moveTo>
                <a:cubicBezTo>
                  <a:pt x="75" y="2040"/>
                  <a:pt x="74" y="2040"/>
                  <a:pt x="74" y="2040"/>
                </a:cubicBezTo>
                <a:cubicBezTo>
                  <a:pt x="73" y="2040"/>
                  <a:pt x="72" y="2040"/>
                  <a:pt x="72" y="2040"/>
                </a:cubicBezTo>
                <a:cubicBezTo>
                  <a:pt x="72" y="2040"/>
                  <a:pt x="71" y="2039"/>
                  <a:pt x="71" y="2038"/>
                </a:cubicBezTo>
                <a:cubicBezTo>
                  <a:pt x="72" y="2036"/>
                  <a:pt x="73" y="2034"/>
                  <a:pt x="73" y="2032"/>
                </a:cubicBezTo>
                <a:cubicBezTo>
                  <a:pt x="73" y="2032"/>
                  <a:pt x="73" y="2032"/>
                  <a:pt x="73" y="2032"/>
                </a:cubicBezTo>
                <a:cubicBezTo>
                  <a:pt x="72" y="2033"/>
                  <a:pt x="71" y="2034"/>
                  <a:pt x="70" y="2035"/>
                </a:cubicBezTo>
                <a:cubicBezTo>
                  <a:pt x="69" y="2036"/>
                  <a:pt x="71" y="2041"/>
                  <a:pt x="72" y="2042"/>
                </a:cubicBezTo>
                <a:cubicBezTo>
                  <a:pt x="74" y="2043"/>
                  <a:pt x="76" y="2042"/>
                  <a:pt x="76" y="2040"/>
                </a:cubicBezTo>
                <a:close/>
                <a:moveTo>
                  <a:pt x="128" y="2031"/>
                </a:moveTo>
                <a:cubicBezTo>
                  <a:pt x="131" y="2028"/>
                  <a:pt x="131" y="2028"/>
                  <a:pt x="135" y="2026"/>
                </a:cubicBezTo>
                <a:cubicBezTo>
                  <a:pt x="135" y="2028"/>
                  <a:pt x="136" y="2030"/>
                  <a:pt x="138" y="2030"/>
                </a:cubicBezTo>
                <a:cubicBezTo>
                  <a:pt x="135" y="2031"/>
                  <a:pt x="133" y="2032"/>
                  <a:pt x="131" y="2034"/>
                </a:cubicBezTo>
                <a:cubicBezTo>
                  <a:pt x="130" y="2033"/>
                  <a:pt x="130" y="2032"/>
                  <a:pt x="129" y="2031"/>
                </a:cubicBezTo>
                <a:cubicBezTo>
                  <a:pt x="129" y="2031"/>
                  <a:pt x="128" y="2031"/>
                  <a:pt x="128" y="2031"/>
                </a:cubicBezTo>
                <a:close/>
                <a:moveTo>
                  <a:pt x="134" y="2031"/>
                </a:moveTo>
                <a:cubicBezTo>
                  <a:pt x="133" y="2030"/>
                  <a:pt x="132" y="2030"/>
                  <a:pt x="132" y="2030"/>
                </a:cubicBezTo>
                <a:cubicBezTo>
                  <a:pt x="131" y="2030"/>
                  <a:pt x="130" y="2031"/>
                  <a:pt x="130" y="2031"/>
                </a:cubicBezTo>
                <a:cubicBezTo>
                  <a:pt x="130" y="2032"/>
                  <a:pt x="131" y="2032"/>
                  <a:pt x="131" y="2032"/>
                </a:cubicBezTo>
                <a:cubicBezTo>
                  <a:pt x="132" y="2032"/>
                  <a:pt x="132" y="2032"/>
                  <a:pt x="134" y="2031"/>
                </a:cubicBezTo>
                <a:close/>
                <a:moveTo>
                  <a:pt x="115" y="2021"/>
                </a:moveTo>
                <a:cubicBezTo>
                  <a:pt x="108" y="2021"/>
                  <a:pt x="105" y="2023"/>
                  <a:pt x="104" y="2031"/>
                </a:cubicBezTo>
                <a:cubicBezTo>
                  <a:pt x="105" y="2029"/>
                  <a:pt x="106" y="2026"/>
                  <a:pt x="108" y="2024"/>
                </a:cubicBezTo>
                <a:cubicBezTo>
                  <a:pt x="108" y="2024"/>
                  <a:pt x="108" y="2024"/>
                  <a:pt x="108" y="2024"/>
                </a:cubicBezTo>
                <a:cubicBezTo>
                  <a:pt x="108" y="2025"/>
                  <a:pt x="108" y="2026"/>
                  <a:pt x="108" y="2027"/>
                </a:cubicBezTo>
                <a:cubicBezTo>
                  <a:pt x="109" y="2024"/>
                  <a:pt x="111" y="2022"/>
                  <a:pt x="115" y="2021"/>
                </a:cubicBezTo>
                <a:close/>
                <a:moveTo>
                  <a:pt x="158" y="2023"/>
                </a:moveTo>
                <a:cubicBezTo>
                  <a:pt x="156" y="2024"/>
                  <a:pt x="154" y="2026"/>
                  <a:pt x="153" y="2027"/>
                </a:cubicBezTo>
                <a:cubicBezTo>
                  <a:pt x="155" y="2027"/>
                  <a:pt x="157" y="2026"/>
                  <a:pt x="158" y="2023"/>
                </a:cubicBezTo>
                <a:close/>
                <a:moveTo>
                  <a:pt x="125" y="2025"/>
                </a:moveTo>
                <a:cubicBezTo>
                  <a:pt x="126" y="2024"/>
                  <a:pt x="127" y="2022"/>
                  <a:pt x="128" y="2021"/>
                </a:cubicBezTo>
                <a:cubicBezTo>
                  <a:pt x="125" y="2022"/>
                  <a:pt x="125" y="2023"/>
                  <a:pt x="125" y="2025"/>
                </a:cubicBezTo>
                <a:close/>
                <a:moveTo>
                  <a:pt x="135" y="2046"/>
                </a:moveTo>
                <a:cubicBezTo>
                  <a:pt x="133" y="2047"/>
                  <a:pt x="132" y="2048"/>
                  <a:pt x="132" y="2049"/>
                </a:cubicBezTo>
                <a:cubicBezTo>
                  <a:pt x="133" y="2048"/>
                  <a:pt x="134" y="2047"/>
                  <a:pt x="135" y="2046"/>
                </a:cubicBezTo>
                <a:close/>
                <a:moveTo>
                  <a:pt x="134" y="2031"/>
                </a:moveTo>
                <a:cubicBezTo>
                  <a:pt x="133" y="2031"/>
                  <a:pt x="132" y="2030"/>
                  <a:pt x="132" y="2030"/>
                </a:cubicBezTo>
                <a:cubicBezTo>
                  <a:pt x="131" y="2030"/>
                  <a:pt x="130" y="2031"/>
                  <a:pt x="130" y="2031"/>
                </a:cubicBezTo>
                <a:cubicBezTo>
                  <a:pt x="130" y="2032"/>
                  <a:pt x="131" y="2032"/>
                  <a:pt x="131" y="2033"/>
                </a:cubicBezTo>
                <a:cubicBezTo>
                  <a:pt x="132" y="2032"/>
                  <a:pt x="133" y="2032"/>
                  <a:pt x="134" y="2031"/>
                </a:cubicBezTo>
                <a:close/>
                <a:moveTo>
                  <a:pt x="1764" y="2177"/>
                </a:moveTo>
                <a:cubicBezTo>
                  <a:pt x="1767" y="2158"/>
                  <a:pt x="1767" y="2158"/>
                  <a:pt x="1767" y="2158"/>
                </a:cubicBezTo>
                <a:cubicBezTo>
                  <a:pt x="1758" y="2158"/>
                  <a:pt x="1758" y="2158"/>
                  <a:pt x="1758" y="2158"/>
                </a:cubicBezTo>
                <a:cubicBezTo>
                  <a:pt x="1758" y="2146"/>
                  <a:pt x="1758" y="2146"/>
                  <a:pt x="1758" y="2146"/>
                </a:cubicBezTo>
                <a:cubicBezTo>
                  <a:pt x="1769" y="2146"/>
                  <a:pt x="1769" y="2146"/>
                  <a:pt x="1769" y="2146"/>
                </a:cubicBezTo>
                <a:cubicBezTo>
                  <a:pt x="1770" y="2135"/>
                  <a:pt x="1770" y="2135"/>
                  <a:pt x="1770" y="2135"/>
                </a:cubicBezTo>
                <a:cubicBezTo>
                  <a:pt x="1761" y="2135"/>
                  <a:pt x="1761" y="2135"/>
                  <a:pt x="1761" y="2135"/>
                </a:cubicBezTo>
                <a:cubicBezTo>
                  <a:pt x="1761" y="2123"/>
                  <a:pt x="1761" y="2123"/>
                  <a:pt x="1761" y="2123"/>
                </a:cubicBezTo>
                <a:cubicBezTo>
                  <a:pt x="1772" y="2123"/>
                  <a:pt x="1772" y="2123"/>
                  <a:pt x="1772" y="2123"/>
                </a:cubicBezTo>
                <a:cubicBezTo>
                  <a:pt x="1775" y="2105"/>
                  <a:pt x="1775" y="2105"/>
                  <a:pt x="1775" y="2105"/>
                </a:cubicBezTo>
                <a:cubicBezTo>
                  <a:pt x="1786" y="2105"/>
                  <a:pt x="1786" y="2105"/>
                  <a:pt x="1786" y="2105"/>
                </a:cubicBezTo>
                <a:cubicBezTo>
                  <a:pt x="1783" y="2123"/>
                  <a:pt x="1783" y="2123"/>
                  <a:pt x="1783" y="2123"/>
                </a:cubicBezTo>
                <a:cubicBezTo>
                  <a:pt x="1793" y="2123"/>
                  <a:pt x="1793" y="2123"/>
                  <a:pt x="1793" y="2123"/>
                </a:cubicBezTo>
                <a:cubicBezTo>
                  <a:pt x="1796" y="2105"/>
                  <a:pt x="1796" y="2105"/>
                  <a:pt x="1796" y="2105"/>
                </a:cubicBezTo>
                <a:cubicBezTo>
                  <a:pt x="1807" y="2105"/>
                  <a:pt x="1807" y="2105"/>
                  <a:pt x="1807" y="2105"/>
                </a:cubicBezTo>
                <a:cubicBezTo>
                  <a:pt x="1804" y="2123"/>
                  <a:pt x="1804" y="2123"/>
                  <a:pt x="1804" y="2123"/>
                </a:cubicBezTo>
                <a:cubicBezTo>
                  <a:pt x="1813" y="2123"/>
                  <a:pt x="1813" y="2123"/>
                  <a:pt x="1813" y="2123"/>
                </a:cubicBezTo>
                <a:cubicBezTo>
                  <a:pt x="1813" y="2135"/>
                  <a:pt x="1813" y="2135"/>
                  <a:pt x="1813" y="2135"/>
                </a:cubicBezTo>
                <a:cubicBezTo>
                  <a:pt x="1803" y="2135"/>
                  <a:pt x="1803" y="2135"/>
                  <a:pt x="1803" y="2135"/>
                </a:cubicBezTo>
                <a:cubicBezTo>
                  <a:pt x="1801" y="2146"/>
                  <a:pt x="1801" y="2146"/>
                  <a:pt x="1801" y="2146"/>
                </a:cubicBezTo>
                <a:cubicBezTo>
                  <a:pt x="1810" y="2146"/>
                  <a:pt x="1810" y="2146"/>
                  <a:pt x="1810" y="2146"/>
                </a:cubicBezTo>
                <a:cubicBezTo>
                  <a:pt x="1810" y="2158"/>
                  <a:pt x="1810" y="2158"/>
                  <a:pt x="1810" y="2158"/>
                </a:cubicBezTo>
                <a:cubicBezTo>
                  <a:pt x="1799" y="2158"/>
                  <a:pt x="1799" y="2158"/>
                  <a:pt x="1799" y="2158"/>
                </a:cubicBezTo>
                <a:cubicBezTo>
                  <a:pt x="1796" y="2177"/>
                  <a:pt x="1796" y="2177"/>
                  <a:pt x="1796" y="2177"/>
                </a:cubicBezTo>
                <a:cubicBezTo>
                  <a:pt x="1785" y="2177"/>
                  <a:pt x="1785" y="2177"/>
                  <a:pt x="1785" y="2177"/>
                </a:cubicBezTo>
                <a:cubicBezTo>
                  <a:pt x="1788" y="2158"/>
                  <a:pt x="1788" y="2158"/>
                  <a:pt x="1788" y="2158"/>
                </a:cubicBezTo>
                <a:cubicBezTo>
                  <a:pt x="1778" y="2158"/>
                  <a:pt x="1778" y="2158"/>
                  <a:pt x="1778" y="2158"/>
                </a:cubicBezTo>
                <a:cubicBezTo>
                  <a:pt x="1775" y="2177"/>
                  <a:pt x="1775" y="2177"/>
                  <a:pt x="1775" y="2177"/>
                </a:cubicBezTo>
                <a:cubicBezTo>
                  <a:pt x="1764" y="2177"/>
                  <a:pt x="1764" y="2177"/>
                  <a:pt x="1764" y="2177"/>
                </a:cubicBezTo>
                <a:cubicBezTo>
                  <a:pt x="1764" y="2177"/>
                  <a:pt x="1764" y="2177"/>
                  <a:pt x="1764" y="2177"/>
                </a:cubicBezTo>
                <a:close/>
                <a:moveTo>
                  <a:pt x="1790" y="2146"/>
                </a:moveTo>
                <a:cubicBezTo>
                  <a:pt x="1791" y="2135"/>
                  <a:pt x="1791" y="2135"/>
                  <a:pt x="1791" y="2135"/>
                </a:cubicBezTo>
                <a:cubicBezTo>
                  <a:pt x="1782" y="2135"/>
                  <a:pt x="1782" y="2135"/>
                  <a:pt x="1782" y="2135"/>
                </a:cubicBezTo>
                <a:cubicBezTo>
                  <a:pt x="1780" y="2146"/>
                  <a:pt x="1780" y="2146"/>
                  <a:pt x="1780" y="2146"/>
                </a:cubicBezTo>
                <a:cubicBezTo>
                  <a:pt x="1790" y="2146"/>
                  <a:pt x="1790" y="2146"/>
                  <a:pt x="1790" y="2146"/>
                </a:cubicBezTo>
                <a:cubicBezTo>
                  <a:pt x="1790" y="2146"/>
                  <a:pt x="1790" y="2146"/>
                  <a:pt x="1790" y="2146"/>
                </a:cubicBezTo>
                <a:close/>
                <a:moveTo>
                  <a:pt x="649" y="2151"/>
                </a:moveTo>
                <a:cubicBezTo>
                  <a:pt x="649" y="2153"/>
                  <a:pt x="650" y="2154"/>
                  <a:pt x="650" y="2155"/>
                </a:cubicBezTo>
                <a:cubicBezTo>
                  <a:pt x="651" y="2157"/>
                  <a:pt x="651" y="2159"/>
                  <a:pt x="652" y="2161"/>
                </a:cubicBezTo>
                <a:cubicBezTo>
                  <a:pt x="652" y="2162"/>
                  <a:pt x="652" y="2164"/>
                  <a:pt x="652" y="2165"/>
                </a:cubicBezTo>
                <a:cubicBezTo>
                  <a:pt x="653" y="2168"/>
                  <a:pt x="652" y="2170"/>
                  <a:pt x="648" y="2170"/>
                </a:cubicBezTo>
                <a:cubicBezTo>
                  <a:pt x="646" y="2170"/>
                  <a:pt x="643" y="2170"/>
                  <a:pt x="640" y="2170"/>
                </a:cubicBezTo>
                <a:cubicBezTo>
                  <a:pt x="640" y="2170"/>
                  <a:pt x="639" y="2170"/>
                  <a:pt x="639" y="2170"/>
                </a:cubicBezTo>
                <a:cubicBezTo>
                  <a:pt x="637" y="2172"/>
                  <a:pt x="635" y="2173"/>
                  <a:pt x="634" y="2174"/>
                </a:cubicBezTo>
                <a:cubicBezTo>
                  <a:pt x="632" y="2177"/>
                  <a:pt x="629" y="2177"/>
                  <a:pt x="627" y="2175"/>
                </a:cubicBezTo>
                <a:cubicBezTo>
                  <a:pt x="625" y="2173"/>
                  <a:pt x="624" y="2170"/>
                  <a:pt x="622" y="2168"/>
                </a:cubicBezTo>
                <a:cubicBezTo>
                  <a:pt x="621" y="2166"/>
                  <a:pt x="622" y="2164"/>
                  <a:pt x="624" y="2163"/>
                </a:cubicBezTo>
                <a:cubicBezTo>
                  <a:pt x="621" y="2163"/>
                  <a:pt x="620" y="2163"/>
                  <a:pt x="618" y="2163"/>
                </a:cubicBezTo>
                <a:cubicBezTo>
                  <a:pt x="617" y="2165"/>
                  <a:pt x="616" y="2167"/>
                  <a:pt x="615" y="2169"/>
                </a:cubicBezTo>
                <a:cubicBezTo>
                  <a:pt x="615" y="2170"/>
                  <a:pt x="615" y="2170"/>
                  <a:pt x="615" y="2171"/>
                </a:cubicBezTo>
                <a:cubicBezTo>
                  <a:pt x="615" y="2174"/>
                  <a:pt x="614" y="2176"/>
                  <a:pt x="611" y="2175"/>
                </a:cubicBezTo>
                <a:cubicBezTo>
                  <a:pt x="608" y="2175"/>
                  <a:pt x="605" y="2174"/>
                  <a:pt x="602" y="2173"/>
                </a:cubicBezTo>
                <a:cubicBezTo>
                  <a:pt x="600" y="2172"/>
                  <a:pt x="599" y="2171"/>
                  <a:pt x="600" y="2169"/>
                </a:cubicBezTo>
                <a:cubicBezTo>
                  <a:pt x="600" y="2168"/>
                  <a:pt x="600" y="2167"/>
                  <a:pt x="601" y="2167"/>
                </a:cubicBezTo>
                <a:cubicBezTo>
                  <a:pt x="598" y="2166"/>
                  <a:pt x="596" y="2165"/>
                  <a:pt x="594" y="2164"/>
                </a:cubicBezTo>
                <a:cubicBezTo>
                  <a:pt x="593" y="2163"/>
                  <a:pt x="592" y="2161"/>
                  <a:pt x="591" y="2159"/>
                </a:cubicBezTo>
                <a:cubicBezTo>
                  <a:pt x="590" y="2157"/>
                  <a:pt x="590" y="2156"/>
                  <a:pt x="592" y="2154"/>
                </a:cubicBezTo>
                <a:cubicBezTo>
                  <a:pt x="595" y="2152"/>
                  <a:pt x="596" y="2149"/>
                  <a:pt x="595" y="2145"/>
                </a:cubicBezTo>
                <a:cubicBezTo>
                  <a:pt x="595" y="2143"/>
                  <a:pt x="595" y="2141"/>
                  <a:pt x="595" y="2139"/>
                </a:cubicBezTo>
                <a:cubicBezTo>
                  <a:pt x="594" y="2138"/>
                  <a:pt x="592" y="2138"/>
                  <a:pt x="591" y="2137"/>
                </a:cubicBezTo>
                <a:cubicBezTo>
                  <a:pt x="590" y="2135"/>
                  <a:pt x="589" y="2133"/>
                  <a:pt x="589" y="2131"/>
                </a:cubicBezTo>
                <a:cubicBezTo>
                  <a:pt x="589" y="2128"/>
                  <a:pt x="592" y="2126"/>
                  <a:pt x="595" y="2125"/>
                </a:cubicBezTo>
                <a:cubicBezTo>
                  <a:pt x="595" y="2126"/>
                  <a:pt x="595" y="2126"/>
                  <a:pt x="596" y="2127"/>
                </a:cubicBezTo>
                <a:cubicBezTo>
                  <a:pt x="596" y="2128"/>
                  <a:pt x="596" y="2129"/>
                  <a:pt x="596" y="2130"/>
                </a:cubicBezTo>
                <a:cubicBezTo>
                  <a:pt x="595" y="2130"/>
                  <a:pt x="595" y="2130"/>
                  <a:pt x="595" y="2130"/>
                </a:cubicBezTo>
                <a:cubicBezTo>
                  <a:pt x="594" y="2131"/>
                  <a:pt x="594" y="2132"/>
                  <a:pt x="593" y="2134"/>
                </a:cubicBezTo>
                <a:cubicBezTo>
                  <a:pt x="594" y="2134"/>
                  <a:pt x="595" y="2134"/>
                  <a:pt x="595" y="2134"/>
                </a:cubicBezTo>
                <a:cubicBezTo>
                  <a:pt x="597" y="2132"/>
                  <a:pt x="597" y="2132"/>
                  <a:pt x="598" y="2130"/>
                </a:cubicBezTo>
                <a:cubicBezTo>
                  <a:pt x="603" y="2124"/>
                  <a:pt x="608" y="2120"/>
                  <a:pt x="616" y="2118"/>
                </a:cubicBezTo>
                <a:cubicBezTo>
                  <a:pt x="619" y="2118"/>
                  <a:pt x="623" y="2117"/>
                  <a:pt x="625" y="2114"/>
                </a:cubicBezTo>
                <a:cubicBezTo>
                  <a:pt x="625" y="2113"/>
                  <a:pt x="626" y="2113"/>
                  <a:pt x="626" y="2113"/>
                </a:cubicBezTo>
                <a:cubicBezTo>
                  <a:pt x="629" y="2113"/>
                  <a:pt x="630" y="2110"/>
                  <a:pt x="632" y="2108"/>
                </a:cubicBezTo>
                <a:cubicBezTo>
                  <a:pt x="640" y="2101"/>
                  <a:pt x="652" y="2100"/>
                  <a:pt x="659" y="2107"/>
                </a:cubicBezTo>
                <a:cubicBezTo>
                  <a:pt x="662" y="2109"/>
                  <a:pt x="665" y="2111"/>
                  <a:pt x="667" y="2113"/>
                </a:cubicBezTo>
                <a:cubicBezTo>
                  <a:pt x="668" y="2114"/>
                  <a:pt x="670" y="2116"/>
                  <a:pt x="671" y="2118"/>
                </a:cubicBezTo>
                <a:cubicBezTo>
                  <a:pt x="672" y="2119"/>
                  <a:pt x="672" y="2119"/>
                  <a:pt x="674" y="2118"/>
                </a:cubicBezTo>
                <a:cubicBezTo>
                  <a:pt x="674" y="2118"/>
                  <a:pt x="675" y="2117"/>
                  <a:pt x="676" y="2116"/>
                </a:cubicBezTo>
                <a:cubicBezTo>
                  <a:pt x="678" y="2113"/>
                  <a:pt x="681" y="2113"/>
                  <a:pt x="682" y="2117"/>
                </a:cubicBezTo>
                <a:cubicBezTo>
                  <a:pt x="683" y="2120"/>
                  <a:pt x="684" y="2123"/>
                  <a:pt x="685" y="2126"/>
                </a:cubicBezTo>
                <a:cubicBezTo>
                  <a:pt x="685" y="2130"/>
                  <a:pt x="685" y="2134"/>
                  <a:pt x="683" y="2139"/>
                </a:cubicBezTo>
                <a:cubicBezTo>
                  <a:pt x="681" y="2145"/>
                  <a:pt x="676" y="2149"/>
                  <a:pt x="670" y="2149"/>
                </a:cubicBezTo>
                <a:cubicBezTo>
                  <a:pt x="669" y="2149"/>
                  <a:pt x="668" y="2149"/>
                  <a:pt x="668" y="2149"/>
                </a:cubicBezTo>
                <a:cubicBezTo>
                  <a:pt x="665" y="2148"/>
                  <a:pt x="664" y="2149"/>
                  <a:pt x="663" y="2151"/>
                </a:cubicBezTo>
                <a:cubicBezTo>
                  <a:pt x="662" y="2155"/>
                  <a:pt x="656" y="2157"/>
                  <a:pt x="653" y="2154"/>
                </a:cubicBezTo>
                <a:cubicBezTo>
                  <a:pt x="652" y="2153"/>
                  <a:pt x="651" y="2152"/>
                  <a:pt x="650" y="2151"/>
                </a:cubicBezTo>
                <a:cubicBezTo>
                  <a:pt x="649" y="2151"/>
                  <a:pt x="649" y="2151"/>
                  <a:pt x="649" y="2151"/>
                </a:cubicBezTo>
                <a:close/>
                <a:moveTo>
                  <a:pt x="643" y="2147"/>
                </a:moveTo>
                <a:cubicBezTo>
                  <a:pt x="647" y="2148"/>
                  <a:pt x="650" y="2149"/>
                  <a:pt x="653" y="2152"/>
                </a:cubicBezTo>
                <a:cubicBezTo>
                  <a:pt x="655" y="2154"/>
                  <a:pt x="657" y="2155"/>
                  <a:pt x="659" y="2154"/>
                </a:cubicBezTo>
                <a:cubicBezTo>
                  <a:pt x="661" y="2153"/>
                  <a:pt x="663" y="2151"/>
                  <a:pt x="663" y="2148"/>
                </a:cubicBezTo>
                <a:cubicBezTo>
                  <a:pt x="663" y="2148"/>
                  <a:pt x="662" y="2148"/>
                  <a:pt x="662" y="2149"/>
                </a:cubicBezTo>
                <a:cubicBezTo>
                  <a:pt x="661" y="2150"/>
                  <a:pt x="660" y="2151"/>
                  <a:pt x="659" y="2152"/>
                </a:cubicBezTo>
                <a:cubicBezTo>
                  <a:pt x="658" y="2153"/>
                  <a:pt x="657" y="2153"/>
                  <a:pt x="656" y="2153"/>
                </a:cubicBezTo>
                <a:cubicBezTo>
                  <a:pt x="655" y="2153"/>
                  <a:pt x="655" y="2151"/>
                  <a:pt x="655" y="2151"/>
                </a:cubicBezTo>
                <a:cubicBezTo>
                  <a:pt x="655" y="2148"/>
                  <a:pt x="655" y="2146"/>
                  <a:pt x="656" y="2144"/>
                </a:cubicBezTo>
                <a:cubicBezTo>
                  <a:pt x="659" y="2145"/>
                  <a:pt x="662" y="2146"/>
                  <a:pt x="666" y="2147"/>
                </a:cubicBezTo>
                <a:cubicBezTo>
                  <a:pt x="673" y="2148"/>
                  <a:pt x="679" y="2146"/>
                  <a:pt x="682" y="2138"/>
                </a:cubicBezTo>
                <a:cubicBezTo>
                  <a:pt x="684" y="2133"/>
                  <a:pt x="683" y="2128"/>
                  <a:pt x="683" y="2123"/>
                </a:cubicBezTo>
                <a:cubicBezTo>
                  <a:pt x="682" y="2121"/>
                  <a:pt x="681" y="2119"/>
                  <a:pt x="681" y="2117"/>
                </a:cubicBezTo>
                <a:cubicBezTo>
                  <a:pt x="680" y="2116"/>
                  <a:pt x="679" y="2115"/>
                  <a:pt x="677" y="2117"/>
                </a:cubicBezTo>
                <a:cubicBezTo>
                  <a:pt x="676" y="2119"/>
                  <a:pt x="674" y="2120"/>
                  <a:pt x="672" y="2121"/>
                </a:cubicBezTo>
                <a:cubicBezTo>
                  <a:pt x="672" y="2121"/>
                  <a:pt x="671" y="2122"/>
                  <a:pt x="671" y="2123"/>
                </a:cubicBezTo>
                <a:cubicBezTo>
                  <a:pt x="672" y="2126"/>
                  <a:pt x="671" y="2130"/>
                  <a:pt x="670" y="2133"/>
                </a:cubicBezTo>
                <a:cubicBezTo>
                  <a:pt x="670" y="2131"/>
                  <a:pt x="670" y="2129"/>
                  <a:pt x="670" y="2127"/>
                </a:cubicBezTo>
                <a:cubicBezTo>
                  <a:pt x="670" y="2126"/>
                  <a:pt x="670" y="2126"/>
                  <a:pt x="670" y="2126"/>
                </a:cubicBezTo>
                <a:cubicBezTo>
                  <a:pt x="669" y="2126"/>
                  <a:pt x="668" y="2126"/>
                  <a:pt x="668" y="2126"/>
                </a:cubicBezTo>
                <a:cubicBezTo>
                  <a:pt x="668" y="2128"/>
                  <a:pt x="667" y="2129"/>
                  <a:pt x="666" y="2130"/>
                </a:cubicBezTo>
                <a:cubicBezTo>
                  <a:pt x="666" y="2130"/>
                  <a:pt x="666" y="2130"/>
                  <a:pt x="666" y="2130"/>
                </a:cubicBezTo>
                <a:cubicBezTo>
                  <a:pt x="666" y="2129"/>
                  <a:pt x="666" y="2127"/>
                  <a:pt x="667" y="2125"/>
                </a:cubicBezTo>
                <a:cubicBezTo>
                  <a:pt x="666" y="2126"/>
                  <a:pt x="665" y="2126"/>
                  <a:pt x="665" y="2127"/>
                </a:cubicBezTo>
                <a:cubicBezTo>
                  <a:pt x="664" y="2127"/>
                  <a:pt x="664" y="2128"/>
                  <a:pt x="663" y="2129"/>
                </a:cubicBezTo>
                <a:cubicBezTo>
                  <a:pt x="664" y="2125"/>
                  <a:pt x="664" y="2125"/>
                  <a:pt x="670" y="2124"/>
                </a:cubicBezTo>
                <a:cubicBezTo>
                  <a:pt x="670" y="2124"/>
                  <a:pt x="669" y="2123"/>
                  <a:pt x="669" y="2123"/>
                </a:cubicBezTo>
                <a:cubicBezTo>
                  <a:pt x="666" y="2124"/>
                  <a:pt x="665" y="2122"/>
                  <a:pt x="665" y="2120"/>
                </a:cubicBezTo>
                <a:cubicBezTo>
                  <a:pt x="666" y="2119"/>
                  <a:pt x="668" y="2119"/>
                  <a:pt x="670" y="2119"/>
                </a:cubicBezTo>
                <a:cubicBezTo>
                  <a:pt x="668" y="2116"/>
                  <a:pt x="666" y="2113"/>
                  <a:pt x="663" y="2113"/>
                </a:cubicBezTo>
                <a:cubicBezTo>
                  <a:pt x="663" y="2113"/>
                  <a:pt x="663" y="2113"/>
                  <a:pt x="663" y="2112"/>
                </a:cubicBezTo>
                <a:cubicBezTo>
                  <a:pt x="660" y="2110"/>
                  <a:pt x="658" y="2108"/>
                  <a:pt x="655" y="2106"/>
                </a:cubicBezTo>
                <a:cubicBezTo>
                  <a:pt x="653" y="2105"/>
                  <a:pt x="650" y="2104"/>
                  <a:pt x="648" y="2104"/>
                </a:cubicBezTo>
                <a:cubicBezTo>
                  <a:pt x="645" y="2104"/>
                  <a:pt x="641" y="2106"/>
                  <a:pt x="638" y="2106"/>
                </a:cubicBezTo>
                <a:cubicBezTo>
                  <a:pt x="635" y="2107"/>
                  <a:pt x="633" y="2109"/>
                  <a:pt x="631" y="2112"/>
                </a:cubicBezTo>
                <a:cubicBezTo>
                  <a:pt x="633" y="2112"/>
                  <a:pt x="634" y="2112"/>
                  <a:pt x="635" y="2112"/>
                </a:cubicBezTo>
                <a:cubicBezTo>
                  <a:pt x="635" y="2113"/>
                  <a:pt x="634" y="2113"/>
                  <a:pt x="633" y="2113"/>
                </a:cubicBezTo>
                <a:cubicBezTo>
                  <a:pt x="631" y="2114"/>
                  <a:pt x="628" y="2113"/>
                  <a:pt x="626" y="2115"/>
                </a:cubicBezTo>
                <a:cubicBezTo>
                  <a:pt x="623" y="2119"/>
                  <a:pt x="619" y="2123"/>
                  <a:pt x="615" y="2127"/>
                </a:cubicBezTo>
                <a:cubicBezTo>
                  <a:pt x="614" y="2129"/>
                  <a:pt x="613" y="2132"/>
                  <a:pt x="612" y="2134"/>
                </a:cubicBezTo>
                <a:cubicBezTo>
                  <a:pt x="612" y="2134"/>
                  <a:pt x="612" y="2135"/>
                  <a:pt x="612" y="2136"/>
                </a:cubicBezTo>
                <a:cubicBezTo>
                  <a:pt x="613" y="2138"/>
                  <a:pt x="614" y="2140"/>
                  <a:pt x="616" y="2142"/>
                </a:cubicBezTo>
                <a:cubicBezTo>
                  <a:pt x="617" y="2140"/>
                  <a:pt x="618" y="2138"/>
                  <a:pt x="619" y="2137"/>
                </a:cubicBezTo>
                <a:cubicBezTo>
                  <a:pt x="619" y="2138"/>
                  <a:pt x="619" y="2140"/>
                  <a:pt x="618" y="2141"/>
                </a:cubicBezTo>
                <a:cubicBezTo>
                  <a:pt x="617" y="2142"/>
                  <a:pt x="616" y="2144"/>
                  <a:pt x="616" y="2145"/>
                </a:cubicBezTo>
                <a:cubicBezTo>
                  <a:pt x="615" y="2146"/>
                  <a:pt x="616" y="2147"/>
                  <a:pt x="616" y="2148"/>
                </a:cubicBezTo>
                <a:cubicBezTo>
                  <a:pt x="619" y="2151"/>
                  <a:pt x="622" y="2151"/>
                  <a:pt x="626" y="2149"/>
                </a:cubicBezTo>
                <a:cubicBezTo>
                  <a:pt x="628" y="2148"/>
                  <a:pt x="631" y="2147"/>
                  <a:pt x="634" y="2146"/>
                </a:cubicBezTo>
                <a:cubicBezTo>
                  <a:pt x="635" y="2145"/>
                  <a:pt x="636" y="2145"/>
                  <a:pt x="636" y="2143"/>
                </a:cubicBezTo>
                <a:cubicBezTo>
                  <a:pt x="636" y="2140"/>
                  <a:pt x="636" y="2136"/>
                  <a:pt x="636" y="2133"/>
                </a:cubicBezTo>
                <a:cubicBezTo>
                  <a:pt x="636" y="2130"/>
                  <a:pt x="636" y="2127"/>
                  <a:pt x="636" y="2124"/>
                </a:cubicBezTo>
                <a:cubicBezTo>
                  <a:pt x="637" y="2127"/>
                  <a:pt x="637" y="2130"/>
                  <a:pt x="638" y="2132"/>
                </a:cubicBezTo>
                <a:cubicBezTo>
                  <a:pt x="639" y="2137"/>
                  <a:pt x="639" y="2141"/>
                  <a:pt x="637" y="2145"/>
                </a:cubicBezTo>
                <a:cubicBezTo>
                  <a:pt x="637" y="2146"/>
                  <a:pt x="636" y="2147"/>
                  <a:pt x="636" y="2147"/>
                </a:cubicBezTo>
                <a:cubicBezTo>
                  <a:pt x="632" y="2147"/>
                  <a:pt x="629" y="2149"/>
                  <a:pt x="626" y="2151"/>
                </a:cubicBezTo>
                <a:cubicBezTo>
                  <a:pt x="621" y="2154"/>
                  <a:pt x="617" y="2152"/>
                  <a:pt x="614" y="2148"/>
                </a:cubicBezTo>
                <a:cubicBezTo>
                  <a:pt x="614" y="2148"/>
                  <a:pt x="614" y="2147"/>
                  <a:pt x="614" y="2146"/>
                </a:cubicBezTo>
                <a:cubicBezTo>
                  <a:pt x="615" y="2144"/>
                  <a:pt x="614" y="2142"/>
                  <a:pt x="612" y="2140"/>
                </a:cubicBezTo>
                <a:cubicBezTo>
                  <a:pt x="611" y="2138"/>
                  <a:pt x="609" y="2136"/>
                  <a:pt x="610" y="2133"/>
                </a:cubicBezTo>
                <a:cubicBezTo>
                  <a:pt x="611" y="2131"/>
                  <a:pt x="612" y="2129"/>
                  <a:pt x="613" y="2128"/>
                </a:cubicBezTo>
                <a:cubicBezTo>
                  <a:pt x="615" y="2125"/>
                  <a:pt x="617" y="2123"/>
                  <a:pt x="619" y="2120"/>
                </a:cubicBezTo>
                <a:cubicBezTo>
                  <a:pt x="619" y="2120"/>
                  <a:pt x="618" y="2120"/>
                  <a:pt x="618" y="2120"/>
                </a:cubicBezTo>
                <a:cubicBezTo>
                  <a:pt x="613" y="2121"/>
                  <a:pt x="608" y="2123"/>
                  <a:pt x="605" y="2126"/>
                </a:cubicBezTo>
                <a:cubicBezTo>
                  <a:pt x="600" y="2130"/>
                  <a:pt x="597" y="2135"/>
                  <a:pt x="597" y="2142"/>
                </a:cubicBezTo>
                <a:cubicBezTo>
                  <a:pt x="596" y="2149"/>
                  <a:pt x="599" y="2155"/>
                  <a:pt x="602" y="2161"/>
                </a:cubicBezTo>
                <a:cubicBezTo>
                  <a:pt x="603" y="2161"/>
                  <a:pt x="603" y="2163"/>
                  <a:pt x="603" y="2164"/>
                </a:cubicBezTo>
                <a:cubicBezTo>
                  <a:pt x="603" y="2166"/>
                  <a:pt x="603" y="2167"/>
                  <a:pt x="602" y="2168"/>
                </a:cubicBezTo>
                <a:cubicBezTo>
                  <a:pt x="601" y="2170"/>
                  <a:pt x="602" y="2171"/>
                  <a:pt x="603" y="2172"/>
                </a:cubicBezTo>
                <a:cubicBezTo>
                  <a:pt x="606" y="2172"/>
                  <a:pt x="609" y="2173"/>
                  <a:pt x="612" y="2173"/>
                </a:cubicBezTo>
                <a:cubicBezTo>
                  <a:pt x="612" y="2173"/>
                  <a:pt x="613" y="2172"/>
                  <a:pt x="613" y="2172"/>
                </a:cubicBezTo>
                <a:cubicBezTo>
                  <a:pt x="614" y="2171"/>
                  <a:pt x="614" y="2169"/>
                  <a:pt x="614" y="2168"/>
                </a:cubicBezTo>
                <a:cubicBezTo>
                  <a:pt x="616" y="2166"/>
                  <a:pt x="616" y="2163"/>
                  <a:pt x="616" y="2161"/>
                </a:cubicBezTo>
                <a:cubicBezTo>
                  <a:pt x="616" y="2160"/>
                  <a:pt x="616" y="2160"/>
                  <a:pt x="616" y="2159"/>
                </a:cubicBezTo>
                <a:cubicBezTo>
                  <a:pt x="616" y="2159"/>
                  <a:pt x="616" y="2159"/>
                  <a:pt x="616" y="2159"/>
                </a:cubicBezTo>
                <a:cubicBezTo>
                  <a:pt x="617" y="2161"/>
                  <a:pt x="618" y="2161"/>
                  <a:pt x="620" y="2161"/>
                </a:cubicBezTo>
                <a:cubicBezTo>
                  <a:pt x="621" y="2161"/>
                  <a:pt x="622" y="2161"/>
                  <a:pt x="623" y="2161"/>
                </a:cubicBezTo>
                <a:cubicBezTo>
                  <a:pt x="625" y="2161"/>
                  <a:pt x="628" y="2162"/>
                  <a:pt x="629" y="2158"/>
                </a:cubicBezTo>
                <a:cubicBezTo>
                  <a:pt x="629" y="2160"/>
                  <a:pt x="629" y="2162"/>
                  <a:pt x="629" y="2163"/>
                </a:cubicBezTo>
                <a:cubicBezTo>
                  <a:pt x="628" y="2163"/>
                  <a:pt x="626" y="2164"/>
                  <a:pt x="625" y="2164"/>
                </a:cubicBezTo>
                <a:cubicBezTo>
                  <a:pt x="624" y="2165"/>
                  <a:pt x="623" y="2167"/>
                  <a:pt x="624" y="2168"/>
                </a:cubicBezTo>
                <a:cubicBezTo>
                  <a:pt x="625" y="2170"/>
                  <a:pt x="626" y="2172"/>
                  <a:pt x="628" y="2174"/>
                </a:cubicBezTo>
                <a:cubicBezTo>
                  <a:pt x="630" y="2175"/>
                  <a:pt x="632" y="2175"/>
                  <a:pt x="633" y="2173"/>
                </a:cubicBezTo>
                <a:cubicBezTo>
                  <a:pt x="634" y="2172"/>
                  <a:pt x="634" y="2172"/>
                  <a:pt x="635" y="2171"/>
                </a:cubicBezTo>
                <a:cubicBezTo>
                  <a:pt x="637" y="2170"/>
                  <a:pt x="638" y="2168"/>
                  <a:pt x="640" y="2167"/>
                </a:cubicBezTo>
                <a:cubicBezTo>
                  <a:pt x="644" y="2163"/>
                  <a:pt x="646" y="2157"/>
                  <a:pt x="648" y="2151"/>
                </a:cubicBezTo>
                <a:cubicBezTo>
                  <a:pt x="648" y="2151"/>
                  <a:pt x="647" y="2150"/>
                  <a:pt x="646" y="2149"/>
                </a:cubicBezTo>
                <a:cubicBezTo>
                  <a:pt x="646" y="2148"/>
                  <a:pt x="645" y="2147"/>
                  <a:pt x="643" y="2147"/>
                </a:cubicBezTo>
                <a:close/>
                <a:moveTo>
                  <a:pt x="596" y="2153"/>
                </a:moveTo>
                <a:cubicBezTo>
                  <a:pt x="595" y="2154"/>
                  <a:pt x="594" y="2155"/>
                  <a:pt x="593" y="2156"/>
                </a:cubicBezTo>
                <a:cubicBezTo>
                  <a:pt x="592" y="2156"/>
                  <a:pt x="592" y="2157"/>
                  <a:pt x="592" y="2158"/>
                </a:cubicBezTo>
                <a:cubicBezTo>
                  <a:pt x="592" y="2161"/>
                  <a:pt x="596" y="2165"/>
                  <a:pt x="599" y="2164"/>
                </a:cubicBezTo>
                <a:cubicBezTo>
                  <a:pt x="601" y="2164"/>
                  <a:pt x="602" y="2163"/>
                  <a:pt x="601" y="2162"/>
                </a:cubicBezTo>
                <a:cubicBezTo>
                  <a:pt x="599" y="2159"/>
                  <a:pt x="598" y="2156"/>
                  <a:pt x="596" y="2153"/>
                </a:cubicBezTo>
                <a:close/>
                <a:moveTo>
                  <a:pt x="649" y="2155"/>
                </a:moveTo>
                <a:cubicBezTo>
                  <a:pt x="646" y="2160"/>
                  <a:pt x="644" y="2164"/>
                  <a:pt x="642" y="2168"/>
                </a:cubicBezTo>
                <a:cubicBezTo>
                  <a:pt x="645" y="2168"/>
                  <a:pt x="647" y="2169"/>
                  <a:pt x="650" y="2168"/>
                </a:cubicBezTo>
                <a:cubicBezTo>
                  <a:pt x="650" y="2168"/>
                  <a:pt x="650" y="2167"/>
                  <a:pt x="650" y="2167"/>
                </a:cubicBezTo>
                <a:cubicBezTo>
                  <a:pt x="650" y="2164"/>
                  <a:pt x="650" y="2162"/>
                  <a:pt x="650" y="2159"/>
                </a:cubicBezTo>
                <a:cubicBezTo>
                  <a:pt x="650" y="2158"/>
                  <a:pt x="649" y="2157"/>
                  <a:pt x="649" y="2155"/>
                </a:cubicBezTo>
                <a:close/>
                <a:moveTo>
                  <a:pt x="596" y="2135"/>
                </a:moveTo>
                <a:cubicBezTo>
                  <a:pt x="595" y="2135"/>
                  <a:pt x="595" y="2136"/>
                  <a:pt x="594" y="2136"/>
                </a:cubicBezTo>
                <a:cubicBezTo>
                  <a:pt x="594" y="2136"/>
                  <a:pt x="593" y="2136"/>
                  <a:pt x="593" y="2135"/>
                </a:cubicBezTo>
                <a:cubicBezTo>
                  <a:pt x="592" y="2135"/>
                  <a:pt x="592" y="2134"/>
                  <a:pt x="592" y="2133"/>
                </a:cubicBezTo>
                <a:cubicBezTo>
                  <a:pt x="593" y="2131"/>
                  <a:pt x="593" y="2129"/>
                  <a:pt x="594" y="2127"/>
                </a:cubicBezTo>
                <a:cubicBezTo>
                  <a:pt x="594" y="2127"/>
                  <a:pt x="594" y="2127"/>
                  <a:pt x="593" y="2127"/>
                </a:cubicBezTo>
                <a:cubicBezTo>
                  <a:pt x="592" y="2128"/>
                  <a:pt x="591" y="2129"/>
                  <a:pt x="590" y="2130"/>
                </a:cubicBezTo>
                <a:cubicBezTo>
                  <a:pt x="590" y="2131"/>
                  <a:pt x="591" y="2136"/>
                  <a:pt x="593" y="2137"/>
                </a:cubicBezTo>
                <a:cubicBezTo>
                  <a:pt x="594" y="2138"/>
                  <a:pt x="596" y="2137"/>
                  <a:pt x="596" y="2135"/>
                </a:cubicBezTo>
                <a:close/>
                <a:moveTo>
                  <a:pt x="596" y="2153"/>
                </a:moveTo>
                <a:cubicBezTo>
                  <a:pt x="595" y="2154"/>
                  <a:pt x="594" y="2155"/>
                  <a:pt x="592" y="2156"/>
                </a:cubicBezTo>
                <a:cubicBezTo>
                  <a:pt x="592" y="2156"/>
                  <a:pt x="592" y="2157"/>
                  <a:pt x="592" y="2158"/>
                </a:cubicBezTo>
                <a:cubicBezTo>
                  <a:pt x="592" y="2160"/>
                  <a:pt x="596" y="2165"/>
                  <a:pt x="599" y="2164"/>
                </a:cubicBezTo>
                <a:cubicBezTo>
                  <a:pt x="601" y="2164"/>
                  <a:pt x="602" y="2163"/>
                  <a:pt x="601" y="2162"/>
                </a:cubicBezTo>
                <a:cubicBezTo>
                  <a:pt x="599" y="2159"/>
                  <a:pt x="598" y="2156"/>
                  <a:pt x="596" y="2153"/>
                </a:cubicBezTo>
                <a:close/>
                <a:moveTo>
                  <a:pt x="649" y="2155"/>
                </a:moveTo>
                <a:cubicBezTo>
                  <a:pt x="646" y="2160"/>
                  <a:pt x="644" y="2164"/>
                  <a:pt x="642" y="2169"/>
                </a:cubicBezTo>
                <a:cubicBezTo>
                  <a:pt x="644" y="2169"/>
                  <a:pt x="647" y="2169"/>
                  <a:pt x="649" y="2169"/>
                </a:cubicBezTo>
                <a:cubicBezTo>
                  <a:pt x="650" y="2169"/>
                  <a:pt x="650" y="2167"/>
                  <a:pt x="650" y="2167"/>
                </a:cubicBezTo>
                <a:cubicBezTo>
                  <a:pt x="650" y="2164"/>
                  <a:pt x="650" y="2162"/>
                  <a:pt x="650" y="2159"/>
                </a:cubicBezTo>
                <a:cubicBezTo>
                  <a:pt x="649" y="2158"/>
                  <a:pt x="649" y="2157"/>
                  <a:pt x="649" y="2155"/>
                </a:cubicBezTo>
                <a:close/>
                <a:moveTo>
                  <a:pt x="596" y="2135"/>
                </a:moveTo>
                <a:cubicBezTo>
                  <a:pt x="595" y="2135"/>
                  <a:pt x="595" y="2135"/>
                  <a:pt x="594" y="2135"/>
                </a:cubicBezTo>
                <a:cubicBezTo>
                  <a:pt x="593" y="2135"/>
                  <a:pt x="593" y="2135"/>
                  <a:pt x="593" y="2135"/>
                </a:cubicBezTo>
                <a:cubicBezTo>
                  <a:pt x="592" y="2135"/>
                  <a:pt x="592" y="2134"/>
                  <a:pt x="592" y="2133"/>
                </a:cubicBezTo>
                <a:cubicBezTo>
                  <a:pt x="593" y="2131"/>
                  <a:pt x="593" y="2129"/>
                  <a:pt x="594" y="2127"/>
                </a:cubicBezTo>
                <a:cubicBezTo>
                  <a:pt x="593" y="2127"/>
                  <a:pt x="593" y="2127"/>
                  <a:pt x="593" y="2127"/>
                </a:cubicBezTo>
                <a:cubicBezTo>
                  <a:pt x="592" y="2128"/>
                  <a:pt x="591" y="2129"/>
                  <a:pt x="591" y="2130"/>
                </a:cubicBezTo>
                <a:cubicBezTo>
                  <a:pt x="590" y="2131"/>
                  <a:pt x="591" y="2136"/>
                  <a:pt x="593" y="2137"/>
                </a:cubicBezTo>
                <a:cubicBezTo>
                  <a:pt x="594" y="2138"/>
                  <a:pt x="596" y="2137"/>
                  <a:pt x="596" y="2135"/>
                </a:cubicBezTo>
                <a:close/>
                <a:moveTo>
                  <a:pt x="648" y="2126"/>
                </a:moveTo>
                <a:cubicBezTo>
                  <a:pt x="652" y="2123"/>
                  <a:pt x="652" y="2123"/>
                  <a:pt x="656" y="2122"/>
                </a:cubicBezTo>
                <a:cubicBezTo>
                  <a:pt x="656" y="2124"/>
                  <a:pt x="657" y="2125"/>
                  <a:pt x="658" y="2125"/>
                </a:cubicBezTo>
                <a:cubicBezTo>
                  <a:pt x="656" y="2126"/>
                  <a:pt x="654" y="2128"/>
                  <a:pt x="652" y="2129"/>
                </a:cubicBezTo>
                <a:cubicBezTo>
                  <a:pt x="651" y="2128"/>
                  <a:pt x="651" y="2127"/>
                  <a:pt x="650" y="2126"/>
                </a:cubicBezTo>
                <a:cubicBezTo>
                  <a:pt x="650" y="2126"/>
                  <a:pt x="649" y="2126"/>
                  <a:pt x="648" y="2126"/>
                </a:cubicBezTo>
                <a:close/>
                <a:moveTo>
                  <a:pt x="654" y="2126"/>
                </a:moveTo>
                <a:cubicBezTo>
                  <a:pt x="654" y="2126"/>
                  <a:pt x="653" y="2125"/>
                  <a:pt x="652" y="2125"/>
                </a:cubicBezTo>
                <a:cubicBezTo>
                  <a:pt x="652" y="2125"/>
                  <a:pt x="651" y="2126"/>
                  <a:pt x="651" y="2126"/>
                </a:cubicBezTo>
                <a:cubicBezTo>
                  <a:pt x="651" y="2127"/>
                  <a:pt x="652" y="2127"/>
                  <a:pt x="652" y="2128"/>
                </a:cubicBezTo>
                <a:cubicBezTo>
                  <a:pt x="653" y="2127"/>
                  <a:pt x="653" y="2127"/>
                  <a:pt x="654" y="2126"/>
                </a:cubicBezTo>
                <a:close/>
                <a:moveTo>
                  <a:pt x="635" y="2117"/>
                </a:moveTo>
                <a:cubicBezTo>
                  <a:pt x="629" y="2116"/>
                  <a:pt x="626" y="2118"/>
                  <a:pt x="625" y="2126"/>
                </a:cubicBezTo>
                <a:cubicBezTo>
                  <a:pt x="626" y="2124"/>
                  <a:pt x="627" y="2122"/>
                  <a:pt x="628" y="2119"/>
                </a:cubicBezTo>
                <a:cubicBezTo>
                  <a:pt x="629" y="2119"/>
                  <a:pt x="629" y="2119"/>
                  <a:pt x="629" y="2119"/>
                </a:cubicBezTo>
                <a:cubicBezTo>
                  <a:pt x="629" y="2121"/>
                  <a:pt x="629" y="2121"/>
                  <a:pt x="629" y="2122"/>
                </a:cubicBezTo>
                <a:cubicBezTo>
                  <a:pt x="630" y="2119"/>
                  <a:pt x="632" y="2117"/>
                  <a:pt x="635" y="2117"/>
                </a:cubicBezTo>
                <a:close/>
                <a:moveTo>
                  <a:pt x="679" y="2118"/>
                </a:moveTo>
                <a:cubicBezTo>
                  <a:pt x="677" y="2119"/>
                  <a:pt x="675" y="2121"/>
                  <a:pt x="674" y="2122"/>
                </a:cubicBezTo>
                <a:cubicBezTo>
                  <a:pt x="676" y="2122"/>
                  <a:pt x="678" y="2121"/>
                  <a:pt x="679" y="2118"/>
                </a:cubicBezTo>
                <a:close/>
                <a:moveTo>
                  <a:pt x="646" y="2120"/>
                </a:moveTo>
                <a:cubicBezTo>
                  <a:pt x="647" y="2119"/>
                  <a:pt x="648" y="2117"/>
                  <a:pt x="649" y="2116"/>
                </a:cubicBezTo>
                <a:cubicBezTo>
                  <a:pt x="646" y="2117"/>
                  <a:pt x="645" y="2118"/>
                  <a:pt x="646" y="2120"/>
                </a:cubicBezTo>
                <a:close/>
                <a:moveTo>
                  <a:pt x="656" y="2142"/>
                </a:moveTo>
                <a:cubicBezTo>
                  <a:pt x="654" y="2142"/>
                  <a:pt x="653" y="2143"/>
                  <a:pt x="653" y="2144"/>
                </a:cubicBezTo>
                <a:cubicBezTo>
                  <a:pt x="654" y="2143"/>
                  <a:pt x="655" y="2142"/>
                  <a:pt x="656" y="2142"/>
                </a:cubicBezTo>
                <a:close/>
                <a:moveTo>
                  <a:pt x="655" y="2126"/>
                </a:moveTo>
                <a:cubicBezTo>
                  <a:pt x="654" y="2126"/>
                  <a:pt x="653" y="2125"/>
                  <a:pt x="652" y="2125"/>
                </a:cubicBezTo>
                <a:cubicBezTo>
                  <a:pt x="652" y="2125"/>
                  <a:pt x="651" y="2126"/>
                  <a:pt x="651" y="2127"/>
                </a:cubicBezTo>
                <a:cubicBezTo>
                  <a:pt x="651" y="2127"/>
                  <a:pt x="652" y="2127"/>
                  <a:pt x="652" y="2128"/>
                </a:cubicBezTo>
                <a:cubicBezTo>
                  <a:pt x="653" y="2127"/>
                  <a:pt x="653" y="2127"/>
                  <a:pt x="655" y="2126"/>
                </a:cubicBezTo>
                <a:close/>
                <a:moveTo>
                  <a:pt x="1308" y="2104"/>
                </a:moveTo>
                <a:cubicBezTo>
                  <a:pt x="1308" y="2104"/>
                  <a:pt x="1308" y="2104"/>
                  <a:pt x="1308" y="2104"/>
                </a:cubicBezTo>
                <a:cubicBezTo>
                  <a:pt x="1303" y="2104"/>
                  <a:pt x="1303" y="2104"/>
                  <a:pt x="1303" y="2104"/>
                </a:cubicBezTo>
                <a:cubicBezTo>
                  <a:pt x="1301" y="2105"/>
                  <a:pt x="1300" y="2107"/>
                  <a:pt x="1297" y="2107"/>
                </a:cubicBezTo>
                <a:cubicBezTo>
                  <a:pt x="1296" y="2109"/>
                  <a:pt x="1295" y="2110"/>
                  <a:pt x="1292" y="2110"/>
                </a:cubicBezTo>
                <a:cubicBezTo>
                  <a:pt x="1291" y="2112"/>
                  <a:pt x="1289" y="2112"/>
                  <a:pt x="1287" y="2113"/>
                </a:cubicBezTo>
                <a:cubicBezTo>
                  <a:pt x="1285" y="2114"/>
                  <a:pt x="1284" y="2115"/>
                  <a:pt x="1281" y="2115"/>
                </a:cubicBezTo>
                <a:cubicBezTo>
                  <a:pt x="1281" y="2115"/>
                  <a:pt x="1281" y="2115"/>
                  <a:pt x="1281" y="2125"/>
                </a:cubicBezTo>
                <a:cubicBezTo>
                  <a:pt x="1284" y="2124"/>
                  <a:pt x="1287" y="2123"/>
                  <a:pt x="1290" y="2122"/>
                </a:cubicBezTo>
                <a:cubicBezTo>
                  <a:pt x="1292" y="2121"/>
                  <a:pt x="1295" y="2120"/>
                  <a:pt x="1297" y="2118"/>
                </a:cubicBezTo>
                <a:cubicBezTo>
                  <a:pt x="1297" y="2118"/>
                  <a:pt x="1297" y="2118"/>
                  <a:pt x="1297" y="2177"/>
                </a:cubicBezTo>
                <a:cubicBezTo>
                  <a:pt x="1297" y="2177"/>
                  <a:pt x="1297" y="2177"/>
                  <a:pt x="1308" y="2177"/>
                </a:cubicBezTo>
                <a:cubicBezTo>
                  <a:pt x="1308" y="2177"/>
                  <a:pt x="1308" y="2177"/>
                  <a:pt x="1308" y="2104"/>
                </a:cubicBezTo>
                <a:close/>
                <a:moveTo>
                  <a:pt x="1356" y="2104"/>
                </a:moveTo>
                <a:cubicBezTo>
                  <a:pt x="1356" y="2104"/>
                  <a:pt x="1356" y="2104"/>
                  <a:pt x="1356" y="2104"/>
                </a:cubicBezTo>
                <a:cubicBezTo>
                  <a:pt x="1351" y="2104"/>
                  <a:pt x="1351" y="2104"/>
                  <a:pt x="1351" y="2104"/>
                </a:cubicBezTo>
                <a:cubicBezTo>
                  <a:pt x="1349" y="2105"/>
                  <a:pt x="1347" y="2107"/>
                  <a:pt x="1345" y="2107"/>
                </a:cubicBezTo>
                <a:cubicBezTo>
                  <a:pt x="1344" y="2109"/>
                  <a:pt x="1341" y="2110"/>
                  <a:pt x="1340" y="2110"/>
                </a:cubicBezTo>
                <a:cubicBezTo>
                  <a:pt x="1338" y="2112"/>
                  <a:pt x="1336" y="2112"/>
                  <a:pt x="1335" y="2113"/>
                </a:cubicBezTo>
                <a:cubicBezTo>
                  <a:pt x="1333" y="2114"/>
                  <a:pt x="1331" y="2115"/>
                  <a:pt x="1329" y="2115"/>
                </a:cubicBezTo>
                <a:cubicBezTo>
                  <a:pt x="1329" y="2115"/>
                  <a:pt x="1329" y="2115"/>
                  <a:pt x="1329" y="2125"/>
                </a:cubicBezTo>
                <a:cubicBezTo>
                  <a:pt x="1332" y="2124"/>
                  <a:pt x="1335" y="2123"/>
                  <a:pt x="1337" y="2122"/>
                </a:cubicBezTo>
                <a:cubicBezTo>
                  <a:pt x="1340" y="2121"/>
                  <a:pt x="1342" y="2120"/>
                  <a:pt x="1344" y="2118"/>
                </a:cubicBezTo>
                <a:cubicBezTo>
                  <a:pt x="1344" y="2118"/>
                  <a:pt x="1344" y="2118"/>
                  <a:pt x="1344" y="2177"/>
                </a:cubicBezTo>
                <a:cubicBezTo>
                  <a:pt x="1344" y="2177"/>
                  <a:pt x="1344" y="2177"/>
                  <a:pt x="1356" y="2177"/>
                </a:cubicBezTo>
                <a:cubicBezTo>
                  <a:pt x="1356" y="2177"/>
                  <a:pt x="1356" y="2177"/>
                  <a:pt x="1356" y="2104"/>
                </a:cubicBezTo>
                <a:close/>
                <a:moveTo>
                  <a:pt x="1402" y="2104"/>
                </a:moveTo>
                <a:cubicBezTo>
                  <a:pt x="1402" y="2104"/>
                  <a:pt x="1402" y="2104"/>
                  <a:pt x="1402" y="2104"/>
                </a:cubicBezTo>
                <a:cubicBezTo>
                  <a:pt x="1398" y="2104"/>
                  <a:pt x="1398" y="2104"/>
                  <a:pt x="1398" y="2104"/>
                </a:cubicBezTo>
                <a:cubicBezTo>
                  <a:pt x="1396" y="2105"/>
                  <a:pt x="1394" y="2107"/>
                  <a:pt x="1392" y="2107"/>
                </a:cubicBezTo>
                <a:cubicBezTo>
                  <a:pt x="1391" y="2109"/>
                  <a:pt x="1389" y="2110"/>
                  <a:pt x="1387" y="2110"/>
                </a:cubicBezTo>
                <a:cubicBezTo>
                  <a:pt x="1385" y="2111"/>
                  <a:pt x="1384" y="2112"/>
                  <a:pt x="1382" y="2112"/>
                </a:cubicBezTo>
                <a:cubicBezTo>
                  <a:pt x="1380" y="2113"/>
                  <a:pt x="1378" y="2114"/>
                  <a:pt x="1376" y="2115"/>
                </a:cubicBezTo>
                <a:cubicBezTo>
                  <a:pt x="1376" y="2115"/>
                  <a:pt x="1376" y="2115"/>
                  <a:pt x="1376" y="2125"/>
                </a:cubicBezTo>
                <a:cubicBezTo>
                  <a:pt x="1379" y="2124"/>
                  <a:pt x="1382" y="2123"/>
                  <a:pt x="1384" y="2122"/>
                </a:cubicBezTo>
                <a:cubicBezTo>
                  <a:pt x="1387" y="2121"/>
                  <a:pt x="1389" y="2120"/>
                  <a:pt x="1391" y="2118"/>
                </a:cubicBezTo>
                <a:cubicBezTo>
                  <a:pt x="1391" y="2118"/>
                  <a:pt x="1391" y="2118"/>
                  <a:pt x="1391" y="2177"/>
                </a:cubicBezTo>
                <a:cubicBezTo>
                  <a:pt x="1391" y="2177"/>
                  <a:pt x="1391" y="2177"/>
                  <a:pt x="1402" y="2177"/>
                </a:cubicBezTo>
                <a:cubicBezTo>
                  <a:pt x="1402" y="2177"/>
                  <a:pt x="1402" y="2177"/>
                  <a:pt x="1402" y="2104"/>
                </a:cubicBezTo>
                <a:close/>
                <a:moveTo>
                  <a:pt x="1613" y="2009"/>
                </a:moveTo>
                <a:cubicBezTo>
                  <a:pt x="1613" y="2009"/>
                  <a:pt x="1613" y="2009"/>
                  <a:pt x="1613" y="2009"/>
                </a:cubicBezTo>
                <a:cubicBezTo>
                  <a:pt x="1608" y="2009"/>
                  <a:pt x="1608" y="2009"/>
                  <a:pt x="1608" y="2009"/>
                </a:cubicBezTo>
                <a:cubicBezTo>
                  <a:pt x="1606" y="2010"/>
                  <a:pt x="1604" y="2012"/>
                  <a:pt x="1602" y="2012"/>
                </a:cubicBezTo>
                <a:cubicBezTo>
                  <a:pt x="1601" y="2014"/>
                  <a:pt x="1599" y="2014"/>
                  <a:pt x="1597" y="2015"/>
                </a:cubicBezTo>
                <a:cubicBezTo>
                  <a:pt x="1595" y="2016"/>
                  <a:pt x="1594" y="2017"/>
                  <a:pt x="1592" y="2017"/>
                </a:cubicBezTo>
                <a:cubicBezTo>
                  <a:pt x="1590" y="2018"/>
                  <a:pt x="1588" y="2019"/>
                  <a:pt x="1586" y="2020"/>
                </a:cubicBezTo>
                <a:cubicBezTo>
                  <a:pt x="1586" y="2020"/>
                  <a:pt x="1586" y="2020"/>
                  <a:pt x="1586" y="2030"/>
                </a:cubicBezTo>
                <a:cubicBezTo>
                  <a:pt x="1589" y="2029"/>
                  <a:pt x="1592" y="2028"/>
                  <a:pt x="1594" y="2027"/>
                </a:cubicBezTo>
                <a:cubicBezTo>
                  <a:pt x="1597" y="2026"/>
                  <a:pt x="1599" y="2025"/>
                  <a:pt x="1602" y="2023"/>
                </a:cubicBezTo>
                <a:cubicBezTo>
                  <a:pt x="1602" y="2023"/>
                  <a:pt x="1602" y="2023"/>
                  <a:pt x="1602" y="2082"/>
                </a:cubicBezTo>
                <a:cubicBezTo>
                  <a:pt x="1602" y="2082"/>
                  <a:pt x="1602" y="2082"/>
                  <a:pt x="1613" y="2082"/>
                </a:cubicBezTo>
                <a:cubicBezTo>
                  <a:pt x="1613" y="2082"/>
                  <a:pt x="1613" y="2082"/>
                  <a:pt x="1613" y="2009"/>
                </a:cubicBezTo>
                <a:close/>
                <a:moveTo>
                  <a:pt x="1660" y="2009"/>
                </a:moveTo>
                <a:cubicBezTo>
                  <a:pt x="1660" y="2009"/>
                  <a:pt x="1660" y="2009"/>
                  <a:pt x="1660" y="2009"/>
                </a:cubicBezTo>
                <a:cubicBezTo>
                  <a:pt x="1655" y="2009"/>
                  <a:pt x="1655" y="2009"/>
                  <a:pt x="1655" y="2009"/>
                </a:cubicBezTo>
                <a:cubicBezTo>
                  <a:pt x="1652" y="2010"/>
                  <a:pt x="1651" y="2012"/>
                  <a:pt x="1649" y="2012"/>
                </a:cubicBezTo>
                <a:cubicBezTo>
                  <a:pt x="1647" y="2014"/>
                  <a:pt x="1645" y="2014"/>
                  <a:pt x="1644" y="2015"/>
                </a:cubicBezTo>
                <a:cubicBezTo>
                  <a:pt x="1642" y="2017"/>
                  <a:pt x="1640" y="2017"/>
                  <a:pt x="1639" y="2018"/>
                </a:cubicBezTo>
                <a:cubicBezTo>
                  <a:pt x="1636" y="2019"/>
                  <a:pt x="1635" y="2020"/>
                  <a:pt x="1633" y="2020"/>
                </a:cubicBezTo>
                <a:cubicBezTo>
                  <a:pt x="1633" y="2020"/>
                  <a:pt x="1633" y="2020"/>
                  <a:pt x="1633" y="2030"/>
                </a:cubicBezTo>
                <a:cubicBezTo>
                  <a:pt x="1636" y="2029"/>
                  <a:pt x="1639" y="2028"/>
                  <a:pt x="1641" y="2027"/>
                </a:cubicBezTo>
                <a:cubicBezTo>
                  <a:pt x="1644" y="2026"/>
                  <a:pt x="1646" y="2025"/>
                  <a:pt x="1648" y="2023"/>
                </a:cubicBezTo>
                <a:cubicBezTo>
                  <a:pt x="1648" y="2023"/>
                  <a:pt x="1648" y="2023"/>
                  <a:pt x="1648" y="2082"/>
                </a:cubicBezTo>
                <a:cubicBezTo>
                  <a:pt x="1648" y="2082"/>
                  <a:pt x="1648" y="2082"/>
                  <a:pt x="1660" y="2082"/>
                </a:cubicBezTo>
                <a:cubicBezTo>
                  <a:pt x="1660" y="2082"/>
                  <a:pt x="1660" y="2082"/>
                  <a:pt x="1660" y="2009"/>
                </a:cubicBezTo>
                <a:close/>
                <a:moveTo>
                  <a:pt x="1705" y="2009"/>
                </a:moveTo>
                <a:cubicBezTo>
                  <a:pt x="1705" y="2009"/>
                  <a:pt x="1705" y="2009"/>
                  <a:pt x="1705" y="2009"/>
                </a:cubicBezTo>
                <a:cubicBezTo>
                  <a:pt x="1701" y="2009"/>
                  <a:pt x="1701" y="2009"/>
                  <a:pt x="1701" y="2009"/>
                </a:cubicBezTo>
                <a:cubicBezTo>
                  <a:pt x="1699" y="2010"/>
                  <a:pt x="1697" y="2012"/>
                  <a:pt x="1695" y="2012"/>
                </a:cubicBezTo>
                <a:cubicBezTo>
                  <a:pt x="1694" y="2014"/>
                  <a:pt x="1692" y="2014"/>
                  <a:pt x="1690" y="2015"/>
                </a:cubicBezTo>
                <a:cubicBezTo>
                  <a:pt x="1688" y="2017"/>
                  <a:pt x="1687" y="2017"/>
                  <a:pt x="1684" y="2018"/>
                </a:cubicBezTo>
                <a:cubicBezTo>
                  <a:pt x="1683" y="2019"/>
                  <a:pt x="1681" y="2020"/>
                  <a:pt x="1679" y="2020"/>
                </a:cubicBezTo>
                <a:cubicBezTo>
                  <a:pt x="1679" y="2020"/>
                  <a:pt x="1679" y="2020"/>
                  <a:pt x="1679" y="2030"/>
                </a:cubicBezTo>
                <a:cubicBezTo>
                  <a:pt x="1682" y="2029"/>
                  <a:pt x="1685" y="2028"/>
                  <a:pt x="1687" y="2027"/>
                </a:cubicBezTo>
                <a:cubicBezTo>
                  <a:pt x="1689" y="2026"/>
                  <a:pt x="1692" y="2025"/>
                  <a:pt x="1694" y="2023"/>
                </a:cubicBezTo>
                <a:cubicBezTo>
                  <a:pt x="1694" y="2023"/>
                  <a:pt x="1694" y="2023"/>
                  <a:pt x="1694" y="2082"/>
                </a:cubicBezTo>
                <a:cubicBezTo>
                  <a:pt x="1694" y="2082"/>
                  <a:pt x="1694" y="2082"/>
                  <a:pt x="1705" y="2082"/>
                </a:cubicBezTo>
                <a:cubicBezTo>
                  <a:pt x="1705" y="2082"/>
                  <a:pt x="1705" y="2082"/>
                  <a:pt x="1705" y="2009"/>
                </a:cubicBezTo>
                <a:close/>
                <a:moveTo>
                  <a:pt x="1752" y="2009"/>
                </a:moveTo>
                <a:cubicBezTo>
                  <a:pt x="1752" y="2009"/>
                  <a:pt x="1752" y="2009"/>
                  <a:pt x="1752" y="2009"/>
                </a:cubicBezTo>
                <a:cubicBezTo>
                  <a:pt x="1747" y="2009"/>
                  <a:pt x="1747" y="2009"/>
                  <a:pt x="1747" y="2009"/>
                </a:cubicBezTo>
                <a:cubicBezTo>
                  <a:pt x="1745" y="2010"/>
                  <a:pt x="1743" y="2012"/>
                  <a:pt x="1741" y="2012"/>
                </a:cubicBezTo>
                <a:cubicBezTo>
                  <a:pt x="1740" y="2014"/>
                  <a:pt x="1738" y="2014"/>
                  <a:pt x="1736" y="2015"/>
                </a:cubicBezTo>
                <a:cubicBezTo>
                  <a:pt x="1735" y="2017"/>
                  <a:pt x="1732" y="2017"/>
                  <a:pt x="1731" y="2018"/>
                </a:cubicBezTo>
                <a:cubicBezTo>
                  <a:pt x="1729" y="2019"/>
                  <a:pt x="1727" y="2020"/>
                  <a:pt x="1725" y="2020"/>
                </a:cubicBezTo>
                <a:cubicBezTo>
                  <a:pt x="1725" y="2020"/>
                  <a:pt x="1725" y="2020"/>
                  <a:pt x="1725" y="2030"/>
                </a:cubicBezTo>
                <a:cubicBezTo>
                  <a:pt x="1728" y="2029"/>
                  <a:pt x="1731" y="2028"/>
                  <a:pt x="1733" y="2027"/>
                </a:cubicBezTo>
                <a:cubicBezTo>
                  <a:pt x="1736" y="2026"/>
                  <a:pt x="1738" y="2025"/>
                  <a:pt x="1741" y="2023"/>
                </a:cubicBezTo>
                <a:cubicBezTo>
                  <a:pt x="1741" y="2023"/>
                  <a:pt x="1741" y="2023"/>
                  <a:pt x="1741" y="2082"/>
                </a:cubicBezTo>
                <a:cubicBezTo>
                  <a:pt x="1741" y="2082"/>
                  <a:pt x="1741" y="2082"/>
                  <a:pt x="1752" y="2082"/>
                </a:cubicBezTo>
                <a:cubicBezTo>
                  <a:pt x="1752" y="2082"/>
                  <a:pt x="1752" y="2082"/>
                  <a:pt x="1752" y="2009"/>
                </a:cubicBezTo>
                <a:close/>
                <a:moveTo>
                  <a:pt x="1874" y="2009"/>
                </a:moveTo>
                <a:cubicBezTo>
                  <a:pt x="1874" y="2009"/>
                  <a:pt x="1874" y="2009"/>
                  <a:pt x="1874" y="2009"/>
                </a:cubicBezTo>
                <a:cubicBezTo>
                  <a:pt x="1869" y="2009"/>
                  <a:pt x="1869" y="2009"/>
                  <a:pt x="1869" y="2009"/>
                </a:cubicBezTo>
                <a:cubicBezTo>
                  <a:pt x="1866" y="2010"/>
                  <a:pt x="1865" y="2012"/>
                  <a:pt x="1863" y="2012"/>
                </a:cubicBezTo>
                <a:cubicBezTo>
                  <a:pt x="1861" y="2014"/>
                  <a:pt x="1860" y="2014"/>
                  <a:pt x="1858" y="2015"/>
                </a:cubicBezTo>
                <a:cubicBezTo>
                  <a:pt x="1856" y="2017"/>
                  <a:pt x="1854" y="2017"/>
                  <a:pt x="1852" y="2018"/>
                </a:cubicBezTo>
                <a:cubicBezTo>
                  <a:pt x="1850" y="2019"/>
                  <a:pt x="1849" y="2020"/>
                  <a:pt x="1846" y="2020"/>
                </a:cubicBezTo>
                <a:cubicBezTo>
                  <a:pt x="1846" y="2020"/>
                  <a:pt x="1846" y="2020"/>
                  <a:pt x="1846" y="2030"/>
                </a:cubicBezTo>
                <a:cubicBezTo>
                  <a:pt x="1849" y="2029"/>
                  <a:pt x="1852" y="2028"/>
                  <a:pt x="1855" y="2027"/>
                </a:cubicBezTo>
                <a:cubicBezTo>
                  <a:pt x="1858" y="2026"/>
                  <a:pt x="1860" y="2025"/>
                  <a:pt x="1862" y="2023"/>
                </a:cubicBezTo>
                <a:cubicBezTo>
                  <a:pt x="1862" y="2023"/>
                  <a:pt x="1862" y="2023"/>
                  <a:pt x="1862" y="2082"/>
                </a:cubicBezTo>
                <a:cubicBezTo>
                  <a:pt x="1862" y="2082"/>
                  <a:pt x="1862" y="2082"/>
                  <a:pt x="1874" y="2082"/>
                </a:cubicBezTo>
                <a:cubicBezTo>
                  <a:pt x="1874" y="2082"/>
                  <a:pt x="1874" y="2082"/>
                  <a:pt x="1874" y="2009"/>
                </a:cubicBezTo>
                <a:close/>
                <a:moveTo>
                  <a:pt x="1920" y="2009"/>
                </a:moveTo>
                <a:cubicBezTo>
                  <a:pt x="1920" y="2009"/>
                  <a:pt x="1920" y="2009"/>
                  <a:pt x="1920" y="2009"/>
                </a:cubicBezTo>
                <a:cubicBezTo>
                  <a:pt x="1915" y="2009"/>
                  <a:pt x="1915" y="2009"/>
                  <a:pt x="1915" y="2009"/>
                </a:cubicBezTo>
                <a:cubicBezTo>
                  <a:pt x="1913" y="2010"/>
                  <a:pt x="1912" y="2012"/>
                  <a:pt x="1909" y="2012"/>
                </a:cubicBezTo>
                <a:cubicBezTo>
                  <a:pt x="1908" y="2014"/>
                  <a:pt x="1906" y="2014"/>
                  <a:pt x="1904" y="2015"/>
                </a:cubicBezTo>
                <a:cubicBezTo>
                  <a:pt x="1903" y="2017"/>
                  <a:pt x="1901" y="2017"/>
                  <a:pt x="1899" y="2018"/>
                </a:cubicBezTo>
                <a:cubicBezTo>
                  <a:pt x="1897" y="2019"/>
                  <a:pt x="1896" y="2020"/>
                  <a:pt x="1893" y="2020"/>
                </a:cubicBezTo>
                <a:cubicBezTo>
                  <a:pt x="1893" y="2020"/>
                  <a:pt x="1893" y="2020"/>
                  <a:pt x="1893" y="2030"/>
                </a:cubicBezTo>
                <a:cubicBezTo>
                  <a:pt x="1896" y="2029"/>
                  <a:pt x="1899" y="2028"/>
                  <a:pt x="1901" y="2027"/>
                </a:cubicBezTo>
                <a:cubicBezTo>
                  <a:pt x="1904" y="2026"/>
                  <a:pt x="1907" y="2025"/>
                  <a:pt x="1909" y="2023"/>
                </a:cubicBezTo>
                <a:cubicBezTo>
                  <a:pt x="1909" y="2023"/>
                  <a:pt x="1909" y="2023"/>
                  <a:pt x="1909" y="2082"/>
                </a:cubicBezTo>
                <a:cubicBezTo>
                  <a:pt x="1909" y="2082"/>
                  <a:pt x="1909" y="2082"/>
                  <a:pt x="1920" y="2082"/>
                </a:cubicBezTo>
                <a:cubicBezTo>
                  <a:pt x="1920" y="2082"/>
                  <a:pt x="1920" y="2082"/>
                  <a:pt x="1920" y="2009"/>
                </a:cubicBezTo>
                <a:close/>
                <a:moveTo>
                  <a:pt x="1772" y="2041"/>
                </a:moveTo>
                <a:cubicBezTo>
                  <a:pt x="1772" y="2041"/>
                  <a:pt x="1772" y="2041"/>
                  <a:pt x="1772" y="2041"/>
                </a:cubicBezTo>
                <a:cubicBezTo>
                  <a:pt x="1772" y="2049"/>
                  <a:pt x="1772" y="2049"/>
                  <a:pt x="1772" y="2049"/>
                </a:cubicBezTo>
                <a:cubicBezTo>
                  <a:pt x="1778" y="2050"/>
                  <a:pt x="1779" y="2053"/>
                  <a:pt x="1779" y="2055"/>
                </a:cubicBezTo>
                <a:cubicBezTo>
                  <a:pt x="1779" y="2057"/>
                  <a:pt x="1779" y="2060"/>
                  <a:pt x="1779" y="2062"/>
                </a:cubicBezTo>
                <a:cubicBezTo>
                  <a:pt x="1778" y="2065"/>
                  <a:pt x="1778" y="2067"/>
                  <a:pt x="1778" y="2069"/>
                </a:cubicBezTo>
                <a:cubicBezTo>
                  <a:pt x="1778" y="2079"/>
                  <a:pt x="1784" y="2082"/>
                  <a:pt x="1792" y="2082"/>
                </a:cubicBezTo>
                <a:cubicBezTo>
                  <a:pt x="1792" y="2082"/>
                  <a:pt x="1792" y="2082"/>
                  <a:pt x="1796" y="2082"/>
                </a:cubicBezTo>
                <a:cubicBezTo>
                  <a:pt x="1796" y="2082"/>
                  <a:pt x="1796" y="2082"/>
                  <a:pt x="1796" y="2073"/>
                </a:cubicBezTo>
                <a:cubicBezTo>
                  <a:pt x="1796" y="2073"/>
                  <a:pt x="1796" y="2073"/>
                  <a:pt x="1795" y="2073"/>
                </a:cubicBezTo>
                <a:cubicBezTo>
                  <a:pt x="1791" y="2073"/>
                  <a:pt x="1790" y="2071"/>
                  <a:pt x="1790" y="2067"/>
                </a:cubicBezTo>
                <a:cubicBezTo>
                  <a:pt x="1790" y="2066"/>
                  <a:pt x="1790" y="2064"/>
                  <a:pt x="1790" y="2062"/>
                </a:cubicBezTo>
                <a:cubicBezTo>
                  <a:pt x="1790" y="2061"/>
                  <a:pt x="1790" y="2059"/>
                  <a:pt x="1790" y="2056"/>
                </a:cubicBezTo>
                <a:cubicBezTo>
                  <a:pt x="1790" y="2049"/>
                  <a:pt x="1788" y="2046"/>
                  <a:pt x="1782" y="2045"/>
                </a:cubicBezTo>
                <a:cubicBezTo>
                  <a:pt x="1782" y="2045"/>
                  <a:pt x="1782" y="2045"/>
                  <a:pt x="1782" y="2045"/>
                </a:cubicBezTo>
                <a:cubicBezTo>
                  <a:pt x="1788" y="2044"/>
                  <a:pt x="1790" y="2041"/>
                  <a:pt x="1790" y="2034"/>
                </a:cubicBezTo>
                <a:cubicBezTo>
                  <a:pt x="1790" y="2031"/>
                  <a:pt x="1790" y="2029"/>
                  <a:pt x="1790" y="2028"/>
                </a:cubicBezTo>
                <a:cubicBezTo>
                  <a:pt x="1790" y="2026"/>
                  <a:pt x="1790" y="2024"/>
                  <a:pt x="1790" y="2023"/>
                </a:cubicBezTo>
                <a:cubicBezTo>
                  <a:pt x="1790" y="2019"/>
                  <a:pt x="1791" y="2017"/>
                  <a:pt x="1795" y="2017"/>
                </a:cubicBezTo>
                <a:cubicBezTo>
                  <a:pt x="1795" y="2017"/>
                  <a:pt x="1795" y="2017"/>
                  <a:pt x="1796" y="2017"/>
                </a:cubicBezTo>
                <a:cubicBezTo>
                  <a:pt x="1796" y="2017"/>
                  <a:pt x="1796" y="2017"/>
                  <a:pt x="1796" y="2008"/>
                </a:cubicBezTo>
                <a:cubicBezTo>
                  <a:pt x="1796" y="2008"/>
                  <a:pt x="1796" y="2008"/>
                  <a:pt x="1792" y="2008"/>
                </a:cubicBezTo>
                <a:cubicBezTo>
                  <a:pt x="1783" y="2008"/>
                  <a:pt x="1778" y="2012"/>
                  <a:pt x="1778" y="2020"/>
                </a:cubicBezTo>
                <a:cubicBezTo>
                  <a:pt x="1778" y="2023"/>
                  <a:pt x="1778" y="2025"/>
                  <a:pt x="1778" y="2028"/>
                </a:cubicBezTo>
                <a:cubicBezTo>
                  <a:pt x="1779" y="2030"/>
                  <a:pt x="1779" y="2033"/>
                  <a:pt x="1779" y="2035"/>
                </a:cubicBezTo>
                <a:cubicBezTo>
                  <a:pt x="1779" y="2037"/>
                  <a:pt x="1778" y="2041"/>
                  <a:pt x="1772" y="2041"/>
                </a:cubicBezTo>
                <a:close/>
                <a:moveTo>
                  <a:pt x="1827" y="2049"/>
                </a:moveTo>
                <a:cubicBezTo>
                  <a:pt x="1827" y="2049"/>
                  <a:pt x="1827" y="2049"/>
                  <a:pt x="1827" y="2049"/>
                </a:cubicBezTo>
                <a:cubicBezTo>
                  <a:pt x="1827" y="2041"/>
                  <a:pt x="1827" y="2041"/>
                  <a:pt x="1827" y="2041"/>
                </a:cubicBezTo>
                <a:cubicBezTo>
                  <a:pt x="1820" y="2041"/>
                  <a:pt x="1820" y="2037"/>
                  <a:pt x="1820" y="2035"/>
                </a:cubicBezTo>
                <a:cubicBezTo>
                  <a:pt x="1820" y="2033"/>
                  <a:pt x="1820" y="2030"/>
                  <a:pt x="1820" y="2028"/>
                </a:cubicBezTo>
                <a:cubicBezTo>
                  <a:pt x="1821" y="2025"/>
                  <a:pt x="1821" y="2023"/>
                  <a:pt x="1821" y="2020"/>
                </a:cubicBezTo>
                <a:cubicBezTo>
                  <a:pt x="1821" y="2012"/>
                  <a:pt x="1816" y="2008"/>
                  <a:pt x="1806" y="2008"/>
                </a:cubicBezTo>
                <a:cubicBezTo>
                  <a:pt x="1806" y="2008"/>
                  <a:pt x="1806" y="2008"/>
                  <a:pt x="1803" y="2008"/>
                </a:cubicBezTo>
                <a:cubicBezTo>
                  <a:pt x="1803" y="2008"/>
                  <a:pt x="1803" y="2008"/>
                  <a:pt x="1803" y="2017"/>
                </a:cubicBezTo>
                <a:cubicBezTo>
                  <a:pt x="1803" y="2017"/>
                  <a:pt x="1803" y="2017"/>
                  <a:pt x="1804" y="2017"/>
                </a:cubicBezTo>
                <a:cubicBezTo>
                  <a:pt x="1808" y="2017"/>
                  <a:pt x="1809" y="2019"/>
                  <a:pt x="1809" y="2023"/>
                </a:cubicBezTo>
                <a:cubicBezTo>
                  <a:pt x="1809" y="2024"/>
                  <a:pt x="1809" y="2026"/>
                  <a:pt x="1809" y="2028"/>
                </a:cubicBezTo>
                <a:cubicBezTo>
                  <a:pt x="1809" y="2029"/>
                  <a:pt x="1809" y="2031"/>
                  <a:pt x="1809" y="2034"/>
                </a:cubicBezTo>
                <a:cubicBezTo>
                  <a:pt x="1809" y="2041"/>
                  <a:pt x="1811" y="2044"/>
                  <a:pt x="1817" y="2045"/>
                </a:cubicBezTo>
                <a:cubicBezTo>
                  <a:pt x="1817" y="2045"/>
                  <a:pt x="1817" y="2045"/>
                  <a:pt x="1817" y="2045"/>
                </a:cubicBezTo>
                <a:cubicBezTo>
                  <a:pt x="1811" y="2046"/>
                  <a:pt x="1809" y="2049"/>
                  <a:pt x="1809" y="2056"/>
                </a:cubicBezTo>
                <a:cubicBezTo>
                  <a:pt x="1809" y="2059"/>
                  <a:pt x="1809" y="2061"/>
                  <a:pt x="1809" y="2062"/>
                </a:cubicBezTo>
                <a:cubicBezTo>
                  <a:pt x="1809" y="2064"/>
                  <a:pt x="1809" y="2066"/>
                  <a:pt x="1809" y="2067"/>
                </a:cubicBezTo>
                <a:cubicBezTo>
                  <a:pt x="1809" y="2071"/>
                  <a:pt x="1808" y="2073"/>
                  <a:pt x="1804" y="2073"/>
                </a:cubicBezTo>
                <a:cubicBezTo>
                  <a:pt x="1804" y="2073"/>
                  <a:pt x="1804" y="2073"/>
                  <a:pt x="1803" y="2073"/>
                </a:cubicBezTo>
                <a:cubicBezTo>
                  <a:pt x="1803" y="2073"/>
                  <a:pt x="1803" y="2073"/>
                  <a:pt x="1803" y="2082"/>
                </a:cubicBezTo>
                <a:cubicBezTo>
                  <a:pt x="1803" y="2082"/>
                  <a:pt x="1803" y="2082"/>
                  <a:pt x="1806" y="2082"/>
                </a:cubicBezTo>
                <a:cubicBezTo>
                  <a:pt x="1815" y="2082"/>
                  <a:pt x="1821" y="2079"/>
                  <a:pt x="1821" y="2069"/>
                </a:cubicBezTo>
                <a:cubicBezTo>
                  <a:pt x="1821" y="2067"/>
                  <a:pt x="1821" y="2065"/>
                  <a:pt x="1820" y="2062"/>
                </a:cubicBezTo>
                <a:cubicBezTo>
                  <a:pt x="1820" y="2060"/>
                  <a:pt x="1820" y="2057"/>
                  <a:pt x="1820" y="2055"/>
                </a:cubicBezTo>
                <a:cubicBezTo>
                  <a:pt x="1820" y="2053"/>
                  <a:pt x="1820" y="2050"/>
                  <a:pt x="1827" y="2049"/>
                </a:cubicBezTo>
                <a:close/>
                <a:moveTo>
                  <a:pt x="1214" y="2082"/>
                </a:moveTo>
                <a:cubicBezTo>
                  <a:pt x="1207" y="2082"/>
                  <a:pt x="1200" y="2079"/>
                  <a:pt x="1196" y="2073"/>
                </a:cubicBezTo>
                <a:cubicBezTo>
                  <a:pt x="1192" y="2067"/>
                  <a:pt x="1190" y="2058"/>
                  <a:pt x="1190" y="2045"/>
                </a:cubicBezTo>
                <a:cubicBezTo>
                  <a:pt x="1190" y="2032"/>
                  <a:pt x="1192" y="2023"/>
                  <a:pt x="1196" y="2016"/>
                </a:cubicBezTo>
                <a:cubicBezTo>
                  <a:pt x="1201" y="2009"/>
                  <a:pt x="1207" y="2006"/>
                  <a:pt x="1216" y="2006"/>
                </a:cubicBezTo>
                <a:cubicBezTo>
                  <a:pt x="1232" y="2006"/>
                  <a:pt x="1240" y="2018"/>
                  <a:pt x="1240" y="2044"/>
                </a:cubicBezTo>
                <a:cubicBezTo>
                  <a:pt x="1240" y="2056"/>
                  <a:pt x="1238" y="2066"/>
                  <a:pt x="1233" y="2073"/>
                </a:cubicBezTo>
                <a:cubicBezTo>
                  <a:pt x="1228" y="2079"/>
                  <a:pt x="1222" y="2082"/>
                  <a:pt x="1214" y="2082"/>
                </a:cubicBezTo>
                <a:close/>
                <a:moveTo>
                  <a:pt x="1215" y="2015"/>
                </a:moveTo>
                <a:cubicBezTo>
                  <a:pt x="1206" y="2015"/>
                  <a:pt x="1201" y="2026"/>
                  <a:pt x="1201" y="2045"/>
                </a:cubicBezTo>
                <a:cubicBezTo>
                  <a:pt x="1201" y="2064"/>
                  <a:pt x="1206" y="2073"/>
                  <a:pt x="1215" y="2073"/>
                </a:cubicBezTo>
                <a:cubicBezTo>
                  <a:pt x="1223" y="2073"/>
                  <a:pt x="1228" y="2064"/>
                  <a:pt x="1228" y="2045"/>
                </a:cubicBezTo>
                <a:cubicBezTo>
                  <a:pt x="1228" y="2025"/>
                  <a:pt x="1223" y="2015"/>
                  <a:pt x="1215" y="2015"/>
                </a:cubicBezTo>
                <a:close/>
                <a:moveTo>
                  <a:pt x="1284" y="2082"/>
                </a:moveTo>
                <a:cubicBezTo>
                  <a:pt x="1277" y="2082"/>
                  <a:pt x="1270" y="2079"/>
                  <a:pt x="1266" y="2073"/>
                </a:cubicBezTo>
                <a:cubicBezTo>
                  <a:pt x="1262" y="2067"/>
                  <a:pt x="1260" y="2058"/>
                  <a:pt x="1260" y="2045"/>
                </a:cubicBezTo>
                <a:cubicBezTo>
                  <a:pt x="1260" y="2032"/>
                  <a:pt x="1262" y="2023"/>
                  <a:pt x="1266" y="2016"/>
                </a:cubicBezTo>
                <a:cubicBezTo>
                  <a:pt x="1271" y="2009"/>
                  <a:pt x="1277" y="2006"/>
                  <a:pt x="1286" y="2006"/>
                </a:cubicBezTo>
                <a:cubicBezTo>
                  <a:pt x="1302" y="2006"/>
                  <a:pt x="1310" y="2018"/>
                  <a:pt x="1310" y="2044"/>
                </a:cubicBezTo>
                <a:cubicBezTo>
                  <a:pt x="1310" y="2056"/>
                  <a:pt x="1308" y="2066"/>
                  <a:pt x="1304" y="2073"/>
                </a:cubicBezTo>
                <a:cubicBezTo>
                  <a:pt x="1299" y="2079"/>
                  <a:pt x="1293" y="2082"/>
                  <a:pt x="1284" y="2082"/>
                </a:cubicBezTo>
                <a:close/>
                <a:moveTo>
                  <a:pt x="1285" y="2015"/>
                </a:moveTo>
                <a:cubicBezTo>
                  <a:pt x="1277" y="2015"/>
                  <a:pt x="1272" y="2026"/>
                  <a:pt x="1272" y="2045"/>
                </a:cubicBezTo>
                <a:cubicBezTo>
                  <a:pt x="1272" y="2064"/>
                  <a:pt x="1276" y="2073"/>
                  <a:pt x="1285" y="2073"/>
                </a:cubicBezTo>
                <a:cubicBezTo>
                  <a:pt x="1293" y="2073"/>
                  <a:pt x="1298" y="2064"/>
                  <a:pt x="1298" y="2045"/>
                </a:cubicBezTo>
                <a:cubicBezTo>
                  <a:pt x="1298" y="2025"/>
                  <a:pt x="1293" y="2015"/>
                  <a:pt x="1285" y="2015"/>
                </a:cubicBezTo>
                <a:close/>
                <a:moveTo>
                  <a:pt x="1494" y="2082"/>
                </a:moveTo>
                <a:cubicBezTo>
                  <a:pt x="1486" y="2082"/>
                  <a:pt x="1481" y="2079"/>
                  <a:pt x="1476" y="2073"/>
                </a:cubicBezTo>
                <a:cubicBezTo>
                  <a:pt x="1472" y="2067"/>
                  <a:pt x="1470" y="2057"/>
                  <a:pt x="1470" y="2045"/>
                </a:cubicBezTo>
                <a:cubicBezTo>
                  <a:pt x="1470" y="2032"/>
                  <a:pt x="1472" y="2023"/>
                  <a:pt x="1476" y="2015"/>
                </a:cubicBezTo>
                <a:cubicBezTo>
                  <a:pt x="1481" y="2009"/>
                  <a:pt x="1487" y="2006"/>
                  <a:pt x="1496" y="2006"/>
                </a:cubicBezTo>
                <a:cubicBezTo>
                  <a:pt x="1512" y="2006"/>
                  <a:pt x="1520" y="2018"/>
                  <a:pt x="1520" y="2043"/>
                </a:cubicBezTo>
                <a:cubicBezTo>
                  <a:pt x="1520" y="2056"/>
                  <a:pt x="1518" y="2066"/>
                  <a:pt x="1513" y="2073"/>
                </a:cubicBezTo>
                <a:cubicBezTo>
                  <a:pt x="1508" y="2079"/>
                  <a:pt x="1502" y="2082"/>
                  <a:pt x="1494" y="2082"/>
                </a:cubicBezTo>
                <a:close/>
                <a:moveTo>
                  <a:pt x="1495" y="2015"/>
                </a:moveTo>
                <a:cubicBezTo>
                  <a:pt x="1486" y="2015"/>
                  <a:pt x="1482" y="2025"/>
                  <a:pt x="1482" y="2045"/>
                </a:cubicBezTo>
                <a:cubicBezTo>
                  <a:pt x="1482" y="2063"/>
                  <a:pt x="1486" y="2073"/>
                  <a:pt x="1495" y="2073"/>
                </a:cubicBezTo>
                <a:cubicBezTo>
                  <a:pt x="1503" y="2073"/>
                  <a:pt x="1508" y="2063"/>
                  <a:pt x="1508" y="2045"/>
                </a:cubicBezTo>
                <a:cubicBezTo>
                  <a:pt x="1508" y="2025"/>
                  <a:pt x="1504" y="2015"/>
                  <a:pt x="1495" y="2015"/>
                </a:cubicBezTo>
                <a:close/>
                <a:moveTo>
                  <a:pt x="1567" y="2009"/>
                </a:moveTo>
                <a:cubicBezTo>
                  <a:pt x="1567" y="2009"/>
                  <a:pt x="1567" y="2009"/>
                  <a:pt x="1567" y="2009"/>
                </a:cubicBezTo>
                <a:cubicBezTo>
                  <a:pt x="1561" y="2009"/>
                  <a:pt x="1561" y="2009"/>
                  <a:pt x="1561" y="2009"/>
                </a:cubicBezTo>
                <a:cubicBezTo>
                  <a:pt x="1559" y="2010"/>
                  <a:pt x="1558" y="2012"/>
                  <a:pt x="1556" y="2012"/>
                </a:cubicBezTo>
                <a:cubicBezTo>
                  <a:pt x="1554" y="2014"/>
                  <a:pt x="1552" y="2014"/>
                  <a:pt x="1551" y="2015"/>
                </a:cubicBezTo>
                <a:cubicBezTo>
                  <a:pt x="1549" y="2016"/>
                  <a:pt x="1547" y="2017"/>
                  <a:pt x="1546" y="2017"/>
                </a:cubicBezTo>
                <a:cubicBezTo>
                  <a:pt x="1543" y="2018"/>
                  <a:pt x="1542" y="2019"/>
                  <a:pt x="1540" y="2020"/>
                </a:cubicBezTo>
                <a:cubicBezTo>
                  <a:pt x="1540" y="2020"/>
                  <a:pt x="1540" y="2020"/>
                  <a:pt x="1540" y="2030"/>
                </a:cubicBezTo>
                <a:cubicBezTo>
                  <a:pt x="1543" y="2029"/>
                  <a:pt x="1546" y="2028"/>
                  <a:pt x="1548" y="2027"/>
                </a:cubicBezTo>
                <a:cubicBezTo>
                  <a:pt x="1551" y="2026"/>
                  <a:pt x="1553" y="2025"/>
                  <a:pt x="1555" y="2023"/>
                </a:cubicBezTo>
                <a:cubicBezTo>
                  <a:pt x="1555" y="2023"/>
                  <a:pt x="1555" y="2023"/>
                  <a:pt x="1555" y="2082"/>
                </a:cubicBezTo>
                <a:cubicBezTo>
                  <a:pt x="1555" y="2082"/>
                  <a:pt x="1555" y="2082"/>
                  <a:pt x="1567" y="2082"/>
                </a:cubicBezTo>
                <a:cubicBezTo>
                  <a:pt x="1567" y="2082"/>
                  <a:pt x="1567" y="2082"/>
                  <a:pt x="1567" y="2009"/>
                </a:cubicBezTo>
                <a:close/>
                <a:moveTo>
                  <a:pt x="1357" y="2009"/>
                </a:moveTo>
                <a:cubicBezTo>
                  <a:pt x="1357" y="2009"/>
                  <a:pt x="1357" y="2009"/>
                  <a:pt x="1357" y="2009"/>
                </a:cubicBezTo>
                <a:cubicBezTo>
                  <a:pt x="1352" y="2009"/>
                  <a:pt x="1352" y="2009"/>
                  <a:pt x="1352" y="2009"/>
                </a:cubicBezTo>
                <a:cubicBezTo>
                  <a:pt x="1350" y="2010"/>
                  <a:pt x="1349" y="2012"/>
                  <a:pt x="1346" y="2012"/>
                </a:cubicBezTo>
                <a:cubicBezTo>
                  <a:pt x="1345" y="2014"/>
                  <a:pt x="1343" y="2014"/>
                  <a:pt x="1341" y="2015"/>
                </a:cubicBezTo>
                <a:cubicBezTo>
                  <a:pt x="1340" y="2017"/>
                  <a:pt x="1338" y="2017"/>
                  <a:pt x="1336" y="2018"/>
                </a:cubicBezTo>
                <a:cubicBezTo>
                  <a:pt x="1334" y="2019"/>
                  <a:pt x="1333" y="2020"/>
                  <a:pt x="1330" y="2020"/>
                </a:cubicBezTo>
                <a:cubicBezTo>
                  <a:pt x="1330" y="2020"/>
                  <a:pt x="1330" y="2020"/>
                  <a:pt x="1330" y="2030"/>
                </a:cubicBezTo>
                <a:cubicBezTo>
                  <a:pt x="1333" y="2029"/>
                  <a:pt x="1336" y="2028"/>
                  <a:pt x="1339" y="2027"/>
                </a:cubicBezTo>
                <a:cubicBezTo>
                  <a:pt x="1341" y="2026"/>
                  <a:pt x="1343" y="2025"/>
                  <a:pt x="1346" y="2023"/>
                </a:cubicBezTo>
                <a:cubicBezTo>
                  <a:pt x="1346" y="2023"/>
                  <a:pt x="1346" y="2023"/>
                  <a:pt x="1346" y="2082"/>
                </a:cubicBezTo>
                <a:cubicBezTo>
                  <a:pt x="1346" y="2082"/>
                  <a:pt x="1346" y="2082"/>
                  <a:pt x="1357" y="2082"/>
                </a:cubicBezTo>
                <a:cubicBezTo>
                  <a:pt x="1357" y="2082"/>
                  <a:pt x="1357" y="2082"/>
                  <a:pt x="1357" y="2009"/>
                </a:cubicBezTo>
                <a:close/>
                <a:moveTo>
                  <a:pt x="1404" y="2009"/>
                </a:moveTo>
                <a:cubicBezTo>
                  <a:pt x="1404" y="2009"/>
                  <a:pt x="1404" y="2009"/>
                  <a:pt x="1404" y="2009"/>
                </a:cubicBezTo>
                <a:cubicBezTo>
                  <a:pt x="1399" y="2009"/>
                  <a:pt x="1399" y="2009"/>
                  <a:pt x="1399" y="2009"/>
                </a:cubicBezTo>
                <a:cubicBezTo>
                  <a:pt x="1397" y="2010"/>
                  <a:pt x="1395" y="2012"/>
                  <a:pt x="1393" y="2012"/>
                </a:cubicBezTo>
                <a:cubicBezTo>
                  <a:pt x="1392" y="2014"/>
                  <a:pt x="1390" y="2014"/>
                  <a:pt x="1388" y="2015"/>
                </a:cubicBezTo>
                <a:cubicBezTo>
                  <a:pt x="1387" y="2017"/>
                  <a:pt x="1384" y="2017"/>
                  <a:pt x="1383" y="2018"/>
                </a:cubicBezTo>
                <a:cubicBezTo>
                  <a:pt x="1381" y="2019"/>
                  <a:pt x="1379" y="2020"/>
                  <a:pt x="1377" y="2020"/>
                </a:cubicBezTo>
                <a:cubicBezTo>
                  <a:pt x="1377" y="2020"/>
                  <a:pt x="1377" y="2020"/>
                  <a:pt x="1377" y="2030"/>
                </a:cubicBezTo>
                <a:cubicBezTo>
                  <a:pt x="1380" y="2029"/>
                  <a:pt x="1383" y="2028"/>
                  <a:pt x="1385" y="2027"/>
                </a:cubicBezTo>
                <a:cubicBezTo>
                  <a:pt x="1388" y="2026"/>
                  <a:pt x="1390" y="2025"/>
                  <a:pt x="1393" y="2023"/>
                </a:cubicBezTo>
                <a:cubicBezTo>
                  <a:pt x="1393" y="2023"/>
                  <a:pt x="1393" y="2023"/>
                  <a:pt x="1393" y="2082"/>
                </a:cubicBezTo>
                <a:cubicBezTo>
                  <a:pt x="1393" y="2082"/>
                  <a:pt x="1393" y="2082"/>
                  <a:pt x="1404" y="2082"/>
                </a:cubicBezTo>
                <a:cubicBezTo>
                  <a:pt x="1404" y="2082"/>
                  <a:pt x="1404" y="2082"/>
                  <a:pt x="1404" y="2009"/>
                </a:cubicBezTo>
                <a:close/>
                <a:moveTo>
                  <a:pt x="1450" y="2009"/>
                </a:moveTo>
                <a:cubicBezTo>
                  <a:pt x="1450" y="2009"/>
                  <a:pt x="1450" y="2009"/>
                  <a:pt x="1450" y="2009"/>
                </a:cubicBezTo>
                <a:cubicBezTo>
                  <a:pt x="1446" y="2009"/>
                  <a:pt x="1446" y="2009"/>
                  <a:pt x="1446" y="2009"/>
                </a:cubicBezTo>
                <a:cubicBezTo>
                  <a:pt x="1443" y="2010"/>
                  <a:pt x="1442" y="2012"/>
                  <a:pt x="1440" y="2012"/>
                </a:cubicBezTo>
                <a:cubicBezTo>
                  <a:pt x="1438" y="2014"/>
                  <a:pt x="1436" y="2014"/>
                  <a:pt x="1435" y="2015"/>
                </a:cubicBezTo>
                <a:cubicBezTo>
                  <a:pt x="1433" y="2016"/>
                  <a:pt x="1431" y="2017"/>
                  <a:pt x="1429" y="2017"/>
                </a:cubicBezTo>
                <a:cubicBezTo>
                  <a:pt x="1428" y="2018"/>
                  <a:pt x="1425" y="2019"/>
                  <a:pt x="1424" y="2020"/>
                </a:cubicBezTo>
                <a:cubicBezTo>
                  <a:pt x="1424" y="2020"/>
                  <a:pt x="1424" y="2020"/>
                  <a:pt x="1424" y="2030"/>
                </a:cubicBezTo>
                <a:cubicBezTo>
                  <a:pt x="1427" y="2029"/>
                  <a:pt x="1430" y="2028"/>
                  <a:pt x="1432" y="2027"/>
                </a:cubicBezTo>
                <a:cubicBezTo>
                  <a:pt x="1434" y="2026"/>
                  <a:pt x="1437" y="2025"/>
                  <a:pt x="1438" y="2023"/>
                </a:cubicBezTo>
                <a:cubicBezTo>
                  <a:pt x="1438" y="2023"/>
                  <a:pt x="1438" y="2023"/>
                  <a:pt x="1438" y="2082"/>
                </a:cubicBezTo>
                <a:cubicBezTo>
                  <a:pt x="1438" y="2082"/>
                  <a:pt x="1438" y="2082"/>
                  <a:pt x="1450" y="2082"/>
                </a:cubicBezTo>
                <a:cubicBezTo>
                  <a:pt x="1450" y="2082"/>
                  <a:pt x="1450" y="2082"/>
                  <a:pt x="1450" y="2009"/>
                </a:cubicBezTo>
                <a:close/>
                <a:moveTo>
                  <a:pt x="208" y="2009"/>
                </a:moveTo>
                <a:cubicBezTo>
                  <a:pt x="208" y="2009"/>
                  <a:pt x="208" y="2009"/>
                  <a:pt x="208" y="2009"/>
                </a:cubicBezTo>
                <a:cubicBezTo>
                  <a:pt x="203" y="2009"/>
                  <a:pt x="203" y="2009"/>
                  <a:pt x="203" y="2009"/>
                </a:cubicBezTo>
                <a:cubicBezTo>
                  <a:pt x="200" y="2010"/>
                  <a:pt x="199" y="2012"/>
                  <a:pt x="197" y="2012"/>
                </a:cubicBezTo>
                <a:cubicBezTo>
                  <a:pt x="195" y="2014"/>
                  <a:pt x="193" y="2014"/>
                  <a:pt x="191" y="2015"/>
                </a:cubicBezTo>
                <a:cubicBezTo>
                  <a:pt x="190" y="2017"/>
                  <a:pt x="188" y="2017"/>
                  <a:pt x="186" y="2018"/>
                </a:cubicBezTo>
                <a:cubicBezTo>
                  <a:pt x="184" y="2019"/>
                  <a:pt x="183" y="2020"/>
                  <a:pt x="180" y="2020"/>
                </a:cubicBezTo>
                <a:cubicBezTo>
                  <a:pt x="180" y="2020"/>
                  <a:pt x="180" y="2020"/>
                  <a:pt x="180" y="2030"/>
                </a:cubicBezTo>
                <a:cubicBezTo>
                  <a:pt x="183" y="2029"/>
                  <a:pt x="186" y="2028"/>
                  <a:pt x="188" y="2027"/>
                </a:cubicBezTo>
                <a:cubicBezTo>
                  <a:pt x="191" y="2026"/>
                  <a:pt x="194" y="2025"/>
                  <a:pt x="196" y="2023"/>
                </a:cubicBezTo>
                <a:cubicBezTo>
                  <a:pt x="196" y="2023"/>
                  <a:pt x="196" y="2023"/>
                  <a:pt x="196" y="2082"/>
                </a:cubicBezTo>
                <a:cubicBezTo>
                  <a:pt x="196" y="2082"/>
                  <a:pt x="196" y="2082"/>
                  <a:pt x="208" y="2082"/>
                </a:cubicBezTo>
                <a:cubicBezTo>
                  <a:pt x="208" y="2082"/>
                  <a:pt x="208" y="2082"/>
                  <a:pt x="208" y="2009"/>
                </a:cubicBezTo>
                <a:close/>
                <a:moveTo>
                  <a:pt x="254" y="2009"/>
                </a:moveTo>
                <a:cubicBezTo>
                  <a:pt x="254" y="2009"/>
                  <a:pt x="254" y="2009"/>
                  <a:pt x="254" y="2009"/>
                </a:cubicBezTo>
                <a:cubicBezTo>
                  <a:pt x="249" y="2009"/>
                  <a:pt x="249" y="2009"/>
                  <a:pt x="249" y="2009"/>
                </a:cubicBezTo>
                <a:cubicBezTo>
                  <a:pt x="248" y="2010"/>
                  <a:pt x="246" y="2012"/>
                  <a:pt x="244" y="2012"/>
                </a:cubicBezTo>
                <a:cubicBezTo>
                  <a:pt x="242" y="2014"/>
                  <a:pt x="240" y="2014"/>
                  <a:pt x="238" y="2015"/>
                </a:cubicBezTo>
                <a:cubicBezTo>
                  <a:pt x="237" y="2017"/>
                  <a:pt x="235" y="2017"/>
                  <a:pt x="233" y="2018"/>
                </a:cubicBezTo>
                <a:cubicBezTo>
                  <a:pt x="231" y="2019"/>
                  <a:pt x="230" y="2020"/>
                  <a:pt x="227" y="2020"/>
                </a:cubicBezTo>
                <a:cubicBezTo>
                  <a:pt x="227" y="2020"/>
                  <a:pt x="227" y="2020"/>
                  <a:pt x="227" y="2030"/>
                </a:cubicBezTo>
                <a:cubicBezTo>
                  <a:pt x="230" y="2029"/>
                  <a:pt x="233" y="2028"/>
                  <a:pt x="236" y="2027"/>
                </a:cubicBezTo>
                <a:cubicBezTo>
                  <a:pt x="238" y="2026"/>
                  <a:pt x="240" y="2025"/>
                  <a:pt x="243" y="2023"/>
                </a:cubicBezTo>
                <a:cubicBezTo>
                  <a:pt x="243" y="2023"/>
                  <a:pt x="243" y="2023"/>
                  <a:pt x="243" y="2082"/>
                </a:cubicBezTo>
                <a:cubicBezTo>
                  <a:pt x="243" y="2082"/>
                  <a:pt x="243" y="2082"/>
                  <a:pt x="254" y="2082"/>
                </a:cubicBezTo>
                <a:cubicBezTo>
                  <a:pt x="254" y="2082"/>
                  <a:pt x="254" y="2082"/>
                  <a:pt x="254" y="2009"/>
                </a:cubicBezTo>
                <a:close/>
                <a:moveTo>
                  <a:pt x="300" y="2009"/>
                </a:moveTo>
                <a:cubicBezTo>
                  <a:pt x="300" y="2009"/>
                  <a:pt x="300" y="2009"/>
                  <a:pt x="300" y="2009"/>
                </a:cubicBezTo>
                <a:cubicBezTo>
                  <a:pt x="296" y="2009"/>
                  <a:pt x="296" y="2009"/>
                  <a:pt x="296" y="2009"/>
                </a:cubicBezTo>
                <a:cubicBezTo>
                  <a:pt x="293" y="2010"/>
                  <a:pt x="292" y="2012"/>
                  <a:pt x="290" y="2012"/>
                </a:cubicBezTo>
                <a:cubicBezTo>
                  <a:pt x="288" y="2014"/>
                  <a:pt x="286" y="2014"/>
                  <a:pt x="285" y="2015"/>
                </a:cubicBezTo>
                <a:cubicBezTo>
                  <a:pt x="283" y="2016"/>
                  <a:pt x="281" y="2017"/>
                  <a:pt x="279" y="2017"/>
                </a:cubicBezTo>
                <a:cubicBezTo>
                  <a:pt x="278" y="2018"/>
                  <a:pt x="275" y="2019"/>
                  <a:pt x="274" y="2020"/>
                </a:cubicBezTo>
                <a:cubicBezTo>
                  <a:pt x="274" y="2020"/>
                  <a:pt x="274" y="2020"/>
                  <a:pt x="274" y="2030"/>
                </a:cubicBezTo>
                <a:cubicBezTo>
                  <a:pt x="277" y="2029"/>
                  <a:pt x="280" y="2028"/>
                  <a:pt x="282" y="2027"/>
                </a:cubicBezTo>
                <a:cubicBezTo>
                  <a:pt x="284" y="2026"/>
                  <a:pt x="287" y="2025"/>
                  <a:pt x="288" y="2023"/>
                </a:cubicBezTo>
                <a:cubicBezTo>
                  <a:pt x="288" y="2023"/>
                  <a:pt x="288" y="2023"/>
                  <a:pt x="288" y="2082"/>
                </a:cubicBezTo>
                <a:cubicBezTo>
                  <a:pt x="288" y="2082"/>
                  <a:pt x="288" y="2082"/>
                  <a:pt x="300" y="2082"/>
                </a:cubicBezTo>
                <a:cubicBezTo>
                  <a:pt x="300" y="2082"/>
                  <a:pt x="300" y="2082"/>
                  <a:pt x="300" y="2009"/>
                </a:cubicBezTo>
                <a:close/>
                <a:moveTo>
                  <a:pt x="437" y="2041"/>
                </a:moveTo>
                <a:cubicBezTo>
                  <a:pt x="437" y="2041"/>
                  <a:pt x="437" y="2041"/>
                  <a:pt x="437" y="2041"/>
                </a:cubicBezTo>
                <a:cubicBezTo>
                  <a:pt x="436" y="2049"/>
                  <a:pt x="436" y="2049"/>
                  <a:pt x="436" y="2049"/>
                </a:cubicBezTo>
                <a:cubicBezTo>
                  <a:pt x="442" y="2050"/>
                  <a:pt x="443" y="2053"/>
                  <a:pt x="443" y="2055"/>
                </a:cubicBezTo>
                <a:cubicBezTo>
                  <a:pt x="443" y="2057"/>
                  <a:pt x="443" y="2060"/>
                  <a:pt x="443" y="2062"/>
                </a:cubicBezTo>
                <a:cubicBezTo>
                  <a:pt x="442" y="2065"/>
                  <a:pt x="442" y="2067"/>
                  <a:pt x="442" y="2069"/>
                </a:cubicBezTo>
                <a:cubicBezTo>
                  <a:pt x="442" y="2079"/>
                  <a:pt x="448" y="2082"/>
                  <a:pt x="456" y="2082"/>
                </a:cubicBezTo>
                <a:cubicBezTo>
                  <a:pt x="456" y="2082"/>
                  <a:pt x="456" y="2082"/>
                  <a:pt x="460" y="2082"/>
                </a:cubicBezTo>
                <a:cubicBezTo>
                  <a:pt x="460" y="2082"/>
                  <a:pt x="460" y="2082"/>
                  <a:pt x="460" y="2073"/>
                </a:cubicBezTo>
                <a:cubicBezTo>
                  <a:pt x="460" y="2073"/>
                  <a:pt x="460" y="2073"/>
                  <a:pt x="459" y="2073"/>
                </a:cubicBezTo>
                <a:cubicBezTo>
                  <a:pt x="455" y="2073"/>
                  <a:pt x="454" y="2071"/>
                  <a:pt x="454" y="2067"/>
                </a:cubicBezTo>
                <a:cubicBezTo>
                  <a:pt x="454" y="2066"/>
                  <a:pt x="454" y="2064"/>
                  <a:pt x="454" y="2062"/>
                </a:cubicBezTo>
                <a:cubicBezTo>
                  <a:pt x="454" y="2061"/>
                  <a:pt x="455" y="2059"/>
                  <a:pt x="455" y="2056"/>
                </a:cubicBezTo>
                <a:cubicBezTo>
                  <a:pt x="455" y="2049"/>
                  <a:pt x="452" y="2046"/>
                  <a:pt x="446" y="2045"/>
                </a:cubicBezTo>
                <a:cubicBezTo>
                  <a:pt x="446" y="2045"/>
                  <a:pt x="446" y="2045"/>
                  <a:pt x="446" y="2045"/>
                </a:cubicBezTo>
                <a:cubicBezTo>
                  <a:pt x="452" y="2044"/>
                  <a:pt x="455" y="2041"/>
                  <a:pt x="455" y="2034"/>
                </a:cubicBezTo>
                <a:cubicBezTo>
                  <a:pt x="455" y="2031"/>
                  <a:pt x="454" y="2029"/>
                  <a:pt x="454" y="2028"/>
                </a:cubicBezTo>
                <a:cubicBezTo>
                  <a:pt x="454" y="2026"/>
                  <a:pt x="454" y="2024"/>
                  <a:pt x="454" y="2023"/>
                </a:cubicBezTo>
                <a:cubicBezTo>
                  <a:pt x="454" y="2019"/>
                  <a:pt x="455" y="2017"/>
                  <a:pt x="459" y="2017"/>
                </a:cubicBezTo>
                <a:cubicBezTo>
                  <a:pt x="459" y="2017"/>
                  <a:pt x="459" y="2017"/>
                  <a:pt x="460" y="2017"/>
                </a:cubicBezTo>
                <a:cubicBezTo>
                  <a:pt x="460" y="2017"/>
                  <a:pt x="460" y="2017"/>
                  <a:pt x="460" y="2008"/>
                </a:cubicBezTo>
                <a:cubicBezTo>
                  <a:pt x="460" y="2008"/>
                  <a:pt x="460" y="2008"/>
                  <a:pt x="456" y="2008"/>
                </a:cubicBezTo>
                <a:cubicBezTo>
                  <a:pt x="448" y="2008"/>
                  <a:pt x="442" y="2012"/>
                  <a:pt x="442" y="2020"/>
                </a:cubicBezTo>
                <a:cubicBezTo>
                  <a:pt x="442" y="2023"/>
                  <a:pt x="442" y="2025"/>
                  <a:pt x="442" y="2028"/>
                </a:cubicBezTo>
                <a:cubicBezTo>
                  <a:pt x="443" y="2030"/>
                  <a:pt x="443" y="2033"/>
                  <a:pt x="443" y="2035"/>
                </a:cubicBezTo>
                <a:cubicBezTo>
                  <a:pt x="443" y="2037"/>
                  <a:pt x="442" y="2041"/>
                  <a:pt x="437" y="2041"/>
                </a:cubicBezTo>
                <a:close/>
                <a:moveTo>
                  <a:pt x="491" y="2049"/>
                </a:moveTo>
                <a:cubicBezTo>
                  <a:pt x="491" y="2049"/>
                  <a:pt x="491" y="2049"/>
                  <a:pt x="491" y="2049"/>
                </a:cubicBezTo>
                <a:cubicBezTo>
                  <a:pt x="491" y="2041"/>
                  <a:pt x="491" y="2041"/>
                  <a:pt x="491" y="2041"/>
                </a:cubicBezTo>
                <a:cubicBezTo>
                  <a:pt x="485" y="2041"/>
                  <a:pt x="485" y="2037"/>
                  <a:pt x="485" y="2035"/>
                </a:cubicBezTo>
                <a:cubicBezTo>
                  <a:pt x="485" y="2033"/>
                  <a:pt x="485" y="2030"/>
                  <a:pt x="485" y="2028"/>
                </a:cubicBezTo>
                <a:cubicBezTo>
                  <a:pt x="485" y="2025"/>
                  <a:pt x="485" y="2023"/>
                  <a:pt x="485" y="2020"/>
                </a:cubicBezTo>
                <a:cubicBezTo>
                  <a:pt x="485" y="2012"/>
                  <a:pt x="480" y="2008"/>
                  <a:pt x="471" y="2008"/>
                </a:cubicBezTo>
                <a:cubicBezTo>
                  <a:pt x="471" y="2008"/>
                  <a:pt x="471" y="2008"/>
                  <a:pt x="467" y="2008"/>
                </a:cubicBezTo>
                <a:cubicBezTo>
                  <a:pt x="467" y="2008"/>
                  <a:pt x="467" y="2008"/>
                  <a:pt x="467" y="2017"/>
                </a:cubicBezTo>
                <a:cubicBezTo>
                  <a:pt x="467" y="2017"/>
                  <a:pt x="467" y="2017"/>
                  <a:pt x="468" y="2017"/>
                </a:cubicBezTo>
                <a:cubicBezTo>
                  <a:pt x="472" y="2017"/>
                  <a:pt x="474" y="2019"/>
                  <a:pt x="474" y="2023"/>
                </a:cubicBezTo>
                <a:cubicBezTo>
                  <a:pt x="474" y="2024"/>
                  <a:pt x="473" y="2026"/>
                  <a:pt x="473" y="2028"/>
                </a:cubicBezTo>
                <a:cubicBezTo>
                  <a:pt x="473" y="2029"/>
                  <a:pt x="473" y="2031"/>
                  <a:pt x="473" y="2034"/>
                </a:cubicBezTo>
                <a:cubicBezTo>
                  <a:pt x="473" y="2041"/>
                  <a:pt x="476" y="2044"/>
                  <a:pt x="482" y="2045"/>
                </a:cubicBezTo>
                <a:cubicBezTo>
                  <a:pt x="482" y="2045"/>
                  <a:pt x="482" y="2045"/>
                  <a:pt x="482" y="2045"/>
                </a:cubicBezTo>
                <a:cubicBezTo>
                  <a:pt x="476" y="2046"/>
                  <a:pt x="473" y="2049"/>
                  <a:pt x="473" y="2056"/>
                </a:cubicBezTo>
                <a:cubicBezTo>
                  <a:pt x="473" y="2059"/>
                  <a:pt x="473" y="2061"/>
                  <a:pt x="473" y="2062"/>
                </a:cubicBezTo>
                <a:cubicBezTo>
                  <a:pt x="473" y="2064"/>
                  <a:pt x="474" y="2066"/>
                  <a:pt x="474" y="2067"/>
                </a:cubicBezTo>
                <a:cubicBezTo>
                  <a:pt x="474" y="2071"/>
                  <a:pt x="473" y="2073"/>
                  <a:pt x="468" y="2073"/>
                </a:cubicBezTo>
                <a:cubicBezTo>
                  <a:pt x="468" y="2073"/>
                  <a:pt x="468" y="2073"/>
                  <a:pt x="467" y="2073"/>
                </a:cubicBezTo>
                <a:cubicBezTo>
                  <a:pt x="467" y="2073"/>
                  <a:pt x="467" y="2073"/>
                  <a:pt x="467" y="2082"/>
                </a:cubicBezTo>
                <a:cubicBezTo>
                  <a:pt x="467" y="2082"/>
                  <a:pt x="467" y="2082"/>
                  <a:pt x="471" y="2082"/>
                </a:cubicBezTo>
                <a:cubicBezTo>
                  <a:pt x="480" y="2082"/>
                  <a:pt x="485" y="2079"/>
                  <a:pt x="485" y="2069"/>
                </a:cubicBezTo>
                <a:cubicBezTo>
                  <a:pt x="485" y="2067"/>
                  <a:pt x="485" y="2065"/>
                  <a:pt x="485" y="2062"/>
                </a:cubicBezTo>
                <a:cubicBezTo>
                  <a:pt x="485" y="2060"/>
                  <a:pt x="485" y="2057"/>
                  <a:pt x="485" y="2055"/>
                </a:cubicBezTo>
                <a:cubicBezTo>
                  <a:pt x="485" y="2053"/>
                  <a:pt x="485" y="2050"/>
                  <a:pt x="491" y="2049"/>
                </a:cubicBezTo>
                <a:close/>
                <a:moveTo>
                  <a:pt x="538" y="2009"/>
                </a:moveTo>
                <a:cubicBezTo>
                  <a:pt x="538" y="2009"/>
                  <a:pt x="538" y="2009"/>
                  <a:pt x="538" y="2009"/>
                </a:cubicBezTo>
                <a:cubicBezTo>
                  <a:pt x="533" y="2009"/>
                  <a:pt x="533" y="2009"/>
                  <a:pt x="533" y="2009"/>
                </a:cubicBezTo>
                <a:cubicBezTo>
                  <a:pt x="531" y="2010"/>
                  <a:pt x="529" y="2012"/>
                  <a:pt x="527" y="2012"/>
                </a:cubicBezTo>
                <a:cubicBezTo>
                  <a:pt x="526" y="2014"/>
                  <a:pt x="523" y="2014"/>
                  <a:pt x="522" y="2015"/>
                </a:cubicBezTo>
                <a:cubicBezTo>
                  <a:pt x="520" y="2016"/>
                  <a:pt x="518" y="2017"/>
                  <a:pt x="517" y="2017"/>
                </a:cubicBezTo>
                <a:cubicBezTo>
                  <a:pt x="515" y="2018"/>
                  <a:pt x="513" y="2019"/>
                  <a:pt x="511" y="2020"/>
                </a:cubicBezTo>
                <a:cubicBezTo>
                  <a:pt x="511" y="2020"/>
                  <a:pt x="511" y="2020"/>
                  <a:pt x="511" y="2030"/>
                </a:cubicBezTo>
                <a:cubicBezTo>
                  <a:pt x="514" y="2029"/>
                  <a:pt x="517" y="2028"/>
                  <a:pt x="519" y="2027"/>
                </a:cubicBezTo>
                <a:cubicBezTo>
                  <a:pt x="522" y="2026"/>
                  <a:pt x="524" y="2025"/>
                  <a:pt x="526" y="2023"/>
                </a:cubicBezTo>
                <a:cubicBezTo>
                  <a:pt x="526" y="2023"/>
                  <a:pt x="526" y="2023"/>
                  <a:pt x="526" y="2082"/>
                </a:cubicBezTo>
                <a:cubicBezTo>
                  <a:pt x="526" y="2082"/>
                  <a:pt x="526" y="2082"/>
                  <a:pt x="538" y="2082"/>
                </a:cubicBezTo>
                <a:cubicBezTo>
                  <a:pt x="538" y="2082"/>
                  <a:pt x="538" y="2082"/>
                  <a:pt x="538" y="2009"/>
                </a:cubicBezTo>
                <a:close/>
                <a:moveTo>
                  <a:pt x="584" y="2009"/>
                </a:moveTo>
                <a:cubicBezTo>
                  <a:pt x="584" y="2009"/>
                  <a:pt x="584" y="2009"/>
                  <a:pt x="584" y="2009"/>
                </a:cubicBezTo>
                <a:cubicBezTo>
                  <a:pt x="579" y="2009"/>
                  <a:pt x="579" y="2009"/>
                  <a:pt x="579" y="2009"/>
                </a:cubicBezTo>
                <a:cubicBezTo>
                  <a:pt x="577" y="2010"/>
                  <a:pt x="576" y="2012"/>
                  <a:pt x="574" y="2012"/>
                </a:cubicBezTo>
                <a:cubicBezTo>
                  <a:pt x="572" y="2014"/>
                  <a:pt x="570" y="2014"/>
                  <a:pt x="569" y="2015"/>
                </a:cubicBezTo>
                <a:cubicBezTo>
                  <a:pt x="567" y="2017"/>
                  <a:pt x="565" y="2017"/>
                  <a:pt x="563" y="2018"/>
                </a:cubicBezTo>
                <a:cubicBezTo>
                  <a:pt x="561" y="2019"/>
                  <a:pt x="560" y="2020"/>
                  <a:pt x="558" y="2020"/>
                </a:cubicBezTo>
                <a:cubicBezTo>
                  <a:pt x="558" y="2020"/>
                  <a:pt x="558" y="2020"/>
                  <a:pt x="558" y="2030"/>
                </a:cubicBezTo>
                <a:cubicBezTo>
                  <a:pt x="561" y="2029"/>
                  <a:pt x="563" y="2028"/>
                  <a:pt x="566" y="2027"/>
                </a:cubicBezTo>
                <a:cubicBezTo>
                  <a:pt x="569" y="2026"/>
                  <a:pt x="571" y="2025"/>
                  <a:pt x="573" y="2023"/>
                </a:cubicBezTo>
                <a:cubicBezTo>
                  <a:pt x="573" y="2023"/>
                  <a:pt x="573" y="2023"/>
                  <a:pt x="573" y="2082"/>
                </a:cubicBezTo>
                <a:cubicBezTo>
                  <a:pt x="573" y="2082"/>
                  <a:pt x="573" y="2082"/>
                  <a:pt x="584" y="2082"/>
                </a:cubicBezTo>
                <a:cubicBezTo>
                  <a:pt x="584" y="2082"/>
                  <a:pt x="584" y="2082"/>
                  <a:pt x="584" y="2009"/>
                </a:cubicBezTo>
                <a:close/>
                <a:moveTo>
                  <a:pt x="630" y="2009"/>
                </a:moveTo>
                <a:cubicBezTo>
                  <a:pt x="630" y="2009"/>
                  <a:pt x="630" y="2009"/>
                  <a:pt x="630" y="2009"/>
                </a:cubicBezTo>
                <a:cubicBezTo>
                  <a:pt x="626" y="2009"/>
                  <a:pt x="626" y="2009"/>
                  <a:pt x="626" y="2009"/>
                </a:cubicBezTo>
                <a:cubicBezTo>
                  <a:pt x="624" y="2010"/>
                  <a:pt x="622" y="2012"/>
                  <a:pt x="620" y="2012"/>
                </a:cubicBezTo>
                <a:cubicBezTo>
                  <a:pt x="619" y="2014"/>
                  <a:pt x="616" y="2014"/>
                  <a:pt x="615" y="2015"/>
                </a:cubicBezTo>
                <a:cubicBezTo>
                  <a:pt x="613" y="2017"/>
                  <a:pt x="611" y="2017"/>
                  <a:pt x="609" y="2018"/>
                </a:cubicBezTo>
                <a:cubicBezTo>
                  <a:pt x="608" y="2019"/>
                  <a:pt x="606" y="2020"/>
                  <a:pt x="604" y="2020"/>
                </a:cubicBezTo>
                <a:cubicBezTo>
                  <a:pt x="604" y="2020"/>
                  <a:pt x="604" y="2020"/>
                  <a:pt x="604" y="2030"/>
                </a:cubicBezTo>
                <a:cubicBezTo>
                  <a:pt x="607" y="2029"/>
                  <a:pt x="610" y="2028"/>
                  <a:pt x="612" y="2027"/>
                </a:cubicBezTo>
                <a:cubicBezTo>
                  <a:pt x="614" y="2026"/>
                  <a:pt x="617" y="2025"/>
                  <a:pt x="619" y="2023"/>
                </a:cubicBezTo>
                <a:cubicBezTo>
                  <a:pt x="619" y="2023"/>
                  <a:pt x="619" y="2023"/>
                  <a:pt x="619" y="2082"/>
                </a:cubicBezTo>
                <a:cubicBezTo>
                  <a:pt x="619" y="2082"/>
                  <a:pt x="619" y="2082"/>
                  <a:pt x="630" y="2082"/>
                </a:cubicBezTo>
                <a:cubicBezTo>
                  <a:pt x="630" y="2082"/>
                  <a:pt x="630" y="2082"/>
                  <a:pt x="630" y="2009"/>
                </a:cubicBezTo>
                <a:close/>
                <a:moveTo>
                  <a:pt x="380" y="2056"/>
                </a:moveTo>
                <a:cubicBezTo>
                  <a:pt x="380" y="2058"/>
                  <a:pt x="381" y="2059"/>
                  <a:pt x="382" y="2060"/>
                </a:cubicBezTo>
                <a:cubicBezTo>
                  <a:pt x="382" y="2062"/>
                  <a:pt x="382" y="2064"/>
                  <a:pt x="383" y="2065"/>
                </a:cubicBezTo>
                <a:cubicBezTo>
                  <a:pt x="383" y="2067"/>
                  <a:pt x="383" y="2069"/>
                  <a:pt x="383" y="2070"/>
                </a:cubicBezTo>
                <a:cubicBezTo>
                  <a:pt x="384" y="2073"/>
                  <a:pt x="383" y="2075"/>
                  <a:pt x="380" y="2075"/>
                </a:cubicBezTo>
                <a:cubicBezTo>
                  <a:pt x="377" y="2075"/>
                  <a:pt x="374" y="2075"/>
                  <a:pt x="371" y="2075"/>
                </a:cubicBezTo>
                <a:cubicBezTo>
                  <a:pt x="371" y="2075"/>
                  <a:pt x="370" y="2075"/>
                  <a:pt x="370" y="2075"/>
                </a:cubicBezTo>
                <a:cubicBezTo>
                  <a:pt x="368" y="2077"/>
                  <a:pt x="367" y="2078"/>
                  <a:pt x="366" y="2079"/>
                </a:cubicBezTo>
                <a:cubicBezTo>
                  <a:pt x="364" y="2082"/>
                  <a:pt x="360" y="2082"/>
                  <a:pt x="358" y="2080"/>
                </a:cubicBezTo>
                <a:cubicBezTo>
                  <a:pt x="356" y="2078"/>
                  <a:pt x="355" y="2075"/>
                  <a:pt x="353" y="2073"/>
                </a:cubicBezTo>
                <a:cubicBezTo>
                  <a:pt x="353" y="2071"/>
                  <a:pt x="353" y="2069"/>
                  <a:pt x="355" y="2068"/>
                </a:cubicBezTo>
                <a:cubicBezTo>
                  <a:pt x="353" y="2068"/>
                  <a:pt x="351" y="2068"/>
                  <a:pt x="349" y="2068"/>
                </a:cubicBezTo>
                <a:cubicBezTo>
                  <a:pt x="349" y="2070"/>
                  <a:pt x="347" y="2072"/>
                  <a:pt x="347" y="2074"/>
                </a:cubicBezTo>
                <a:cubicBezTo>
                  <a:pt x="347" y="2075"/>
                  <a:pt x="346" y="2075"/>
                  <a:pt x="346" y="2076"/>
                </a:cubicBezTo>
                <a:cubicBezTo>
                  <a:pt x="346" y="2079"/>
                  <a:pt x="345" y="2081"/>
                  <a:pt x="342" y="2080"/>
                </a:cubicBezTo>
                <a:cubicBezTo>
                  <a:pt x="339" y="2080"/>
                  <a:pt x="336" y="2079"/>
                  <a:pt x="333" y="2078"/>
                </a:cubicBezTo>
                <a:cubicBezTo>
                  <a:pt x="331" y="2077"/>
                  <a:pt x="331" y="2076"/>
                  <a:pt x="331" y="2074"/>
                </a:cubicBezTo>
                <a:cubicBezTo>
                  <a:pt x="331" y="2073"/>
                  <a:pt x="331" y="2072"/>
                  <a:pt x="332" y="2072"/>
                </a:cubicBezTo>
                <a:cubicBezTo>
                  <a:pt x="329" y="2071"/>
                  <a:pt x="327" y="2070"/>
                  <a:pt x="325" y="2069"/>
                </a:cubicBezTo>
                <a:cubicBezTo>
                  <a:pt x="324" y="2068"/>
                  <a:pt x="323" y="2066"/>
                  <a:pt x="322" y="2064"/>
                </a:cubicBezTo>
                <a:cubicBezTo>
                  <a:pt x="321" y="2062"/>
                  <a:pt x="321" y="2061"/>
                  <a:pt x="323" y="2059"/>
                </a:cubicBezTo>
                <a:cubicBezTo>
                  <a:pt x="326" y="2057"/>
                  <a:pt x="327" y="2054"/>
                  <a:pt x="326" y="2050"/>
                </a:cubicBezTo>
                <a:cubicBezTo>
                  <a:pt x="326" y="2048"/>
                  <a:pt x="326" y="2046"/>
                  <a:pt x="326" y="2044"/>
                </a:cubicBezTo>
                <a:cubicBezTo>
                  <a:pt x="325" y="2043"/>
                  <a:pt x="323" y="2043"/>
                  <a:pt x="322" y="2042"/>
                </a:cubicBezTo>
                <a:cubicBezTo>
                  <a:pt x="321" y="2040"/>
                  <a:pt x="320" y="2038"/>
                  <a:pt x="320" y="2036"/>
                </a:cubicBezTo>
                <a:cubicBezTo>
                  <a:pt x="320" y="2033"/>
                  <a:pt x="324" y="2031"/>
                  <a:pt x="326" y="2030"/>
                </a:cubicBezTo>
                <a:cubicBezTo>
                  <a:pt x="327" y="2031"/>
                  <a:pt x="327" y="2031"/>
                  <a:pt x="327" y="2032"/>
                </a:cubicBezTo>
                <a:cubicBezTo>
                  <a:pt x="327" y="2033"/>
                  <a:pt x="327" y="2034"/>
                  <a:pt x="327" y="2035"/>
                </a:cubicBezTo>
                <a:cubicBezTo>
                  <a:pt x="327" y="2035"/>
                  <a:pt x="326" y="2035"/>
                  <a:pt x="326" y="2035"/>
                </a:cubicBezTo>
                <a:cubicBezTo>
                  <a:pt x="326" y="2036"/>
                  <a:pt x="325" y="2037"/>
                  <a:pt x="324" y="2039"/>
                </a:cubicBezTo>
                <a:cubicBezTo>
                  <a:pt x="326" y="2039"/>
                  <a:pt x="326" y="2039"/>
                  <a:pt x="327" y="2039"/>
                </a:cubicBezTo>
                <a:cubicBezTo>
                  <a:pt x="328" y="2037"/>
                  <a:pt x="329" y="2037"/>
                  <a:pt x="329" y="2035"/>
                </a:cubicBezTo>
                <a:cubicBezTo>
                  <a:pt x="334" y="2029"/>
                  <a:pt x="340" y="2025"/>
                  <a:pt x="347" y="2023"/>
                </a:cubicBezTo>
                <a:cubicBezTo>
                  <a:pt x="351" y="2023"/>
                  <a:pt x="354" y="2022"/>
                  <a:pt x="356" y="2019"/>
                </a:cubicBezTo>
                <a:cubicBezTo>
                  <a:pt x="356" y="2018"/>
                  <a:pt x="357" y="2018"/>
                  <a:pt x="357" y="2018"/>
                </a:cubicBezTo>
                <a:cubicBezTo>
                  <a:pt x="360" y="2018"/>
                  <a:pt x="362" y="2015"/>
                  <a:pt x="364" y="2013"/>
                </a:cubicBezTo>
                <a:cubicBezTo>
                  <a:pt x="371" y="2006"/>
                  <a:pt x="383" y="2005"/>
                  <a:pt x="391" y="2012"/>
                </a:cubicBezTo>
                <a:cubicBezTo>
                  <a:pt x="393" y="2014"/>
                  <a:pt x="396" y="2016"/>
                  <a:pt x="398" y="2018"/>
                </a:cubicBezTo>
                <a:cubicBezTo>
                  <a:pt x="400" y="2019"/>
                  <a:pt x="401" y="2021"/>
                  <a:pt x="402" y="2023"/>
                </a:cubicBezTo>
                <a:cubicBezTo>
                  <a:pt x="403" y="2024"/>
                  <a:pt x="404" y="2024"/>
                  <a:pt x="405" y="2023"/>
                </a:cubicBezTo>
                <a:cubicBezTo>
                  <a:pt x="406" y="2023"/>
                  <a:pt x="406" y="2022"/>
                  <a:pt x="407" y="2021"/>
                </a:cubicBezTo>
                <a:cubicBezTo>
                  <a:pt x="409" y="2018"/>
                  <a:pt x="412" y="2018"/>
                  <a:pt x="413" y="2022"/>
                </a:cubicBezTo>
                <a:cubicBezTo>
                  <a:pt x="415" y="2025"/>
                  <a:pt x="415" y="2027"/>
                  <a:pt x="416" y="2031"/>
                </a:cubicBezTo>
                <a:cubicBezTo>
                  <a:pt x="416" y="2035"/>
                  <a:pt x="416" y="2039"/>
                  <a:pt x="415" y="2044"/>
                </a:cubicBezTo>
                <a:cubicBezTo>
                  <a:pt x="412" y="2050"/>
                  <a:pt x="407" y="2054"/>
                  <a:pt x="401" y="2054"/>
                </a:cubicBezTo>
                <a:cubicBezTo>
                  <a:pt x="400" y="2054"/>
                  <a:pt x="400" y="2054"/>
                  <a:pt x="399" y="2054"/>
                </a:cubicBezTo>
                <a:cubicBezTo>
                  <a:pt x="396" y="2053"/>
                  <a:pt x="395" y="2054"/>
                  <a:pt x="395" y="2056"/>
                </a:cubicBezTo>
                <a:cubicBezTo>
                  <a:pt x="393" y="2060"/>
                  <a:pt x="387" y="2062"/>
                  <a:pt x="384" y="2059"/>
                </a:cubicBezTo>
                <a:cubicBezTo>
                  <a:pt x="383" y="2058"/>
                  <a:pt x="382" y="2057"/>
                  <a:pt x="381" y="2056"/>
                </a:cubicBezTo>
                <a:cubicBezTo>
                  <a:pt x="380" y="2056"/>
                  <a:pt x="380" y="2056"/>
                  <a:pt x="380" y="2056"/>
                </a:cubicBezTo>
                <a:close/>
                <a:moveTo>
                  <a:pt x="375" y="2052"/>
                </a:moveTo>
                <a:cubicBezTo>
                  <a:pt x="378" y="2053"/>
                  <a:pt x="382" y="2054"/>
                  <a:pt x="384" y="2057"/>
                </a:cubicBezTo>
                <a:cubicBezTo>
                  <a:pt x="386" y="2059"/>
                  <a:pt x="388" y="2060"/>
                  <a:pt x="390" y="2059"/>
                </a:cubicBezTo>
                <a:cubicBezTo>
                  <a:pt x="393" y="2058"/>
                  <a:pt x="394" y="2056"/>
                  <a:pt x="394" y="2053"/>
                </a:cubicBezTo>
                <a:cubicBezTo>
                  <a:pt x="394" y="2053"/>
                  <a:pt x="393" y="2053"/>
                  <a:pt x="393" y="2054"/>
                </a:cubicBezTo>
                <a:cubicBezTo>
                  <a:pt x="393" y="2055"/>
                  <a:pt x="391" y="2056"/>
                  <a:pt x="391" y="2057"/>
                </a:cubicBezTo>
                <a:cubicBezTo>
                  <a:pt x="389" y="2058"/>
                  <a:pt x="388" y="2058"/>
                  <a:pt x="387" y="2058"/>
                </a:cubicBezTo>
                <a:cubicBezTo>
                  <a:pt x="387" y="2058"/>
                  <a:pt x="386" y="2056"/>
                  <a:pt x="386" y="2056"/>
                </a:cubicBezTo>
                <a:cubicBezTo>
                  <a:pt x="386" y="2053"/>
                  <a:pt x="387" y="2051"/>
                  <a:pt x="387" y="2049"/>
                </a:cubicBezTo>
                <a:cubicBezTo>
                  <a:pt x="390" y="2050"/>
                  <a:pt x="393" y="2051"/>
                  <a:pt x="397" y="2052"/>
                </a:cubicBezTo>
                <a:cubicBezTo>
                  <a:pt x="404" y="2053"/>
                  <a:pt x="410" y="2051"/>
                  <a:pt x="413" y="2043"/>
                </a:cubicBezTo>
                <a:cubicBezTo>
                  <a:pt x="415" y="2038"/>
                  <a:pt x="415" y="2033"/>
                  <a:pt x="414" y="2028"/>
                </a:cubicBezTo>
                <a:cubicBezTo>
                  <a:pt x="413" y="2026"/>
                  <a:pt x="413" y="2024"/>
                  <a:pt x="412" y="2022"/>
                </a:cubicBezTo>
                <a:cubicBezTo>
                  <a:pt x="411" y="2021"/>
                  <a:pt x="410" y="2020"/>
                  <a:pt x="409" y="2022"/>
                </a:cubicBezTo>
                <a:cubicBezTo>
                  <a:pt x="407" y="2024"/>
                  <a:pt x="406" y="2025"/>
                  <a:pt x="404" y="2026"/>
                </a:cubicBezTo>
                <a:cubicBezTo>
                  <a:pt x="403" y="2026"/>
                  <a:pt x="402" y="2027"/>
                  <a:pt x="402" y="2028"/>
                </a:cubicBezTo>
                <a:cubicBezTo>
                  <a:pt x="403" y="2031"/>
                  <a:pt x="402" y="2035"/>
                  <a:pt x="401" y="2038"/>
                </a:cubicBezTo>
                <a:cubicBezTo>
                  <a:pt x="401" y="2036"/>
                  <a:pt x="402" y="2034"/>
                  <a:pt x="402" y="2032"/>
                </a:cubicBezTo>
                <a:cubicBezTo>
                  <a:pt x="402" y="2031"/>
                  <a:pt x="401" y="2031"/>
                  <a:pt x="401" y="2031"/>
                </a:cubicBezTo>
                <a:cubicBezTo>
                  <a:pt x="400" y="2031"/>
                  <a:pt x="400" y="2031"/>
                  <a:pt x="400" y="2031"/>
                </a:cubicBezTo>
                <a:cubicBezTo>
                  <a:pt x="399" y="2033"/>
                  <a:pt x="398" y="2034"/>
                  <a:pt x="397" y="2035"/>
                </a:cubicBezTo>
                <a:cubicBezTo>
                  <a:pt x="397" y="2035"/>
                  <a:pt x="397" y="2035"/>
                  <a:pt x="397" y="2035"/>
                </a:cubicBezTo>
                <a:cubicBezTo>
                  <a:pt x="397" y="2034"/>
                  <a:pt x="398" y="2032"/>
                  <a:pt x="398" y="2030"/>
                </a:cubicBezTo>
                <a:cubicBezTo>
                  <a:pt x="397" y="2031"/>
                  <a:pt x="396" y="2031"/>
                  <a:pt x="396" y="2032"/>
                </a:cubicBezTo>
                <a:cubicBezTo>
                  <a:pt x="395" y="2032"/>
                  <a:pt x="395" y="2033"/>
                  <a:pt x="395" y="2034"/>
                </a:cubicBezTo>
                <a:cubicBezTo>
                  <a:pt x="395" y="2030"/>
                  <a:pt x="395" y="2030"/>
                  <a:pt x="401" y="2029"/>
                </a:cubicBezTo>
                <a:cubicBezTo>
                  <a:pt x="401" y="2029"/>
                  <a:pt x="400" y="2028"/>
                  <a:pt x="400" y="2028"/>
                </a:cubicBezTo>
                <a:cubicBezTo>
                  <a:pt x="397" y="2029"/>
                  <a:pt x="396" y="2027"/>
                  <a:pt x="396" y="2025"/>
                </a:cubicBezTo>
                <a:cubicBezTo>
                  <a:pt x="398" y="2024"/>
                  <a:pt x="399" y="2024"/>
                  <a:pt x="401" y="2024"/>
                </a:cubicBezTo>
                <a:cubicBezTo>
                  <a:pt x="399" y="2021"/>
                  <a:pt x="398" y="2018"/>
                  <a:pt x="395" y="2018"/>
                </a:cubicBezTo>
                <a:cubicBezTo>
                  <a:pt x="394" y="2018"/>
                  <a:pt x="394" y="2018"/>
                  <a:pt x="394" y="2017"/>
                </a:cubicBezTo>
                <a:cubicBezTo>
                  <a:pt x="391" y="2015"/>
                  <a:pt x="389" y="2013"/>
                  <a:pt x="386" y="2011"/>
                </a:cubicBezTo>
                <a:cubicBezTo>
                  <a:pt x="384" y="2010"/>
                  <a:pt x="381" y="2009"/>
                  <a:pt x="379" y="2009"/>
                </a:cubicBezTo>
                <a:cubicBezTo>
                  <a:pt x="376" y="2009"/>
                  <a:pt x="373" y="2010"/>
                  <a:pt x="369" y="2011"/>
                </a:cubicBezTo>
                <a:cubicBezTo>
                  <a:pt x="367" y="2012"/>
                  <a:pt x="364" y="2014"/>
                  <a:pt x="362" y="2017"/>
                </a:cubicBezTo>
                <a:cubicBezTo>
                  <a:pt x="364" y="2017"/>
                  <a:pt x="365" y="2017"/>
                  <a:pt x="366" y="2017"/>
                </a:cubicBezTo>
                <a:cubicBezTo>
                  <a:pt x="366" y="2018"/>
                  <a:pt x="365" y="2018"/>
                  <a:pt x="364" y="2018"/>
                </a:cubicBezTo>
                <a:cubicBezTo>
                  <a:pt x="362" y="2019"/>
                  <a:pt x="359" y="2018"/>
                  <a:pt x="357" y="2020"/>
                </a:cubicBezTo>
                <a:cubicBezTo>
                  <a:pt x="354" y="2024"/>
                  <a:pt x="350" y="2028"/>
                  <a:pt x="346" y="2032"/>
                </a:cubicBezTo>
                <a:cubicBezTo>
                  <a:pt x="345" y="2034"/>
                  <a:pt x="344" y="2037"/>
                  <a:pt x="343" y="2039"/>
                </a:cubicBezTo>
                <a:cubicBezTo>
                  <a:pt x="343" y="2039"/>
                  <a:pt x="343" y="2040"/>
                  <a:pt x="343" y="2041"/>
                </a:cubicBezTo>
                <a:cubicBezTo>
                  <a:pt x="344" y="2043"/>
                  <a:pt x="346" y="2045"/>
                  <a:pt x="347" y="2046"/>
                </a:cubicBezTo>
                <a:cubicBezTo>
                  <a:pt x="348" y="2045"/>
                  <a:pt x="349" y="2043"/>
                  <a:pt x="351" y="2042"/>
                </a:cubicBezTo>
                <a:cubicBezTo>
                  <a:pt x="350" y="2043"/>
                  <a:pt x="350" y="2045"/>
                  <a:pt x="349" y="2046"/>
                </a:cubicBezTo>
                <a:cubicBezTo>
                  <a:pt x="348" y="2047"/>
                  <a:pt x="347" y="2048"/>
                  <a:pt x="347" y="2050"/>
                </a:cubicBezTo>
                <a:cubicBezTo>
                  <a:pt x="347" y="2051"/>
                  <a:pt x="347" y="2052"/>
                  <a:pt x="347" y="2053"/>
                </a:cubicBezTo>
                <a:cubicBezTo>
                  <a:pt x="350" y="2056"/>
                  <a:pt x="353" y="2056"/>
                  <a:pt x="357" y="2054"/>
                </a:cubicBezTo>
                <a:cubicBezTo>
                  <a:pt x="359" y="2053"/>
                  <a:pt x="362" y="2052"/>
                  <a:pt x="365" y="2051"/>
                </a:cubicBezTo>
                <a:cubicBezTo>
                  <a:pt x="366" y="2050"/>
                  <a:pt x="367" y="2050"/>
                  <a:pt x="367" y="2048"/>
                </a:cubicBezTo>
                <a:cubicBezTo>
                  <a:pt x="367" y="2045"/>
                  <a:pt x="367" y="2041"/>
                  <a:pt x="367" y="2038"/>
                </a:cubicBezTo>
                <a:cubicBezTo>
                  <a:pt x="367" y="2035"/>
                  <a:pt x="367" y="2032"/>
                  <a:pt x="367" y="2029"/>
                </a:cubicBezTo>
                <a:cubicBezTo>
                  <a:pt x="368" y="2032"/>
                  <a:pt x="369" y="2035"/>
                  <a:pt x="369" y="2037"/>
                </a:cubicBezTo>
                <a:cubicBezTo>
                  <a:pt x="370" y="2042"/>
                  <a:pt x="370" y="2046"/>
                  <a:pt x="369" y="2050"/>
                </a:cubicBezTo>
                <a:cubicBezTo>
                  <a:pt x="368" y="2051"/>
                  <a:pt x="367" y="2052"/>
                  <a:pt x="367" y="2052"/>
                </a:cubicBezTo>
                <a:cubicBezTo>
                  <a:pt x="364" y="2052"/>
                  <a:pt x="360" y="2054"/>
                  <a:pt x="357" y="2056"/>
                </a:cubicBezTo>
                <a:cubicBezTo>
                  <a:pt x="352" y="2059"/>
                  <a:pt x="349" y="2057"/>
                  <a:pt x="345" y="2053"/>
                </a:cubicBezTo>
                <a:cubicBezTo>
                  <a:pt x="345" y="2053"/>
                  <a:pt x="345" y="2052"/>
                  <a:pt x="345" y="2051"/>
                </a:cubicBezTo>
                <a:cubicBezTo>
                  <a:pt x="346" y="2049"/>
                  <a:pt x="345" y="2047"/>
                  <a:pt x="344" y="2045"/>
                </a:cubicBezTo>
                <a:cubicBezTo>
                  <a:pt x="342" y="2043"/>
                  <a:pt x="340" y="2041"/>
                  <a:pt x="342" y="2038"/>
                </a:cubicBezTo>
                <a:cubicBezTo>
                  <a:pt x="342" y="2036"/>
                  <a:pt x="343" y="2034"/>
                  <a:pt x="344" y="2033"/>
                </a:cubicBezTo>
                <a:cubicBezTo>
                  <a:pt x="346" y="2030"/>
                  <a:pt x="348" y="2027"/>
                  <a:pt x="350" y="2025"/>
                </a:cubicBezTo>
                <a:cubicBezTo>
                  <a:pt x="350" y="2025"/>
                  <a:pt x="349" y="2025"/>
                  <a:pt x="349" y="2025"/>
                </a:cubicBezTo>
                <a:cubicBezTo>
                  <a:pt x="344" y="2026"/>
                  <a:pt x="340" y="2027"/>
                  <a:pt x="336" y="2031"/>
                </a:cubicBezTo>
                <a:cubicBezTo>
                  <a:pt x="331" y="2035"/>
                  <a:pt x="328" y="2040"/>
                  <a:pt x="328" y="2047"/>
                </a:cubicBezTo>
                <a:cubicBezTo>
                  <a:pt x="327" y="2054"/>
                  <a:pt x="330" y="2060"/>
                  <a:pt x="333" y="2065"/>
                </a:cubicBezTo>
                <a:cubicBezTo>
                  <a:pt x="334" y="2066"/>
                  <a:pt x="335" y="2068"/>
                  <a:pt x="334" y="2069"/>
                </a:cubicBezTo>
                <a:cubicBezTo>
                  <a:pt x="334" y="2071"/>
                  <a:pt x="334" y="2072"/>
                  <a:pt x="333" y="2073"/>
                </a:cubicBezTo>
                <a:cubicBezTo>
                  <a:pt x="333" y="2075"/>
                  <a:pt x="333" y="2076"/>
                  <a:pt x="334" y="2077"/>
                </a:cubicBezTo>
                <a:cubicBezTo>
                  <a:pt x="337" y="2077"/>
                  <a:pt x="340" y="2078"/>
                  <a:pt x="343" y="2078"/>
                </a:cubicBezTo>
                <a:cubicBezTo>
                  <a:pt x="344" y="2078"/>
                  <a:pt x="344" y="2077"/>
                  <a:pt x="344" y="2077"/>
                </a:cubicBezTo>
                <a:cubicBezTo>
                  <a:pt x="345" y="2076"/>
                  <a:pt x="345" y="2074"/>
                  <a:pt x="346" y="2073"/>
                </a:cubicBezTo>
                <a:cubicBezTo>
                  <a:pt x="347" y="2071"/>
                  <a:pt x="347" y="2068"/>
                  <a:pt x="347" y="2065"/>
                </a:cubicBezTo>
                <a:cubicBezTo>
                  <a:pt x="347" y="2065"/>
                  <a:pt x="347" y="2065"/>
                  <a:pt x="347" y="2064"/>
                </a:cubicBezTo>
                <a:cubicBezTo>
                  <a:pt x="347" y="2064"/>
                  <a:pt x="347" y="2064"/>
                  <a:pt x="347" y="2064"/>
                </a:cubicBezTo>
                <a:cubicBezTo>
                  <a:pt x="348" y="2066"/>
                  <a:pt x="349" y="2066"/>
                  <a:pt x="351" y="2066"/>
                </a:cubicBezTo>
                <a:cubicBezTo>
                  <a:pt x="352" y="2066"/>
                  <a:pt x="353" y="2066"/>
                  <a:pt x="354" y="2066"/>
                </a:cubicBezTo>
                <a:cubicBezTo>
                  <a:pt x="356" y="2066"/>
                  <a:pt x="360" y="2067"/>
                  <a:pt x="360" y="2063"/>
                </a:cubicBezTo>
                <a:cubicBezTo>
                  <a:pt x="360" y="2065"/>
                  <a:pt x="360" y="2067"/>
                  <a:pt x="360" y="2067"/>
                </a:cubicBezTo>
                <a:cubicBezTo>
                  <a:pt x="359" y="2068"/>
                  <a:pt x="358" y="2069"/>
                  <a:pt x="356" y="2069"/>
                </a:cubicBezTo>
                <a:cubicBezTo>
                  <a:pt x="355" y="2070"/>
                  <a:pt x="355" y="2072"/>
                  <a:pt x="355" y="2073"/>
                </a:cubicBezTo>
                <a:cubicBezTo>
                  <a:pt x="356" y="2075"/>
                  <a:pt x="358" y="2077"/>
                  <a:pt x="359" y="2079"/>
                </a:cubicBezTo>
                <a:cubicBezTo>
                  <a:pt x="361" y="2080"/>
                  <a:pt x="363" y="2080"/>
                  <a:pt x="364" y="2078"/>
                </a:cubicBezTo>
                <a:cubicBezTo>
                  <a:pt x="365" y="2077"/>
                  <a:pt x="366" y="2077"/>
                  <a:pt x="366" y="2076"/>
                </a:cubicBezTo>
                <a:cubicBezTo>
                  <a:pt x="368" y="2075"/>
                  <a:pt x="369" y="2073"/>
                  <a:pt x="371" y="2072"/>
                </a:cubicBezTo>
                <a:cubicBezTo>
                  <a:pt x="375" y="2068"/>
                  <a:pt x="377" y="2062"/>
                  <a:pt x="379" y="2056"/>
                </a:cubicBezTo>
                <a:cubicBezTo>
                  <a:pt x="379" y="2056"/>
                  <a:pt x="378" y="2055"/>
                  <a:pt x="378" y="2054"/>
                </a:cubicBezTo>
                <a:cubicBezTo>
                  <a:pt x="377" y="2053"/>
                  <a:pt x="376" y="2052"/>
                  <a:pt x="375" y="2052"/>
                </a:cubicBezTo>
                <a:close/>
                <a:moveTo>
                  <a:pt x="327" y="2058"/>
                </a:moveTo>
                <a:cubicBezTo>
                  <a:pt x="327" y="2059"/>
                  <a:pt x="325" y="2060"/>
                  <a:pt x="324" y="2061"/>
                </a:cubicBezTo>
                <a:cubicBezTo>
                  <a:pt x="324" y="2061"/>
                  <a:pt x="323" y="2062"/>
                  <a:pt x="323" y="2063"/>
                </a:cubicBezTo>
                <a:cubicBezTo>
                  <a:pt x="323" y="2065"/>
                  <a:pt x="327" y="2070"/>
                  <a:pt x="331" y="2069"/>
                </a:cubicBezTo>
                <a:cubicBezTo>
                  <a:pt x="332" y="2069"/>
                  <a:pt x="333" y="2068"/>
                  <a:pt x="332" y="2067"/>
                </a:cubicBezTo>
                <a:cubicBezTo>
                  <a:pt x="331" y="2064"/>
                  <a:pt x="329" y="2061"/>
                  <a:pt x="327" y="2058"/>
                </a:cubicBezTo>
                <a:close/>
                <a:moveTo>
                  <a:pt x="380" y="2060"/>
                </a:moveTo>
                <a:cubicBezTo>
                  <a:pt x="378" y="2065"/>
                  <a:pt x="375" y="2069"/>
                  <a:pt x="373" y="2073"/>
                </a:cubicBezTo>
                <a:cubicBezTo>
                  <a:pt x="376" y="2073"/>
                  <a:pt x="378" y="2074"/>
                  <a:pt x="381" y="2073"/>
                </a:cubicBezTo>
                <a:cubicBezTo>
                  <a:pt x="381" y="2073"/>
                  <a:pt x="382" y="2072"/>
                  <a:pt x="382" y="2072"/>
                </a:cubicBezTo>
                <a:cubicBezTo>
                  <a:pt x="382" y="2069"/>
                  <a:pt x="382" y="2067"/>
                  <a:pt x="381" y="2064"/>
                </a:cubicBezTo>
                <a:cubicBezTo>
                  <a:pt x="381" y="2063"/>
                  <a:pt x="380" y="2062"/>
                  <a:pt x="380" y="2060"/>
                </a:cubicBezTo>
                <a:close/>
                <a:moveTo>
                  <a:pt x="327" y="2040"/>
                </a:moveTo>
                <a:cubicBezTo>
                  <a:pt x="327" y="2040"/>
                  <a:pt x="326" y="2041"/>
                  <a:pt x="326" y="2041"/>
                </a:cubicBezTo>
                <a:cubicBezTo>
                  <a:pt x="325" y="2041"/>
                  <a:pt x="324" y="2041"/>
                  <a:pt x="324" y="2040"/>
                </a:cubicBezTo>
                <a:cubicBezTo>
                  <a:pt x="324" y="2040"/>
                  <a:pt x="323" y="2039"/>
                  <a:pt x="323" y="2038"/>
                </a:cubicBezTo>
                <a:cubicBezTo>
                  <a:pt x="324" y="2036"/>
                  <a:pt x="324" y="2034"/>
                  <a:pt x="325" y="2032"/>
                </a:cubicBezTo>
                <a:cubicBezTo>
                  <a:pt x="325" y="2032"/>
                  <a:pt x="325" y="2032"/>
                  <a:pt x="324" y="2032"/>
                </a:cubicBezTo>
                <a:cubicBezTo>
                  <a:pt x="324" y="2033"/>
                  <a:pt x="322" y="2034"/>
                  <a:pt x="322" y="2035"/>
                </a:cubicBezTo>
                <a:cubicBezTo>
                  <a:pt x="321" y="2036"/>
                  <a:pt x="322" y="2041"/>
                  <a:pt x="324" y="2042"/>
                </a:cubicBezTo>
                <a:cubicBezTo>
                  <a:pt x="326" y="2043"/>
                  <a:pt x="327" y="2042"/>
                  <a:pt x="327" y="2040"/>
                </a:cubicBezTo>
                <a:close/>
                <a:moveTo>
                  <a:pt x="327" y="2058"/>
                </a:moveTo>
                <a:cubicBezTo>
                  <a:pt x="327" y="2058"/>
                  <a:pt x="325" y="2059"/>
                  <a:pt x="324" y="2060"/>
                </a:cubicBezTo>
                <a:cubicBezTo>
                  <a:pt x="323" y="2061"/>
                  <a:pt x="323" y="2062"/>
                  <a:pt x="323" y="2062"/>
                </a:cubicBezTo>
                <a:cubicBezTo>
                  <a:pt x="323" y="2065"/>
                  <a:pt x="327" y="2070"/>
                  <a:pt x="331" y="2069"/>
                </a:cubicBezTo>
                <a:cubicBezTo>
                  <a:pt x="332" y="2069"/>
                  <a:pt x="333" y="2068"/>
                  <a:pt x="332" y="2066"/>
                </a:cubicBezTo>
                <a:cubicBezTo>
                  <a:pt x="331" y="2063"/>
                  <a:pt x="329" y="2060"/>
                  <a:pt x="327" y="2058"/>
                </a:cubicBezTo>
                <a:close/>
                <a:moveTo>
                  <a:pt x="380" y="2060"/>
                </a:moveTo>
                <a:cubicBezTo>
                  <a:pt x="378" y="2064"/>
                  <a:pt x="375" y="2069"/>
                  <a:pt x="373" y="2073"/>
                </a:cubicBezTo>
                <a:cubicBezTo>
                  <a:pt x="376" y="2073"/>
                  <a:pt x="378" y="2073"/>
                  <a:pt x="381" y="2073"/>
                </a:cubicBezTo>
                <a:cubicBezTo>
                  <a:pt x="381" y="2073"/>
                  <a:pt x="381" y="2072"/>
                  <a:pt x="381" y="2071"/>
                </a:cubicBezTo>
                <a:cubicBezTo>
                  <a:pt x="381" y="2069"/>
                  <a:pt x="381" y="2066"/>
                  <a:pt x="381" y="2064"/>
                </a:cubicBezTo>
                <a:cubicBezTo>
                  <a:pt x="381" y="2062"/>
                  <a:pt x="380" y="2061"/>
                  <a:pt x="380" y="2060"/>
                </a:cubicBezTo>
                <a:close/>
                <a:moveTo>
                  <a:pt x="327" y="2040"/>
                </a:moveTo>
                <a:cubicBezTo>
                  <a:pt x="326" y="2040"/>
                  <a:pt x="326" y="2040"/>
                  <a:pt x="325" y="2040"/>
                </a:cubicBezTo>
                <a:cubicBezTo>
                  <a:pt x="324" y="2040"/>
                  <a:pt x="324" y="2040"/>
                  <a:pt x="324" y="2040"/>
                </a:cubicBezTo>
                <a:cubicBezTo>
                  <a:pt x="323" y="2040"/>
                  <a:pt x="323" y="2039"/>
                  <a:pt x="323" y="2038"/>
                </a:cubicBezTo>
                <a:cubicBezTo>
                  <a:pt x="324" y="2036"/>
                  <a:pt x="324" y="2034"/>
                  <a:pt x="325" y="2032"/>
                </a:cubicBezTo>
                <a:cubicBezTo>
                  <a:pt x="324" y="2032"/>
                  <a:pt x="324" y="2032"/>
                  <a:pt x="324" y="2032"/>
                </a:cubicBezTo>
                <a:cubicBezTo>
                  <a:pt x="323" y="2033"/>
                  <a:pt x="322" y="2034"/>
                  <a:pt x="321" y="2035"/>
                </a:cubicBezTo>
                <a:cubicBezTo>
                  <a:pt x="320" y="2036"/>
                  <a:pt x="322" y="2041"/>
                  <a:pt x="324" y="2042"/>
                </a:cubicBezTo>
                <a:cubicBezTo>
                  <a:pt x="325" y="2043"/>
                  <a:pt x="327" y="2042"/>
                  <a:pt x="327" y="2040"/>
                </a:cubicBezTo>
                <a:close/>
                <a:moveTo>
                  <a:pt x="380" y="2031"/>
                </a:moveTo>
                <a:cubicBezTo>
                  <a:pt x="383" y="2028"/>
                  <a:pt x="383" y="2028"/>
                  <a:pt x="386" y="2026"/>
                </a:cubicBezTo>
                <a:cubicBezTo>
                  <a:pt x="386" y="2028"/>
                  <a:pt x="388" y="2030"/>
                  <a:pt x="389" y="2030"/>
                </a:cubicBezTo>
                <a:cubicBezTo>
                  <a:pt x="387" y="2031"/>
                  <a:pt x="385" y="2032"/>
                  <a:pt x="383" y="2034"/>
                </a:cubicBezTo>
                <a:cubicBezTo>
                  <a:pt x="382" y="2033"/>
                  <a:pt x="382" y="2032"/>
                  <a:pt x="381" y="2031"/>
                </a:cubicBezTo>
                <a:cubicBezTo>
                  <a:pt x="381" y="2031"/>
                  <a:pt x="380" y="2031"/>
                  <a:pt x="380" y="2031"/>
                </a:cubicBezTo>
                <a:close/>
                <a:moveTo>
                  <a:pt x="385" y="2031"/>
                </a:moveTo>
                <a:cubicBezTo>
                  <a:pt x="385" y="2030"/>
                  <a:pt x="384" y="2030"/>
                  <a:pt x="383" y="2030"/>
                </a:cubicBezTo>
                <a:cubicBezTo>
                  <a:pt x="383" y="2030"/>
                  <a:pt x="382" y="2031"/>
                  <a:pt x="382" y="2031"/>
                </a:cubicBezTo>
                <a:cubicBezTo>
                  <a:pt x="382" y="2032"/>
                  <a:pt x="383" y="2032"/>
                  <a:pt x="383" y="2032"/>
                </a:cubicBezTo>
                <a:cubicBezTo>
                  <a:pt x="384" y="2032"/>
                  <a:pt x="384" y="2032"/>
                  <a:pt x="385" y="2031"/>
                </a:cubicBezTo>
                <a:close/>
                <a:moveTo>
                  <a:pt x="367" y="2021"/>
                </a:moveTo>
                <a:cubicBezTo>
                  <a:pt x="360" y="2021"/>
                  <a:pt x="357" y="2023"/>
                  <a:pt x="356" y="2031"/>
                </a:cubicBezTo>
                <a:cubicBezTo>
                  <a:pt x="357" y="2029"/>
                  <a:pt x="358" y="2026"/>
                  <a:pt x="360" y="2024"/>
                </a:cubicBezTo>
                <a:cubicBezTo>
                  <a:pt x="360" y="2024"/>
                  <a:pt x="360" y="2024"/>
                  <a:pt x="360" y="2024"/>
                </a:cubicBezTo>
                <a:cubicBezTo>
                  <a:pt x="360" y="2025"/>
                  <a:pt x="360" y="2026"/>
                  <a:pt x="360" y="2027"/>
                </a:cubicBezTo>
                <a:cubicBezTo>
                  <a:pt x="361" y="2024"/>
                  <a:pt x="363" y="2022"/>
                  <a:pt x="367" y="2021"/>
                </a:cubicBezTo>
                <a:close/>
                <a:moveTo>
                  <a:pt x="410" y="2023"/>
                </a:moveTo>
                <a:cubicBezTo>
                  <a:pt x="408" y="2024"/>
                  <a:pt x="406" y="2026"/>
                  <a:pt x="404" y="2027"/>
                </a:cubicBezTo>
                <a:cubicBezTo>
                  <a:pt x="407" y="2027"/>
                  <a:pt x="409" y="2026"/>
                  <a:pt x="410" y="2023"/>
                </a:cubicBezTo>
                <a:close/>
                <a:moveTo>
                  <a:pt x="377" y="2025"/>
                </a:moveTo>
                <a:cubicBezTo>
                  <a:pt x="378" y="2024"/>
                  <a:pt x="379" y="2022"/>
                  <a:pt x="380" y="2021"/>
                </a:cubicBezTo>
                <a:cubicBezTo>
                  <a:pt x="377" y="2022"/>
                  <a:pt x="376" y="2023"/>
                  <a:pt x="377" y="2025"/>
                </a:cubicBezTo>
                <a:close/>
                <a:moveTo>
                  <a:pt x="387" y="2046"/>
                </a:moveTo>
                <a:cubicBezTo>
                  <a:pt x="385" y="2047"/>
                  <a:pt x="384" y="2048"/>
                  <a:pt x="384" y="2049"/>
                </a:cubicBezTo>
                <a:cubicBezTo>
                  <a:pt x="385" y="2048"/>
                  <a:pt x="386" y="2047"/>
                  <a:pt x="387" y="2046"/>
                </a:cubicBezTo>
                <a:close/>
                <a:moveTo>
                  <a:pt x="385" y="2031"/>
                </a:moveTo>
                <a:cubicBezTo>
                  <a:pt x="385" y="2031"/>
                  <a:pt x="384" y="2030"/>
                  <a:pt x="383" y="2030"/>
                </a:cubicBezTo>
                <a:cubicBezTo>
                  <a:pt x="383" y="2030"/>
                  <a:pt x="382" y="2031"/>
                  <a:pt x="382" y="2031"/>
                </a:cubicBezTo>
                <a:cubicBezTo>
                  <a:pt x="382" y="2032"/>
                  <a:pt x="383" y="2032"/>
                  <a:pt x="383" y="2033"/>
                </a:cubicBezTo>
                <a:cubicBezTo>
                  <a:pt x="384" y="2032"/>
                  <a:pt x="384" y="2032"/>
                  <a:pt x="385" y="2031"/>
                </a:cubicBezTo>
                <a:close/>
                <a:moveTo>
                  <a:pt x="676" y="2009"/>
                </a:moveTo>
                <a:cubicBezTo>
                  <a:pt x="676" y="2009"/>
                  <a:pt x="676" y="2009"/>
                  <a:pt x="676" y="2009"/>
                </a:cubicBezTo>
                <a:cubicBezTo>
                  <a:pt x="671" y="2009"/>
                  <a:pt x="671" y="2009"/>
                  <a:pt x="671" y="2009"/>
                </a:cubicBezTo>
                <a:cubicBezTo>
                  <a:pt x="669" y="2010"/>
                  <a:pt x="668" y="2012"/>
                  <a:pt x="666" y="2012"/>
                </a:cubicBezTo>
                <a:cubicBezTo>
                  <a:pt x="664" y="2014"/>
                  <a:pt x="662" y="2014"/>
                  <a:pt x="661" y="2015"/>
                </a:cubicBezTo>
                <a:cubicBezTo>
                  <a:pt x="658" y="2017"/>
                  <a:pt x="657" y="2017"/>
                  <a:pt x="655" y="2018"/>
                </a:cubicBezTo>
                <a:cubicBezTo>
                  <a:pt x="653" y="2019"/>
                  <a:pt x="651" y="2020"/>
                  <a:pt x="650" y="2020"/>
                </a:cubicBezTo>
                <a:cubicBezTo>
                  <a:pt x="650" y="2020"/>
                  <a:pt x="650" y="2020"/>
                  <a:pt x="650" y="2030"/>
                </a:cubicBezTo>
                <a:cubicBezTo>
                  <a:pt x="653" y="2029"/>
                  <a:pt x="656" y="2028"/>
                  <a:pt x="658" y="2027"/>
                </a:cubicBezTo>
                <a:cubicBezTo>
                  <a:pt x="660" y="2026"/>
                  <a:pt x="663" y="2025"/>
                  <a:pt x="664" y="2023"/>
                </a:cubicBezTo>
                <a:cubicBezTo>
                  <a:pt x="664" y="2023"/>
                  <a:pt x="664" y="2023"/>
                  <a:pt x="664" y="2082"/>
                </a:cubicBezTo>
                <a:cubicBezTo>
                  <a:pt x="664" y="2082"/>
                  <a:pt x="664" y="2082"/>
                  <a:pt x="676" y="2082"/>
                </a:cubicBezTo>
                <a:cubicBezTo>
                  <a:pt x="676" y="2082"/>
                  <a:pt x="676" y="2082"/>
                  <a:pt x="676" y="2009"/>
                </a:cubicBezTo>
                <a:close/>
                <a:moveTo>
                  <a:pt x="798" y="2009"/>
                </a:moveTo>
                <a:cubicBezTo>
                  <a:pt x="798" y="2009"/>
                  <a:pt x="798" y="2009"/>
                  <a:pt x="798" y="2009"/>
                </a:cubicBezTo>
                <a:cubicBezTo>
                  <a:pt x="792" y="2009"/>
                  <a:pt x="792" y="2009"/>
                  <a:pt x="792" y="2009"/>
                </a:cubicBezTo>
                <a:cubicBezTo>
                  <a:pt x="790" y="2010"/>
                  <a:pt x="789" y="2012"/>
                  <a:pt x="787" y="2012"/>
                </a:cubicBezTo>
                <a:cubicBezTo>
                  <a:pt x="785" y="2014"/>
                  <a:pt x="784" y="2014"/>
                  <a:pt x="781" y="2015"/>
                </a:cubicBezTo>
                <a:cubicBezTo>
                  <a:pt x="780" y="2017"/>
                  <a:pt x="778" y="2017"/>
                  <a:pt x="776" y="2018"/>
                </a:cubicBezTo>
                <a:cubicBezTo>
                  <a:pt x="774" y="2019"/>
                  <a:pt x="772" y="2020"/>
                  <a:pt x="770" y="2020"/>
                </a:cubicBezTo>
                <a:cubicBezTo>
                  <a:pt x="770" y="2020"/>
                  <a:pt x="770" y="2020"/>
                  <a:pt x="770" y="2030"/>
                </a:cubicBezTo>
                <a:cubicBezTo>
                  <a:pt x="773" y="2029"/>
                  <a:pt x="776" y="2028"/>
                  <a:pt x="779" y="2027"/>
                </a:cubicBezTo>
                <a:cubicBezTo>
                  <a:pt x="781" y="2026"/>
                  <a:pt x="784" y="2025"/>
                  <a:pt x="786" y="2023"/>
                </a:cubicBezTo>
                <a:cubicBezTo>
                  <a:pt x="786" y="2023"/>
                  <a:pt x="786" y="2023"/>
                  <a:pt x="786" y="2082"/>
                </a:cubicBezTo>
                <a:cubicBezTo>
                  <a:pt x="786" y="2082"/>
                  <a:pt x="786" y="2082"/>
                  <a:pt x="798" y="2082"/>
                </a:cubicBezTo>
                <a:cubicBezTo>
                  <a:pt x="798" y="2082"/>
                  <a:pt x="798" y="2082"/>
                  <a:pt x="798" y="2009"/>
                </a:cubicBezTo>
                <a:close/>
                <a:moveTo>
                  <a:pt x="844" y="2009"/>
                </a:moveTo>
                <a:cubicBezTo>
                  <a:pt x="844" y="2009"/>
                  <a:pt x="844" y="2009"/>
                  <a:pt x="844" y="2009"/>
                </a:cubicBezTo>
                <a:cubicBezTo>
                  <a:pt x="839" y="2009"/>
                  <a:pt x="839" y="2009"/>
                  <a:pt x="839" y="2009"/>
                </a:cubicBezTo>
                <a:cubicBezTo>
                  <a:pt x="837" y="2010"/>
                  <a:pt x="835" y="2012"/>
                  <a:pt x="833" y="2012"/>
                </a:cubicBezTo>
                <a:cubicBezTo>
                  <a:pt x="832" y="2014"/>
                  <a:pt x="830" y="2014"/>
                  <a:pt x="828" y="2015"/>
                </a:cubicBezTo>
                <a:cubicBezTo>
                  <a:pt x="827" y="2017"/>
                  <a:pt x="825" y="2017"/>
                  <a:pt x="823" y="2018"/>
                </a:cubicBezTo>
                <a:cubicBezTo>
                  <a:pt x="821" y="2019"/>
                  <a:pt x="819" y="2020"/>
                  <a:pt x="817" y="2020"/>
                </a:cubicBezTo>
                <a:cubicBezTo>
                  <a:pt x="817" y="2020"/>
                  <a:pt x="817" y="2020"/>
                  <a:pt x="817" y="2030"/>
                </a:cubicBezTo>
                <a:cubicBezTo>
                  <a:pt x="820" y="2029"/>
                  <a:pt x="823" y="2028"/>
                  <a:pt x="825" y="2027"/>
                </a:cubicBezTo>
                <a:cubicBezTo>
                  <a:pt x="828" y="2026"/>
                  <a:pt x="830" y="2025"/>
                  <a:pt x="833" y="2023"/>
                </a:cubicBezTo>
                <a:cubicBezTo>
                  <a:pt x="833" y="2023"/>
                  <a:pt x="833" y="2023"/>
                  <a:pt x="833" y="2082"/>
                </a:cubicBezTo>
                <a:cubicBezTo>
                  <a:pt x="833" y="2082"/>
                  <a:pt x="833" y="2082"/>
                  <a:pt x="844" y="2082"/>
                </a:cubicBezTo>
                <a:cubicBezTo>
                  <a:pt x="844" y="2082"/>
                  <a:pt x="844" y="2082"/>
                  <a:pt x="844" y="2009"/>
                </a:cubicBezTo>
                <a:close/>
                <a:moveTo>
                  <a:pt x="890" y="2009"/>
                </a:moveTo>
                <a:cubicBezTo>
                  <a:pt x="890" y="2009"/>
                  <a:pt x="890" y="2009"/>
                  <a:pt x="890" y="2009"/>
                </a:cubicBezTo>
                <a:cubicBezTo>
                  <a:pt x="886" y="2009"/>
                  <a:pt x="886" y="2009"/>
                  <a:pt x="886" y="2009"/>
                </a:cubicBezTo>
                <a:cubicBezTo>
                  <a:pt x="884" y="2010"/>
                  <a:pt x="882" y="2012"/>
                  <a:pt x="880" y="2012"/>
                </a:cubicBezTo>
                <a:cubicBezTo>
                  <a:pt x="879" y="2014"/>
                  <a:pt x="876" y="2014"/>
                  <a:pt x="875" y="2015"/>
                </a:cubicBezTo>
                <a:cubicBezTo>
                  <a:pt x="873" y="2016"/>
                  <a:pt x="871" y="2017"/>
                  <a:pt x="869" y="2017"/>
                </a:cubicBezTo>
                <a:cubicBezTo>
                  <a:pt x="868" y="2018"/>
                  <a:pt x="865" y="2019"/>
                  <a:pt x="864" y="2020"/>
                </a:cubicBezTo>
                <a:cubicBezTo>
                  <a:pt x="864" y="2020"/>
                  <a:pt x="864" y="2020"/>
                  <a:pt x="864" y="2030"/>
                </a:cubicBezTo>
                <a:cubicBezTo>
                  <a:pt x="867" y="2029"/>
                  <a:pt x="870" y="2028"/>
                  <a:pt x="872" y="2027"/>
                </a:cubicBezTo>
                <a:cubicBezTo>
                  <a:pt x="874" y="2026"/>
                  <a:pt x="877" y="2025"/>
                  <a:pt x="879" y="2023"/>
                </a:cubicBezTo>
                <a:cubicBezTo>
                  <a:pt x="879" y="2023"/>
                  <a:pt x="879" y="2023"/>
                  <a:pt x="879" y="2082"/>
                </a:cubicBezTo>
                <a:cubicBezTo>
                  <a:pt x="879" y="2082"/>
                  <a:pt x="879" y="2082"/>
                  <a:pt x="890" y="2082"/>
                </a:cubicBezTo>
                <a:cubicBezTo>
                  <a:pt x="890" y="2082"/>
                  <a:pt x="890" y="2082"/>
                  <a:pt x="890" y="2009"/>
                </a:cubicBezTo>
                <a:close/>
                <a:moveTo>
                  <a:pt x="696" y="2041"/>
                </a:moveTo>
                <a:cubicBezTo>
                  <a:pt x="696" y="2041"/>
                  <a:pt x="696" y="2041"/>
                  <a:pt x="696" y="2041"/>
                </a:cubicBezTo>
                <a:cubicBezTo>
                  <a:pt x="696" y="2049"/>
                  <a:pt x="696" y="2049"/>
                  <a:pt x="696" y="2049"/>
                </a:cubicBezTo>
                <a:cubicBezTo>
                  <a:pt x="702" y="2050"/>
                  <a:pt x="703" y="2053"/>
                  <a:pt x="703" y="2055"/>
                </a:cubicBezTo>
                <a:cubicBezTo>
                  <a:pt x="703" y="2057"/>
                  <a:pt x="702" y="2060"/>
                  <a:pt x="702" y="2062"/>
                </a:cubicBezTo>
                <a:cubicBezTo>
                  <a:pt x="702" y="2065"/>
                  <a:pt x="702" y="2067"/>
                  <a:pt x="702" y="2069"/>
                </a:cubicBezTo>
                <a:cubicBezTo>
                  <a:pt x="702" y="2079"/>
                  <a:pt x="708" y="2082"/>
                  <a:pt x="716" y="2082"/>
                </a:cubicBezTo>
                <a:cubicBezTo>
                  <a:pt x="716" y="2082"/>
                  <a:pt x="716" y="2082"/>
                  <a:pt x="720" y="2082"/>
                </a:cubicBezTo>
                <a:cubicBezTo>
                  <a:pt x="720" y="2082"/>
                  <a:pt x="720" y="2082"/>
                  <a:pt x="720" y="2073"/>
                </a:cubicBezTo>
                <a:cubicBezTo>
                  <a:pt x="720" y="2073"/>
                  <a:pt x="720" y="2073"/>
                  <a:pt x="718" y="2073"/>
                </a:cubicBezTo>
                <a:cubicBezTo>
                  <a:pt x="715" y="2073"/>
                  <a:pt x="714" y="2071"/>
                  <a:pt x="714" y="2067"/>
                </a:cubicBezTo>
                <a:cubicBezTo>
                  <a:pt x="714" y="2066"/>
                  <a:pt x="714" y="2064"/>
                  <a:pt x="714" y="2062"/>
                </a:cubicBezTo>
                <a:cubicBezTo>
                  <a:pt x="714" y="2061"/>
                  <a:pt x="714" y="2059"/>
                  <a:pt x="714" y="2056"/>
                </a:cubicBezTo>
                <a:cubicBezTo>
                  <a:pt x="714" y="2049"/>
                  <a:pt x="711" y="2046"/>
                  <a:pt x="706" y="2045"/>
                </a:cubicBezTo>
                <a:cubicBezTo>
                  <a:pt x="706" y="2045"/>
                  <a:pt x="706" y="2045"/>
                  <a:pt x="706" y="2045"/>
                </a:cubicBezTo>
                <a:cubicBezTo>
                  <a:pt x="711" y="2044"/>
                  <a:pt x="714" y="2041"/>
                  <a:pt x="714" y="2034"/>
                </a:cubicBezTo>
                <a:cubicBezTo>
                  <a:pt x="714" y="2031"/>
                  <a:pt x="714" y="2029"/>
                  <a:pt x="714" y="2028"/>
                </a:cubicBezTo>
                <a:cubicBezTo>
                  <a:pt x="714" y="2026"/>
                  <a:pt x="714" y="2024"/>
                  <a:pt x="714" y="2023"/>
                </a:cubicBezTo>
                <a:cubicBezTo>
                  <a:pt x="714" y="2019"/>
                  <a:pt x="715" y="2017"/>
                  <a:pt x="718" y="2017"/>
                </a:cubicBezTo>
                <a:cubicBezTo>
                  <a:pt x="718" y="2017"/>
                  <a:pt x="718" y="2017"/>
                  <a:pt x="720" y="2017"/>
                </a:cubicBezTo>
                <a:cubicBezTo>
                  <a:pt x="720" y="2017"/>
                  <a:pt x="720" y="2017"/>
                  <a:pt x="720" y="2008"/>
                </a:cubicBezTo>
                <a:cubicBezTo>
                  <a:pt x="720" y="2008"/>
                  <a:pt x="720" y="2008"/>
                  <a:pt x="716" y="2008"/>
                </a:cubicBezTo>
                <a:cubicBezTo>
                  <a:pt x="707" y="2008"/>
                  <a:pt x="702" y="2012"/>
                  <a:pt x="702" y="2020"/>
                </a:cubicBezTo>
                <a:cubicBezTo>
                  <a:pt x="702" y="2023"/>
                  <a:pt x="702" y="2025"/>
                  <a:pt x="702" y="2028"/>
                </a:cubicBezTo>
                <a:cubicBezTo>
                  <a:pt x="702" y="2030"/>
                  <a:pt x="703" y="2033"/>
                  <a:pt x="703" y="2035"/>
                </a:cubicBezTo>
                <a:cubicBezTo>
                  <a:pt x="703" y="2037"/>
                  <a:pt x="702" y="2041"/>
                  <a:pt x="696" y="2041"/>
                </a:cubicBezTo>
                <a:close/>
                <a:moveTo>
                  <a:pt x="751" y="2049"/>
                </a:moveTo>
                <a:cubicBezTo>
                  <a:pt x="751" y="2049"/>
                  <a:pt x="751" y="2049"/>
                  <a:pt x="751" y="2049"/>
                </a:cubicBezTo>
                <a:cubicBezTo>
                  <a:pt x="751" y="2041"/>
                  <a:pt x="751" y="2041"/>
                  <a:pt x="751" y="2041"/>
                </a:cubicBezTo>
                <a:cubicBezTo>
                  <a:pt x="744" y="2041"/>
                  <a:pt x="744" y="2037"/>
                  <a:pt x="744" y="2035"/>
                </a:cubicBezTo>
                <a:cubicBezTo>
                  <a:pt x="744" y="2033"/>
                  <a:pt x="744" y="2030"/>
                  <a:pt x="744" y="2028"/>
                </a:cubicBezTo>
                <a:cubicBezTo>
                  <a:pt x="745" y="2025"/>
                  <a:pt x="745" y="2023"/>
                  <a:pt x="745" y="2020"/>
                </a:cubicBezTo>
                <a:cubicBezTo>
                  <a:pt x="745" y="2012"/>
                  <a:pt x="739" y="2008"/>
                  <a:pt x="730" y="2008"/>
                </a:cubicBezTo>
                <a:cubicBezTo>
                  <a:pt x="730" y="2008"/>
                  <a:pt x="730" y="2008"/>
                  <a:pt x="727" y="2008"/>
                </a:cubicBezTo>
                <a:cubicBezTo>
                  <a:pt x="727" y="2008"/>
                  <a:pt x="727" y="2008"/>
                  <a:pt x="727" y="2017"/>
                </a:cubicBezTo>
                <a:cubicBezTo>
                  <a:pt x="727" y="2017"/>
                  <a:pt x="727" y="2017"/>
                  <a:pt x="728" y="2017"/>
                </a:cubicBezTo>
                <a:cubicBezTo>
                  <a:pt x="732" y="2017"/>
                  <a:pt x="733" y="2019"/>
                  <a:pt x="733" y="2023"/>
                </a:cubicBezTo>
                <a:cubicBezTo>
                  <a:pt x="733" y="2024"/>
                  <a:pt x="733" y="2026"/>
                  <a:pt x="733" y="2028"/>
                </a:cubicBezTo>
                <a:cubicBezTo>
                  <a:pt x="732" y="2029"/>
                  <a:pt x="732" y="2031"/>
                  <a:pt x="732" y="2034"/>
                </a:cubicBezTo>
                <a:cubicBezTo>
                  <a:pt x="732" y="2041"/>
                  <a:pt x="735" y="2044"/>
                  <a:pt x="741" y="2045"/>
                </a:cubicBezTo>
                <a:cubicBezTo>
                  <a:pt x="741" y="2045"/>
                  <a:pt x="741" y="2045"/>
                  <a:pt x="741" y="2045"/>
                </a:cubicBezTo>
                <a:cubicBezTo>
                  <a:pt x="735" y="2046"/>
                  <a:pt x="732" y="2049"/>
                  <a:pt x="732" y="2056"/>
                </a:cubicBezTo>
                <a:cubicBezTo>
                  <a:pt x="732" y="2059"/>
                  <a:pt x="732" y="2061"/>
                  <a:pt x="733" y="2062"/>
                </a:cubicBezTo>
                <a:cubicBezTo>
                  <a:pt x="733" y="2064"/>
                  <a:pt x="733" y="2066"/>
                  <a:pt x="733" y="2067"/>
                </a:cubicBezTo>
                <a:cubicBezTo>
                  <a:pt x="733" y="2071"/>
                  <a:pt x="732" y="2073"/>
                  <a:pt x="728" y="2073"/>
                </a:cubicBezTo>
                <a:cubicBezTo>
                  <a:pt x="728" y="2073"/>
                  <a:pt x="728" y="2073"/>
                  <a:pt x="727" y="2073"/>
                </a:cubicBezTo>
                <a:cubicBezTo>
                  <a:pt x="727" y="2073"/>
                  <a:pt x="727" y="2073"/>
                  <a:pt x="727" y="2082"/>
                </a:cubicBezTo>
                <a:cubicBezTo>
                  <a:pt x="727" y="2082"/>
                  <a:pt x="727" y="2082"/>
                  <a:pt x="730" y="2082"/>
                </a:cubicBezTo>
                <a:cubicBezTo>
                  <a:pt x="739" y="2082"/>
                  <a:pt x="745" y="2079"/>
                  <a:pt x="745" y="2069"/>
                </a:cubicBezTo>
                <a:cubicBezTo>
                  <a:pt x="745" y="2067"/>
                  <a:pt x="745" y="2065"/>
                  <a:pt x="744" y="2062"/>
                </a:cubicBezTo>
                <a:cubicBezTo>
                  <a:pt x="744" y="2060"/>
                  <a:pt x="744" y="2057"/>
                  <a:pt x="744" y="2055"/>
                </a:cubicBezTo>
                <a:cubicBezTo>
                  <a:pt x="744" y="2053"/>
                  <a:pt x="744" y="2050"/>
                  <a:pt x="751" y="2049"/>
                </a:cubicBezTo>
                <a:close/>
                <a:moveTo>
                  <a:pt x="934" y="2082"/>
                </a:moveTo>
                <a:cubicBezTo>
                  <a:pt x="927" y="2082"/>
                  <a:pt x="920" y="2079"/>
                  <a:pt x="916" y="2073"/>
                </a:cubicBezTo>
                <a:cubicBezTo>
                  <a:pt x="912" y="2067"/>
                  <a:pt x="910" y="2058"/>
                  <a:pt x="910" y="2045"/>
                </a:cubicBezTo>
                <a:cubicBezTo>
                  <a:pt x="910" y="2032"/>
                  <a:pt x="912" y="2023"/>
                  <a:pt x="917" y="2016"/>
                </a:cubicBezTo>
                <a:cubicBezTo>
                  <a:pt x="921" y="2009"/>
                  <a:pt x="927" y="2006"/>
                  <a:pt x="936" y="2006"/>
                </a:cubicBezTo>
                <a:cubicBezTo>
                  <a:pt x="952" y="2006"/>
                  <a:pt x="960" y="2018"/>
                  <a:pt x="960" y="2044"/>
                </a:cubicBezTo>
                <a:cubicBezTo>
                  <a:pt x="960" y="2056"/>
                  <a:pt x="958" y="2066"/>
                  <a:pt x="953" y="2073"/>
                </a:cubicBezTo>
                <a:cubicBezTo>
                  <a:pt x="949" y="2079"/>
                  <a:pt x="942" y="2082"/>
                  <a:pt x="934" y="2082"/>
                </a:cubicBezTo>
                <a:close/>
                <a:moveTo>
                  <a:pt x="935" y="2015"/>
                </a:moveTo>
                <a:cubicBezTo>
                  <a:pt x="926" y="2015"/>
                  <a:pt x="922" y="2026"/>
                  <a:pt x="922" y="2045"/>
                </a:cubicBezTo>
                <a:cubicBezTo>
                  <a:pt x="922" y="2064"/>
                  <a:pt x="926" y="2073"/>
                  <a:pt x="935" y="2073"/>
                </a:cubicBezTo>
                <a:cubicBezTo>
                  <a:pt x="944" y="2073"/>
                  <a:pt x="948" y="2064"/>
                  <a:pt x="948" y="2045"/>
                </a:cubicBezTo>
                <a:cubicBezTo>
                  <a:pt x="948" y="2025"/>
                  <a:pt x="944" y="2015"/>
                  <a:pt x="935" y="2015"/>
                </a:cubicBezTo>
                <a:close/>
                <a:moveTo>
                  <a:pt x="1004" y="2082"/>
                </a:moveTo>
                <a:cubicBezTo>
                  <a:pt x="997" y="2082"/>
                  <a:pt x="990" y="2079"/>
                  <a:pt x="987" y="2073"/>
                </a:cubicBezTo>
                <a:cubicBezTo>
                  <a:pt x="982" y="2067"/>
                  <a:pt x="980" y="2058"/>
                  <a:pt x="980" y="2045"/>
                </a:cubicBezTo>
                <a:cubicBezTo>
                  <a:pt x="980" y="2032"/>
                  <a:pt x="982" y="2023"/>
                  <a:pt x="987" y="2016"/>
                </a:cubicBezTo>
                <a:cubicBezTo>
                  <a:pt x="991" y="2009"/>
                  <a:pt x="998" y="2006"/>
                  <a:pt x="1006" y="2006"/>
                </a:cubicBezTo>
                <a:cubicBezTo>
                  <a:pt x="1022" y="2006"/>
                  <a:pt x="1030" y="2018"/>
                  <a:pt x="1030" y="2044"/>
                </a:cubicBezTo>
                <a:cubicBezTo>
                  <a:pt x="1030" y="2056"/>
                  <a:pt x="1028" y="2066"/>
                  <a:pt x="1024" y="2073"/>
                </a:cubicBezTo>
                <a:cubicBezTo>
                  <a:pt x="1019" y="2079"/>
                  <a:pt x="1013" y="2082"/>
                  <a:pt x="1004" y="2082"/>
                </a:cubicBezTo>
                <a:close/>
                <a:moveTo>
                  <a:pt x="1006" y="2015"/>
                </a:moveTo>
                <a:cubicBezTo>
                  <a:pt x="997" y="2015"/>
                  <a:pt x="992" y="2026"/>
                  <a:pt x="992" y="2045"/>
                </a:cubicBezTo>
                <a:cubicBezTo>
                  <a:pt x="992" y="2064"/>
                  <a:pt x="996" y="2073"/>
                  <a:pt x="1005" y="2073"/>
                </a:cubicBezTo>
                <a:cubicBezTo>
                  <a:pt x="1014" y="2073"/>
                  <a:pt x="1018" y="2064"/>
                  <a:pt x="1018" y="2045"/>
                </a:cubicBezTo>
                <a:cubicBezTo>
                  <a:pt x="1018" y="2025"/>
                  <a:pt x="1014" y="2015"/>
                  <a:pt x="1006" y="2015"/>
                </a:cubicBezTo>
                <a:close/>
                <a:moveTo>
                  <a:pt x="1077" y="2009"/>
                </a:moveTo>
                <a:cubicBezTo>
                  <a:pt x="1077" y="2009"/>
                  <a:pt x="1077" y="2009"/>
                  <a:pt x="1077" y="2009"/>
                </a:cubicBezTo>
                <a:cubicBezTo>
                  <a:pt x="1072" y="2009"/>
                  <a:pt x="1072" y="2009"/>
                  <a:pt x="1072" y="2009"/>
                </a:cubicBezTo>
                <a:cubicBezTo>
                  <a:pt x="1070" y="2010"/>
                  <a:pt x="1069" y="2012"/>
                  <a:pt x="1066" y="2012"/>
                </a:cubicBezTo>
                <a:cubicBezTo>
                  <a:pt x="1065" y="2014"/>
                  <a:pt x="1063" y="2014"/>
                  <a:pt x="1061" y="2015"/>
                </a:cubicBezTo>
                <a:cubicBezTo>
                  <a:pt x="1060" y="2017"/>
                  <a:pt x="1057" y="2017"/>
                  <a:pt x="1056" y="2018"/>
                </a:cubicBezTo>
                <a:cubicBezTo>
                  <a:pt x="1054" y="2019"/>
                  <a:pt x="1052" y="2020"/>
                  <a:pt x="1050" y="2020"/>
                </a:cubicBezTo>
                <a:cubicBezTo>
                  <a:pt x="1050" y="2020"/>
                  <a:pt x="1050" y="2020"/>
                  <a:pt x="1050" y="2030"/>
                </a:cubicBezTo>
                <a:cubicBezTo>
                  <a:pt x="1053" y="2029"/>
                  <a:pt x="1056" y="2028"/>
                  <a:pt x="1059" y="2027"/>
                </a:cubicBezTo>
                <a:cubicBezTo>
                  <a:pt x="1061" y="2026"/>
                  <a:pt x="1063" y="2025"/>
                  <a:pt x="1066" y="2023"/>
                </a:cubicBezTo>
                <a:cubicBezTo>
                  <a:pt x="1066" y="2023"/>
                  <a:pt x="1066" y="2023"/>
                  <a:pt x="1066" y="2082"/>
                </a:cubicBezTo>
                <a:cubicBezTo>
                  <a:pt x="1066" y="2082"/>
                  <a:pt x="1066" y="2082"/>
                  <a:pt x="1077" y="2082"/>
                </a:cubicBezTo>
                <a:cubicBezTo>
                  <a:pt x="1077" y="2082"/>
                  <a:pt x="1077" y="2082"/>
                  <a:pt x="1077" y="2009"/>
                </a:cubicBezTo>
                <a:close/>
                <a:moveTo>
                  <a:pt x="1124" y="2009"/>
                </a:moveTo>
                <a:cubicBezTo>
                  <a:pt x="1124" y="2009"/>
                  <a:pt x="1124" y="2009"/>
                  <a:pt x="1124" y="2009"/>
                </a:cubicBezTo>
                <a:cubicBezTo>
                  <a:pt x="1119" y="2009"/>
                  <a:pt x="1119" y="2009"/>
                  <a:pt x="1119" y="2009"/>
                </a:cubicBezTo>
                <a:cubicBezTo>
                  <a:pt x="1117" y="2010"/>
                  <a:pt x="1115" y="2012"/>
                  <a:pt x="1113" y="2012"/>
                </a:cubicBezTo>
                <a:cubicBezTo>
                  <a:pt x="1112" y="2014"/>
                  <a:pt x="1109" y="2014"/>
                  <a:pt x="1108" y="2015"/>
                </a:cubicBezTo>
                <a:cubicBezTo>
                  <a:pt x="1107" y="2017"/>
                  <a:pt x="1104" y="2017"/>
                  <a:pt x="1103" y="2018"/>
                </a:cubicBezTo>
                <a:cubicBezTo>
                  <a:pt x="1101" y="2019"/>
                  <a:pt x="1099" y="2020"/>
                  <a:pt x="1097" y="2020"/>
                </a:cubicBezTo>
                <a:cubicBezTo>
                  <a:pt x="1097" y="2020"/>
                  <a:pt x="1097" y="2020"/>
                  <a:pt x="1097" y="2030"/>
                </a:cubicBezTo>
                <a:cubicBezTo>
                  <a:pt x="1100" y="2029"/>
                  <a:pt x="1103" y="2028"/>
                  <a:pt x="1105" y="2027"/>
                </a:cubicBezTo>
                <a:cubicBezTo>
                  <a:pt x="1108" y="2026"/>
                  <a:pt x="1110" y="2025"/>
                  <a:pt x="1112" y="2023"/>
                </a:cubicBezTo>
                <a:cubicBezTo>
                  <a:pt x="1112" y="2023"/>
                  <a:pt x="1112" y="2023"/>
                  <a:pt x="1112" y="2082"/>
                </a:cubicBezTo>
                <a:cubicBezTo>
                  <a:pt x="1112" y="2082"/>
                  <a:pt x="1112" y="2082"/>
                  <a:pt x="1124" y="2082"/>
                </a:cubicBezTo>
                <a:cubicBezTo>
                  <a:pt x="1124" y="2082"/>
                  <a:pt x="1124" y="2082"/>
                  <a:pt x="1124" y="2009"/>
                </a:cubicBezTo>
                <a:close/>
                <a:moveTo>
                  <a:pt x="1170" y="2009"/>
                </a:moveTo>
                <a:cubicBezTo>
                  <a:pt x="1170" y="2009"/>
                  <a:pt x="1170" y="2009"/>
                  <a:pt x="1170" y="2009"/>
                </a:cubicBezTo>
                <a:cubicBezTo>
                  <a:pt x="1166" y="2009"/>
                  <a:pt x="1166" y="2009"/>
                  <a:pt x="1166" y="2009"/>
                </a:cubicBezTo>
                <a:cubicBezTo>
                  <a:pt x="1164" y="2010"/>
                  <a:pt x="1162" y="2012"/>
                  <a:pt x="1160" y="2012"/>
                </a:cubicBezTo>
                <a:cubicBezTo>
                  <a:pt x="1159" y="2014"/>
                  <a:pt x="1156" y="2014"/>
                  <a:pt x="1155" y="2015"/>
                </a:cubicBezTo>
                <a:cubicBezTo>
                  <a:pt x="1153" y="2016"/>
                  <a:pt x="1151" y="2017"/>
                  <a:pt x="1149" y="2017"/>
                </a:cubicBezTo>
                <a:cubicBezTo>
                  <a:pt x="1148" y="2018"/>
                  <a:pt x="1146" y="2019"/>
                  <a:pt x="1144" y="2020"/>
                </a:cubicBezTo>
                <a:cubicBezTo>
                  <a:pt x="1144" y="2020"/>
                  <a:pt x="1144" y="2020"/>
                  <a:pt x="1144" y="2030"/>
                </a:cubicBezTo>
                <a:cubicBezTo>
                  <a:pt x="1147" y="2029"/>
                  <a:pt x="1150" y="2028"/>
                  <a:pt x="1152" y="2027"/>
                </a:cubicBezTo>
                <a:cubicBezTo>
                  <a:pt x="1154" y="2026"/>
                  <a:pt x="1157" y="2025"/>
                  <a:pt x="1159" y="2023"/>
                </a:cubicBezTo>
                <a:cubicBezTo>
                  <a:pt x="1159" y="2023"/>
                  <a:pt x="1159" y="2023"/>
                  <a:pt x="1159" y="2082"/>
                </a:cubicBezTo>
                <a:cubicBezTo>
                  <a:pt x="1159" y="2082"/>
                  <a:pt x="1159" y="2082"/>
                  <a:pt x="1170" y="2082"/>
                </a:cubicBezTo>
                <a:cubicBezTo>
                  <a:pt x="1170" y="2082"/>
                  <a:pt x="1170" y="2082"/>
                  <a:pt x="1170" y="2009"/>
                </a:cubicBezTo>
                <a:close/>
                <a:moveTo>
                  <a:pt x="979" y="1973"/>
                </a:moveTo>
                <a:cubicBezTo>
                  <a:pt x="972" y="1973"/>
                  <a:pt x="965" y="1970"/>
                  <a:pt x="961" y="1964"/>
                </a:cubicBezTo>
                <a:cubicBezTo>
                  <a:pt x="957" y="1958"/>
                  <a:pt x="955" y="1949"/>
                  <a:pt x="955" y="1937"/>
                </a:cubicBezTo>
                <a:cubicBezTo>
                  <a:pt x="955" y="1924"/>
                  <a:pt x="957" y="1914"/>
                  <a:pt x="962" y="1908"/>
                </a:cubicBezTo>
                <a:cubicBezTo>
                  <a:pt x="966" y="1901"/>
                  <a:pt x="973" y="1897"/>
                  <a:pt x="981" y="1897"/>
                </a:cubicBezTo>
                <a:cubicBezTo>
                  <a:pt x="997" y="1897"/>
                  <a:pt x="1005" y="1910"/>
                  <a:pt x="1005" y="1935"/>
                </a:cubicBezTo>
                <a:cubicBezTo>
                  <a:pt x="1005" y="1948"/>
                  <a:pt x="1003" y="1957"/>
                  <a:pt x="998" y="1964"/>
                </a:cubicBezTo>
                <a:cubicBezTo>
                  <a:pt x="994" y="1970"/>
                  <a:pt x="987" y="1973"/>
                  <a:pt x="979" y="1973"/>
                </a:cubicBezTo>
                <a:close/>
                <a:moveTo>
                  <a:pt x="981" y="1907"/>
                </a:moveTo>
                <a:cubicBezTo>
                  <a:pt x="971" y="1907"/>
                  <a:pt x="967" y="1917"/>
                  <a:pt x="967" y="1937"/>
                </a:cubicBezTo>
                <a:cubicBezTo>
                  <a:pt x="967" y="1955"/>
                  <a:pt x="971" y="1964"/>
                  <a:pt x="980" y="1964"/>
                </a:cubicBezTo>
                <a:cubicBezTo>
                  <a:pt x="989" y="1964"/>
                  <a:pt x="993" y="1955"/>
                  <a:pt x="993" y="1936"/>
                </a:cubicBezTo>
                <a:cubicBezTo>
                  <a:pt x="993" y="1916"/>
                  <a:pt x="989" y="1907"/>
                  <a:pt x="981" y="1907"/>
                </a:cubicBezTo>
                <a:close/>
                <a:moveTo>
                  <a:pt x="1053" y="1900"/>
                </a:moveTo>
                <a:cubicBezTo>
                  <a:pt x="1053" y="1900"/>
                  <a:pt x="1053" y="1900"/>
                  <a:pt x="1053" y="1900"/>
                </a:cubicBezTo>
                <a:cubicBezTo>
                  <a:pt x="1048" y="1900"/>
                  <a:pt x="1048" y="1900"/>
                  <a:pt x="1048" y="1900"/>
                </a:cubicBezTo>
                <a:cubicBezTo>
                  <a:pt x="1046" y="1901"/>
                  <a:pt x="1044" y="1903"/>
                  <a:pt x="1042" y="1903"/>
                </a:cubicBezTo>
                <a:cubicBezTo>
                  <a:pt x="1041" y="1905"/>
                  <a:pt x="1038" y="1906"/>
                  <a:pt x="1037" y="1906"/>
                </a:cubicBezTo>
                <a:cubicBezTo>
                  <a:pt x="1035" y="1907"/>
                  <a:pt x="1033" y="1908"/>
                  <a:pt x="1032" y="1908"/>
                </a:cubicBezTo>
                <a:cubicBezTo>
                  <a:pt x="1030" y="1909"/>
                  <a:pt x="1028" y="1910"/>
                  <a:pt x="1026" y="1911"/>
                </a:cubicBezTo>
                <a:cubicBezTo>
                  <a:pt x="1026" y="1911"/>
                  <a:pt x="1026" y="1911"/>
                  <a:pt x="1026" y="1921"/>
                </a:cubicBezTo>
                <a:cubicBezTo>
                  <a:pt x="1029" y="1920"/>
                  <a:pt x="1032" y="1919"/>
                  <a:pt x="1034" y="1918"/>
                </a:cubicBezTo>
                <a:cubicBezTo>
                  <a:pt x="1037" y="1917"/>
                  <a:pt x="1039" y="1916"/>
                  <a:pt x="1041" y="1914"/>
                </a:cubicBezTo>
                <a:cubicBezTo>
                  <a:pt x="1041" y="1914"/>
                  <a:pt x="1041" y="1914"/>
                  <a:pt x="1041" y="1973"/>
                </a:cubicBezTo>
                <a:cubicBezTo>
                  <a:pt x="1041" y="1973"/>
                  <a:pt x="1041" y="1973"/>
                  <a:pt x="1053" y="1973"/>
                </a:cubicBezTo>
                <a:cubicBezTo>
                  <a:pt x="1053" y="1973"/>
                  <a:pt x="1053" y="1973"/>
                  <a:pt x="1053" y="1900"/>
                </a:cubicBezTo>
                <a:close/>
                <a:moveTo>
                  <a:pt x="1100" y="1900"/>
                </a:moveTo>
                <a:cubicBezTo>
                  <a:pt x="1100" y="1900"/>
                  <a:pt x="1100" y="1900"/>
                  <a:pt x="1100" y="1900"/>
                </a:cubicBezTo>
                <a:cubicBezTo>
                  <a:pt x="1095" y="1900"/>
                  <a:pt x="1095" y="1900"/>
                  <a:pt x="1095" y="1900"/>
                </a:cubicBezTo>
                <a:cubicBezTo>
                  <a:pt x="1093" y="1901"/>
                  <a:pt x="1091" y="1903"/>
                  <a:pt x="1089" y="1903"/>
                </a:cubicBezTo>
                <a:cubicBezTo>
                  <a:pt x="1088" y="1905"/>
                  <a:pt x="1086" y="1906"/>
                  <a:pt x="1084" y="1906"/>
                </a:cubicBezTo>
                <a:cubicBezTo>
                  <a:pt x="1083" y="1908"/>
                  <a:pt x="1081" y="1908"/>
                  <a:pt x="1079" y="1909"/>
                </a:cubicBezTo>
                <a:cubicBezTo>
                  <a:pt x="1077" y="1910"/>
                  <a:pt x="1076" y="1911"/>
                  <a:pt x="1074" y="1911"/>
                </a:cubicBezTo>
                <a:cubicBezTo>
                  <a:pt x="1074" y="1911"/>
                  <a:pt x="1074" y="1911"/>
                  <a:pt x="1074" y="1921"/>
                </a:cubicBezTo>
                <a:cubicBezTo>
                  <a:pt x="1076" y="1920"/>
                  <a:pt x="1079" y="1919"/>
                  <a:pt x="1081" y="1918"/>
                </a:cubicBezTo>
                <a:cubicBezTo>
                  <a:pt x="1084" y="1917"/>
                  <a:pt x="1086" y="1916"/>
                  <a:pt x="1089" y="1914"/>
                </a:cubicBezTo>
                <a:cubicBezTo>
                  <a:pt x="1089" y="1914"/>
                  <a:pt x="1089" y="1914"/>
                  <a:pt x="1089" y="1973"/>
                </a:cubicBezTo>
                <a:cubicBezTo>
                  <a:pt x="1089" y="1973"/>
                  <a:pt x="1089" y="1973"/>
                  <a:pt x="1100" y="1973"/>
                </a:cubicBezTo>
                <a:cubicBezTo>
                  <a:pt x="1100" y="1973"/>
                  <a:pt x="1100" y="1973"/>
                  <a:pt x="1100" y="1900"/>
                </a:cubicBezTo>
                <a:close/>
                <a:moveTo>
                  <a:pt x="1147" y="1900"/>
                </a:moveTo>
                <a:cubicBezTo>
                  <a:pt x="1147" y="1900"/>
                  <a:pt x="1147" y="1900"/>
                  <a:pt x="1147" y="1900"/>
                </a:cubicBezTo>
                <a:cubicBezTo>
                  <a:pt x="1142" y="1900"/>
                  <a:pt x="1142" y="1900"/>
                  <a:pt x="1142" y="1900"/>
                </a:cubicBezTo>
                <a:cubicBezTo>
                  <a:pt x="1140" y="1901"/>
                  <a:pt x="1139" y="1903"/>
                  <a:pt x="1136" y="1903"/>
                </a:cubicBezTo>
                <a:cubicBezTo>
                  <a:pt x="1135" y="1905"/>
                  <a:pt x="1133" y="1906"/>
                  <a:pt x="1131" y="1906"/>
                </a:cubicBezTo>
                <a:cubicBezTo>
                  <a:pt x="1129" y="1908"/>
                  <a:pt x="1128" y="1908"/>
                  <a:pt x="1126" y="1909"/>
                </a:cubicBezTo>
                <a:cubicBezTo>
                  <a:pt x="1124" y="1910"/>
                  <a:pt x="1122" y="1911"/>
                  <a:pt x="1121" y="1911"/>
                </a:cubicBezTo>
                <a:cubicBezTo>
                  <a:pt x="1121" y="1911"/>
                  <a:pt x="1121" y="1911"/>
                  <a:pt x="1121" y="1921"/>
                </a:cubicBezTo>
                <a:cubicBezTo>
                  <a:pt x="1124" y="1920"/>
                  <a:pt x="1126" y="1919"/>
                  <a:pt x="1129" y="1918"/>
                </a:cubicBezTo>
                <a:cubicBezTo>
                  <a:pt x="1131" y="1917"/>
                  <a:pt x="1134" y="1916"/>
                  <a:pt x="1135" y="1914"/>
                </a:cubicBezTo>
                <a:cubicBezTo>
                  <a:pt x="1135" y="1914"/>
                  <a:pt x="1135" y="1914"/>
                  <a:pt x="1135" y="1973"/>
                </a:cubicBezTo>
                <a:cubicBezTo>
                  <a:pt x="1135" y="1973"/>
                  <a:pt x="1135" y="1973"/>
                  <a:pt x="1147" y="1973"/>
                </a:cubicBezTo>
                <a:cubicBezTo>
                  <a:pt x="1147" y="1973"/>
                  <a:pt x="1147" y="1973"/>
                  <a:pt x="1147" y="1900"/>
                </a:cubicBezTo>
                <a:close/>
                <a:moveTo>
                  <a:pt x="1194" y="1900"/>
                </a:moveTo>
                <a:cubicBezTo>
                  <a:pt x="1194" y="1900"/>
                  <a:pt x="1194" y="1900"/>
                  <a:pt x="1194" y="1900"/>
                </a:cubicBezTo>
                <a:cubicBezTo>
                  <a:pt x="1189" y="1900"/>
                  <a:pt x="1189" y="1900"/>
                  <a:pt x="1189" y="1900"/>
                </a:cubicBezTo>
                <a:cubicBezTo>
                  <a:pt x="1187" y="1901"/>
                  <a:pt x="1185" y="1903"/>
                  <a:pt x="1183" y="1903"/>
                </a:cubicBezTo>
                <a:cubicBezTo>
                  <a:pt x="1182" y="1905"/>
                  <a:pt x="1180" y="1906"/>
                  <a:pt x="1178" y="1906"/>
                </a:cubicBezTo>
                <a:cubicBezTo>
                  <a:pt x="1177" y="1908"/>
                  <a:pt x="1174" y="1908"/>
                  <a:pt x="1173" y="1909"/>
                </a:cubicBezTo>
                <a:cubicBezTo>
                  <a:pt x="1171" y="1910"/>
                  <a:pt x="1169" y="1911"/>
                  <a:pt x="1167" y="1911"/>
                </a:cubicBezTo>
                <a:cubicBezTo>
                  <a:pt x="1167" y="1911"/>
                  <a:pt x="1167" y="1911"/>
                  <a:pt x="1167" y="1921"/>
                </a:cubicBezTo>
                <a:cubicBezTo>
                  <a:pt x="1170" y="1920"/>
                  <a:pt x="1173" y="1919"/>
                  <a:pt x="1175" y="1918"/>
                </a:cubicBezTo>
                <a:cubicBezTo>
                  <a:pt x="1178" y="1917"/>
                  <a:pt x="1180" y="1916"/>
                  <a:pt x="1182" y="1914"/>
                </a:cubicBezTo>
                <a:cubicBezTo>
                  <a:pt x="1182" y="1914"/>
                  <a:pt x="1182" y="1914"/>
                  <a:pt x="1182" y="1973"/>
                </a:cubicBezTo>
                <a:cubicBezTo>
                  <a:pt x="1182" y="1973"/>
                  <a:pt x="1182" y="1973"/>
                  <a:pt x="1194" y="1973"/>
                </a:cubicBezTo>
                <a:cubicBezTo>
                  <a:pt x="1194" y="1973"/>
                  <a:pt x="1194" y="1973"/>
                  <a:pt x="1194" y="1900"/>
                </a:cubicBezTo>
                <a:close/>
                <a:moveTo>
                  <a:pt x="1317" y="1900"/>
                </a:moveTo>
                <a:cubicBezTo>
                  <a:pt x="1317" y="1900"/>
                  <a:pt x="1317" y="1900"/>
                  <a:pt x="1317" y="1900"/>
                </a:cubicBezTo>
                <a:cubicBezTo>
                  <a:pt x="1312" y="1900"/>
                  <a:pt x="1312" y="1900"/>
                  <a:pt x="1312" y="1900"/>
                </a:cubicBezTo>
                <a:cubicBezTo>
                  <a:pt x="1310" y="1901"/>
                  <a:pt x="1309" y="1903"/>
                  <a:pt x="1306" y="1903"/>
                </a:cubicBezTo>
                <a:cubicBezTo>
                  <a:pt x="1305" y="1905"/>
                  <a:pt x="1303" y="1906"/>
                  <a:pt x="1301" y="1906"/>
                </a:cubicBezTo>
                <a:cubicBezTo>
                  <a:pt x="1300" y="1908"/>
                  <a:pt x="1297" y="1908"/>
                  <a:pt x="1296" y="1909"/>
                </a:cubicBezTo>
                <a:cubicBezTo>
                  <a:pt x="1294" y="1910"/>
                  <a:pt x="1292" y="1911"/>
                  <a:pt x="1290" y="1911"/>
                </a:cubicBezTo>
                <a:cubicBezTo>
                  <a:pt x="1290" y="1911"/>
                  <a:pt x="1290" y="1911"/>
                  <a:pt x="1290" y="1921"/>
                </a:cubicBezTo>
                <a:cubicBezTo>
                  <a:pt x="1293" y="1920"/>
                  <a:pt x="1296" y="1919"/>
                  <a:pt x="1299" y="1918"/>
                </a:cubicBezTo>
                <a:cubicBezTo>
                  <a:pt x="1301" y="1917"/>
                  <a:pt x="1303" y="1916"/>
                  <a:pt x="1306" y="1914"/>
                </a:cubicBezTo>
                <a:cubicBezTo>
                  <a:pt x="1306" y="1914"/>
                  <a:pt x="1306" y="1914"/>
                  <a:pt x="1306" y="1973"/>
                </a:cubicBezTo>
                <a:cubicBezTo>
                  <a:pt x="1306" y="1973"/>
                  <a:pt x="1306" y="1973"/>
                  <a:pt x="1317" y="1973"/>
                </a:cubicBezTo>
                <a:cubicBezTo>
                  <a:pt x="1317" y="1973"/>
                  <a:pt x="1317" y="1973"/>
                  <a:pt x="1317" y="1900"/>
                </a:cubicBezTo>
                <a:close/>
                <a:moveTo>
                  <a:pt x="1365" y="1900"/>
                </a:moveTo>
                <a:cubicBezTo>
                  <a:pt x="1365" y="1900"/>
                  <a:pt x="1365" y="1900"/>
                  <a:pt x="1365" y="1900"/>
                </a:cubicBezTo>
                <a:cubicBezTo>
                  <a:pt x="1360" y="1900"/>
                  <a:pt x="1360" y="1900"/>
                  <a:pt x="1360" y="1900"/>
                </a:cubicBezTo>
                <a:cubicBezTo>
                  <a:pt x="1358" y="1901"/>
                  <a:pt x="1356" y="1903"/>
                  <a:pt x="1354" y="1903"/>
                </a:cubicBezTo>
                <a:cubicBezTo>
                  <a:pt x="1353" y="1905"/>
                  <a:pt x="1350" y="1906"/>
                  <a:pt x="1349" y="1906"/>
                </a:cubicBezTo>
                <a:cubicBezTo>
                  <a:pt x="1348" y="1908"/>
                  <a:pt x="1345" y="1908"/>
                  <a:pt x="1344" y="1909"/>
                </a:cubicBezTo>
                <a:cubicBezTo>
                  <a:pt x="1342" y="1910"/>
                  <a:pt x="1340" y="1911"/>
                  <a:pt x="1338" y="1911"/>
                </a:cubicBezTo>
                <a:cubicBezTo>
                  <a:pt x="1338" y="1911"/>
                  <a:pt x="1338" y="1911"/>
                  <a:pt x="1338" y="1921"/>
                </a:cubicBezTo>
                <a:cubicBezTo>
                  <a:pt x="1341" y="1920"/>
                  <a:pt x="1344" y="1919"/>
                  <a:pt x="1346" y="1918"/>
                </a:cubicBezTo>
                <a:cubicBezTo>
                  <a:pt x="1349" y="1917"/>
                  <a:pt x="1351" y="1916"/>
                  <a:pt x="1353" y="1914"/>
                </a:cubicBezTo>
                <a:cubicBezTo>
                  <a:pt x="1353" y="1914"/>
                  <a:pt x="1353" y="1914"/>
                  <a:pt x="1353" y="1973"/>
                </a:cubicBezTo>
                <a:cubicBezTo>
                  <a:pt x="1353" y="1973"/>
                  <a:pt x="1353" y="1973"/>
                  <a:pt x="1365" y="1973"/>
                </a:cubicBezTo>
                <a:cubicBezTo>
                  <a:pt x="1365" y="1973"/>
                  <a:pt x="1365" y="1973"/>
                  <a:pt x="1365" y="1900"/>
                </a:cubicBezTo>
                <a:close/>
                <a:moveTo>
                  <a:pt x="1412" y="1900"/>
                </a:moveTo>
                <a:cubicBezTo>
                  <a:pt x="1412" y="1900"/>
                  <a:pt x="1412" y="1900"/>
                  <a:pt x="1412" y="1900"/>
                </a:cubicBezTo>
                <a:cubicBezTo>
                  <a:pt x="1407" y="1900"/>
                  <a:pt x="1407" y="1900"/>
                  <a:pt x="1407" y="1900"/>
                </a:cubicBezTo>
                <a:cubicBezTo>
                  <a:pt x="1406" y="1901"/>
                  <a:pt x="1404" y="1903"/>
                  <a:pt x="1402" y="1903"/>
                </a:cubicBezTo>
                <a:cubicBezTo>
                  <a:pt x="1400" y="1905"/>
                  <a:pt x="1399" y="1906"/>
                  <a:pt x="1397" y="1906"/>
                </a:cubicBezTo>
                <a:cubicBezTo>
                  <a:pt x="1395" y="1908"/>
                  <a:pt x="1393" y="1908"/>
                  <a:pt x="1391" y="1909"/>
                </a:cubicBezTo>
                <a:cubicBezTo>
                  <a:pt x="1389" y="1910"/>
                  <a:pt x="1388" y="1911"/>
                  <a:pt x="1386" y="1911"/>
                </a:cubicBezTo>
                <a:cubicBezTo>
                  <a:pt x="1386" y="1911"/>
                  <a:pt x="1386" y="1911"/>
                  <a:pt x="1386" y="1921"/>
                </a:cubicBezTo>
                <a:cubicBezTo>
                  <a:pt x="1389" y="1920"/>
                  <a:pt x="1391" y="1919"/>
                  <a:pt x="1394" y="1918"/>
                </a:cubicBezTo>
                <a:cubicBezTo>
                  <a:pt x="1397" y="1917"/>
                  <a:pt x="1399" y="1916"/>
                  <a:pt x="1401" y="1914"/>
                </a:cubicBezTo>
                <a:cubicBezTo>
                  <a:pt x="1401" y="1914"/>
                  <a:pt x="1401" y="1914"/>
                  <a:pt x="1401" y="1973"/>
                </a:cubicBezTo>
                <a:cubicBezTo>
                  <a:pt x="1401" y="1973"/>
                  <a:pt x="1401" y="1973"/>
                  <a:pt x="1412" y="1973"/>
                </a:cubicBezTo>
                <a:cubicBezTo>
                  <a:pt x="1412" y="1973"/>
                  <a:pt x="1412" y="1973"/>
                  <a:pt x="1412" y="1900"/>
                </a:cubicBezTo>
                <a:close/>
                <a:moveTo>
                  <a:pt x="1459" y="1900"/>
                </a:moveTo>
                <a:cubicBezTo>
                  <a:pt x="1459" y="1900"/>
                  <a:pt x="1459" y="1900"/>
                  <a:pt x="1459" y="1900"/>
                </a:cubicBezTo>
                <a:cubicBezTo>
                  <a:pt x="1455" y="1900"/>
                  <a:pt x="1455" y="1900"/>
                  <a:pt x="1455" y="1900"/>
                </a:cubicBezTo>
                <a:cubicBezTo>
                  <a:pt x="1453" y="1901"/>
                  <a:pt x="1451" y="1903"/>
                  <a:pt x="1449" y="1903"/>
                </a:cubicBezTo>
                <a:cubicBezTo>
                  <a:pt x="1448" y="1905"/>
                  <a:pt x="1445" y="1906"/>
                  <a:pt x="1444" y="1906"/>
                </a:cubicBezTo>
                <a:cubicBezTo>
                  <a:pt x="1442" y="1907"/>
                  <a:pt x="1440" y="1908"/>
                  <a:pt x="1438" y="1908"/>
                </a:cubicBezTo>
                <a:cubicBezTo>
                  <a:pt x="1437" y="1909"/>
                  <a:pt x="1435" y="1910"/>
                  <a:pt x="1433" y="1911"/>
                </a:cubicBezTo>
                <a:cubicBezTo>
                  <a:pt x="1433" y="1911"/>
                  <a:pt x="1433" y="1911"/>
                  <a:pt x="1433" y="1921"/>
                </a:cubicBezTo>
                <a:cubicBezTo>
                  <a:pt x="1436" y="1920"/>
                  <a:pt x="1439" y="1919"/>
                  <a:pt x="1441" y="1918"/>
                </a:cubicBezTo>
                <a:cubicBezTo>
                  <a:pt x="1443" y="1917"/>
                  <a:pt x="1446" y="1916"/>
                  <a:pt x="1448" y="1914"/>
                </a:cubicBezTo>
                <a:cubicBezTo>
                  <a:pt x="1448" y="1914"/>
                  <a:pt x="1448" y="1914"/>
                  <a:pt x="1448" y="1973"/>
                </a:cubicBezTo>
                <a:cubicBezTo>
                  <a:pt x="1448" y="1973"/>
                  <a:pt x="1448" y="1973"/>
                  <a:pt x="1459" y="1973"/>
                </a:cubicBezTo>
                <a:cubicBezTo>
                  <a:pt x="1459" y="1973"/>
                  <a:pt x="1459" y="1973"/>
                  <a:pt x="1459" y="1900"/>
                </a:cubicBezTo>
                <a:close/>
                <a:moveTo>
                  <a:pt x="1215" y="1932"/>
                </a:moveTo>
                <a:cubicBezTo>
                  <a:pt x="1215" y="1932"/>
                  <a:pt x="1215" y="1932"/>
                  <a:pt x="1215" y="1932"/>
                </a:cubicBezTo>
                <a:cubicBezTo>
                  <a:pt x="1215" y="1940"/>
                  <a:pt x="1215" y="1940"/>
                  <a:pt x="1215" y="1940"/>
                </a:cubicBezTo>
                <a:cubicBezTo>
                  <a:pt x="1221" y="1941"/>
                  <a:pt x="1222" y="1944"/>
                  <a:pt x="1222" y="1946"/>
                </a:cubicBezTo>
                <a:cubicBezTo>
                  <a:pt x="1222" y="1948"/>
                  <a:pt x="1221" y="1951"/>
                  <a:pt x="1221" y="1953"/>
                </a:cubicBezTo>
                <a:cubicBezTo>
                  <a:pt x="1221" y="1956"/>
                  <a:pt x="1221" y="1958"/>
                  <a:pt x="1221" y="1960"/>
                </a:cubicBezTo>
                <a:cubicBezTo>
                  <a:pt x="1221" y="1970"/>
                  <a:pt x="1227" y="1973"/>
                  <a:pt x="1235" y="1973"/>
                </a:cubicBezTo>
                <a:cubicBezTo>
                  <a:pt x="1235" y="1973"/>
                  <a:pt x="1235" y="1973"/>
                  <a:pt x="1239" y="1973"/>
                </a:cubicBezTo>
                <a:cubicBezTo>
                  <a:pt x="1239" y="1973"/>
                  <a:pt x="1239" y="1973"/>
                  <a:pt x="1239" y="1964"/>
                </a:cubicBezTo>
                <a:cubicBezTo>
                  <a:pt x="1239" y="1964"/>
                  <a:pt x="1239" y="1964"/>
                  <a:pt x="1237" y="1964"/>
                </a:cubicBezTo>
                <a:cubicBezTo>
                  <a:pt x="1234" y="1964"/>
                  <a:pt x="1232" y="1962"/>
                  <a:pt x="1232" y="1958"/>
                </a:cubicBezTo>
                <a:cubicBezTo>
                  <a:pt x="1232" y="1957"/>
                  <a:pt x="1232" y="1955"/>
                  <a:pt x="1233" y="1953"/>
                </a:cubicBezTo>
                <a:cubicBezTo>
                  <a:pt x="1233" y="1952"/>
                  <a:pt x="1233" y="1950"/>
                  <a:pt x="1233" y="1947"/>
                </a:cubicBezTo>
                <a:cubicBezTo>
                  <a:pt x="1233" y="1940"/>
                  <a:pt x="1230" y="1937"/>
                  <a:pt x="1225" y="1936"/>
                </a:cubicBezTo>
                <a:cubicBezTo>
                  <a:pt x="1225" y="1936"/>
                  <a:pt x="1225" y="1936"/>
                  <a:pt x="1225" y="1936"/>
                </a:cubicBezTo>
                <a:cubicBezTo>
                  <a:pt x="1230" y="1935"/>
                  <a:pt x="1233" y="1932"/>
                  <a:pt x="1233" y="1925"/>
                </a:cubicBezTo>
                <a:cubicBezTo>
                  <a:pt x="1233" y="1922"/>
                  <a:pt x="1233" y="1920"/>
                  <a:pt x="1233" y="1919"/>
                </a:cubicBezTo>
                <a:cubicBezTo>
                  <a:pt x="1232" y="1917"/>
                  <a:pt x="1232" y="1915"/>
                  <a:pt x="1232" y="1914"/>
                </a:cubicBezTo>
                <a:cubicBezTo>
                  <a:pt x="1232" y="1910"/>
                  <a:pt x="1234" y="1908"/>
                  <a:pt x="1237" y="1908"/>
                </a:cubicBezTo>
                <a:cubicBezTo>
                  <a:pt x="1237" y="1908"/>
                  <a:pt x="1237" y="1908"/>
                  <a:pt x="1239" y="1908"/>
                </a:cubicBezTo>
                <a:cubicBezTo>
                  <a:pt x="1239" y="1908"/>
                  <a:pt x="1239" y="1908"/>
                  <a:pt x="1239" y="1899"/>
                </a:cubicBezTo>
                <a:cubicBezTo>
                  <a:pt x="1239" y="1899"/>
                  <a:pt x="1239" y="1899"/>
                  <a:pt x="1235" y="1899"/>
                </a:cubicBezTo>
                <a:cubicBezTo>
                  <a:pt x="1226" y="1899"/>
                  <a:pt x="1221" y="1903"/>
                  <a:pt x="1221" y="1911"/>
                </a:cubicBezTo>
                <a:cubicBezTo>
                  <a:pt x="1221" y="1914"/>
                  <a:pt x="1221" y="1916"/>
                  <a:pt x="1221" y="1919"/>
                </a:cubicBezTo>
                <a:cubicBezTo>
                  <a:pt x="1221" y="1921"/>
                  <a:pt x="1222" y="1924"/>
                  <a:pt x="1222" y="1926"/>
                </a:cubicBezTo>
                <a:cubicBezTo>
                  <a:pt x="1222" y="1928"/>
                  <a:pt x="1221" y="1932"/>
                  <a:pt x="1215" y="1932"/>
                </a:cubicBezTo>
                <a:close/>
                <a:moveTo>
                  <a:pt x="1270" y="1940"/>
                </a:moveTo>
                <a:cubicBezTo>
                  <a:pt x="1270" y="1940"/>
                  <a:pt x="1270" y="1940"/>
                  <a:pt x="1270" y="1940"/>
                </a:cubicBezTo>
                <a:cubicBezTo>
                  <a:pt x="1270" y="1932"/>
                  <a:pt x="1270" y="1932"/>
                  <a:pt x="1270" y="1932"/>
                </a:cubicBezTo>
                <a:cubicBezTo>
                  <a:pt x="1264" y="1932"/>
                  <a:pt x="1263" y="1928"/>
                  <a:pt x="1263" y="1926"/>
                </a:cubicBezTo>
                <a:cubicBezTo>
                  <a:pt x="1263" y="1924"/>
                  <a:pt x="1263" y="1921"/>
                  <a:pt x="1264" y="1919"/>
                </a:cubicBezTo>
                <a:cubicBezTo>
                  <a:pt x="1264" y="1916"/>
                  <a:pt x="1264" y="1914"/>
                  <a:pt x="1264" y="1911"/>
                </a:cubicBezTo>
                <a:cubicBezTo>
                  <a:pt x="1264" y="1903"/>
                  <a:pt x="1259" y="1899"/>
                  <a:pt x="1249" y="1899"/>
                </a:cubicBezTo>
                <a:cubicBezTo>
                  <a:pt x="1249" y="1899"/>
                  <a:pt x="1249" y="1899"/>
                  <a:pt x="1245" y="1899"/>
                </a:cubicBezTo>
                <a:cubicBezTo>
                  <a:pt x="1245" y="1899"/>
                  <a:pt x="1245" y="1899"/>
                  <a:pt x="1245" y="1908"/>
                </a:cubicBezTo>
                <a:cubicBezTo>
                  <a:pt x="1245" y="1908"/>
                  <a:pt x="1245" y="1908"/>
                  <a:pt x="1247" y="1908"/>
                </a:cubicBezTo>
                <a:cubicBezTo>
                  <a:pt x="1251" y="1908"/>
                  <a:pt x="1252" y="1910"/>
                  <a:pt x="1252" y="1914"/>
                </a:cubicBezTo>
                <a:cubicBezTo>
                  <a:pt x="1252" y="1915"/>
                  <a:pt x="1252" y="1917"/>
                  <a:pt x="1252" y="1919"/>
                </a:cubicBezTo>
                <a:cubicBezTo>
                  <a:pt x="1251" y="1920"/>
                  <a:pt x="1251" y="1922"/>
                  <a:pt x="1251" y="1925"/>
                </a:cubicBezTo>
                <a:cubicBezTo>
                  <a:pt x="1251" y="1932"/>
                  <a:pt x="1254" y="1935"/>
                  <a:pt x="1260" y="1936"/>
                </a:cubicBezTo>
                <a:cubicBezTo>
                  <a:pt x="1260" y="1936"/>
                  <a:pt x="1260" y="1936"/>
                  <a:pt x="1260" y="1936"/>
                </a:cubicBezTo>
                <a:cubicBezTo>
                  <a:pt x="1254" y="1937"/>
                  <a:pt x="1251" y="1940"/>
                  <a:pt x="1251" y="1947"/>
                </a:cubicBezTo>
                <a:cubicBezTo>
                  <a:pt x="1251" y="1950"/>
                  <a:pt x="1251" y="1952"/>
                  <a:pt x="1252" y="1953"/>
                </a:cubicBezTo>
                <a:cubicBezTo>
                  <a:pt x="1252" y="1955"/>
                  <a:pt x="1252" y="1957"/>
                  <a:pt x="1252" y="1958"/>
                </a:cubicBezTo>
                <a:cubicBezTo>
                  <a:pt x="1252" y="1962"/>
                  <a:pt x="1251" y="1964"/>
                  <a:pt x="1247" y="1964"/>
                </a:cubicBezTo>
                <a:cubicBezTo>
                  <a:pt x="1247" y="1964"/>
                  <a:pt x="1247" y="1964"/>
                  <a:pt x="1245" y="1964"/>
                </a:cubicBezTo>
                <a:cubicBezTo>
                  <a:pt x="1245" y="1964"/>
                  <a:pt x="1245" y="1964"/>
                  <a:pt x="1245" y="1973"/>
                </a:cubicBezTo>
                <a:cubicBezTo>
                  <a:pt x="1245" y="1973"/>
                  <a:pt x="1245" y="1973"/>
                  <a:pt x="1249" y="1973"/>
                </a:cubicBezTo>
                <a:cubicBezTo>
                  <a:pt x="1258" y="1973"/>
                  <a:pt x="1264" y="1970"/>
                  <a:pt x="1264" y="1960"/>
                </a:cubicBezTo>
                <a:cubicBezTo>
                  <a:pt x="1264" y="1958"/>
                  <a:pt x="1264" y="1956"/>
                  <a:pt x="1264" y="1953"/>
                </a:cubicBezTo>
                <a:cubicBezTo>
                  <a:pt x="1263" y="1951"/>
                  <a:pt x="1263" y="1948"/>
                  <a:pt x="1263" y="1946"/>
                </a:cubicBezTo>
                <a:cubicBezTo>
                  <a:pt x="1263" y="1944"/>
                  <a:pt x="1264" y="1941"/>
                  <a:pt x="1270" y="1940"/>
                </a:cubicBezTo>
                <a:close/>
                <a:moveTo>
                  <a:pt x="1597" y="1932"/>
                </a:moveTo>
                <a:cubicBezTo>
                  <a:pt x="1597" y="1932"/>
                  <a:pt x="1597" y="1932"/>
                  <a:pt x="1597" y="1932"/>
                </a:cubicBezTo>
                <a:cubicBezTo>
                  <a:pt x="1597" y="1940"/>
                  <a:pt x="1597" y="1940"/>
                  <a:pt x="1597" y="1940"/>
                </a:cubicBezTo>
                <a:cubicBezTo>
                  <a:pt x="1603" y="1941"/>
                  <a:pt x="1604" y="1944"/>
                  <a:pt x="1604" y="1946"/>
                </a:cubicBezTo>
                <a:cubicBezTo>
                  <a:pt x="1604" y="1948"/>
                  <a:pt x="1603" y="1951"/>
                  <a:pt x="1603" y="1953"/>
                </a:cubicBezTo>
                <a:cubicBezTo>
                  <a:pt x="1603" y="1956"/>
                  <a:pt x="1603" y="1958"/>
                  <a:pt x="1603" y="1960"/>
                </a:cubicBezTo>
                <a:cubicBezTo>
                  <a:pt x="1603" y="1970"/>
                  <a:pt x="1609" y="1973"/>
                  <a:pt x="1617" y="1973"/>
                </a:cubicBezTo>
                <a:cubicBezTo>
                  <a:pt x="1617" y="1973"/>
                  <a:pt x="1617" y="1973"/>
                  <a:pt x="1621" y="1973"/>
                </a:cubicBezTo>
                <a:cubicBezTo>
                  <a:pt x="1621" y="1973"/>
                  <a:pt x="1621" y="1973"/>
                  <a:pt x="1621" y="1964"/>
                </a:cubicBezTo>
                <a:cubicBezTo>
                  <a:pt x="1621" y="1964"/>
                  <a:pt x="1621" y="1964"/>
                  <a:pt x="1619" y="1964"/>
                </a:cubicBezTo>
                <a:cubicBezTo>
                  <a:pt x="1616" y="1964"/>
                  <a:pt x="1615" y="1962"/>
                  <a:pt x="1615" y="1958"/>
                </a:cubicBezTo>
                <a:cubicBezTo>
                  <a:pt x="1615" y="1957"/>
                  <a:pt x="1615" y="1955"/>
                  <a:pt x="1615" y="1953"/>
                </a:cubicBezTo>
                <a:cubicBezTo>
                  <a:pt x="1615" y="1952"/>
                  <a:pt x="1615" y="1950"/>
                  <a:pt x="1615" y="1947"/>
                </a:cubicBezTo>
                <a:cubicBezTo>
                  <a:pt x="1615" y="1940"/>
                  <a:pt x="1612" y="1937"/>
                  <a:pt x="1607" y="1936"/>
                </a:cubicBezTo>
                <a:cubicBezTo>
                  <a:pt x="1607" y="1936"/>
                  <a:pt x="1607" y="1936"/>
                  <a:pt x="1607" y="1936"/>
                </a:cubicBezTo>
                <a:cubicBezTo>
                  <a:pt x="1612" y="1935"/>
                  <a:pt x="1615" y="1932"/>
                  <a:pt x="1615" y="1925"/>
                </a:cubicBezTo>
                <a:cubicBezTo>
                  <a:pt x="1615" y="1922"/>
                  <a:pt x="1615" y="1920"/>
                  <a:pt x="1615" y="1919"/>
                </a:cubicBezTo>
                <a:cubicBezTo>
                  <a:pt x="1615" y="1917"/>
                  <a:pt x="1615" y="1915"/>
                  <a:pt x="1615" y="1914"/>
                </a:cubicBezTo>
                <a:cubicBezTo>
                  <a:pt x="1615" y="1910"/>
                  <a:pt x="1616" y="1908"/>
                  <a:pt x="1619" y="1908"/>
                </a:cubicBezTo>
                <a:cubicBezTo>
                  <a:pt x="1619" y="1908"/>
                  <a:pt x="1619" y="1908"/>
                  <a:pt x="1621" y="1908"/>
                </a:cubicBezTo>
                <a:cubicBezTo>
                  <a:pt x="1621" y="1908"/>
                  <a:pt x="1621" y="1908"/>
                  <a:pt x="1621" y="1899"/>
                </a:cubicBezTo>
                <a:cubicBezTo>
                  <a:pt x="1621" y="1899"/>
                  <a:pt x="1621" y="1899"/>
                  <a:pt x="1617" y="1899"/>
                </a:cubicBezTo>
                <a:cubicBezTo>
                  <a:pt x="1608" y="1899"/>
                  <a:pt x="1603" y="1903"/>
                  <a:pt x="1603" y="1911"/>
                </a:cubicBezTo>
                <a:cubicBezTo>
                  <a:pt x="1603" y="1914"/>
                  <a:pt x="1603" y="1916"/>
                  <a:pt x="1603" y="1919"/>
                </a:cubicBezTo>
                <a:cubicBezTo>
                  <a:pt x="1603" y="1921"/>
                  <a:pt x="1604" y="1924"/>
                  <a:pt x="1604" y="1926"/>
                </a:cubicBezTo>
                <a:cubicBezTo>
                  <a:pt x="1604" y="1928"/>
                  <a:pt x="1603" y="1932"/>
                  <a:pt x="1597" y="1932"/>
                </a:cubicBezTo>
                <a:close/>
                <a:moveTo>
                  <a:pt x="1652" y="1940"/>
                </a:moveTo>
                <a:cubicBezTo>
                  <a:pt x="1652" y="1940"/>
                  <a:pt x="1652" y="1940"/>
                  <a:pt x="1652" y="1940"/>
                </a:cubicBezTo>
                <a:cubicBezTo>
                  <a:pt x="1652" y="1932"/>
                  <a:pt x="1652" y="1932"/>
                  <a:pt x="1652" y="1932"/>
                </a:cubicBezTo>
                <a:cubicBezTo>
                  <a:pt x="1646" y="1932"/>
                  <a:pt x="1645" y="1928"/>
                  <a:pt x="1645" y="1926"/>
                </a:cubicBezTo>
                <a:cubicBezTo>
                  <a:pt x="1645" y="1924"/>
                  <a:pt x="1645" y="1921"/>
                  <a:pt x="1646" y="1919"/>
                </a:cubicBezTo>
                <a:cubicBezTo>
                  <a:pt x="1646" y="1916"/>
                  <a:pt x="1646" y="1914"/>
                  <a:pt x="1646" y="1911"/>
                </a:cubicBezTo>
                <a:cubicBezTo>
                  <a:pt x="1646" y="1903"/>
                  <a:pt x="1641" y="1899"/>
                  <a:pt x="1631" y="1899"/>
                </a:cubicBezTo>
                <a:cubicBezTo>
                  <a:pt x="1631" y="1899"/>
                  <a:pt x="1631" y="1899"/>
                  <a:pt x="1628" y="1899"/>
                </a:cubicBezTo>
                <a:cubicBezTo>
                  <a:pt x="1628" y="1899"/>
                  <a:pt x="1628" y="1899"/>
                  <a:pt x="1628" y="1908"/>
                </a:cubicBezTo>
                <a:cubicBezTo>
                  <a:pt x="1628" y="1908"/>
                  <a:pt x="1628" y="1908"/>
                  <a:pt x="1629" y="1908"/>
                </a:cubicBezTo>
                <a:cubicBezTo>
                  <a:pt x="1633" y="1908"/>
                  <a:pt x="1634" y="1910"/>
                  <a:pt x="1634" y="1914"/>
                </a:cubicBezTo>
                <a:cubicBezTo>
                  <a:pt x="1634" y="1915"/>
                  <a:pt x="1634" y="1917"/>
                  <a:pt x="1634" y="1919"/>
                </a:cubicBezTo>
                <a:cubicBezTo>
                  <a:pt x="1634" y="1920"/>
                  <a:pt x="1634" y="1922"/>
                  <a:pt x="1634" y="1925"/>
                </a:cubicBezTo>
                <a:cubicBezTo>
                  <a:pt x="1634" y="1932"/>
                  <a:pt x="1636" y="1935"/>
                  <a:pt x="1642" y="1936"/>
                </a:cubicBezTo>
                <a:cubicBezTo>
                  <a:pt x="1642" y="1936"/>
                  <a:pt x="1642" y="1936"/>
                  <a:pt x="1642" y="1936"/>
                </a:cubicBezTo>
                <a:cubicBezTo>
                  <a:pt x="1636" y="1937"/>
                  <a:pt x="1634" y="1940"/>
                  <a:pt x="1634" y="1947"/>
                </a:cubicBezTo>
                <a:cubicBezTo>
                  <a:pt x="1634" y="1950"/>
                  <a:pt x="1634" y="1952"/>
                  <a:pt x="1634" y="1953"/>
                </a:cubicBezTo>
                <a:cubicBezTo>
                  <a:pt x="1634" y="1955"/>
                  <a:pt x="1634" y="1957"/>
                  <a:pt x="1634" y="1958"/>
                </a:cubicBezTo>
                <a:cubicBezTo>
                  <a:pt x="1634" y="1962"/>
                  <a:pt x="1633" y="1964"/>
                  <a:pt x="1629" y="1964"/>
                </a:cubicBezTo>
                <a:cubicBezTo>
                  <a:pt x="1629" y="1964"/>
                  <a:pt x="1629" y="1964"/>
                  <a:pt x="1628" y="1964"/>
                </a:cubicBezTo>
                <a:cubicBezTo>
                  <a:pt x="1628" y="1964"/>
                  <a:pt x="1628" y="1964"/>
                  <a:pt x="1628" y="1973"/>
                </a:cubicBezTo>
                <a:cubicBezTo>
                  <a:pt x="1628" y="1973"/>
                  <a:pt x="1628" y="1973"/>
                  <a:pt x="1631" y="1973"/>
                </a:cubicBezTo>
                <a:cubicBezTo>
                  <a:pt x="1640" y="1973"/>
                  <a:pt x="1646" y="1970"/>
                  <a:pt x="1646" y="1960"/>
                </a:cubicBezTo>
                <a:cubicBezTo>
                  <a:pt x="1646" y="1958"/>
                  <a:pt x="1646" y="1956"/>
                  <a:pt x="1646" y="1953"/>
                </a:cubicBezTo>
                <a:cubicBezTo>
                  <a:pt x="1645" y="1951"/>
                  <a:pt x="1645" y="1948"/>
                  <a:pt x="1645" y="1946"/>
                </a:cubicBezTo>
                <a:cubicBezTo>
                  <a:pt x="1645" y="1944"/>
                  <a:pt x="1646" y="1941"/>
                  <a:pt x="1652" y="1940"/>
                </a:cubicBezTo>
                <a:close/>
                <a:moveTo>
                  <a:pt x="1700" y="1900"/>
                </a:moveTo>
                <a:cubicBezTo>
                  <a:pt x="1700" y="1900"/>
                  <a:pt x="1700" y="1900"/>
                  <a:pt x="1700" y="1900"/>
                </a:cubicBezTo>
                <a:cubicBezTo>
                  <a:pt x="1694" y="1900"/>
                  <a:pt x="1694" y="1900"/>
                  <a:pt x="1694" y="1900"/>
                </a:cubicBezTo>
                <a:cubicBezTo>
                  <a:pt x="1692" y="1901"/>
                  <a:pt x="1691" y="1903"/>
                  <a:pt x="1688" y="1903"/>
                </a:cubicBezTo>
                <a:cubicBezTo>
                  <a:pt x="1687" y="1905"/>
                  <a:pt x="1685" y="1906"/>
                  <a:pt x="1683" y="1906"/>
                </a:cubicBezTo>
                <a:cubicBezTo>
                  <a:pt x="1681" y="1907"/>
                  <a:pt x="1680" y="1908"/>
                  <a:pt x="1678" y="1908"/>
                </a:cubicBezTo>
                <a:cubicBezTo>
                  <a:pt x="1676" y="1909"/>
                  <a:pt x="1674" y="1910"/>
                  <a:pt x="1672" y="1911"/>
                </a:cubicBezTo>
                <a:cubicBezTo>
                  <a:pt x="1672" y="1911"/>
                  <a:pt x="1672" y="1911"/>
                  <a:pt x="1672" y="1921"/>
                </a:cubicBezTo>
                <a:cubicBezTo>
                  <a:pt x="1675" y="1920"/>
                  <a:pt x="1678" y="1919"/>
                  <a:pt x="1680" y="1918"/>
                </a:cubicBezTo>
                <a:cubicBezTo>
                  <a:pt x="1683" y="1917"/>
                  <a:pt x="1685" y="1916"/>
                  <a:pt x="1688" y="1914"/>
                </a:cubicBezTo>
                <a:cubicBezTo>
                  <a:pt x="1688" y="1914"/>
                  <a:pt x="1688" y="1914"/>
                  <a:pt x="1688" y="1973"/>
                </a:cubicBezTo>
                <a:cubicBezTo>
                  <a:pt x="1688" y="1973"/>
                  <a:pt x="1688" y="1973"/>
                  <a:pt x="1700" y="1973"/>
                </a:cubicBezTo>
                <a:cubicBezTo>
                  <a:pt x="1700" y="1973"/>
                  <a:pt x="1700" y="1973"/>
                  <a:pt x="1700" y="1900"/>
                </a:cubicBezTo>
                <a:close/>
                <a:moveTo>
                  <a:pt x="1747" y="1900"/>
                </a:moveTo>
                <a:cubicBezTo>
                  <a:pt x="1747" y="1900"/>
                  <a:pt x="1747" y="1900"/>
                  <a:pt x="1747" y="1900"/>
                </a:cubicBezTo>
                <a:cubicBezTo>
                  <a:pt x="1742" y="1900"/>
                  <a:pt x="1742" y="1900"/>
                  <a:pt x="1742" y="1900"/>
                </a:cubicBezTo>
                <a:cubicBezTo>
                  <a:pt x="1739" y="1901"/>
                  <a:pt x="1738" y="1903"/>
                  <a:pt x="1736" y="1903"/>
                </a:cubicBezTo>
                <a:cubicBezTo>
                  <a:pt x="1734" y="1905"/>
                  <a:pt x="1732" y="1906"/>
                  <a:pt x="1731" y="1906"/>
                </a:cubicBezTo>
                <a:cubicBezTo>
                  <a:pt x="1729" y="1908"/>
                  <a:pt x="1727" y="1908"/>
                  <a:pt x="1726" y="1909"/>
                </a:cubicBezTo>
                <a:cubicBezTo>
                  <a:pt x="1724" y="1910"/>
                  <a:pt x="1722" y="1911"/>
                  <a:pt x="1720" y="1911"/>
                </a:cubicBezTo>
                <a:cubicBezTo>
                  <a:pt x="1720" y="1911"/>
                  <a:pt x="1720" y="1911"/>
                  <a:pt x="1720" y="1921"/>
                </a:cubicBezTo>
                <a:cubicBezTo>
                  <a:pt x="1723" y="1920"/>
                  <a:pt x="1726" y="1919"/>
                  <a:pt x="1728" y="1918"/>
                </a:cubicBezTo>
                <a:cubicBezTo>
                  <a:pt x="1731" y="1917"/>
                  <a:pt x="1733" y="1916"/>
                  <a:pt x="1735" y="1914"/>
                </a:cubicBezTo>
                <a:cubicBezTo>
                  <a:pt x="1735" y="1914"/>
                  <a:pt x="1735" y="1914"/>
                  <a:pt x="1735" y="1973"/>
                </a:cubicBezTo>
                <a:cubicBezTo>
                  <a:pt x="1735" y="1973"/>
                  <a:pt x="1735" y="1973"/>
                  <a:pt x="1747" y="1973"/>
                </a:cubicBezTo>
                <a:cubicBezTo>
                  <a:pt x="1747" y="1973"/>
                  <a:pt x="1747" y="1973"/>
                  <a:pt x="1747" y="1900"/>
                </a:cubicBezTo>
                <a:close/>
                <a:moveTo>
                  <a:pt x="1793" y="1900"/>
                </a:moveTo>
                <a:cubicBezTo>
                  <a:pt x="1793" y="1900"/>
                  <a:pt x="1793" y="1900"/>
                  <a:pt x="1793" y="1900"/>
                </a:cubicBezTo>
                <a:cubicBezTo>
                  <a:pt x="1789" y="1900"/>
                  <a:pt x="1789" y="1900"/>
                  <a:pt x="1789" y="1900"/>
                </a:cubicBezTo>
                <a:cubicBezTo>
                  <a:pt x="1787" y="1901"/>
                  <a:pt x="1785" y="1903"/>
                  <a:pt x="1783" y="1903"/>
                </a:cubicBezTo>
                <a:cubicBezTo>
                  <a:pt x="1782" y="1905"/>
                  <a:pt x="1779" y="1906"/>
                  <a:pt x="1778" y="1906"/>
                </a:cubicBezTo>
                <a:cubicBezTo>
                  <a:pt x="1776" y="1908"/>
                  <a:pt x="1774" y="1908"/>
                  <a:pt x="1772" y="1909"/>
                </a:cubicBezTo>
                <a:cubicBezTo>
                  <a:pt x="1771" y="1910"/>
                  <a:pt x="1769" y="1911"/>
                  <a:pt x="1767" y="1911"/>
                </a:cubicBezTo>
                <a:cubicBezTo>
                  <a:pt x="1767" y="1911"/>
                  <a:pt x="1767" y="1911"/>
                  <a:pt x="1767" y="1921"/>
                </a:cubicBezTo>
                <a:cubicBezTo>
                  <a:pt x="1770" y="1920"/>
                  <a:pt x="1773" y="1919"/>
                  <a:pt x="1775" y="1918"/>
                </a:cubicBezTo>
                <a:cubicBezTo>
                  <a:pt x="1777" y="1917"/>
                  <a:pt x="1780" y="1916"/>
                  <a:pt x="1782" y="1914"/>
                </a:cubicBezTo>
                <a:cubicBezTo>
                  <a:pt x="1782" y="1914"/>
                  <a:pt x="1782" y="1914"/>
                  <a:pt x="1782" y="1973"/>
                </a:cubicBezTo>
                <a:cubicBezTo>
                  <a:pt x="1782" y="1973"/>
                  <a:pt x="1782" y="1973"/>
                  <a:pt x="1793" y="1973"/>
                </a:cubicBezTo>
                <a:cubicBezTo>
                  <a:pt x="1793" y="1973"/>
                  <a:pt x="1793" y="1973"/>
                  <a:pt x="1793" y="1900"/>
                </a:cubicBezTo>
                <a:close/>
                <a:moveTo>
                  <a:pt x="1916" y="1900"/>
                </a:moveTo>
                <a:cubicBezTo>
                  <a:pt x="1916" y="1900"/>
                  <a:pt x="1916" y="1900"/>
                  <a:pt x="1916" y="1900"/>
                </a:cubicBezTo>
                <a:cubicBezTo>
                  <a:pt x="1911" y="1900"/>
                  <a:pt x="1911" y="1900"/>
                  <a:pt x="1911" y="1900"/>
                </a:cubicBezTo>
                <a:cubicBezTo>
                  <a:pt x="1909" y="1901"/>
                  <a:pt x="1908" y="1903"/>
                  <a:pt x="1905" y="1903"/>
                </a:cubicBezTo>
                <a:cubicBezTo>
                  <a:pt x="1904" y="1905"/>
                  <a:pt x="1902" y="1906"/>
                  <a:pt x="1900" y="1906"/>
                </a:cubicBezTo>
                <a:cubicBezTo>
                  <a:pt x="1899" y="1908"/>
                  <a:pt x="1897" y="1908"/>
                  <a:pt x="1895" y="1909"/>
                </a:cubicBezTo>
                <a:cubicBezTo>
                  <a:pt x="1893" y="1910"/>
                  <a:pt x="1891" y="1911"/>
                  <a:pt x="1889" y="1911"/>
                </a:cubicBezTo>
                <a:cubicBezTo>
                  <a:pt x="1889" y="1911"/>
                  <a:pt x="1889" y="1911"/>
                  <a:pt x="1889" y="1921"/>
                </a:cubicBezTo>
                <a:cubicBezTo>
                  <a:pt x="1892" y="1920"/>
                  <a:pt x="1895" y="1919"/>
                  <a:pt x="1898" y="1918"/>
                </a:cubicBezTo>
                <a:cubicBezTo>
                  <a:pt x="1900" y="1917"/>
                  <a:pt x="1902" y="1916"/>
                  <a:pt x="1905" y="1914"/>
                </a:cubicBezTo>
                <a:cubicBezTo>
                  <a:pt x="1905" y="1914"/>
                  <a:pt x="1905" y="1914"/>
                  <a:pt x="1905" y="1973"/>
                </a:cubicBezTo>
                <a:cubicBezTo>
                  <a:pt x="1905" y="1973"/>
                  <a:pt x="1905" y="1973"/>
                  <a:pt x="1916" y="1973"/>
                </a:cubicBezTo>
                <a:cubicBezTo>
                  <a:pt x="1916" y="1973"/>
                  <a:pt x="1916" y="1973"/>
                  <a:pt x="1916" y="1900"/>
                </a:cubicBezTo>
                <a:close/>
                <a:moveTo>
                  <a:pt x="1814" y="1932"/>
                </a:moveTo>
                <a:cubicBezTo>
                  <a:pt x="1814" y="1932"/>
                  <a:pt x="1814" y="1932"/>
                  <a:pt x="1814" y="1932"/>
                </a:cubicBezTo>
                <a:cubicBezTo>
                  <a:pt x="1814" y="1940"/>
                  <a:pt x="1814" y="1940"/>
                  <a:pt x="1814" y="1940"/>
                </a:cubicBezTo>
                <a:cubicBezTo>
                  <a:pt x="1820" y="1941"/>
                  <a:pt x="1821" y="1944"/>
                  <a:pt x="1821" y="1946"/>
                </a:cubicBezTo>
                <a:cubicBezTo>
                  <a:pt x="1821" y="1948"/>
                  <a:pt x="1820" y="1951"/>
                  <a:pt x="1820" y="1953"/>
                </a:cubicBezTo>
                <a:cubicBezTo>
                  <a:pt x="1820" y="1956"/>
                  <a:pt x="1820" y="1958"/>
                  <a:pt x="1820" y="1960"/>
                </a:cubicBezTo>
                <a:cubicBezTo>
                  <a:pt x="1820" y="1970"/>
                  <a:pt x="1826" y="1973"/>
                  <a:pt x="1834" y="1973"/>
                </a:cubicBezTo>
                <a:cubicBezTo>
                  <a:pt x="1834" y="1973"/>
                  <a:pt x="1834" y="1973"/>
                  <a:pt x="1838" y="1973"/>
                </a:cubicBezTo>
                <a:cubicBezTo>
                  <a:pt x="1838" y="1973"/>
                  <a:pt x="1838" y="1973"/>
                  <a:pt x="1838" y="1964"/>
                </a:cubicBezTo>
                <a:cubicBezTo>
                  <a:pt x="1838" y="1964"/>
                  <a:pt x="1838" y="1964"/>
                  <a:pt x="1836" y="1964"/>
                </a:cubicBezTo>
                <a:cubicBezTo>
                  <a:pt x="1833" y="1964"/>
                  <a:pt x="1831" y="1962"/>
                  <a:pt x="1831" y="1958"/>
                </a:cubicBezTo>
                <a:cubicBezTo>
                  <a:pt x="1831" y="1957"/>
                  <a:pt x="1831" y="1955"/>
                  <a:pt x="1832" y="1953"/>
                </a:cubicBezTo>
                <a:cubicBezTo>
                  <a:pt x="1832" y="1952"/>
                  <a:pt x="1832" y="1950"/>
                  <a:pt x="1832" y="1947"/>
                </a:cubicBezTo>
                <a:cubicBezTo>
                  <a:pt x="1832" y="1940"/>
                  <a:pt x="1829" y="1937"/>
                  <a:pt x="1824" y="1936"/>
                </a:cubicBezTo>
                <a:cubicBezTo>
                  <a:pt x="1824" y="1936"/>
                  <a:pt x="1824" y="1936"/>
                  <a:pt x="1824" y="1936"/>
                </a:cubicBezTo>
                <a:cubicBezTo>
                  <a:pt x="1829" y="1935"/>
                  <a:pt x="1832" y="1932"/>
                  <a:pt x="1832" y="1925"/>
                </a:cubicBezTo>
                <a:cubicBezTo>
                  <a:pt x="1832" y="1922"/>
                  <a:pt x="1832" y="1920"/>
                  <a:pt x="1832" y="1919"/>
                </a:cubicBezTo>
                <a:cubicBezTo>
                  <a:pt x="1831" y="1917"/>
                  <a:pt x="1831" y="1915"/>
                  <a:pt x="1831" y="1914"/>
                </a:cubicBezTo>
                <a:cubicBezTo>
                  <a:pt x="1831" y="1910"/>
                  <a:pt x="1833" y="1908"/>
                  <a:pt x="1836" y="1908"/>
                </a:cubicBezTo>
                <a:cubicBezTo>
                  <a:pt x="1836" y="1908"/>
                  <a:pt x="1836" y="1908"/>
                  <a:pt x="1838" y="1908"/>
                </a:cubicBezTo>
                <a:cubicBezTo>
                  <a:pt x="1838" y="1908"/>
                  <a:pt x="1838" y="1908"/>
                  <a:pt x="1838" y="1899"/>
                </a:cubicBezTo>
                <a:cubicBezTo>
                  <a:pt x="1838" y="1899"/>
                  <a:pt x="1838" y="1899"/>
                  <a:pt x="1834" y="1899"/>
                </a:cubicBezTo>
                <a:cubicBezTo>
                  <a:pt x="1825" y="1899"/>
                  <a:pt x="1820" y="1903"/>
                  <a:pt x="1820" y="1911"/>
                </a:cubicBezTo>
                <a:cubicBezTo>
                  <a:pt x="1820" y="1914"/>
                  <a:pt x="1820" y="1916"/>
                  <a:pt x="1820" y="1919"/>
                </a:cubicBezTo>
                <a:cubicBezTo>
                  <a:pt x="1820" y="1921"/>
                  <a:pt x="1821" y="1924"/>
                  <a:pt x="1821" y="1926"/>
                </a:cubicBezTo>
                <a:cubicBezTo>
                  <a:pt x="1821" y="1928"/>
                  <a:pt x="1820" y="1932"/>
                  <a:pt x="1814" y="1932"/>
                </a:cubicBezTo>
                <a:close/>
                <a:moveTo>
                  <a:pt x="1868" y="1940"/>
                </a:moveTo>
                <a:cubicBezTo>
                  <a:pt x="1868" y="1940"/>
                  <a:pt x="1868" y="1940"/>
                  <a:pt x="1868" y="1940"/>
                </a:cubicBezTo>
                <a:cubicBezTo>
                  <a:pt x="1868" y="1932"/>
                  <a:pt x="1868" y="1932"/>
                  <a:pt x="1868" y="1932"/>
                </a:cubicBezTo>
                <a:cubicBezTo>
                  <a:pt x="1862" y="1932"/>
                  <a:pt x="1862" y="1928"/>
                  <a:pt x="1862" y="1926"/>
                </a:cubicBezTo>
                <a:cubicBezTo>
                  <a:pt x="1862" y="1924"/>
                  <a:pt x="1862" y="1921"/>
                  <a:pt x="1862" y="1919"/>
                </a:cubicBezTo>
                <a:cubicBezTo>
                  <a:pt x="1863" y="1916"/>
                  <a:pt x="1863" y="1914"/>
                  <a:pt x="1863" y="1911"/>
                </a:cubicBezTo>
                <a:cubicBezTo>
                  <a:pt x="1863" y="1903"/>
                  <a:pt x="1857" y="1899"/>
                  <a:pt x="1848" y="1899"/>
                </a:cubicBezTo>
                <a:cubicBezTo>
                  <a:pt x="1848" y="1899"/>
                  <a:pt x="1848" y="1899"/>
                  <a:pt x="1844" y="1899"/>
                </a:cubicBezTo>
                <a:cubicBezTo>
                  <a:pt x="1844" y="1899"/>
                  <a:pt x="1844" y="1899"/>
                  <a:pt x="1844" y="1908"/>
                </a:cubicBezTo>
                <a:cubicBezTo>
                  <a:pt x="1844" y="1908"/>
                  <a:pt x="1844" y="1908"/>
                  <a:pt x="1846" y="1908"/>
                </a:cubicBezTo>
                <a:cubicBezTo>
                  <a:pt x="1850" y="1908"/>
                  <a:pt x="1851" y="1910"/>
                  <a:pt x="1851" y="1914"/>
                </a:cubicBezTo>
                <a:cubicBezTo>
                  <a:pt x="1851" y="1915"/>
                  <a:pt x="1851" y="1917"/>
                  <a:pt x="1851" y="1919"/>
                </a:cubicBezTo>
                <a:cubicBezTo>
                  <a:pt x="1850" y="1920"/>
                  <a:pt x="1850" y="1922"/>
                  <a:pt x="1850" y="1925"/>
                </a:cubicBezTo>
                <a:cubicBezTo>
                  <a:pt x="1850" y="1932"/>
                  <a:pt x="1853" y="1935"/>
                  <a:pt x="1859" y="1936"/>
                </a:cubicBezTo>
                <a:cubicBezTo>
                  <a:pt x="1859" y="1936"/>
                  <a:pt x="1859" y="1936"/>
                  <a:pt x="1859" y="1936"/>
                </a:cubicBezTo>
                <a:cubicBezTo>
                  <a:pt x="1853" y="1937"/>
                  <a:pt x="1850" y="1940"/>
                  <a:pt x="1850" y="1947"/>
                </a:cubicBezTo>
                <a:cubicBezTo>
                  <a:pt x="1850" y="1950"/>
                  <a:pt x="1850" y="1952"/>
                  <a:pt x="1851" y="1953"/>
                </a:cubicBezTo>
                <a:cubicBezTo>
                  <a:pt x="1851" y="1955"/>
                  <a:pt x="1851" y="1957"/>
                  <a:pt x="1851" y="1958"/>
                </a:cubicBezTo>
                <a:cubicBezTo>
                  <a:pt x="1851" y="1962"/>
                  <a:pt x="1850" y="1964"/>
                  <a:pt x="1846" y="1964"/>
                </a:cubicBezTo>
                <a:cubicBezTo>
                  <a:pt x="1846" y="1964"/>
                  <a:pt x="1846" y="1964"/>
                  <a:pt x="1844" y="1964"/>
                </a:cubicBezTo>
                <a:cubicBezTo>
                  <a:pt x="1844" y="1964"/>
                  <a:pt x="1844" y="1964"/>
                  <a:pt x="1844" y="1973"/>
                </a:cubicBezTo>
                <a:cubicBezTo>
                  <a:pt x="1844" y="1973"/>
                  <a:pt x="1844" y="1973"/>
                  <a:pt x="1848" y="1973"/>
                </a:cubicBezTo>
                <a:cubicBezTo>
                  <a:pt x="1857" y="1973"/>
                  <a:pt x="1863" y="1970"/>
                  <a:pt x="1863" y="1960"/>
                </a:cubicBezTo>
                <a:cubicBezTo>
                  <a:pt x="1863" y="1958"/>
                  <a:pt x="1863" y="1956"/>
                  <a:pt x="1862" y="1953"/>
                </a:cubicBezTo>
                <a:cubicBezTo>
                  <a:pt x="1862" y="1951"/>
                  <a:pt x="1862" y="1948"/>
                  <a:pt x="1862" y="1946"/>
                </a:cubicBezTo>
                <a:cubicBezTo>
                  <a:pt x="1862" y="1944"/>
                  <a:pt x="1862" y="1941"/>
                  <a:pt x="1868" y="1940"/>
                </a:cubicBezTo>
                <a:close/>
                <a:moveTo>
                  <a:pt x="1010" y="1851"/>
                </a:moveTo>
                <a:cubicBezTo>
                  <a:pt x="1010" y="1853"/>
                  <a:pt x="1011" y="1854"/>
                  <a:pt x="1011" y="1856"/>
                </a:cubicBezTo>
                <a:cubicBezTo>
                  <a:pt x="1012" y="1857"/>
                  <a:pt x="1012" y="1859"/>
                  <a:pt x="1013" y="1861"/>
                </a:cubicBezTo>
                <a:cubicBezTo>
                  <a:pt x="1013" y="1862"/>
                  <a:pt x="1013" y="1864"/>
                  <a:pt x="1013" y="1865"/>
                </a:cubicBezTo>
                <a:cubicBezTo>
                  <a:pt x="1014" y="1869"/>
                  <a:pt x="1013" y="1870"/>
                  <a:pt x="1009" y="1870"/>
                </a:cubicBezTo>
                <a:cubicBezTo>
                  <a:pt x="1007" y="1870"/>
                  <a:pt x="1004" y="1870"/>
                  <a:pt x="1001" y="1870"/>
                </a:cubicBezTo>
                <a:cubicBezTo>
                  <a:pt x="1001" y="1870"/>
                  <a:pt x="1000" y="1870"/>
                  <a:pt x="1000" y="1870"/>
                </a:cubicBezTo>
                <a:cubicBezTo>
                  <a:pt x="998" y="1872"/>
                  <a:pt x="996" y="1873"/>
                  <a:pt x="995" y="1874"/>
                </a:cubicBezTo>
                <a:cubicBezTo>
                  <a:pt x="993" y="1877"/>
                  <a:pt x="990" y="1877"/>
                  <a:pt x="988" y="1875"/>
                </a:cubicBezTo>
                <a:cubicBezTo>
                  <a:pt x="986" y="1873"/>
                  <a:pt x="985" y="1870"/>
                  <a:pt x="983" y="1868"/>
                </a:cubicBezTo>
                <a:cubicBezTo>
                  <a:pt x="982" y="1866"/>
                  <a:pt x="983" y="1865"/>
                  <a:pt x="985" y="1863"/>
                </a:cubicBezTo>
                <a:cubicBezTo>
                  <a:pt x="982" y="1863"/>
                  <a:pt x="981" y="1863"/>
                  <a:pt x="979" y="1863"/>
                </a:cubicBezTo>
                <a:cubicBezTo>
                  <a:pt x="978" y="1865"/>
                  <a:pt x="977" y="1867"/>
                  <a:pt x="976" y="1869"/>
                </a:cubicBezTo>
                <a:cubicBezTo>
                  <a:pt x="976" y="1870"/>
                  <a:pt x="976" y="1870"/>
                  <a:pt x="976" y="1871"/>
                </a:cubicBezTo>
                <a:cubicBezTo>
                  <a:pt x="976" y="1874"/>
                  <a:pt x="975" y="1876"/>
                  <a:pt x="972" y="1875"/>
                </a:cubicBezTo>
                <a:cubicBezTo>
                  <a:pt x="969" y="1875"/>
                  <a:pt x="966" y="1874"/>
                  <a:pt x="963" y="1873"/>
                </a:cubicBezTo>
                <a:cubicBezTo>
                  <a:pt x="961" y="1872"/>
                  <a:pt x="960" y="1871"/>
                  <a:pt x="961" y="1869"/>
                </a:cubicBezTo>
                <a:cubicBezTo>
                  <a:pt x="961" y="1868"/>
                  <a:pt x="961" y="1867"/>
                  <a:pt x="962" y="1867"/>
                </a:cubicBezTo>
                <a:cubicBezTo>
                  <a:pt x="959" y="1866"/>
                  <a:pt x="957" y="1865"/>
                  <a:pt x="955" y="1864"/>
                </a:cubicBezTo>
                <a:cubicBezTo>
                  <a:pt x="954" y="1863"/>
                  <a:pt x="953" y="1861"/>
                  <a:pt x="952" y="1859"/>
                </a:cubicBezTo>
                <a:cubicBezTo>
                  <a:pt x="951" y="1857"/>
                  <a:pt x="951" y="1856"/>
                  <a:pt x="953" y="1854"/>
                </a:cubicBezTo>
                <a:cubicBezTo>
                  <a:pt x="956" y="1852"/>
                  <a:pt x="957" y="1849"/>
                  <a:pt x="956" y="1845"/>
                </a:cubicBezTo>
                <a:cubicBezTo>
                  <a:pt x="956" y="1843"/>
                  <a:pt x="956" y="1841"/>
                  <a:pt x="956" y="1839"/>
                </a:cubicBezTo>
                <a:cubicBezTo>
                  <a:pt x="955" y="1839"/>
                  <a:pt x="953" y="1838"/>
                  <a:pt x="952" y="1837"/>
                </a:cubicBezTo>
                <a:cubicBezTo>
                  <a:pt x="951" y="1835"/>
                  <a:pt x="950" y="1833"/>
                  <a:pt x="950" y="1832"/>
                </a:cubicBezTo>
                <a:cubicBezTo>
                  <a:pt x="950" y="1829"/>
                  <a:pt x="953" y="1826"/>
                  <a:pt x="956" y="1825"/>
                </a:cubicBezTo>
                <a:cubicBezTo>
                  <a:pt x="956" y="1826"/>
                  <a:pt x="956" y="1827"/>
                  <a:pt x="957" y="1828"/>
                </a:cubicBezTo>
                <a:cubicBezTo>
                  <a:pt x="957" y="1829"/>
                  <a:pt x="957" y="1830"/>
                  <a:pt x="957" y="1831"/>
                </a:cubicBezTo>
                <a:cubicBezTo>
                  <a:pt x="956" y="1830"/>
                  <a:pt x="956" y="1830"/>
                  <a:pt x="956" y="1830"/>
                </a:cubicBezTo>
                <a:cubicBezTo>
                  <a:pt x="955" y="1832"/>
                  <a:pt x="955" y="1833"/>
                  <a:pt x="954" y="1835"/>
                </a:cubicBezTo>
                <a:cubicBezTo>
                  <a:pt x="955" y="1834"/>
                  <a:pt x="956" y="1834"/>
                  <a:pt x="956" y="1834"/>
                </a:cubicBezTo>
                <a:cubicBezTo>
                  <a:pt x="958" y="1833"/>
                  <a:pt x="958" y="1832"/>
                  <a:pt x="959" y="1831"/>
                </a:cubicBezTo>
                <a:cubicBezTo>
                  <a:pt x="964" y="1824"/>
                  <a:pt x="969" y="1820"/>
                  <a:pt x="977" y="1819"/>
                </a:cubicBezTo>
                <a:cubicBezTo>
                  <a:pt x="980" y="1818"/>
                  <a:pt x="984" y="1817"/>
                  <a:pt x="986" y="1814"/>
                </a:cubicBezTo>
                <a:cubicBezTo>
                  <a:pt x="986" y="1814"/>
                  <a:pt x="987" y="1813"/>
                  <a:pt x="987" y="1813"/>
                </a:cubicBezTo>
                <a:cubicBezTo>
                  <a:pt x="990" y="1813"/>
                  <a:pt x="991" y="1811"/>
                  <a:pt x="993" y="1809"/>
                </a:cubicBezTo>
                <a:cubicBezTo>
                  <a:pt x="1001" y="1801"/>
                  <a:pt x="1013" y="1801"/>
                  <a:pt x="1020" y="1808"/>
                </a:cubicBezTo>
                <a:cubicBezTo>
                  <a:pt x="1023" y="1809"/>
                  <a:pt x="1025" y="1811"/>
                  <a:pt x="1028" y="1813"/>
                </a:cubicBezTo>
                <a:cubicBezTo>
                  <a:pt x="1029" y="1815"/>
                  <a:pt x="1031" y="1816"/>
                  <a:pt x="1032" y="1818"/>
                </a:cubicBezTo>
                <a:cubicBezTo>
                  <a:pt x="1033" y="1820"/>
                  <a:pt x="1033" y="1820"/>
                  <a:pt x="1034" y="1819"/>
                </a:cubicBezTo>
                <a:cubicBezTo>
                  <a:pt x="1035" y="1818"/>
                  <a:pt x="1036" y="1817"/>
                  <a:pt x="1037" y="1817"/>
                </a:cubicBezTo>
                <a:cubicBezTo>
                  <a:pt x="1039" y="1814"/>
                  <a:pt x="1042" y="1814"/>
                  <a:pt x="1043" y="1817"/>
                </a:cubicBezTo>
                <a:cubicBezTo>
                  <a:pt x="1044" y="1820"/>
                  <a:pt x="1045" y="1823"/>
                  <a:pt x="1045" y="1826"/>
                </a:cubicBezTo>
                <a:cubicBezTo>
                  <a:pt x="1046" y="1830"/>
                  <a:pt x="1046" y="1835"/>
                  <a:pt x="1044" y="1839"/>
                </a:cubicBezTo>
                <a:cubicBezTo>
                  <a:pt x="1042" y="1845"/>
                  <a:pt x="1037" y="1849"/>
                  <a:pt x="1031" y="1849"/>
                </a:cubicBezTo>
                <a:cubicBezTo>
                  <a:pt x="1030" y="1849"/>
                  <a:pt x="1029" y="1849"/>
                  <a:pt x="1029" y="1849"/>
                </a:cubicBezTo>
                <a:cubicBezTo>
                  <a:pt x="1026" y="1848"/>
                  <a:pt x="1025" y="1849"/>
                  <a:pt x="1024" y="1851"/>
                </a:cubicBezTo>
                <a:cubicBezTo>
                  <a:pt x="1023" y="1856"/>
                  <a:pt x="1017" y="1857"/>
                  <a:pt x="1014" y="1854"/>
                </a:cubicBezTo>
                <a:cubicBezTo>
                  <a:pt x="1013" y="1853"/>
                  <a:pt x="1012" y="1852"/>
                  <a:pt x="1011" y="1851"/>
                </a:cubicBezTo>
                <a:cubicBezTo>
                  <a:pt x="1010" y="1851"/>
                  <a:pt x="1010" y="1851"/>
                  <a:pt x="1010" y="1851"/>
                </a:cubicBezTo>
                <a:close/>
                <a:moveTo>
                  <a:pt x="1004" y="1847"/>
                </a:moveTo>
                <a:cubicBezTo>
                  <a:pt x="1008" y="1848"/>
                  <a:pt x="1011" y="1850"/>
                  <a:pt x="1014" y="1852"/>
                </a:cubicBezTo>
                <a:cubicBezTo>
                  <a:pt x="1016" y="1854"/>
                  <a:pt x="1018" y="1855"/>
                  <a:pt x="1020" y="1854"/>
                </a:cubicBezTo>
                <a:cubicBezTo>
                  <a:pt x="1022" y="1853"/>
                  <a:pt x="1024" y="1851"/>
                  <a:pt x="1024" y="1848"/>
                </a:cubicBezTo>
                <a:cubicBezTo>
                  <a:pt x="1024" y="1848"/>
                  <a:pt x="1023" y="1848"/>
                  <a:pt x="1023" y="1849"/>
                </a:cubicBezTo>
                <a:cubicBezTo>
                  <a:pt x="1022" y="1850"/>
                  <a:pt x="1021" y="1851"/>
                  <a:pt x="1020" y="1852"/>
                </a:cubicBezTo>
                <a:cubicBezTo>
                  <a:pt x="1019" y="1854"/>
                  <a:pt x="1018" y="1853"/>
                  <a:pt x="1017" y="1853"/>
                </a:cubicBezTo>
                <a:cubicBezTo>
                  <a:pt x="1016" y="1853"/>
                  <a:pt x="1016" y="1852"/>
                  <a:pt x="1016" y="1851"/>
                </a:cubicBezTo>
                <a:cubicBezTo>
                  <a:pt x="1016" y="1848"/>
                  <a:pt x="1016" y="1846"/>
                  <a:pt x="1017" y="1845"/>
                </a:cubicBezTo>
                <a:cubicBezTo>
                  <a:pt x="1020" y="1845"/>
                  <a:pt x="1023" y="1846"/>
                  <a:pt x="1027" y="1847"/>
                </a:cubicBezTo>
                <a:cubicBezTo>
                  <a:pt x="1034" y="1848"/>
                  <a:pt x="1040" y="1846"/>
                  <a:pt x="1043" y="1838"/>
                </a:cubicBezTo>
                <a:cubicBezTo>
                  <a:pt x="1045" y="1833"/>
                  <a:pt x="1044" y="1828"/>
                  <a:pt x="1044" y="1823"/>
                </a:cubicBezTo>
                <a:cubicBezTo>
                  <a:pt x="1043" y="1821"/>
                  <a:pt x="1042" y="1820"/>
                  <a:pt x="1042" y="1818"/>
                </a:cubicBezTo>
                <a:cubicBezTo>
                  <a:pt x="1041" y="1816"/>
                  <a:pt x="1040" y="1816"/>
                  <a:pt x="1038" y="1817"/>
                </a:cubicBezTo>
                <a:cubicBezTo>
                  <a:pt x="1037" y="1819"/>
                  <a:pt x="1035" y="1821"/>
                  <a:pt x="1033" y="1821"/>
                </a:cubicBezTo>
                <a:cubicBezTo>
                  <a:pt x="1033" y="1822"/>
                  <a:pt x="1032" y="1822"/>
                  <a:pt x="1032" y="1824"/>
                </a:cubicBezTo>
                <a:cubicBezTo>
                  <a:pt x="1033" y="1827"/>
                  <a:pt x="1032" y="1830"/>
                  <a:pt x="1031" y="1833"/>
                </a:cubicBezTo>
                <a:cubicBezTo>
                  <a:pt x="1031" y="1831"/>
                  <a:pt x="1031" y="1829"/>
                  <a:pt x="1031" y="1828"/>
                </a:cubicBezTo>
                <a:cubicBezTo>
                  <a:pt x="1031" y="1827"/>
                  <a:pt x="1031" y="1826"/>
                  <a:pt x="1031" y="1826"/>
                </a:cubicBezTo>
                <a:cubicBezTo>
                  <a:pt x="1030" y="1826"/>
                  <a:pt x="1029" y="1826"/>
                  <a:pt x="1029" y="1827"/>
                </a:cubicBezTo>
                <a:cubicBezTo>
                  <a:pt x="1029" y="1828"/>
                  <a:pt x="1028" y="1830"/>
                  <a:pt x="1027" y="1831"/>
                </a:cubicBezTo>
                <a:cubicBezTo>
                  <a:pt x="1027" y="1831"/>
                  <a:pt x="1027" y="1831"/>
                  <a:pt x="1027" y="1831"/>
                </a:cubicBezTo>
                <a:cubicBezTo>
                  <a:pt x="1027" y="1829"/>
                  <a:pt x="1027" y="1828"/>
                  <a:pt x="1028" y="1825"/>
                </a:cubicBezTo>
                <a:cubicBezTo>
                  <a:pt x="1027" y="1826"/>
                  <a:pt x="1026" y="1826"/>
                  <a:pt x="1025" y="1827"/>
                </a:cubicBezTo>
                <a:cubicBezTo>
                  <a:pt x="1025" y="1828"/>
                  <a:pt x="1025" y="1828"/>
                  <a:pt x="1024" y="1829"/>
                </a:cubicBezTo>
                <a:cubicBezTo>
                  <a:pt x="1025" y="1826"/>
                  <a:pt x="1025" y="1826"/>
                  <a:pt x="1031" y="1824"/>
                </a:cubicBezTo>
                <a:cubicBezTo>
                  <a:pt x="1031" y="1824"/>
                  <a:pt x="1030" y="1823"/>
                  <a:pt x="1030" y="1823"/>
                </a:cubicBezTo>
                <a:cubicBezTo>
                  <a:pt x="1027" y="1824"/>
                  <a:pt x="1026" y="1822"/>
                  <a:pt x="1026" y="1820"/>
                </a:cubicBezTo>
                <a:cubicBezTo>
                  <a:pt x="1027" y="1820"/>
                  <a:pt x="1029" y="1819"/>
                  <a:pt x="1031" y="1819"/>
                </a:cubicBezTo>
                <a:cubicBezTo>
                  <a:pt x="1029" y="1817"/>
                  <a:pt x="1027" y="1814"/>
                  <a:pt x="1024" y="1813"/>
                </a:cubicBezTo>
                <a:cubicBezTo>
                  <a:pt x="1024" y="1813"/>
                  <a:pt x="1024" y="1813"/>
                  <a:pt x="1024" y="1813"/>
                </a:cubicBezTo>
                <a:cubicBezTo>
                  <a:pt x="1021" y="1811"/>
                  <a:pt x="1019" y="1808"/>
                  <a:pt x="1016" y="1806"/>
                </a:cubicBezTo>
                <a:cubicBezTo>
                  <a:pt x="1014" y="1805"/>
                  <a:pt x="1011" y="1804"/>
                  <a:pt x="1009" y="1804"/>
                </a:cubicBezTo>
                <a:cubicBezTo>
                  <a:pt x="1005" y="1805"/>
                  <a:pt x="1002" y="1806"/>
                  <a:pt x="999" y="1807"/>
                </a:cubicBezTo>
                <a:cubicBezTo>
                  <a:pt x="996" y="1808"/>
                  <a:pt x="994" y="1809"/>
                  <a:pt x="992" y="1813"/>
                </a:cubicBezTo>
                <a:cubicBezTo>
                  <a:pt x="994" y="1813"/>
                  <a:pt x="995" y="1813"/>
                  <a:pt x="996" y="1813"/>
                </a:cubicBezTo>
                <a:cubicBezTo>
                  <a:pt x="996" y="1813"/>
                  <a:pt x="995" y="1813"/>
                  <a:pt x="994" y="1813"/>
                </a:cubicBezTo>
                <a:cubicBezTo>
                  <a:pt x="992" y="1814"/>
                  <a:pt x="989" y="1813"/>
                  <a:pt x="987" y="1816"/>
                </a:cubicBezTo>
                <a:cubicBezTo>
                  <a:pt x="984" y="1820"/>
                  <a:pt x="980" y="1823"/>
                  <a:pt x="976" y="1828"/>
                </a:cubicBezTo>
                <a:cubicBezTo>
                  <a:pt x="974" y="1830"/>
                  <a:pt x="974" y="1832"/>
                  <a:pt x="973" y="1834"/>
                </a:cubicBezTo>
                <a:cubicBezTo>
                  <a:pt x="973" y="1835"/>
                  <a:pt x="973" y="1835"/>
                  <a:pt x="973" y="1836"/>
                </a:cubicBezTo>
                <a:cubicBezTo>
                  <a:pt x="974" y="1838"/>
                  <a:pt x="975" y="1840"/>
                  <a:pt x="977" y="1842"/>
                </a:cubicBezTo>
                <a:cubicBezTo>
                  <a:pt x="978" y="1840"/>
                  <a:pt x="979" y="1839"/>
                  <a:pt x="980" y="1837"/>
                </a:cubicBezTo>
                <a:cubicBezTo>
                  <a:pt x="980" y="1839"/>
                  <a:pt x="980" y="1840"/>
                  <a:pt x="979" y="1841"/>
                </a:cubicBezTo>
                <a:cubicBezTo>
                  <a:pt x="978" y="1843"/>
                  <a:pt x="977" y="1844"/>
                  <a:pt x="977" y="1845"/>
                </a:cubicBezTo>
                <a:cubicBezTo>
                  <a:pt x="976" y="1846"/>
                  <a:pt x="977" y="1847"/>
                  <a:pt x="977" y="1848"/>
                </a:cubicBezTo>
                <a:cubicBezTo>
                  <a:pt x="980" y="1852"/>
                  <a:pt x="983" y="1852"/>
                  <a:pt x="987" y="1850"/>
                </a:cubicBezTo>
                <a:cubicBezTo>
                  <a:pt x="989" y="1848"/>
                  <a:pt x="992" y="1847"/>
                  <a:pt x="994" y="1846"/>
                </a:cubicBezTo>
                <a:cubicBezTo>
                  <a:pt x="996" y="1846"/>
                  <a:pt x="997" y="1845"/>
                  <a:pt x="997" y="1843"/>
                </a:cubicBezTo>
                <a:cubicBezTo>
                  <a:pt x="997" y="1840"/>
                  <a:pt x="997" y="1837"/>
                  <a:pt x="997" y="1833"/>
                </a:cubicBezTo>
                <a:cubicBezTo>
                  <a:pt x="997" y="1830"/>
                  <a:pt x="997" y="1828"/>
                  <a:pt x="997" y="1824"/>
                </a:cubicBezTo>
                <a:cubicBezTo>
                  <a:pt x="998" y="1827"/>
                  <a:pt x="998" y="1830"/>
                  <a:pt x="999" y="1832"/>
                </a:cubicBezTo>
                <a:cubicBezTo>
                  <a:pt x="1000" y="1837"/>
                  <a:pt x="1000" y="1841"/>
                  <a:pt x="998" y="1846"/>
                </a:cubicBezTo>
                <a:cubicBezTo>
                  <a:pt x="998" y="1846"/>
                  <a:pt x="997" y="1847"/>
                  <a:pt x="997" y="1847"/>
                </a:cubicBezTo>
                <a:cubicBezTo>
                  <a:pt x="993" y="1848"/>
                  <a:pt x="990" y="1850"/>
                  <a:pt x="987" y="1851"/>
                </a:cubicBezTo>
                <a:cubicBezTo>
                  <a:pt x="982" y="1854"/>
                  <a:pt x="978" y="1852"/>
                  <a:pt x="975" y="1848"/>
                </a:cubicBezTo>
                <a:cubicBezTo>
                  <a:pt x="974" y="1848"/>
                  <a:pt x="974" y="1847"/>
                  <a:pt x="975" y="1846"/>
                </a:cubicBezTo>
                <a:cubicBezTo>
                  <a:pt x="976" y="1844"/>
                  <a:pt x="975" y="1842"/>
                  <a:pt x="973" y="1840"/>
                </a:cubicBezTo>
                <a:cubicBezTo>
                  <a:pt x="972" y="1838"/>
                  <a:pt x="970" y="1836"/>
                  <a:pt x="971" y="1833"/>
                </a:cubicBezTo>
                <a:cubicBezTo>
                  <a:pt x="972" y="1831"/>
                  <a:pt x="973" y="1830"/>
                  <a:pt x="974" y="1828"/>
                </a:cubicBezTo>
                <a:cubicBezTo>
                  <a:pt x="976" y="1825"/>
                  <a:pt x="978" y="1823"/>
                  <a:pt x="980" y="1820"/>
                </a:cubicBezTo>
                <a:cubicBezTo>
                  <a:pt x="980" y="1820"/>
                  <a:pt x="979" y="1820"/>
                  <a:pt x="979" y="1820"/>
                </a:cubicBezTo>
                <a:cubicBezTo>
                  <a:pt x="974" y="1821"/>
                  <a:pt x="969" y="1823"/>
                  <a:pt x="965" y="1826"/>
                </a:cubicBezTo>
                <a:cubicBezTo>
                  <a:pt x="961" y="1830"/>
                  <a:pt x="958" y="1835"/>
                  <a:pt x="958" y="1842"/>
                </a:cubicBezTo>
                <a:cubicBezTo>
                  <a:pt x="957" y="1849"/>
                  <a:pt x="960" y="1855"/>
                  <a:pt x="963" y="1861"/>
                </a:cubicBezTo>
                <a:cubicBezTo>
                  <a:pt x="964" y="1861"/>
                  <a:pt x="964" y="1863"/>
                  <a:pt x="964" y="1864"/>
                </a:cubicBezTo>
                <a:cubicBezTo>
                  <a:pt x="964" y="1866"/>
                  <a:pt x="964" y="1867"/>
                  <a:pt x="963" y="1869"/>
                </a:cubicBezTo>
                <a:cubicBezTo>
                  <a:pt x="962" y="1870"/>
                  <a:pt x="963" y="1871"/>
                  <a:pt x="964" y="1872"/>
                </a:cubicBezTo>
                <a:cubicBezTo>
                  <a:pt x="967" y="1872"/>
                  <a:pt x="970" y="1873"/>
                  <a:pt x="973" y="1873"/>
                </a:cubicBezTo>
                <a:cubicBezTo>
                  <a:pt x="973" y="1873"/>
                  <a:pt x="974" y="1872"/>
                  <a:pt x="974" y="1872"/>
                </a:cubicBezTo>
                <a:cubicBezTo>
                  <a:pt x="974" y="1871"/>
                  <a:pt x="974" y="1869"/>
                  <a:pt x="975" y="1869"/>
                </a:cubicBezTo>
                <a:cubicBezTo>
                  <a:pt x="977" y="1866"/>
                  <a:pt x="977" y="1863"/>
                  <a:pt x="977" y="1861"/>
                </a:cubicBezTo>
                <a:cubicBezTo>
                  <a:pt x="977" y="1860"/>
                  <a:pt x="977" y="1860"/>
                  <a:pt x="977" y="1859"/>
                </a:cubicBezTo>
                <a:cubicBezTo>
                  <a:pt x="977" y="1859"/>
                  <a:pt x="977" y="1859"/>
                  <a:pt x="977" y="1859"/>
                </a:cubicBezTo>
                <a:cubicBezTo>
                  <a:pt x="978" y="1861"/>
                  <a:pt x="979" y="1861"/>
                  <a:pt x="981" y="1861"/>
                </a:cubicBezTo>
                <a:cubicBezTo>
                  <a:pt x="982" y="1861"/>
                  <a:pt x="983" y="1861"/>
                  <a:pt x="984" y="1861"/>
                </a:cubicBezTo>
                <a:cubicBezTo>
                  <a:pt x="986" y="1861"/>
                  <a:pt x="989" y="1862"/>
                  <a:pt x="990" y="1858"/>
                </a:cubicBezTo>
                <a:cubicBezTo>
                  <a:pt x="990" y="1860"/>
                  <a:pt x="990" y="1862"/>
                  <a:pt x="990" y="1863"/>
                </a:cubicBezTo>
                <a:cubicBezTo>
                  <a:pt x="989" y="1863"/>
                  <a:pt x="987" y="1864"/>
                  <a:pt x="986" y="1865"/>
                </a:cubicBezTo>
                <a:cubicBezTo>
                  <a:pt x="985" y="1865"/>
                  <a:pt x="984" y="1867"/>
                  <a:pt x="985" y="1868"/>
                </a:cubicBezTo>
                <a:cubicBezTo>
                  <a:pt x="986" y="1870"/>
                  <a:pt x="987" y="1872"/>
                  <a:pt x="989" y="1874"/>
                </a:cubicBezTo>
                <a:cubicBezTo>
                  <a:pt x="991" y="1875"/>
                  <a:pt x="993" y="1875"/>
                  <a:pt x="994" y="1873"/>
                </a:cubicBezTo>
                <a:cubicBezTo>
                  <a:pt x="994" y="1872"/>
                  <a:pt x="995" y="1872"/>
                  <a:pt x="996" y="1871"/>
                </a:cubicBezTo>
                <a:cubicBezTo>
                  <a:pt x="998" y="1870"/>
                  <a:pt x="999" y="1869"/>
                  <a:pt x="1001" y="1867"/>
                </a:cubicBezTo>
                <a:cubicBezTo>
                  <a:pt x="1005" y="1863"/>
                  <a:pt x="1007" y="1857"/>
                  <a:pt x="1009" y="1851"/>
                </a:cubicBezTo>
                <a:cubicBezTo>
                  <a:pt x="1009" y="1851"/>
                  <a:pt x="1008" y="1850"/>
                  <a:pt x="1007" y="1850"/>
                </a:cubicBezTo>
                <a:cubicBezTo>
                  <a:pt x="1007" y="1848"/>
                  <a:pt x="1005" y="1848"/>
                  <a:pt x="1004" y="1847"/>
                </a:cubicBezTo>
                <a:close/>
                <a:moveTo>
                  <a:pt x="957" y="1853"/>
                </a:moveTo>
                <a:cubicBezTo>
                  <a:pt x="956" y="1854"/>
                  <a:pt x="955" y="1855"/>
                  <a:pt x="954" y="1856"/>
                </a:cubicBezTo>
                <a:cubicBezTo>
                  <a:pt x="953" y="1856"/>
                  <a:pt x="953" y="1857"/>
                  <a:pt x="953" y="1858"/>
                </a:cubicBezTo>
                <a:cubicBezTo>
                  <a:pt x="953" y="1861"/>
                  <a:pt x="957" y="1865"/>
                  <a:pt x="960" y="1865"/>
                </a:cubicBezTo>
                <a:cubicBezTo>
                  <a:pt x="962" y="1865"/>
                  <a:pt x="963" y="1863"/>
                  <a:pt x="962" y="1862"/>
                </a:cubicBezTo>
                <a:cubicBezTo>
                  <a:pt x="960" y="1859"/>
                  <a:pt x="959" y="1856"/>
                  <a:pt x="957" y="1853"/>
                </a:cubicBezTo>
                <a:close/>
                <a:moveTo>
                  <a:pt x="1010" y="1855"/>
                </a:moveTo>
                <a:cubicBezTo>
                  <a:pt x="1007" y="1860"/>
                  <a:pt x="1005" y="1864"/>
                  <a:pt x="1003" y="1869"/>
                </a:cubicBezTo>
                <a:cubicBezTo>
                  <a:pt x="1005" y="1869"/>
                  <a:pt x="1008" y="1869"/>
                  <a:pt x="1011" y="1869"/>
                </a:cubicBezTo>
                <a:cubicBezTo>
                  <a:pt x="1011" y="1869"/>
                  <a:pt x="1011" y="1867"/>
                  <a:pt x="1011" y="1867"/>
                </a:cubicBezTo>
                <a:cubicBezTo>
                  <a:pt x="1011" y="1864"/>
                  <a:pt x="1011" y="1862"/>
                  <a:pt x="1011" y="1859"/>
                </a:cubicBezTo>
                <a:cubicBezTo>
                  <a:pt x="1011"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2"/>
                  <a:pt x="954" y="1830"/>
                  <a:pt x="955" y="1828"/>
                </a:cubicBezTo>
                <a:cubicBezTo>
                  <a:pt x="954" y="1828"/>
                  <a:pt x="954" y="1828"/>
                  <a:pt x="954" y="1828"/>
                </a:cubicBezTo>
                <a:cubicBezTo>
                  <a:pt x="953" y="1828"/>
                  <a:pt x="952" y="1829"/>
                  <a:pt x="951" y="1830"/>
                </a:cubicBezTo>
                <a:cubicBezTo>
                  <a:pt x="951" y="1832"/>
                  <a:pt x="952" y="1837"/>
                  <a:pt x="954" y="1837"/>
                </a:cubicBezTo>
                <a:cubicBezTo>
                  <a:pt x="955" y="1838"/>
                  <a:pt x="957" y="1837"/>
                  <a:pt x="957" y="1835"/>
                </a:cubicBezTo>
                <a:close/>
                <a:moveTo>
                  <a:pt x="957" y="1853"/>
                </a:moveTo>
                <a:cubicBezTo>
                  <a:pt x="956" y="1854"/>
                  <a:pt x="955" y="1855"/>
                  <a:pt x="953" y="1856"/>
                </a:cubicBezTo>
                <a:cubicBezTo>
                  <a:pt x="953" y="1856"/>
                  <a:pt x="953" y="1857"/>
                  <a:pt x="953" y="1858"/>
                </a:cubicBezTo>
                <a:cubicBezTo>
                  <a:pt x="953" y="1861"/>
                  <a:pt x="957" y="1865"/>
                  <a:pt x="960" y="1865"/>
                </a:cubicBezTo>
                <a:cubicBezTo>
                  <a:pt x="962" y="1865"/>
                  <a:pt x="963" y="1864"/>
                  <a:pt x="962" y="1862"/>
                </a:cubicBezTo>
                <a:cubicBezTo>
                  <a:pt x="960" y="1859"/>
                  <a:pt x="959" y="1856"/>
                  <a:pt x="957" y="1853"/>
                </a:cubicBezTo>
                <a:close/>
                <a:moveTo>
                  <a:pt x="1010" y="1855"/>
                </a:moveTo>
                <a:cubicBezTo>
                  <a:pt x="1007" y="1860"/>
                  <a:pt x="1005" y="1864"/>
                  <a:pt x="1003" y="1869"/>
                </a:cubicBezTo>
                <a:cubicBezTo>
                  <a:pt x="1005" y="1869"/>
                  <a:pt x="1008" y="1869"/>
                  <a:pt x="1010" y="1869"/>
                </a:cubicBezTo>
                <a:cubicBezTo>
                  <a:pt x="1011" y="1869"/>
                  <a:pt x="1011" y="1867"/>
                  <a:pt x="1011" y="1867"/>
                </a:cubicBezTo>
                <a:cubicBezTo>
                  <a:pt x="1011" y="1864"/>
                  <a:pt x="1011" y="1862"/>
                  <a:pt x="1011" y="1859"/>
                </a:cubicBezTo>
                <a:cubicBezTo>
                  <a:pt x="1010"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1"/>
                  <a:pt x="954" y="1829"/>
                  <a:pt x="955" y="1827"/>
                </a:cubicBezTo>
                <a:cubicBezTo>
                  <a:pt x="954" y="1827"/>
                  <a:pt x="954" y="1827"/>
                  <a:pt x="954" y="1827"/>
                </a:cubicBezTo>
                <a:cubicBezTo>
                  <a:pt x="953" y="1828"/>
                  <a:pt x="952" y="1829"/>
                  <a:pt x="951" y="1830"/>
                </a:cubicBezTo>
                <a:cubicBezTo>
                  <a:pt x="951" y="1831"/>
                  <a:pt x="952" y="1837"/>
                  <a:pt x="954" y="1837"/>
                </a:cubicBezTo>
                <a:cubicBezTo>
                  <a:pt x="955" y="1838"/>
                  <a:pt x="957" y="1837"/>
                  <a:pt x="957" y="1835"/>
                </a:cubicBezTo>
                <a:close/>
                <a:moveTo>
                  <a:pt x="1009" y="1827"/>
                </a:moveTo>
                <a:cubicBezTo>
                  <a:pt x="1013" y="1823"/>
                  <a:pt x="1013" y="1823"/>
                  <a:pt x="1017" y="1822"/>
                </a:cubicBezTo>
                <a:cubicBezTo>
                  <a:pt x="1017" y="1824"/>
                  <a:pt x="1018" y="1825"/>
                  <a:pt x="1019" y="1825"/>
                </a:cubicBezTo>
                <a:cubicBezTo>
                  <a:pt x="1017" y="1826"/>
                  <a:pt x="1015" y="1828"/>
                  <a:pt x="1013" y="1829"/>
                </a:cubicBezTo>
                <a:cubicBezTo>
                  <a:pt x="1012" y="1828"/>
                  <a:pt x="1012" y="1828"/>
                  <a:pt x="1011" y="1826"/>
                </a:cubicBezTo>
                <a:cubicBezTo>
                  <a:pt x="1011" y="1826"/>
                  <a:pt x="1010" y="1826"/>
                  <a:pt x="1009" y="1827"/>
                </a:cubicBezTo>
                <a:close/>
                <a:moveTo>
                  <a:pt x="1015" y="1826"/>
                </a:moveTo>
                <a:cubicBezTo>
                  <a:pt x="1015" y="1826"/>
                  <a:pt x="1014" y="1826"/>
                  <a:pt x="1013" y="1826"/>
                </a:cubicBezTo>
                <a:cubicBezTo>
                  <a:pt x="1013" y="1826"/>
                  <a:pt x="1012" y="1826"/>
                  <a:pt x="1012" y="1827"/>
                </a:cubicBezTo>
                <a:cubicBezTo>
                  <a:pt x="1012" y="1827"/>
                  <a:pt x="1013" y="1828"/>
                  <a:pt x="1013" y="1828"/>
                </a:cubicBezTo>
                <a:cubicBezTo>
                  <a:pt x="1014" y="1828"/>
                  <a:pt x="1014" y="1827"/>
                  <a:pt x="1015" y="1826"/>
                </a:cubicBezTo>
                <a:close/>
                <a:moveTo>
                  <a:pt x="996" y="1817"/>
                </a:moveTo>
                <a:cubicBezTo>
                  <a:pt x="990" y="1816"/>
                  <a:pt x="987" y="1819"/>
                  <a:pt x="986" y="1826"/>
                </a:cubicBezTo>
                <a:cubicBezTo>
                  <a:pt x="987" y="1824"/>
                  <a:pt x="988" y="1822"/>
                  <a:pt x="989" y="1820"/>
                </a:cubicBezTo>
                <a:cubicBezTo>
                  <a:pt x="990" y="1820"/>
                  <a:pt x="990" y="1820"/>
                  <a:pt x="990" y="1820"/>
                </a:cubicBezTo>
                <a:cubicBezTo>
                  <a:pt x="990" y="1821"/>
                  <a:pt x="990" y="1822"/>
                  <a:pt x="990" y="1822"/>
                </a:cubicBezTo>
                <a:cubicBezTo>
                  <a:pt x="991" y="1819"/>
                  <a:pt x="993" y="1817"/>
                  <a:pt x="996" y="1817"/>
                </a:cubicBezTo>
                <a:close/>
                <a:moveTo>
                  <a:pt x="1040" y="1818"/>
                </a:moveTo>
                <a:cubicBezTo>
                  <a:pt x="1038" y="1819"/>
                  <a:pt x="1036" y="1821"/>
                  <a:pt x="1035" y="1822"/>
                </a:cubicBezTo>
                <a:cubicBezTo>
                  <a:pt x="1037" y="1823"/>
                  <a:pt x="1039" y="1821"/>
                  <a:pt x="1040" y="1818"/>
                </a:cubicBezTo>
                <a:close/>
                <a:moveTo>
                  <a:pt x="1007" y="1821"/>
                </a:moveTo>
                <a:cubicBezTo>
                  <a:pt x="1008" y="1819"/>
                  <a:pt x="1009" y="1818"/>
                  <a:pt x="1010" y="1817"/>
                </a:cubicBezTo>
                <a:cubicBezTo>
                  <a:pt x="1007" y="1818"/>
                  <a:pt x="1006" y="1819"/>
                  <a:pt x="1007" y="1821"/>
                </a:cubicBezTo>
                <a:close/>
                <a:moveTo>
                  <a:pt x="1016" y="1842"/>
                </a:moveTo>
                <a:cubicBezTo>
                  <a:pt x="1015" y="1842"/>
                  <a:pt x="1014" y="1843"/>
                  <a:pt x="1014" y="1844"/>
                </a:cubicBezTo>
                <a:cubicBezTo>
                  <a:pt x="1014" y="1843"/>
                  <a:pt x="1016" y="1842"/>
                  <a:pt x="1016" y="1842"/>
                </a:cubicBezTo>
                <a:close/>
                <a:moveTo>
                  <a:pt x="1016" y="1826"/>
                </a:moveTo>
                <a:cubicBezTo>
                  <a:pt x="1015" y="1826"/>
                  <a:pt x="1014" y="1825"/>
                  <a:pt x="1013" y="1825"/>
                </a:cubicBezTo>
                <a:cubicBezTo>
                  <a:pt x="1013" y="1825"/>
                  <a:pt x="1012" y="1826"/>
                  <a:pt x="1012" y="1827"/>
                </a:cubicBezTo>
                <a:cubicBezTo>
                  <a:pt x="1012" y="1827"/>
                  <a:pt x="1013" y="1828"/>
                  <a:pt x="1013" y="1828"/>
                </a:cubicBezTo>
                <a:cubicBezTo>
                  <a:pt x="1014" y="1828"/>
                  <a:pt x="1014" y="1827"/>
                  <a:pt x="1016" y="1826"/>
                </a:cubicBezTo>
                <a:close/>
                <a:moveTo>
                  <a:pt x="1540" y="1947"/>
                </a:moveTo>
                <a:cubicBezTo>
                  <a:pt x="1540" y="1949"/>
                  <a:pt x="1541" y="1950"/>
                  <a:pt x="1541" y="1951"/>
                </a:cubicBezTo>
                <a:cubicBezTo>
                  <a:pt x="1542" y="1953"/>
                  <a:pt x="1542" y="1955"/>
                  <a:pt x="1542" y="1957"/>
                </a:cubicBezTo>
                <a:cubicBezTo>
                  <a:pt x="1542" y="1958"/>
                  <a:pt x="1543" y="1960"/>
                  <a:pt x="1543" y="1961"/>
                </a:cubicBezTo>
                <a:cubicBezTo>
                  <a:pt x="1544" y="1964"/>
                  <a:pt x="1542" y="1966"/>
                  <a:pt x="1539" y="1966"/>
                </a:cubicBezTo>
                <a:cubicBezTo>
                  <a:pt x="1537" y="1966"/>
                  <a:pt x="1534" y="1966"/>
                  <a:pt x="1531" y="1966"/>
                </a:cubicBezTo>
                <a:cubicBezTo>
                  <a:pt x="1531" y="1966"/>
                  <a:pt x="1530" y="1966"/>
                  <a:pt x="1530" y="1966"/>
                </a:cubicBezTo>
                <a:cubicBezTo>
                  <a:pt x="1528" y="1968"/>
                  <a:pt x="1526" y="1969"/>
                  <a:pt x="1525" y="1970"/>
                </a:cubicBezTo>
                <a:cubicBezTo>
                  <a:pt x="1523" y="1973"/>
                  <a:pt x="1520" y="1973"/>
                  <a:pt x="1518" y="1971"/>
                </a:cubicBezTo>
                <a:cubicBezTo>
                  <a:pt x="1516" y="1969"/>
                  <a:pt x="1515" y="1966"/>
                  <a:pt x="1513" y="1964"/>
                </a:cubicBezTo>
                <a:cubicBezTo>
                  <a:pt x="1512" y="1962"/>
                  <a:pt x="1513" y="1960"/>
                  <a:pt x="1515" y="1959"/>
                </a:cubicBezTo>
                <a:cubicBezTo>
                  <a:pt x="1512" y="1959"/>
                  <a:pt x="1511" y="1959"/>
                  <a:pt x="1509" y="1959"/>
                </a:cubicBezTo>
                <a:cubicBezTo>
                  <a:pt x="1508" y="1961"/>
                  <a:pt x="1507" y="1963"/>
                  <a:pt x="1506" y="1965"/>
                </a:cubicBezTo>
                <a:cubicBezTo>
                  <a:pt x="1506" y="1966"/>
                  <a:pt x="1506" y="1966"/>
                  <a:pt x="1506" y="1967"/>
                </a:cubicBezTo>
                <a:cubicBezTo>
                  <a:pt x="1506" y="1970"/>
                  <a:pt x="1505" y="1972"/>
                  <a:pt x="1502" y="1971"/>
                </a:cubicBezTo>
                <a:cubicBezTo>
                  <a:pt x="1499" y="1971"/>
                  <a:pt x="1496" y="1970"/>
                  <a:pt x="1493" y="1969"/>
                </a:cubicBezTo>
                <a:cubicBezTo>
                  <a:pt x="1491" y="1968"/>
                  <a:pt x="1490" y="1967"/>
                  <a:pt x="1491" y="1965"/>
                </a:cubicBezTo>
                <a:cubicBezTo>
                  <a:pt x="1491" y="1964"/>
                  <a:pt x="1491" y="1963"/>
                  <a:pt x="1491" y="1963"/>
                </a:cubicBezTo>
                <a:cubicBezTo>
                  <a:pt x="1489" y="1962"/>
                  <a:pt x="1487" y="1961"/>
                  <a:pt x="1485" y="1960"/>
                </a:cubicBezTo>
                <a:cubicBezTo>
                  <a:pt x="1484" y="1959"/>
                  <a:pt x="1482" y="1957"/>
                  <a:pt x="1482" y="1955"/>
                </a:cubicBezTo>
                <a:cubicBezTo>
                  <a:pt x="1481" y="1953"/>
                  <a:pt x="1481" y="1952"/>
                  <a:pt x="1483" y="1950"/>
                </a:cubicBezTo>
                <a:cubicBezTo>
                  <a:pt x="1486" y="1948"/>
                  <a:pt x="1487" y="1945"/>
                  <a:pt x="1486" y="1941"/>
                </a:cubicBezTo>
                <a:cubicBezTo>
                  <a:pt x="1486" y="1939"/>
                  <a:pt x="1486" y="1937"/>
                  <a:pt x="1486" y="1935"/>
                </a:cubicBezTo>
                <a:cubicBezTo>
                  <a:pt x="1485" y="1934"/>
                  <a:pt x="1483" y="1934"/>
                  <a:pt x="1482" y="1933"/>
                </a:cubicBezTo>
                <a:cubicBezTo>
                  <a:pt x="1481" y="1931"/>
                  <a:pt x="1480" y="1929"/>
                  <a:pt x="1480" y="1927"/>
                </a:cubicBezTo>
                <a:cubicBezTo>
                  <a:pt x="1480" y="1924"/>
                  <a:pt x="1483" y="1922"/>
                  <a:pt x="1486" y="1921"/>
                </a:cubicBezTo>
                <a:cubicBezTo>
                  <a:pt x="1486" y="1922"/>
                  <a:pt x="1486" y="1922"/>
                  <a:pt x="1487" y="1923"/>
                </a:cubicBezTo>
                <a:cubicBezTo>
                  <a:pt x="1487" y="1924"/>
                  <a:pt x="1487" y="1925"/>
                  <a:pt x="1487" y="1926"/>
                </a:cubicBezTo>
                <a:cubicBezTo>
                  <a:pt x="1486" y="1926"/>
                  <a:pt x="1486" y="1926"/>
                  <a:pt x="1486" y="1926"/>
                </a:cubicBezTo>
                <a:cubicBezTo>
                  <a:pt x="1485" y="1927"/>
                  <a:pt x="1485" y="1928"/>
                  <a:pt x="1484" y="1930"/>
                </a:cubicBezTo>
                <a:cubicBezTo>
                  <a:pt x="1485" y="1930"/>
                  <a:pt x="1486" y="1930"/>
                  <a:pt x="1486" y="1930"/>
                </a:cubicBezTo>
                <a:cubicBezTo>
                  <a:pt x="1488" y="1928"/>
                  <a:pt x="1488" y="1928"/>
                  <a:pt x="1489" y="1926"/>
                </a:cubicBezTo>
                <a:cubicBezTo>
                  <a:pt x="1493" y="1920"/>
                  <a:pt x="1499" y="1916"/>
                  <a:pt x="1507" y="1914"/>
                </a:cubicBezTo>
                <a:cubicBezTo>
                  <a:pt x="1510" y="1914"/>
                  <a:pt x="1513" y="1913"/>
                  <a:pt x="1516" y="1910"/>
                </a:cubicBezTo>
                <a:cubicBezTo>
                  <a:pt x="1516" y="1909"/>
                  <a:pt x="1517" y="1909"/>
                  <a:pt x="1517" y="1909"/>
                </a:cubicBezTo>
                <a:cubicBezTo>
                  <a:pt x="1520" y="1909"/>
                  <a:pt x="1521" y="1906"/>
                  <a:pt x="1523" y="1904"/>
                </a:cubicBezTo>
                <a:cubicBezTo>
                  <a:pt x="1531" y="1897"/>
                  <a:pt x="1542" y="1896"/>
                  <a:pt x="1550" y="1903"/>
                </a:cubicBezTo>
                <a:cubicBezTo>
                  <a:pt x="1553" y="1905"/>
                  <a:pt x="1555" y="1907"/>
                  <a:pt x="1558" y="1909"/>
                </a:cubicBezTo>
                <a:cubicBezTo>
                  <a:pt x="1559" y="1910"/>
                  <a:pt x="1560" y="1912"/>
                  <a:pt x="1562" y="1914"/>
                </a:cubicBezTo>
                <a:cubicBezTo>
                  <a:pt x="1562" y="1915"/>
                  <a:pt x="1563" y="1915"/>
                  <a:pt x="1564" y="1914"/>
                </a:cubicBezTo>
                <a:cubicBezTo>
                  <a:pt x="1565" y="1914"/>
                  <a:pt x="1566" y="1913"/>
                  <a:pt x="1567" y="1912"/>
                </a:cubicBezTo>
                <a:cubicBezTo>
                  <a:pt x="1569" y="1909"/>
                  <a:pt x="1572" y="1909"/>
                  <a:pt x="1573" y="1913"/>
                </a:cubicBezTo>
                <a:cubicBezTo>
                  <a:pt x="1574" y="1916"/>
                  <a:pt x="1575" y="1919"/>
                  <a:pt x="1575" y="1922"/>
                </a:cubicBezTo>
                <a:cubicBezTo>
                  <a:pt x="1576" y="1926"/>
                  <a:pt x="1576" y="1930"/>
                  <a:pt x="1574" y="1935"/>
                </a:cubicBezTo>
                <a:cubicBezTo>
                  <a:pt x="1572" y="1941"/>
                  <a:pt x="1567" y="1945"/>
                  <a:pt x="1560" y="1945"/>
                </a:cubicBezTo>
                <a:cubicBezTo>
                  <a:pt x="1560" y="1945"/>
                  <a:pt x="1559" y="1945"/>
                  <a:pt x="1559" y="1945"/>
                </a:cubicBezTo>
                <a:cubicBezTo>
                  <a:pt x="1556" y="1944"/>
                  <a:pt x="1555" y="1945"/>
                  <a:pt x="1554" y="1947"/>
                </a:cubicBezTo>
                <a:cubicBezTo>
                  <a:pt x="1553" y="1951"/>
                  <a:pt x="1547" y="1953"/>
                  <a:pt x="1544" y="1950"/>
                </a:cubicBezTo>
                <a:cubicBezTo>
                  <a:pt x="1542" y="1949"/>
                  <a:pt x="1542" y="1948"/>
                  <a:pt x="1540" y="1947"/>
                </a:cubicBezTo>
                <a:cubicBezTo>
                  <a:pt x="1540" y="1947"/>
                  <a:pt x="1540" y="1947"/>
                  <a:pt x="1540" y="1947"/>
                </a:cubicBezTo>
                <a:close/>
                <a:moveTo>
                  <a:pt x="1534" y="1943"/>
                </a:moveTo>
                <a:cubicBezTo>
                  <a:pt x="1538" y="1944"/>
                  <a:pt x="1541" y="1945"/>
                  <a:pt x="1544" y="1948"/>
                </a:cubicBezTo>
                <a:cubicBezTo>
                  <a:pt x="1546" y="1950"/>
                  <a:pt x="1548" y="1951"/>
                  <a:pt x="1550" y="1950"/>
                </a:cubicBezTo>
                <a:cubicBezTo>
                  <a:pt x="1552" y="1949"/>
                  <a:pt x="1554" y="1947"/>
                  <a:pt x="1554" y="1944"/>
                </a:cubicBezTo>
                <a:cubicBezTo>
                  <a:pt x="1553" y="1944"/>
                  <a:pt x="1553" y="1944"/>
                  <a:pt x="1553" y="1945"/>
                </a:cubicBezTo>
                <a:cubicBezTo>
                  <a:pt x="1552" y="1946"/>
                  <a:pt x="1551" y="1947"/>
                  <a:pt x="1550" y="1948"/>
                </a:cubicBezTo>
                <a:cubicBezTo>
                  <a:pt x="1549" y="1949"/>
                  <a:pt x="1548" y="1949"/>
                  <a:pt x="1547" y="1949"/>
                </a:cubicBezTo>
                <a:cubicBezTo>
                  <a:pt x="1546" y="1949"/>
                  <a:pt x="1546" y="1947"/>
                  <a:pt x="1546" y="1947"/>
                </a:cubicBezTo>
                <a:cubicBezTo>
                  <a:pt x="1546" y="1944"/>
                  <a:pt x="1546" y="1942"/>
                  <a:pt x="1547" y="1940"/>
                </a:cubicBezTo>
                <a:cubicBezTo>
                  <a:pt x="1550" y="1941"/>
                  <a:pt x="1553" y="1942"/>
                  <a:pt x="1557" y="1943"/>
                </a:cubicBezTo>
                <a:cubicBezTo>
                  <a:pt x="1564" y="1944"/>
                  <a:pt x="1570" y="1942"/>
                  <a:pt x="1573" y="1934"/>
                </a:cubicBezTo>
                <a:cubicBezTo>
                  <a:pt x="1575" y="1929"/>
                  <a:pt x="1574" y="1924"/>
                  <a:pt x="1573" y="1919"/>
                </a:cubicBezTo>
                <a:cubicBezTo>
                  <a:pt x="1573" y="1917"/>
                  <a:pt x="1572" y="1915"/>
                  <a:pt x="1571" y="1913"/>
                </a:cubicBezTo>
                <a:cubicBezTo>
                  <a:pt x="1571" y="1912"/>
                  <a:pt x="1570" y="1911"/>
                  <a:pt x="1568" y="1913"/>
                </a:cubicBezTo>
                <a:cubicBezTo>
                  <a:pt x="1567" y="1915"/>
                  <a:pt x="1565" y="1916"/>
                  <a:pt x="1563" y="1917"/>
                </a:cubicBezTo>
                <a:cubicBezTo>
                  <a:pt x="1562" y="1917"/>
                  <a:pt x="1562" y="1918"/>
                  <a:pt x="1562" y="1919"/>
                </a:cubicBezTo>
                <a:cubicBezTo>
                  <a:pt x="1563" y="1922"/>
                  <a:pt x="1562" y="1926"/>
                  <a:pt x="1561" y="1929"/>
                </a:cubicBezTo>
                <a:cubicBezTo>
                  <a:pt x="1561" y="1927"/>
                  <a:pt x="1561" y="1925"/>
                  <a:pt x="1561" y="1923"/>
                </a:cubicBezTo>
                <a:cubicBezTo>
                  <a:pt x="1561" y="1922"/>
                  <a:pt x="1561" y="1922"/>
                  <a:pt x="1560" y="1922"/>
                </a:cubicBezTo>
                <a:cubicBezTo>
                  <a:pt x="1560" y="1922"/>
                  <a:pt x="1559" y="1922"/>
                  <a:pt x="1559" y="1922"/>
                </a:cubicBezTo>
                <a:cubicBezTo>
                  <a:pt x="1559" y="1924"/>
                  <a:pt x="1558" y="1925"/>
                  <a:pt x="1557" y="1926"/>
                </a:cubicBezTo>
                <a:cubicBezTo>
                  <a:pt x="1557" y="1926"/>
                  <a:pt x="1557" y="1926"/>
                  <a:pt x="1557" y="1926"/>
                </a:cubicBezTo>
                <a:cubicBezTo>
                  <a:pt x="1557" y="1925"/>
                  <a:pt x="1557" y="1923"/>
                  <a:pt x="1558" y="1921"/>
                </a:cubicBezTo>
                <a:cubicBezTo>
                  <a:pt x="1557" y="1922"/>
                  <a:pt x="1556" y="1922"/>
                  <a:pt x="1555" y="1923"/>
                </a:cubicBezTo>
                <a:cubicBezTo>
                  <a:pt x="1555" y="1923"/>
                  <a:pt x="1555" y="1924"/>
                  <a:pt x="1554" y="1925"/>
                </a:cubicBezTo>
                <a:cubicBezTo>
                  <a:pt x="1555" y="1921"/>
                  <a:pt x="1555" y="1921"/>
                  <a:pt x="1561" y="1920"/>
                </a:cubicBezTo>
                <a:cubicBezTo>
                  <a:pt x="1560" y="1920"/>
                  <a:pt x="1560" y="1919"/>
                  <a:pt x="1560" y="1919"/>
                </a:cubicBezTo>
                <a:cubicBezTo>
                  <a:pt x="1557" y="1920"/>
                  <a:pt x="1556" y="1918"/>
                  <a:pt x="1556" y="1916"/>
                </a:cubicBezTo>
                <a:cubicBezTo>
                  <a:pt x="1557" y="1915"/>
                  <a:pt x="1559" y="1915"/>
                  <a:pt x="1560" y="1915"/>
                </a:cubicBezTo>
                <a:cubicBezTo>
                  <a:pt x="1559" y="1912"/>
                  <a:pt x="1557" y="1909"/>
                  <a:pt x="1554" y="1909"/>
                </a:cubicBezTo>
                <a:cubicBezTo>
                  <a:pt x="1554" y="1909"/>
                  <a:pt x="1553" y="1909"/>
                  <a:pt x="1553" y="1908"/>
                </a:cubicBezTo>
                <a:cubicBezTo>
                  <a:pt x="1551" y="1906"/>
                  <a:pt x="1549" y="1904"/>
                  <a:pt x="1546" y="1902"/>
                </a:cubicBezTo>
                <a:cubicBezTo>
                  <a:pt x="1544" y="1901"/>
                  <a:pt x="1541" y="1900"/>
                  <a:pt x="1539" y="1900"/>
                </a:cubicBezTo>
                <a:cubicBezTo>
                  <a:pt x="1535" y="1900"/>
                  <a:pt x="1532" y="1902"/>
                  <a:pt x="1529" y="1902"/>
                </a:cubicBezTo>
                <a:cubicBezTo>
                  <a:pt x="1526" y="1903"/>
                  <a:pt x="1524" y="1905"/>
                  <a:pt x="1522" y="1908"/>
                </a:cubicBezTo>
                <a:cubicBezTo>
                  <a:pt x="1524" y="1908"/>
                  <a:pt x="1525" y="1908"/>
                  <a:pt x="1526" y="1908"/>
                </a:cubicBezTo>
                <a:cubicBezTo>
                  <a:pt x="1526" y="1909"/>
                  <a:pt x="1525" y="1909"/>
                  <a:pt x="1524" y="1909"/>
                </a:cubicBezTo>
                <a:cubicBezTo>
                  <a:pt x="1522" y="1910"/>
                  <a:pt x="1519" y="1909"/>
                  <a:pt x="1517" y="1911"/>
                </a:cubicBezTo>
                <a:cubicBezTo>
                  <a:pt x="1513" y="1915"/>
                  <a:pt x="1510" y="1919"/>
                  <a:pt x="1506" y="1923"/>
                </a:cubicBezTo>
                <a:cubicBezTo>
                  <a:pt x="1504" y="1925"/>
                  <a:pt x="1504" y="1928"/>
                  <a:pt x="1502" y="1930"/>
                </a:cubicBezTo>
                <a:cubicBezTo>
                  <a:pt x="1502" y="1930"/>
                  <a:pt x="1502" y="1931"/>
                  <a:pt x="1503" y="1932"/>
                </a:cubicBezTo>
                <a:cubicBezTo>
                  <a:pt x="1504" y="1934"/>
                  <a:pt x="1505" y="1936"/>
                  <a:pt x="1507" y="1938"/>
                </a:cubicBezTo>
                <a:cubicBezTo>
                  <a:pt x="1508" y="1936"/>
                  <a:pt x="1509" y="1934"/>
                  <a:pt x="1510" y="1933"/>
                </a:cubicBezTo>
                <a:cubicBezTo>
                  <a:pt x="1510" y="1934"/>
                  <a:pt x="1510" y="1936"/>
                  <a:pt x="1509" y="1937"/>
                </a:cubicBezTo>
                <a:cubicBezTo>
                  <a:pt x="1508" y="1938"/>
                  <a:pt x="1507" y="1940"/>
                  <a:pt x="1507" y="1941"/>
                </a:cubicBezTo>
                <a:cubicBezTo>
                  <a:pt x="1506" y="1942"/>
                  <a:pt x="1507" y="1943"/>
                  <a:pt x="1507" y="1944"/>
                </a:cubicBezTo>
                <a:cubicBezTo>
                  <a:pt x="1510" y="1947"/>
                  <a:pt x="1513" y="1947"/>
                  <a:pt x="1517" y="1945"/>
                </a:cubicBezTo>
                <a:cubicBezTo>
                  <a:pt x="1519" y="1944"/>
                  <a:pt x="1522" y="1943"/>
                  <a:pt x="1524" y="1942"/>
                </a:cubicBezTo>
                <a:cubicBezTo>
                  <a:pt x="1526" y="1941"/>
                  <a:pt x="1527" y="1941"/>
                  <a:pt x="1527" y="1939"/>
                </a:cubicBezTo>
                <a:cubicBezTo>
                  <a:pt x="1527" y="1936"/>
                  <a:pt x="1527" y="1932"/>
                  <a:pt x="1527" y="1929"/>
                </a:cubicBezTo>
                <a:cubicBezTo>
                  <a:pt x="1527" y="1926"/>
                  <a:pt x="1527" y="1923"/>
                  <a:pt x="1527" y="1920"/>
                </a:cubicBezTo>
                <a:cubicBezTo>
                  <a:pt x="1528" y="1923"/>
                  <a:pt x="1528" y="1926"/>
                  <a:pt x="1529" y="1928"/>
                </a:cubicBezTo>
                <a:cubicBezTo>
                  <a:pt x="1530" y="1933"/>
                  <a:pt x="1530" y="1937"/>
                  <a:pt x="1528" y="1941"/>
                </a:cubicBezTo>
                <a:cubicBezTo>
                  <a:pt x="1528" y="1942"/>
                  <a:pt x="1527" y="1943"/>
                  <a:pt x="1527" y="1943"/>
                </a:cubicBezTo>
                <a:cubicBezTo>
                  <a:pt x="1523" y="1943"/>
                  <a:pt x="1520" y="1945"/>
                  <a:pt x="1517" y="1947"/>
                </a:cubicBezTo>
                <a:cubicBezTo>
                  <a:pt x="1512" y="1950"/>
                  <a:pt x="1508" y="1948"/>
                  <a:pt x="1505" y="1944"/>
                </a:cubicBezTo>
                <a:cubicBezTo>
                  <a:pt x="1504" y="1944"/>
                  <a:pt x="1504" y="1943"/>
                  <a:pt x="1505" y="1942"/>
                </a:cubicBezTo>
                <a:cubicBezTo>
                  <a:pt x="1506" y="1940"/>
                  <a:pt x="1505" y="1938"/>
                  <a:pt x="1503" y="1936"/>
                </a:cubicBezTo>
                <a:cubicBezTo>
                  <a:pt x="1502" y="1934"/>
                  <a:pt x="1500" y="1932"/>
                  <a:pt x="1501" y="1929"/>
                </a:cubicBezTo>
                <a:cubicBezTo>
                  <a:pt x="1502" y="1927"/>
                  <a:pt x="1503" y="1925"/>
                  <a:pt x="1504" y="1924"/>
                </a:cubicBezTo>
                <a:cubicBezTo>
                  <a:pt x="1506" y="1921"/>
                  <a:pt x="1508" y="1919"/>
                  <a:pt x="1510" y="1916"/>
                </a:cubicBezTo>
                <a:cubicBezTo>
                  <a:pt x="1510" y="1916"/>
                  <a:pt x="1509" y="1916"/>
                  <a:pt x="1509" y="1916"/>
                </a:cubicBezTo>
                <a:cubicBezTo>
                  <a:pt x="1504" y="1917"/>
                  <a:pt x="1499" y="1919"/>
                  <a:pt x="1495" y="1922"/>
                </a:cubicBezTo>
                <a:cubicBezTo>
                  <a:pt x="1491" y="1926"/>
                  <a:pt x="1488" y="1931"/>
                  <a:pt x="1488" y="1938"/>
                </a:cubicBezTo>
                <a:cubicBezTo>
                  <a:pt x="1487" y="1945"/>
                  <a:pt x="1489" y="1951"/>
                  <a:pt x="1493" y="1957"/>
                </a:cubicBezTo>
                <a:cubicBezTo>
                  <a:pt x="1493" y="1957"/>
                  <a:pt x="1494" y="1959"/>
                  <a:pt x="1494" y="1960"/>
                </a:cubicBezTo>
                <a:cubicBezTo>
                  <a:pt x="1494" y="1962"/>
                  <a:pt x="1493" y="1963"/>
                  <a:pt x="1493" y="1964"/>
                </a:cubicBezTo>
                <a:cubicBezTo>
                  <a:pt x="1492" y="1966"/>
                  <a:pt x="1493" y="1967"/>
                  <a:pt x="1494" y="1968"/>
                </a:cubicBezTo>
                <a:cubicBezTo>
                  <a:pt x="1497" y="1968"/>
                  <a:pt x="1500" y="1969"/>
                  <a:pt x="1502" y="1969"/>
                </a:cubicBezTo>
                <a:cubicBezTo>
                  <a:pt x="1503" y="1969"/>
                  <a:pt x="1504" y="1968"/>
                  <a:pt x="1504" y="1968"/>
                </a:cubicBezTo>
                <a:cubicBezTo>
                  <a:pt x="1504" y="1967"/>
                  <a:pt x="1504" y="1965"/>
                  <a:pt x="1505" y="1964"/>
                </a:cubicBezTo>
                <a:cubicBezTo>
                  <a:pt x="1507" y="1962"/>
                  <a:pt x="1507" y="1959"/>
                  <a:pt x="1507" y="1957"/>
                </a:cubicBezTo>
                <a:cubicBezTo>
                  <a:pt x="1507" y="1956"/>
                  <a:pt x="1507" y="1956"/>
                  <a:pt x="1507" y="1955"/>
                </a:cubicBezTo>
                <a:cubicBezTo>
                  <a:pt x="1507" y="1955"/>
                  <a:pt x="1507" y="1955"/>
                  <a:pt x="1507" y="1955"/>
                </a:cubicBezTo>
                <a:cubicBezTo>
                  <a:pt x="1508" y="1957"/>
                  <a:pt x="1509" y="1957"/>
                  <a:pt x="1511" y="1957"/>
                </a:cubicBezTo>
                <a:cubicBezTo>
                  <a:pt x="1512" y="1957"/>
                  <a:pt x="1513" y="1957"/>
                  <a:pt x="1514" y="1957"/>
                </a:cubicBezTo>
                <a:cubicBezTo>
                  <a:pt x="1516" y="1957"/>
                  <a:pt x="1519" y="1958"/>
                  <a:pt x="1520" y="1954"/>
                </a:cubicBezTo>
                <a:cubicBezTo>
                  <a:pt x="1520" y="1956"/>
                  <a:pt x="1520" y="1958"/>
                  <a:pt x="1520" y="1959"/>
                </a:cubicBezTo>
                <a:cubicBezTo>
                  <a:pt x="1519" y="1959"/>
                  <a:pt x="1517" y="1960"/>
                  <a:pt x="1516" y="1960"/>
                </a:cubicBezTo>
                <a:cubicBezTo>
                  <a:pt x="1515" y="1961"/>
                  <a:pt x="1514" y="1963"/>
                  <a:pt x="1515" y="1964"/>
                </a:cubicBezTo>
                <a:cubicBezTo>
                  <a:pt x="1516" y="1966"/>
                  <a:pt x="1517" y="1968"/>
                  <a:pt x="1519" y="1970"/>
                </a:cubicBezTo>
                <a:cubicBezTo>
                  <a:pt x="1520" y="1971"/>
                  <a:pt x="1522" y="1971"/>
                  <a:pt x="1524" y="1969"/>
                </a:cubicBezTo>
                <a:cubicBezTo>
                  <a:pt x="1524" y="1968"/>
                  <a:pt x="1525" y="1968"/>
                  <a:pt x="1526" y="1967"/>
                </a:cubicBezTo>
                <a:cubicBezTo>
                  <a:pt x="1528" y="1966"/>
                  <a:pt x="1529" y="1964"/>
                  <a:pt x="1531" y="1963"/>
                </a:cubicBezTo>
                <a:cubicBezTo>
                  <a:pt x="1535" y="1959"/>
                  <a:pt x="1537" y="1953"/>
                  <a:pt x="1539" y="1947"/>
                </a:cubicBezTo>
                <a:cubicBezTo>
                  <a:pt x="1539" y="1947"/>
                  <a:pt x="1538" y="1946"/>
                  <a:pt x="1537" y="1945"/>
                </a:cubicBezTo>
                <a:cubicBezTo>
                  <a:pt x="1537" y="1944"/>
                  <a:pt x="1535" y="1943"/>
                  <a:pt x="1534" y="1943"/>
                </a:cubicBezTo>
                <a:close/>
                <a:moveTo>
                  <a:pt x="1487" y="1949"/>
                </a:moveTo>
                <a:cubicBezTo>
                  <a:pt x="1486" y="1950"/>
                  <a:pt x="1485" y="1951"/>
                  <a:pt x="1484" y="1952"/>
                </a:cubicBezTo>
                <a:cubicBezTo>
                  <a:pt x="1483" y="1952"/>
                  <a:pt x="1483" y="1953"/>
                  <a:pt x="1483" y="1954"/>
                </a:cubicBezTo>
                <a:cubicBezTo>
                  <a:pt x="1483" y="1957"/>
                  <a:pt x="1487" y="1961"/>
                  <a:pt x="1490" y="1960"/>
                </a:cubicBezTo>
                <a:cubicBezTo>
                  <a:pt x="1492" y="1960"/>
                  <a:pt x="1493" y="1959"/>
                  <a:pt x="1492" y="1958"/>
                </a:cubicBezTo>
                <a:cubicBezTo>
                  <a:pt x="1490" y="1955"/>
                  <a:pt x="1489" y="1952"/>
                  <a:pt x="1487" y="1949"/>
                </a:cubicBezTo>
                <a:close/>
                <a:moveTo>
                  <a:pt x="1540" y="1951"/>
                </a:moveTo>
                <a:cubicBezTo>
                  <a:pt x="1537" y="1956"/>
                  <a:pt x="1535" y="1960"/>
                  <a:pt x="1533" y="1964"/>
                </a:cubicBezTo>
                <a:cubicBezTo>
                  <a:pt x="1535" y="1964"/>
                  <a:pt x="1538" y="1965"/>
                  <a:pt x="1540" y="1964"/>
                </a:cubicBezTo>
                <a:cubicBezTo>
                  <a:pt x="1541" y="1964"/>
                  <a:pt x="1541" y="1963"/>
                  <a:pt x="1541" y="1963"/>
                </a:cubicBezTo>
                <a:cubicBezTo>
                  <a:pt x="1541" y="1960"/>
                  <a:pt x="1541" y="1958"/>
                  <a:pt x="1541" y="1955"/>
                </a:cubicBezTo>
                <a:cubicBezTo>
                  <a:pt x="1540" y="1954"/>
                  <a:pt x="1540" y="1953"/>
                  <a:pt x="1540" y="1951"/>
                </a:cubicBezTo>
                <a:close/>
                <a:moveTo>
                  <a:pt x="1487" y="1931"/>
                </a:moveTo>
                <a:cubicBezTo>
                  <a:pt x="1486" y="1931"/>
                  <a:pt x="1486"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0" y="1927"/>
                  <a:pt x="1482" y="1932"/>
                  <a:pt x="1484" y="1933"/>
                </a:cubicBezTo>
                <a:cubicBezTo>
                  <a:pt x="1485" y="1934"/>
                  <a:pt x="1487" y="1933"/>
                  <a:pt x="1487" y="1931"/>
                </a:cubicBezTo>
                <a:close/>
                <a:moveTo>
                  <a:pt x="1487" y="1949"/>
                </a:moveTo>
                <a:cubicBezTo>
                  <a:pt x="1486" y="1950"/>
                  <a:pt x="1485" y="1951"/>
                  <a:pt x="1483" y="1952"/>
                </a:cubicBezTo>
                <a:cubicBezTo>
                  <a:pt x="1483" y="1952"/>
                  <a:pt x="1483" y="1953"/>
                  <a:pt x="1483" y="1954"/>
                </a:cubicBezTo>
                <a:cubicBezTo>
                  <a:pt x="1483" y="1957"/>
                  <a:pt x="1487" y="1961"/>
                  <a:pt x="1490" y="1961"/>
                </a:cubicBezTo>
                <a:cubicBezTo>
                  <a:pt x="1492" y="1961"/>
                  <a:pt x="1493" y="1960"/>
                  <a:pt x="1492" y="1958"/>
                </a:cubicBezTo>
                <a:cubicBezTo>
                  <a:pt x="1490" y="1955"/>
                  <a:pt x="1489" y="1952"/>
                  <a:pt x="1487" y="1949"/>
                </a:cubicBezTo>
                <a:close/>
                <a:moveTo>
                  <a:pt x="1540" y="1951"/>
                </a:moveTo>
                <a:cubicBezTo>
                  <a:pt x="1537" y="1956"/>
                  <a:pt x="1535" y="1960"/>
                  <a:pt x="1532" y="1965"/>
                </a:cubicBezTo>
                <a:cubicBezTo>
                  <a:pt x="1535" y="1965"/>
                  <a:pt x="1538" y="1965"/>
                  <a:pt x="1540" y="1965"/>
                </a:cubicBezTo>
                <a:cubicBezTo>
                  <a:pt x="1541" y="1965"/>
                  <a:pt x="1541" y="1963"/>
                  <a:pt x="1541" y="1963"/>
                </a:cubicBezTo>
                <a:cubicBezTo>
                  <a:pt x="1541" y="1960"/>
                  <a:pt x="1541" y="1958"/>
                  <a:pt x="1541" y="1955"/>
                </a:cubicBezTo>
                <a:cubicBezTo>
                  <a:pt x="1540" y="1954"/>
                  <a:pt x="1540" y="1953"/>
                  <a:pt x="1540" y="1951"/>
                </a:cubicBezTo>
                <a:close/>
                <a:moveTo>
                  <a:pt x="1487" y="1931"/>
                </a:moveTo>
                <a:cubicBezTo>
                  <a:pt x="1486" y="1931"/>
                  <a:pt x="1485"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1" y="1927"/>
                  <a:pt x="1482" y="1933"/>
                  <a:pt x="1484" y="1933"/>
                </a:cubicBezTo>
                <a:cubicBezTo>
                  <a:pt x="1485" y="1934"/>
                  <a:pt x="1487" y="1933"/>
                  <a:pt x="1487" y="1931"/>
                </a:cubicBezTo>
                <a:close/>
                <a:moveTo>
                  <a:pt x="1539" y="1923"/>
                </a:moveTo>
                <a:cubicBezTo>
                  <a:pt x="1542" y="1919"/>
                  <a:pt x="1542" y="1919"/>
                  <a:pt x="1546" y="1918"/>
                </a:cubicBezTo>
                <a:cubicBezTo>
                  <a:pt x="1546" y="1920"/>
                  <a:pt x="1548" y="1921"/>
                  <a:pt x="1549" y="1921"/>
                </a:cubicBezTo>
                <a:cubicBezTo>
                  <a:pt x="1547" y="1922"/>
                  <a:pt x="1545" y="1924"/>
                  <a:pt x="1543" y="1925"/>
                </a:cubicBezTo>
                <a:cubicBezTo>
                  <a:pt x="1542" y="1924"/>
                  <a:pt x="1542" y="1924"/>
                  <a:pt x="1541" y="1922"/>
                </a:cubicBezTo>
                <a:cubicBezTo>
                  <a:pt x="1540" y="1922"/>
                  <a:pt x="1540" y="1922"/>
                  <a:pt x="1539" y="1923"/>
                </a:cubicBezTo>
                <a:close/>
                <a:moveTo>
                  <a:pt x="1545" y="1922"/>
                </a:moveTo>
                <a:cubicBezTo>
                  <a:pt x="1544" y="1922"/>
                  <a:pt x="1544" y="1922"/>
                  <a:pt x="1543" y="1922"/>
                </a:cubicBezTo>
                <a:cubicBezTo>
                  <a:pt x="1543" y="1922"/>
                  <a:pt x="1542" y="1922"/>
                  <a:pt x="1542" y="1923"/>
                </a:cubicBezTo>
                <a:cubicBezTo>
                  <a:pt x="1542" y="1923"/>
                  <a:pt x="1542" y="1924"/>
                  <a:pt x="1543" y="1924"/>
                </a:cubicBezTo>
                <a:cubicBezTo>
                  <a:pt x="1544" y="1924"/>
                  <a:pt x="1544" y="1923"/>
                  <a:pt x="1545" y="1922"/>
                </a:cubicBezTo>
                <a:close/>
                <a:moveTo>
                  <a:pt x="1526" y="1913"/>
                </a:moveTo>
                <a:cubicBezTo>
                  <a:pt x="1520" y="1912"/>
                  <a:pt x="1517" y="1915"/>
                  <a:pt x="1516" y="1922"/>
                </a:cubicBezTo>
                <a:cubicBezTo>
                  <a:pt x="1517" y="1920"/>
                  <a:pt x="1518" y="1918"/>
                  <a:pt x="1519" y="1916"/>
                </a:cubicBezTo>
                <a:cubicBezTo>
                  <a:pt x="1520" y="1916"/>
                  <a:pt x="1520" y="1916"/>
                  <a:pt x="1520" y="1916"/>
                </a:cubicBezTo>
                <a:cubicBezTo>
                  <a:pt x="1520" y="1917"/>
                  <a:pt x="1520" y="1918"/>
                  <a:pt x="1520" y="1918"/>
                </a:cubicBezTo>
                <a:cubicBezTo>
                  <a:pt x="1521" y="1915"/>
                  <a:pt x="1523" y="1913"/>
                  <a:pt x="1526" y="1913"/>
                </a:cubicBezTo>
                <a:close/>
                <a:moveTo>
                  <a:pt x="1570" y="1914"/>
                </a:moveTo>
                <a:cubicBezTo>
                  <a:pt x="1568" y="1915"/>
                  <a:pt x="1566" y="1917"/>
                  <a:pt x="1565" y="1918"/>
                </a:cubicBezTo>
                <a:cubicBezTo>
                  <a:pt x="1567" y="1919"/>
                  <a:pt x="1569" y="1917"/>
                  <a:pt x="1570" y="1914"/>
                </a:cubicBezTo>
                <a:close/>
                <a:moveTo>
                  <a:pt x="1537" y="1917"/>
                </a:moveTo>
                <a:cubicBezTo>
                  <a:pt x="1538" y="1915"/>
                  <a:pt x="1539" y="1914"/>
                  <a:pt x="1540" y="1913"/>
                </a:cubicBezTo>
                <a:cubicBezTo>
                  <a:pt x="1537" y="1914"/>
                  <a:pt x="1536" y="1915"/>
                  <a:pt x="1537" y="1917"/>
                </a:cubicBezTo>
                <a:close/>
                <a:moveTo>
                  <a:pt x="1546" y="1938"/>
                </a:moveTo>
                <a:cubicBezTo>
                  <a:pt x="1545" y="1938"/>
                  <a:pt x="1544" y="1939"/>
                  <a:pt x="1544" y="1940"/>
                </a:cubicBezTo>
                <a:cubicBezTo>
                  <a:pt x="1544" y="1939"/>
                  <a:pt x="1546" y="1938"/>
                  <a:pt x="1546" y="1938"/>
                </a:cubicBezTo>
                <a:close/>
                <a:moveTo>
                  <a:pt x="1545" y="1922"/>
                </a:moveTo>
                <a:cubicBezTo>
                  <a:pt x="1545" y="1922"/>
                  <a:pt x="1544" y="1921"/>
                  <a:pt x="1543" y="1921"/>
                </a:cubicBezTo>
                <a:cubicBezTo>
                  <a:pt x="1543" y="1921"/>
                  <a:pt x="1542" y="1922"/>
                  <a:pt x="1542" y="1923"/>
                </a:cubicBezTo>
                <a:cubicBezTo>
                  <a:pt x="1542" y="1923"/>
                  <a:pt x="1543" y="1923"/>
                  <a:pt x="1543" y="1924"/>
                </a:cubicBezTo>
                <a:cubicBezTo>
                  <a:pt x="1544" y="1923"/>
                  <a:pt x="1544" y="1923"/>
                  <a:pt x="1545" y="1922"/>
                </a:cubicBezTo>
                <a:close/>
                <a:moveTo>
                  <a:pt x="1093" y="1804"/>
                </a:moveTo>
                <a:cubicBezTo>
                  <a:pt x="1093" y="1804"/>
                  <a:pt x="1093" y="1804"/>
                  <a:pt x="1093" y="1804"/>
                </a:cubicBezTo>
                <a:cubicBezTo>
                  <a:pt x="1088" y="1804"/>
                  <a:pt x="1088" y="1804"/>
                  <a:pt x="1088" y="1804"/>
                </a:cubicBezTo>
                <a:cubicBezTo>
                  <a:pt x="1086" y="1806"/>
                  <a:pt x="1085" y="1807"/>
                  <a:pt x="1082" y="1808"/>
                </a:cubicBezTo>
                <a:cubicBezTo>
                  <a:pt x="1081" y="1809"/>
                  <a:pt x="1079" y="1810"/>
                  <a:pt x="1077" y="1811"/>
                </a:cubicBezTo>
                <a:cubicBezTo>
                  <a:pt x="1076" y="1812"/>
                  <a:pt x="1074" y="1813"/>
                  <a:pt x="1072" y="1814"/>
                </a:cubicBezTo>
                <a:cubicBezTo>
                  <a:pt x="1070" y="1814"/>
                  <a:pt x="1069" y="1815"/>
                  <a:pt x="1066" y="1815"/>
                </a:cubicBezTo>
                <a:cubicBezTo>
                  <a:pt x="1066" y="1815"/>
                  <a:pt x="1066" y="1815"/>
                  <a:pt x="1066" y="1825"/>
                </a:cubicBezTo>
                <a:cubicBezTo>
                  <a:pt x="1069" y="1824"/>
                  <a:pt x="1072" y="1824"/>
                  <a:pt x="1074" y="1822"/>
                </a:cubicBezTo>
                <a:cubicBezTo>
                  <a:pt x="1077" y="1822"/>
                  <a:pt x="1079" y="1820"/>
                  <a:pt x="1082" y="1819"/>
                </a:cubicBezTo>
                <a:cubicBezTo>
                  <a:pt x="1082" y="1819"/>
                  <a:pt x="1082" y="1819"/>
                  <a:pt x="1082" y="1877"/>
                </a:cubicBezTo>
                <a:cubicBezTo>
                  <a:pt x="1082" y="1877"/>
                  <a:pt x="1082" y="1877"/>
                  <a:pt x="1093" y="1877"/>
                </a:cubicBezTo>
                <a:cubicBezTo>
                  <a:pt x="1093" y="1877"/>
                  <a:pt x="1093" y="1877"/>
                  <a:pt x="1093" y="1804"/>
                </a:cubicBezTo>
                <a:close/>
                <a:moveTo>
                  <a:pt x="1140" y="1804"/>
                </a:moveTo>
                <a:cubicBezTo>
                  <a:pt x="1140" y="1804"/>
                  <a:pt x="1140" y="1804"/>
                  <a:pt x="1140" y="1804"/>
                </a:cubicBezTo>
                <a:cubicBezTo>
                  <a:pt x="1135" y="1804"/>
                  <a:pt x="1135" y="1804"/>
                  <a:pt x="1135" y="1804"/>
                </a:cubicBezTo>
                <a:cubicBezTo>
                  <a:pt x="1134" y="1806"/>
                  <a:pt x="1131" y="1807"/>
                  <a:pt x="1130" y="1808"/>
                </a:cubicBezTo>
                <a:cubicBezTo>
                  <a:pt x="1128" y="1809"/>
                  <a:pt x="1126" y="1810"/>
                  <a:pt x="1124" y="1811"/>
                </a:cubicBezTo>
                <a:cubicBezTo>
                  <a:pt x="1123" y="1812"/>
                  <a:pt x="1120" y="1813"/>
                  <a:pt x="1119" y="1814"/>
                </a:cubicBezTo>
                <a:cubicBezTo>
                  <a:pt x="1117" y="1814"/>
                  <a:pt x="1115" y="1815"/>
                  <a:pt x="1113" y="1815"/>
                </a:cubicBezTo>
                <a:cubicBezTo>
                  <a:pt x="1113" y="1815"/>
                  <a:pt x="1113" y="1815"/>
                  <a:pt x="1113" y="1825"/>
                </a:cubicBezTo>
                <a:cubicBezTo>
                  <a:pt x="1116" y="1824"/>
                  <a:pt x="1119" y="1824"/>
                  <a:pt x="1122" y="1822"/>
                </a:cubicBezTo>
                <a:cubicBezTo>
                  <a:pt x="1124" y="1822"/>
                  <a:pt x="1126" y="1820"/>
                  <a:pt x="1129" y="1819"/>
                </a:cubicBezTo>
                <a:cubicBezTo>
                  <a:pt x="1129" y="1819"/>
                  <a:pt x="1129" y="1819"/>
                  <a:pt x="1129" y="1877"/>
                </a:cubicBezTo>
                <a:cubicBezTo>
                  <a:pt x="1129" y="1877"/>
                  <a:pt x="1129" y="1877"/>
                  <a:pt x="1140" y="1877"/>
                </a:cubicBezTo>
                <a:cubicBezTo>
                  <a:pt x="1140" y="1877"/>
                  <a:pt x="1140" y="1877"/>
                  <a:pt x="1140" y="1804"/>
                </a:cubicBezTo>
                <a:close/>
                <a:moveTo>
                  <a:pt x="1186" y="1804"/>
                </a:moveTo>
                <a:cubicBezTo>
                  <a:pt x="1186" y="1804"/>
                  <a:pt x="1186" y="1804"/>
                  <a:pt x="1186" y="1804"/>
                </a:cubicBezTo>
                <a:cubicBezTo>
                  <a:pt x="1182" y="1804"/>
                  <a:pt x="1182" y="1804"/>
                  <a:pt x="1182" y="1804"/>
                </a:cubicBezTo>
                <a:cubicBezTo>
                  <a:pt x="1179" y="1806"/>
                  <a:pt x="1178" y="1807"/>
                  <a:pt x="1176" y="1808"/>
                </a:cubicBezTo>
                <a:cubicBezTo>
                  <a:pt x="1174" y="1809"/>
                  <a:pt x="1172" y="1810"/>
                  <a:pt x="1171" y="1811"/>
                </a:cubicBezTo>
                <a:cubicBezTo>
                  <a:pt x="1169" y="1811"/>
                  <a:pt x="1167" y="1812"/>
                  <a:pt x="1165" y="1813"/>
                </a:cubicBezTo>
                <a:cubicBezTo>
                  <a:pt x="1164" y="1814"/>
                  <a:pt x="1161" y="1814"/>
                  <a:pt x="1160" y="1815"/>
                </a:cubicBezTo>
                <a:cubicBezTo>
                  <a:pt x="1160" y="1815"/>
                  <a:pt x="1160" y="1815"/>
                  <a:pt x="1160" y="1825"/>
                </a:cubicBezTo>
                <a:cubicBezTo>
                  <a:pt x="1163" y="1824"/>
                  <a:pt x="1166" y="1823"/>
                  <a:pt x="1168" y="1822"/>
                </a:cubicBezTo>
                <a:cubicBezTo>
                  <a:pt x="1170" y="1822"/>
                  <a:pt x="1173" y="1820"/>
                  <a:pt x="1174" y="1819"/>
                </a:cubicBezTo>
                <a:cubicBezTo>
                  <a:pt x="1174" y="1819"/>
                  <a:pt x="1174" y="1819"/>
                  <a:pt x="1174" y="1877"/>
                </a:cubicBezTo>
                <a:cubicBezTo>
                  <a:pt x="1174" y="1877"/>
                  <a:pt x="1174" y="1877"/>
                  <a:pt x="1186" y="1877"/>
                </a:cubicBezTo>
                <a:cubicBezTo>
                  <a:pt x="1186" y="1877"/>
                  <a:pt x="1186" y="1877"/>
                  <a:pt x="1186" y="1804"/>
                </a:cubicBezTo>
                <a:close/>
                <a:moveTo>
                  <a:pt x="1323" y="1836"/>
                </a:moveTo>
                <a:cubicBezTo>
                  <a:pt x="1323" y="1836"/>
                  <a:pt x="1323" y="1836"/>
                  <a:pt x="1323" y="1836"/>
                </a:cubicBezTo>
                <a:cubicBezTo>
                  <a:pt x="1322" y="1844"/>
                  <a:pt x="1322" y="1844"/>
                  <a:pt x="1322" y="1844"/>
                </a:cubicBezTo>
                <a:cubicBezTo>
                  <a:pt x="1329" y="1845"/>
                  <a:pt x="1329" y="1848"/>
                  <a:pt x="1329" y="1850"/>
                </a:cubicBezTo>
                <a:cubicBezTo>
                  <a:pt x="1329" y="1853"/>
                  <a:pt x="1329" y="1855"/>
                  <a:pt x="1329" y="1857"/>
                </a:cubicBezTo>
                <a:cubicBezTo>
                  <a:pt x="1329" y="1860"/>
                  <a:pt x="1328" y="1862"/>
                  <a:pt x="1328" y="1865"/>
                </a:cubicBezTo>
                <a:cubicBezTo>
                  <a:pt x="1328" y="1874"/>
                  <a:pt x="1334" y="1877"/>
                  <a:pt x="1343" y="1877"/>
                </a:cubicBezTo>
                <a:cubicBezTo>
                  <a:pt x="1343" y="1877"/>
                  <a:pt x="1343" y="1877"/>
                  <a:pt x="1347" y="1877"/>
                </a:cubicBezTo>
                <a:cubicBezTo>
                  <a:pt x="1347" y="1877"/>
                  <a:pt x="1347" y="1877"/>
                  <a:pt x="1347" y="1868"/>
                </a:cubicBezTo>
                <a:cubicBezTo>
                  <a:pt x="1347" y="1868"/>
                  <a:pt x="1347" y="1868"/>
                  <a:pt x="1345" y="1868"/>
                </a:cubicBezTo>
                <a:cubicBezTo>
                  <a:pt x="1341" y="1868"/>
                  <a:pt x="1340" y="1866"/>
                  <a:pt x="1340" y="1862"/>
                </a:cubicBezTo>
                <a:cubicBezTo>
                  <a:pt x="1340" y="1861"/>
                  <a:pt x="1340" y="1859"/>
                  <a:pt x="1341" y="1857"/>
                </a:cubicBezTo>
                <a:cubicBezTo>
                  <a:pt x="1341" y="1856"/>
                  <a:pt x="1341" y="1854"/>
                  <a:pt x="1341" y="1852"/>
                </a:cubicBezTo>
                <a:cubicBezTo>
                  <a:pt x="1341" y="1844"/>
                  <a:pt x="1338" y="1842"/>
                  <a:pt x="1332" y="1840"/>
                </a:cubicBezTo>
                <a:cubicBezTo>
                  <a:pt x="1332" y="1840"/>
                  <a:pt x="1332" y="1840"/>
                  <a:pt x="1332" y="1840"/>
                </a:cubicBezTo>
                <a:cubicBezTo>
                  <a:pt x="1338" y="1839"/>
                  <a:pt x="1341" y="1837"/>
                  <a:pt x="1341" y="1829"/>
                </a:cubicBezTo>
                <a:cubicBezTo>
                  <a:pt x="1341" y="1827"/>
                  <a:pt x="1341" y="1825"/>
                  <a:pt x="1341" y="1823"/>
                </a:cubicBezTo>
                <a:cubicBezTo>
                  <a:pt x="1340" y="1821"/>
                  <a:pt x="1340" y="1820"/>
                  <a:pt x="1340" y="1818"/>
                </a:cubicBezTo>
                <a:cubicBezTo>
                  <a:pt x="1340" y="1815"/>
                  <a:pt x="1341" y="1813"/>
                  <a:pt x="1345" y="1813"/>
                </a:cubicBezTo>
                <a:cubicBezTo>
                  <a:pt x="1345" y="1813"/>
                  <a:pt x="1345" y="1813"/>
                  <a:pt x="1347" y="1813"/>
                </a:cubicBezTo>
                <a:cubicBezTo>
                  <a:pt x="1347" y="1813"/>
                  <a:pt x="1347" y="1813"/>
                  <a:pt x="1347" y="1803"/>
                </a:cubicBezTo>
                <a:cubicBezTo>
                  <a:pt x="1347" y="1803"/>
                  <a:pt x="1347" y="1803"/>
                  <a:pt x="1343" y="1803"/>
                </a:cubicBezTo>
                <a:cubicBezTo>
                  <a:pt x="1334" y="1803"/>
                  <a:pt x="1328" y="1807"/>
                  <a:pt x="1328" y="1816"/>
                </a:cubicBezTo>
                <a:cubicBezTo>
                  <a:pt x="1328" y="1818"/>
                  <a:pt x="1329" y="1821"/>
                  <a:pt x="1329" y="1823"/>
                </a:cubicBezTo>
                <a:cubicBezTo>
                  <a:pt x="1329" y="1826"/>
                  <a:pt x="1329" y="1828"/>
                  <a:pt x="1329" y="1830"/>
                </a:cubicBezTo>
                <a:cubicBezTo>
                  <a:pt x="1329" y="1833"/>
                  <a:pt x="1329" y="1836"/>
                  <a:pt x="1323" y="1836"/>
                </a:cubicBezTo>
                <a:close/>
                <a:moveTo>
                  <a:pt x="1377" y="1844"/>
                </a:moveTo>
                <a:cubicBezTo>
                  <a:pt x="1377" y="1844"/>
                  <a:pt x="1377" y="1844"/>
                  <a:pt x="1377" y="1844"/>
                </a:cubicBezTo>
                <a:cubicBezTo>
                  <a:pt x="1377" y="1836"/>
                  <a:pt x="1377" y="1836"/>
                  <a:pt x="1377" y="1836"/>
                </a:cubicBezTo>
                <a:cubicBezTo>
                  <a:pt x="1371" y="1836"/>
                  <a:pt x="1371" y="1833"/>
                  <a:pt x="1371" y="1830"/>
                </a:cubicBezTo>
                <a:cubicBezTo>
                  <a:pt x="1371" y="1828"/>
                  <a:pt x="1371" y="1826"/>
                  <a:pt x="1371" y="1823"/>
                </a:cubicBezTo>
                <a:cubicBezTo>
                  <a:pt x="1372" y="1821"/>
                  <a:pt x="1372" y="1818"/>
                  <a:pt x="1372" y="1816"/>
                </a:cubicBezTo>
                <a:cubicBezTo>
                  <a:pt x="1372" y="1807"/>
                  <a:pt x="1366" y="1803"/>
                  <a:pt x="1357" y="1803"/>
                </a:cubicBezTo>
                <a:cubicBezTo>
                  <a:pt x="1357" y="1803"/>
                  <a:pt x="1357" y="1803"/>
                  <a:pt x="1353" y="1803"/>
                </a:cubicBezTo>
                <a:cubicBezTo>
                  <a:pt x="1353" y="1803"/>
                  <a:pt x="1353" y="1803"/>
                  <a:pt x="1353" y="1813"/>
                </a:cubicBezTo>
                <a:cubicBezTo>
                  <a:pt x="1353" y="1813"/>
                  <a:pt x="1353" y="1813"/>
                  <a:pt x="1355" y="1813"/>
                </a:cubicBezTo>
                <a:cubicBezTo>
                  <a:pt x="1359" y="1813"/>
                  <a:pt x="1360" y="1815"/>
                  <a:pt x="1360" y="1818"/>
                </a:cubicBezTo>
                <a:cubicBezTo>
                  <a:pt x="1360" y="1820"/>
                  <a:pt x="1360" y="1821"/>
                  <a:pt x="1360" y="1823"/>
                </a:cubicBezTo>
                <a:cubicBezTo>
                  <a:pt x="1359" y="1825"/>
                  <a:pt x="1359" y="1827"/>
                  <a:pt x="1359" y="1829"/>
                </a:cubicBezTo>
                <a:cubicBezTo>
                  <a:pt x="1359" y="1837"/>
                  <a:pt x="1362" y="1839"/>
                  <a:pt x="1368" y="1840"/>
                </a:cubicBezTo>
                <a:cubicBezTo>
                  <a:pt x="1368" y="1840"/>
                  <a:pt x="1368" y="1840"/>
                  <a:pt x="1368" y="1840"/>
                </a:cubicBezTo>
                <a:cubicBezTo>
                  <a:pt x="1362" y="1842"/>
                  <a:pt x="1359" y="1844"/>
                  <a:pt x="1359" y="1852"/>
                </a:cubicBezTo>
                <a:cubicBezTo>
                  <a:pt x="1359" y="1854"/>
                  <a:pt x="1359" y="1856"/>
                  <a:pt x="1360" y="1857"/>
                </a:cubicBezTo>
                <a:cubicBezTo>
                  <a:pt x="1360" y="1859"/>
                  <a:pt x="1360" y="1861"/>
                  <a:pt x="1360" y="1862"/>
                </a:cubicBezTo>
                <a:cubicBezTo>
                  <a:pt x="1360" y="1866"/>
                  <a:pt x="1359" y="1868"/>
                  <a:pt x="1355" y="1868"/>
                </a:cubicBezTo>
                <a:cubicBezTo>
                  <a:pt x="1355" y="1868"/>
                  <a:pt x="1355" y="1868"/>
                  <a:pt x="1353" y="1868"/>
                </a:cubicBezTo>
                <a:cubicBezTo>
                  <a:pt x="1353" y="1868"/>
                  <a:pt x="1353" y="1868"/>
                  <a:pt x="1353" y="1877"/>
                </a:cubicBezTo>
                <a:cubicBezTo>
                  <a:pt x="1353" y="1877"/>
                  <a:pt x="1353" y="1877"/>
                  <a:pt x="1357" y="1877"/>
                </a:cubicBezTo>
                <a:cubicBezTo>
                  <a:pt x="1366" y="1877"/>
                  <a:pt x="1372" y="1874"/>
                  <a:pt x="1372" y="1865"/>
                </a:cubicBezTo>
                <a:cubicBezTo>
                  <a:pt x="1372" y="1862"/>
                  <a:pt x="1372" y="1860"/>
                  <a:pt x="1371" y="1857"/>
                </a:cubicBezTo>
                <a:cubicBezTo>
                  <a:pt x="1371" y="1855"/>
                  <a:pt x="1371" y="1853"/>
                  <a:pt x="1371" y="1850"/>
                </a:cubicBezTo>
                <a:cubicBezTo>
                  <a:pt x="1371" y="1848"/>
                  <a:pt x="1371" y="1845"/>
                  <a:pt x="1377" y="1844"/>
                </a:cubicBezTo>
                <a:close/>
                <a:moveTo>
                  <a:pt x="1424" y="1804"/>
                </a:moveTo>
                <a:cubicBezTo>
                  <a:pt x="1424" y="1804"/>
                  <a:pt x="1424" y="1804"/>
                  <a:pt x="1424" y="1804"/>
                </a:cubicBezTo>
                <a:cubicBezTo>
                  <a:pt x="1419" y="1804"/>
                  <a:pt x="1419" y="1804"/>
                  <a:pt x="1419" y="1804"/>
                </a:cubicBezTo>
                <a:cubicBezTo>
                  <a:pt x="1417" y="1806"/>
                  <a:pt x="1416" y="1807"/>
                  <a:pt x="1413" y="1808"/>
                </a:cubicBezTo>
                <a:cubicBezTo>
                  <a:pt x="1412" y="1809"/>
                  <a:pt x="1410" y="1810"/>
                  <a:pt x="1408" y="1811"/>
                </a:cubicBezTo>
                <a:cubicBezTo>
                  <a:pt x="1406" y="1811"/>
                  <a:pt x="1405" y="1812"/>
                  <a:pt x="1403" y="1813"/>
                </a:cubicBezTo>
                <a:cubicBezTo>
                  <a:pt x="1401" y="1814"/>
                  <a:pt x="1399" y="1814"/>
                  <a:pt x="1397" y="1815"/>
                </a:cubicBezTo>
                <a:cubicBezTo>
                  <a:pt x="1397" y="1815"/>
                  <a:pt x="1397" y="1815"/>
                  <a:pt x="1397" y="1825"/>
                </a:cubicBezTo>
                <a:cubicBezTo>
                  <a:pt x="1400" y="1824"/>
                  <a:pt x="1403" y="1823"/>
                  <a:pt x="1405" y="1822"/>
                </a:cubicBezTo>
                <a:cubicBezTo>
                  <a:pt x="1408" y="1822"/>
                  <a:pt x="1410" y="1820"/>
                  <a:pt x="1413" y="1819"/>
                </a:cubicBezTo>
                <a:cubicBezTo>
                  <a:pt x="1413" y="1819"/>
                  <a:pt x="1413" y="1819"/>
                  <a:pt x="1413" y="1877"/>
                </a:cubicBezTo>
                <a:cubicBezTo>
                  <a:pt x="1413" y="1877"/>
                  <a:pt x="1413" y="1877"/>
                  <a:pt x="1424" y="1877"/>
                </a:cubicBezTo>
                <a:cubicBezTo>
                  <a:pt x="1424" y="1877"/>
                  <a:pt x="1424" y="1877"/>
                  <a:pt x="1424" y="1804"/>
                </a:cubicBezTo>
                <a:close/>
                <a:moveTo>
                  <a:pt x="1471" y="1804"/>
                </a:moveTo>
                <a:cubicBezTo>
                  <a:pt x="1471" y="1804"/>
                  <a:pt x="1471" y="1804"/>
                  <a:pt x="1471" y="1804"/>
                </a:cubicBezTo>
                <a:cubicBezTo>
                  <a:pt x="1466" y="1804"/>
                  <a:pt x="1466" y="1804"/>
                  <a:pt x="1466" y="1804"/>
                </a:cubicBezTo>
                <a:cubicBezTo>
                  <a:pt x="1463" y="1806"/>
                  <a:pt x="1462" y="1807"/>
                  <a:pt x="1460" y="1808"/>
                </a:cubicBezTo>
                <a:cubicBezTo>
                  <a:pt x="1458" y="1809"/>
                  <a:pt x="1456" y="1810"/>
                  <a:pt x="1455" y="1811"/>
                </a:cubicBezTo>
                <a:cubicBezTo>
                  <a:pt x="1453" y="1812"/>
                  <a:pt x="1451" y="1813"/>
                  <a:pt x="1450" y="1814"/>
                </a:cubicBezTo>
                <a:cubicBezTo>
                  <a:pt x="1448" y="1814"/>
                  <a:pt x="1446" y="1815"/>
                  <a:pt x="1444" y="1815"/>
                </a:cubicBezTo>
                <a:cubicBezTo>
                  <a:pt x="1444" y="1815"/>
                  <a:pt x="1444" y="1815"/>
                  <a:pt x="1444" y="1825"/>
                </a:cubicBezTo>
                <a:cubicBezTo>
                  <a:pt x="1447" y="1824"/>
                  <a:pt x="1450" y="1824"/>
                  <a:pt x="1452" y="1822"/>
                </a:cubicBezTo>
                <a:cubicBezTo>
                  <a:pt x="1455" y="1822"/>
                  <a:pt x="1457" y="1820"/>
                  <a:pt x="1459" y="1819"/>
                </a:cubicBezTo>
                <a:cubicBezTo>
                  <a:pt x="1459" y="1819"/>
                  <a:pt x="1459" y="1819"/>
                  <a:pt x="1459" y="1877"/>
                </a:cubicBezTo>
                <a:cubicBezTo>
                  <a:pt x="1459" y="1877"/>
                  <a:pt x="1459" y="1877"/>
                  <a:pt x="1471" y="1877"/>
                </a:cubicBezTo>
                <a:cubicBezTo>
                  <a:pt x="1471" y="1877"/>
                  <a:pt x="1471" y="1877"/>
                  <a:pt x="1471" y="1804"/>
                </a:cubicBezTo>
                <a:close/>
                <a:moveTo>
                  <a:pt x="1517" y="1804"/>
                </a:moveTo>
                <a:cubicBezTo>
                  <a:pt x="1517" y="1804"/>
                  <a:pt x="1517" y="1804"/>
                  <a:pt x="1517" y="1804"/>
                </a:cubicBezTo>
                <a:cubicBezTo>
                  <a:pt x="1512" y="1804"/>
                  <a:pt x="1512" y="1804"/>
                  <a:pt x="1512" y="1804"/>
                </a:cubicBezTo>
                <a:cubicBezTo>
                  <a:pt x="1510" y="1806"/>
                  <a:pt x="1509" y="1807"/>
                  <a:pt x="1507" y="1808"/>
                </a:cubicBezTo>
                <a:cubicBezTo>
                  <a:pt x="1505" y="1809"/>
                  <a:pt x="1503" y="1810"/>
                  <a:pt x="1502" y="1811"/>
                </a:cubicBezTo>
                <a:cubicBezTo>
                  <a:pt x="1499" y="1812"/>
                  <a:pt x="1498" y="1813"/>
                  <a:pt x="1496" y="1814"/>
                </a:cubicBezTo>
                <a:cubicBezTo>
                  <a:pt x="1494" y="1814"/>
                  <a:pt x="1492" y="1815"/>
                  <a:pt x="1491" y="1815"/>
                </a:cubicBezTo>
                <a:cubicBezTo>
                  <a:pt x="1491" y="1815"/>
                  <a:pt x="1491" y="1815"/>
                  <a:pt x="1491" y="1825"/>
                </a:cubicBezTo>
                <a:cubicBezTo>
                  <a:pt x="1494" y="1824"/>
                  <a:pt x="1496" y="1824"/>
                  <a:pt x="1499" y="1822"/>
                </a:cubicBezTo>
                <a:cubicBezTo>
                  <a:pt x="1501" y="1822"/>
                  <a:pt x="1504" y="1820"/>
                  <a:pt x="1505" y="1819"/>
                </a:cubicBezTo>
                <a:cubicBezTo>
                  <a:pt x="1505" y="1819"/>
                  <a:pt x="1505" y="1819"/>
                  <a:pt x="1505" y="1877"/>
                </a:cubicBezTo>
                <a:cubicBezTo>
                  <a:pt x="1505" y="1877"/>
                  <a:pt x="1505" y="1877"/>
                  <a:pt x="1517" y="1877"/>
                </a:cubicBezTo>
                <a:cubicBezTo>
                  <a:pt x="1517" y="1877"/>
                  <a:pt x="1517" y="1877"/>
                  <a:pt x="1517" y="1804"/>
                </a:cubicBezTo>
                <a:close/>
                <a:moveTo>
                  <a:pt x="1266" y="1851"/>
                </a:moveTo>
                <a:cubicBezTo>
                  <a:pt x="1266" y="1853"/>
                  <a:pt x="1267" y="1854"/>
                  <a:pt x="1268" y="1856"/>
                </a:cubicBezTo>
                <a:cubicBezTo>
                  <a:pt x="1268" y="1857"/>
                  <a:pt x="1268" y="1859"/>
                  <a:pt x="1269" y="1861"/>
                </a:cubicBezTo>
                <a:cubicBezTo>
                  <a:pt x="1269" y="1862"/>
                  <a:pt x="1269" y="1864"/>
                  <a:pt x="1269" y="1865"/>
                </a:cubicBezTo>
                <a:cubicBezTo>
                  <a:pt x="1270" y="1869"/>
                  <a:pt x="1269" y="1870"/>
                  <a:pt x="1266" y="1870"/>
                </a:cubicBezTo>
                <a:cubicBezTo>
                  <a:pt x="1263" y="1870"/>
                  <a:pt x="1260" y="1870"/>
                  <a:pt x="1257" y="1870"/>
                </a:cubicBezTo>
                <a:cubicBezTo>
                  <a:pt x="1257" y="1870"/>
                  <a:pt x="1256" y="1870"/>
                  <a:pt x="1256" y="1870"/>
                </a:cubicBezTo>
                <a:cubicBezTo>
                  <a:pt x="1254" y="1872"/>
                  <a:pt x="1253" y="1873"/>
                  <a:pt x="1252" y="1874"/>
                </a:cubicBezTo>
                <a:cubicBezTo>
                  <a:pt x="1250" y="1877"/>
                  <a:pt x="1246" y="1877"/>
                  <a:pt x="1244" y="1875"/>
                </a:cubicBezTo>
                <a:cubicBezTo>
                  <a:pt x="1242" y="1873"/>
                  <a:pt x="1241" y="1870"/>
                  <a:pt x="1239" y="1868"/>
                </a:cubicBezTo>
                <a:cubicBezTo>
                  <a:pt x="1239" y="1866"/>
                  <a:pt x="1239" y="1865"/>
                  <a:pt x="1241" y="1863"/>
                </a:cubicBezTo>
                <a:cubicBezTo>
                  <a:pt x="1239" y="1863"/>
                  <a:pt x="1237" y="1863"/>
                  <a:pt x="1236" y="1863"/>
                </a:cubicBezTo>
                <a:cubicBezTo>
                  <a:pt x="1235" y="1865"/>
                  <a:pt x="1234" y="1867"/>
                  <a:pt x="1233" y="1869"/>
                </a:cubicBezTo>
                <a:cubicBezTo>
                  <a:pt x="1233" y="1870"/>
                  <a:pt x="1232" y="1870"/>
                  <a:pt x="1232" y="1871"/>
                </a:cubicBezTo>
                <a:cubicBezTo>
                  <a:pt x="1232" y="1874"/>
                  <a:pt x="1231" y="1876"/>
                  <a:pt x="1228" y="1875"/>
                </a:cubicBezTo>
                <a:cubicBezTo>
                  <a:pt x="1225" y="1875"/>
                  <a:pt x="1222" y="1874"/>
                  <a:pt x="1219" y="1873"/>
                </a:cubicBezTo>
                <a:cubicBezTo>
                  <a:pt x="1217" y="1872"/>
                  <a:pt x="1217" y="1871"/>
                  <a:pt x="1217" y="1869"/>
                </a:cubicBezTo>
                <a:cubicBezTo>
                  <a:pt x="1217" y="1868"/>
                  <a:pt x="1217" y="1867"/>
                  <a:pt x="1218" y="1867"/>
                </a:cubicBezTo>
                <a:cubicBezTo>
                  <a:pt x="1216" y="1866"/>
                  <a:pt x="1213" y="1865"/>
                  <a:pt x="1211" y="1864"/>
                </a:cubicBezTo>
                <a:cubicBezTo>
                  <a:pt x="1210" y="1863"/>
                  <a:pt x="1209" y="1861"/>
                  <a:pt x="1208" y="1859"/>
                </a:cubicBezTo>
                <a:cubicBezTo>
                  <a:pt x="1207" y="1857"/>
                  <a:pt x="1207" y="1856"/>
                  <a:pt x="1209" y="1854"/>
                </a:cubicBezTo>
                <a:cubicBezTo>
                  <a:pt x="1212" y="1852"/>
                  <a:pt x="1213" y="1849"/>
                  <a:pt x="1212" y="1845"/>
                </a:cubicBezTo>
                <a:cubicBezTo>
                  <a:pt x="1212" y="1843"/>
                  <a:pt x="1212" y="1841"/>
                  <a:pt x="1212" y="1839"/>
                </a:cubicBezTo>
                <a:cubicBezTo>
                  <a:pt x="1211" y="1839"/>
                  <a:pt x="1209" y="1838"/>
                  <a:pt x="1208" y="1837"/>
                </a:cubicBezTo>
                <a:cubicBezTo>
                  <a:pt x="1207" y="1835"/>
                  <a:pt x="1206" y="1833"/>
                  <a:pt x="1206" y="1832"/>
                </a:cubicBezTo>
                <a:cubicBezTo>
                  <a:pt x="1206" y="1829"/>
                  <a:pt x="1210" y="1826"/>
                  <a:pt x="1212" y="1825"/>
                </a:cubicBezTo>
                <a:cubicBezTo>
                  <a:pt x="1213" y="1826"/>
                  <a:pt x="1213" y="1827"/>
                  <a:pt x="1213" y="1828"/>
                </a:cubicBezTo>
                <a:cubicBezTo>
                  <a:pt x="1213" y="1829"/>
                  <a:pt x="1213" y="1830"/>
                  <a:pt x="1214" y="1831"/>
                </a:cubicBezTo>
                <a:cubicBezTo>
                  <a:pt x="1213" y="1830"/>
                  <a:pt x="1212" y="1830"/>
                  <a:pt x="1212" y="1830"/>
                </a:cubicBezTo>
                <a:cubicBezTo>
                  <a:pt x="1212" y="1832"/>
                  <a:pt x="1211" y="1833"/>
                  <a:pt x="1210" y="1835"/>
                </a:cubicBezTo>
                <a:cubicBezTo>
                  <a:pt x="1212" y="1834"/>
                  <a:pt x="1212" y="1834"/>
                  <a:pt x="1213" y="1834"/>
                </a:cubicBezTo>
                <a:cubicBezTo>
                  <a:pt x="1214" y="1833"/>
                  <a:pt x="1215" y="1832"/>
                  <a:pt x="1216" y="1831"/>
                </a:cubicBezTo>
                <a:cubicBezTo>
                  <a:pt x="1220" y="1824"/>
                  <a:pt x="1226" y="1820"/>
                  <a:pt x="1234" y="1819"/>
                </a:cubicBezTo>
                <a:cubicBezTo>
                  <a:pt x="1237" y="1818"/>
                  <a:pt x="1240" y="1817"/>
                  <a:pt x="1242" y="1814"/>
                </a:cubicBezTo>
                <a:cubicBezTo>
                  <a:pt x="1242" y="1814"/>
                  <a:pt x="1243" y="1813"/>
                  <a:pt x="1243" y="1813"/>
                </a:cubicBezTo>
                <a:cubicBezTo>
                  <a:pt x="1246" y="1813"/>
                  <a:pt x="1248" y="1811"/>
                  <a:pt x="1250" y="1809"/>
                </a:cubicBezTo>
                <a:cubicBezTo>
                  <a:pt x="1257" y="1801"/>
                  <a:pt x="1269" y="1801"/>
                  <a:pt x="1277" y="1808"/>
                </a:cubicBezTo>
                <a:cubicBezTo>
                  <a:pt x="1279" y="1809"/>
                  <a:pt x="1282" y="1811"/>
                  <a:pt x="1284" y="1813"/>
                </a:cubicBezTo>
                <a:cubicBezTo>
                  <a:pt x="1286" y="1815"/>
                  <a:pt x="1287" y="1816"/>
                  <a:pt x="1288" y="1818"/>
                </a:cubicBezTo>
                <a:cubicBezTo>
                  <a:pt x="1289" y="1820"/>
                  <a:pt x="1290" y="1820"/>
                  <a:pt x="1291" y="1819"/>
                </a:cubicBezTo>
                <a:cubicBezTo>
                  <a:pt x="1292" y="1818"/>
                  <a:pt x="1292" y="1817"/>
                  <a:pt x="1293" y="1817"/>
                </a:cubicBezTo>
                <a:cubicBezTo>
                  <a:pt x="1295" y="1814"/>
                  <a:pt x="1298" y="1814"/>
                  <a:pt x="1299" y="1817"/>
                </a:cubicBezTo>
                <a:cubicBezTo>
                  <a:pt x="1301" y="1820"/>
                  <a:pt x="1301" y="1823"/>
                  <a:pt x="1302" y="1826"/>
                </a:cubicBezTo>
                <a:cubicBezTo>
                  <a:pt x="1303" y="1830"/>
                  <a:pt x="1302" y="1835"/>
                  <a:pt x="1301" y="1839"/>
                </a:cubicBezTo>
                <a:cubicBezTo>
                  <a:pt x="1298" y="1845"/>
                  <a:pt x="1294" y="1849"/>
                  <a:pt x="1287" y="1849"/>
                </a:cubicBezTo>
                <a:cubicBezTo>
                  <a:pt x="1286" y="1849"/>
                  <a:pt x="1286" y="1849"/>
                  <a:pt x="1285" y="1849"/>
                </a:cubicBezTo>
                <a:cubicBezTo>
                  <a:pt x="1283" y="1848"/>
                  <a:pt x="1281" y="1849"/>
                  <a:pt x="1281" y="1851"/>
                </a:cubicBezTo>
                <a:cubicBezTo>
                  <a:pt x="1279" y="1856"/>
                  <a:pt x="1274" y="1857"/>
                  <a:pt x="1270" y="1854"/>
                </a:cubicBezTo>
                <a:cubicBezTo>
                  <a:pt x="1269" y="1853"/>
                  <a:pt x="1268" y="1852"/>
                  <a:pt x="1267" y="1851"/>
                </a:cubicBezTo>
                <a:cubicBezTo>
                  <a:pt x="1266" y="1851"/>
                  <a:pt x="1266" y="1851"/>
                  <a:pt x="1266" y="1851"/>
                </a:cubicBezTo>
                <a:close/>
                <a:moveTo>
                  <a:pt x="1261" y="1847"/>
                </a:moveTo>
                <a:cubicBezTo>
                  <a:pt x="1264" y="1848"/>
                  <a:pt x="1268" y="1850"/>
                  <a:pt x="1270" y="1852"/>
                </a:cubicBezTo>
                <a:cubicBezTo>
                  <a:pt x="1272" y="1854"/>
                  <a:pt x="1274" y="1855"/>
                  <a:pt x="1276" y="1854"/>
                </a:cubicBezTo>
                <a:cubicBezTo>
                  <a:pt x="1279" y="1853"/>
                  <a:pt x="1280" y="1851"/>
                  <a:pt x="1280" y="1848"/>
                </a:cubicBezTo>
                <a:cubicBezTo>
                  <a:pt x="1280" y="1848"/>
                  <a:pt x="1279" y="1848"/>
                  <a:pt x="1279" y="1849"/>
                </a:cubicBezTo>
                <a:cubicBezTo>
                  <a:pt x="1279" y="1850"/>
                  <a:pt x="1277" y="1851"/>
                  <a:pt x="1277" y="1852"/>
                </a:cubicBezTo>
                <a:cubicBezTo>
                  <a:pt x="1276" y="1854"/>
                  <a:pt x="1274" y="1853"/>
                  <a:pt x="1274" y="1853"/>
                </a:cubicBezTo>
                <a:cubicBezTo>
                  <a:pt x="1273" y="1853"/>
                  <a:pt x="1272" y="1852"/>
                  <a:pt x="1272" y="1851"/>
                </a:cubicBezTo>
                <a:cubicBezTo>
                  <a:pt x="1272" y="1848"/>
                  <a:pt x="1273" y="1846"/>
                  <a:pt x="1273" y="1845"/>
                </a:cubicBezTo>
                <a:cubicBezTo>
                  <a:pt x="1276" y="1845"/>
                  <a:pt x="1279" y="1846"/>
                  <a:pt x="1283" y="1847"/>
                </a:cubicBezTo>
                <a:cubicBezTo>
                  <a:pt x="1290" y="1848"/>
                  <a:pt x="1296" y="1846"/>
                  <a:pt x="1299" y="1838"/>
                </a:cubicBezTo>
                <a:cubicBezTo>
                  <a:pt x="1301" y="1833"/>
                  <a:pt x="1301" y="1828"/>
                  <a:pt x="1300" y="1823"/>
                </a:cubicBezTo>
                <a:cubicBezTo>
                  <a:pt x="1299" y="1821"/>
                  <a:pt x="1299" y="1820"/>
                  <a:pt x="1298" y="1818"/>
                </a:cubicBezTo>
                <a:cubicBezTo>
                  <a:pt x="1297" y="1816"/>
                  <a:pt x="1296" y="1816"/>
                  <a:pt x="1295" y="1817"/>
                </a:cubicBezTo>
                <a:cubicBezTo>
                  <a:pt x="1293" y="1819"/>
                  <a:pt x="1292" y="1821"/>
                  <a:pt x="1290" y="1821"/>
                </a:cubicBezTo>
                <a:cubicBezTo>
                  <a:pt x="1289" y="1822"/>
                  <a:pt x="1288" y="1822"/>
                  <a:pt x="1288" y="1824"/>
                </a:cubicBezTo>
                <a:cubicBezTo>
                  <a:pt x="1289" y="1827"/>
                  <a:pt x="1288" y="1830"/>
                  <a:pt x="1287" y="1833"/>
                </a:cubicBezTo>
                <a:cubicBezTo>
                  <a:pt x="1287" y="1831"/>
                  <a:pt x="1288" y="1829"/>
                  <a:pt x="1288" y="1828"/>
                </a:cubicBezTo>
                <a:cubicBezTo>
                  <a:pt x="1288" y="1827"/>
                  <a:pt x="1287" y="1826"/>
                  <a:pt x="1287" y="1826"/>
                </a:cubicBezTo>
                <a:cubicBezTo>
                  <a:pt x="1286" y="1826"/>
                  <a:pt x="1286" y="1826"/>
                  <a:pt x="1286" y="1827"/>
                </a:cubicBezTo>
                <a:cubicBezTo>
                  <a:pt x="1285" y="1828"/>
                  <a:pt x="1284" y="1830"/>
                  <a:pt x="1283" y="1831"/>
                </a:cubicBezTo>
                <a:cubicBezTo>
                  <a:pt x="1283" y="1831"/>
                  <a:pt x="1283" y="1831"/>
                  <a:pt x="1283" y="1831"/>
                </a:cubicBezTo>
                <a:cubicBezTo>
                  <a:pt x="1283" y="1829"/>
                  <a:pt x="1284" y="1828"/>
                  <a:pt x="1284" y="1825"/>
                </a:cubicBezTo>
                <a:cubicBezTo>
                  <a:pt x="1283" y="1826"/>
                  <a:pt x="1283" y="1826"/>
                  <a:pt x="1282" y="1827"/>
                </a:cubicBezTo>
                <a:cubicBezTo>
                  <a:pt x="1281" y="1828"/>
                  <a:pt x="1281" y="1828"/>
                  <a:pt x="1281" y="1829"/>
                </a:cubicBezTo>
                <a:cubicBezTo>
                  <a:pt x="1281" y="1826"/>
                  <a:pt x="1281" y="1826"/>
                  <a:pt x="1287" y="1824"/>
                </a:cubicBezTo>
                <a:cubicBezTo>
                  <a:pt x="1287" y="1824"/>
                  <a:pt x="1286" y="1823"/>
                  <a:pt x="1286" y="1823"/>
                </a:cubicBezTo>
                <a:cubicBezTo>
                  <a:pt x="1283" y="1824"/>
                  <a:pt x="1283" y="1822"/>
                  <a:pt x="1282" y="1820"/>
                </a:cubicBezTo>
                <a:cubicBezTo>
                  <a:pt x="1284" y="1820"/>
                  <a:pt x="1285" y="1819"/>
                  <a:pt x="1287" y="1819"/>
                </a:cubicBezTo>
                <a:cubicBezTo>
                  <a:pt x="1285" y="1817"/>
                  <a:pt x="1284" y="1814"/>
                  <a:pt x="1281" y="1813"/>
                </a:cubicBezTo>
                <a:cubicBezTo>
                  <a:pt x="1280" y="1813"/>
                  <a:pt x="1280" y="1813"/>
                  <a:pt x="1280" y="1813"/>
                </a:cubicBezTo>
                <a:cubicBezTo>
                  <a:pt x="1277" y="1811"/>
                  <a:pt x="1275" y="1808"/>
                  <a:pt x="1272" y="1806"/>
                </a:cubicBezTo>
                <a:cubicBezTo>
                  <a:pt x="1270" y="1805"/>
                  <a:pt x="1267" y="1804"/>
                  <a:pt x="1265" y="1804"/>
                </a:cubicBezTo>
                <a:cubicBezTo>
                  <a:pt x="1262" y="1805"/>
                  <a:pt x="1259" y="1806"/>
                  <a:pt x="1256" y="1807"/>
                </a:cubicBezTo>
                <a:cubicBezTo>
                  <a:pt x="1253" y="1808"/>
                  <a:pt x="1250" y="1809"/>
                  <a:pt x="1248" y="1813"/>
                </a:cubicBezTo>
                <a:cubicBezTo>
                  <a:pt x="1250" y="1813"/>
                  <a:pt x="1251" y="1813"/>
                  <a:pt x="1252" y="1813"/>
                </a:cubicBezTo>
                <a:cubicBezTo>
                  <a:pt x="1252" y="1813"/>
                  <a:pt x="1251" y="1813"/>
                  <a:pt x="1250" y="1813"/>
                </a:cubicBezTo>
                <a:cubicBezTo>
                  <a:pt x="1248" y="1814"/>
                  <a:pt x="1245" y="1813"/>
                  <a:pt x="1243" y="1816"/>
                </a:cubicBezTo>
                <a:cubicBezTo>
                  <a:pt x="1240" y="1820"/>
                  <a:pt x="1236" y="1823"/>
                  <a:pt x="1232" y="1828"/>
                </a:cubicBezTo>
                <a:cubicBezTo>
                  <a:pt x="1231" y="1830"/>
                  <a:pt x="1230" y="1832"/>
                  <a:pt x="1229" y="1834"/>
                </a:cubicBezTo>
                <a:cubicBezTo>
                  <a:pt x="1229" y="1835"/>
                  <a:pt x="1229" y="1835"/>
                  <a:pt x="1229" y="1836"/>
                </a:cubicBezTo>
                <a:cubicBezTo>
                  <a:pt x="1230" y="1838"/>
                  <a:pt x="1232" y="1840"/>
                  <a:pt x="1233" y="1842"/>
                </a:cubicBezTo>
                <a:cubicBezTo>
                  <a:pt x="1234" y="1840"/>
                  <a:pt x="1236" y="1839"/>
                  <a:pt x="1237" y="1837"/>
                </a:cubicBezTo>
                <a:cubicBezTo>
                  <a:pt x="1236" y="1839"/>
                  <a:pt x="1236" y="1840"/>
                  <a:pt x="1235" y="1841"/>
                </a:cubicBezTo>
                <a:cubicBezTo>
                  <a:pt x="1234" y="1843"/>
                  <a:pt x="1234" y="1844"/>
                  <a:pt x="1233" y="1845"/>
                </a:cubicBezTo>
                <a:cubicBezTo>
                  <a:pt x="1233" y="1846"/>
                  <a:pt x="1233" y="1847"/>
                  <a:pt x="1234" y="1848"/>
                </a:cubicBezTo>
                <a:cubicBezTo>
                  <a:pt x="1236" y="1852"/>
                  <a:pt x="1239" y="1852"/>
                  <a:pt x="1243" y="1850"/>
                </a:cubicBezTo>
                <a:cubicBezTo>
                  <a:pt x="1245" y="1848"/>
                  <a:pt x="1248" y="1847"/>
                  <a:pt x="1251" y="1846"/>
                </a:cubicBezTo>
                <a:cubicBezTo>
                  <a:pt x="1252" y="1846"/>
                  <a:pt x="1254" y="1845"/>
                  <a:pt x="1254" y="1843"/>
                </a:cubicBezTo>
                <a:cubicBezTo>
                  <a:pt x="1254" y="1840"/>
                  <a:pt x="1254" y="1837"/>
                  <a:pt x="1254" y="1833"/>
                </a:cubicBezTo>
                <a:cubicBezTo>
                  <a:pt x="1254" y="1830"/>
                  <a:pt x="1254" y="1828"/>
                  <a:pt x="1254" y="1824"/>
                </a:cubicBezTo>
                <a:cubicBezTo>
                  <a:pt x="1254" y="1827"/>
                  <a:pt x="1255" y="1830"/>
                  <a:pt x="1255" y="1832"/>
                </a:cubicBezTo>
                <a:cubicBezTo>
                  <a:pt x="1256" y="1837"/>
                  <a:pt x="1256" y="1841"/>
                  <a:pt x="1255" y="1846"/>
                </a:cubicBezTo>
                <a:cubicBezTo>
                  <a:pt x="1254" y="1846"/>
                  <a:pt x="1254" y="1847"/>
                  <a:pt x="1253" y="1847"/>
                </a:cubicBezTo>
                <a:cubicBezTo>
                  <a:pt x="1250" y="1848"/>
                  <a:pt x="1246" y="1850"/>
                  <a:pt x="1243" y="1851"/>
                </a:cubicBezTo>
                <a:cubicBezTo>
                  <a:pt x="1238" y="1854"/>
                  <a:pt x="1235" y="1852"/>
                  <a:pt x="1231" y="1848"/>
                </a:cubicBezTo>
                <a:cubicBezTo>
                  <a:pt x="1231" y="1848"/>
                  <a:pt x="1231" y="1847"/>
                  <a:pt x="1231" y="1846"/>
                </a:cubicBezTo>
                <a:cubicBezTo>
                  <a:pt x="1232" y="1844"/>
                  <a:pt x="1231" y="1842"/>
                  <a:pt x="1230" y="1840"/>
                </a:cubicBezTo>
                <a:cubicBezTo>
                  <a:pt x="1228" y="1838"/>
                  <a:pt x="1226" y="1836"/>
                  <a:pt x="1228" y="1833"/>
                </a:cubicBezTo>
                <a:cubicBezTo>
                  <a:pt x="1228" y="1831"/>
                  <a:pt x="1229" y="1830"/>
                  <a:pt x="1230" y="1828"/>
                </a:cubicBezTo>
                <a:cubicBezTo>
                  <a:pt x="1232" y="1825"/>
                  <a:pt x="1234" y="1823"/>
                  <a:pt x="1236" y="1820"/>
                </a:cubicBezTo>
                <a:cubicBezTo>
                  <a:pt x="1236" y="1820"/>
                  <a:pt x="1235" y="1820"/>
                  <a:pt x="1235" y="1820"/>
                </a:cubicBezTo>
                <a:cubicBezTo>
                  <a:pt x="1230" y="1821"/>
                  <a:pt x="1226" y="1823"/>
                  <a:pt x="1222" y="1826"/>
                </a:cubicBezTo>
                <a:cubicBezTo>
                  <a:pt x="1217" y="1830"/>
                  <a:pt x="1214" y="1835"/>
                  <a:pt x="1214" y="1842"/>
                </a:cubicBezTo>
                <a:cubicBezTo>
                  <a:pt x="1214" y="1849"/>
                  <a:pt x="1216" y="1855"/>
                  <a:pt x="1219" y="1861"/>
                </a:cubicBezTo>
                <a:cubicBezTo>
                  <a:pt x="1220" y="1861"/>
                  <a:pt x="1221" y="1863"/>
                  <a:pt x="1220" y="1864"/>
                </a:cubicBezTo>
                <a:cubicBezTo>
                  <a:pt x="1220" y="1866"/>
                  <a:pt x="1220" y="1867"/>
                  <a:pt x="1219" y="1869"/>
                </a:cubicBezTo>
                <a:cubicBezTo>
                  <a:pt x="1219" y="1870"/>
                  <a:pt x="1219" y="1871"/>
                  <a:pt x="1220" y="1872"/>
                </a:cubicBezTo>
                <a:cubicBezTo>
                  <a:pt x="1223" y="1872"/>
                  <a:pt x="1226" y="1873"/>
                  <a:pt x="1229" y="1873"/>
                </a:cubicBezTo>
                <a:cubicBezTo>
                  <a:pt x="1230" y="1873"/>
                  <a:pt x="1230" y="1872"/>
                  <a:pt x="1230" y="1872"/>
                </a:cubicBezTo>
                <a:cubicBezTo>
                  <a:pt x="1231" y="1871"/>
                  <a:pt x="1231" y="1869"/>
                  <a:pt x="1232" y="1869"/>
                </a:cubicBezTo>
                <a:cubicBezTo>
                  <a:pt x="1234" y="1866"/>
                  <a:pt x="1234" y="1863"/>
                  <a:pt x="1234" y="1861"/>
                </a:cubicBezTo>
                <a:cubicBezTo>
                  <a:pt x="1234" y="1860"/>
                  <a:pt x="1234" y="1860"/>
                  <a:pt x="1234" y="1859"/>
                </a:cubicBezTo>
                <a:cubicBezTo>
                  <a:pt x="1234" y="1859"/>
                  <a:pt x="1234" y="1859"/>
                  <a:pt x="1234" y="1859"/>
                </a:cubicBezTo>
                <a:cubicBezTo>
                  <a:pt x="1234" y="1861"/>
                  <a:pt x="1236" y="1861"/>
                  <a:pt x="1237" y="1861"/>
                </a:cubicBezTo>
                <a:cubicBezTo>
                  <a:pt x="1238" y="1861"/>
                  <a:pt x="1239" y="1861"/>
                  <a:pt x="1240" y="1861"/>
                </a:cubicBezTo>
                <a:cubicBezTo>
                  <a:pt x="1243" y="1861"/>
                  <a:pt x="1246" y="1862"/>
                  <a:pt x="1246" y="1858"/>
                </a:cubicBezTo>
                <a:cubicBezTo>
                  <a:pt x="1246" y="1860"/>
                  <a:pt x="1246" y="1862"/>
                  <a:pt x="1246" y="1863"/>
                </a:cubicBezTo>
                <a:cubicBezTo>
                  <a:pt x="1245" y="1863"/>
                  <a:pt x="1244" y="1864"/>
                  <a:pt x="1243" y="1865"/>
                </a:cubicBezTo>
                <a:cubicBezTo>
                  <a:pt x="1241" y="1865"/>
                  <a:pt x="1241" y="1867"/>
                  <a:pt x="1241" y="1868"/>
                </a:cubicBezTo>
                <a:cubicBezTo>
                  <a:pt x="1243" y="1870"/>
                  <a:pt x="1244" y="1872"/>
                  <a:pt x="1245" y="1874"/>
                </a:cubicBezTo>
                <a:cubicBezTo>
                  <a:pt x="1247" y="1875"/>
                  <a:pt x="1249" y="1875"/>
                  <a:pt x="1250" y="1873"/>
                </a:cubicBezTo>
                <a:cubicBezTo>
                  <a:pt x="1251" y="1872"/>
                  <a:pt x="1252" y="1872"/>
                  <a:pt x="1252" y="1871"/>
                </a:cubicBezTo>
                <a:cubicBezTo>
                  <a:pt x="1254" y="1870"/>
                  <a:pt x="1256" y="1869"/>
                  <a:pt x="1257" y="1867"/>
                </a:cubicBezTo>
                <a:cubicBezTo>
                  <a:pt x="1261" y="1863"/>
                  <a:pt x="1263" y="1857"/>
                  <a:pt x="1265" y="1851"/>
                </a:cubicBezTo>
                <a:cubicBezTo>
                  <a:pt x="1265" y="1851"/>
                  <a:pt x="1264" y="1850"/>
                  <a:pt x="1264" y="1850"/>
                </a:cubicBezTo>
                <a:cubicBezTo>
                  <a:pt x="1263" y="1848"/>
                  <a:pt x="1262" y="1848"/>
                  <a:pt x="1261" y="1847"/>
                </a:cubicBezTo>
                <a:close/>
                <a:moveTo>
                  <a:pt x="1214" y="1853"/>
                </a:moveTo>
                <a:cubicBezTo>
                  <a:pt x="1213" y="1854"/>
                  <a:pt x="1211" y="1855"/>
                  <a:pt x="1210" y="1856"/>
                </a:cubicBezTo>
                <a:cubicBezTo>
                  <a:pt x="1210" y="1856"/>
                  <a:pt x="1209" y="1857"/>
                  <a:pt x="1209" y="1858"/>
                </a:cubicBezTo>
                <a:cubicBezTo>
                  <a:pt x="1209" y="1861"/>
                  <a:pt x="1214" y="1865"/>
                  <a:pt x="1217" y="1865"/>
                </a:cubicBezTo>
                <a:cubicBezTo>
                  <a:pt x="1218" y="1865"/>
                  <a:pt x="1219" y="1863"/>
                  <a:pt x="1218" y="1862"/>
                </a:cubicBezTo>
                <a:cubicBezTo>
                  <a:pt x="1217" y="1859"/>
                  <a:pt x="1215" y="1856"/>
                  <a:pt x="1214"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4" y="1835"/>
                </a:moveTo>
                <a:cubicBezTo>
                  <a:pt x="1213" y="1835"/>
                  <a:pt x="1212" y="1836"/>
                  <a:pt x="1212" y="1836"/>
                </a:cubicBezTo>
                <a:cubicBezTo>
                  <a:pt x="1211" y="1836"/>
                  <a:pt x="1210" y="1836"/>
                  <a:pt x="1210" y="1835"/>
                </a:cubicBezTo>
                <a:cubicBezTo>
                  <a:pt x="1210" y="1835"/>
                  <a:pt x="1209" y="1834"/>
                  <a:pt x="1209" y="1833"/>
                </a:cubicBezTo>
                <a:cubicBezTo>
                  <a:pt x="1210" y="1832"/>
                  <a:pt x="1210" y="1830"/>
                  <a:pt x="1211" y="1828"/>
                </a:cubicBezTo>
                <a:cubicBezTo>
                  <a:pt x="1211" y="1828"/>
                  <a:pt x="1211" y="1828"/>
                  <a:pt x="1210" y="1828"/>
                </a:cubicBezTo>
                <a:cubicBezTo>
                  <a:pt x="1210" y="1828"/>
                  <a:pt x="1208" y="1829"/>
                  <a:pt x="1208" y="1830"/>
                </a:cubicBezTo>
                <a:cubicBezTo>
                  <a:pt x="1207" y="1832"/>
                  <a:pt x="1208" y="1837"/>
                  <a:pt x="1210" y="1837"/>
                </a:cubicBezTo>
                <a:cubicBezTo>
                  <a:pt x="1212" y="1838"/>
                  <a:pt x="1214" y="1837"/>
                  <a:pt x="1214" y="1835"/>
                </a:cubicBezTo>
                <a:close/>
                <a:moveTo>
                  <a:pt x="1213" y="1853"/>
                </a:moveTo>
                <a:cubicBezTo>
                  <a:pt x="1213" y="1854"/>
                  <a:pt x="1211" y="1855"/>
                  <a:pt x="1210" y="1856"/>
                </a:cubicBezTo>
                <a:cubicBezTo>
                  <a:pt x="1209" y="1856"/>
                  <a:pt x="1209" y="1857"/>
                  <a:pt x="1209" y="1858"/>
                </a:cubicBezTo>
                <a:cubicBezTo>
                  <a:pt x="1209" y="1861"/>
                  <a:pt x="1213" y="1865"/>
                  <a:pt x="1217" y="1865"/>
                </a:cubicBezTo>
                <a:cubicBezTo>
                  <a:pt x="1218" y="1865"/>
                  <a:pt x="1219" y="1864"/>
                  <a:pt x="1218" y="1862"/>
                </a:cubicBezTo>
                <a:cubicBezTo>
                  <a:pt x="1217" y="1859"/>
                  <a:pt x="1215" y="1856"/>
                  <a:pt x="1213"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3" y="1835"/>
                </a:moveTo>
                <a:cubicBezTo>
                  <a:pt x="1213" y="1835"/>
                  <a:pt x="1212" y="1836"/>
                  <a:pt x="1211" y="1836"/>
                </a:cubicBezTo>
                <a:cubicBezTo>
                  <a:pt x="1211" y="1836"/>
                  <a:pt x="1210" y="1836"/>
                  <a:pt x="1210" y="1835"/>
                </a:cubicBezTo>
                <a:cubicBezTo>
                  <a:pt x="1209" y="1835"/>
                  <a:pt x="1209" y="1834"/>
                  <a:pt x="1209" y="1833"/>
                </a:cubicBezTo>
                <a:cubicBezTo>
                  <a:pt x="1210" y="1831"/>
                  <a:pt x="1210" y="1829"/>
                  <a:pt x="1211" y="1827"/>
                </a:cubicBezTo>
                <a:cubicBezTo>
                  <a:pt x="1211" y="1827"/>
                  <a:pt x="1211" y="1827"/>
                  <a:pt x="1210" y="1827"/>
                </a:cubicBezTo>
                <a:cubicBezTo>
                  <a:pt x="1209" y="1828"/>
                  <a:pt x="1208" y="1829"/>
                  <a:pt x="1207" y="1830"/>
                </a:cubicBezTo>
                <a:cubicBezTo>
                  <a:pt x="1207" y="1831"/>
                  <a:pt x="1208" y="1837"/>
                  <a:pt x="1210" y="1837"/>
                </a:cubicBezTo>
                <a:cubicBezTo>
                  <a:pt x="1211" y="1838"/>
                  <a:pt x="1213" y="1837"/>
                  <a:pt x="1213" y="1835"/>
                </a:cubicBezTo>
                <a:close/>
                <a:moveTo>
                  <a:pt x="1266" y="1827"/>
                </a:moveTo>
                <a:cubicBezTo>
                  <a:pt x="1269" y="1823"/>
                  <a:pt x="1269" y="1823"/>
                  <a:pt x="1273" y="1822"/>
                </a:cubicBezTo>
                <a:cubicBezTo>
                  <a:pt x="1273" y="1824"/>
                  <a:pt x="1274" y="1825"/>
                  <a:pt x="1275" y="1825"/>
                </a:cubicBezTo>
                <a:cubicBezTo>
                  <a:pt x="1273" y="1826"/>
                  <a:pt x="1271" y="1828"/>
                  <a:pt x="1269" y="1829"/>
                </a:cubicBezTo>
                <a:cubicBezTo>
                  <a:pt x="1268" y="1828"/>
                  <a:pt x="1268" y="1828"/>
                  <a:pt x="1267" y="1826"/>
                </a:cubicBezTo>
                <a:cubicBezTo>
                  <a:pt x="1267" y="1826"/>
                  <a:pt x="1266" y="1826"/>
                  <a:pt x="1266" y="1827"/>
                </a:cubicBezTo>
                <a:close/>
                <a:moveTo>
                  <a:pt x="1271" y="1826"/>
                </a:moveTo>
                <a:cubicBezTo>
                  <a:pt x="1271" y="1826"/>
                  <a:pt x="1270" y="1826"/>
                  <a:pt x="1269" y="1826"/>
                </a:cubicBezTo>
                <a:cubicBezTo>
                  <a:pt x="1269" y="1826"/>
                  <a:pt x="1268" y="1826"/>
                  <a:pt x="1268" y="1827"/>
                </a:cubicBezTo>
                <a:cubicBezTo>
                  <a:pt x="1268" y="1827"/>
                  <a:pt x="1269" y="1828"/>
                  <a:pt x="1269" y="1828"/>
                </a:cubicBezTo>
                <a:cubicBezTo>
                  <a:pt x="1270" y="1828"/>
                  <a:pt x="1270" y="1827"/>
                  <a:pt x="1271" y="1826"/>
                </a:cubicBezTo>
                <a:close/>
                <a:moveTo>
                  <a:pt x="1253" y="1817"/>
                </a:moveTo>
                <a:cubicBezTo>
                  <a:pt x="1246" y="1816"/>
                  <a:pt x="1243" y="1819"/>
                  <a:pt x="1242" y="1826"/>
                </a:cubicBezTo>
                <a:cubicBezTo>
                  <a:pt x="1243" y="1824"/>
                  <a:pt x="1244" y="1822"/>
                  <a:pt x="1246" y="1820"/>
                </a:cubicBezTo>
                <a:cubicBezTo>
                  <a:pt x="1246" y="1820"/>
                  <a:pt x="1246" y="1820"/>
                  <a:pt x="1246" y="1820"/>
                </a:cubicBezTo>
                <a:cubicBezTo>
                  <a:pt x="1246" y="1821"/>
                  <a:pt x="1246" y="1822"/>
                  <a:pt x="1246" y="1822"/>
                </a:cubicBezTo>
                <a:cubicBezTo>
                  <a:pt x="1248" y="1819"/>
                  <a:pt x="1249" y="1817"/>
                  <a:pt x="1253" y="1817"/>
                </a:cubicBezTo>
                <a:close/>
                <a:moveTo>
                  <a:pt x="1296" y="1818"/>
                </a:moveTo>
                <a:cubicBezTo>
                  <a:pt x="1294" y="1819"/>
                  <a:pt x="1292" y="1821"/>
                  <a:pt x="1291" y="1822"/>
                </a:cubicBezTo>
                <a:cubicBezTo>
                  <a:pt x="1293" y="1823"/>
                  <a:pt x="1295" y="1821"/>
                  <a:pt x="1296" y="1818"/>
                </a:cubicBezTo>
                <a:close/>
                <a:moveTo>
                  <a:pt x="1263" y="1821"/>
                </a:moveTo>
                <a:cubicBezTo>
                  <a:pt x="1264" y="1819"/>
                  <a:pt x="1265" y="1818"/>
                  <a:pt x="1267" y="1817"/>
                </a:cubicBezTo>
                <a:cubicBezTo>
                  <a:pt x="1263" y="1818"/>
                  <a:pt x="1262" y="1819"/>
                  <a:pt x="1263" y="1821"/>
                </a:cubicBezTo>
                <a:close/>
                <a:moveTo>
                  <a:pt x="1273" y="1842"/>
                </a:moveTo>
                <a:cubicBezTo>
                  <a:pt x="1271" y="1842"/>
                  <a:pt x="1270" y="1843"/>
                  <a:pt x="1270" y="1844"/>
                </a:cubicBezTo>
                <a:cubicBezTo>
                  <a:pt x="1271" y="1843"/>
                  <a:pt x="1272" y="1842"/>
                  <a:pt x="1273" y="1842"/>
                </a:cubicBezTo>
                <a:close/>
                <a:moveTo>
                  <a:pt x="1271" y="1826"/>
                </a:moveTo>
                <a:cubicBezTo>
                  <a:pt x="1271" y="1826"/>
                  <a:pt x="1270" y="1825"/>
                  <a:pt x="1270" y="1825"/>
                </a:cubicBezTo>
                <a:cubicBezTo>
                  <a:pt x="1269" y="1825"/>
                  <a:pt x="1268" y="1826"/>
                  <a:pt x="1268" y="1827"/>
                </a:cubicBezTo>
                <a:cubicBezTo>
                  <a:pt x="1268" y="1827"/>
                  <a:pt x="1269" y="1828"/>
                  <a:pt x="1269" y="1828"/>
                </a:cubicBezTo>
                <a:cubicBezTo>
                  <a:pt x="1270" y="1828"/>
                  <a:pt x="1270" y="1827"/>
                  <a:pt x="1271" y="1826"/>
                </a:cubicBezTo>
                <a:close/>
                <a:moveTo>
                  <a:pt x="1562" y="1804"/>
                </a:moveTo>
                <a:cubicBezTo>
                  <a:pt x="1562" y="1804"/>
                  <a:pt x="1562" y="1804"/>
                  <a:pt x="1562" y="1804"/>
                </a:cubicBezTo>
                <a:cubicBezTo>
                  <a:pt x="1558" y="1804"/>
                  <a:pt x="1558" y="1804"/>
                  <a:pt x="1558" y="1804"/>
                </a:cubicBezTo>
                <a:cubicBezTo>
                  <a:pt x="1556" y="1806"/>
                  <a:pt x="1554" y="1807"/>
                  <a:pt x="1552" y="1808"/>
                </a:cubicBezTo>
                <a:cubicBezTo>
                  <a:pt x="1551" y="1809"/>
                  <a:pt x="1549" y="1810"/>
                  <a:pt x="1547" y="1811"/>
                </a:cubicBezTo>
                <a:cubicBezTo>
                  <a:pt x="1545" y="1812"/>
                  <a:pt x="1544" y="1813"/>
                  <a:pt x="1541" y="1814"/>
                </a:cubicBezTo>
                <a:cubicBezTo>
                  <a:pt x="1540" y="1814"/>
                  <a:pt x="1538" y="1815"/>
                  <a:pt x="1536" y="1815"/>
                </a:cubicBezTo>
                <a:cubicBezTo>
                  <a:pt x="1536" y="1815"/>
                  <a:pt x="1536" y="1815"/>
                  <a:pt x="1536" y="1825"/>
                </a:cubicBezTo>
                <a:cubicBezTo>
                  <a:pt x="1539" y="1824"/>
                  <a:pt x="1542" y="1824"/>
                  <a:pt x="1544" y="1822"/>
                </a:cubicBezTo>
                <a:cubicBezTo>
                  <a:pt x="1546" y="1822"/>
                  <a:pt x="1549" y="1820"/>
                  <a:pt x="1551" y="1819"/>
                </a:cubicBezTo>
                <a:cubicBezTo>
                  <a:pt x="1551" y="1819"/>
                  <a:pt x="1551" y="1819"/>
                  <a:pt x="1551" y="1877"/>
                </a:cubicBezTo>
                <a:cubicBezTo>
                  <a:pt x="1551" y="1877"/>
                  <a:pt x="1551" y="1877"/>
                  <a:pt x="1562" y="1877"/>
                </a:cubicBezTo>
                <a:cubicBezTo>
                  <a:pt x="1562" y="1877"/>
                  <a:pt x="1562" y="1877"/>
                  <a:pt x="1562" y="1804"/>
                </a:cubicBezTo>
                <a:close/>
                <a:moveTo>
                  <a:pt x="1684" y="1804"/>
                </a:moveTo>
                <a:cubicBezTo>
                  <a:pt x="1684" y="1804"/>
                  <a:pt x="1684" y="1804"/>
                  <a:pt x="1684" y="1804"/>
                </a:cubicBezTo>
                <a:cubicBezTo>
                  <a:pt x="1679" y="1804"/>
                  <a:pt x="1679" y="1804"/>
                  <a:pt x="1679" y="1804"/>
                </a:cubicBezTo>
                <a:cubicBezTo>
                  <a:pt x="1677" y="1806"/>
                  <a:pt x="1675" y="1807"/>
                  <a:pt x="1673" y="1808"/>
                </a:cubicBezTo>
                <a:cubicBezTo>
                  <a:pt x="1672" y="1809"/>
                  <a:pt x="1670" y="1810"/>
                  <a:pt x="1668" y="1811"/>
                </a:cubicBezTo>
                <a:cubicBezTo>
                  <a:pt x="1667" y="1812"/>
                  <a:pt x="1665" y="1813"/>
                  <a:pt x="1663" y="1814"/>
                </a:cubicBezTo>
                <a:cubicBezTo>
                  <a:pt x="1661" y="1814"/>
                  <a:pt x="1659" y="1815"/>
                  <a:pt x="1657" y="1815"/>
                </a:cubicBezTo>
                <a:cubicBezTo>
                  <a:pt x="1657" y="1815"/>
                  <a:pt x="1657" y="1815"/>
                  <a:pt x="1657" y="1825"/>
                </a:cubicBezTo>
                <a:cubicBezTo>
                  <a:pt x="1660" y="1824"/>
                  <a:pt x="1663" y="1824"/>
                  <a:pt x="1666" y="1822"/>
                </a:cubicBezTo>
                <a:cubicBezTo>
                  <a:pt x="1668" y="1822"/>
                  <a:pt x="1670" y="1820"/>
                  <a:pt x="1673" y="1819"/>
                </a:cubicBezTo>
                <a:cubicBezTo>
                  <a:pt x="1673" y="1819"/>
                  <a:pt x="1673" y="1819"/>
                  <a:pt x="1673" y="1877"/>
                </a:cubicBezTo>
                <a:cubicBezTo>
                  <a:pt x="1673" y="1877"/>
                  <a:pt x="1673" y="1877"/>
                  <a:pt x="1684" y="1877"/>
                </a:cubicBezTo>
                <a:cubicBezTo>
                  <a:pt x="1684" y="1877"/>
                  <a:pt x="1684" y="1877"/>
                  <a:pt x="1684" y="1804"/>
                </a:cubicBezTo>
                <a:close/>
                <a:moveTo>
                  <a:pt x="1731" y="1804"/>
                </a:moveTo>
                <a:cubicBezTo>
                  <a:pt x="1731" y="1804"/>
                  <a:pt x="1731" y="1804"/>
                  <a:pt x="1731" y="1804"/>
                </a:cubicBezTo>
                <a:cubicBezTo>
                  <a:pt x="1726" y="1804"/>
                  <a:pt x="1726" y="1804"/>
                  <a:pt x="1726" y="1804"/>
                </a:cubicBezTo>
                <a:cubicBezTo>
                  <a:pt x="1724" y="1806"/>
                  <a:pt x="1722" y="1807"/>
                  <a:pt x="1720" y="1808"/>
                </a:cubicBezTo>
                <a:cubicBezTo>
                  <a:pt x="1719" y="1809"/>
                  <a:pt x="1717" y="1810"/>
                  <a:pt x="1715" y="1811"/>
                </a:cubicBezTo>
                <a:cubicBezTo>
                  <a:pt x="1714" y="1812"/>
                  <a:pt x="1712" y="1813"/>
                  <a:pt x="1710" y="1814"/>
                </a:cubicBezTo>
                <a:cubicBezTo>
                  <a:pt x="1708" y="1814"/>
                  <a:pt x="1707" y="1815"/>
                  <a:pt x="1704" y="1815"/>
                </a:cubicBezTo>
                <a:cubicBezTo>
                  <a:pt x="1704" y="1815"/>
                  <a:pt x="1704" y="1815"/>
                  <a:pt x="1704" y="1825"/>
                </a:cubicBezTo>
                <a:cubicBezTo>
                  <a:pt x="1707" y="1824"/>
                  <a:pt x="1710" y="1824"/>
                  <a:pt x="1712" y="1822"/>
                </a:cubicBezTo>
                <a:cubicBezTo>
                  <a:pt x="1715" y="1822"/>
                  <a:pt x="1717" y="1820"/>
                  <a:pt x="1720" y="1819"/>
                </a:cubicBezTo>
                <a:cubicBezTo>
                  <a:pt x="1720" y="1819"/>
                  <a:pt x="1720" y="1819"/>
                  <a:pt x="1720" y="1877"/>
                </a:cubicBezTo>
                <a:cubicBezTo>
                  <a:pt x="1720" y="1877"/>
                  <a:pt x="1720" y="1877"/>
                  <a:pt x="1731" y="1877"/>
                </a:cubicBezTo>
                <a:cubicBezTo>
                  <a:pt x="1731" y="1877"/>
                  <a:pt x="1731" y="1877"/>
                  <a:pt x="1731" y="1804"/>
                </a:cubicBezTo>
                <a:close/>
                <a:moveTo>
                  <a:pt x="1777" y="1804"/>
                </a:moveTo>
                <a:cubicBezTo>
                  <a:pt x="1777" y="1804"/>
                  <a:pt x="1777" y="1804"/>
                  <a:pt x="1777" y="1804"/>
                </a:cubicBezTo>
                <a:cubicBezTo>
                  <a:pt x="1773" y="1804"/>
                  <a:pt x="1773" y="1804"/>
                  <a:pt x="1773" y="1804"/>
                </a:cubicBezTo>
                <a:cubicBezTo>
                  <a:pt x="1771" y="1806"/>
                  <a:pt x="1769" y="1807"/>
                  <a:pt x="1767" y="1808"/>
                </a:cubicBezTo>
                <a:cubicBezTo>
                  <a:pt x="1766" y="1809"/>
                  <a:pt x="1763" y="1810"/>
                  <a:pt x="1762" y="1811"/>
                </a:cubicBezTo>
                <a:cubicBezTo>
                  <a:pt x="1760" y="1811"/>
                  <a:pt x="1758" y="1812"/>
                  <a:pt x="1756" y="1813"/>
                </a:cubicBezTo>
                <a:cubicBezTo>
                  <a:pt x="1755" y="1814"/>
                  <a:pt x="1752" y="1814"/>
                  <a:pt x="1751" y="1815"/>
                </a:cubicBezTo>
                <a:cubicBezTo>
                  <a:pt x="1751" y="1815"/>
                  <a:pt x="1751" y="1815"/>
                  <a:pt x="1751" y="1825"/>
                </a:cubicBezTo>
                <a:cubicBezTo>
                  <a:pt x="1754" y="1824"/>
                  <a:pt x="1757" y="1823"/>
                  <a:pt x="1759" y="1822"/>
                </a:cubicBezTo>
                <a:cubicBezTo>
                  <a:pt x="1761" y="1822"/>
                  <a:pt x="1764" y="1820"/>
                  <a:pt x="1766" y="1819"/>
                </a:cubicBezTo>
                <a:cubicBezTo>
                  <a:pt x="1766" y="1819"/>
                  <a:pt x="1766" y="1819"/>
                  <a:pt x="1766" y="1877"/>
                </a:cubicBezTo>
                <a:cubicBezTo>
                  <a:pt x="1766" y="1877"/>
                  <a:pt x="1766" y="1877"/>
                  <a:pt x="1777" y="1877"/>
                </a:cubicBezTo>
                <a:cubicBezTo>
                  <a:pt x="1777" y="1877"/>
                  <a:pt x="1777" y="1877"/>
                  <a:pt x="1777" y="1804"/>
                </a:cubicBezTo>
                <a:close/>
                <a:moveTo>
                  <a:pt x="1583" y="1836"/>
                </a:moveTo>
                <a:cubicBezTo>
                  <a:pt x="1583" y="1836"/>
                  <a:pt x="1583" y="1836"/>
                  <a:pt x="1583" y="1836"/>
                </a:cubicBezTo>
                <a:cubicBezTo>
                  <a:pt x="1582" y="1844"/>
                  <a:pt x="1582" y="1844"/>
                  <a:pt x="1582" y="1844"/>
                </a:cubicBezTo>
                <a:cubicBezTo>
                  <a:pt x="1589" y="1845"/>
                  <a:pt x="1589" y="1848"/>
                  <a:pt x="1589" y="1850"/>
                </a:cubicBezTo>
                <a:cubicBezTo>
                  <a:pt x="1589" y="1853"/>
                  <a:pt x="1589" y="1855"/>
                  <a:pt x="1589" y="1857"/>
                </a:cubicBezTo>
                <a:cubicBezTo>
                  <a:pt x="1589" y="1860"/>
                  <a:pt x="1588" y="1862"/>
                  <a:pt x="1588" y="1865"/>
                </a:cubicBezTo>
                <a:cubicBezTo>
                  <a:pt x="1588" y="1874"/>
                  <a:pt x="1594" y="1877"/>
                  <a:pt x="1603" y="1877"/>
                </a:cubicBezTo>
                <a:cubicBezTo>
                  <a:pt x="1603" y="1877"/>
                  <a:pt x="1603" y="1877"/>
                  <a:pt x="1606" y="1877"/>
                </a:cubicBezTo>
                <a:cubicBezTo>
                  <a:pt x="1606" y="1877"/>
                  <a:pt x="1606" y="1877"/>
                  <a:pt x="1606" y="1868"/>
                </a:cubicBezTo>
                <a:cubicBezTo>
                  <a:pt x="1606" y="1868"/>
                  <a:pt x="1606" y="1868"/>
                  <a:pt x="1605" y="1868"/>
                </a:cubicBezTo>
                <a:cubicBezTo>
                  <a:pt x="1601" y="1868"/>
                  <a:pt x="1600" y="1866"/>
                  <a:pt x="1600" y="1862"/>
                </a:cubicBezTo>
                <a:cubicBezTo>
                  <a:pt x="1600" y="1861"/>
                  <a:pt x="1600" y="1859"/>
                  <a:pt x="1601" y="1857"/>
                </a:cubicBezTo>
                <a:cubicBezTo>
                  <a:pt x="1601" y="1856"/>
                  <a:pt x="1601" y="1854"/>
                  <a:pt x="1601" y="1852"/>
                </a:cubicBezTo>
                <a:cubicBezTo>
                  <a:pt x="1601" y="1844"/>
                  <a:pt x="1598" y="1842"/>
                  <a:pt x="1592" y="1840"/>
                </a:cubicBezTo>
                <a:cubicBezTo>
                  <a:pt x="1592" y="1840"/>
                  <a:pt x="1592" y="1840"/>
                  <a:pt x="1592" y="1840"/>
                </a:cubicBezTo>
                <a:cubicBezTo>
                  <a:pt x="1598" y="1839"/>
                  <a:pt x="1601" y="1837"/>
                  <a:pt x="1601" y="1829"/>
                </a:cubicBezTo>
                <a:cubicBezTo>
                  <a:pt x="1601" y="1827"/>
                  <a:pt x="1601" y="1825"/>
                  <a:pt x="1601" y="1823"/>
                </a:cubicBezTo>
                <a:cubicBezTo>
                  <a:pt x="1600" y="1821"/>
                  <a:pt x="1600" y="1820"/>
                  <a:pt x="1600" y="1818"/>
                </a:cubicBezTo>
                <a:cubicBezTo>
                  <a:pt x="1600" y="1815"/>
                  <a:pt x="1601" y="1813"/>
                  <a:pt x="1605" y="1813"/>
                </a:cubicBezTo>
                <a:cubicBezTo>
                  <a:pt x="1605" y="1813"/>
                  <a:pt x="1605" y="1813"/>
                  <a:pt x="1606" y="1813"/>
                </a:cubicBezTo>
                <a:cubicBezTo>
                  <a:pt x="1606" y="1813"/>
                  <a:pt x="1606" y="1813"/>
                  <a:pt x="1606" y="1803"/>
                </a:cubicBezTo>
                <a:cubicBezTo>
                  <a:pt x="1606" y="1803"/>
                  <a:pt x="1606" y="1803"/>
                  <a:pt x="1603" y="1803"/>
                </a:cubicBezTo>
                <a:cubicBezTo>
                  <a:pt x="1594" y="1803"/>
                  <a:pt x="1588" y="1807"/>
                  <a:pt x="1588" y="1816"/>
                </a:cubicBezTo>
                <a:cubicBezTo>
                  <a:pt x="1588" y="1818"/>
                  <a:pt x="1589" y="1821"/>
                  <a:pt x="1589" y="1823"/>
                </a:cubicBezTo>
                <a:cubicBezTo>
                  <a:pt x="1589" y="1826"/>
                  <a:pt x="1589" y="1828"/>
                  <a:pt x="1589" y="1830"/>
                </a:cubicBezTo>
                <a:cubicBezTo>
                  <a:pt x="1589" y="1833"/>
                  <a:pt x="1589" y="1836"/>
                  <a:pt x="1583" y="1836"/>
                </a:cubicBezTo>
                <a:close/>
                <a:moveTo>
                  <a:pt x="1637" y="1844"/>
                </a:moveTo>
                <a:cubicBezTo>
                  <a:pt x="1637" y="1844"/>
                  <a:pt x="1637" y="1844"/>
                  <a:pt x="1637" y="1844"/>
                </a:cubicBezTo>
                <a:cubicBezTo>
                  <a:pt x="1637" y="1836"/>
                  <a:pt x="1637" y="1836"/>
                  <a:pt x="1637" y="1836"/>
                </a:cubicBezTo>
                <a:cubicBezTo>
                  <a:pt x="1631" y="1836"/>
                  <a:pt x="1630" y="1833"/>
                  <a:pt x="1630" y="1830"/>
                </a:cubicBezTo>
                <a:cubicBezTo>
                  <a:pt x="1630" y="1828"/>
                  <a:pt x="1630" y="1826"/>
                  <a:pt x="1631" y="1823"/>
                </a:cubicBezTo>
                <a:cubicBezTo>
                  <a:pt x="1631" y="1821"/>
                  <a:pt x="1631" y="1818"/>
                  <a:pt x="1631" y="1816"/>
                </a:cubicBezTo>
                <a:cubicBezTo>
                  <a:pt x="1631" y="1807"/>
                  <a:pt x="1626" y="1803"/>
                  <a:pt x="1617" y="1803"/>
                </a:cubicBezTo>
                <a:cubicBezTo>
                  <a:pt x="1617" y="1803"/>
                  <a:pt x="1617" y="1803"/>
                  <a:pt x="1613" y="1803"/>
                </a:cubicBezTo>
                <a:cubicBezTo>
                  <a:pt x="1613" y="1803"/>
                  <a:pt x="1613" y="1803"/>
                  <a:pt x="1613" y="1813"/>
                </a:cubicBezTo>
                <a:cubicBezTo>
                  <a:pt x="1613" y="1813"/>
                  <a:pt x="1613" y="1813"/>
                  <a:pt x="1615" y="1813"/>
                </a:cubicBezTo>
                <a:cubicBezTo>
                  <a:pt x="1618" y="1813"/>
                  <a:pt x="1620" y="1815"/>
                  <a:pt x="1620" y="1818"/>
                </a:cubicBezTo>
                <a:cubicBezTo>
                  <a:pt x="1620" y="1820"/>
                  <a:pt x="1619" y="1821"/>
                  <a:pt x="1619" y="1823"/>
                </a:cubicBezTo>
                <a:cubicBezTo>
                  <a:pt x="1619" y="1825"/>
                  <a:pt x="1619" y="1827"/>
                  <a:pt x="1619" y="1829"/>
                </a:cubicBezTo>
                <a:cubicBezTo>
                  <a:pt x="1619" y="1837"/>
                  <a:pt x="1622" y="1839"/>
                  <a:pt x="1628" y="1840"/>
                </a:cubicBezTo>
                <a:cubicBezTo>
                  <a:pt x="1628" y="1840"/>
                  <a:pt x="1628" y="1840"/>
                  <a:pt x="1628" y="1840"/>
                </a:cubicBezTo>
                <a:cubicBezTo>
                  <a:pt x="1622" y="1842"/>
                  <a:pt x="1619" y="1844"/>
                  <a:pt x="1619" y="1852"/>
                </a:cubicBezTo>
                <a:cubicBezTo>
                  <a:pt x="1619" y="1854"/>
                  <a:pt x="1619" y="1856"/>
                  <a:pt x="1619" y="1857"/>
                </a:cubicBezTo>
                <a:cubicBezTo>
                  <a:pt x="1619" y="1859"/>
                  <a:pt x="1620" y="1861"/>
                  <a:pt x="1620" y="1862"/>
                </a:cubicBezTo>
                <a:cubicBezTo>
                  <a:pt x="1620" y="1866"/>
                  <a:pt x="1619" y="1868"/>
                  <a:pt x="1615" y="1868"/>
                </a:cubicBezTo>
                <a:cubicBezTo>
                  <a:pt x="1615" y="1868"/>
                  <a:pt x="1615" y="1868"/>
                  <a:pt x="1613" y="1868"/>
                </a:cubicBezTo>
                <a:cubicBezTo>
                  <a:pt x="1613" y="1868"/>
                  <a:pt x="1613" y="1868"/>
                  <a:pt x="1613" y="1877"/>
                </a:cubicBezTo>
                <a:cubicBezTo>
                  <a:pt x="1613" y="1877"/>
                  <a:pt x="1613" y="1877"/>
                  <a:pt x="1617" y="1877"/>
                </a:cubicBezTo>
                <a:cubicBezTo>
                  <a:pt x="1626" y="1877"/>
                  <a:pt x="1631" y="1874"/>
                  <a:pt x="1631" y="1865"/>
                </a:cubicBezTo>
                <a:cubicBezTo>
                  <a:pt x="1631" y="1862"/>
                  <a:pt x="1631" y="1860"/>
                  <a:pt x="1631" y="1857"/>
                </a:cubicBezTo>
                <a:cubicBezTo>
                  <a:pt x="1630" y="1855"/>
                  <a:pt x="1630" y="1853"/>
                  <a:pt x="1630" y="1850"/>
                </a:cubicBezTo>
                <a:cubicBezTo>
                  <a:pt x="1630" y="1848"/>
                  <a:pt x="1631" y="1845"/>
                  <a:pt x="1637" y="1844"/>
                </a:cubicBezTo>
                <a:close/>
                <a:moveTo>
                  <a:pt x="1821" y="1877"/>
                </a:moveTo>
                <a:cubicBezTo>
                  <a:pt x="1814" y="1877"/>
                  <a:pt x="1807" y="1874"/>
                  <a:pt x="1803" y="1868"/>
                </a:cubicBezTo>
                <a:cubicBezTo>
                  <a:pt x="1799" y="1862"/>
                  <a:pt x="1797" y="1853"/>
                  <a:pt x="1797" y="1841"/>
                </a:cubicBezTo>
                <a:cubicBezTo>
                  <a:pt x="1797" y="1828"/>
                  <a:pt x="1799" y="1818"/>
                  <a:pt x="1804" y="1812"/>
                </a:cubicBezTo>
                <a:cubicBezTo>
                  <a:pt x="1808" y="1805"/>
                  <a:pt x="1815" y="1801"/>
                  <a:pt x="1823" y="1801"/>
                </a:cubicBezTo>
                <a:cubicBezTo>
                  <a:pt x="1839" y="1801"/>
                  <a:pt x="1847" y="1814"/>
                  <a:pt x="1847" y="1839"/>
                </a:cubicBezTo>
                <a:cubicBezTo>
                  <a:pt x="1847" y="1852"/>
                  <a:pt x="1845" y="1861"/>
                  <a:pt x="1840" y="1868"/>
                </a:cubicBezTo>
                <a:cubicBezTo>
                  <a:pt x="1836" y="1874"/>
                  <a:pt x="1829" y="1877"/>
                  <a:pt x="1821" y="1877"/>
                </a:cubicBezTo>
                <a:close/>
                <a:moveTo>
                  <a:pt x="1823" y="1811"/>
                </a:moveTo>
                <a:cubicBezTo>
                  <a:pt x="1813" y="1811"/>
                  <a:pt x="1809" y="1821"/>
                  <a:pt x="1809" y="1841"/>
                </a:cubicBezTo>
                <a:cubicBezTo>
                  <a:pt x="1809" y="1859"/>
                  <a:pt x="1813" y="1868"/>
                  <a:pt x="1822" y="1868"/>
                </a:cubicBezTo>
                <a:cubicBezTo>
                  <a:pt x="1831" y="1868"/>
                  <a:pt x="1835" y="1859"/>
                  <a:pt x="1835" y="1840"/>
                </a:cubicBezTo>
                <a:cubicBezTo>
                  <a:pt x="1835" y="1820"/>
                  <a:pt x="1831" y="1811"/>
                  <a:pt x="1823" y="1811"/>
                </a:cubicBezTo>
                <a:close/>
                <a:moveTo>
                  <a:pt x="1891" y="1877"/>
                </a:moveTo>
                <a:cubicBezTo>
                  <a:pt x="1884" y="1877"/>
                  <a:pt x="1877" y="1874"/>
                  <a:pt x="1874" y="1868"/>
                </a:cubicBezTo>
                <a:cubicBezTo>
                  <a:pt x="1869" y="1862"/>
                  <a:pt x="1867" y="1853"/>
                  <a:pt x="1867" y="1841"/>
                </a:cubicBezTo>
                <a:cubicBezTo>
                  <a:pt x="1867" y="1828"/>
                  <a:pt x="1869" y="1818"/>
                  <a:pt x="1874" y="1812"/>
                </a:cubicBezTo>
                <a:cubicBezTo>
                  <a:pt x="1878" y="1805"/>
                  <a:pt x="1885" y="1801"/>
                  <a:pt x="1894" y="1801"/>
                </a:cubicBezTo>
                <a:cubicBezTo>
                  <a:pt x="1910" y="1801"/>
                  <a:pt x="1918" y="1814"/>
                  <a:pt x="1918" y="1839"/>
                </a:cubicBezTo>
                <a:cubicBezTo>
                  <a:pt x="1918" y="1852"/>
                  <a:pt x="1916" y="1861"/>
                  <a:pt x="1911" y="1868"/>
                </a:cubicBezTo>
                <a:cubicBezTo>
                  <a:pt x="1906" y="1874"/>
                  <a:pt x="1900" y="1877"/>
                  <a:pt x="1891" y="1877"/>
                </a:cubicBezTo>
                <a:close/>
                <a:moveTo>
                  <a:pt x="1893" y="1811"/>
                </a:moveTo>
                <a:cubicBezTo>
                  <a:pt x="1884" y="1811"/>
                  <a:pt x="1879" y="1821"/>
                  <a:pt x="1879" y="1841"/>
                </a:cubicBezTo>
                <a:cubicBezTo>
                  <a:pt x="1879" y="1859"/>
                  <a:pt x="1883" y="1868"/>
                  <a:pt x="1892" y="1868"/>
                </a:cubicBezTo>
                <a:cubicBezTo>
                  <a:pt x="1901" y="1868"/>
                  <a:pt x="1905" y="1859"/>
                  <a:pt x="1905" y="1840"/>
                </a:cubicBezTo>
                <a:cubicBezTo>
                  <a:pt x="1905" y="1820"/>
                  <a:pt x="1901" y="1811"/>
                  <a:pt x="1893" y="1811"/>
                </a:cubicBezTo>
                <a:close/>
                <a:moveTo>
                  <a:pt x="37" y="1900"/>
                </a:moveTo>
                <a:cubicBezTo>
                  <a:pt x="37" y="1900"/>
                  <a:pt x="37" y="1900"/>
                  <a:pt x="37" y="1900"/>
                </a:cubicBezTo>
                <a:cubicBezTo>
                  <a:pt x="32" y="1900"/>
                  <a:pt x="32" y="1900"/>
                  <a:pt x="32" y="1900"/>
                </a:cubicBezTo>
                <a:cubicBezTo>
                  <a:pt x="29" y="1901"/>
                  <a:pt x="28" y="1903"/>
                  <a:pt x="26" y="1903"/>
                </a:cubicBezTo>
                <a:cubicBezTo>
                  <a:pt x="24" y="1905"/>
                  <a:pt x="23" y="1906"/>
                  <a:pt x="21" y="1906"/>
                </a:cubicBezTo>
                <a:cubicBezTo>
                  <a:pt x="19" y="1908"/>
                  <a:pt x="17" y="1908"/>
                  <a:pt x="15" y="1909"/>
                </a:cubicBezTo>
                <a:cubicBezTo>
                  <a:pt x="13" y="1910"/>
                  <a:pt x="12" y="1911"/>
                  <a:pt x="9" y="1911"/>
                </a:cubicBezTo>
                <a:cubicBezTo>
                  <a:pt x="9" y="1911"/>
                  <a:pt x="9" y="1911"/>
                  <a:pt x="9" y="1921"/>
                </a:cubicBezTo>
                <a:cubicBezTo>
                  <a:pt x="12" y="1920"/>
                  <a:pt x="15" y="1919"/>
                  <a:pt x="18" y="1918"/>
                </a:cubicBezTo>
                <a:cubicBezTo>
                  <a:pt x="21" y="1917"/>
                  <a:pt x="23" y="1916"/>
                  <a:pt x="25" y="1914"/>
                </a:cubicBezTo>
                <a:cubicBezTo>
                  <a:pt x="25" y="1914"/>
                  <a:pt x="25" y="1914"/>
                  <a:pt x="25" y="1973"/>
                </a:cubicBezTo>
                <a:cubicBezTo>
                  <a:pt x="25" y="1973"/>
                  <a:pt x="25" y="1973"/>
                  <a:pt x="37" y="1973"/>
                </a:cubicBezTo>
                <a:cubicBezTo>
                  <a:pt x="37" y="1973"/>
                  <a:pt x="37" y="1973"/>
                  <a:pt x="37" y="1900"/>
                </a:cubicBezTo>
                <a:close/>
                <a:moveTo>
                  <a:pt x="84" y="1900"/>
                </a:moveTo>
                <a:cubicBezTo>
                  <a:pt x="84" y="1900"/>
                  <a:pt x="84" y="1900"/>
                  <a:pt x="84" y="1900"/>
                </a:cubicBezTo>
                <a:cubicBezTo>
                  <a:pt x="79" y="1900"/>
                  <a:pt x="79" y="1900"/>
                  <a:pt x="79" y="1900"/>
                </a:cubicBezTo>
                <a:cubicBezTo>
                  <a:pt x="77" y="1901"/>
                  <a:pt x="76" y="1903"/>
                  <a:pt x="73" y="1903"/>
                </a:cubicBezTo>
                <a:cubicBezTo>
                  <a:pt x="72" y="1905"/>
                  <a:pt x="70" y="1906"/>
                  <a:pt x="68" y="1906"/>
                </a:cubicBezTo>
                <a:cubicBezTo>
                  <a:pt x="67" y="1908"/>
                  <a:pt x="65" y="1908"/>
                  <a:pt x="63" y="1909"/>
                </a:cubicBezTo>
                <a:cubicBezTo>
                  <a:pt x="61" y="1910"/>
                  <a:pt x="60" y="1911"/>
                  <a:pt x="57" y="1911"/>
                </a:cubicBezTo>
                <a:cubicBezTo>
                  <a:pt x="57" y="1911"/>
                  <a:pt x="57" y="1911"/>
                  <a:pt x="57" y="1921"/>
                </a:cubicBezTo>
                <a:cubicBezTo>
                  <a:pt x="60" y="1920"/>
                  <a:pt x="63" y="1919"/>
                  <a:pt x="65" y="1918"/>
                </a:cubicBezTo>
                <a:cubicBezTo>
                  <a:pt x="68" y="1917"/>
                  <a:pt x="71" y="1916"/>
                  <a:pt x="73" y="1914"/>
                </a:cubicBezTo>
                <a:cubicBezTo>
                  <a:pt x="73" y="1914"/>
                  <a:pt x="73" y="1914"/>
                  <a:pt x="73" y="1973"/>
                </a:cubicBezTo>
                <a:cubicBezTo>
                  <a:pt x="73" y="1973"/>
                  <a:pt x="73" y="1973"/>
                  <a:pt x="84" y="1973"/>
                </a:cubicBezTo>
                <a:cubicBezTo>
                  <a:pt x="84" y="1973"/>
                  <a:pt x="84" y="1973"/>
                  <a:pt x="84" y="1900"/>
                </a:cubicBezTo>
                <a:close/>
                <a:moveTo>
                  <a:pt x="131" y="1900"/>
                </a:moveTo>
                <a:cubicBezTo>
                  <a:pt x="131" y="1900"/>
                  <a:pt x="131" y="1900"/>
                  <a:pt x="131" y="1900"/>
                </a:cubicBezTo>
                <a:cubicBezTo>
                  <a:pt x="127" y="1900"/>
                  <a:pt x="127" y="1900"/>
                  <a:pt x="127" y="1900"/>
                </a:cubicBezTo>
                <a:cubicBezTo>
                  <a:pt x="124" y="1901"/>
                  <a:pt x="123" y="1903"/>
                  <a:pt x="121" y="1903"/>
                </a:cubicBezTo>
                <a:cubicBezTo>
                  <a:pt x="119" y="1905"/>
                  <a:pt x="117" y="1906"/>
                  <a:pt x="116" y="1906"/>
                </a:cubicBezTo>
                <a:cubicBezTo>
                  <a:pt x="114" y="1907"/>
                  <a:pt x="112" y="1908"/>
                  <a:pt x="110" y="1908"/>
                </a:cubicBezTo>
                <a:cubicBezTo>
                  <a:pt x="109" y="1909"/>
                  <a:pt x="106" y="1910"/>
                  <a:pt x="105" y="1911"/>
                </a:cubicBezTo>
                <a:cubicBezTo>
                  <a:pt x="105" y="1911"/>
                  <a:pt x="105" y="1911"/>
                  <a:pt x="105" y="1921"/>
                </a:cubicBezTo>
                <a:cubicBezTo>
                  <a:pt x="108" y="1920"/>
                  <a:pt x="111" y="1919"/>
                  <a:pt x="113" y="1918"/>
                </a:cubicBezTo>
                <a:cubicBezTo>
                  <a:pt x="115" y="1917"/>
                  <a:pt x="118" y="1916"/>
                  <a:pt x="119" y="1914"/>
                </a:cubicBezTo>
                <a:cubicBezTo>
                  <a:pt x="119" y="1914"/>
                  <a:pt x="119" y="1914"/>
                  <a:pt x="119" y="1973"/>
                </a:cubicBezTo>
                <a:cubicBezTo>
                  <a:pt x="119" y="1973"/>
                  <a:pt x="119" y="1973"/>
                  <a:pt x="131" y="1973"/>
                </a:cubicBezTo>
                <a:cubicBezTo>
                  <a:pt x="131" y="1973"/>
                  <a:pt x="131" y="1973"/>
                  <a:pt x="131" y="1900"/>
                </a:cubicBezTo>
                <a:close/>
                <a:moveTo>
                  <a:pt x="176" y="1973"/>
                </a:moveTo>
                <a:cubicBezTo>
                  <a:pt x="168" y="1973"/>
                  <a:pt x="162" y="1970"/>
                  <a:pt x="157" y="1964"/>
                </a:cubicBezTo>
                <a:cubicBezTo>
                  <a:pt x="154" y="1958"/>
                  <a:pt x="152" y="1949"/>
                  <a:pt x="152" y="1937"/>
                </a:cubicBezTo>
                <a:cubicBezTo>
                  <a:pt x="152" y="1924"/>
                  <a:pt x="154" y="1914"/>
                  <a:pt x="158" y="1908"/>
                </a:cubicBezTo>
                <a:cubicBezTo>
                  <a:pt x="162" y="1901"/>
                  <a:pt x="169" y="1897"/>
                  <a:pt x="178" y="1897"/>
                </a:cubicBezTo>
                <a:cubicBezTo>
                  <a:pt x="194" y="1897"/>
                  <a:pt x="202" y="1910"/>
                  <a:pt x="202" y="1935"/>
                </a:cubicBezTo>
                <a:cubicBezTo>
                  <a:pt x="202" y="1948"/>
                  <a:pt x="200" y="1957"/>
                  <a:pt x="195" y="1964"/>
                </a:cubicBezTo>
                <a:cubicBezTo>
                  <a:pt x="190" y="1970"/>
                  <a:pt x="184" y="1973"/>
                  <a:pt x="176" y="1973"/>
                </a:cubicBezTo>
                <a:close/>
                <a:moveTo>
                  <a:pt x="177" y="1907"/>
                </a:moveTo>
                <a:cubicBezTo>
                  <a:pt x="168" y="1907"/>
                  <a:pt x="163" y="1917"/>
                  <a:pt x="163" y="1937"/>
                </a:cubicBezTo>
                <a:cubicBezTo>
                  <a:pt x="163" y="1955"/>
                  <a:pt x="168" y="1964"/>
                  <a:pt x="176" y="1964"/>
                </a:cubicBezTo>
                <a:cubicBezTo>
                  <a:pt x="185" y="1964"/>
                  <a:pt x="190" y="1955"/>
                  <a:pt x="190" y="1936"/>
                </a:cubicBezTo>
                <a:cubicBezTo>
                  <a:pt x="190" y="1916"/>
                  <a:pt x="185" y="1907"/>
                  <a:pt x="177" y="1907"/>
                </a:cubicBezTo>
                <a:close/>
                <a:moveTo>
                  <a:pt x="247" y="1973"/>
                </a:moveTo>
                <a:cubicBezTo>
                  <a:pt x="239" y="1973"/>
                  <a:pt x="233" y="1970"/>
                  <a:pt x="229" y="1964"/>
                </a:cubicBezTo>
                <a:cubicBezTo>
                  <a:pt x="225" y="1958"/>
                  <a:pt x="223" y="1949"/>
                  <a:pt x="223" y="1937"/>
                </a:cubicBezTo>
                <a:cubicBezTo>
                  <a:pt x="223" y="1924"/>
                  <a:pt x="225" y="1914"/>
                  <a:pt x="229" y="1908"/>
                </a:cubicBezTo>
                <a:cubicBezTo>
                  <a:pt x="234" y="1901"/>
                  <a:pt x="240" y="1897"/>
                  <a:pt x="249" y="1897"/>
                </a:cubicBezTo>
                <a:cubicBezTo>
                  <a:pt x="265" y="1897"/>
                  <a:pt x="273" y="1910"/>
                  <a:pt x="273" y="1935"/>
                </a:cubicBezTo>
                <a:cubicBezTo>
                  <a:pt x="273" y="1948"/>
                  <a:pt x="271" y="1957"/>
                  <a:pt x="266" y="1964"/>
                </a:cubicBezTo>
                <a:cubicBezTo>
                  <a:pt x="261" y="1970"/>
                  <a:pt x="255" y="1973"/>
                  <a:pt x="247" y="1973"/>
                </a:cubicBezTo>
                <a:close/>
                <a:moveTo>
                  <a:pt x="248" y="1907"/>
                </a:moveTo>
                <a:cubicBezTo>
                  <a:pt x="239" y="1907"/>
                  <a:pt x="234" y="1917"/>
                  <a:pt x="234" y="1937"/>
                </a:cubicBezTo>
                <a:cubicBezTo>
                  <a:pt x="234" y="1955"/>
                  <a:pt x="239" y="1964"/>
                  <a:pt x="247" y="1964"/>
                </a:cubicBezTo>
                <a:cubicBezTo>
                  <a:pt x="256" y="1964"/>
                  <a:pt x="261" y="1955"/>
                  <a:pt x="261" y="1936"/>
                </a:cubicBezTo>
                <a:cubicBezTo>
                  <a:pt x="261" y="1916"/>
                  <a:pt x="256" y="1907"/>
                  <a:pt x="248" y="1907"/>
                </a:cubicBezTo>
                <a:close/>
                <a:moveTo>
                  <a:pt x="459" y="1973"/>
                </a:moveTo>
                <a:cubicBezTo>
                  <a:pt x="452" y="1973"/>
                  <a:pt x="446" y="1970"/>
                  <a:pt x="442" y="1964"/>
                </a:cubicBezTo>
                <a:cubicBezTo>
                  <a:pt x="437" y="1958"/>
                  <a:pt x="435" y="1948"/>
                  <a:pt x="435" y="1937"/>
                </a:cubicBezTo>
                <a:cubicBezTo>
                  <a:pt x="435" y="1924"/>
                  <a:pt x="437" y="1914"/>
                  <a:pt x="442" y="1907"/>
                </a:cubicBezTo>
                <a:cubicBezTo>
                  <a:pt x="446" y="1900"/>
                  <a:pt x="453" y="1897"/>
                  <a:pt x="462" y="1897"/>
                </a:cubicBezTo>
                <a:cubicBezTo>
                  <a:pt x="478" y="1897"/>
                  <a:pt x="486" y="1910"/>
                  <a:pt x="486" y="1935"/>
                </a:cubicBezTo>
                <a:cubicBezTo>
                  <a:pt x="486" y="1948"/>
                  <a:pt x="483" y="1957"/>
                  <a:pt x="479" y="1964"/>
                </a:cubicBezTo>
                <a:cubicBezTo>
                  <a:pt x="474" y="1970"/>
                  <a:pt x="468" y="1973"/>
                  <a:pt x="459" y="1973"/>
                </a:cubicBezTo>
                <a:close/>
                <a:moveTo>
                  <a:pt x="461" y="1907"/>
                </a:moveTo>
                <a:cubicBezTo>
                  <a:pt x="452" y="1907"/>
                  <a:pt x="448" y="1916"/>
                  <a:pt x="448" y="1936"/>
                </a:cubicBezTo>
                <a:cubicBezTo>
                  <a:pt x="448" y="1954"/>
                  <a:pt x="452" y="1964"/>
                  <a:pt x="461" y="1964"/>
                </a:cubicBezTo>
                <a:cubicBezTo>
                  <a:pt x="469" y="1964"/>
                  <a:pt x="473" y="1954"/>
                  <a:pt x="473" y="1936"/>
                </a:cubicBezTo>
                <a:cubicBezTo>
                  <a:pt x="473" y="1916"/>
                  <a:pt x="470" y="1907"/>
                  <a:pt x="461" y="1907"/>
                </a:cubicBezTo>
                <a:close/>
                <a:moveTo>
                  <a:pt x="577" y="1973"/>
                </a:moveTo>
                <a:cubicBezTo>
                  <a:pt x="570" y="1973"/>
                  <a:pt x="564" y="1970"/>
                  <a:pt x="560" y="1964"/>
                </a:cubicBezTo>
                <a:cubicBezTo>
                  <a:pt x="555" y="1958"/>
                  <a:pt x="553" y="1948"/>
                  <a:pt x="553" y="1937"/>
                </a:cubicBezTo>
                <a:cubicBezTo>
                  <a:pt x="553" y="1924"/>
                  <a:pt x="555" y="1914"/>
                  <a:pt x="560" y="1907"/>
                </a:cubicBezTo>
                <a:cubicBezTo>
                  <a:pt x="564" y="1900"/>
                  <a:pt x="571" y="1897"/>
                  <a:pt x="580" y="1897"/>
                </a:cubicBezTo>
                <a:cubicBezTo>
                  <a:pt x="596" y="1897"/>
                  <a:pt x="604" y="1910"/>
                  <a:pt x="604" y="1935"/>
                </a:cubicBezTo>
                <a:cubicBezTo>
                  <a:pt x="604" y="1948"/>
                  <a:pt x="602" y="1957"/>
                  <a:pt x="597" y="1964"/>
                </a:cubicBezTo>
                <a:cubicBezTo>
                  <a:pt x="592" y="1970"/>
                  <a:pt x="586" y="1973"/>
                  <a:pt x="577" y="1973"/>
                </a:cubicBezTo>
                <a:close/>
                <a:moveTo>
                  <a:pt x="579" y="1907"/>
                </a:moveTo>
                <a:cubicBezTo>
                  <a:pt x="570" y="1907"/>
                  <a:pt x="566" y="1916"/>
                  <a:pt x="566" y="1936"/>
                </a:cubicBezTo>
                <a:cubicBezTo>
                  <a:pt x="566" y="1954"/>
                  <a:pt x="570" y="1964"/>
                  <a:pt x="579" y="1964"/>
                </a:cubicBezTo>
                <a:cubicBezTo>
                  <a:pt x="587" y="1964"/>
                  <a:pt x="591" y="1954"/>
                  <a:pt x="591" y="1936"/>
                </a:cubicBezTo>
                <a:cubicBezTo>
                  <a:pt x="591" y="1916"/>
                  <a:pt x="588" y="1907"/>
                  <a:pt x="579" y="1907"/>
                </a:cubicBezTo>
                <a:close/>
                <a:moveTo>
                  <a:pt x="533" y="1900"/>
                </a:moveTo>
                <a:cubicBezTo>
                  <a:pt x="533" y="1900"/>
                  <a:pt x="533" y="1900"/>
                  <a:pt x="533" y="1900"/>
                </a:cubicBezTo>
                <a:cubicBezTo>
                  <a:pt x="528" y="1900"/>
                  <a:pt x="528" y="1900"/>
                  <a:pt x="528" y="1900"/>
                </a:cubicBezTo>
                <a:cubicBezTo>
                  <a:pt x="526" y="1901"/>
                  <a:pt x="524" y="1903"/>
                  <a:pt x="522" y="1903"/>
                </a:cubicBezTo>
                <a:cubicBezTo>
                  <a:pt x="521" y="1905"/>
                  <a:pt x="518" y="1906"/>
                  <a:pt x="517" y="1906"/>
                </a:cubicBezTo>
                <a:cubicBezTo>
                  <a:pt x="516" y="1907"/>
                  <a:pt x="513" y="1908"/>
                  <a:pt x="512" y="1908"/>
                </a:cubicBezTo>
                <a:cubicBezTo>
                  <a:pt x="510" y="1909"/>
                  <a:pt x="508" y="1910"/>
                  <a:pt x="506" y="1911"/>
                </a:cubicBezTo>
                <a:cubicBezTo>
                  <a:pt x="506" y="1911"/>
                  <a:pt x="506" y="1911"/>
                  <a:pt x="506" y="1921"/>
                </a:cubicBezTo>
                <a:cubicBezTo>
                  <a:pt x="509" y="1920"/>
                  <a:pt x="512" y="1919"/>
                  <a:pt x="514" y="1918"/>
                </a:cubicBezTo>
                <a:cubicBezTo>
                  <a:pt x="517" y="1917"/>
                  <a:pt x="519" y="1916"/>
                  <a:pt x="521" y="1914"/>
                </a:cubicBezTo>
                <a:cubicBezTo>
                  <a:pt x="521" y="1914"/>
                  <a:pt x="521" y="1914"/>
                  <a:pt x="521" y="1973"/>
                </a:cubicBezTo>
                <a:cubicBezTo>
                  <a:pt x="521" y="1973"/>
                  <a:pt x="521" y="1973"/>
                  <a:pt x="533" y="1973"/>
                </a:cubicBezTo>
                <a:cubicBezTo>
                  <a:pt x="533" y="1973"/>
                  <a:pt x="533" y="1973"/>
                  <a:pt x="533" y="1900"/>
                </a:cubicBezTo>
                <a:close/>
                <a:moveTo>
                  <a:pt x="648" y="1973"/>
                </a:moveTo>
                <a:cubicBezTo>
                  <a:pt x="641" y="1973"/>
                  <a:pt x="635" y="1970"/>
                  <a:pt x="631" y="1964"/>
                </a:cubicBezTo>
                <a:cubicBezTo>
                  <a:pt x="627" y="1958"/>
                  <a:pt x="624" y="1949"/>
                  <a:pt x="624" y="1937"/>
                </a:cubicBezTo>
                <a:cubicBezTo>
                  <a:pt x="624" y="1924"/>
                  <a:pt x="627" y="1914"/>
                  <a:pt x="631" y="1908"/>
                </a:cubicBezTo>
                <a:cubicBezTo>
                  <a:pt x="635" y="1901"/>
                  <a:pt x="642" y="1897"/>
                  <a:pt x="651" y="1897"/>
                </a:cubicBezTo>
                <a:cubicBezTo>
                  <a:pt x="667" y="1897"/>
                  <a:pt x="675" y="1910"/>
                  <a:pt x="675" y="1935"/>
                </a:cubicBezTo>
                <a:cubicBezTo>
                  <a:pt x="675" y="1948"/>
                  <a:pt x="673" y="1957"/>
                  <a:pt x="668" y="1964"/>
                </a:cubicBezTo>
                <a:cubicBezTo>
                  <a:pt x="663" y="1970"/>
                  <a:pt x="657" y="1973"/>
                  <a:pt x="648" y="1973"/>
                </a:cubicBezTo>
                <a:close/>
                <a:moveTo>
                  <a:pt x="650" y="1907"/>
                </a:moveTo>
                <a:cubicBezTo>
                  <a:pt x="641" y="1907"/>
                  <a:pt x="636" y="1917"/>
                  <a:pt x="636" y="1937"/>
                </a:cubicBezTo>
                <a:cubicBezTo>
                  <a:pt x="636" y="1955"/>
                  <a:pt x="640" y="1964"/>
                  <a:pt x="649" y="1964"/>
                </a:cubicBezTo>
                <a:cubicBezTo>
                  <a:pt x="658" y="1964"/>
                  <a:pt x="662" y="1955"/>
                  <a:pt x="662" y="1936"/>
                </a:cubicBezTo>
                <a:cubicBezTo>
                  <a:pt x="662" y="1916"/>
                  <a:pt x="658" y="1907"/>
                  <a:pt x="650" y="1907"/>
                </a:cubicBezTo>
                <a:close/>
                <a:moveTo>
                  <a:pt x="696" y="1932"/>
                </a:moveTo>
                <a:cubicBezTo>
                  <a:pt x="696" y="1932"/>
                  <a:pt x="696" y="1932"/>
                  <a:pt x="696" y="1932"/>
                </a:cubicBezTo>
                <a:cubicBezTo>
                  <a:pt x="695" y="1940"/>
                  <a:pt x="695" y="1940"/>
                  <a:pt x="695" y="1940"/>
                </a:cubicBezTo>
                <a:cubicBezTo>
                  <a:pt x="702" y="1941"/>
                  <a:pt x="702" y="1944"/>
                  <a:pt x="702" y="1946"/>
                </a:cubicBezTo>
                <a:cubicBezTo>
                  <a:pt x="702" y="1948"/>
                  <a:pt x="702" y="1951"/>
                  <a:pt x="702" y="1953"/>
                </a:cubicBezTo>
                <a:cubicBezTo>
                  <a:pt x="702" y="1956"/>
                  <a:pt x="701" y="1958"/>
                  <a:pt x="701" y="1960"/>
                </a:cubicBezTo>
                <a:cubicBezTo>
                  <a:pt x="701" y="1970"/>
                  <a:pt x="707" y="1973"/>
                  <a:pt x="716" y="1973"/>
                </a:cubicBezTo>
                <a:cubicBezTo>
                  <a:pt x="716" y="1973"/>
                  <a:pt x="716" y="1973"/>
                  <a:pt x="719" y="1973"/>
                </a:cubicBezTo>
                <a:cubicBezTo>
                  <a:pt x="719" y="1973"/>
                  <a:pt x="719" y="1973"/>
                  <a:pt x="719" y="1964"/>
                </a:cubicBezTo>
                <a:cubicBezTo>
                  <a:pt x="719" y="1964"/>
                  <a:pt x="719" y="1964"/>
                  <a:pt x="718" y="1964"/>
                </a:cubicBezTo>
                <a:cubicBezTo>
                  <a:pt x="714" y="1964"/>
                  <a:pt x="713" y="1962"/>
                  <a:pt x="713" y="1958"/>
                </a:cubicBezTo>
                <a:cubicBezTo>
                  <a:pt x="713" y="1957"/>
                  <a:pt x="713" y="1955"/>
                  <a:pt x="713" y="1953"/>
                </a:cubicBezTo>
                <a:cubicBezTo>
                  <a:pt x="713" y="1952"/>
                  <a:pt x="714" y="1950"/>
                  <a:pt x="714" y="1947"/>
                </a:cubicBezTo>
                <a:cubicBezTo>
                  <a:pt x="714" y="1940"/>
                  <a:pt x="711" y="1937"/>
                  <a:pt x="705" y="1936"/>
                </a:cubicBezTo>
                <a:cubicBezTo>
                  <a:pt x="705" y="1936"/>
                  <a:pt x="705" y="1936"/>
                  <a:pt x="705" y="1936"/>
                </a:cubicBezTo>
                <a:cubicBezTo>
                  <a:pt x="711" y="1935"/>
                  <a:pt x="714" y="1932"/>
                  <a:pt x="714" y="1925"/>
                </a:cubicBezTo>
                <a:cubicBezTo>
                  <a:pt x="714" y="1922"/>
                  <a:pt x="713" y="1920"/>
                  <a:pt x="713" y="1919"/>
                </a:cubicBezTo>
                <a:cubicBezTo>
                  <a:pt x="713" y="1917"/>
                  <a:pt x="713" y="1915"/>
                  <a:pt x="713" y="1914"/>
                </a:cubicBezTo>
                <a:cubicBezTo>
                  <a:pt x="713" y="1910"/>
                  <a:pt x="714" y="1908"/>
                  <a:pt x="718" y="1908"/>
                </a:cubicBezTo>
                <a:cubicBezTo>
                  <a:pt x="718" y="1908"/>
                  <a:pt x="718" y="1908"/>
                  <a:pt x="719" y="1908"/>
                </a:cubicBezTo>
                <a:cubicBezTo>
                  <a:pt x="719" y="1908"/>
                  <a:pt x="719" y="1908"/>
                  <a:pt x="719" y="1899"/>
                </a:cubicBezTo>
                <a:cubicBezTo>
                  <a:pt x="719" y="1899"/>
                  <a:pt x="719" y="1899"/>
                  <a:pt x="716" y="1899"/>
                </a:cubicBezTo>
                <a:cubicBezTo>
                  <a:pt x="707" y="1899"/>
                  <a:pt x="701" y="1903"/>
                  <a:pt x="701" y="1911"/>
                </a:cubicBezTo>
                <a:cubicBezTo>
                  <a:pt x="701" y="1914"/>
                  <a:pt x="702" y="1916"/>
                  <a:pt x="702" y="1919"/>
                </a:cubicBezTo>
                <a:cubicBezTo>
                  <a:pt x="702" y="1921"/>
                  <a:pt x="702" y="1924"/>
                  <a:pt x="702" y="1926"/>
                </a:cubicBezTo>
                <a:cubicBezTo>
                  <a:pt x="702" y="1928"/>
                  <a:pt x="702" y="1932"/>
                  <a:pt x="696" y="1932"/>
                </a:cubicBezTo>
                <a:close/>
                <a:moveTo>
                  <a:pt x="751" y="1940"/>
                </a:moveTo>
                <a:cubicBezTo>
                  <a:pt x="751" y="1940"/>
                  <a:pt x="751" y="1940"/>
                  <a:pt x="751" y="1940"/>
                </a:cubicBezTo>
                <a:cubicBezTo>
                  <a:pt x="751" y="1932"/>
                  <a:pt x="751" y="1932"/>
                  <a:pt x="751" y="1932"/>
                </a:cubicBezTo>
                <a:cubicBezTo>
                  <a:pt x="744" y="1932"/>
                  <a:pt x="744" y="1928"/>
                  <a:pt x="744" y="1926"/>
                </a:cubicBezTo>
                <a:cubicBezTo>
                  <a:pt x="744" y="1924"/>
                  <a:pt x="744" y="1921"/>
                  <a:pt x="744" y="1919"/>
                </a:cubicBezTo>
                <a:cubicBezTo>
                  <a:pt x="745" y="1916"/>
                  <a:pt x="745" y="1914"/>
                  <a:pt x="745" y="1911"/>
                </a:cubicBezTo>
                <a:cubicBezTo>
                  <a:pt x="745" y="1903"/>
                  <a:pt x="739" y="1899"/>
                  <a:pt x="730" y="1899"/>
                </a:cubicBezTo>
                <a:cubicBezTo>
                  <a:pt x="730" y="1899"/>
                  <a:pt x="730" y="1899"/>
                  <a:pt x="726" y="1899"/>
                </a:cubicBezTo>
                <a:cubicBezTo>
                  <a:pt x="726" y="1899"/>
                  <a:pt x="726" y="1899"/>
                  <a:pt x="726" y="1908"/>
                </a:cubicBezTo>
                <a:cubicBezTo>
                  <a:pt x="726" y="1908"/>
                  <a:pt x="726" y="1908"/>
                  <a:pt x="728" y="1908"/>
                </a:cubicBezTo>
                <a:cubicBezTo>
                  <a:pt x="731" y="1908"/>
                  <a:pt x="733" y="1910"/>
                  <a:pt x="733" y="1914"/>
                </a:cubicBezTo>
                <a:cubicBezTo>
                  <a:pt x="733" y="1915"/>
                  <a:pt x="732" y="1917"/>
                  <a:pt x="732" y="1919"/>
                </a:cubicBezTo>
                <a:cubicBezTo>
                  <a:pt x="732" y="1920"/>
                  <a:pt x="732" y="1922"/>
                  <a:pt x="732" y="1925"/>
                </a:cubicBezTo>
                <a:cubicBezTo>
                  <a:pt x="732" y="1932"/>
                  <a:pt x="735" y="1935"/>
                  <a:pt x="741" y="1936"/>
                </a:cubicBezTo>
                <a:cubicBezTo>
                  <a:pt x="741" y="1936"/>
                  <a:pt x="741" y="1936"/>
                  <a:pt x="741" y="1936"/>
                </a:cubicBezTo>
                <a:cubicBezTo>
                  <a:pt x="735" y="1937"/>
                  <a:pt x="732" y="1940"/>
                  <a:pt x="732" y="1947"/>
                </a:cubicBezTo>
                <a:cubicBezTo>
                  <a:pt x="732" y="1950"/>
                  <a:pt x="732" y="1952"/>
                  <a:pt x="732" y="1953"/>
                </a:cubicBezTo>
                <a:cubicBezTo>
                  <a:pt x="732" y="1955"/>
                  <a:pt x="733" y="1957"/>
                  <a:pt x="733" y="1958"/>
                </a:cubicBezTo>
                <a:cubicBezTo>
                  <a:pt x="733" y="1962"/>
                  <a:pt x="732" y="1964"/>
                  <a:pt x="728" y="1964"/>
                </a:cubicBezTo>
                <a:cubicBezTo>
                  <a:pt x="728" y="1964"/>
                  <a:pt x="728" y="1964"/>
                  <a:pt x="726" y="1964"/>
                </a:cubicBezTo>
                <a:cubicBezTo>
                  <a:pt x="726" y="1964"/>
                  <a:pt x="726" y="1964"/>
                  <a:pt x="726" y="1973"/>
                </a:cubicBezTo>
                <a:cubicBezTo>
                  <a:pt x="726" y="1973"/>
                  <a:pt x="726" y="1973"/>
                  <a:pt x="730" y="1973"/>
                </a:cubicBezTo>
                <a:cubicBezTo>
                  <a:pt x="739" y="1973"/>
                  <a:pt x="745" y="1970"/>
                  <a:pt x="745" y="1960"/>
                </a:cubicBezTo>
                <a:cubicBezTo>
                  <a:pt x="745" y="1958"/>
                  <a:pt x="745" y="1956"/>
                  <a:pt x="744" y="1953"/>
                </a:cubicBezTo>
                <a:cubicBezTo>
                  <a:pt x="744" y="1951"/>
                  <a:pt x="744" y="1948"/>
                  <a:pt x="744" y="1946"/>
                </a:cubicBezTo>
                <a:cubicBezTo>
                  <a:pt x="744" y="1944"/>
                  <a:pt x="744" y="1941"/>
                  <a:pt x="751" y="1940"/>
                </a:cubicBezTo>
                <a:close/>
                <a:moveTo>
                  <a:pt x="871" y="1973"/>
                </a:moveTo>
                <a:cubicBezTo>
                  <a:pt x="863" y="1973"/>
                  <a:pt x="857" y="1970"/>
                  <a:pt x="852" y="1964"/>
                </a:cubicBezTo>
                <a:cubicBezTo>
                  <a:pt x="849" y="1958"/>
                  <a:pt x="847" y="1949"/>
                  <a:pt x="847" y="1937"/>
                </a:cubicBezTo>
                <a:cubicBezTo>
                  <a:pt x="847" y="1924"/>
                  <a:pt x="849" y="1914"/>
                  <a:pt x="853" y="1908"/>
                </a:cubicBezTo>
                <a:cubicBezTo>
                  <a:pt x="858" y="1901"/>
                  <a:pt x="864" y="1897"/>
                  <a:pt x="873" y="1897"/>
                </a:cubicBezTo>
                <a:cubicBezTo>
                  <a:pt x="889" y="1897"/>
                  <a:pt x="897" y="1910"/>
                  <a:pt x="897" y="1935"/>
                </a:cubicBezTo>
                <a:cubicBezTo>
                  <a:pt x="897" y="1948"/>
                  <a:pt x="895" y="1957"/>
                  <a:pt x="890" y="1964"/>
                </a:cubicBezTo>
                <a:cubicBezTo>
                  <a:pt x="885" y="1970"/>
                  <a:pt x="879" y="1973"/>
                  <a:pt x="871" y="1973"/>
                </a:cubicBezTo>
                <a:close/>
                <a:moveTo>
                  <a:pt x="872" y="1907"/>
                </a:moveTo>
                <a:cubicBezTo>
                  <a:pt x="863" y="1907"/>
                  <a:pt x="858" y="1917"/>
                  <a:pt x="858" y="1937"/>
                </a:cubicBezTo>
                <a:cubicBezTo>
                  <a:pt x="858" y="1955"/>
                  <a:pt x="863" y="1964"/>
                  <a:pt x="871" y="1964"/>
                </a:cubicBezTo>
                <a:cubicBezTo>
                  <a:pt x="880" y="1964"/>
                  <a:pt x="885" y="1955"/>
                  <a:pt x="885" y="1936"/>
                </a:cubicBezTo>
                <a:cubicBezTo>
                  <a:pt x="885" y="1916"/>
                  <a:pt x="880" y="1907"/>
                  <a:pt x="872" y="1907"/>
                </a:cubicBezTo>
                <a:close/>
                <a:moveTo>
                  <a:pt x="944" y="1900"/>
                </a:moveTo>
                <a:cubicBezTo>
                  <a:pt x="944" y="1900"/>
                  <a:pt x="944" y="1900"/>
                  <a:pt x="944" y="1900"/>
                </a:cubicBezTo>
                <a:cubicBezTo>
                  <a:pt x="939" y="1900"/>
                  <a:pt x="939" y="1900"/>
                  <a:pt x="939" y="1900"/>
                </a:cubicBezTo>
                <a:cubicBezTo>
                  <a:pt x="937" y="1901"/>
                  <a:pt x="936" y="1903"/>
                  <a:pt x="934" y="1903"/>
                </a:cubicBezTo>
                <a:cubicBezTo>
                  <a:pt x="932" y="1905"/>
                  <a:pt x="930" y="1906"/>
                  <a:pt x="929" y="1906"/>
                </a:cubicBezTo>
                <a:cubicBezTo>
                  <a:pt x="926" y="1907"/>
                  <a:pt x="925" y="1908"/>
                  <a:pt x="923" y="1908"/>
                </a:cubicBezTo>
                <a:cubicBezTo>
                  <a:pt x="921" y="1909"/>
                  <a:pt x="920" y="1910"/>
                  <a:pt x="918" y="1911"/>
                </a:cubicBezTo>
                <a:cubicBezTo>
                  <a:pt x="918" y="1911"/>
                  <a:pt x="918" y="1911"/>
                  <a:pt x="918" y="1921"/>
                </a:cubicBezTo>
                <a:cubicBezTo>
                  <a:pt x="921" y="1920"/>
                  <a:pt x="923" y="1919"/>
                  <a:pt x="926" y="1918"/>
                </a:cubicBezTo>
                <a:cubicBezTo>
                  <a:pt x="929" y="1917"/>
                  <a:pt x="931" y="1916"/>
                  <a:pt x="933" y="1914"/>
                </a:cubicBezTo>
                <a:cubicBezTo>
                  <a:pt x="933" y="1914"/>
                  <a:pt x="933" y="1914"/>
                  <a:pt x="933" y="1973"/>
                </a:cubicBezTo>
                <a:cubicBezTo>
                  <a:pt x="933" y="1973"/>
                  <a:pt x="933" y="1973"/>
                  <a:pt x="944" y="1973"/>
                </a:cubicBezTo>
                <a:cubicBezTo>
                  <a:pt x="944" y="1973"/>
                  <a:pt x="944" y="1973"/>
                  <a:pt x="944" y="1900"/>
                </a:cubicBezTo>
                <a:close/>
                <a:moveTo>
                  <a:pt x="777" y="1973"/>
                </a:moveTo>
                <a:cubicBezTo>
                  <a:pt x="780" y="1954"/>
                  <a:pt x="780" y="1954"/>
                  <a:pt x="780" y="1954"/>
                </a:cubicBezTo>
                <a:cubicBezTo>
                  <a:pt x="771" y="1954"/>
                  <a:pt x="771" y="1954"/>
                  <a:pt x="771" y="1954"/>
                </a:cubicBezTo>
                <a:cubicBezTo>
                  <a:pt x="771" y="1942"/>
                  <a:pt x="771" y="1942"/>
                  <a:pt x="771" y="1942"/>
                </a:cubicBezTo>
                <a:cubicBezTo>
                  <a:pt x="782" y="1942"/>
                  <a:pt x="782" y="1942"/>
                  <a:pt x="782" y="1942"/>
                </a:cubicBezTo>
                <a:cubicBezTo>
                  <a:pt x="783" y="1931"/>
                  <a:pt x="783" y="1931"/>
                  <a:pt x="783" y="1931"/>
                </a:cubicBezTo>
                <a:cubicBezTo>
                  <a:pt x="774" y="1931"/>
                  <a:pt x="774" y="1931"/>
                  <a:pt x="774" y="1931"/>
                </a:cubicBezTo>
                <a:cubicBezTo>
                  <a:pt x="774" y="1919"/>
                  <a:pt x="774" y="1919"/>
                  <a:pt x="774" y="1919"/>
                </a:cubicBezTo>
                <a:cubicBezTo>
                  <a:pt x="785" y="1919"/>
                  <a:pt x="785" y="1919"/>
                  <a:pt x="785" y="1919"/>
                </a:cubicBezTo>
                <a:cubicBezTo>
                  <a:pt x="788" y="1901"/>
                  <a:pt x="788" y="1901"/>
                  <a:pt x="788" y="1901"/>
                </a:cubicBezTo>
                <a:cubicBezTo>
                  <a:pt x="799" y="1901"/>
                  <a:pt x="799" y="1901"/>
                  <a:pt x="799" y="1901"/>
                </a:cubicBezTo>
                <a:cubicBezTo>
                  <a:pt x="796" y="1919"/>
                  <a:pt x="796" y="1919"/>
                  <a:pt x="796" y="1919"/>
                </a:cubicBezTo>
                <a:cubicBezTo>
                  <a:pt x="806" y="1919"/>
                  <a:pt x="806" y="1919"/>
                  <a:pt x="806" y="1919"/>
                </a:cubicBezTo>
                <a:cubicBezTo>
                  <a:pt x="809" y="1901"/>
                  <a:pt x="809" y="1901"/>
                  <a:pt x="809" y="1901"/>
                </a:cubicBezTo>
                <a:cubicBezTo>
                  <a:pt x="820" y="1901"/>
                  <a:pt x="820" y="1901"/>
                  <a:pt x="820" y="1901"/>
                </a:cubicBezTo>
                <a:cubicBezTo>
                  <a:pt x="817" y="1919"/>
                  <a:pt x="817" y="1919"/>
                  <a:pt x="817" y="1919"/>
                </a:cubicBezTo>
                <a:cubicBezTo>
                  <a:pt x="826" y="1919"/>
                  <a:pt x="826" y="1919"/>
                  <a:pt x="826" y="1919"/>
                </a:cubicBezTo>
                <a:cubicBezTo>
                  <a:pt x="826" y="1931"/>
                  <a:pt x="826" y="1931"/>
                  <a:pt x="826" y="1931"/>
                </a:cubicBezTo>
                <a:cubicBezTo>
                  <a:pt x="815" y="1931"/>
                  <a:pt x="815" y="1931"/>
                  <a:pt x="815" y="1931"/>
                </a:cubicBezTo>
                <a:cubicBezTo>
                  <a:pt x="813" y="1942"/>
                  <a:pt x="813" y="1942"/>
                  <a:pt x="813" y="1942"/>
                </a:cubicBezTo>
                <a:cubicBezTo>
                  <a:pt x="823" y="1942"/>
                  <a:pt x="823" y="1942"/>
                  <a:pt x="823" y="1942"/>
                </a:cubicBezTo>
                <a:cubicBezTo>
                  <a:pt x="823" y="1954"/>
                  <a:pt x="823" y="1954"/>
                  <a:pt x="823" y="1954"/>
                </a:cubicBezTo>
                <a:cubicBezTo>
                  <a:pt x="812" y="1954"/>
                  <a:pt x="812" y="1954"/>
                  <a:pt x="812" y="1954"/>
                </a:cubicBezTo>
                <a:cubicBezTo>
                  <a:pt x="809" y="1973"/>
                  <a:pt x="809" y="1973"/>
                  <a:pt x="809" y="1973"/>
                </a:cubicBezTo>
                <a:cubicBezTo>
                  <a:pt x="798" y="1973"/>
                  <a:pt x="798" y="1973"/>
                  <a:pt x="798" y="1973"/>
                </a:cubicBezTo>
                <a:cubicBezTo>
                  <a:pt x="801" y="1954"/>
                  <a:pt x="801" y="1954"/>
                  <a:pt x="801" y="1954"/>
                </a:cubicBezTo>
                <a:cubicBezTo>
                  <a:pt x="791" y="1954"/>
                  <a:pt x="791" y="1954"/>
                  <a:pt x="791" y="1954"/>
                </a:cubicBezTo>
                <a:cubicBezTo>
                  <a:pt x="788" y="1973"/>
                  <a:pt x="788" y="1973"/>
                  <a:pt x="788" y="1973"/>
                </a:cubicBezTo>
                <a:cubicBezTo>
                  <a:pt x="777" y="1973"/>
                  <a:pt x="777" y="1973"/>
                  <a:pt x="777" y="1973"/>
                </a:cubicBezTo>
                <a:cubicBezTo>
                  <a:pt x="777" y="1973"/>
                  <a:pt x="777" y="1973"/>
                  <a:pt x="777" y="1973"/>
                </a:cubicBezTo>
                <a:close/>
                <a:moveTo>
                  <a:pt x="802" y="1942"/>
                </a:moveTo>
                <a:cubicBezTo>
                  <a:pt x="804" y="1931"/>
                  <a:pt x="804" y="1931"/>
                  <a:pt x="804" y="1931"/>
                </a:cubicBezTo>
                <a:cubicBezTo>
                  <a:pt x="794" y="1931"/>
                  <a:pt x="794" y="1931"/>
                  <a:pt x="794" y="1931"/>
                </a:cubicBezTo>
                <a:cubicBezTo>
                  <a:pt x="793" y="1942"/>
                  <a:pt x="793" y="1942"/>
                  <a:pt x="793" y="1942"/>
                </a:cubicBezTo>
                <a:cubicBezTo>
                  <a:pt x="802" y="1942"/>
                  <a:pt x="802" y="1942"/>
                  <a:pt x="802" y="1942"/>
                </a:cubicBezTo>
                <a:cubicBezTo>
                  <a:pt x="802" y="1942"/>
                  <a:pt x="802" y="1942"/>
                  <a:pt x="802" y="1942"/>
                </a:cubicBezTo>
                <a:close/>
                <a:moveTo>
                  <a:pt x="320" y="1900"/>
                </a:moveTo>
                <a:cubicBezTo>
                  <a:pt x="320" y="1900"/>
                  <a:pt x="320" y="1900"/>
                  <a:pt x="320" y="1900"/>
                </a:cubicBezTo>
                <a:cubicBezTo>
                  <a:pt x="315" y="1900"/>
                  <a:pt x="315" y="1900"/>
                  <a:pt x="315" y="1900"/>
                </a:cubicBezTo>
                <a:cubicBezTo>
                  <a:pt x="313" y="1901"/>
                  <a:pt x="312" y="1903"/>
                  <a:pt x="310" y="1903"/>
                </a:cubicBezTo>
                <a:cubicBezTo>
                  <a:pt x="308" y="1905"/>
                  <a:pt x="307" y="1906"/>
                  <a:pt x="305" y="1906"/>
                </a:cubicBezTo>
                <a:cubicBezTo>
                  <a:pt x="303" y="1908"/>
                  <a:pt x="301" y="1908"/>
                  <a:pt x="299" y="1909"/>
                </a:cubicBezTo>
                <a:cubicBezTo>
                  <a:pt x="297" y="1910"/>
                  <a:pt x="296" y="1911"/>
                  <a:pt x="294" y="1911"/>
                </a:cubicBezTo>
                <a:cubicBezTo>
                  <a:pt x="294" y="1911"/>
                  <a:pt x="294" y="1911"/>
                  <a:pt x="294" y="1921"/>
                </a:cubicBezTo>
                <a:cubicBezTo>
                  <a:pt x="297" y="1920"/>
                  <a:pt x="299" y="1919"/>
                  <a:pt x="302" y="1918"/>
                </a:cubicBezTo>
                <a:cubicBezTo>
                  <a:pt x="305" y="1917"/>
                  <a:pt x="307" y="1916"/>
                  <a:pt x="309" y="1914"/>
                </a:cubicBezTo>
                <a:cubicBezTo>
                  <a:pt x="309" y="1914"/>
                  <a:pt x="309" y="1914"/>
                  <a:pt x="309" y="1973"/>
                </a:cubicBezTo>
                <a:cubicBezTo>
                  <a:pt x="309" y="1973"/>
                  <a:pt x="309" y="1973"/>
                  <a:pt x="320" y="1973"/>
                </a:cubicBezTo>
                <a:cubicBezTo>
                  <a:pt x="320" y="1973"/>
                  <a:pt x="320" y="1973"/>
                  <a:pt x="320" y="1900"/>
                </a:cubicBezTo>
                <a:close/>
                <a:moveTo>
                  <a:pt x="368" y="1900"/>
                </a:moveTo>
                <a:cubicBezTo>
                  <a:pt x="368" y="1900"/>
                  <a:pt x="368" y="1900"/>
                  <a:pt x="368" y="1900"/>
                </a:cubicBezTo>
                <a:cubicBezTo>
                  <a:pt x="363" y="1900"/>
                  <a:pt x="363" y="1900"/>
                  <a:pt x="363" y="1900"/>
                </a:cubicBezTo>
                <a:cubicBezTo>
                  <a:pt x="361" y="1901"/>
                  <a:pt x="359" y="1903"/>
                  <a:pt x="357" y="1903"/>
                </a:cubicBezTo>
                <a:cubicBezTo>
                  <a:pt x="356" y="1905"/>
                  <a:pt x="353" y="1906"/>
                  <a:pt x="352" y="1906"/>
                </a:cubicBezTo>
                <a:cubicBezTo>
                  <a:pt x="351" y="1908"/>
                  <a:pt x="348" y="1908"/>
                  <a:pt x="347" y="1909"/>
                </a:cubicBezTo>
                <a:cubicBezTo>
                  <a:pt x="345" y="1910"/>
                  <a:pt x="343" y="1911"/>
                  <a:pt x="341" y="1911"/>
                </a:cubicBezTo>
                <a:cubicBezTo>
                  <a:pt x="341" y="1911"/>
                  <a:pt x="341" y="1911"/>
                  <a:pt x="341" y="1921"/>
                </a:cubicBezTo>
                <a:cubicBezTo>
                  <a:pt x="344" y="1920"/>
                  <a:pt x="347" y="1919"/>
                  <a:pt x="349" y="1918"/>
                </a:cubicBezTo>
                <a:cubicBezTo>
                  <a:pt x="352" y="1917"/>
                  <a:pt x="354" y="1916"/>
                  <a:pt x="356" y="1914"/>
                </a:cubicBezTo>
                <a:cubicBezTo>
                  <a:pt x="356" y="1914"/>
                  <a:pt x="356" y="1914"/>
                  <a:pt x="356" y="1973"/>
                </a:cubicBezTo>
                <a:cubicBezTo>
                  <a:pt x="356" y="1973"/>
                  <a:pt x="356" y="1973"/>
                  <a:pt x="368" y="1973"/>
                </a:cubicBezTo>
                <a:cubicBezTo>
                  <a:pt x="368" y="1973"/>
                  <a:pt x="368" y="1973"/>
                  <a:pt x="368" y="1900"/>
                </a:cubicBezTo>
                <a:close/>
                <a:moveTo>
                  <a:pt x="415" y="1900"/>
                </a:moveTo>
                <a:cubicBezTo>
                  <a:pt x="415" y="1900"/>
                  <a:pt x="415" y="1900"/>
                  <a:pt x="415" y="1900"/>
                </a:cubicBezTo>
                <a:cubicBezTo>
                  <a:pt x="410" y="1900"/>
                  <a:pt x="410" y="1900"/>
                  <a:pt x="410" y="1900"/>
                </a:cubicBezTo>
                <a:cubicBezTo>
                  <a:pt x="408" y="1901"/>
                  <a:pt x="407" y="1903"/>
                  <a:pt x="404" y="1903"/>
                </a:cubicBezTo>
                <a:cubicBezTo>
                  <a:pt x="403" y="1905"/>
                  <a:pt x="401" y="1906"/>
                  <a:pt x="399" y="1906"/>
                </a:cubicBezTo>
                <a:cubicBezTo>
                  <a:pt x="397" y="1907"/>
                  <a:pt x="396" y="1908"/>
                  <a:pt x="394" y="1908"/>
                </a:cubicBezTo>
                <a:cubicBezTo>
                  <a:pt x="392" y="1909"/>
                  <a:pt x="390" y="1910"/>
                  <a:pt x="389" y="1911"/>
                </a:cubicBezTo>
                <a:cubicBezTo>
                  <a:pt x="389" y="1911"/>
                  <a:pt x="389" y="1911"/>
                  <a:pt x="389" y="1921"/>
                </a:cubicBezTo>
                <a:cubicBezTo>
                  <a:pt x="392" y="1920"/>
                  <a:pt x="394" y="1919"/>
                  <a:pt x="397" y="1918"/>
                </a:cubicBezTo>
                <a:cubicBezTo>
                  <a:pt x="399" y="1917"/>
                  <a:pt x="402" y="1916"/>
                  <a:pt x="403" y="1914"/>
                </a:cubicBezTo>
                <a:cubicBezTo>
                  <a:pt x="403" y="1914"/>
                  <a:pt x="403" y="1914"/>
                  <a:pt x="403" y="1973"/>
                </a:cubicBezTo>
                <a:cubicBezTo>
                  <a:pt x="403" y="1973"/>
                  <a:pt x="403" y="1973"/>
                  <a:pt x="415" y="1973"/>
                </a:cubicBezTo>
                <a:cubicBezTo>
                  <a:pt x="415" y="1973"/>
                  <a:pt x="415" y="1973"/>
                  <a:pt x="415" y="1900"/>
                </a:cubicBezTo>
                <a:close/>
                <a:moveTo>
                  <a:pt x="622" y="1804"/>
                </a:moveTo>
                <a:cubicBezTo>
                  <a:pt x="622" y="1804"/>
                  <a:pt x="622" y="1804"/>
                  <a:pt x="622" y="1804"/>
                </a:cubicBezTo>
                <a:cubicBezTo>
                  <a:pt x="617" y="1804"/>
                  <a:pt x="617" y="1804"/>
                  <a:pt x="617" y="1804"/>
                </a:cubicBezTo>
                <a:cubicBezTo>
                  <a:pt x="615" y="1806"/>
                  <a:pt x="613" y="1807"/>
                  <a:pt x="611" y="1808"/>
                </a:cubicBezTo>
                <a:cubicBezTo>
                  <a:pt x="610" y="1809"/>
                  <a:pt x="607" y="1810"/>
                  <a:pt x="606" y="1811"/>
                </a:cubicBezTo>
                <a:cubicBezTo>
                  <a:pt x="604" y="1811"/>
                  <a:pt x="602" y="1812"/>
                  <a:pt x="601" y="1813"/>
                </a:cubicBezTo>
                <a:cubicBezTo>
                  <a:pt x="599" y="1814"/>
                  <a:pt x="597" y="1814"/>
                  <a:pt x="595" y="1815"/>
                </a:cubicBezTo>
                <a:cubicBezTo>
                  <a:pt x="595" y="1815"/>
                  <a:pt x="595" y="1815"/>
                  <a:pt x="595" y="1825"/>
                </a:cubicBezTo>
                <a:cubicBezTo>
                  <a:pt x="598" y="1824"/>
                  <a:pt x="601" y="1823"/>
                  <a:pt x="603" y="1822"/>
                </a:cubicBezTo>
                <a:cubicBezTo>
                  <a:pt x="606" y="1822"/>
                  <a:pt x="608" y="1820"/>
                  <a:pt x="610" y="1819"/>
                </a:cubicBezTo>
                <a:cubicBezTo>
                  <a:pt x="610" y="1819"/>
                  <a:pt x="610" y="1819"/>
                  <a:pt x="610" y="1877"/>
                </a:cubicBezTo>
                <a:cubicBezTo>
                  <a:pt x="610" y="1877"/>
                  <a:pt x="610" y="1877"/>
                  <a:pt x="622" y="1877"/>
                </a:cubicBezTo>
                <a:cubicBezTo>
                  <a:pt x="622" y="1877"/>
                  <a:pt x="622" y="1877"/>
                  <a:pt x="622" y="1804"/>
                </a:cubicBezTo>
                <a:close/>
                <a:moveTo>
                  <a:pt x="668" y="1804"/>
                </a:moveTo>
                <a:cubicBezTo>
                  <a:pt x="668" y="1804"/>
                  <a:pt x="668" y="1804"/>
                  <a:pt x="668" y="1804"/>
                </a:cubicBezTo>
                <a:cubicBezTo>
                  <a:pt x="663" y="1804"/>
                  <a:pt x="663" y="1804"/>
                  <a:pt x="663" y="1804"/>
                </a:cubicBezTo>
                <a:cubicBezTo>
                  <a:pt x="661" y="1806"/>
                  <a:pt x="660" y="1807"/>
                  <a:pt x="658" y="1808"/>
                </a:cubicBezTo>
                <a:cubicBezTo>
                  <a:pt x="656" y="1809"/>
                  <a:pt x="654" y="1810"/>
                  <a:pt x="653" y="1811"/>
                </a:cubicBezTo>
                <a:cubicBezTo>
                  <a:pt x="651" y="1812"/>
                  <a:pt x="649" y="1813"/>
                  <a:pt x="647" y="1814"/>
                </a:cubicBezTo>
                <a:cubicBezTo>
                  <a:pt x="645" y="1814"/>
                  <a:pt x="644" y="1815"/>
                  <a:pt x="642" y="1815"/>
                </a:cubicBezTo>
                <a:cubicBezTo>
                  <a:pt x="642" y="1815"/>
                  <a:pt x="642" y="1815"/>
                  <a:pt x="642" y="1825"/>
                </a:cubicBezTo>
                <a:cubicBezTo>
                  <a:pt x="645" y="1824"/>
                  <a:pt x="647" y="1824"/>
                  <a:pt x="650" y="1822"/>
                </a:cubicBezTo>
                <a:cubicBezTo>
                  <a:pt x="653" y="1822"/>
                  <a:pt x="655" y="1820"/>
                  <a:pt x="657" y="1819"/>
                </a:cubicBezTo>
                <a:cubicBezTo>
                  <a:pt x="657" y="1819"/>
                  <a:pt x="657" y="1819"/>
                  <a:pt x="657" y="1877"/>
                </a:cubicBezTo>
                <a:cubicBezTo>
                  <a:pt x="657" y="1877"/>
                  <a:pt x="657" y="1877"/>
                  <a:pt x="668" y="1877"/>
                </a:cubicBezTo>
                <a:cubicBezTo>
                  <a:pt x="668" y="1877"/>
                  <a:pt x="668" y="1877"/>
                  <a:pt x="668" y="1804"/>
                </a:cubicBezTo>
                <a:close/>
                <a:moveTo>
                  <a:pt x="714" y="1804"/>
                </a:moveTo>
                <a:cubicBezTo>
                  <a:pt x="714" y="1804"/>
                  <a:pt x="714" y="1804"/>
                  <a:pt x="714" y="1804"/>
                </a:cubicBezTo>
                <a:cubicBezTo>
                  <a:pt x="710" y="1804"/>
                  <a:pt x="710" y="1804"/>
                  <a:pt x="710" y="1804"/>
                </a:cubicBezTo>
                <a:cubicBezTo>
                  <a:pt x="708" y="1806"/>
                  <a:pt x="706" y="1807"/>
                  <a:pt x="704" y="1808"/>
                </a:cubicBezTo>
                <a:cubicBezTo>
                  <a:pt x="703" y="1809"/>
                  <a:pt x="700" y="1810"/>
                  <a:pt x="699" y="1811"/>
                </a:cubicBezTo>
                <a:cubicBezTo>
                  <a:pt x="697" y="1812"/>
                  <a:pt x="695" y="1813"/>
                  <a:pt x="693" y="1814"/>
                </a:cubicBezTo>
                <a:cubicBezTo>
                  <a:pt x="692" y="1814"/>
                  <a:pt x="690" y="1815"/>
                  <a:pt x="688" y="1815"/>
                </a:cubicBezTo>
                <a:cubicBezTo>
                  <a:pt x="688" y="1815"/>
                  <a:pt x="688" y="1815"/>
                  <a:pt x="688" y="1825"/>
                </a:cubicBezTo>
                <a:cubicBezTo>
                  <a:pt x="691" y="1824"/>
                  <a:pt x="694" y="1824"/>
                  <a:pt x="696" y="1822"/>
                </a:cubicBezTo>
                <a:cubicBezTo>
                  <a:pt x="698" y="1822"/>
                  <a:pt x="701" y="1820"/>
                  <a:pt x="703" y="1819"/>
                </a:cubicBezTo>
                <a:cubicBezTo>
                  <a:pt x="703" y="1819"/>
                  <a:pt x="703" y="1819"/>
                  <a:pt x="703" y="1877"/>
                </a:cubicBezTo>
                <a:cubicBezTo>
                  <a:pt x="703" y="1877"/>
                  <a:pt x="703" y="1877"/>
                  <a:pt x="714" y="1877"/>
                </a:cubicBezTo>
                <a:cubicBezTo>
                  <a:pt x="714" y="1877"/>
                  <a:pt x="714" y="1877"/>
                  <a:pt x="714" y="1804"/>
                </a:cubicBezTo>
                <a:close/>
                <a:moveTo>
                  <a:pt x="761" y="1804"/>
                </a:moveTo>
                <a:cubicBezTo>
                  <a:pt x="761" y="1804"/>
                  <a:pt x="761" y="1804"/>
                  <a:pt x="761" y="1804"/>
                </a:cubicBezTo>
                <a:cubicBezTo>
                  <a:pt x="756" y="1804"/>
                  <a:pt x="756" y="1804"/>
                  <a:pt x="756" y="1804"/>
                </a:cubicBezTo>
                <a:cubicBezTo>
                  <a:pt x="754" y="1806"/>
                  <a:pt x="752" y="1807"/>
                  <a:pt x="750" y="1808"/>
                </a:cubicBezTo>
                <a:cubicBezTo>
                  <a:pt x="749" y="1809"/>
                  <a:pt x="747" y="1810"/>
                  <a:pt x="745" y="1811"/>
                </a:cubicBezTo>
                <a:cubicBezTo>
                  <a:pt x="744" y="1812"/>
                  <a:pt x="742" y="1813"/>
                  <a:pt x="740" y="1814"/>
                </a:cubicBezTo>
                <a:cubicBezTo>
                  <a:pt x="738" y="1814"/>
                  <a:pt x="736" y="1815"/>
                  <a:pt x="734" y="1815"/>
                </a:cubicBezTo>
                <a:cubicBezTo>
                  <a:pt x="734" y="1815"/>
                  <a:pt x="734" y="1815"/>
                  <a:pt x="734" y="1825"/>
                </a:cubicBezTo>
                <a:cubicBezTo>
                  <a:pt x="737" y="1824"/>
                  <a:pt x="740" y="1824"/>
                  <a:pt x="742" y="1822"/>
                </a:cubicBezTo>
                <a:cubicBezTo>
                  <a:pt x="745" y="1822"/>
                  <a:pt x="747" y="1820"/>
                  <a:pt x="750" y="1819"/>
                </a:cubicBezTo>
                <a:cubicBezTo>
                  <a:pt x="750" y="1819"/>
                  <a:pt x="750" y="1819"/>
                  <a:pt x="750" y="1877"/>
                </a:cubicBezTo>
                <a:cubicBezTo>
                  <a:pt x="750" y="1877"/>
                  <a:pt x="750" y="1877"/>
                  <a:pt x="761" y="1877"/>
                </a:cubicBezTo>
                <a:cubicBezTo>
                  <a:pt x="761" y="1877"/>
                  <a:pt x="761" y="1877"/>
                  <a:pt x="761" y="1804"/>
                </a:cubicBezTo>
                <a:close/>
                <a:moveTo>
                  <a:pt x="883" y="1804"/>
                </a:moveTo>
                <a:cubicBezTo>
                  <a:pt x="883" y="1804"/>
                  <a:pt x="883" y="1804"/>
                  <a:pt x="883" y="1804"/>
                </a:cubicBezTo>
                <a:cubicBezTo>
                  <a:pt x="878" y="1804"/>
                  <a:pt x="878" y="1804"/>
                  <a:pt x="878" y="1804"/>
                </a:cubicBezTo>
                <a:cubicBezTo>
                  <a:pt x="876" y="1806"/>
                  <a:pt x="874" y="1807"/>
                  <a:pt x="872" y="1808"/>
                </a:cubicBezTo>
                <a:cubicBezTo>
                  <a:pt x="870" y="1809"/>
                  <a:pt x="869" y="1810"/>
                  <a:pt x="867" y="1811"/>
                </a:cubicBezTo>
                <a:cubicBezTo>
                  <a:pt x="865" y="1812"/>
                  <a:pt x="863" y="1813"/>
                  <a:pt x="862" y="1814"/>
                </a:cubicBezTo>
                <a:cubicBezTo>
                  <a:pt x="859" y="1814"/>
                  <a:pt x="858" y="1815"/>
                  <a:pt x="856" y="1815"/>
                </a:cubicBezTo>
                <a:cubicBezTo>
                  <a:pt x="856" y="1815"/>
                  <a:pt x="856" y="1815"/>
                  <a:pt x="856" y="1825"/>
                </a:cubicBezTo>
                <a:cubicBezTo>
                  <a:pt x="859" y="1824"/>
                  <a:pt x="862" y="1824"/>
                  <a:pt x="865" y="1822"/>
                </a:cubicBezTo>
                <a:cubicBezTo>
                  <a:pt x="867" y="1822"/>
                  <a:pt x="869" y="1820"/>
                  <a:pt x="871" y="1819"/>
                </a:cubicBezTo>
                <a:cubicBezTo>
                  <a:pt x="871" y="1819"/>
                  <a:pt x="871" y="1819"/>
                  <a:pt x="871" y="1877"/>
                </a:cubicBezTo>
                <a:cubicBezTo>
                  <a:pt x="871" y="1877"/>
                  <a:pt x="871" y="1877"/>
                  <a:pt x="883" y="1877"/>
                </a:cubicBezTo>
                <a:cubicBezTo>
                  <a:pt x="883" y="1877"/>
                  <a:pt x="883" y="1877"/>
                  <a:pt x="883" y="1804"/>
                </a:cubicBezTo>
                <a:close/>
                <a:moveTo>
                  <a:pt x="930" y="1804"/>
                </a:moveTo>
                <a:cubicBezTo>
                  <a:pt x="930" y="1804"/>
                  <a:pt x="930" y="1804"/>
                  <a:pt x="930" y="1804"/>
                </a:cubicBezTo>
                <a:cubicBezTo>
                  <a:pt x="925" y="1804"/>
                  <a:pt x="925" y="1804"/>
                  <a:pt x="925" y="1804"/>
                </a:cubicBezTo>
                <a:cubicBezTo>
                  <a:pt x="922" y="1806"/>
                  <a:pt x="921" y="1807"/>
                  <a:pt x="919" y="1808"/>
                </a:cubicBezTo>
                <a:cubicBezTo>
                  <a:pt x="917" y="1809"/>
                  <a:pt x="915" y="1810"/>
                  <a:pt x="914" y="1811"/>
                </a:cubicBezTo>
                <a:cubicBezTo>
                  <a:pt x="912" y="1812"/>
                  <a:pt x="910" y="1813"/>
                  <a:pt x="909" y="1814"/>
                </a:cubicBezTo>
                <a:cubicBezTo>
                  <a:pt x="906" y="1814"/>
                  <a:pt x="905" y="1815"/>
                  <a:pt x="903" y="1815"/>
                </a:cubicBezTo>
                <a:cubicBezTo>
                  <a:pt x="903" y="1815"/>
                  <a:pt x="903" y="1815"/>
                  <a:pt x="903" y="1825"/>
                </a:cubicBezTo>
                <a:cubicBezTo>
                  <a:pt x="906" y="1824"/>
                  <a:pt x="909" y="1824"/>
                  <a:pt x="911" y="1822"/>
                </a:cubicBezTo>
                <a:cubicBezTo>
                  <a:pt x="914" y="1822"/>
                  <a:pt x="916" y="1820"/>
                  <a:pt x="918" y="1819"/>
                </a:cubicBezTo>
                <a:cubicBezTo>
                  <a:pt x="918" y="1819"/>
                  <a:pt x="918" y="1819"/>
                  <a:pt x="918" y="1877"/>
                </a:cubicBezTo>
                <a:cubicBezTo>
                  <a:pt x="918" y="1877"/>
                  <a:pt x="918" y="1877"/>
                  <a:pt x="930" y="1877"/>
                </a:cubicBezTo>
                <a:cubicBezTo>
                  <a:pt x="930" y="1877"/>
                  <a:pt x="930" y="1877"/>
                  <a:pt x="930" y="1804"/>
                </a:cubicBezTo>
                <a:close/>
                <a:moveTo>
                  <a:pt x="781" y="1836"/>
                </a:moveTo>
                <a:cubicBezTo>
                  <a:pt x="781" y="1836"/>
                  <a:pt x="781" y="1836"/>
                  <a:pt x="781" y="1836"/>
                </a:cubicBezTo>
                <a:cubicBezTo>
                  <a:pt x="781" y="1844"/>
                  <a:pt x="781" y="1844"/>
                  <a:pt x="781" y="1844"/>
                </a:cubicBezTo>
                <a:cubicBezTo>
                  <a:pt x="787" y="1845"/>
                  <a:pt x="788" y="1848"/>
                  <a:pt x="788" y="1850"/>
                </a:cubicBezTo>
                <a:cubicBezTo>
                  <a:pt x="788" y="1853"/>
                  <a:pt x="788" y="1855"/>
                  <a:pt x="788" y="1857"/>
                </a:cubicBezTo>
                <a:cubicBezTo>
                  <a:pt x="787" y="1860"/>
                  <a:pt x="787" y="1862"/>
                  <a:pt x="787" y="1865"/>
                </a:cubicBezTo>
                <a:cubicBezTo>
                  <a:pt x="787" y="1874"/>
                  <a:pt x="793" y="1877"/>
                  <a:pt x="802" y="1877"/>
                </a:cubicBezTo>
                <a:cubicBezTo>
                  <a:pt x="802" y="1877"/>
                  <a:pt x="802" y="1877"/>
                  <a:pt x="805" y="1877"/>
                </a:cubicBezTo>
                <a:cubicBezTo>
                  <a:pt x="805" y="1877"/>
                  <a:pt x="805" y="1877"/>
                  <a:pt x="805" y="1868"/>
                </a:cubicBezTo>
                <a:cubicBezTo>
                  <a:pt x="805" y="1868"/>
                  <a:pt x="805" y="1868"/>
                  <a:pt x="804" y="1868"/>
                </a:cubicBezTo>
                <a:cubicBezTo>
                  <a:pt x="800" y="1868"/>
                  <a:pt x="799" y="1866"/>
                  <a:pt x="799" y="1862"/>
                </a:cubicBezTo>
                <a:cubicBezTo>
                  <a:pt x="799" y="1861"/>
                  <a:pt x="799" y="1859"/>
                  <a:pt x="799" y="1857"/>
                </a:cubicBezTo>
                <a:cubicBezTo>
                  <a:pt x="799" y="1856"/>
                  <a:pt x="800" y="1854"/>
                  <a:pt x="800" y="1852"/>
                </a:cubicBezTo>
                <a:cubicBezTo>
                  <a:pt x="800" y="1844"/>
                  <a:pt x="797" y="1842"/>
                  <a:pt x="791" y="1840"/>
                </a:cubicBezTo>
                <a:cubicBezTo>
                  <a:pt x="791" y="1840"/>
                  <a:pt x="791" y="1840"/>
                  <a:pt x="791" y="1840"/>
                </a:cubicBezTo>
                <a:cubicBezTo>
                  <a:pt x="797" y="1839"/>
                  <a:pt x="800" y="1837"/>
                  <a:pt x="800" y="1829"/>
                </a:cubicBezTo>
                <a:cubicBezTo>
                  <a:pt x="800" y="1827"/>
                  <a:pt x="799" y="1825"/>
                  <a:pt x="799" y="1823"/>
                </a:cubicBezTo>
                <a:cubicBezTo>
                  <a:pt x="799" y="1821"/>
                  <a:pt x="799" y="1820"/>
                  <a:pt x="799" y="1818"/>
                </a:cubicBezTo>
                <a:cubicBezTo>
                  <a:pt x="799" y="1815"/>
                  <a:pt x="800" y="1813"/>
                  <a:pt x="804" y="1813"/>
                </a:cubicBezTo>
                <a:cubicBezTo>
                  <a:pt x="804" y="1813"/>
                  <a:pt x="804" y="1813"/>
                  <a:pt x="805" y="1813"/>
                </a:cubicBezTo>
                <a:cubicBezTo>
                  <a:pt x="805" y="1813"/>
                  <a:pt x="805" y="1813"/>
                  <a:pt x="805" y="1803"/>
                </a:cubicBezTo>
                <a:cubicBezTo>
                  <a:pt x="805" y="1803"/>
                  <a:pt x="805" y="1803"/>
                  <a:pt x="802" y="1803"/>
                </a:cubicBezTo>
                <a:cubicBezTo>
                  <a:pt x="792" y="1803"/>
                  <a:pt x="787" y="1807"/>
                  <a:pt x="787" y="1816"/>
                </a:cubicBezTo>
                <a:cubicBezTo>
                  <a:pt x="787" y="1818"/>
                  <a:pt x="787" y="1821"/>
                  <a:pt x="787" y="1823"/>
                </a:cubicBezTo>
                <a:cubicBezTo>
                  <a:pt x="788" y="1826"/>
                  <a:pt x="788" y="1828"/>
                  <a:pt x="788" y="1830"/>
                </a:cubicBezTo>
                <a:cubicBezTo>
                  <a:pt x="788" y="1833"/>
                  <a:pt x="787" y="1836"/>
                  <a:pt x="781" y="1836"/>
                </a:cubicBezTo>
                <a:close/>
                <a:moveTo>
                  <a:pt x="836" y="1844"/>
                </a:moveTo>
                <a:cubicBezTo>
                  <a:pt x="836" y="1844"/>
                  <a:pt x="836" y="1844"/>
                  <a:pt x="836" y="1844"/>
                </a:cubicBezTo>
                <a:cubicBezTo>
                  <a:pt x="836" y="1836"/>
                  <a:pt x="836" y="1836"/>
                  <a:pt x="836" y="1836"/>
                </a:cubicBezTo>
                <a:cubicBezTo>
                  <a:pt x="830" y="1836"/>
                  <a:pt x="829" y="1833"/>
                  <a:pt x="829" y="1830"/>
                </a:cubicBezTo>
                <a:cubicBezTo>
                  <a:pt x="829" y="1828"/>
                  <a:pt x="829" y="1826"/>
                  <a:pt x="830" y="1823"/>
                </a:cubicBezTo>
                <a:cubicBezTo>
                  <a:pt x="830" y="1821"/>
                  <a:pt x="830" y="1818"/>
                  <a:pt x="830" y="1816"/>
                </a:cubicBezTo>
                <a:cubicBezTo>
                  <a:pt x="830" y="1807"/>
                  <a:pt x="825" y="1803"/>
                  <a:pt x="816" y="1803"/>
                </a:cubicBezTo>
                <a:cubicBezTo>
                  <a:pt x="816" y="1803"/>
                  <a:pt x="816" y="1803"/>
                  <a:pt x="812" y="1803"/>
                </a:cubicBezTo>
                <a:cubicBezTo>
                  <a:pt x="812" y="1803"/>
                  <a:pt x="812" y="1803"/>
                  <a:pt x="812" y="1813"/>
                </a:cubicBezTo>
                <a:cubicBezTo>
                  <a:pt x="812" y="1813"/>
                  <a:pt x="812" y="1813"/>
                  <a:pt x="813" y="1813"/>
                </a:cubicBezTo>
                <a:cubicBezTo>
                  <a:pt x="817" y="1813"/>
                  <a:pt x="819" y="1815"/>
                  <a:pt x="819" y="1818"/>
                </a:cubicBezTo>
                <a:cubicBezTo>
                  <a:pt x="819" y="1820"/>
                  <a:pt x="818" y="1821"/>
                  <a:pt x="818" y="1823"/>
                </a:cubicBezTo>
                <a:cubicBezTo>
                  <a:pt x="818" y="1825"/>
                  <a:pt x="818" y="1827"/>
                  <a:pt x="818" y="1829"/>
                </a:cubicBezTo>
                <a:cubicBezTo>
                  <a:pt x="818" y="1837"/>
                  <a:pt x="821" y="1839"/>
                  <a:pt x="826" y="1840"/>
                </a:cubicBezTo>
                <a:cubicBezTo>
                  <a:pt x="826" y="1840"/>
                  <a:pt x="826" y="1840"/>
                  <a:pt x="826" y="1840"/>
                </a:cubicBezTo>
                <a:cubicBezTo>
                  <a:pt x="821" y="1842"/>
                  <a:pt x="818" y="1844"/>
                  <a:pt x="818" y="1852"/>
                </a:cubicBezTo>
                <a:cubicBezTo>
                  <a:pt x="818" y="1854"/>
                  <a:pt x="818" y="1856"/>
                  <a:pt x="818" y="1857"/>
                </a:cubicBezTo>
                <a:cubicBezTo>
                  <a:pt x="818" y="1859"/>
                  <a:pt x="819" y="1861"/>
                  <a:pt x="819" y="1862"/>
                </a:cubicBezTo>
                <a:cubicBezTo>
                  <a:pt x="819" y="1866"/>
                  <a:pt x="818" y="1868"/>
                  <a:pt x="813" y="1868"/>
                </a:cubicBezTo>
                <a:cubicBezTo>
                  <a:pt x="813" y="1868"/>
                  <a:pt x="813" y="1868"/>
                  <a:pt x="812" y="1868"/>
                </a:cubicBezTo>
                <a:cubicBezTo>
                  <a:pt x="812" y="1868"/>
                  <a:pt x="812" y="1868"/>
                  <a:pt x="812" y="1877"/>
                </a:cubicBezTo>
                <a:cubicBezTo>
                  <a:pt x="812" y="1877"/>
                  <a:pt x="812" y="1877"/>
                  <a:pt x="816" y="1877"/>
                </a:cubicBezTo>
                <a:cubicBezTo>
                  <a:pt x="825" y="1877"/>
                  <a:pt x="830" y="1874"/>
                  <a:pt x="830" y="1865"/>
                </a:cubicBezTo>
                <a:cubicBezTo>
                  <a:pt x="830" y="1862"/>
                  <a:pt x="830" y="1860"/>
                  <a:pt x="830" y="1857"/>
                </a:cubicBezTo>
                <a:cubicBezTo>
                  <a:pt x="829" y="1855"/>
                  <a:pt x="829" y="1853"/>
                  <a:pt x="829" y="1850"/>
                </a:cubicBezTo>
                <a:cubicBezTo>
                  <a:pt x="829" y="1848"/>
                  <a:pt x="830" y="1845"/>
                  <a:pt x="836" y="1844"/>
                </a:cubicBezTo>
                <a:close/>
                <a:moveTo>
                  <a:pt x="222" y="1877"/>
                </a:moveTo>
                <a:cubicBezTo>
                  <a:pt x="215" y="1877"/>
                  <a:pt x="208" y="1874"/>
                  <a:pt x="204" y="1868"/>
                </a:cubicBezTo>
                <a:cubicBezTo>
                  <a:pt x="200" y="1862"/>
                  <a:pt x="198" y="1853"/>
                  <a:pt x="198" y="1841"/>
                </a:cubicBezTo>
                <a:cubicBezTo>
                  <a:pt x="198" y="1828"/>
                  <a:pt x="200" y="1818"/>
                  <a:pt x="204" y="1812"/>
                </a:cubicBezTo>
                <a:cubicBezTo>
                  <a:pt x="209" y="1805"/>
                  <a:pt x="215" y="1801"/>
                  <a:pt x="224" y="1801"/>
                </a:cubicBezTo>
                <a:cubicBezTo>
                  <a:pt x="240" y="1801"/>
                  <a:pt x="248" y="1814"/>
                  <a:pt x="248" y="1839"/>
                </a:cubicBezTo>
                <a:cubicBezTo>
                  <a:pt x="248" y="1852"/>
                  <a:pt x="246" y="1861"/>
                  <a:pt x="241" y="1868"/>
                </a:cubicBezTo>
                <a:cubicBezTo>
                  <a:pt x="237" y="1874"/>
                  <a:pt x="230" y="1877"/>
                  <a:pt x="222" y="1877"/>
                </a:cubicBezTo>
                <a:close/>
                <a:moveTo>
                  <a:pt x="223" y="1811"/>
                </a:moveTo>
                <a:cubicBezTo>
                  <a:pt x="214" y="1811"/>
                  <a:pt x="209" y="1821"/>
                  <a:pt x="209" y="1841"/>
                </a:cubicBezTo>
                <a:cubicBezTo>
                  <a:pt x="209" y="1859"/>
                  <a:pt x="214" y="1868"/>
                  <a:pt x="223" y="1868"/>
                </a:cubicBezTo>
                <a:cubicBezTo>
                  <a:pt x="232" y="1868"/>
                  <a:pt x="236" y="1859"/>
                  <a:pt x="236" y="1840"/>
                </a:cubicBezTo>
                <a:cubicBezTo>
                  <a:pt x="236" y="1820"/>
                  <a:pt x="232" y="1811"/>
                  <a:pt x="223" y="1811"/>
                </a:cubicBezTo>
                <a:close/>
                <a:moveTo>
                  <a:pt x="292" y="1877"/>
                </a:moveTo>
                <a:cubicBezTo>
                  <a:pt x="285" y="1877"/>
                  <a:pt x="278" y="1874"/>
                  <a:pt x="275" y="1868"/>
                </a:cubicBezTo>
                <a:cubicBezTo>
                  <a:pt x="270" y="1862"/>
                  <a:pt x="268" y="1853"/>
                  <a:pt x="268" y="1841"/>
                </a:cubicBezTo>
                <a:cubicBezTo>
                  <a:pt x="268" y="1828"/>
                  <a:pt x="270" y="1818"/>
                  <a:pt x="275" y="1812"/>
                </a:cubicBezTo>
                <a:cubicBezTo>
                  <a:pt x="279" y="1805"/>
                  <a:pt x="286" y="1801"/>
                  <a:pt x="294" y="1801"/>
                </a:cubicBezTo>
                <a:cubicBezTo>
                  <a:pt x="311" y="1801"/>
                  <a:pt x="319" y="1814"/>
                  <a:pt x="319" y="1839"/>
                </a:cubicBezTo>
                <a:cubicBezTo>
                  <a:pt x="319" y="1852"/>
                  <a:pt x="316" y="1861"/>
                  <a:pt x="312" y="1868"/>
                </a:cubicBezTo>
                <a:cubicBezTo>
                  <a:pt x="307" y="1874"/>
                  <a:pt x="301" y="1877"/>
                  <a:pt x="292" y="1877"/>
                </a:cubicBezTo>
                <a:close/>
                <a:moveTo>
                  <a:pt x="294" y="1811"/>
                </a:moveTo>
                <a:cubicBezTo>
                  <a:pt x="285" y="1811"/>
                  <a:pt x="280" y="1821"/>
                  <a:pt x="280" y="1841"/>
                </a:cubicBezTo>
                <a:cubicBezTo>
                  <a:pt x="280" y="1859"/>
                  <a:pt x="284" y="1868"/>
                  <a:pt x="293" y="1868"/>
                </a:cubicBezTo>
                <a:cubicBezTo>
                  <a:pt x="302" y="1868"/>
                  <a:pt x="306" y="1859"/>
                  <a:pt x="306" y="1840"/>
                </a:cubicBezTo>
                <a:cubicBezTo>
                  <a:pt x="306" y="1820"/>
                  <a:pt x="302" y="1811"/>
                  <a:pt x="294" y="1811"/>
                </a:cubicBezTo>
                <a:close/>
                <a:moveTo>
                  <a:pt x="502" y="1877"/>
                </a:moveTo>
                <a:cubicBezTo>
                  <a:pt x="495" y="1877"/>
                  <a:pt x="489" y="1874"/>
                  <a:pt x="485" y="1868"/>
                </a:cubicBezTo>
                <a:cubicBezTo>
                  <a:pt x="480" y="1862"/>
                  <a:pt x="478" y="1852"/>
                  <a:pt x="478" y="1841"/>
                </a:cubicBezTo>
                <a:cubicBezTo>
                  <a:pt x="478" y="1828"/>
                  <a:pt x="480" y="1818"/>
                  <a:pt x="485" y="1811"/>
                </a:cubicBezTo>
                <a:cubicBezTo>
                  <a:pt x="489" y="1804"/>
                  <a:pt x="496" y="1801"/>
                  <a:pt x="504" y="1801"/>
                </a:cubicBezTo>
                <a:cubicBezTo>
                  <a:pt x="521" y="1801"/>
                  <a:pt x="529" y="1814"/>
                  <a:pt x="529" y="1839"/>
                </a:cubicBezTo>
                <a:cubicBezTo>
                  <a:pt x="529" y="1852"/>
                  <a:pt x="527" y="1861"/>
                  <a:pt x="522" y="1868"/>
                </a:cubicBezTo>
                <a:cubicBezTo>
                  <a:pt x="517" y="1874"/>
                  <a:pt x="511" y="1877"/>
                  <a:pt x="502" y="1877"/>
                </a:cubicBezTo>
                <a:close/>
                <a:moveTo>
                  <a:pt x="504" y="1811"/>
                </a:moveTo>
                <a:cubicBezTo>
                  <a:pt x="495" y="1811"/>
                  <a:pt x="490" y="1820"/>
                  <a:pt x="490" y="1840"/>
                </a:cubicBezTo>
                <a:cubicBezTo>
                  <a:pt x="490" y="1858"/>
                  <a:pt x="495" y="1868"/>
                  <a:pt x="504" y="1868"/>
                </a:cubicBezTo>
                <a:cubicBezTo>
                  <a:pt x="512" y="1868"/>
                  <a:pt x="516" y="1858"/>
                  <a:pt x="516" y="1840"/>
                </a:cubicBezTo>
                <a:cubicBezTo>
                  <a:pt x="516" y="1820"/>
                  <a:pt x="513" y="1811"/>
                  <a:pt x="504" y="1811"/>
                </a:cubicBezTo>
                <a:close/>
                <a:moveTo>
                  <a:pt x="575" y="1804"/>
                </a:moveTo>
                <a:cubicBezTo>
                  <a:pt x="575" y="1804"/>
                  <a:pt x="575" y="1804"/>
                  <a:pt x="575" y="1804"/>
                </a:cubicBezTo>
                <a:cubicBezTo>
                  <a:pt x="570" y="1804"/>
                  <a:pt x="570" y="1804"/>
                  <a:pt x="570" y="1804"/>
                </a:cubicBezTo>
                <a:cubicBezTo>
                  <a:pt x="568" y="1806"/>
                  <a:pt x="566" y="1807"/>
                  <a:pt x="564" y="1808"/>
                </a:cubicBezTo>
                <a:cubicBezTo>
                  <a:pt x="563" y="1809"/>
                  <a:pt x="561" y="1810"/>
                  <a:pt x="559" y="1811"/>
                </a:cubicBezTo>
                <a:cubicBezTo>
                  <a:pt x="558" y="1811"/>
                  <a:pt x="556" y="1812"/>
                  <a:pt x="554" y="1813"/>
                </a:cubicBezTo>
                <a:cubicBezTo>
                  <a:pt x="552" y="1814"/>
                  <a:pt x="551" y="1814"/>
                  <a:pt x="548" y="1815"/>
                </a:cubicBezTo>
                <a:cubicBezTo>
                  <a:pt x="548" y="1815"/>
                  <a:pt x="548" y="1815"/>
                  <a:pt x="548" y="1825"/>
                </a:cubicBezTo>
                <a:cubicBezTo>
                  <a:pt x="551" y="1824"/>
                  <a:pt x="554" y="1823"/>
                  <a:pt x="556" y="1822"/>
                </a:cubicBezTo>
                <a:cubicBezTo>
                  <a:pt x="559" y="1822"/>
                  <a:pt x="561" y="1820"/>
                  <a:pt x="563" y="1819"/>
                </a:cubicBezTo>
                <a:cubicBezTo>
                  <a:pt x="563" y="1819"/>
                  <a:pt x="563" y="1819"/>
                  <a:pt x="563" y="1877"/>
                </a:cubicBezTo>
                <a:cubicBezTo>
                  <a:pt x="563" y="1877"/>
                  <a:pt x="563" y="1877"/>
                  <a:pt x="575" y="1877"/>
                </a:cubicBezTo>
                <a:cubicBezTo>
                  <a:pt x="575" y="1877"/>
                  <a:pt x="575" y="1877"/>
                  <a:pt x="575" y="1804"/>
                </a:cubicBezTo>
                <a:close/>
                <a:moveTo>
                  <a:pt x="366" y="1804"/>
                </a:moveTo>
                <a:cubicBezTo>
                  <a:pt x="366" y="1804"/>
                  <a:pt x="366" y="1804"/>
                  <a:pt x="366" y="1804"/>
                </a:cubicBezTo>
                <a:cubicBezTo>
                  <a:pt x="360" y="1804"/>
                  <a:pt x="360" y="1804"/>
                  <a:pt x="360" y="1804"/>
                </a:cubicBezTo>
                <a:cubicBezTo>
                  <a:pt x="358" y="1806"/>
                  <a:pt x="357" y="1807"/>
                  <a:pt x="355" y="1808"/>
                </a:cubicBezTo>
                <a:cubicBezTo>
                  <a:pt x="353" y="1809"/>
                  <a:pt x="352" y="1810"/>
                  <a:pt x="349" y="1811"/>
                </a:cubicBezTo>
                <a:cubicBezTo>
                  <a:pt x="348" y="1812"/>
                  <a:pt x="346" y="1813"/>
                  <a:pt x="344" y="1814"/>
                </a:cubicBezTo>
                <a:cubicBezTo>
                  <a:pt x="342" y="1814"/>
                  <a:pt x="340" y="1815"/>
                  <a:pt x="338" y="1815"/>
                </a:cubicBezTo>
                <a:cubicBezTo>
                  <a:pt x="338" y="1815"/>
                  <a:pt x="338" y="1815"/>
                  <a:pt x="338" y="1825"/>
                </a:cubicBezTo>
                <a:cubicBezTo>
                  <a:pt x="341" y="1824"/>
                  <a:pt x="344" y="1824"/>
                  <a:pt x="347" y="1822"/>
                </a:cubicBezTo>
                <a:cubicBezTo>
                  <a:pt x="349" y="1822"/>
                  <a:pt x="352" y="1820"/>
                  <a:pt x="354" y="1819"/>
                </a:cubicBezTo>
                <a:cubicBezTo>
                  <a:pt x="354" y="1819"/>
                  <a:pt x="354" y="1819"/>
                  <a:pt x="354" y="1877"/>
                </a:cubicBezTo>
                <a:cubicBezTo>
                  <a:pt x="354" y="1877"/>
                  <a:pt x="354" y="1877"/>
                  <a:pt x="366" y="1877"/>
                </a:cubicBezTo>
                <a:cubicBezTo>
                  <a:pt x="366" y="1877"/>
                  <a:pt x="366" y="1877"/>
                  <a:pt x="366" y="1804"/>
                </a:cubicBezTo>
                <a:close/>
                <a:moveTo>
                  <a:pt x="413" y="1804"/>
                </a:moveTo>
                <a:cubicBezTo>
                  <a:pt x="413" y="1804"/>
                  <a:pt x="413" y="1804"/>
                  <a:pt x="413" y="1804"/>
                </a:cubicBezTo>
                <a:cubicBezTo>
                  <a:pt x="407" y="1804"/>
                  <a:pt x="407" y="1804"/>
                  <a:pt x="407" y="1804"/>
                </a:cubicBezTo>
                <a:cubicBezTo>
                  <a:pt x="405" y="1806"/>
                  <a:pt x="404" y="1807"/>
                  <a:pt x="402" y="1808"/>
                </a:cubicBezTo>
                <a:cubicBezTo>
                  <a:pt x="400" y="1809"/>
                  <a:pt x="398" y="1810"/>
                  <a:pt x="396" y="1811"/>
                </a:cubicBezTo>
                <a:cubicBezTo>
                  <a:pt x="395" y="1812"/>
                  <a:pt x="393" y="1813"/>
                  <a:pt x="391" y="1814"/>
                </a:cubicBezTo>
                <a:cubicBezTo>
                  <a:pt x="389" y="1814"/>
                  <a:pt x="388" y="1815"/>
                  <a:pt x="385" y="1815"/>
                </a:cubicBezTo>
                <a:cubicBezTo>
                  <a:pt x="385" y="1815"/>
                  <a:pt x="385" y="1815"/>
                  <a:pt x="385" y="1825"/>
                </a:cubicBezTo>
                <a:cubicBezTo>
                  <a:pt x="388" y="1824"/>
                  <a:pt x="391" y="1824"/>
                  <a:pt x="393" y="1822"/>
                </a:cubicBezTo>
                <a:cubicBezTo>
                  <a:pt x="396" y="1822"/>
                  <a:pt x="399" y="1820"/>
                  <a:pt x="401" y="1819"/>
                </a:cubicBezTo>
                <a:cubicBezTo>
                  <a:pt x="401" y="1819"/>
                  <a:pt x="401" y="1819"/>
                  <a:pt x="401" y="1877"/>
                </a:cubicBezTo>
                <a:cubicBezTo>
                  <a:pt x="401" y="1877"/>
                  <a:pt x="401" y="1877"/>
                  <a:pt x="413" y="1877"/>
                </a:cubicBezTo>
                <a:cubicBezTo>
                  <a:pt x="413" y="1877"/>
                  <a:pt x="413" y="1877"/>
                  <a:pt x="413" y="1804"/>
                </a:cubicBezTo>
                <a:close/>
                <a:moveTo>
                  <a:pt x="458" y="1804"/>
                </a:moveTo>
                <a:cubicBezTo>
                  <a:pt x="458" y="1804"/>
                  <a:pt x="458" y="1804"/>
                  <a:pt x="458" y="1804"/>
                </a:cubicBezTo>
                <a:cubicBezTo>
                  <a:pt x="454" y="1804"/>
                  <a:pt x="454" y="1804"/>
                  <a:pt x="454" y="1804"/>
                </a:cubicBezTo>
                <a:cubicBezTo>
                  <a:pt x="452" y="1806"/>
                  <a:pt x="450" y="1807"/>
                  <a:pt x="448" y="1808"/>
                </a:cubicBezTo>
                <a:cubicBezTo>
                  <a:pt x="447" y="1809"/>
                  <a:pt x="445" y="1810"/>
                  <a:pt x="443" y="1811"/>
                </a:cubicBezTo>
                <a:cubicBezTo>
                  <a:pt x="441" y="1811"/>
                  <a:pt x="440" y="1812"/>
                  <a:pt x="437" y="1813"/>
                </a:cubicBezTo>
                <a:cubicBezTo>
                  <a:pt x="436" y="1814"/>
                  <a:pt x="434" y="1814"/>
                  <a:pt x="432" y="1815"/>
                </a:cubicBezTo>
                <a:cubicBezTo>
                  <a:pt x="432" y="1815"/>
                  <a:pt x="432" y="1815"/>
                  <a:pt x="432" y="1825"/>
                </a:cubicBezTo>
                <a:cubicBezTo>
                  <a:pt x="435" y="1824"/>
                  <a:pt x="438" y="1823"/>
                  <a:pt x="440" y="1822"/>
                </a:cubicBezTo>
                <a:cubicBezTo>
                  <a:pt x="442" y="1822"/>
                  <a:pt x="445" y="1820"/>
                  <a:pt x="447" y="1819"/>
                </a:cubicBezTo>
                <a:cubicBezTo>
                  <a:pt x="447" y="1819"/>
                  <a:pt x="447" y="1819"/>
                  <a:pt x="447" y="1877"/>
                </a:cubicBezTo>
                <a:cubicBezTo>
                  <a:pt x="447" y="1877"/>
                  <a:pt x="447" y="1877"/>
                  <a:pt x="458" y="1877"/>
                </a:cubicBezTo>
                <a:cubicBezTo>
                  <a:pt x="458" y="1877"/>
                  <a:pt x="458" y="1877"/>
                  <a:pt x="458" y="1804"/>
                </a:cubicBezTo>
                <a:close/>
                <a:moveTo>
                  <a:pt x="24" y="1877"/>
                </a:moveTo>
                <a:cubicBezTo>
                  <a:pt x="17" y="1877"/>
                  <a:pt x="10" y="1874"/>
                  <a:pt x="6" y="1868"/>
                </a:cubicBezTo>
                <a:cubicBezTo>
                  <a:pt x="2" y="1862"/>
                  <a:pt x="0" y="1853"/>
                  <a:pt x="0" y="1841"/>
                </a:cubicBezTo>
                <a:cubicBezTo>
                  <a:pt x="0" y="1828"/>
                  <a:pt x="2" y="1818"/>
                  <a:pt x="6" y="1812"/>
                </a:cubicBezTo>
                <a:cubicBezTo>
                  <a:pt x="11" y="1805"/>
                  <a:pt x="17" y="1801"/>
                  <a:pt x="26" y="1801"/>
                </a:cubicBezTo>
                <a:cubicBezTo>
                  <a:pt x="42" y="1801"/>
                  <a:pt x="50" y="1814"/>
                  <a:pt x="50" y="1839"/>
                </a:cubicBezTo>
                <a:cubicBezTo>
                  <a:pt x="50" y="1852"/>
                  <a:pt x="48" y="1861"/>
                  <a:pt x="44" y="1868"/>
                </a:cubicBezTo>
                <a:cubicBezTo>
                  <a:pt x="39" y="1874"/>
                  <a:pt x="33" y="1877"/>
                  <a:pt x="24" y="1877"/>
                </a:cubicBezTo>
                <a:close/>
                <a:moveTo>
                  <a:pt x="25" y="1811"/>
                </a:moveTo>
                <a:cubicBezTo>
                  <a:pt x="17" y="1811"/>
                  <a:pt x="12" y="1821"/>
                  <a:pt x="12" y="1841"/>
                </a:cubicBezTo>
                <a:cubicBezTo>
                  <a:pt x="12" y="1859"/>
                  <a:pt x="16" y="1868"/>
                  <a:pt x="25" y="1868"/>
                </a:cubicBezTo>
                <a:cubicBezTo>
                  <a:pt x="33" y="1868"/>
                  <a:pt x="38" y="1859"/>
                  <a:pt x="38" y="1840"/>
                </a:cubicBezTo>
                <a:cubicBezTo>
                  <a:pt x="38" y="1820"/>
                  <a:pt x="33" y="1811"/>
                  <a:pt x="25" y="1811"/>
                </a:cubicBezTo>
                <a:close/>
                <a:moveTo>
                  <a:pt x="85" y="1804"/>
                </a:moveTo>
                <a:cubicBezTo>
                  <a:pt x="85" y="1804"/>
                  <a:pt x="85" y="1804"/>
                  <a:pt x="85" y="1804"/>
                </a:cubicBezTo>
                <a:cubicBezTo>
                  <a:pt x="80" y="1804"/>
                  <a:pt x="80" y="1804"/>
                  <a:pt x="80" y="1804"/>
                </a:cubicBezTo>
                <a:cubicBezTo>
                  <a:pt x="78" y="1806"/>
                  <a:pt x="76" y="1807"/>
                  <a:pt x="74" y="1808"/>
                </a:cubicBezTo>
                <a:cubicBezTo>
                  <a:pt x="73" y="1809"/>
                  <a:pt x="71" y="1810"/>
                  <a:pt x="69" y="1811"/>
                </a:cubicBezTo>
                <a:cubicBezTo>
                  <a:pt x="68" y="1812"/>
                  <a:pt x="65" y="1813"/>
                  <a:pt x="64" y="1814"/>
                </a:cubicBezTo>
                <a:cubicBezTo>
                  <a:pt x="62" y="1814"/>
                  <a:pt x="60" y="1815"/>
                  <a:pt x="58" y="1815"/>
                </a:cubicBezTo>
                <a:cubicBezTo>
                  <a:pt x="58" y="1815"/>
                  <a:pt x="58" y="1815"/>
                  <a:pt x="58" y="1825"/>
                </a:cubicBezTo>
                <a:cubicBezTo>
                  <a:pt x="61" y="1824"/>
                  <a:pt x="64" y="1824"/>
                  <a:pt x="67" y="1822"/>
                </a:cubicBezTo>
                <a:cubicBezTo>
                  <a:pt x="69" y="1822"/>
                  <a:pt x="71" y="1820"/>
                  <a:pt x="73" y="1819"/>
                </a:cubicBezTo>
                <a:cubicBezTo>
                  <a:pt x="73" y="1819"/>
                  <a:pt x="73" y="1819"/>
                  <a:pt x="73" y="1877"/>
                </a:cubicBezTo>
                <a:cubicBezTo>
                  <a:pt x="73" y="1877"/>
                  <a:pt x="73" y="1877"/>
                  <a:pt x="85" y="1877"/>
                </a:cubicBezTo>
                <a:cubicBezTo>
                  <a:pt x="85" y="1877"/>
                  <a:pt x="85" y="1877"/>
                  <a:pt x="85" y="1804"/>
                </a:cubicBezTo>
                <a:close/>
                <a:moveTo>
                  <a:pt x="132" y="1804"/>
                </a:moveTo>
                <a:cubicBezTo>
                  <a:pt x="132" y="1804"/>
                  <a:pt x="132" y="1804"/>
                  <a:pt x="132" y="1804"/>
                </a:cubicBezTo>
                <a:cubicBezTo>
                  <a:pt x="127" y="1804"/>
                  <a:pt x="127" y="1804"/>
                  <a:pt x="127" y="1804"/>
                </a:cubicBezTo>
                <a:cubicBezTo>
                  <a:pt x="125" y="1806"/>
                  <a:pt x="123" y="1807"/>
                  <a:pt x="121" y="1808"/>
                </a:cubicBezTo>
                <a:cubicBezTo>
                  <a:pt x="120" y="1809"/>
                  <a:pt x="117" y="1810"/>
                  <a:pt x="116" y="1811"/>
                </a:cubicBezTo>
                <a:cubicBezTo>
                  <a:pt x="114" y="1812"/>
                  <a:pt x="112" y="1813"/>
                  <a:pt x="111" y="1814"/>
                </a:cubicBezTo>
                <a:cubicBezTo>
                  <a:pt x="109" y="1814"/>
                  <a:pt x="107" y="1815"/>
                  <a:pt x="105" y="1815"/>
                </a:cubicBezTo>
                <a:cubicBezTo>
                  <a:pt x="105" y="1815"/>
                  <a:pt x="105" y="1815"/>
                  <a:pt x="105" y="1825"/>
                </a:cubicBezTo>
                <a:cubicBezTo>
                  <a:pt x="108" y="1824"/>
                  <a:pt x="111" y="1824"/>
                  <a:pt x="113" y="1822"/>
                </a:cubicBezTo>
                <a:cubicBezTo>
                  <a:pt x="116" y="1822"/>
                  <a:pt x="118" y="1820"/>
                  <a:pt x="120" y="1819"/>
                </a:cubicBezTo>
                <a:cubicBezTo>
                  <a:pt x="120" y="1819"/>
                  <a:pt x="120" y="1819"/>
                  <a:pt x="120" y="1877"/>
                </a:cubicBezTo>
                <a:cubicBezTo>
                  <a:pt x="120" y="1877"/>
                  <a:pt x="120" y="1877"/>
                  <a:pt x="132" y="1877"/>
                </a:cubicBezTo>
                <a:cubicBezTo>
                  <a:pt x="132" y="1877"/>
                  <a:pt x="132" y="1877"/>
                  <a:pt x="132" y="1804"/>
                </a:cubicBezTo>
                <a:close/>
                <a:moveTo>
                  <a:pt x="178" y="1804"/>
                </a:moveTo>
                <a:cubicBezTo>
                  <a:pt x="178" y="1804"/>
                  <a:pt x="178" y="1804"/>
                  <a:pt x="178" y="1804"/>
                </a:cubicBezTo>
                <a:cubicBezTo>
                  <a:pt x="174" y="1804"/>
                  <a:pt x="174" y="1804"/>
                  <a:pt x="174" y="1804"/>
                </a:cubicBezTo>
                <a:cubicBezTo>
                  <a:pt x="171" y="1806"/>
                  <a:pt x="170" y="1807"/>
                  <a:pt x="168" y="1808"/>
                </a:cubicBezTo>
                <a:cubicBezTo>
                  <a:pt x="166" y="1809"/>
                  <a:pt x="164" y="1810"/>
                  <a:pt x="163" y="1811"/>
                </a:cubicBezTo>
                <a:cubicBezTo>
                  <a:pt x="161" y="1811"/>
                  <a:pt x="159" y="1812"/>
                  <a:pt x="157" y="1813"/>
                </a:cubicBezTo>
                <a:cubicBezTo>
                  <a:pt x="156" y="1814"/>
                  <a:pt x="153" y="1814"/>
                  <a:pt x="152" y="1815"/>
                </a:cubicBezTo>
                <a:cubicBezTo>
                  <a:pt x="152" y="1815"/>
                  <a:pt x="152" y="1815"/>
                  <a:pt x="152" y="1825"/>
                </a:cubicBezTo>
                <a:cubicBezTo>
                  <a:pt x="155" y="1824"/>
                  <a:pt x="158" y="1823"/>
                  <a:pt x="160" y="1822"/>
                </a:cubicBezTo>
                <a:cubicBezTo>
                  <a:pt x="162" y="1822"/>
                  <a:pt x="165" y="1820"/>
                  <a:pt x="166" y="1819"/>
                </a:cubicBezTo>
                <a:cubicBezTo>
                  <a:pt x="166" y="1819"/>
                  <a:pt x="166" y="1819"/>
                  <a:pt x="166" y="1877"/>
                </a:cubicBezTo>
                <a:cubicBezTo>
                  <a:pt x="166" y="1877"/>
                  <a:pt x="166" y="1877"/>
                  <a:pt x="178" y="1877"/>
                </a:cubicBezTo>
                <a:cubicBezTo>
                  <a:pt x="178" y="1877"/>
                  <a:pt x="178" y="1877"/>
                  <a:pt x="178" y="1804"/>
                </a:cubicBezTo>
                <a:close/>
                <a:moveTo>
                  <a:pt x="24" y="2177"/>
                </a:moveTo>
                <a:cubicBezTo>
                  <a:pt x="17" y="2177"/>
                  <a:pt x="10" y="2174"/>
                  <a:pt x="6" y="2168"/>
                </a:cubicBezTo>
                <a:cubicBezTo>
                  <a:pt x="2" y="2162"/>
                  <a:pt x="0" y="2153"/>
                  <a:pt x="0" y="2141"/>
                </a:cubicBezTo>
                <a:cubicBezTo>
                  <a:pt x="0" y="2128"/>
                  <a:pt x="2" y="2118"/>
                  <a:pt x="6" y="2112"/>
                </a:cubicBezTo>
                <a:cubicBezTo>
                  <a:pt x="11" y="2105"/>
                  <a:pt x="17" y="2101"/>
                  <a:pt x="26" y="2101"/>
                </a:cubicBezTo>
                <a:cubicBezTo>
                  <a:pt x="42" y="2101"/>
                  <a:pt x="50" y="2114"/>
                  <a:pt x="50" y="2139"/>
                </a:cubicBezTo>
                <a:cubicBezTo>
                  <a:pt x="50" y="2152"/>
                  <a:pt x="48" y="2161"/>
                  <a:pt x="44" y="2168"/>
                </a:cubicBezTo>
                <a:cubicBezTo>
                  <a:pt x="39" y="2174"/>
                  <a:pt x="33" y="2177"/>
                  <a:pt x="24" y="2177"/>
                </a:cubicBezTo>
                <a:close/>
                <a:moveTo>
                  <a:pt x="25" y="2111"/>
                </a:moveTo>
                <a:cubicBezTo>
                  <a:pt x="17" y="2111"/>
                  <a:pt x="12" y="2121"/>
                  <a:pt x="12" y="2141"/>
                </a:cubicBezTo>
                <a:cubicBezTo>
                  <a:pt x="12" y="2159"/>
                  <a:pt x="16" y="2168"/>
                  <a:pt x="25" y="2168"/>
                </a:cubicBezTo>
                <a:cubicBezTo>
                  <a:pt x="33" y="2168"/>
                  <a:pt x="38" y="2159"/>
                  <a:pt x="38" y="2140"/>
                </a:cubicBezTo>
                <a:cubicBezTo>
                  <a:pt x="38" y="2120"/>
                  <a:pt x="33" y="2111"/>
                  <a:pt x="25" y="2111"/>
                </a:cubicBezTo>
                <a:close/>
                <a:moveTo>
                  <a:pt x="26" y="2082"/>
                </a:moveTo>
                <a:cubicBezTo>
                  <a:pt x="19" y="2082"/>
                  <a:pt x="12" y="2079"/>
                  <a:pt x="8" y="2073"/>
                </a:cubicBezTo>
                <a:cubicBezTo>
                  <a:pt x="4" y="2067"/>
                  <a:pt x="2" y="2058"/>
                  <a:pt x="2" y="2045"/>
                </a:cubicBezTo>
                <a:cubicBezTo>
                  <a:pt x="2" y="2032"/>
                  <a:pt x="4" y="2023"/>
                  <a:pt x="8" y="2016"/>
                </a:cubicBezTo>
                <a:cubicBezTo>
                  <a:pt x="13" y="2009"/>
                  <a:pt x="19" y="2006"/>
                  <a:pt x="28" y="2006"/>
                </a:cubicBezTo>
                <a:cubicBezTo>
                  <a:pt x="44" y="2006"/>
                  <a:pt x="52" y="2018"/>
                  <a:pt x="52" y="2044"/>
                </a:cubicBezTo>
                <a:cubicBezTo>
                  <a:pt x="52" y="2056"/>
                  <a:pt x="50" y="2066"/>
                  <a:pt x="46" y="2073"/>
                </a:cubicBezTo>
                <a:cubicBezTo>
                  <a:pt x="40" y="2079"/>
                  <a:pt x="35" y="2082"/>
                  <a:pt x="26" y="2082"/>
                </a:cubicBezTo>
                <a:close/>
                <a:moveTo>
                  <a:pt x="27" y="2015"/>
                </a:moveTo>
                <a:cubicBezTo>
                  <a:pt x="19" y="2015"/>
                  <a:pt x="13" y="2026"/>
                  <a:pt x="13" y="2045"/>
                </a:cubicBezTo>
                <a:cubicBezTo>
                  <a:pt x="13" y="2064"/>
                  <a:pt x="18" y="2073"/>
                  <a:pt x="27" y="2073"/>
                </a:cubicBezTo>
                <a:cubicBezTo>
                  <a:pt x="35" y="2073"/>
                  <a:pt x="40" y="2064"/>
                  <a:pt x="40" y="2045"/>
                </a:cubicBezTo>
                <a:cubicBezTo>
                  <a:pt x="40" y="2025"/>
                  <a:pt x="35" y="2015"/>
                  <a:pt x="27" y="2015"/>
                </a:cubicBezTo>
                <a:close/>
                <a:moveTo>
                  <a:pt x="93" y="1770"/>
                </a:moveTo>
                <a:cubicBezTo>
                  <a:pt x="85" y="1770"/>
                  <a:pt x="79" y="1767"/>
                  <a:pt x="74" y="1761"/>
                </a:cubicBezTo>
                <a:cubicBezTo>
                  <a:pt x="71" y="1755"/>
                  <a:pt x="68" y="1746"/>
                  <a:pt x="68" y="1733"/>
                </a:cubicBezTo>
                <a:cubicBezTo>
                  <a:pt x="68" y="1720"/>
                  <a:pt x="71" y="1711"/>
                  <a:pt x="75" y="1704"/>
                </a:cubicBezTo>
                <a:cubicBezTo>
                  <a:pt x="80" y="1697"/>
                  <a:pt x="86" y="1694"/>
                  <a:pt x="95" y="1694"/>
                </a:cubicBezTo>
                <a:cubicBezTo>
                  <a:pt x="111" y="1694"/>
                  <a:pt x="119" y="1706"/>
                  <a:pt x="119" y="1732"/>
                </a:cubicBezTo>
                <a:cubicBezTo>
                  <a:pt x="119" y="1744"/>
                  <a:pt x="117" y="1754"/>
                  <a:pt x="112" y="1761"/>
                </a:cubicBezTo>
                <a:cubicBezTo>
                  <a:pt x="108" y="1767"/>
                  <a:pt x="101" y="1770"/>
                  <a:pt x="93" y="1770"/>
                </a:cubicBezTo>
                <a:close/>
                <a:moveTo>
                  <a:pt x="94" y="1703"/>
                </a:moveTo>
                <a:cubicBezTo>
                  <a:pt x="85" y="1703"/>
                  <a:pt x="80" y="1714"/>
                  <a:pt x="80" y="1733"/>
                </a:cubicBezTo>
                <a:cubicBezTo>
                  <a:pt x="80" y="1752"/>
                  <a:pt x="85" y="1761"/>
                  <a:pt x="94" y="1761"/>
                </a:cubicBezTo>
                <a:cubicBezTo>
                  <a:pt x="102" y="1761"/>
                  <a:pt x="107" y="1752"/>
                  <a:pt x="107" y="1733"/>
                </a:cubicBezTo>
                <a:cubicBezTo>
                  <a:pt x="107" y="1713"/>
                  <a:pt x="102" y="1703"/>
                  <a:pt x="94" y="1703"/>
                </a:cubicBezTo>
                <a:close/>
                <a:moveTo>
                  <a:pt x="167" y="1697"/>
                </a:moveTo>
                <a:cubicBezTo>
                  <a:pt x="167" y="1697"/>
                  <a:pt x="167" y="1697"/>
                  <a:pt x="167" y="1697"/>
                </a:cubicBezTo>
                <a:cubicBezTo>
                  <a:pt x="162" y="1697"/>
                  <a:pt x="162" y="1697"/>
                  <a:pt x="162" y="1697"/>
                </a:cubicBezTo>
                <a:cubicBezTo>
                  <a:pt x="159" y="1698"/>
                  <a:pt x="158" y="1700"/>
                  <a:pt x="156" y="1700"/>
                </a:cubicBezTo>
                <a:cubicBezTo>
                  <a:pt x="154" y="1702"/>
                  <a:pt x="152" y="1702"/>
                  <a:pt x="151" y="1703"/>
                </a:cubicBezTo>
                <a:cubicBezTo>
                  <a:pt x="148" y="1704"/>
                  <a:pt x="147" y="1705"/>
                  <a:pt x="145" y="1705"/>
                </a:cubicBezTo>
                <a:cubicBezTo>
                  <a:pt x="143" y="1706"/>
                  <a:pt x="142" y="1707"/>
                  <a:pt x="140" y="1708"/>
                </a:cubicBezTo>
                <a:cubicBezTo>
                  <a:pt x="140" y="1708"/>
                  <a:pt x="140" y="1708"/>
                  <a:pt x="140" y="1718"/>
                </a:cubicBezTo>
                <a:cubicBezTo>
                  <a:pt x="142" y="1717"/>
                  <a:pt x="145" y="1716"/>
                  <a:pt x="148" y="1715"/>
                </a:cubicBezTo>
                <a:cubicBezTo>
                  <a:pt x="151" y="1714"/>
                  <a:pt x="153" y="1713"/>
                  <a:pt x="155" y="1711"/>
                </a:cubicBezTo>
                <a:cubicBezTo>
                  <a:pt x="155" y="1711"/>
                  <a:pt x="155" y="1711"/>
                  <a:pt x="155" y="1770"/>
                </a:cubicBezTo>
                <a:cubicBezTo>
                  <a:pt x="155" y="1770"/>
                  <a:pt x="155" y="1770"/>
                  <a:pt x="167" y="1770"/>
                </a:cubicBezTo>
                <a:cubicBezTo>
                  <a:pt x="167" y="1770"/>
                  <a:pt x="167" y="1770"/>
                  <a:pt x="167" y="1697"/>
                </a:cubicBezTo>
                <a:close/>
                <a:moveTo>
                  <a:pt x="214" y="1697"/>
                </a:moveTo>
                <a:cubicBezTo>
                  <a:pt x="214" y="1697"/>
                  <a:pt x="214" y="1697"/>
                  <a:pt x="214" y="1697"/>
                </a:cubicBezTo>
                <a:cubicBezTo>
                  <a:pt x="209" y="1697"/>
                  <a:pt x="209" y="1697"/>
                  <a:pt x="209" y="1697"/>
                </a:cubicBezTo>
                <a:cubicBezTo>
                  <a:pt x="207" y="1698"/>
                  <a:pt x="205" y="1700"/>
                  <a:pt x="203" y="1700"/>
                </a:cubicBezTo>
                <a:cubicBezTo>
                  <a:pt x="202" y="1702"/>
                  <a:pt x="199" y="1702"/>
                  <a:pt x="198" y="1703"/>
                </a:cubicBezTo>
                <a:cubicBezTo>
                  <a:pt x="196" y="1705"/>
                  <a:pt x="194" y="1705"/>
                  <a:pt x="193" y="1706"/>
                </a:cubicBezTo>
                <a:cubicBezTo>
                  <a:pt x="191" y="1707"/>
                  <a:pt x="189" y="1708"/>
                  <a:pt x="187" y="1708"/>
                </a:cubicBezTo>
                <a:cubicBezTo>
                  <a:pt x="187" y="1708"/>
                  <a:pt x="187" y="1708"/>
                  <a:pt x="187" y="1718"/>
                </a:cubicBezTo>
                <a:cubicBezTo>
                  <a:pt x="190" y="1717"/>
                  <a:pt x="193" y="1716"/>
                  <a:pt x="195" y="1715"/>
                </a:cubicBezTo>
                <a:cubicBezTo>
                  <a:pt x="198" y="1714"/>
                  <a:pt x="200" y="1713"/>
                  <a:pt x="202" y="1711"/>
                </a:cubicBezTo>
                <a:cubicBezTo>
                  <a:pt x="202" y="1711"/>
                  <a:pt x="202" y="1711"/>
                  <a:pt x="202" y="1770"/>
                </a:cubicBezTo>
                <a:cubicBezTo>
                  <a:pt x="202" y="1770"/>
                  <a:pt x="202" y="1770"/>
                  <a:pt x="214" y="1770"/>
                </a:cubicBezTo>
                <a:cubicBezTo>
                  <a:pt x="214" y="1770"/>
                  <a:pt x="214" y="1770"/>
                  <a:pt x="214" y="1697"/>
                </a:cubicBezTo>
                <a:close/>
                <a:moveTo>
                  <a:pt x="260" y="1697"/>
                </a:moveTo>
                <a:cubicBezTo>
                  <a:pt x="260" y="1697"/>
                  <a:pt x="260" y="1697"/>
                  <a:pt x="260" y="1697"/>
                </a:cubicBezTo>
                <a:cubicBezTo>
                  <a:pt x="256" y="1697"/>
                  <a:pt x="256" y="1697"/>
                  <a:pt x="256" y="1697"/>
                </a:cubicBezTo>
                <a:cubicBezTo>
                  <a:pt x="254" y="1698"/>
                  <a:pt x="252" y="1700"/>
                  <a:pt x="250" y="1700"/>
                </a:cubicBezTo>
                <a:cubicBezTo>
                  <a:pt x="248" y="1702"/>
                  <a:pt x="246" y="1702"/>
                  <a:pt x="245" y="1703"/>
                </a:cubicBezTo>
                <a:cubicBezTo>
                  <a:pt x="243" y="1705"/>
                  <a:pt x="241" y="1705"/>
                  <a:pt x="239" y="1706"/>
                </a:cubicBezTo>
                <a:cubicBezTo>
                  <a:pt x="238" y="1707"/>
                  <a:pt x="236" y="1708"/>
                  <a:pt x="234" y="1708"/>
                </a:cubicBezTo>
                <a:cubicBezTo>
                  <a:pt x="234" y="1708"/>
                  <a:pt x="234" y="1708"/>
                  <a:pt x="234" y="1718"/>
                </a:cubicBezTo>
                <a:cubicBezTo>
                  <a:pt x="237" y="1717"/>
                  <a:pt x="240" y="1716"/>
                  <a:pt x="242" y="1715"/>
                </a:cubicBezTo>
                <a:cubicBezTo>
                  <a:pt x="244" y="1714"/>
                  <a:pt x="247" y="1713"/>
                  <a:pt x="248" y="1711"/>
                </a:cubicBezTo>
                <a:cubicBezTo>
                  <a:pt x="248" y="1711"/>
                  <a:pt x="248" y="1711"/>
                  <a:pt x="248" y="1770"/>
                </a:cubicBezTo>
                <a:cubicBezTo>
                  <a:pt x="248" y="1770"/>
                  <a:pt x="248" y="1770"/>
                  <a:pt x="260" y="1770"/>
                </a:cubicBezTo>
                <a:cubicBezTo>
                  <a:pt x="260" y="1770"/>
                  <a:pt x="260" y="1770"/>
                  <a:pt x="260" y="1697"/>
                </a:cubicBezTo>
                <a:close/>
                <a:moveTo>
                  <a:pt x="308" y="1697"/>
                </a:moveTo>
                <a:cubicBezTo>
                  <a:pt x="308" y="1697"/>
                  <a:pt x="308" y="1697"/>
                  <a:pt x="308" y="1697"/>
                </a:cubicBezTo>
                <a:cubicBezTo>
                  <a:pt x="302" y="1697"/>
                  <a:pt x="302" y="1697"/>
                  <a:pt x="302" y="1697"/>
                </a:cubicBezTo>
                <a:cubicBezTo>
                  <a:pt x="300" y="1698"/>
                  <a:pt x="299" y="1700"/>
                  <a:pt x="297" y="1700"/>
                </a:cubicBezTo>
                <a:cubicBezTo>
                  <a:pt x="295" y="1702"/>
                  <a:pt x="294" y="1702"/>
                  <a:pt x="292" y="1703"/>
                </a:cubicBezTo>
                <a:cubicBezTo>
                  <a:pt x="290" y="1705"/>
                  <a:pt x="288" y="1705"/>
                  <a:pt x="286" y="1706"/>
                </a:cubicBezTo>
                <a:cubicBezTo>
                  <a:pt x="284" y="1707"/>
                  <a:pt x="283" y="1708"/>
                  <a:pt x="281" y="1708"/>
                </a:cubicBezTo>
                <a:cubicBezTo>
                  <a:pt x="281" y="1708"/>
                  <a:pt x="281" y="1708"/>
                  <a:pt x="281" y="1718"/>
                </a:cubicBezTo>
                <a:cubicBezTo>
                  <a:pt x="284" y="1717"/>
                  <a:pt x="286" y="1716"/>
                  <a:pt x="289" y="1715"/>
                </a:cubicBezTo>
                <a:cubicBezTo>
                  <a:pt x="292" y="1714"/>
                  <a:pt x="294" y="1713"/>
                  <a:pt x="296" y="1711"/>
                </a:cubicBezTo>
                <a:cubicBezTo>
                  <a:pt x="296" y="1711"/>
                  <a:pt x="296" y="1711"/>
                  <a:pt x="296" y="1770"/>
                </a:cubicBezTo>
                <a:cubicBezTo>
                  <a:pt x="296" y="1770"/>
                  <a:pt x="296" y="1770"/>
                  <a:pt x="308" y="1770"/>
                </a:cubicBezTo>
                <a:cubicBezTo>
                  <a:pt x="308" y="1770"/>
                  <a:pt x="308" y="1770"/>
                  <a:pt x="308" y="1697"/>
                </a:cubicBezTo>
                <a:close/>
                <a:moveTo>
                  <a:pt x="431" y="1697"/>
                </a:moveTo>
                <a:cubicBezTo>
                  <a:pt x="431" y="1697"/>
                  <a:pt x="431" y="1697"/>
                  <a:pt x="431" y="1697"/>
                </a:cubicBezTo>
                <a:cubicBezTo>
                  <a:pt x="426" y="1697"/>
                  <a:pt x="426" y="1697"/>
                  <a:pt x="426" y="1697"/>
                </a:cubicBezTo>
                <a:cubicBezTo>
                  <a:pt x="423" y="1698"/>
                  <a:pt x="422" y="1700"/>
                  <a:pt x="420" y="1700"/>
                </a:cubicBezTo>
                <a:cubicBezTo>
                  <a:pt x="418" y="1702"/>
                  <a:pt x="417" y="1702"/>
                  <a:pt x="415" y="1703"/>
                </a:cubicBezTo>
                <a:cubicBezTo>
                  <a:pt x="413" y="1705"/>
                  <a:pt x="411" y="1705"/>
                  <a:pt x="409" y="1706"/>
                </a:cubicBezTo>
                <a:cubicBezTo>
                  <a:pt x="407" y="1707"/>
                  <a:pt x="406" y="1708"/>
                  <a:pt x="404" y="1708"/>
                </a:cubicBezTo>
                <a:cubicBezTo>
                  <a:pt x="404" y="1708"/>
                  <a:pt x="404" y="1708"/>
                  <a:pt x="404" y="1718"/>
                </a:cubicBezTo>
                <a:cubicBezTo>
                  <a:pt x="406" y="1717"/>
                  <a:pt x="409" y="1716"/>
                  <a:pt x="412" y="1715"/>
                </a:cubicBezTo>
                <a:cubicBezTo>
                  <a:pt x="415" y="1714"/>
                  <a:pt x="417" y="1713"/>
                  <a:pt x="419" y="1711"/>
                </a:cubicBezTo>
                <a:cubicBezTo>
                  <a:pt x="419" y="1711"/>
                  <a:pt x="419" y="1711"/>
                  <a:pt x="419" y="1770"/>
                </a:cubicBezTo>
                <a:cubicBezTo>
                  <a:pt x="419" y="1770"/>
                  <a:pt x="419" y="1770"/>
                  <a:pt x="431" y="1770"/>
                </a:cubicBezTo>
                <a:cubicBezTo>
                  <a:pt x="431" y="1770"/>
                  <a:pt x="431" y="1770"/>
                  <a:pt x="431" y="1697"/>
                </a:cubicBezTo>
                <a:close/>
                <a:moveTo>
                  <a:pt x="478" y="1697"/>
                </a:moveTo>
                <a:cubicBezTo>
                  <a:pt x="478" y="1697"/>
                  <a:pt x="478" y="1697"/>
                  <a:pt x="478" y="1697"/>
                </a:cubicBezTo>
                <a:cubicBezTo>
                  <a:pt x="473" y="1697"/>
                  <a:pt x="473" y="1697"/>
                  <a:pt x="473" y="1697"/>
                </a:cubicBezTo>
                <a:cubicBezTo>
                  <a:pt x="471" y="1698"/>
                  <a:pt x="470" y="1700"/>
                  <a:pt x="467" y="1700"/>
                </a:cubicBezTo>
                <a:cubicBezTo>
                  <a:pt x="466" y="1702"/>
                  <a:pt x="464" y="1702"/>
                  <a:pt x="462" y="1703"/>
                </a:cubicBezTo>
                <a:cubicBezTo>
                  <a:pt x="461" y="1705"/>
                  <a:pt x="458" y="1705"/>
                  <a:pt x="457" y="1706"/>
                </a:cubicBezTo>
                <a:cubicBezTo>
                  <a:pt x="455" y="1707"/>
                  <a:pt x="453" y="1708"/>
                  <a:pt x="451" y="1708"/>
                </a:cubicBezTo>
                <a:cubicBezTo>
                  <a:pt x="451" y="1708"/>
                  <a:pt x="451" y="1708"/>
                  <a:pt x="451" y="1718"/>
                </a:cubicBezTo>
                <a:cubicBezTo>
                  <a:pt x="454" y="1717"/>
                  <a:pt x="457" y="1716"/>
                  <a:pt x="459" y="1715"/>
                </a:cubicBezTo>
                <a:cubicBezTo>
                  <a:pt x="462" y="1714"/>
                  <a:pt x="464" y="1713"/>
                  <a:pt x="467" y="1711"/>
                </a:cubicBezTo>
                <a:cubicBezTo>
                  <a:pt x="467" y="1711"/>
                  <a:pt x="467" y="1711"/>
                  <a:pt x="467" y="1770"/>
                </a:cubicBezTo>
                <a:cubicBezTo>
                  <a:pt x="467" y="1770"/>
                  <a:pt x="467" y="1770"/>
                  <a:pt x="478" y="1770"/>
                </a:cubicBezTo>
                <a:cubicBezTo>
                  <a:pt x="478" y="1770"/>
                  <a:pt x="478" y="1770"/>
                  <a:pt x="478" y="1697"/>
                </a:cubicBezTo>
                <a:close/>
                <a:moveTo>
                  <a:pt x="526" y="1697"/>
                </a:moveTo>
                <a:cubicBezTo>
                  <a:pt x="526" y="1697"/>
                  <a:pt x="526" y="1697"/>
                  <a:pt x="526" y="1697"/>
                </a:cubicBezTo>
                <a:cubicBezTo>
                  <a:pt x="521" y="1697"/>
                  <a:pt x="521" y="1697"/>
                  <a:pt x="521" y="1697"/>
                </a:cubicBezTo>
                <a:cubicBezTo>
                  <a:pt x="519" y="1698"/>
                  <a:pt x="517" y="1700"/>
                  <a:pt x="516" y="1700"/>
                </a:cubicBezTo>
                <a:cubicBezTo>
                  <a:pt x="513" y="1702"/>
                  <a:pt x="512" y="1702"/>
                  <a:pt x="510" y="1703"/>
                </a:cubicBezTo>
                <a:cubicBezTo>
                  <a:pt x="508" y="1705"/>
                  <a:pt x="506" y="1705"/>
                  <a:pt x="504" y="1706"/>
                </a:cubicBezTo>
                <a:cubicBezTo>
                  <a:pt x="502" y="1707"/>
                  <a:pt x="501" y="1708"/>
                  <a:pt x="499" y="1708"/>
                </a:cubicBezTo>
                <a:cubicBezTo>
                  <a:pt x="499" y="1708"/>
                  <a:pt x="499" y="1708"/>
                  <a:pt x="499" y="1718"/>
                </a:cubicBezTo>
                <a:cubicBezTo>
                  <a:pt x="502" y="1717"/>
                  <a:pt x="504" y="1716"/>
                  <a:pt x="507" y="1715"/>
                </a:cubicBezTo>
                <a:cubicBezTo>
                  <a:pt x="510" y="1714"/>
                  <a:pt x="512" y="1713"/>
                  <a:pt x="514" y="1711"/>
                </a:cubicBezTo>
                <a:cubicBezTo>
                  <a:pt x="514" y="1711"/>
                  <a:pt x="514" y="1711"/>
                  <a:pt x="514" y="1770"/>
                </a:cubicBezTo>
                <a:cubicBezTo>
                  <a:pt x="514" y="1770"/>
                  <a:pt x="514" y="1770"/>
                  <a:pt x="526" y="1770"/>
                </a:cubicBezTo>
                <a:cubicBezTo>
                  <a:pt x="526" y="1770"/>
                  <a:pt x="526" y="1770"/>
                  <a:pt x="526" y="1697"/>
                </a:cubicBezTo>
                <a:close/>
                <a:moveTo>
                  <a:pt x="572" y="1697"/>
                </a:moveTo>
                <a:cubicBezTo>
                  <a:pt x="572" y="1697"/>
                  <a:pt x="572" y="1697"/>
                  <a:pt x="572" y="1697"/>
                </a:cubicBezTo>
                <a:cubicBezTo>
                  <a:pt x="568" y="1697"/>
                  <a:pt x="568" y="1697"/>
                  <a:pt x="568" y="1697"/>
                </a:cubicBezTo>
                <a:cubicBezTo>
                  <a:pt x="566" y="1698"/>
                  <a:pt x="564" y="1700"/>
                  <a:pt x="562" y="1700"/>
                </a:cubicBezTo>
                <a:cubicBezTo>
                  <a:pt x="561" y="1702"/>
                  <a:pt x="559" y="1702"/>
                  <a:pt x="557" y="1703"/>
                </a:cubicBezTo>
                <a:cubicBezTo>
                  <a:pt x="555" y="1704"/>
                  <a:pt x="553" y="1705"/>
                  <a:pt x="551" y="1705"/>
                </a:cubicBezTo>
                <a:cubicBezTo>
                  <a:pt x="550" y="1706"/>
                  <a:pt x="548" y="1707"/>
                  <a:pt x="546" y="1708"/>
                </a:cubicBezTo>
                <a:cubicBezTo>
                  <a:pt x="546" y="1708"/>
                  <a:pt x="546" y="1708"/>
                  <a:pt x="546" y="1718"/>
                </a:cubicBezTo>
                <a:cubicBezTo>
                  <a:pt x="549" y="1717"/>
                  <a:pt x="552" y="1716"/>
                  <a:pt x="554" y="1715"/>
                </a:cubicBezTo>
                <a:cubicBezTo>
                  <a:pt x="556" y="1714"/>
                  <a:pt x="559" y="1713"/>
                  <a:pt x="561" y="1711"/>
                </a:cubicBezTo>
                <a:cubicBezTo>
                  <a:pt x="561" y="1711"/>
                  <a:pt x="561" y="1711"/>
                  <a:pt x="561" y="1770"/>
                </a:cubicBezTo>
                <a:cubicBezTo>
                  <a:pt x="561" y="1770"/>
                  <a:pt x="561" y="1770"/>
                  <a:pt x="572" y="1770"/>
                </a:cubicBezTo>
                <a:cubicBezTo>
                  <a:pt x="572" y="1770"/>
                  <a:pt x="572" y="1770"/>
                  <a:pt x="572" y="1697"/>
                </a:cubicBezTo>
                <a:close/>
                <a:moveTo>
                  <a:pt x="329" y="1729"/>
                </a:moveTo>
                <a:cubicBezTo>
                  <a:pt x="329" y="1729"/>
                  <a:pt x="329" y="1729"/>
                  <a:pt x="329" y="1729"/>
                </a:cubicBezTo>
                <a:cubicBezTo>
                  <a:pt x="328" y="1737"/>
                  <a:pt x="328" y="1737"/>
                  <a:pt x="328" y="1737"/>
                </a:cubicBezTo>
                <a:cubicBezTo>
                  <a:pt x="334" y="1738"/>
                  <a:pt x="335" y="1741"/>
                  <a:pt x="335" y="1743"/>
                </a:cubicBezTo>
                <a:cubicBezTo>
                  <a:pt x="335" y="1745"/>
                  <a:pt x="335" y="1748"/>
                  <a:pt x="335" y="1750"/>
                </a:cubicBezTo>
                <a:cubicBezTo>
                  <a:pt x="334" y="1753"/>
                  <a:pt x="334" y="1755"/>
                  <a:pt x="334" y="1757"/>
                </a:cubicBezTo>
                <a:cubicBezTo>
                  <a:pt x="334" y="1767"/>
                  <a:pt x="340" y="1770"/>
                  <a:pt x="348" y="1770"/>
                </a:cubicBezTo>
                <a:cubicBezTo>
                  <a:pt x="348" y="1770"/>
                  <a:pt x="348" y="1770"/>
                  <a:pt x="352" y="1770"/>
                </a:cubicBezTo>
                <a:cubicBezTo>
                  <a:pt x="352" y="1770"/>
                  <a:pt x="352" y="1770"/>
                  <a:pt x="352" y="1761"/>
                </a:cubicBezTo>
                <a:cubicBezTo>
                  <a:pt x="352" y="1761"/>
                  <a:pt x="352" y="1761"/>
                  <a:pt x="351" y="1761"/>
                </a:cubicBezTo>
                <a:cubicBezTo>
                  <a:pt x="347" y="1761"/>
                  <a:pt x="346" y="1759"/>
                  <a:pt x="346" y="1755"/>
                </a:cubicBezTo>
                <a:cubicBezTo>
                  <a:pt x="346" y="1754"/>
                  <a:pt x="346" y="1752"/>
                  <a:pt x="346" y="1750"/>
                </a:cubicBezTo>
                <a:cubicBezTo>
                  <a:pt x="346" y="1749"/>
                  <a:pt x="347" y="1747"/>
                  <a:pt x="347" y="1744"/>
                </a:cubicBezTo>
                <a:cubicBezTo>
                  <a:pt x="347" y="1737"/>
                  <a:pt x="344" y="1734"/>
                  <a:pt x="338" y="1733"/>
                </a:cubicBezTo>
                <a:cubicBezTo>
                  <a:pt x="338" y="1733"/>
                  <a:pt x="338" y="1733"/>
                  <a:pt x="338" y="1733"/>
                </a:cubicBezTo>
                <a:cubicBezTo>
                  <a:pt x="344" y="1732"/>
                  <a:pt x="347" y="1729"/>
                  <a:pt x="347" y="1722"/>
                </a:cubicBezTo>
                <a:cubicBezTo>
                  <a:pt x="347" y="1719"/>
                  <a:pt x="346" y="1717"/>
                  <a:pt x="346" y="1716"/>
                </a:cubicBezTo>
                <a:cubicBezTo>
                  <a:pt x="346" y="1714"/>
                  <a:pt x="346" y="1712"/>
                  <a:pt x="346" y="1711"/>
                </a:cubicBezTo>
                <a:cubicBezTo>
                  <a:pt x="346" y="1707"/>
                  <a:pt x="347" y="1705"/>
                  <a:pt x="351" y="1705"/>
                </a:cubicBezTo>
                <a:cubicBezTo>
                  <a:pt x="351" y="1705"/>
                  <a:pt x="351" y="1705"/>
                  <a:pt x="352" y="1705"/>
                </a:cubicBezTo>
                <a:cubicBezTo>
                  <a:pt x="352" y="1705"/>
                  <a:pt x="352" y="1705"/>
                  <a:pt x="352" y="1696"/>
                </a:cubicBezTo>
                <a:cubicBezTo>
                  <a:pt x="352" y="1696"/>
                  <a:pt x="352" y="1696"/>
                  <a:pt x="348" y="1696"/>
                </a:cubicBezTo>
                <a:cubicBezTo>
                  <a:pt x="340" y="1696"/>
                  <a:pt x="334" y="1700"/>
                  <a:pt x="334" y="1708"/>
                </a:cubicBezTo>
                <a:cubicBezTo>
                  <a:pt x="334" y="1711"/>
                  <a:pt x="334" y="1713"/>
                  <a:pt x="334" y="1716"/>
                </a:cubicBezTo>
                <a:cubicBezTo>
                  <a:pt x="335" y="1718"/>
                  <a:pt x="335" y="1721"/>
                  <a:pt x="335" y="1723"/>
                </a:cubicBezTo>
                <a:cubicBezTo>
                  <a:pt x="335" y="1725"/>
                  <a:pt x="334" y="1729"/>
                  <a:pt x="329" y="1729"/>
                </a:cubicBezTo>
                <a:close/>
                <a:moveTo>
                  <a:pt x="383" y="1737"/>
                </a:moveTo>
                <a:cubicBezTo>
                  <a:pt x="383" y="1737"/>
                  <a:pt x="383" y="1737"/>
                  <a:pt x="383" y="1737"/>
                </a:cubicBezTo>
                <a:cubicBezTo>
                  <a:pt x="383" y="1729"/>
                  <a:pt x="383" y="1729"/>
                  <a:pt x="383" y="1729"/>
                </a:cubicBezTo>
                <a:cubicBezTo>
                  <a:pt x="377" y="1729"/>
                  <a:pt x="377" y="1725"/>
                  <a:pt x="377" y="1723"/>
                </a:cubicBezTo>
                <a:cubicBezTo>
                  <a:pt x="377" y="1721"/>
                  <a:pt x="377" y="1718"/>
                  <a:pt x="377" y="1716"/>
                </a:cubicBezTo>
                <a:cubicBezTo>
                  <a:pt x="377" y="1713"/>
                  <a:pt x="377" y="1711"/>
                  <a:pt x="377" y="1708"/>
                </a:cubicBezTo>
                <a:cubicBezTo>
                  <a:pt x="377" y="1700"/>
                  <a:pt x="372" y="1696"/>
                  <a:pt x="363" y="1696"/>
                </a:cubicBezTo>
                <a:cubicBezTo>
                  <a:pt x="363" y="1696"/>
                  <a:pt x="363" y="1696"/>
                  <a:pt x="359" y="1696"/>
                </a:cubicBezTo>
                <a:cubicBezTo>
                  <a:pt x="359" y="1696"/>
                  <a:pt x="359" y="1696"/>
                  <a:pt x="359" y="1705"/>
                </a:cubicBezTo>
                <a:cubicBezTo>
                  <a:pt x="359" y="1705"/>
                  <a:pt x="359" y="1705"/>
                  <a:pt x="360" y="1705"/>
                </a:cubicBezTo>
                <a:cubicBezTo>
                  <a:pt x="364" y="1705"/>
                  <a:pt x="366" y="1707"/>
                  <a:pt x="366" y="1711"/>
                </a:cubicBezTo>
                <a:cubicBezTo>
                  <a:pt x="366" y="1712"/>
                  <a:pt x="365" y="1714"/>
                  <a:pt x="365" y="1716"/>
                </a:cubicBezTo>
                <a:cubicBezTo>
                  <a:pt x="365" y="1717"/>
                  <a:pt x="365" y="1719"/>
                  <a:pt x="365" y="1722"/>
                </a:cubicBezTo>
                <a:cubicBezTo>
                  <a:pt x="365" y="1729"/>
                  <a:pt x="368" y="1732"/>
                  <a:pt x="374" y="1733"/>
                </a:cubicBezTo>
                <a:cubicBezTo>
                  <a:pt x="374" y="1733"/>
                  <a:pt x="374" y="1733"/>
                  <a:pt x="374" y="1733"/>
                </a:cubicBezTo>
                <a:cubicBezTo>
                  <a:pt x="368" y="1734"/>
                  <a:pt x="365" y="1737"/>
                  <a:pt x="365" y="1744"/>
                </a:cubicBezTo>
                <a:cubicBezTo>
                  <a:pt x="365" y="1747"/>
                  <a:pt x="365" y="1749"/>
                  <a:pt x="365" y="1750"/>
                </a:cubicBezTo>
                <a:cubicBezTo>
                  <a:pt x="365" y="1752"/>
                  <a:pt x="366" y="1754"/>
                  <a:pt x="366" y="1755"/>
                </a:cubicBezTo>
                <a:cubicBezTo>
                  <a:pt x="366" y="1759"/>
                  <a:pt x="365" y="1761"/>
                  <a:pt x="360" y="1761"/>
                </a:cubicBezTo>
                <a:cubicBezTo>
                  <a:pt x="360" y="1761"/>
                  <a:pt x="360" y="1761"/>
                  <a:pt x="359" y="1761"/>
                </a:cubicBezTo>
                <a:cubicBezTo>
                  <a:pt x="359" y="1761"/>
                  <a:pt x="359" y="1761"/>
                  <a:pt x="359" y="1770"/>
                </a:cubicBezTo>
                <a:cubicBezTo>
                  <a:pt x="359" y="1770"/>
                  <a:pt x="359" y="1770"/>
                  <a:pt x="363" y="1770"/>
                </a:cubicBezTo>
                <a:cubicBezTo>
                  <a:pt x="372" y="1770"/>
                  <a:pt x="377" y="1767"/>
                  <a:pt x="377" y="1757"/>
                </a:cubicBezTo>
                <a:cubicBezTo>
                  <a:pt x="377" y="1755"/>
                  <a:pt x="377" y="1753"/>
                  <a:pt x="377" y="1750"/>
                </a:cubicBezTo>
                <a:cubicBezTo>
                  <a:pt x="377" y="1748"/>
                  <a:pt x="377" y="1745"/>
                  <a:pt x="377" y="1743"/>
                </a:cubicBezTo>
                <a:cubicBezTo>
                  <a:pt x="377" y="1741"/>
                  <a:pt x="377" y="1738"/>
                  <a:pt x="383" y="1737"/>
                </a:cubicBezTo>
                <a:close/>
                <a:moveTo>
                  <a:pt x="710" y="1729"/>
                </a:moveTo>
                <a:cubicBezTo>
                  <a:pt x="710" y="1729"/>
                  <a:pt x="710" y="1729"/>
                  <a:pt x="710" y="1729"/>
                </a:cubicBezTo>
                <a:cubicBezTo>
                  <a:pt x="710" y="1737"/>
                  <a:pt x="710" y="1737"/>
                  <a:pt x="710" y="1737"/>
                </a:cubicBezTo>
                <a:cubicBezTo>
                  <a:pt x="716" y="1738"/>
                  <a:pt x="717" y="1741"/>
                  <a:pt x="717" y="1743"/>
                </a:cubicBezTo>
                <a:cubicBezTo>
                  <a:pt x="717" y="1745"/>
                  <a:pt x="716" y="1748"/>
                  <a:pt x="716" y="1750"/>
                </a:cubicBezTo>
                <a:cubicBezTo>
                  <a:pt x="716" y="1753"/>
                  <a:pt x="716" y="1755"/>
                  <a:pt x="716" y="1757"/>
                </a:cubicBezTo>
                <a:cubicBezTo>
                  <a:pt x="716" y="1767"/>
                  <a:pt x="722" y="1770"/>
                  <a:pt x="730" y="1770"/>
                </a:cubicBezTo>
                <a:cubicBezTo>
                  <a:pt x="730" y="1770"/>
                  <a:pt x="730" y="1770"/>
                  <a:pt x="734" y="1770"/>
                </a:cubicBezTo>
                <a:cubicBezTo>
                  <a:pt x="734" y="1770"/>
                  <a:pt x="734" y="1770"/>
                  <a:pt x="734" y="1761"/>
                </a:cubicBezTo>
                <a:cubicBezTo>
                  <a:pt x="734" y="1761"/>
                  <a:pt x="734" y="1761"/>
                  <a:pt x="732" y="1761"/>
                </a:cubicBezTo>
                <a:cubicBezTo>
                  <a:pt x="729" y="1761"/>
                  <a:pt x="727" y="1759"/>
                  <a:pt x="727" y="1755"/>
                </a:cubicBezTo>
                <a:cubicBezTo>
                  <a:pt x="727" y="1754"/>
                  <a:pt x="727" y="1752"/>
                  <a:pt x="728" y="1750"/>
                </a:cubicBezTo>
                <a:cubicBezTo>
                  <a:pt x="728" y="1749"/>
                  <a:pt x="728" y="1747"/>
                  <a:pt x="728" y="1744"/>
                </a:cubicBezTo>
                <a:cubicBezTo>
                  <a:pt x="728" y="1737"/>
                  <a:pt x="725" y="1734"/>
                  <a:pt x="720" y="1733"/>
                </a:cubicBezTo>
                <a:cubicBezTo>
                  <a:pt x="720" y="1733"/>
                  <a:pt x="720" y="1733"/>
                  <a:pt x="720" y="1733"/>
                </a:cubicBezTo>
                <a:cubicBezTo>
                  <a:pt x="725" y="1732"/>
                  <a:pt x="728" y="1729"/>
                  <a:pt x="728" y="1722"/>
                </a:cubicBezTo>
                <a:cubicBezTo>
                  <a:pt x="728" y="1719"/>
                  <a:pt x="728" y="1717"/>
                  <a:pt x="728" y="1716"/>
                </a:cubicBezTo>
                <a:cubicBezTo>
                  <a:pt x="727" y="1714"/>
                  <a:pt x="727" y="1712"/>
                  <a:pt x="727" y="1711"/>
                </a:cubicBezTo>
                <a:cubicBezTo>
                  <a:pt x="727" y="1707"/>
                  <a:pt x="729" y="1705"/>
                  <a:pt x="732" y="1705"/>
                </a:cubicBezTo>
                <a:cubicBezTo>
                  <a:pt x="732" y="1705"/>
                  <a:pt x="732" y="1705"/>
                  <a:pt x="734" y="1705"/>
                </a:cubicBezTo>
                <a:cubicBezTo>
                  <a:pt x="734" y="1705"/>
                  <a:pt x="734" y="1705"/>
                  <a:pt x="734" y="1696"/>
                </a:cubicBezTo>
                <a:cubicBezTo>
                  <a:pt x="734" y="1696"/>
                  <a:pt x="734" y="1696"/>
                  <a:pt x="730" y="1696"/>
                </a:cubicBezTo>
                <a:cubicBezTo>
                  <a:pt x="721" y="1696"/>
                  <a:pt x="716" y="1700"/>
                  <a:pt x="716" y="1708"/>
                </a:cubicBezTo>
                <a:cubicBezTo>
                  <a:pt x="716" y="1711"/>
                  <a:pt x="716" y="1713"/>
                  <a:pt x="716" y="1716"/>
                </a:cubicBezTo>
                <a:cubicBezTo>
                  <a:pt x="716" y="1718"/>
                  <a:pt x="717" y="1721"/>
                  <a:pt x="717" y="1723"/>
                </a:cubicBezTo>
                <a:cubicBezTo>
                  <a:pt x="717" y="1725"/>
                  <a:pt x="716" y="1729"/>
                  <a:pt x="710" y="1729"/>
                </a:cubicBezTo>
                <a:close/>
                <a:moveTo>
                  <a:pt x="765" y="1737"/>
                </a:moveTo>
                <a:cubicBezTo>
                  <a:pt x="765" y="1737"/>
                  <a:pt x="765" y="1737"/>
                  <a:pt x="765" y="1737"/>
                </a:cubicBezTo>
                <a:cubicBezTo>
                  <a:pt x="765" y="1729"/>
                  <a:pt x="765" y="1729"/>
                  <a:pt x="765" y="1729"/>
                </a:cubicBezTo>
                <a:cubicBezTo>
                  <a:pt x="759" y="1729"/>
                  <a:pt x="758" y="1725"/>
                  <a:pt x="758" y="1723"/>
                </a:cubicBezTo>
                <a:cubicBezTo>
                  <a:pt x="758" y="1721"/>
                  <a:pt x="758" y="1718"/>
                  <a:pt x="759" y="1716"/>
                </a:cubicBezTo>
                <a:cubicBezTo>
                  <a:pt x="759" y="1713"/>
                  <a:pt x="759" y="1711"/>
                  <a:pt x="759" y="1708"/>
                </a:cubicBezTo>
                <a:cubicBezTo>
                  <a:pt x="759" y="1700"/>
                  <a:pt x="754" y="1696"/>
                  <a:pt x="745" y="1696"/>
                </a:cubicBezTo>
                <a:cubicBezTo>
                  <a:pt x="745" y="1696"/>
                  <a:pt x="745" y="1696"/>
                  <a:pt x="741" y="1696"/>
                </a:cubicBezTo>
                <a:cubicBezTo>
                  <a:pt x="741" y="1696"/>
                  <a:pt x="741" y="1696"/>
                  <a:pt x="741" y="1705"/>
                </a:cubicBezTo>
                <a:cubicBezTo>
                  <a:pt x="741" y="1705"/>
                  <a:pt x="741" y="1705"/>
                  <a:pt x="742" y="1705"/>
                </a:cubicBezTo>
                <a:cubicBezTo>
                  <a:pt x="746" y="1705"/>
                  <a:pt x="748" y="1707"/>
                  <a:pt x="748" y="1711"/>
                </a:cubicBezTo>
                <a:cubicBezTo>
                  <a:pt x="748" y="1712"/>
                  <a:pt x="747" y="1714"/>
                  <a:pt x="747" y="1716"/>
                </a:cubicBezTo>
                <a:cubicBezTo>
                  <a:pt x="747" y="1717"/>
                  <a:pt x="747" y="1719"/>
                  <a:pt x="747" y="1722"/>
                </a:cubicBezTo>
                <a:cubicBezTo>
                  <a:pt x="747" y="1729"/>
                  <a:pt x="749" y="1732"/>
                  <a:pt x="755" y="1733"/>
                </a:cubicBezTo>
                <a:cubicBezTo>
                  <a:pt x="755" y="1733"/>
                  <a:pt x="755" y="1733"/>
                  <a:pt x="755" y="1733"/>
                </a:cubicBezTo>
                <a:cubicBezTo>
                  <a:pt x="749" y="1734"/>
                  <a:pt x="747" y="1737"/>
                  <a:pt x="747" y="1744"/>
                </a:cubicBezTo>
                <a:cubicBezTo>
                  <a:pt x="747" y="1747"/>
                  <a:pt x="747" y="1749"/>
                  <a:pt x="747" y="1750"/>
                </a:cubicBezTo>
                <a:cubicBezTo>
                  <a:pt x="747" y="1752"/>
                  <a:pt x="748" y="1754"/>
                  <a:pt x="748" y="1755"/>
                </a:cubicBezTo>
                <a:cubicBezTo>
                  <a:pt x="748" y="1759"/>
                  <a:pt x="747" y="1761"/>
                  <a:pt x="742" y="1761"/>
                </a:cubicBezTo>
                <a:cubicBezTo>
                  <a:pt x="742" y="1761"/>
                  <a:pt x="742" y="1761"/>
                  <a:pt x="741" y="1761"/>
                </a:cubicBezTo>
                <a:cubicBezTo>
                  <a:pt x="741" y="1761"/>
                  <a:pt x="741" y="1761"/>
                  <a:pt x="741" y="1770"/>
                </a:cubicBezTo>
                <a:cubicBezTo>
                  <a:pt x="741" y="1770"/>
                  <a:pt x="741" y="1770"/>
                  <a:pt x="745" y="1770"/>
                </a:cubicBezTo>
                <a:cubicBezTo>
                  <a:pt x="754" y="1770"/>
                  <a:pt x="759" y="1767"/>
                  <a:pt x="759" y="1757"/>
                </a:cubicBezTo>
                <a:cubicBezTo>
                  <a:pt x="759" y="1755"/>
                  <a:pt x="759" y="1753"/>
                  <a:pt x="759" y="1750"/>
                </a:cubicBezTo>
                <a:cubicBezTo>
                  <a:pt x="758" y="1748"/>
                  <a:pt x="758" y="1745"/>
                  <a:pt x="758" y="1743"/>
                </a:cubicBezTo>
                <a:cubicBezTo>
                  <a:pt x="758" y="1741"/>
                  <a:pt x="759" y="1738"/>
                  <a:pt x="765" y="1737"/>
                </a:cubicBezTo>
                <a:close/>
                <a:moveTo>
                  <a:pt x="812" y="1697"/>
                </a:moveTo>
                <a:cubicBezTo>
                  <a:pt x="812" y="1697"/>
                  <a:pt x="812" y="1697"/>
                  <a:pt x="812" y="1697"/>
                </a:cubicBezTo>
                <a:cubicBezTo>
                  <a:pt x="807" y="1697"/>
                  <a:pt x="807" y="1697"/>
                  <a:pt x="807" y="1697"/>
                </a:cubicBezTo>
                <a:cubicBezTo>
                  <a:pt x="805" y="1698"/>
                  <a:pt x="804" y="1700"/>
                  <a:pt x="801" y="1700"/>
                </a:cubicBezTo>
                <a:cubicBezTo>
                  <a:pt x="800" y="1702"/>
                  <a:pt x="798" y="1702"/>
                  <a:pt x="796" y="1703"/>
                </a:cubicBezTo>
                <a:cubicBezTo>
                  <a:pt x="794" y="1704"/>
                  <a:pt x="793" y="1705"/>
                  <a:pt x="791" y="1705"/>
                </a:cubicBezTo>
                <a:cubicBezTo>
                  <a:pt x="789" y="1706"/>
                  <a:pt x="787" y="1707"/>
                  <a:pt x="785" y="1708"/>
                </a:cubicBezTo>
                <a:cubicBezTo>
                  <a:pt x="785" y="1708"/>
                  <a:pt x="785" y="1708"/>
                  <a:pt x="785" y="1718"/>
                </a:cubicBezTo>
                <a:cubicBezTo>
                  <a:pt x="788" y="1717"/>
                  <a:pt x="791" y="1716"/>
                  <a:pt x="793" y="1715"/>
                </a:cubicBezTo>
                <a:cubicBezTo>
                  <a:pt x="796" y="1714"/>
                  <a:pt x="798" y="1713"/>
                  <a:pt x="801" y="1711"/>
                </a:cubicBezTo>
                <a:cubicBezTo>
                  <a:pt x="801" y="1711"/>
                  <a:pt x="801" y="1711"/>
                  <a:pt x="801" y="1770"/>
                </a:cubicBezTo>
                <a:cubicBezTo>
                  <a:pt x="801" y="1770"/>
                  <a:pt x="801" y="1770"/>
                  <a:pt x="812" y="1770"/>
                </a:cubicBezTo>
                <a:cubicBezTo>
                  <a:pt x="812" y="1770"/>
                  <a:pt x="812" y="1770"/>
                  <a:pt x="812" y="1697"/>
                </a:cubicBezTo>
                <a:close/>
                <a:moveTo>
                  <a:pt x="860" y="1697"/>
                </a:moveTo>
                <a:cubicBezTo>
                  <a:pt x="860" y="1697"/>
                  <a:pt x="860" y="1697"/>
                  <a:pt x="860" y="1697"/>
                </a:cubicBezTo>
                <a:cubicBezTo>
                  <a:pt x="854" y="1697"/>
                  <a:pt x="854" y="1697"/>
                  <a:pt x="854" y="1697"/>
                </a:cubicBezTo>
                <a:cubicBezTo>
                  <a:pt x="852" y="1698"/>
                  <a:pt x="851" y="1700"/>
                  <a:pt x="849" y="1700"/>
                </a:cubicBezTo>
                <a:cubicBezTo>
                  <a:pt x="847" y="1702"/>
                  <a:pt x="845" y="1702"/>
                  <a:pt x="844" y="1703"/>
                </a:cubicBezTo>
                <a:cubicBezTo>
                  <a:pt x="842" y="1705"/>
                  <a:pt x="840" y="1705"/>
                  <a:pt x="838" y="1706"/>
                </a:cubicBezTo>
                <a:cubicBezTo>
                  <a:pt x="836" y="1707"/>
                  <a:pt x="835" y="1708"/>
                  <a:pt x="833" y="1708"/>
                </a:cubicBezTo>
                <a:cubicBezTo>
                  <a:pt x="833" y="1708"/>
                  <a:pt x="833" y="1708"/>
                  <a:pt x="833" y="1718"/>
                </a:cubicBezTo>
                <a:cubicBezTo>
                  <a:pt x="836" y="1717"/>
                  <a:pt x="838" y="1716"/>
                  <a:pt x="841" y="1715"/>
                </a:cubicBezTo>
                <a:cubicBezTo>
                  <a:pt x="844" y="1714"/>
                  <a:pt x="846" y="1713"/>
                  <a:pt x="848" y="1711"/>
                </a:cubicBezTo>
                <a:cubicBezTo>
                  <a:pt x="848" y="1711"/>
                  <a:pt x="848" y="1711"/>
                  <a:pt x="848" y="1770"/>
                </a:cubicBezTo>
                <a:cubicBezTo>
                  <a:pt x="848" y="1770"/>
                  <a:pt x="848" y="1770"/>
                  <a:pt x="860" y="1770"/>
                </a:cubicBezTo>
                <a:cubicBezTo>
                  <a:pt x="860" y="1770"/>
                  <a:pt x="860" y="1770"/>
                  <a:pt x="860" y="1697"/>
                </a:cubicBezTo>
                <a:close/>
                <a:moveTo>
                  <a:pt x="906" y="1697"/>
                </a:moveTo>
                <a:cubicBezTo>
                  <a:pt x="906" y="1697"/>
                  <a:pt x="906" y="1697"/>
                  <a:pt x="906" y="1697"/>
                </a:cubicBezTo>
                <a:cubicBezTo>
                  <a:pt x="902" y="1697"/>
                  <a:pt x="902" y="1697"/>
                  <a:pt x="902" y="1697"/>
                </a:cubicBezTo>
                <a:cubicBezTo>
                  <a:pt x="899" y="1698"/>
                  <a:pt x="898" y="1700"/>
                  <a:pt x="896" y="1700"/>
                </a:cubicBezTo>
                <a:cubicBezTo>
                  <a:pt x="894" y="1702"/>
                  <a:pt x="892" y="1702"/>
                  <a:pt x="891" y="1703"/>
                </a:cubicBezTo>
                <a:cubicBezTo>
                  <a:pt x="888" y="1705"/>
                  <a:pt x="887" y="1705"/>
                  <a:pt x="885" y="1706"/>
                </a:cubicBezTo>
                <a:cubicBezTo>
                  <a:pt x="883" y="1707"/>
                  <a:pt x="881" y="1708"/>
                  <a:pt x="880" y="1708"/>
                </a:cubicBezTo>
                <a:cubicBezTo>
                  <a:pt x="880" y="1708"/>
                  <a:pt x="880" y="1708"/>
                  <a:pt x="880" y="1718"/>
                </a:cubicBezTo>
                <a:cubicBezTo>
                  <a:pt x="883" y="1717"/>
                  <a:pt x="886" y="1716"/>
                  <a:pt x="888" y="1715"/>
                </a:cubicBezTo>
                <a:cubicBezTo>
                  <a:pt x="890" y="1714"/>
                  <a:pt x="893" y="1713"/>
                  <a:pt x="894" y="1711"/>
                </a:cubicBezTo>
                <a:cubicBezTo>
                  <a:pt x="894" y="1711"/>
                  <a:pt x="894" y="1711"/>
                  <a:pt x="894" y="1770"/>
                </a:cubicBezTo>
                <a:cubicBezTo>
                  <a:pt x="894" y="1770"/>
                  <a:pt x="894" y="1770"/>
                  <a:pt x="906" y="1770"/>
                </a:cubicBezTo>
                <a:cubicBezTo>
                  <a:pt x="906" y="1770"/>
                  <a:pt x="906" y="1770"/>
                  <a:pt x="906" y="1697"/>
                </a:cubicBezTo>
                <a:close/>
                <a:moveTo>
                  <a:pt x="1029" y="1697"/>
                </a:moveTo>
                <a:cubicBezTo>
                  <a:pt x="1029" y="1697"/>
                  <a:pt x="1029" y="1697"/>
                  <a:pt x="1029" y="1697"/>
                </a:cubicBezTo>
                <a:cubicBezTo>
                  <a:pt x="1024" y="1697"/>
                  <a:pt x="1024" y="1697"/>
                  <a:pt x="1024" y="1697"/>
                </a:cubicBezTo>
                <a:cubicBezTo>
                  <a:pt x="1022" y="1698"/>
                  <a:pt x="1020" y="1700"/>
                  <a:pt x="1018" y="1700"/>
                </a:cubicBezTo>
                <a:cubicBezTo>
                  <a:pt x="1016" y="1702"/>
                  <a:pt x="1015" y="1702"/>
                  <a:pt x="1013" y="1703"/>
                </a:cubicBezTo>
                <a:cubicBezTo>
                  <a:pt x="1011" y="1705"/>
                  <a:pt x="1009" y="1705"/>
                  <a:pt x="1008" y="1706"/>
                </a:cubicBezTo>
                <a:cubicBezTo>
                  <a:pt x="1005" y="1707"/>
                  <a:pt x="1004" y="1708"/>
                  <a:pt x="1002" y="1708"/>
                </a:cubicBezTo>
                <a:cubicBezTo>
                  <a:pt x="1002" y="1708"/>
                  <a:pt x="1002" y="1708"/>
                  <a:pt x="1002" y="1718"/>
                </a:cubicBezTo>
                <a:cubicBezTo>
                  <a:pt x="1005" y="1717"/>
                  <a:pt x="1008" y="1716"/>
                  <a:pt x="1010" y="1715"/>
                </a:cubicBezTo>
                <a:cubicBezTo>
                  <a:pt x="1013" y="1714"/>
                  <a:pt x="1015" y="1713"/>
                  <a:pt x="1017" y="1711"/>
                </a:cubicBezTo>
                <a:cubicBezTo>
                  <a:pt x="1017" y="1711"/>
                  <a:pt x="1017" y="1711"/>
                  <a:pt x="1017" y="1770"/>
                </a:cubicBezTo>
                <a:cubicBezTo>
                  <a:pt x="1017" y="1770"/>
                  <a:pt x="1017" y="1770"/>
                  <a:pt x="1029" y="1770"/>
                </a:cubicBezTo>
                <a:cubicBezTo>
                  <a:pt x="1029" y="1770"/>
                  <a:pt x="1029" y="1770"/>
                  <a:pt x="1029" y="1697"/>
                </a:cubicBezTo>
                <a:close/>
                <a:moveTo>
                  <a:pt x="1076" y="1697"/>
                </a:moveTo>
                <a:cubicBezTo>
                  <a:pt x="1076" y="1697"/>
                  <a:pt x="1076" y="1697"/>
                  <a:pt x="1076" y="1697"/>
                </a:cubicBezTo>
                <a:cubicBezTo>
                  <a:pt x="1071" y="1697"/>
                  <a:pt x="1071" y="1697"/>
                  <a:pt x="1071" y="1697"/>
                </a:cubicBezTo>
                <a:cubicBezTo>
                  <a:pt x="1069" y="1698"/>
                  <a:pt x="1068" y="1700"/>
                  <a:pt x="1065" y="1700"/>
                </a:cubicBezTo>
                <a:cubicBezTo>
                  <a:pt x="1064" y="1702"/>
                  <a:pt x="1062" y="1702"/>
                  <a:pt x="1060" y="1703"/>
                </a:cubicBezTo>
                <a:cubicBezTo>
                  <a:pt x="1059" y="1705"/>
                  <a:pt x="1057" y="1705"/>
                  <a:pt x="1055" y="1706"/>
                </a:cubicBezTo>
                <a:cubicBezTo>
                  <a:pt x="1053" y="1707"/>
                  <a:pt x="1051" y="1708"/>
                  <a:pt x="1049" y="1708"/>
                </a:cubicBezTo>
                <a:cubicBezTo>
                  <a:pt x="1049" y="1708"/>
                  <a:pt x="1049" y="1708"/>
                  <a:pt x="1049" y="1718"/>
                </a:cubicBezTo>
                <a:cubicBezTo>
                  <a:pt x="1052" y="1717"/>
                  <a:pt x="1055" y="1716"/>
                  <a:pt x="1057" y="1715"/>
                </a:cubicBezTo>
                <a:cubicBezTo>
                  <a:pt x="1060" y="1714"/>
                  <a:pt x="1062" y="1713"/>
                  <a:pt x="1065" y="1711"/>
                </a:cubicBezTo>
                <a:cubicBezTo>
                  <a:pt x="1065" y="1711"/>
                  <a:pt x="1065" y="1711"/>
                  <a:pt x="1065" y="1770"/>
                </a:cubicBezTo>
                <a:cubicBezTo>
                  <a:pt x="1065" y="1770"/>
                  <a:pt x="1065" y="1770"/>
                  <a:pt x="1076" y="1770"/>
                </a:cubicBezTo>
                <a:cubicBezTo>
                  <a:pt x="1076" y="1770"/>
                  <a:pt x="1076" y="1770"/>
                  <a:pt x="1076" y="1697"/>
                </a:cubicBezTo>
                <a:close/>
                <a:moveTo>
                  <a:pt x="1123" y="1697"/>
                </a:moveTo>
                <a:cubicBezTo>
                  <a:pt x="1123" y="1697"/>
                  <a:pt x="1123" y="1697"/>
                  <a:pt x="1123" y="1697"/>
                </a:cubicBezTo>
                <a:cubicBezTo>
                  <a:pt x="1119" y="1697"/>
                  <a:pt x="1119" y="1697"/>
                  <a:pt x="1119" y="1697"/>
                </a:cubicBezTo>
                <a:cubicBezTo>
                  <a:pt x="1116" y="1698"/>
                  <a:pt x="1115" y="1700"/>
                  <a:pt x="1113" y="1700"/>
                </a:cubicBezTo>
                <a:cubicBezTo>
                  <a:pt x="1111" y="1702"/>
                  <a:pt x="1109" y="1702"/>
                  <a:pt x="1108" y="1703"/>
                </a:cubicBezTo>
                <a:cubicBezTo>
                  <a:pt x="1105" y="1704"/>
                  <a:pt x="1104" y="1705"/>
                  <a:pt x="1102" y="1705"/>
                </a:cubicBezTo>
                <a:cubicBezTo>
                  <a:pt x="1100" y="1706"/>
                  <a:pt x="1098" y="1707"/>
                  <a:pt x="1097" y="1708"/>
                </a:cubicBezTo>
                <a:cubicBezTo>
                  <a:pt x="1097" y="1708"/>
                  <a:pt x="1097" y="1708"/>
                  <a:pt x="1097" y="1718"/>
                </a:cubicBezTo>
                <a:cubicBezTo>
                  <a:pt x="1100" y="1717"/>
                  <a:pt x="1103" y="1716"/>
                  <a:pt x="1105" y="1715"/>
                </a:cubicBezTo>
                <a:cubicBezTo>
                  <a:pt x="1107" y="1714"/>
                  <a:pt x="1110" y="1713"/>
                  <a:pt x="1111" y="1711"/>
                </a:cubicBezTo>
                <a:cubicBezTo>
                  <a:pt x="1111" y="1711"/>
                  <a:pt x="1111" y="1711"/>
                  <a:pt x="1111" y="1770"/>
                </a:cubicBezTo>
                <a:cubicBezTo>
                  <a:pt x="1111" y="1770"/>
                  <a:pt x="1111" y="1770"/>
                  <a:pt x="1123" y="1770"/>
                </a:cubicBezTo>
                <a:cubicBezTo>
                  <a:pt x="1123" y="1770"/>
                  <a:pt x="1123" y="1770"/>
                  <a:pt x="1123" y="1697"/>
                </a:cubicBezTo>
                <a:close/>
                <a:moveTo>
                  <a:pt x="1168" y="1770"/>
                </a:moveTo>
                <a:cubicBezTo>
                  <a:pt x="1160" y="1770"/>
                  <a:pt x="1154" y="1767"/>
                  <a:pt x="1149" y="1761"/>
                </a:cubicBezTo>
                <a:cubicBezTo>
                  <a:pt x="1145" y="1755"/>
                  <a:pt x="1143" y="1746"/>
                  <a:pt x="1143" y="1733"/>
                </a:cubicBezTo>
                <a:cubicBezTo>
                  <a:pt x="1143" y="1720"/>
                  <a:pt x="1145" y="1711"/>
                  <a:pt x="1150" y="1704"/>
                </a:cubicBezTo>
                <a:cubicBezTo>
                  <a:pt x="1154" y="1697"/>
                  <a:pt x="1161" y="1694"/>
                  <a:pt x="1170" y="1694"/>
                </a:cubicBezTo>
                <a:cubicBezTo>
                  <a:pt x="1186" y="1694"/>
                  <a:pt x="1194" y="1706"/>
                  <a:pt x="1194" y="1732"/>
                </a:cubicBezTo>
                <a:cubicBezTo>
                  <a:pt x="1194" y="1744"/>
                  <a:pt x="1192" y="1754"/>
                  <a:pt x="1187" y="1761"/>
                </a:cubicBezTo>
                <a:cubicBezTo>
                  <a:pt x="1182" y="1767"/>
                  <a:pt x="1176" y="1770"/>
                  <a:pt x="1168" y="1770"/>
                </a:cubicBezTo>
                <a:close/>
                <a:moveTo>
                  <a:pt x="1169" y="1703"/>
                </a:moveTo>
                <a:cubicBezTo>
                  <a:pt x="1159" y="1703"/>
                  <a:pt x="1155" y="1714"/>
                  <a:pt x="1155" y="1733"/>
                </a:cubicBezTo>
                <a:cubicBezTo>
                  <a:pt x="1155" y="1752"/>
                  <a:pt x="1159" y="1761"/>
                  <a:pt x="1168" y="1761"/>
                </a:cubicBezTo>
                <a:cubicBezTo>
                  <a:pt x="1177" y="1761"/>
                  <a:pt x="1182" y="1752"/>
                  <a:pt x="1182" y="1733"/>
                </a:cubicBezTo>
                <a:cubicBezTo>
                  <a:pt x="1182" y="1713"/>
                  <a:pt x="1177" y="1703"/>
                  <a:pt x="1169" y="1703"/>
                </a:cubicBezTo>
                <a:close/>
                <a:moveTo>
                  <a:pt x="1238" y="1770"/>
                </a:moveTo>
                <a:cubicBezTo>
                  <a:pt x="1231" y="1770"/>
                  <a:pt x="1224" y="1767"/>
                  <a:pt x="1221" y="1761"/>
                </a:cubicBezTo>
                <a:cubicBezTo>
                  <a:pt x="1216" y="1755"/>
                  <a:pt x="1214" y="1746"/>
                  <a:pt x="1214" y="1733"/>
                </a:cubicBezTo>
                <a:cubicBezTo>
                  <a:pt x="1214" y="1720"/>
                  <a:pt x="1216" y="1711"/>
                  <a:pt x="1221" y="1704"/>
                </a:cubicBezTo>
                <a:cubicBezTo>
                  <a:pt x="1225" y="1697"/>
                  <a:pt x="1232" y="1694"/>
                  <a:pt x="1241" y="1694"/>
                </a:cubicBezTo>
                <a:cubicBezTo>
                  <a:pt x="1257" y="1694"/>
                  <a:pt x="1265" y="1706"/>
                  <a:pt x="1265" y="1732"/>
                </a:cubicBezTo>
                <a:cubicBezTo>
                  <a:pt x="1265" y="1744"/>
                  <a:pt x="1262" y="1754"/>
                  <a:pt x="1258" y="1761"/>
                </a:cubicBezTo>
                <a:cubicBezTo>
                  <a:pt x="1253" y="1767"/>
                  <a:pt x="1247" y="1770"/>
                  <a:pt x="1238" y="1770"/>
                </a:cubicBezTo>
                <a:close/>
                <a:moveTo>
                  <a:pt x="1240" y="1703"/>
                </a:moveTo>
                <a:cubicBezTo>
                  <a:pt x="1231" y="1703"/>
                  <a:pt x="1226" y="1714"/>
                  <a:pt x="1226" y="1733"/>
                </a:cubicBezTo>
                <a:cubicBezTo>
                  <a:pt x="1226" y="1752"/>
                  <a:pt x="1230" y="1761"/>
                  <a:pt x="1239" y="1761"/>
                </a:cubicBezTo>
                <a:cubicBezTo>
                  <a:pt x="1248" y="1761"/>
                  <a:pt x="1252" y="1752"/>
                  <a:pt x="1252" y="1733"/>
                </a:cubicBezTo>
                <a:cubicBezTo>
                  <a:pt x="1252" y="1713"/>
                  <a:pt x="1248" y="1703"/>
                  <a:pt x="1240" y="1703"/>
                </a:cubicBezTo>
                <a:close/>
                <a:moveTo>
                  <a:pt x="927" y="1729"/>
                </a:moveTo>
                <a:cubicBezTo>
                  <a:pt x="927" y="1729"/>
                  <a:pt x="927" y="1729"/>
                  <a:pt x="927" y="1729"/>
                </a:cubicBezTo>
                <a:cubicBezTo>
                  <a:pt x="926" y="1737"/>
                  <a:pt x="926" y="1737"/>
                  <a:pt x="926" y="1737"/>
                </a:cubicBezTo>
                <a:cubicBezTo>
                  <a:pt x="933" y="1738"/>
                  <a:pt x="933" y="1741"/>
                  <a:pt x="933" y="1743"/>
                </a:cubicBezTo>
                <a:cubicBezTo>
                  <a:pt x="933" y="1745"/>
                  <a:pt x="933" y="1748"/>
                  <a:pt x="933" y="1750"/>
                </a:cubicBezTo>
                <a:cubicBezTo>
                  <a:pt x="933" y="1753"/>
                  <a:pt x="932" y="1755"/>
                  <a:pt x="932" y="1757"/>
                </a:cubicBezTo>
                <a:cubicBezTo>
                  <a:pt x="932" y="1767"/>
                  <a:pt x="938" y="1770"/>
                  <a:pt x="947" y="1770"/>
                </a:cubicBezTo>
                <a:cubicBezTo>
                  <a:pt x="947" y="1770"/>
                  <a:pt x="947" y="1770"/>
                  <a:pt x="951" y="1770"/>
                </a:cubicBezTo>
                <a:cubicBezTo>
                  <a:pt x="951" y="1770"/>
                  <a:pt x="951" y="1770"/>
                  <a:pt x="951" y="1761"/>
                </a:cubicBezTo>
                <a:cubicBezTo>
                  <a:pt x="951" y="1761"/>
                  <a:pt x="951" y="1761"/>
                  <a:pt x="949" y="1761"/>
                </a:cubicBezTo>
                <a:cubicBezTo>
                  <a:pt x="945" y="1761"/>
                  <a:pt x="944" y="1759"/>
                  <a:pt x="944" y="1755"/>
                </a:cubicBezTo>
                <a:cubicBezTo>
                  <a:pt x="944" y="1754"/>
                  <a:pt x="944" y="1752"/>
                  <a:pt x="945" y="1750"/>
                </a:cubicBezTo>
                <a:cubicBezTo>
                  <a:pt x="945" y="1749"/>
                  <a:pt x="945" y="1747"/>
                  <a:pt x="945" y="1744"/>
                </a:cubicBezTo>
                <a:cubicBezTo>
                  <a:pt x="945" y="1737"/>
                  <a:pt x="942" y="1734"/>
                  <a:pt x="936" y="1733"/>
                </a:cubicBezTo>
                <a:cubicBezTo>
                  <a:pt x="936" y="1733"/>
                  <a:pt x="936" y="1733"/>
                  <a:pt x="936" y="1733"/>
                </a:cubicBezTo>
                <a:cubicBezTo>
                  <a:pt x="942" y="1732"/>
                  <a:pt x="945" y="1729"/>
                  <a:pt x="945" y="1722"/>
                </a:cubicBezTo>
                <a:cubicBezTo>
                  <a:pt x="945" y="1719"/>
                  <a:pt x="945" y="1717"/>
                  <a:pt x="945" y="1716"/>
                </a:cubicBezTo>
                <a:cubicBezTo>
                  <a:pt x="944" y="1714"/>
                  <a:pt x="944" y="1712"/>
                  <a:pt x="944" y="1711"/>
                </a:cubicBezTo>
                <a:cubicBezTo>
                  <a:pt x="944" y="1707"/>
                  <a:pt x="945" y="1705"/>
                  <a:pt x="949" y="1705"/>
                </a:cubicBezTo>
                <a:cubicBezTo>
                  <a:pt x="949" y="1705"/>
                  <a:pt x="949" y="1705"/>
                  <a:pt x="951" y="1705"/>
                </a:cubicBezTo>
                <a:cubicBezTo>
                  <a:pt x="951" y="1705"/>
                  <a:pt x="951" y="1705"/>
                  <a:pt x="951" y="1696"/>
                </a:cubicBezTo>
                <a:cubicBezTo>
                  <a:pt x="951" y="1696"/>
                  <a:pt x="951" y="1696"/>
                  <a:pt x="947" y="1696"/>
                </a:cubicBezTo>
                <a:cubicBezTo>
                  <a:pt x="938" y="1696"/>
                  <a:pt x="932" y="1700"/>
                  <a:pt x="932" y="1708"/>
                </a:cubicBezTo>
                <a:cubicBezTo>
                  <a:pt x="932" y="1711"/>
                  <a:pt x="933" y="1713"/>
                  <a:pt x="933" y="1716"/>
                </a:cubicBezTo>
                <a:cubicBezTo>
                  <a:pt x="933" y="1718"/>
                  <a:pt x="933" y="1721"/>
                  <a:pt x="933" y="1723"/>
                </a:cubicBezTo>
                <a:cubicBezTo>
                  <a:pt x="933" y="1725"/>
                  <a:pt x="933" y="1729"/>
                  <a:pt x="927" y="1729"/>
                </a:cubicBezTo>
                <a:close/>
                <a:moveTo>
                  <a:pt x="981" y="1737"/>
                </a:moveTo>
                <a:cubicBezTo>
                  <a:pt x="981" y="1737"/>
                  <a:pt x="981" y="1737"/>
                  <a:pt x="981" y="1737"/>
                </a:cubicBezTo>
                <a:cubicBezTo>
                  <a:pt x="981" y="1729"/>
                  <a:pt x="981" y="1729"/>
                  <a:pt x="981" y="1729"/>
                </a:cubicBezTo>
                <a:cubicBezTo>
                  <a:pt x="975" y="1729"/>
                  <a:pt x="975" y="1725"/>
                  <a:pt x="975" y="1723"/>
                </a:cubicBezTo>
                <a:cubicBezTo>
                  <a:pt x="975" y="1721"/>
                  <a:pt x="975" y="1718"/>
                  <a:pt x="975" y="1716"/>
                </a:cubicBezTo>
                <a:cubicBezTo>
                  <a:pt x="976" y="1713"/>
                  <a:pt x="976" y="1711"/>
                  <a:pt x="976" y="1708"/>
                </a:cubicBezTo>
                <a:cubicBezTo>
                  <a:pt x="976" y="1700"/>
                  <a:pt x="970" y="1696"/>
                  <a:pt x="961" y="1696"/>
                </a:cubicBezTo>
                <a:cubicBezTo>
                  <a:pt x="961" y="1696"/>
                  <a:pt x="961" y="1696"/>
                  <a:pt x="957" y="1696"/>
                </a:cubicBezTo>
                <a:cubicBezTo>
                  <a:pt x="957" y="1696"/>
                  <a:pt x="957" y="1696"/>
                  <a:pt x="957" y="1705"/>
                </a:cubicBezTo>
                <a:cubicBezTo>
                  <a:pt x="957" y="1705"/>
                  <a:pt x="957" y="1705"/>
                  <a:pt x="959" y="1705"/>
                </a:cubicBezTo>
                <a:cubicBezTo>
                  <a:pt x="963" y="1705"/>
                  <a:pt x="964" y="1707"/>
                  <a:pt x="964" y="1711"/>
                </a:cubicBezTo>
                <a:cubicBezTo>
                  <a:pt x="964" y="1712"/>
                  <a:pt x="964" y="1714"/>
                  <a:pt x="964" y="1716"/>
                </a:cubicBezTo>
                <a:cubicBezTo>
                  <a:pt x="963" y="1717"/>
                  <a:pt x="963" y="1719"/>
                  <a:pt x="963" y="1722"/>
                </a:cubicBezTo>
                <a:cubicBezTo>
                  <a:pt x="963" y="1729"/>
                  <a:pt x="966" y="1732"/>
                  <a:pt x="972" y="1733"/>
                </a:cubicBezTo>
                <a:cubicBezTo>
                  <a:pt x="972" y="1733"/>
                  <a:pt x="972" y="1733"/>
                  <a:pt x="972" y="1733"/>
                </a:cubicBezTo>
                <a:cubicBezTo>
                  <a:pt x="966" y="1734"/>
                  <a:pt x="963" y="1737"/>
                  <a:pt x="963" y="1744"/>
                </a:cubicBezTo>
                <a:cubicBezTo>
                  <a:pt x="963" y="1747"/>
                  <a:pt x="963" y="1749"/>
                  <a:pt x="964" y="1750"/>
                </a:cubicBezTo>
                <a:cubicBezTo>
                  <a:pt x="964" y="1752"/>
                  <a:pt x="964" y="1754"/>
                  <a:pt x="964" y="1755"/>
                </a:cubicBezTo>
                <a:cubicBezTo>
                  <a:pt x="964" y="1759"/>
                  <a:pt x="963" y="1761"/>
                  <a:pt x="959" y="1761"/>
                </a:cubicBezTo>
                <a:cubicBezTo>
                  <a:pt x="959" y="1761"/>
                  <a:pt x="959" y="1761"/>
                  <a:pt x="957" y="1761"/>
                </a:cubicBezTo>
                <a:cubicBezTo>
                  <a:pt x="957" y="1761"/>
                  <a:pt x="957" y="1761"/>
                  <a:pt x="957" y="1770"/>
                </a:cubicBezTo>
                <a:cubicBezTo>
                  <a:pt x="957" y="1770"/>
                  <a:pt x="957" y="1770"/>
                  <a:pt x="961" y="1770"/>
                </a:cubicBezTo>
                <a:cubicBezTo>
                  <a:pt x="970" y="1770"/>
                  <a:pt x="976" y="1767"/>
                  <a:pt x="976" y="1757"/>
                </a:cubicBezTo>
                <a:cubicBezTo>
                  <a:pt x="976" y="1755"/>
                  <a:pt x="976" y="1753"/>
                  <a:pt x="975" y="1750"/>
                </a:cubicBezTo>
                <a:cubicBezTo>
                  <a:pt x="975" y="1748"/>
                  <a:pt x="975" y="1745"/>
                  <a:pt x="975" y="1743"/>
                </a:cubicBezTo>
                <a:cubicBezTo>
                  <a:pt x="975" y="1741"/>
                  <a:pt x="975" y="1738"/>
                  <a:pt x="981" y="1737"/>
                </a:cubicBezTo>
                <a:close/>
                <a:moveTo>
                  <a:pt x="1451" y="1770"/>
                </a:moveTo>
                <a:cubicBezTo>
                  <a:pt x="1444" y="1770"/>
                  <a:pt x="1438" y="1767"/>
                  <a:pt x="1433" y="1761"/>
                </a:cubicBezTo>
                <a:cubicBezTo>
                  <a:pt x="1429" y="1755"/>
                  <a:pt x="1427" y="1745"/>
                  <a:pt x="1427" y="1733"/>
                </a:cubicBezTo>
                <a:cubicBezTo>
                  <a:pt x="1427" y="1720"/>
                  <a:pt x="1429" y="1711"/>
                  <a:pt x="1433" y="1703"/>
                </a:cubicBezTo>
                <a:cubicBezTo>
                  <a:pt x="1438" y="1697"/>
                  <a:pt x="1444" y="1694"/>
                  <a:pt x="1453" y="1694"/>
                </a:cubicBezTo>
                <a:cubicBezTo>
                  <a:pt x="1469" y="1694"/>
                  <a:pt x="1477" y="1706"/>
                  <a:pt x="1477" y="1731"/>
                </a:cubicBezTo>
                <a:cubicBezTo>
                  <a:pt x="1477" y="1744"/>
                  <a:pt x="1475" y="1754"/>
                  <a:pt x="1471" y="1761"/>
                </a:cubicBezTo>
                <a:cubicBezTo>
                  <a:pt x="1466" y="1767"/>
                  <a:pt x="1460" y="1770"/>
                  <a:pt x="1451" y="1770"/>
                </a:cubicBezTo>
                <a:close/>
                <a:moveTo>
                  <a:pt x="1452" y="1703"/>
                </a:moveTo>
                <a:cubicBezTo>
                  <a:pt x="1444" y="1703"/>
                  <a:pt x="1439" y="1713"/>
                  <a:pt x="1439" y="1733"/>
                </a:cubicBezTo>
                <a:cubicBezTo>
                  <a:pt x="1439" y="1751"/>
                  <a:pt x="1444" y="1761"/>
                  <a:pt x="1452" y="1761"/>
                </a:cubicBezTo>
                <a:cubicBezTo>
                  <a:pt x="1460" y="1761"/>
                  <a:pt x="1465" y="1751"/>
                  <a:pt x="1465" y="1733"/>
                </a:cubicBezTo>
                <a:cubicBezTo>
                  <a:pt x="1465" y="1713"/>
                  <a:pt x="1461" y="1703"/>
                  <a:pt x="1452" y="1703"/>
                </a:cubicBezTo>
                <a:close/>
                <a:moveTo>
                  <a:pt x="1569" y="1770"/>
                </a:moveTo>
                <a:cubicBezTo>
                  <a:pt x="1562" y="1770"/>
                  <a:pt x="1556" y="1767"/>
                  <a:pt x="1552" y="1761"/>
                </a:cubicBezTo>
                <a:cubicBezTo>
                  <a:pt x="1547" y="1755"/>
                  <a:pt x="1545" y="1745"/>
                  <a:pt x="1545" y="1733"/>
                </a:cubicBezTo>
                <a:cubicBezTo>
                  <a:pt x="1545" y="1720"/>
                  <a:pt x="1547" y="1711"/>
                  <a:pt x="1552" y="1703"/>
                </a:cubicBezTo>
                <a:cubicBezTo>
                  <a:pt x="1556" y="1697"/>
                  <a:pt x="1563" y="1694"/>
                  <a:pt x="1571" y="1694"/>
                </a:cubicBezTo>
                <a:cubicBezTo>
                  <a:pt x="1587" y="1694"/>
                  <a:pt x="1595" y="1706"/>
                  <a:pt x="1595" y="1731"/>
                </a:cubicBezTo>
                <a:cubicBezTo>
                  <a:pt x="1595" y="1744"/>
                  <a:pt x="1593" y="1754"/>
                  <a:pt x="1589" y="1761"/>
                </a:cubicBezTo>
                <a:cubicBezTo>
                  <a:pt x="1584" y="1767"/>
                  <a:pt x="1578" y="1770"/>
                  <a:pt x="1569" y="1770"/>
                </a:cubicBezTo>
                <a:close/>
                <a:moveTo>
                  <a:pt x="1571" y="1703"/>
                </a:moveTo>
                <a:cubicBezTo>
                  <a:pt x="1562" y="1703"/>
                  <a:pt x="1557" y="1713"/>
                  <a:pt x="1557" y="1733"/>
                </a:cubicBezTo>
                <a:cubicBezTo>
                  <a:pt x="1557" y="1751"/>
                  <a:pt x="1562" y="1761"/>
                  <a:pt x="1571" y="1761"/>
                </a:cubicBezTo>
                <a:cubicBezTo>
                  <a:pt x="1579" y="1761"/>
                  <a:pt x="1583" y="1751"/>
                  <a:pt x="1583" y="1733"/>
                </a:cubicBezTo>
                <a:cubicBezTo>
                  <a:pt x="1583" y="1713"/>
                  <a:pt x="1579" y="1703"/>
                  <a:pt x="1571" y="1703"/>
                </a:cubicBezTo>
                <a:close/>
                <a:moveTo>
                  <a:pt x="1524" y="1697"/>
                </a:moveTo>
                <a:cubicBezTo>
                  <a:pt x="1524" y="1697"/>
                  <a:pt x="1524" y="1697"/>
                  <a:pt x="1524" y="1697"/>
                </a:cubicBezTo>
                <a:cubicBezTo>
                  <a:pt x="1519" y="1697"/>
                  <a:pt x="1519" y="1697"/>
                  <a:pt x="1519" y="1697"/>
                </a:cubicBezTo>
                <a:cubicBezTo>
                  <a:pt x="1517" y="1698"/>
                  <a:pt x="1516" y="1700"/>
                  <a:pt x="1514" y="1700"/>
                </a:cubicBezTo>
                <a:cubicBezTo>
                  <a:pt x="1512" y="1702"/>
                  <a:pt x="1510" y="1702"/>
                  <a:pt x="1509" y="1703"/>
                </a:cubicBezTo>
                <a:cubicBezTo>
                  <a:pt x="1507" y="1704"/>
                  <a:pt x="1505" y="1705"/>
                  <a:pt x="1504" y="1705"/>
                </a:cubicBezTo>
                <a:cubicBezTo>
                  <a:pt x="1502" y="1706"/>
                  <a:pt x="1500" y="1707"/>
                  <a:pt x="1498" y="1708"/>
                </a:cubicBezTo>
                <a:cubicBezTo>
                  <a:pt x="1498" y="1708"/>
                  <a:pt x="1498" y="1708"/>
                  <a:pt x="1498" y="1718"/>
                </a:cubicBezTo>
                <a:cubicBezTo>
                  <a:pt x="1501" y="1717"/>
                  <a:pt x="1504" y="1716"/>
                  <a:pt x="1506" y="1715"/>
                </a:cubicBezTo>
                <a:cubicBezTo>
                  <a:pt x="1509" y="1714"/>
                  <a:pt x="1511" y="1713"/>
                  <a:pt x="1513" y="1711"/>
                </a:cubicBezTo>
                <a:cubicBezTo>
                  <a:pt x="1513" y="1711"/>
                  <a:pt x="1513" y="1711"/>
                  <a:pt x="1513" y="1770"/>
                </a:cubicBezTo>
                <a:cubicBezTo>
                  <a:pt x="1513" y="1770"/>
                  <a:pt x="1513" y="1770"/>
                  <a:pt x="1524" y="1770"/>
                </a:cubicBezTo>
                <a:cubicBezTo>
                  <a:pt x="1524" y="1770"/>
                  <a:pt x="1524" y="1770"/>
                  <a:pt x="1524" y="1697"/>
                </a:cubicBezTo>
                <a:close/>
                <a:moveTo>
                  <a:pt x="1640" y="1770"/>
                </a:moveTo>
                <a:cubicBezTo>
                  <a:pt x="1632" y="1770"/>
                  <a:pt x="1626" y="1767"/>
                  <a:pt x="1622" y="1761"/>
                </a:cubicBezTo>
                <a:cubicBezTo>
                  <a:pt x="1618" y="1755"/>
                  <a:pt x="1616" y="1746"/>
                  <a:pt x="1616" y="1733"/>
                </a:cubicBezTo>
                <a:cubicBezTo>
                  <a:pt x="1616" y="1720"/>
                  <a:pt x="1618" y="1711"/>
                  <a:pt x="1622" y="1704"/>
                </a:cubicBezTo>
                <a:cubicBezTo>
                  <a:pt x="1627" y="1697"/>
                  <a:pt x="1633" y="1694"/>
                  <a:pt x="1642" y="1694"/>
                </a:cubicBezTo>
                <a:cubicBezTo>
                  <a:pt x="1658" y="1694"/>
                  <a:pt x="1666" y="1706"/>
                  <a:pt x="1666" y="1732"/>
                </a:cubicBezTo>
                <a:cubicBezTo>
                  <a:pt x="1666" y="1744"/>
                  <a:pt x="1664" y="1754"/>
                  <a:pt x="1660" y="1761"/>
                </a:cubicBezTo>
                <a:cubicBezTo>
                  <a:pt x="1655" y="1767"/>
                  <a:pt x="1649" y="1770"/>
                  <a:pt x="1640" y="1770"/>
                </a:cubicBezTo>
                <a:close/>
                <a:moveTo>
                  <a:pt x="1641" y="1703"/>
                </a:moveTo>
                <a:cubicBezTo>
                  <a:pt x="1632" y="1703"/>
                  <a:pt x="1627" y="1714"/>
                  <a:pt x="1627" y="1733"/>
                </a:cubicBezTo>
                <a:cubicBezTo>
                  <a:pt x="1627" y="1752"/>
                  <a:pt x="1632" y="1761"/>
                  <a:pt x="1641" y="1761"/>
                </a:cubicBezTo>
                <a:cubicBezTo>
                  <a:pt x="1649" y="1761"/>
                  <a:pt x="1654" y="1752"/>
                  <a:pt x="1654" y="1733"/>
                </a:cubicBezTo>
                <a:cubicBezTo>
                  <a:pt x="1654" y="1713"/>
                  <a:pt x="1649" y="1703"/>
                  <a:pt x="1641" y="1703"/>
                </a:cubicBezTo>
                <a:close/>
                <a:moveTo>
                  <a:pt x="1687" y="1729"/>
                </a:moveTo>
                <a:cubicBezTo>
                  <a:pt x="1687" y="1729"/>
                  <a:pt x="1687" y="1729"/>
                  <a:pt x="1687" y="1729"/>
                </a:cubicBezTo>
                <a:cubicBezTo>
                  <a:pt x="1687" y="1737"/>
                  <a:pt x="1687" y="1737"/>
                  <a:pt x="1687" y="1737"/>
                </a:cubicBezTo>
                <a:cubicBezTo>
                  <a:pt x="1693" y="1738"/>
                  <a:pt x="1694" y="1741"/>
                  <a:pt x="1694" y="1743"/>
                </a:cubicBezTo>
                <a:cubicBezTo>
                  <a:pt x="1694" y="1745"/>
                  <a:pt x="1693" y="1748"/>
                  <a:pt x="1693" y="1750"/>
                </a:cubicBezTo>
                <a:cubicBezTo>
                  <a:pt x="1693" y="1753"/>
                  <a:pt x="1692" y="1755"/>
                  <a:pt x="1692" y="1757"/>
                </a:cubicBezTo>
                <a:cubicBezTo>
                  <a:pt x="1692" y="1767"/>
                  <a:pt x="1698" y="1770"/>
                  <a:pt x="1707" y="1770"/>
                </a:cubicBezTo>
                <a:cubicBezTo>
                  <a:pt x="1707" y="1770"/>
                  <a:pt x="1707" y="1770"/>
                  <a:pt x="1711" y="1770"/>
                </a:cubicBezTo>
                <a:cubicBezTo>
                  <a:pt x="1711" y="1770"/>
                  <a:pt x="1711" y="1770"/>
                  <a:pt x="1711" y="1761"/>
                </a:cubicBezTo>
                <a:cubicBezTo>
                  <a:pt x="1711" y="1761"/>
                  <a:pt x="1711" y="1761"/>
                  <a:pt x="1709" y="1761"/>
                </a:cubicBezTo>
                <a:cubicBezTo>
                  <a:pt x="1705" y="1761"/>
                  <a:pt x="1704" y="1759"/>
                  <a:pt x="1704" y="1755"/>
                </a:cubicBezTo>
                <a:cubicBezTo>
                  <a:pt x="1704" y="1754"/>
                  <a:pt x="1704" y="1752"/>
                  <a:pt x="1705" y="1750"/>
                </a:cubicBezTo>
                <a:cubicBezTo>
                  <a:pt x="1705" y="1749"/>
                  <a:pt x="1705" y="1747"/>
                  <a:pt x="1705" y="1744"/>
                </a:cubicBezTo>
                <a:cubicBezTo>
                  <a:pt x="1705" y="1737"/>
                  <a:pt x="1702" y="1734"/>
                  <a:pt x="1697" y="1733"/>
                </a:cubicBezTo>
                <a:cubicBezTo>
                  <a:pt x="1697" y="1733"/>
                  <a:pt x="1697" y="1733"/>
                  <a:pt x="1697" y="1733"/>
                </a:cubicBezTo>
                <a:cubicBezTo>
                  <a:pt x="1702" y="1732"/>
                  <a:pt x="1705" y="1729"/>
                  <a:pt x="1705" y="1722"/>
                </a:cubicBezTo>
                <a:cubicBezTo>
                  <a:pt x="1705" y="1719"/>
                  <a:pt x="1705" y="1717"/>
                  <a:pt x="1705" y="1716"/>
                </a:cubicBezTo>
                <a:cubicBezTo>
                  <a:pt x="1704" y="1714"/>
                  <a:pt x="1704" y="1712"/>
                  <a:pt x="1704" y="1711"/>
                </a:cubicBezTo>
                <a:cubicBezTo>
                  <a:pt x="1704" y="1707"/>
                  <a:pt x="1705" y="1705"/>
                  <a:pt x="1709" y="1705"/>
                </a:cubicBezTo>
                <a:cubicBezTo>
                  <a:pt x="1709" y="1705"/>
                  <a:pt x="1709" y="1705"/>
                  <a:pt x="1711" y="1705"/>
                </a:cubicBezTo>
                <a:cubicBezTo>
                  <a:pt x="1711" y="1705"/>
                  <a:pt x="1711" y="1705"/>
                  <a:pt x="1711" y="1696"/>
                </a:cubicBezTo>
                <a:cubicBezTo>
                  <a:pt x="1711" y="1696"/>
                  <a:pt x="1711" y="1696"/>
                  <a:pt x="1707" y="1696"/>
                </a:cubicBezTo>
                <a:cubicBezTo>
                  <a:pt x="1698" y="1696"/>
                  <a:pt x="1692" y="1700"/>
                  <a:pt x="1692" y="1708"/>
                </a:cubicBezTo>
                <a:cubicBezTo>
                  <a:pt x="1692" y="1711"/>
                  <a:pt x="1693" y="1713"/>
                  <a:pt x="1693" y="1716"/>
                </a:cubicBezTo>
                <a:cubicBezTo>
                  <a:pt x="1693" y="1718"/>
                  <a:pt x="1694" y="1721"/>
                  <a:pt x="1694" y="1723"/>
                </a:cubicBezTo>
                <a:cubicBezTo>
                  <a:pt x="1694" y="1725"/>
                  <a:pt x="1693" y="1729"/>
                  <a:pt x="1687" y="1729"/>
                </a:cubicBezTo>
                <a:close/>
                <a:moveTo>
                  <a:pt x="1742" y="1737"/>
                </a:moveTo>
                <a:cubicBezTo>
                  <a:pt x="1742" y="1737"/>
                  <a:pt x="1742" y="1737"/>
                  <a:pt x="1742" y="1737"/>
                </a:cubicBezTo>
                <a:cubicBezTo>
                  <a:pt x="1742" y="1729"/>
                  <a:pt x="1742" y="1729"/>
                  <a:pt x="1742" y="1729"/>
                </a:cubicBezTo>
                <a:cubicBezTo>
                  <a:pt x="1735" y="1729"/>
                  <a:pt x="1735" y="1725"/>
                  <a:pt x="1735" y="1723"/>
                </a:cubicBezTo>
                <a:cubicBezTo>
                  <a:pt x="1735" y="1721"/>
                  <a:pt x="1735" y="1718"/>
                  <a:pt x="1735" y="1716"/>
                </a:cubicBezTo>
                <a:cubicBezTo>
                  <a:pt x="1736" y="1713"/>
                  <a:pt x="1736" y="1711"/>
                  <a:pt x="1736" y="1708"/>
                </a:cubicBezTo>
                <a:cubicBezTo>
                  <a:pt x="1736" y="1700"/>
                  <a:pt x="1731" y="1696"/>
                  <a:pt x="1721" y="1696"/>
                </a:cubicBezTo>
                <a:cubicBezTo>
                  <a:pt x="1721" y="1696"/>
                  <a:pt x="1721" y="1696"/>
                  <a:pt x="1718" y="1696"/>
                </a:cubicBezTo>
                <a:cubicBezTo>
                  <a:pt x="1718" y="1696"/>
                  <a:pt x="1718" y="1696"/>
                  <a:pt x="1718" y="1705"/>
                </a:cubicBezTo>
                <a:cubicBezTo>
                  <a:pt x="1718" y="1705"/>
                  <a:pt x="1718" y="1705"/>
                  <a:pt x="1719" y="1705"/>
                </a:cubicBezTo>
                <a:cubicBezTo>
                  <a:pt x="1723" y="1705"/>
                  <a:pt x="1724" y="1707"/>
                  <a:pt x="1724" y="1711"/>
                </a:cubicBezTo>
                <a:cubicBezTo>
                  <a:pt x="1724" y="1712"/>
                  <a:pt x="1724" y="1714"/>
                  <a:pt x="1724" y="1716"/>
                </a:cubicBezTo>
                <a:cubicBezTo>
                  <a:pt x="1724" y="1717"/>
                  <a:pt x="1724" y="1719"/>
                  <a:pt x="1724" y="1722"/>
                </a:cubicBezTo>
                <a:cubicBezTo>
                  <a:pt x="1724" y="1729"/>
                  <a:pt x="1726" y="1732"/>
                  <a:pt x="1732" y="1733"/>
                </a:cubicBezTo>
                <a:cubicBezTo>
                  <a:pt x="1732" y="1733"/>
                  <a:pt x="1732" y="1733"/>
                  <a:pt x="1732" y="1733"/>
                </a:cubicBezTo>
                <a:cubicBezTo>
                  <a:pt x="1726" y="1734"/>
                  <a:pt x="1724" y="1737"/>
                  <a:pt x="1724" y="1744"/>
                </a:cubicBezTo>
                <a:cubicBezTo>
                  <a:pt x="1724" y="1747"/>
                  <a:pt x="1724" y="1749"/>
                  <a:pt x="1724" y="1750"/>
                </a:cubicBezTo>
                <a:cubicBezTo>
                  <a:pt x="1724" y="1752"/>
                  <a:pt x="1724" y="1754"/>
                  <a:pt x="1724" y="1755"/>
                </a:cubicBezTo>
                <a:cubicBezTo>
                  <a:pt x="1724" y="1759"/>
                  <a:pt x="1723" y="1761"/>
                  <a:pt x="1719" y="1761"/>
                </a:cubicBezTo>
                <a:cubicBezTo>
                  <a:pt x="1719" y="1761"/>
                  <a:pt x="1719" y="1761"/>
                  <a:pt x="1718" y="1761"/>
                </a:cubicBezTo>
                <a:cubicBezTo>
                  <a:pt x="1718" y="1761"/>
                  <a:pt x="1718" y="1761"/>
                  <a:pt x="1718" y="1770"/>
                </a:cubicBezTo>
                <a:cubicBezTo>
                  <a:pt x="1718" y="1770"/>
                  <a:pt x="1718" y="1770"/>
                  <a:pt x="1721" y="1770"/>
                </a:cubicBezTo>
                <a:cubicBezTo>
                  <a:pt x="1730" y="1770"/>
                  <a:pt x="1736" y="1767"/>
                  <a:pt x="1736" y="1757"/>
                </a:cubicBezTo>
                <a:cubicBezTo>
                  <a:pt x="1736" y="1755"/>
                  <a:pt x="1736" y="1753"/>
                  <a:pt x="1735" y="1750"/>
                </a:cubicBezTo>
                <a:cubicBezTo>
                  <a:pt x="1735" y="1748"/>
                  <a:pt x="1735" y="1745"/>
                  <a:pt x="1735" y="1743"/>
                </a:cubicBezTo>
                <a:cubicBezTo>
                  <a:pt x="1735" y="1741"/>
                  <a:pt x="1735" y="1738"/>
                  <a:pt x="1742" y="1737"/>
                </a:cubicBezTo>
                <a:close/>
                <a:moveTo>
                  <a:pt x="1862" y="1770"/>
                </a:moveTo>
                <a:cubicBezTo>
                  <a:pt x="1855" y="1770"/>
                  <a:pt x="1848" y="1767"/>
                  <a:pt x="1844" y="1761"/>
                </a:cubicBezTo>
                <a:cubicBezTo>
                  <a:pt x="1840" y="1755"/>
                  <a:pt x="1838" y="1746"/>
                  <a:pt x="1838" y="1733"/>
                </a:cubicBezTo>
                <a:cubicBezTo>
                  <a:pt x="1838" y="1720"/>
                  <a:pt x="1840" y="1711"/>
                  <a:pt x="1844" y="1704"/>
                </a:cubicBezTo>
                <a:cubicBezTo>
                  <a:pt x="1849" y="1697"/>
                  <a:pt x="1855" y="1694"/>
                  <a:pt x="1864" y="1694"/>
                </a:cubicBezTo>
                <a:cubicBezTo>
                  <a:pt x="1880" y="1694"/>
                  <a:pt x="1888" y="1706"/>
                  <a:pt x="1888" y="1732"/>
                </a:cubicBezTo>
                <a:cubicBezTo>
                  <a:pt x="1888" y="1744"/>
                  <a:pt x="1886" y="1754"/>
                  <a:pt x="1881" y="1761"/>
                </a:cubicBezTo>
                <a:cubicBezTo>
                  <a:pt x="1876" y="1767"/>
                  <a:pt x="1870" y="1770"/>
                  <a:pt x="1862" y="1770"/>
                </a:cubicBezTo>
                <a:close/>
                <a:moveTo>
                  <a:pt x="1863" y="1703"/>
                </a:moveTo>
                <a:cubicBezTo>
                  <a:pt x="1854" y="1703"/>
                  <a:pt x="1849" y="1714"/>
                  <a:pt x="1849" y="1733"/>
                </a:cubicBezTo>
                <a:cubicBezTo>
                  <a:pt x="1849" y="1752"/>
                  <a:pt x="1854" y="1761"/>
                  <a:pt x="1863" y="1761"/>
                </a:cubicBezTo>
                <a:cubicBezTo>
                  <a:pt x="1871" y="1761"/>
                  <a:pt x="1876" y="1752"/>
                  <a:pt x="1876" y="1733"/>
                </a:cubicBezTo>
                <a:cubicBezTo>
                  <a:pt x="1876" y="1713"/>
                  <a:pt x="1871" y="1703"/>
                  <a:pt x="1863" y="1703"/>
                </a:cubicBezTo>
                <a:close/>
                <a:moveTo>
                  <a:pt x="1932" y="1697"/>
                </a:moveTo>
                <a:cubicBezTo>
                  <a:pt x="1932" y="1697"/>
                  <a:pt x="1932" y="1697"/>
                  <a:pt x="1932" y="1697"/>
                </a:cubicBezTo>
                <a:cubicBezTo>
                  <a:pt x="1927" y="1697"/>
                  <a:pt x="1927" y="1697"/>
                  <a:pt x="1927" y="1697"/>
                </a:cubicBezTo>
                <a:cubicBezTo>
                  <a:pt x="1924" y="1698"/>
                  <a:pt x="1923" y="1700"/>
                  <a:pt x="1921" y="1700"/>
                </a:cubicBezTo>
                <a:cubicBezTo>
                  <a:pt x="1919" y="1702"/>
                  <a:pt x="1917" y="1702"/>
                  <a:pt x="1916" y="1703"/>
                </a:cubicBezTo>
                <a:cubicBezTo>
                  <a:pt x="1913" y="1704"/>
                  <a:pt x="1912" y="1705"/>
                  <a:pt x="1910" y="1705"/>
                </a:cubicBezTo>
                <a:cubicBezTo>
                  <a:pt x="1908" y="1706"/>
                  <a:pt x="1907" y="1707"/>
                  <a:pt x="1904" y="1708"/>
                </a:cubicBezTo>
                <a:cubicBezTo>
                  <a:pt x="1904" y="1708"/>
                  <a:pt x="1904" y="1708"/>
                  <a:pt x="1904" y="1718"/>
                </a:cubicBezTo>
                <a:cubicBezTo>
                  <a:pt x="1907" y="1717"/>
                  <a:pt x="1910" y="1716"/>
                  <a:pt x="1913" y="1715"/>
                </a:cubicBezTo>
                <a:cubicBezTo>
                  <a:pt x="1916" y="1714"/>
                  <a:pt x="1918" y="1713"/>
                  <a:pt x="1920" y="1711"/>
                </a:cubicBezTo>
                <a:cubicBezTo>
                  <a:pt x="1920" y="1711"/>
                  <a:pt x="1920" y="1711"/>
                  <a:pt x="1920" y="1770"/>
                </a:cubicBezTo>
                <a:cubicBezTo>
                  <a:pt x="1920" y="1770"/>
                  <a:pt x="1920" y="1770"/>
                  <a:pt x="1932" y="1770"/>
                </a:cubicBezTo>
                <a:cubicBezTo>
                  <a:pt x="1932" y="1770"/>
                  <a:pt x="1932" y="1770"/>
                  <a:pt x="1932" y="1697"/>
                </a:cubicBezTo>
                <a:close/>
                <a:moveTo>
                  <a:pt x="128" y="1639"/>
                </a:moveTo>
                <a:cubicBezTo>
                  <a:pt x="128" y="1640"/>
                  <a:pt x="129" y="1642"/>
                  <a:pt x="130" y="1643"/>
                </a:cubicBezTo>
                <a:cubicBezTo>
                  <a:pt x="130" y="1645"/>
                  <a:pt x="130" y="1647"/>
                  <a:pt x="131" y="1648"/>
                </a:cubicBezTo>
                <a:cubicBezTo>
                  <a:pt x="131" y="1650"/>
                  <a:pt x="131" y="1652"/>
                  <a:pt x="131" y="1653"/>
                </a:cubicBezTo>
                <a:cubicBezTo>
                  <a:pt x="132" y="1656"/>
                  <a:pt x="131" y="1658"/>
                  <a:pt x="128" y="1658"/>
                </a:cubicBezTo>
                <a:cubicBezTo>
                  <a:pt x="125" y="1658"/>
                  <a:pt x="122" y="1657"/>
                  <a:pt x="119" y="1657"/>
                </a:cubicBezTo>
                <a:cubicBezTo>
                  <a:pt x="119" y="1657"/>
                  <a:pt x="118" y="1657"/>
                  <a:pt x="118" y="1658"/>
                </a:cubicBezTo>
                <a:cubicBezTo>
                  <a:pt x="116" y="1659"/>
                  <a:pt x="115" y="1661"/>
                  <a:pt x="114" y="1662"/>
                </a:cubicBezTo>
                <a:cubicBezTo>
                  <a:pt x="112" y="1665"/>
                  <a:pt x="108" y="1665"/>
                  <a:pt x="106" y="1663"/>
                </a:cubicBezTo>
                <a:cubicBezTo>
                  <a:pt x="104" y="1661"/>
                  <a:pt x="103" y="1658"/>
                  <a:pt x="101" y="1656"/>
                </a:cubicBezTo>
                <a:cubicBezTo>
                  <a:pt x="101" y="1654"/>
                  <a:pt x="101" y="1652"/>
                  <a:pt x="103" y="1651"/>
                </a:cubicBezTo>
                <a:cubicBezTo>
                  <a:pt x="101" y="1651"/>
                  <a:pt x="99" y="1651"/>
                  <a:pt x="97" y="1651"/>
                </a:cubicBezTo>
                <a:cubicBezTo>
                  <a:pt x="97" y="1653"/>
                  <a:pt x="95" y="1655"/>
                  <a:pt x="95" y="1657"/>
                </a:cubicBezTo>
                <a:cubicBezTo>
                  <a:pt x="95" y="1657"/>
                  <a:pt x="94" y="1658"/>
                  <a:pt x="94" y="1659"/>
                </a:cubicBezTo>
                <a:cubicBezTo>
                  <a:pt x="94" y="1662"/>
                  <a:pt x="93" y="1663"/>
                  <a:pt x="90" y="1663"/>
                </a:cubicBezTo>
                <a:cubicBezTo>
                  <a:pt x="87" y="1663"/>
                  <a:pt x="84" y="1662"/>
                  <a:pt x="81" y="1661"/>
                </a:cubicBezTo>
                <a:cubicBezTo>
                  <a:pt x="79" y="1660"/>
                  <a:pt x="79" y="1659"/>
                  <a:pt x="79" y="1657"/>
                </a:cubicBezTo>
                <a:cubicBezTo>
                  <a:pt x="79" y="1656"/>
                  <a:pt x="79" y="1655"/>
                  <a:pt x="80" y="1655"/>
                </a:cubicBezTo>
                <a:cubicBezTo>
                  <a:pt x="77" y="1654"/>
                  <a:pt x="75" y="1653"/>
                  <a:pt x="73" y="1652"/>
                </a:cubicBezTo>
                <a:cubicBezTo>
                  <a:pt x="72" y="1651"/>
                  <a:pt x="71" y="1649"/>
                  <a:pt x="70" y="1647"/>
                </a:cubicBezTo>
                <a:cubicBezTo>
                  <a:pt x="69" y="1645"/>
                  <a:pt x="69" y="1644"/>
                  <a:pt x="71" y="1642"/>
                </a:cubicBezTo>
                <a:cubicBezTo>
                  <a:pt x="74" y="1640"/>
                  <a:pt x="75" y="1637"/>
                  <a:pt x="74" y="1633"/>
                </a:cubicBezTo>
                <a:cubicBezTo>
                  <a:pt x="74" y="1631"/>
                  <a:pt x="74" y="1629"/>
                  <a:pt x="74" y="1627"/>
                </a:cubicBezTo>
                <a:cubicBezTo>
                  <a:pt x="73" y="1626"/>
                  <a:pt x="71" y="1626"/>
                  <a:pt x="70" y="1625"/>
                </a:cubicBezTo>
                <a:cubicBezTo>
                  <a:pt x="69" y="1623"/>
                  <a:pt x="68" y="1621"/>
                  <a:pt x="68" y="1619"/>
                </a:cubicBezTo>
                <a:cubicBezTo>
                  <a:pt x="68" y="1616"/>
                  <a:pt x="72" y="1614"/>
                  <a:pt x="74" y="1613"/>
                </a:cubicBezTo>
                <a:cubicBezTo>
                  <a:pt x="75" y="1614"/>
                  <a:pt x="75" y="1614"/>
                  <a:pt x="75" y="1615"/>
                </a:cubicBezTo>
                <a:cubicBezTo>
                  <a:pt x="75" y="1616"/>
                  <a:pt x="75" y="1617"/>
                  <a:pt x="75" y="1618"/>
                </a:cubicBezTo>
                <a:cubicBezTo>
                  <a:pt x="75" y="1618"/>
                  <a:pt x="74" y="1618"/>
                  <a:pt x="74" y="1618"/>
                </a:cubicBezTo>
                <a:cubicBezTo>
                  <a:pt x="74" y="1619"/>
                  <a:pt x="73" y="1620"/>
                  <a:pt x="72" y="1622"/>
                </a:cubicBezTo>
                <a:cubicBezTo>
                  <a:pt x="74" y="1622"/>
                  <a:pt x="74" y="1622"/>
                  <a:pt x="75" y="1621"/>
                </a:cubicBezTo>
                <a:cubicBezTo>
                  <a:pt x="76" y="1620"/>
                  <a:pt x="77" y="1619"/>
                  <a:pt x="77" y="1618"/>
                </a:cubicBezTo>
                <a:cubicBezTo>
                  <a:pt x="82" y="1612"/>
                  <a:pt x="88" y="1608"/>
                  <a:pt x="95" y="1606"/>
                </a:cubicBezTo>
                <a:cubicBezTo>
                  <a:pt x="99" y="1606"/>
                  <a:pt x="102" y="1604"/>
                  <a:pt x="104" y="1602"/>
                </a:cubicBezTo>
                <a:cubicBezTo>
                  <a:pt x="104" y="1601"/>
                  <a:pt x="105" y="1601"/>
                  <a:pt x="105" y="1601"/>
                </a:cubicBezTo>
                <a:cubicBezTo>
                  <a:pt x="108" y="1600"/>
                  <a:pt x="110" y="1598"/>
                  <a:pt x="112" y="1596"/>
                </a:cubicBezTo>
                <a:cubicBezTo>
                  <a:pt x="119" y="1589"/>
                  <a:pt x="131" y="1588"/>
                  <a:pt x="139" y="1595"/>
                </a:cubicBezTo>
                <a:cubicBezTo>
                  <a:pt x="141" y="1597"/>
                  <a:pt x="144" y="1599"/>
                  <a:pt x="146" y="1601"/>
                </a:cubicBezTo>
                <a:cubicBezTo>
                  <a:pt x="148" y="1602"/>
                  <a:pt x="149" y="1604"/>
                  <a:pt x="150" y="1606"/>
                </a:cubicBezTo>
                <a:cubicBezTo>
                  <a:pt x="151" y="1607"/>
                  <a:pt x="152" y="1607"/>
                  <a:pt x="153" y="1606"/>
                </a:cubicBezTo>
                <a:cubicBezTo>
                  <a:pt x="154" y="1606"/>
                  <a:pt x="154" y="1605"/>
                  <a:pt x="155" y="1604"/>
                </a:cubicBezTo>
                <a:cubicBezTo>
                  <a:pt x="157" y="1601"/>
                  <a:pt x="160" y="1601"/>
                  <a:pt x="161" y="1604"/>
                </a:cubicBezTo>
                <a:cubicBezTo>
                  <a:pt x="163" y="1608"/>
                  <a:pt x="163" y="1610"/>
                  <a:pt x="164" y="1614"/>
                </a:cubicBezTo>
                <a:cubicBezTo>
                  <a:pt x="164" y="1618"/>
                  <a:pt x="164" y="1622"/>
                  <a:pt x="163" y="1627"/>
                </a:cubicBezTo>
                <a:cubicBezTo>
                  <a:pt x="160" y="1633"/>
                  <a:pt x="155" y="1636"/>
                  <a:pt x="149" y="1636"/>
                </a:cubicBezTo>
                <a:cubicBezTo>
                  <a:pt x="148" y="1636"/>
                  <a:pt x="148" y="1636"/>
                  <a:pt x="147" y="1636"/>
                </a:cubicBezTo>
                <a:cubicBezTo>
                  <a:pt x="144" y="1636"/>
                  <a:pt x="143" y="1636"/>
                  <a:pt x="143" y="1639"/>
                </a:cubicBezTo>
                <a:cubicBezTo>
                  <a:pt x="141" y="1643"/>
                  <a:pt x="135" y="1645"/>
                  <a:pt x="132" y="1642"/>
                </a:cubicBezTo>
                <a:cubicBezTo>
                  <a:pt x="131" y="1640"/>
                  <a:pt x="130" y="1640"/>
                  <a:pt x="129" y="1638"/>
                </a:cubicBezTo>
                <a:cubicBezTo>
                  <a:pt x="128" y="1639"/>
                  <a:pt x="128" y="1639"/>
                  <a:pt x="128" y="1639"/>
                </a:cubicBezTo>
                <a:close/>
                <a:moveTo>
                  <a:pt x="123" y="1635"/>
                </a:moveTo>
                <a:cubicBezTo>
                  <a:pt x="126" y="1636"/>
                  <a:pt x="130" y="1637"/>
                  <a:pt x="132" y="1640"/>
                </a:cubicBezTo>
                <a:cubicBezTo>
                  <a:pt x="134" y="1642"/>
                  <a:pt x="136" y="1642"/>
                  <a:pt x="138" y="1642"/>
                </a:cubicBezTo>
                <a:cubicBezTo>
                  <a:pt x="141" y="1641"/>
                  <a:pt x="142" y="1639"/>
                  <a:pt x="142" y="1636"/>
                </a:cubicBezTo>
                <a:cubicBezTo>
                  <a:pt x="142" y="1636"/>
                  <a:pt x="141" y="1636"/>
                  <a:pt x="141" y="1636"/>
                </a:cubicBezTo>
                <a:cubicBezTo>
                  <a:pt x="141" y="1638"/>
                  <a:pt x="139" y="1639"/>
                  <a:pt x="139" y="1640"/>
                </a:cubicBezTo>
                <a:cubicBezTo>
                  <a:pt x="137" y="1641"/>
                  <a:pt x="136" y="1641"/>
                  <a:pt x="135" y="1640"/>
                </a:cubicBezTo>
                <a:cubicBezTo>
                  <a:pt x="135" y="1640"/>
                  <a:pt x="134" y="1639"/>
                  <a:pt x="134" y="1638"/>
                </a:cubicBezTo>
                <a:cubicBezTo>
                  <a:pt x="134" y="1636"/>
                  <a:pt x="135" y="1634"/>
                  <a:pt x="135" y="1632"/>
                </a:cubicBezTo>
                <a:cubicBezTo>
                  <a:pt x="138" y="1633"/>
                  <a:pt x="141" y="1634"/>
                  <a:pt x="145" y="1635"/>
                </a:cubicBezTo>
                <a:cubicBezTo>
                  <a:pt x="152" y="1636"/>
                  <a:pt x="158" y="1634"/>
                  <a:pt x="161" y="1625"/>
                </a:cubicBezTo>
                <a:cubicBezTo>
                  <a:pt x="163" y="1621"/>
                  <a:pt x="163" y="1616"/>
                  <a:pt x="162" y="1611"/>
                </a:cubicBezTo>
                <a:cubicBezTo>
                  <a:pt x="161" y="1609"/>
                  <a:pt x="161" y="1607"/>
                  <a:pt x="160" y="1605"/>
                </a:cubicBezTo>
                <a:cubicBezTo>
                  <a:pt x="159" y="1604"/>
                  <a:pt x="158" y="1603"/>
                  <a:pt x="157" y="1605"/>
                </a:cubicBezTo>
                <a:cubicBezTo>
                  <a:pt x="155" y="1606"/>
                  <a:pt x="154" y="1608"/>
                  <a:pt x="152" y="1609"/>
                </a:cubicBezTo>
                <a:cubicBezTo>
                  <a:pt x="151" y="1609"/>
                  <a:pt x="150" y="1610"/>
                  <a:pt x="150" y="1611"/>
                </a:cubicBezTo>
                <a:cubicBezTo>
                  <a:pt x="151" y="1614"/>
                  <a:pt x="150" y="1617"/>
                  <a:pt x="149" y="1621"/>
                </a:cubicBezTo>
                <a:cubicBezTo>
                  <a:pt x="149" y="1619"/>
                  <a:pt x="150" y="1617"/>
                  <a:pt x="150" y="1615"/>
                </a:cubicBezTo>
                <a:cubicBezTo>
                  <a:pt x="150" y="1614"/>
                  <a:pt x="149" y="1614"/>
                  <a:pt x="149" y="1614"/>
                </a:cubicBezTo>
                <a:cubicBezTo>
                  <a:pt x="148" y="1614"/>
                  <a:pt x="148" y="1614"/>
                  <a:pt x="148" y="1614"/>
                </a:cubicBezTo>
                <a:cubicBezTo>
                  <a:pt x="147" y="1616"/>
                  <a:pt x="146" y="1617"/>
                  <a:pt x="145" y="1618"/>
                </a:cubicBezTo>
                <a:cubicBezTo>
                  <a:pt x="145" y="1618"/>
                  <a:pt x="145" y="1618"/>
                  <a:pt x="145" y="1618"/>
                </a:cubicBezTo>
                <a:cubicBezTo>
                  <a:pt x="145" y="1617"/>
                  <a:pt x="146" y="1615"/>
                  <a:pt x="146" y="1613"/>
                </a:cubicBezTo>
                <a:cubicBezTo>
                  <a:pt x="145" y="1614"/>
                  <a:pt x="144" y="1614"/>
                  <a:pt x="144" y="1615"/>
                </a:cubicBezTo>
                <a:cubicBezTo>
                  <a:pt x="143" y="1615"/>
                  <a:pt x="143" y="1616"/>
                  <a:pt x="143" y="1617"/>
                </a:cubicBezTo>
                <a:cubicBezTo>
                  <a:pt x="143" y="1613"/>
                  <a:pt x="143" y="1613"/>
                  <a:pt x="149" y="1612"/>
                </a:cubicBezTo>
                <a:cubicBezTo>
                  <a:pt x="149" y="1612"/>
                  <a:pt x="148" y="1611"/>
                  <a:pt x="148" y="1611"/>
                </a:cubicBezTo>
                <a:cubicBezTo>
                  <a:pt x="145" y="1612"/>
                  <a:pt x="144" y="1610"/>
                  <a:pt x="144" y="1608"/>
                </a:cubicBezTo>
                <a:cubicBezTo>
                  <a:pt x="146" y="1607"/>
                  <a:pt x="147" y="1607"/>
                  <a:pt x="149" y="1606"/>
                </a:cubicBezTo>
                <a:cubicBezTo>
                  <a:pt x="147" y="1604"/>
                  <a:pt x="146" y="1601"/>
                  <a:pt x="143" y="1601"/>
                </a:cubicBezTo>
                <a:cubicBezTo>
                  <a:pt x="142" y="1601"/>
                  <a:pt x="142" y="1600"/>
                  <a:pt x="142" y="1600"/>
                </a:cubicBezTo>
                <a:cubicBezTo>
                  <a:pt x="139" y="1598"/>
                  <a:pt x="137" y="1596"/>
                  <a:pt x="134" y="1594"/>
                </a:cubicBezTo>
                <a:cubicBezTo>
                  <a:pt x="132" y="1593"/>
                  <a:pt x="129" y="1592"/>
                  <a:pt x="127" y="1592"/>
                </a:cubicBezTo>
                <a:cubicBezTo>
                  <a:pt x="124" y="1592"/>
                  <a:pt x="121" y="1593"/>
                  <a:pt x="117" y="1594"/>
                </a:cubicBezTo>
                <a:cubicBezTo>
                  <a:pt x="115" y="1595"/>
                  <a:pt x="112" y="1597"/>
                  <a:pt x="110" y="1600"/>
                </a:cubicBezTo>
                <a:cubicBezTo>
                  <a:pt x="112" y="1600"/>
                  <a:pt x="113" y="1600"/>
                  <a:pt x="114" y="1600"/>
                </a:cubicBezTo>
                <a:cubicBezTo>
                  <a:pt x="114" y="1600"/>
                  <a:pt x="113" y="1601"/>
                  <a:pt x="112" y="1601"/>
                </a:cubicBezTo>
                <a:cubicBezTo>
                  <a:pt x="110" y="1602"/>
                  <a:pt x="107" y="1601"/>
                  <a:pt x="105" y="1603"/>
                </a:cubicBezTo>
                <a:cubicBezTo>
                  <a:pt x="102" y="1607"/>
                  <a:pt x="98" y="1611"/>
                  <a:pt x="94" y="1615"/>
                </a:cubicBezTo>
                <a:cubicBezTo>
                  <a:pt x="93" y="1617"/>
                  <a:pt x="92" y="1619"/>
                  <a:pt x="91" y="1622"/>
                </a:cubicBezTo>
                <a:cubicBezTo>
                  <a:pt x="91" y="1622"/>
                  <a:pt x="91" y="1623"/>
                  <a:pt x="91" y="1623"/>
                </a:cubicBezTo>
                <a:cubicBezTo>
                  <a:pt x="92" y="1625"/>
                  <a:pt x="94" y="1627"/>
                  <a:pt x="95" y="1629"/>
                </a:cubicBezTo>
                <a:cubicBezTo>
                  <a:pt x="96" y="1628"/>
                  <a:pt x="97" y="1626"/>
                  <a:pt x="99" y="1625"/>
                </a:cubicBezTo>
                <a:cubicBezTo>
                  <a:pt x="98" y="1626"/>
                  <a:pt x="98" y="1627"/>
                  <a:pt x="97" y="1629"/>
                </a:cubicBezTo>
                <a:cubicBezTo>
                  <a:pt x="96" y="1630"/>
                  <a:pt x="95" y="1631"/>
                  <a:pt x="95" y="1633"/>
                </a:cubicBezTo>
                <a:cubicBezTo>
                  <a:pt x="95" y="1634"/>
                  <a:pt x="95" y="1635"/>
                  <a:pt x="95" y="1636"/>
                </a:cubicBezTo>
                <a:cubicBezTo>
                  <a:pt x="98" y="1639"/>
                  <a:pt x="101" y="1639"/>
                  <a:pt x="105" y="1637"/>
                </a:cubicBezTo>
                <a:cubicBezTo>
                  <a:pt x="107" y="1636"/>
                  <a:pt x="110" y="1635"/>
                  <a:pt x="113" y="1634"/>
                </a:cubicBezTo>
                <a:cubicBezTo>
                  <a:pt x="114" y="1633"/>
                  <a:pt x="115" y="1633"/>
                  <a:pt x="115" y="1631"/>
                </a:cubicBezTo>
                <a:cubicBezTo>
                  <a:pt x="115" y="1628"/>
                  <a:pt x="115" y="1624"/>
                  <a:pt x="115" y="1621"/>
                </a:cubicBezTo>
                <a:cubicBezTo>
                  <a:pt x="115" y="1618"/>
                  <a:pt x="115" y="1615"/>
                  <a:pt x="115" y="1612"/>
                </a:cubicBezTo>
                <a:cubicBezTo>
                  <a:pt x="116" y="1615"/>
                  <a:pt x="117" y="1617"/>
                  <a:pt x="117" y="1620"/>
                </a:cubicBezTo>
                <a:cubicBezTo>
                  <a:pt x="118" y="1625"/>
                  <a:pt x="118" y="1629"/>
                  <a:pt x="117" y="1633"/>
                </a:cubicBezTo>
                <a:cubicBezTo>
                  <a:pt x="116" y="1634"/>
                  <a:pt x="115" y="1635"/>
                  <a:pt x="115" y="1635"/>
                </a:cubicBezTo>
                <a:cubicBezTo>
                  <a:pt x="112" y="1635"/>
                  <a:pt x="108" y="1637"/>
                  <a:pt x="105" y="1639"/>
                </a:cubicBezTo>
                <a:cubicBezTo>
                  <a:pt x="100" y="1642"/>
                  <a:pt x="97" y="1640"/>
                  <a:pt x="93" y="1636"/>
                </a:cubicBezTo>
                <a:cubicBezTo>
                  <a:pt x="93" y="1636"/>
                  <a:pt x="93" y="1635"/>
                  <a:pt x="93" y="1634"/>
                </a:cubicBezTo>
                <a:cubicBezTo>
                  <a:pt x="94" y="1632"/>
                  <a:pt x="93" y="1630"/>
                  <a:pt x="92" y="1628"/>
                </a:cubicBezTo>
                <a:cubicBezTo>
                  <a:pt x="90" y="1626"/>
                  <a:pt x="88" y="1623"/>
                  <a:pt x="90" y="1621"/>
                </a:cubicBezTo>
                <a:cubicBezTo>
                  <a:pt x="90" y="1619"/>
                  <a:pt x="91" y="1617"/>
                  <a:pt x="92" y="1616"/>
                </a:cubicBezTo>
                <a:cubicBezTo>
                  <a:pt x="94" y="1613"/>
                  <a:pt x="96" y="1610"/>
                  <a:pt x="98" y="1608"/>
                </a:cubicBezTo>
                <a:cubicBezTo>
                  <a:pt x="98" y="1608"/>
                  <a:pt x="97" y="1608"/>
                  <a:pt x="97" y="1608"/>
                </a:cubicBezTo>
                <a:cubicBezTo>
                  <a:pt x="92" y="1609"/>
                  <a:pt x="88" y="1610"/>
                  <a:pt x="84" y="1614"/>
                </a:cubicBezTo>
                <a:cubicBezTo>
                  <a:pt x="79" y="1618"/>
                  <a:pt x="76" y="1623"/>
                  <a:pt x="76" y="1630"/>
                </a:cubicBezTo>
                <a:cubicBezTo>
                  <a:pt x="75" y="1636"/>
                  <a:pt x="78" y="1642"/>
                  <a:pt x="81" y="1648"/>
                </a:cubicBezTo>
                <a:cubicBezTo>
                  <a:pt x="82" y="1649"/>
                  <a:pt x="83" y="1651"/>
                  <a:pt x="82" y="1652"/>
                </a:cubicBezTo>
                <a:cubicBezTo>
                  <a:pt x="82" y="1654"/>
                  <a:pt x="82" y="1655"/>
                  <a:pt x="81" y="1656"/>
                </a:cubicBezTo>
                <a:cubicBezTo>
                  <a:pt x="81" y="1658"/>
                  <a:pt x="81" y="1659"/>
                  <a:pt x="82" y="1659"/>
                </a:cubicBezTo>
                <a:cubicBezTo>
                  <a:pt x="85" y="1660"/>
                  <a:pt x="88" y="1661"/>
                  <a:pt x="91" y="1661"/>
                </a:cubicBezTo>
                <a:cubicBezTo>
                  <a:pt x="92" y="1661"/>
                  <a:pt x="92" y="1660"/>
                  <a:pt x="92" y="1660"/>
                </a:cubicBezTo>
                <a:cubicBezTo>
                  <a:pt x="93" y="1659"/>
                  <a:pt x="93" y="1657"/>
                  <a:pt x="94" y="1656"/>
                </a:cubicBezTo>
                <a:cubicBezTo>
                  <a:pt x="95" y="1654"/>
                  <a:pt x="95" y="1651"/>
                  <a:pt x="95" y="1648"/>
                </a:cubicBezTo>
                <a:cubicBezTo>
                  <a:pt x="95" y="1648"/>
                  <a:pt x="95" y="1648"/>
                  <a:pt x="95" y="1647"/>
                </a:cubicBezTo>
                <a:cubicBezTo>
                  <a:pt x="95" y="1647"/>
                  <a:pt x="95" y="1647"/>
                  <a:pt x="95" y="1646"/>
                </a:cubicBezTo>
                <a:cubicBezTo>
                  <a:pt x="96" y="1649"/>
                  <a:pt x="97" y="1649"/>
                  <a:pt x="99" y="1649"/>
                </a:cubicBezTo>
                <a:cubicBezTo>
                  <a:pt x="100" y="1649"/>
                  <a:pt x="101" y="1649"/>
                  <a:pt x="102" y="1649"/>
                </a:cubicBezTo>
                <a:cubicBezTo>
                  <a:pt x="104" y="1649"/>
                  <a:pt x="108" y="1650"/>
                  <a:pt x="108" y="1646"/>
                </a:cubicBezTo>
                <a:cubicBezTo>
                  <a:pt x="108" y="1648"/>
                  <a:pt x="108" y="1650"/>
                  <a:pt x="108" y="1650"/>
                </a:cubicBezTo>
                <a:cubicBezTo>
                  <a:pt x="107" y="1651"/>
                  <a:pt x="106" y="1652"/>
                  <a:pt x="104" y="1652"/>
                </a:cubicBezTo>
                <a:cubicBezTo>
                  <a:pt x="103" y="1653"/>
                  <a:pt x="103" y="1655"/>
                  <a:pt x="103" y="1656"/>
                </a:cubicBezTo>
                <a:cubicBezTo>
                  <a:pt x="104" y="1658"/>
                  <a:pt x="106" y="1660"/>
                  <a:pt x="107" y="1662"/>
                </a:cubicBezTo>
                <a:cubicBezTo>
                  <a:pt x="109" y="1663"/>
                  <a:pt x="111" y="1663"/>
                  <a:pt x="112" y="1661"/>
                </a:cubicBezTo>
                <a:cubicBezTo>
                  <a:pt x="113" y="1660"/>
                  <a:pt x="114" y="1659"/>
                  <a:pt x="114" y="1659"/>
                </a:cubicBezTo>
                <a:cubicBezTo>
                  <a:pt x="116" y="1657"/>
                  <a:pt x="117" y="1656"/>
                  <a:pt x="119" y="1655"/>
                </a:cubicBezTo>
                <a:cubicBezTo>
                  <a:pt x="123" y="1651"/>
                  <a:pt x="125" y="1645"/>
                  <a:pt x="127" y="1639"/>
                </a:cubicBezTo>
                <a:cubicBezTo>
                  <a:pt x="127" y="1638"/>
                  <a:pt x="126" y="1638"/>
                  <a:pt x="126" y="1637"/>
                </a:cubicBezTo>
                <a:cubicBezTo>
                  <a:pt x="125" y="1636"/>
                  <a:pt x="124" y="1635"/>
                  <a:pt x="123" y="1635"/>
                </a:cubicBezTo>
                <a:close/>
                <a:moveTo>
                  <a:pt x="75" y="1641"/>
                </a:moveTo>
                <a:cubicBezTo>
                  <a:pt x="75" y="1642"/>
                  <a:pt x="73" y="1642"/>
                  <a:pt x="72" y="1644"/>
                </a:cubicBezTo>
                <a:cubicBezTo>
                  <a:pt x="72" y="1644"/>
                  <a:pt x="71" y="1645"/>
                  <a:pt x="71" y="1646"/>
                </a:cubicBezTo>
                <a:cubicBezTo>
                  <a:pt x="71" y="1648"/>
                  <a:pt x="75" y="1653"/>
                  <a:pt x="79" y="1652"/>
                </a:cubicBezTo>
                <a:cubicBezTo>
                  <a:pt x="80" y="1652"/>
                  <a:pt x="81" y="1651"/>
                  <a:pt x="80" y="1650"/>
                </a:cubicBezTo>
                <a:cubicBezTo>
                  <a:pt x="79" y="1646"/>
                  <a:pt x="77" y="1644"/>
                  <a:pt x="75" y="1641"/>
                </a:cubicBezTo>
                <a:close/>
                <a:moveTo>
                  <a:pt x="128" y="1643"/>
                </a:moveTo>
                <a:cubicBezTo>
                  <a:pt x="126" y="1648"/>
                  <a:pt x="123" y="1652"/>
                  <a:pt x="121" y="1656"/>
                </a:cubicBezTo>
                <a:cubicBezTo>
                  <a:pt x="124" y="1656"/>
                  <a:pt x="126" y="1657"/>
                  <a:pt x="129" y="1656"/>
                </a:cubicBezTo>
                <a:cubicBezTo>
                  <a:pt x="129" y="1656"/>
                  <a:pt x="130" y="1655"/>
                  <a:pt x="130" y="1655"/>
                </a:cubicBezTo>
                <a:cubicBezTo>
                  <a:pt x="130" y="1652"/>
                  <a:pt x="130" y="1650"/>
                  <a:pt x="129" y="1647"/>
                </a:cubicBezTo>
                <a:cubicBezTo>
                  <a:pt x="129" y="1646"/>
                  <a:pt x="128" y="1644"/>
                  <a:pt x="128" y="1643"/>
                </a:cubicBezTo>
                <a:close/>
                <a:moveTo>
                  <a:pt x="75" y="1623"/>
                </a:moveTo>
                <a:cubicBezTo>
                  <a:pt x="75" y="1623"/>
                  <a:pt x="74" y="1623"/>
                  <a:pt x="74" y="1623"/>
                </a:cubicBezTo>
                <a:cubicBezTo>
                  <a:pt x="73" y="1623"/>
                  <a:pt x="72" y="1623"/>
                  <a:pt x="72" y="1623"/>
                </a:cubicBezTo>
                <a:cubicBezTo>
                  <a:pt x="72" y="1623"/>
                  <a:pt x="71" y="1622"/>
                  <a:pt x="71" y="1621"/>
                </a:cubicBezTo>
                <a:cubicBezTo>
                  <a:pt x="72" y="1619"/>
                  <a:pt x="72" y="1617"/>
                  <a:pt x="73" y="1615"/>
                </a:cubicBezTo>
                <a:cubicBezTo>
                  <a:pt x="73" y="1615"/>
                  <a:pt x="73" y="1615"/>
                  <a:pt x="72" y="1615"/>
                </a:cubicBezTo>
                <a:cubicBezTo>
                  <a:pt x="72" y="1616"/>
                  <a:pt x="70" y="1617"/>
                  <a:pt x="70" y="1618"/>
                </a:cubicBezTo>
                <a:cubicBezTo>
                  <a:pt x="69" y="1619"/>
                  <a:pt x="70" y="1624"/>
                  <a:pt x="72" y="1625"/>
                </a:cubicBezTo>
                <a:cubicBezTo>
                  <a:pt x="74" y="1626"/>
                  <a:pt x="75" y="1625"/>
                  <a:pt x="75" y="1623"/>
                </a:cubicBezTo>
                <a:close/>
                <a:moveTo>
                  <a:pt x="76" y="1641"/>
                </a:moveTo>
                <a:cubicBezTo>
                  <a:pt x="75" y="1641"/>
                  <a:pt x="73" y="1642"/>
                  <a:pt x="72" y="1643"/>
                </a:cubicBezTo>
                <a:cubicBezTo>
                  <a:pt x="72" y="1644"/>
                  <a:pt x="71" y="1645"/>
                  <a:pt x="71" y="1645"/>
                </a:cubicBezTo>
                <a:cubicBezTo>
                  <a:pt x="71" y="1648"/>
                  <a:pt x="76" y="1653"/>
                  <a:pt x="79" y="1652"/>
                </a:cubicBezTo>
                <a:cubicBezTo>
                  <a:pt x="80" y="1652"/>
                  <a:pt x="81" y="1651"/>
                  <a:pt x="80" y="1649"/>
                </a:cubicBezTo>
                <a:cubicBezTo>
                  <a:pt x="79" y="1646"/>
                  <a:pt x="77" y="1643"/>
                  <a:pt x="76" y="1641"/>
                </a:cubicBezTo>
                <a:close/>
                <a:moveTo>
                  <a:pt x="128" y="1642"/>
                </a:moveTo>
                <a:cubicBezTo>
                  <a:pt x="126" y="1647"/>
                  <a:pt x="124" y="1652"/>
                  <a:pt x="121" y="1656"/>
                </a:cubicBezTo>
                <a:cubicBezTo>
                  <a:pt x="124" y="1656"/>
                  <a:pt x="126" y="1656"/>
                  <a:pt x="129" y="1656"/>
                </a:cubicBezTo>
                <a:cubicBezTo>
                  <a:pt x="129" y="1656"/>
                  <a:pt x="129" y="1655"/>
                  <a:pt x="129" y="1654"/>
                </a:cubicBezTo>
                <a:cubicBezTo>
                  <a:pt x="129" y="1652"/>
                  <a:pt x="129" y="1649"/>
                  <a:pt x="129" y="1647"/>
                </a:cubicBezTo>
                <a:cubicBezTo>
                  <a:pt x="129" y="1645"/>
                  <a:pt x="128" y="1644"/>
                  <a:pt x="128" y="1642"/>
                </a:cubicBezTo>
                <a:close/>
                <a:moveTo>
                  <a:pt x="76" y="1623"/>
                </a:moveTo>
                <a:cubicBezTo>
                  <a:pt x="75" y="1623"/>
                  <a:pt x="74" y="1623"/>
                  <a:pt x="74" y="1623"/>
                </a:cubicBezTo>
                <a:cubicBezTo>
                  <a:pt x="73" y="1623"/>
                  <a:pt x="72" y="1623"/>
                  <a:pt x="72" y="1623"/>
                </a:cubicBezTo>
                <a:cubicBezTo>
                  <a:pt x="72" y="1623"/>
                  <a:pt x="71" y="1622"/>
                  <a:pt x="71" y="1621"/>
                </a:cubicBezTo>
                <a:cubicBezTo>
                  <a:pt x="72" y="1619"/>
                  <a:pt x="73" y="1617"/>
                  <a:pt x="73" y="1615"/>
                </a:cubicBezTo>
                <a:cubicBezTo>
                  <a:pt x="73" y="1615"/>
                  <a:pt x="73" y="1615"/>
                  <a:pt x="73" y="1615"/>
                </a:cubicBezTo>
                <a:cubicBezTo>
                  <a:pt x="72" y="1616"/>
                  <a:pt x="71" y="1617"/>
                  <a:pt x="70" y="1618"/>
                </a:cubicBezTo>
                <a:cubicBezTo>
                  <a:pt x="69" y="1619"/>
                  <a:pt x="71" y="1624"/>
                  <a:pt x="72" y="1625"/>
                </a:cubicBezTo>
                <a:cubicBezTo>
                  <a:pt x="74" y="1626"/>
                  <a:pt x="76" y="1624"/>
                  <a:pt x="76" y="1623"/>
                </a:cubicBezTo>
                <a:close/>
                <a:moveTo>
                  <a:pt x="128" y="1614"/>
                </a:moveTo>
                <a:cubicBezTo>
                  <a:pt x="131" y="1611"/>
                  <a:pt x="131" y="1611"/>
                  <a:pt x="135" y="1609"/>
                </a:cubicBezTo>
                <a:cubicBezTo>
                  <a:pt x="135" y="1611"/>
                  <a:pt x="136" y="1613"/>
                  <a:pt x="138" y="1613"/>
                </a:cubicBezTo>
                <a:cubicBezTo>
                  <a:pt x="135" y="1614"/>
                  <a:pt x="133" y="1615"/>
                  <a:pt x="131" y="1617"/>
                </a:cubicBezTo>
                <a:cubicBezTo>
                  <a:pt x="130" y="1616"/>
                  <a:pt x="130" y="1615"/>
                  <a:pt x="129" y="1614"/>
                </a:cubicBezTo>
                <a:cubicBezTo>
                  <a:pt x="129" y="1614"/>
                  <a:pt x="128" y="1614"/>
                  <a:pt x="128" y="1614"/>
                </a:cubicBezTo>
                <a:close/>
                <a:moveTo>
                  <a:pt x="134" y="1614"/>
                </a:moveTo>
                <a:cubicBezTo>
                  <a:pt x="133" y="1613"/>
                  <a:pt x="132" y="1613"/>
                  <a:pt x="132" y="1613"/>
                </a:cubicBezTo>
                <a:cubicBezTo>
                  <a:pt x="131" y="1613"/>
                  <a:pt x="130" y="1614"/>
                  <a:pt x="130" y="1614"/>
                </a:cubicBezTo>
                <a:cubicBezTo>
                  <a:pt x="130" y="1615"/>
                  <a:pt x="131" y="1615"/>
                  <a:pt x="131" y="1615"/>
                </a:cubicBezTo>
                <a:cubicBezTo>
                  <a:pt x="132" y="1615"/>
                  <a:pt x="132" y="1615"/>
                  <a:pt x="134" y="1614"/>
                </a:cubicBezTo>
                <a:close/>
                <a:moveTo>
                  <a:pt x="115" y="1604"/>
                </a:moveTo>
                <a:cubicBezTo>
                  <a:pt x="108" y="1604"/>
                  <a:pt x="105" y="1606"/>
                  <a:pt x="104" y="1614"/>
                </a:cubicBezTo>
                <a:cubicBezTo>
                  <a:pt x="105" y="1612"/>
                  <a:pt x="106" y="1609"/>
                  <a:pt x="108" y="1607"/>
                </a:cubicBezTo>
                <a:cubicBezTo>
                  <a:pt x="108" y="1607"/>
                  <a:pt x="108" y="1607"/>
                  <a:pt x="108" y="1607"/>
                </a:cubicBezTo>
                <a:cubicBezTo>
                  <a:pt x="108" y="1608"/>
                  <a:pt x="108" y="1609"/>
                  <a:pt x="108" y="1610"/>
                </a:cubicBezTo>
                <a:cubicBezTo>
                  <a:pt x="109" y="1607"/>
                  <a:pt x="111" y="1605"/>
                  <a:pt x="115" y="1604"/>
                </a:cubicBezTo>
                <a:close/>
                <a:moveTo>
                  <a:pt x="158" y="1606"/>
                </a:moveTo>
                <a:cubicBezTo>
                  <a:pt x="156" y="1607"/>
                  <a:pt x="154" y="1609"/>
                  <a:pt x="153" y="1610"/>
                </a:cubicBezTo>
                <a:cubicBezTo>
                  <a:pt x="155" y="1610"/>
                  <a:pt x="157" y="1609"/>
                  <a:pt x="158" y="1606"/>
                </a:cubicBezTo>
                <a:close/>
                <a:moveTo>
                  <a:pt x="125" y="1608"/>
                </a:moveTo>
                <a:cubicBezTo>
                  <a:pt x="126" y="1607"/>
                  <a:pt x="127" y="1605"/>
                  <a:pt x="128" y="1604"/>
                </a:cubicBezTo>
                <a:cubicBezTo>
                  <a:pt x="125" y="1605"/>
                  <a:pt x="125" y="1606"/>
                  <a:pt x="125" y="1608"/>
                </a:cubicBezTo>
                <a:close/>
                <a:moveTo>
                  <a:pt x="135" y="1629"/>
                </a:moveTo>
                <a:cubicBezTo>
                  <a:pt x="133" y="1629"/>
                  <a:pt x="132" y="1630"/>
                  <a:pt x="132" y="1631"/>
                </a:cubicBezTo>
                <a:cubicBezTo>
                  <a:pt x="133" y="1631"/>
                  <a:pt x="134" y="1630"/>
                  <a:pt x="135" y="1629"/>
                </a:cubicBezTo>
                <a:close/>
                <a:moveTo>
                  <a:pt x="134" y="1614"/>
                </a:moveTo>
                <a:cubicBezTo>
                  <a:pt x="133" y="1613"/>
                  <a:pt x="132" y="1613"/>
                  <a:pt x="132" y="1613"/>
                </a:cubicBezTo>
                <a:cubicBezTo>
                  <a:pt x="131" y="1613"/>
                  <a:pt x="130" y="1614"/>
                  <a:pt x="130" y="1614"/>
                </a:cubicBezTo>
                <a:cubicBezTo>
                  <a:pt x="130" y="1615"/>
                  <a:pt x="131" y="1615"/>
                  <a:pt x="131" y="1616"/>
                </a:cubicBezTo>
                <a:cubicBezTo>
                  <a:pt x="132" y="1615"/>
                  <a:pt x="133" y="1615"/>
                  <a:pt x="134" y="1614"/>
                </a:cubicBezTo>
                <a:close/>
                <a:moveTo>
                  <a:pt x="1768" y="1770"/>
                </a:moveTo>
                <a:cubicBezTo>
                  <a:pt x="1771" y="1751"/>
                  <a:pt x="1771" y="1751"/>
                  <a:pt x="1771" y="1751"/>
                </a:cubicBezTo>
                <a:cubicBezTo>
                  <a:pt x="1762" y="1751"/>
                  <a:pt x="1762" y="1751"/>
                  <a:pt x="1762" y="1751"/>
                </a:cubicBezTo>
                <a:cubicBezTo>
                  <a:pt x="1762" y="1739"/>
                  <a:pt x="1762" y="1739"/>
                  <a:pt x="1762" y="1739"/>
                </a:cubicBezTo>
                <a:cubicBezTo>
                  <a:pt x="1773" y="1739"/>
                  <a:pt x="1773" y="1739"/>
                  <a:pt x="1773" y="1739"/>
                </a:cubicBezTo>
                <a:cubicBezTo>
                  <a:pt x="1774" y="1728"/>
                  <a:pt x="1774" y="1728"/>
                  <a:pt x="1774" y="1728"/>
                </a:cubicBezTo>
                <a:cubicBezTo>
                  <a:pt x="1765" y="1728"/>
                  <a:pt x="1765" y="1728"/>
                  <a:pt x="1765" y="1728"/>
                </a:cubicBezTo>
                <a:cubicBezTo>
                  <a:pt x="1765" y="1716"/>
                  <a:pt x="1765" y="1716"/>
                  <a:pt x="1765" y="1716"/>
                </a:cubicBezTo>
                <a:cubicBezTo>
                  <a:pt x="1776" y="1716"/>
                  <a:pt x="1776" y="1716"/>
                  <a:pt x="1776" y="1716"/>
                </a:cubicBezTo>
                <a:cubicBezTo>
                  <a:pt x="1779" y="1698"/>
                  <a:pt x="1779" y="1698"/>
                  <a:pt x="1779" y="1698"/>
                </a:cubicBezTo>
                <a:cubicBezTo>
                  <a:pt x="1790" y="1698"/>
                  <a:pt x="1790" y="1698"/>
                  <a:pt x="1790" y="1698"/>
                </a:cubicBezTo>
                <a:cubicBezTo>
                  <a:pt x="1787" y="1716"/>
                  <a:pt x="1787" y="1716"/>
                  <a:pt x="1787" y="1716"/>
                </a:cubicBezTo>
                <a:cubicBezTo>
                  <a:pt x="1797" y="1716"/>
                  <a:pt x="1797" y="1716"/>
                  <a:pt x="1797" y="1716"/>
                </a:cubicBezTo>
                <a:cubicBezTo>
                  <a:pt x="1800" y="1698"/>
                  <a:pt x="1800" y="1698"/>
                  <a:pt x="1800" y="1698"/>
                </a:cubicBezTo>
                <a:cubicBezTo>
                  <a:pt x="1811" y="1698"/>
                  <a:pt x="1811" y="1698"/>
                  <a:pt x="1811" y="1698"/>
                </a:cubicBezTo>
                <a:cubicBezTo>
                  <a:pt x="1808" y="1716"/>
                  <a:pt x="1808" y="1716"/>
                  <a:pt x="1808" y="1716"/>
                </a:cubicBezTo>
                <a:cubicBezTo>
                  <a:pt x="1817" y="1716"/>
                  <a:pt x="1817" y="1716"/>
                  <a:pt x="1817" y="1716"/>
                </a:cubicBezTo>
                <a:cubicBezTo>
                  <a:pt x="1817" y="1728"/>
                  <a:pt x="1817" y="1728"/>
                  <a:pt x="1817" y="1728"/>
                </a:cubicBezTo>
                <a:cubicBezTo>
                  <a:pt x="1806" y="1728"/>
                  <a:pt x="1806" y="1728"/>
                  <a:pt x="1806" y="1728"/>
                </a:cubicBezTo>
                <a:cubicBezTo>
                  <a:pt x="1805" y="1739"/>
                  <a:pt x="1805" y="1739"/>
                  <a:pt x="1805" y="1739"/>
                </a:cubicBezTo>
                <a:cubicBezTo>
                  <a:pt x="1814" y="1739"/>
                  <a:pt x="1814" y="1739"/>
                  <a:pt x="1814" y="1739"/>
                </a:cubicBezTo>
                <a:cubicBezTo>
                  <a:pt x="1814" y="1751"/>
                  <a:pt x="1814" y="1751"/>
                  <a:pt x="1814" y="1751"/>
                </a:cubicBezTo>
                <a:cubicBezTo>
                  <a:pt x="1803" y="1751"/>
                  <a:pt x="1803" y="1751"/>
                  <a:pt x="1803" y="1751"/>
                </a:cubicBezTo>
                <a:cubicBezTo>
                  <a:pt x="1800" y="1770"/>
                  <a:pt x="1800" y="1770"/>
                  <a:pt x="1800" y="1770"/>
                </a:cubicBezTo>
                <a:cubicBezTo>
                  <a:pt x="1789" y="1770"/>
                  <a:pt x="1789" y="1770"/>
                  <a:pt x="1789" y="1770"/>
                </a:cubicBezTo>
                <a:cubicBezTo>
                  <a:pt x="1792" y="1751"/>
                  <a:pt x="1792" y="1751"/>
                  <a:pt x="1792" y="1751"/>
                </a:cubicBezTo>
                <a:cubicBezTo>
                  <a:pt x="1782" y="1751"/>
                  <a:pt x="1782" y="1751"/>
                  <a:pt x="1782" y="1751"/>
                </a:cubicBezTo>
                <a:cubicBezTo>
                  <a:pt x="1779" y="1770"/>
                  <a:pt x="1779" y="1770"/>
                  <a:pt x="1779" y="1770"/>
                </a:cubicBezTo>
                <a:cubicBezTo>
                  <a:pt x="1768" y="1770"/>
                  <a:pt x="1768" y="1770"/>
                  <a:pt x="1768" y="1770"/>
                </a:cubicBezTo>
                <a:cubicBezTo>
                  <a:pt x="1768" y="1770"/>
                  <a:pt x="1768" y="1770"/>
                  <a:pt x="1768" y="1770"/>
                </a:cubicBezTo>
                <a:close/>
                <a:moveTo>
                  <a:pt x="1793" y="1739"/>
                </a:moveTo>
                <a:cubicBezTo>
                  <a:pt x="1795" y="1728"/>
                  <a:pt x="1795" y="1728"/>
                  <a:pt x="1795" y="1728"/>
                </a:cubicBezTo>
                <a:cubicBezTo>
                  <a:pt x="1785" y="1728"/>
                  <a:pt x="1785" y="1728"/>
                  <a:pt x="1785" y="1728"/>
                </a:cubicBezTo>
                <a:cubicBezTo>
                  <a:pt x="1784" y="1739"/>
                  <a:pt x="1784" y="1739"/>
                  <a:pt x="1784" y="1739"/>
                </a:cubicBezTo>
                <a:cubicBezTo>
                  <a:pt x="1793" y="1739"/>
                  <a:pt x="1793" y="1739"/>
                  <a:pt x="1793" y="1739"/>
                </a:cubicBezTo>
                <a:cubicBezTo>
                  <a:pt x="1793" y="1739"/>
                  <a:pt x="1793" y="1739"/>
                  <a:pt x="1793" y="1739"/>
                </a:cubicBezTo>
                <a:close/>
                <a:moveTo>
                  <a:pt x="653" y="1744"/>
                </a:moveTo>
                <a:cubicBezTo>
                  <a:pt x="653" y="1746"/>
                  <a:pt x="654" y="1747"/>
                  <a:pt x="655" y="1748"/>
                </a:cubicBezTo>
                <a:cubicBezTo>
                  <a:pt x="655" y="1750"/>
                  <a:pt x="655" y="1752"/>
                  <a:pt x="656" y="1753"/>
                </a:cubicBezTo>
                <a:cubicBezTo>
                  <a:pt x="656" y="1755"/>
                  <a:pt x="656" y="1757"/>
                  <a:pt x="656" y="1758"/>
                </a:cubicBezTo>
                <a:cubicBezTo>
                  <a:pt x="657" y="1761"/>
                  <a:pt x="656" y="1763"/>
                  <a:pt x="653" y="1763"/>
                </a:cubicBezTo>
                <a:cubicBezTo>
                  <a:pt x="650" y="1763"/>
                  <a:pt x="647" y="1763"/>
                  <a:pt x="644" y="1763"/>
                </a:cubicBezTo>
                <a:cubicBezTo>
                  <a:pt x="644" y="1763"/>
                  <a:pt x="643" y="1763"/>
                  <a:pt x="643" y="1763"/>
                </a:cubicBezTo>
                <a:cubicBezTo>
                  <a:pt x="641" y="1765"/>
                  <a:pt x="640" y="1766"/>
                  <a:pt x="638" y="1767"/>
                </a:cubicBezTo>
                <a:cubicBezTo>
                  <a:pt x="636" y="1770"/>
                  <a:pt x="633" y="1770"/>
                  <a:pt x="631" y="1768"/>
                </a:cubicBezTo>
                <a:cubicBezTo>
                  <a:pt x="629" y="1766"/>
                  <a:pt x="628" y="1763"/>
                  <a:pt x="626" y="1761"/>
                </a:cubicBezTo>
                <a:cubicBezTo>
                  <a:pt x="625" y="1759"/>
                  <a:pt x="626" y="1757"/>
                  <a:pt x="628" y="1756"/>
                </a:cubicBezTo>
                <a:cubicBezTo>
                  <a:pt x="625" y="1756"/>
                  <a:pt x="624" y="1756"/>
                  <a:pt x="622" y="1756"/>
                </a:cubicBezTo>
                <a:cubicBezTo>
                  <a:pt x="621" y="1758"/>
                  <a:pt x="620" y="1760"/>
                  <a:pt x="619" y="1762"/>
                </a:cubicBezTo>
                <a:cubicBezTo>
                  <a:pt x="619" y="1763"/>
                  <a:pt x="619" y="1763"/>
                  <a:pt x="619" y="1764"/>
                </a:cubicBezTo>
                <a:cubicBezTo>
                  <a:pt x="619" y="1767"/>
                  <a:pt x="618" y="1769"/>
                  <a:pt x="615" y="1768"/>
                </a:cubicBezTo>
                <a:cubicBezTo>
                  <a:pt x="612" y="1768"/>
                  <a:pt x="609" y="1767"/>
                  <a:pt x="606" y="1766"/>
                </a:cubicBezTo>
                <a:cubicBezTo>
                  <a:pt x="604" y="1765"/>
                  <a:pt x="603" y="1764"/>
                  <a:pt x="604" y="1762"/>
                </a:cubicBezTo>
                <a:cubicBezTo>
                  <a:pt x="604" y="1761"/>
                  <a:pt x="604" y="1760"/>
                  <a:pt x="604" y="1760"/>
                </a:cubicBezTo>
                <a:cubicBezTo>
                  <a:pt x="602" y="1759"/>
                  <a:pt x="600" y="1758"/>
                  <a:pt x="598" y="1757"/>
                </a:cubicBezTo>
                <a:cubicBezTo>
                  <a:pt x="597" y="1756"/>
                  <a:pt x="595" y="1754"/>
                  <a:pt x="595" y="1752"/>
                </a:cubicBezTo>
                <a:cubicBezTo>
                  <a:pt x="594" y="1750"/>
                  <a:pt x="594" y="1749"/>
                  <a:pt x="596" y="1747"/>
                </a:cubicBezTo>
                <a:cubicBezTo>
                  <a:pt x="599" y="1745"/>
                  <a:pt x="600" y="1742"/>
                  <a:pt x="599" y="1738"/>
                </a:cubicBezTo>
                <a:cubicBezTo>
                  <a:pt x="599" y="1736"/>
                  <a:pt x="599" y="1734"/>
                  <a:pt x="599" y="1732"/>
                </a:cubicBezTo>
                <a:cubicBezTo>
                  <a:pt x="598" y="1731"/>
                  <a:pt x="596" y="1731"/>
                  <a:pt x="595" y="1730"/>
                </a:cubicBezTo>
                <a:cubicBezTo>
                  <a:pt x="594" y="1728"/>
                  <a:pt x="593" y="1726"/>
                  <a:pt x="593" y="1724"/>
                </a:cubicBezTo>
                <a:cubicBezTo>
                  <a:pt x="593" y="1721"/>
                  <a:pt x="596" y="1719"/>
                  <a:pt x="599" y="1718"/>
                </a:cubicBezTo>
                <a:cubicBezTo>
                  <a:pt x="599" y="1719"/>
                  <a:pt x="599" y="1719"/>
                  <a:pt x="600" y="1720"/>
                </a:cubicBezTo>
                <a:cubicBezTo>
                  <a:pt x="600" y="1721"/>
                  <a:pt x="600" y="1722"/>
                  <a:pt x="600" y="1723"/>
                </a:cubicBezTo>
                <a:cubicBezTo>
                  <a:pt x="599" y="1723"/>
                  <a:pt x="599" y="1723"/>
                  <a:pt x="599" y="1723"/>
                </a:cubicBezTo>
                <a:cubicBezTo>
                  <a:pt x="598" y="1724"/>
                  <a:pt x="598" y="1725"/>
                  <a:pt x="597" y="1727"/>
                </a:cubicBezTo>
                <a:cubicBezTo>
                  <a:pt x="598" y="1727"/>
                  <a:pt x="599" y="1727"/>
                  <a:pt x="599" y="1727"/>
                </a:cubicBezTo>
                <a:cubicBezTo>
                  <a:pt x="601" y="1725"/>
                  <a:pt x="601" y="1725"/>
                  <a:pt x="602" y="1723"/>
                </a:cubicBezTo>
                <a:cubicBezTo>
                  <a:pt x="606" y="1717"/>
                  <a:pt x="612" y="1713"/>
                  <a:pt x="620" y="1711"/>
                </a:cubicBezTo>
                <a:cubicBezTo>
                  <a:pt x="623" y="1711"/>
                  <a:pt x="627" y="1710"/>
                  <a:pt x="629" y="1707"/>
                </a:cubicBezTo>
                <a:cubicBezTo>
                  <a:pt x="629" y="1706"/>
                  <a:pt x="630" y="1706"/>
                  <a:pt x="630" y="1706"/>
                </a:cubicBezTo>
                <a:cubicBezTo>
                  <a:pt x="633" y="1706"/>
                  <a:pt x="634" y="1703"/>
                  <a:pt x="636" y="1701"/>
                </a:cubicBezTo>
                <a:cubicBezTo>
                  <a:pt x="644" y="1694"/>
                  <a:pt x="656" y="1693"/>
                  <a:pt x="664" y="1700"/>
                </a:cubicBezTo>
                <a:cubicBezTo>
                  <a:pt x="666" y="1702"/>
                  <a:pt x="669" y="1704"/>
                  <a:pt x="671" y="1706"/>
                </a:cubicBezTo>
                <a:cubicBezTo>
                  <a:pt x="673" y="1707"/>
                  <a:pt x="674" y="1709"/>
                  <a:pt x="675" y="1711"/>
                </a:cubicBezTo>
                <a:cubicBezTo>
                  <a:pt x="676" y="1712"/>
                  <a:pt x="677" y="1712"/>
                  <a:pt x="678" y="1711"/>
                </a:cubicBezTo>
                <a:cubicBezTo>
                  <a:pt x="679" y="1711"/>
                  <a:pt x="679" y="1710"/>
                  <a:pt x="680" y="1709"/>
                </a:cubicBezTo>
                <a:cubicBezTo>
                  <a:pt x="682" y="1706"/>
                  <a:pt x="685" y="1706"/>
                  <a:pt x="686" y="1710"/>
                </a:cubicBezTo>
                <a:cubicBezTo>
                  <a:pt x="688" y="1713"/>
                  <a:pt x="688" y="1715"/>
                  <a:pt x="689" y="1719"/>
                </a:cubicBezTo>
                <a:cubicBezTo>
                  <a:pt x="690" y="1723"/>
                  <a:pt x="689" y="1727"/>
                  <a:pt x="688" y="1732"/>
                </a:cubicBezTo>
                <a:cubicBezTo>
                  <a:pt x="685" y="1738"/>
                  <a:pt x="681" y="1742"/>
                  <a:pt x="674" y="1742"/>
                </a:cubicBezTo>
                <a:cubicBezTo>
                  <a:pt x="673" y="1742"/>
                  <a:pt x="673" y="1742"/>
                  <a:pt x="672" y="1742"/>
                </a:cubicBezTo>
                <a:cubicBezTo>
                  <a:pt x="670" y="1741"/>
                  <a:pt x="668" y="1742"/>
                  <a:pt x="668" y="1744"/>
                </a:cubicBezTo>
                <a:cubicBezTo>
                  <a:pt x="666" y="1748"/>
                  <a:pt x="660" y="1750"/>
                  <a:pt x="657" y="1747"/>
                </a:cubicBezTo>
                <a:cubicBezTo>
                  <a:pt x="656" y="1746"/>
                  <a:pt x="655" y="1745"/>
                  <a:pt x="654" y="1744"/>
                </a:cubicBezTo>
                <a:cubicBezTo>
                  <a:pt x="653" y="1744"/>
                  <a:pt x="653" y="1744"/>
                  <a:pt x="653" y="1744"/>
                </a:cubicBezTo>
                <a:close/>
                <a:moveTo>
                  <a:pt x="647" y="1740"/>
                </a:moveTo>
                <a:cubicBezTo>
                  <a:pt x="651" y="1741"/>
                  <a:pt x="655" y="1742"/>
                  <a:pt x="657" y="1745"/>
                </a:cubicBezTo>
                <a:cubicBezTo>
                  <a:pt x="659" y="1747"/>
                  <a:pt x="661" y="1748"/>
                  <a:pt x="663" y="1747"/>
                </a:cubicBezTo>
                <a:cubicBezTo>
                  <a:pt x="666" y="1746"/>
                  <a:pt x="667" y="1744"/>
                  <a:pt x="667" y="1741"/>
                </a:cubicBezTo>
                <a:cubicBezTo>
                  <a:pt x="667" y="1741"/>
                  <a:pt x="666" y="1741"/>
                  <a:pt x="666" y="1742"/>
                </a:cubicBezTo>
                <a:cubicBezTo>
                  <a:pt x="666" y="1743"/>
                  <a:pt x="664" y="1744"/>
                  <a:pt x="664" y="1745"/>
                </a:cubicBezTo>
                <a:cubicBezTo>
                  <a:pt x="662" y="1746"/>
                  <a:pt x="661" y="1746"/>
                  <a:pt x="660" y="1746"/>
                </a:cubicBezTo>
                <a:cubicBezTo>
                  <a:pt x="660" y="1746"/>
                  <a:pt x="659" y="1744"/>
                  <a:pt x="659" y="1744"/>
                </a:cubicBezTo>
                <a:cubicBezTo>
                  <a:pt x="659" y="1741"/>
                  <a:pt x="660" y="1739"/>
                  <a:pt x="660" y="1737"/>
                </a:cubicBezTo>
                <a:cubicBezTo>
                  <a:pt x="663" y="1738"/>
                  <a:pt x="666" y="1739"/>
                  <a:pt x="670" y="1740"/>
                </a:cubicBezTo>
                <a:cubicBezTo>
                  <a:pt x="677" y="1741"/>
                  <a:pt x="683" y="1739"/>
                  <a:pt x="686" y="1731"/>
                </a:cubicBezTo>
                <a:cubicBezTo>
                  <a:pt x="688" y="1726"/>
                  <a:pt x="688" y="1721"/>
                  <a:pt x="687" y="1716"/>
                </a:cubicBezTo>
                <a:cubicBezTo>
                  <a:pt x="686" y="1714"/>
                  <a:pt x="686" y="1712"/>
                  <a:pt x="685" y="1710"/>
                </a:cubicBezTo>
                <a:cubicBezTo>
                  <a:pt x="684" y="1709"/>
                  <a:pt x="683" y="1708"/>
                  <a:pt x="682" y="1710"/>
                </a:cubicBezTo>
                <a:cubicBezTo>
                  <a:pt x="680" y="1712"/>
                  <a:pt x="679" y="1713"/>
                  <a:pt x="677" y="1714"/>
                </a:cubicBezTo>
                <a:cubicBezTo>
                  <a:pt x="676" y="1714"/>
                  <a:pt x="675" y="1715"/>
                  <a:pt x="675" y="1716"/>
                </a:cubicBezTo>
                <a:cubicBezTo>
                  <a:pt x="676" y="1719"/>
                  <a:pt x="675" y="1723"/>
                  <a:pt x="674" y="1726"/>
                </a:cubicBezTo>
                <a:cubicBezTo>
                  <a:pt x="674" y="1724"/>
                  <a:pt x="675" y="1722"/>
                  <a:pt x="675" y="1720"/>
                </a:cubicBezTo>
                <a:cubicBezTo>
                  <a:pt x="675" y="1719"/>
                  <a:pt x="674" y="1719"/>
                  <a:pt x="674" y="1719"/>
                </a:cubicBezTo>
                <a:cubicBezTo>
                  <a:pt x="673" y="1719"/>
                  <a:pt x="673" y="1719"/>
                  <a:pt x="673" y="1719"/>
                </a:cubicBezTo>
                <a:cubicBezTo>
                  <a:pt x="672" y="1721"/>
                  <a:pt x="671" y="1722"/>
                  <a:pt x="670" y="1723"/>
                </a:cubicBezTo>
                <a:cubicBezTo>
                  <a:pt x="670" y="1723"/>
                  <a:pt x="670" y="1723"/>
                  <a:pt x="670" y="1723"/>
                </a:cubicBezTo>
                <a:cubicBezTo>
                  <a:pt x="670" y="1722"/>
                  <a:pt x="671" y="1720"/>
                  <a:pt x="671" y="1718"/>
                </a:cubicBezTo>
                <a:cubicBezTo>
                  <a:pt x="670" y="1719"/>
                  <a:pt x="670" y="1719"/>
                  <a:pt x="669" y="1720"/>
                </a:cubicBezTo>
                <a:cubicBezTo>
                  <a:pt x="668" y="1720"/>
                  <a:pt x="668" y="1721"/>
                  <a:pt x="668" y="1722"/>
                </a:cubicBezTo>
                <a:cubicBezTo>
                  <a:pt x="668" y="1718"/>
                  <a:pt x="668" y="1718"/>
                  <a:pt x="674" y="1717"/>
                </a:cubicBezTo>
                <a:cubicBezTo>
                  <a:pt x="674" y="1717"/>
                  <a:pt x="673" y="1716"/>
                  <a:pt x="673" y="1716"/>
                </a:cubicBezTo>
                <a:cubicBezTo>
                  <a:pt x="670" y="1717"/>
                  <a:pt x="670" y="1715"/>
                  <a:pt x="669" y="1713"/>
                </a:cubicBezTo>
                <a:cubicBezTo>
                  <a:pt x="671" y="1712"/>
                  <a:pt x="672" y="1712"/>
                  <a:pt x="674" y="1712"/>
                </a:cubicBezTo>
                <a:cubicBezTo>
                  <a:pt x="672" y="1709"/>
                  <a:pt x="671" y="1706"/>
                  <a:pt x="668" y="1706"/>
                </a:cubicBezTo>
                <a:cubicBezTo>
                  <a:pt x="667" y="1706"/>
                  <a:pt x="667" y="1706"/>
                  <a:pt x="667" y="1705"/>
                </a:cubicBezTo>
                <a:cubicBezTo>
                  <a:pt x="664" y="1703"/>
                  <a:pt x="662" y="1701"/>
                  <a:pt x="659" y="1699"/>
                </a:cubicBezTo>
                <a:cubicBezTo>
                  <a:pt x="657" y="1698"/>
                  <a:pt x="654" y="1697"/>
                  <a:pt x="652" y="1697"/>
                </a:cubicBezTo>
                <a:cubicBezTo>
                  <a:pt x="649" y="1697"/>
                  <a:pt x="645" y="1698"/>
                  <a:pt x="642" y="1699"/>
                </a:cubicBezTo>
                <a:cubicBezTo>
                  <a:pt x="640" y="1700"/>
                  <a:pt x="637" y="1702"/>
                  <a:pt x="635" y="1705"/>
                </a:cubicBezTo>
                <a:cubicBezTo>
                  <a:pt x="637" y="1705"/>
                  <a:pt x="638" y="1705"/>
                  <a:pt x="639" y="1705"/>
                </a:cubicBezTo>
                <a:cubicBezTo>
                  <a:pt x="639" y="1706"/>
                  <a:pt x="638" y="1706"/>
                  <a:pt x="637" y="1706"/>
                </a:cubicBezTo>
                <a:cubicBezTo>
                  <a:pt x="635" y="1707"/>
                  <a:pt x="632" y="1706"/>
                  <a:pt x="630" y="1708"/>
                </a:cubicBezTo>
                <a:cubicBezTo>
                  <a:pt x="627" y="1712"/>
                  <a:pt x="623" y="1716"/>
                  <a:pt x="619" y="1720"/>
                </a:cubicBezTo>
                <a:cubicBezTo>
                  <a:pt x="617" y="1722"/>
                  <a:pt x="617" y="1725"/>
                  <a:pt x="616" y="1727"/>
                </a:cubicBezTo>
                <a:cubicBezTo>
                  <a:pt x="616" y="1727"/>
                  <a:pt x="616" y="1728"/>
                  <a:pt x="616" y="1729"/>
                </a:cubicBezTo>
                <a:cubicBezTo>
                  <a:pt x="617" y="1731"/>
                  <a:pt x="618" y="1733"/>
                  <a:pt x="620" y="1734"/>
                </a:cubicBezTo>
                <a:cubicBezTo>
                  <a:pt x="621" y="1733"/>
                  <a:pt x="622" y="1731"/>
                  <a:pt x="623" y="1730"/>
                </a:cubicBezTo>
                <a:cubicBezTo>
                  <a:pt x="623" y="1731"/>
                  <a:pt x="623" y="1733"/>
                  <a:pt x="622" y="1734"/>
                </a:cubicBezTo>
                <a:cubicBezTo>
                  <a:pt x="621" y="1735"/>
                  <a:pt x="620" y="1736"/>
                  <a:pt x="620" y="1738"/>
                </a:cubicBezTo>
                <a:cubicBezTo>
                  <a:pt x="619" y="1739"/>
                  <a:pt x="620" y="1740"/>
                  <a:pt x="620" y="1741"/>
                </a:cubicBezTo>
                <a:cubicBezTo>
                  <a:pt x="623" y="1744"/>
                  <a:pt x="626" y="1744"/>
                  <a:pt x="630" y="1742"/>
                </a:cubicBezTo>
                <a:cubicBezTo>
                  <a:pt x="632" y="1741"/>
                  <a:pt x="635" y="1740"/>
                  <a:pt x="638" y="1739"/>
                </a:cubicBezTo>
                <a:cubicBezTo>
                  <a:pt x="639" y="1738"/>
                  <a:pt x="640" y="1738"/>
                  <a:pt x="640" y="1736"/>
                </a:cubicBezTo>
                <a:cubicBezTo>
                  <a:pt x="640" y="1733"/>
                  <a:pt x="640" y="1729"/>
                  <a:pt x="640" y="1726"/>
                </a:cubicBezTo>
                <a:cubicBezTo>
                  <a:pt x="640" y="1723"/>
                  <a:pt x="640" y="1720"/>
                  <a:pt x="640" y="1717"/>
                </a:cubicBezTo>
                <a:cubicBezTo>
                  <a:pt x="641" y="1720"/>
                  <a:pt x="642" y="1723"/>
                  <a:pt x="642" y="1725"/>
                </a:cubicBezTo>
                <a:cubicBezTo>
                  <a:pt x="643" y="1730"/>
                  <a:pt x="643" y="1734"/>
                  <a:pt x="642" y="1738"/>
                </a:cubicBezTo>
                <a:cubicBezTo>
                  <a:pt x="641" y="1739"/>
                  <a:pt x="640" y="1740"/>
                  <a:pt x="640" y="1740"/>
                </a:cubicBezTo>
                <a:cubicBezTo>
                  <a:pt x="636" y="1740"/>
                  <a:pt x="633" y="1742"/>
                  <a:pt x="630" y="1744"/>
                </a:cubicBezTo>
                <a:cubicBezTo>
                  <a:pt x="625" y="1747"/>
                  <a:pt x="621" y="1745"/>
                  <a:pt x="618" y="1741"/>
                </a:cubicBezTo>
                <a:cubicBezTo>
                  <a:pt x="617" y="1741"/>
                  <a:pt x="617" y="1740"/>
                  <a:pt x="618" y="1739"/>
                </a:cubicBezTo>
                <a:cubicBezTo>
                  <a:pt x="619" y="1737"/>
                  <a:pt x="618" y="1735"/>
                  <a:pt x="616" y="1733"/>
                </a:cubicBezTo>
                <a:cubicBezTo>
                  <a:pt x="615" y="1731"/>
                  <a:pt x="613" y="1729"/>
                  <a:pt x="614" y="1726"/>
                </a:cubicBezTo>
                <a:cubicBezTo>
                  <a:pt x="615" y="1724"/>
                  <a:pt x="616" y="1722"/>
                  <a:pt x="617" y="1721"/>
                </a:cubicBezTo>
                <a:cubicBezTo>
                  <a:pt x="619" y="1718"/>
                  <a:pt x="621" y="1715"/>
                  <a:pt x="623" y="1713"/>
                </a:cubicBezTo>
                <a:cubicBezTo>
                  <a:pt x="623" y="1713"/>
                  <a:pt x="622" y="1713"/>
                  <a:pt x="622" y="1713"/>
                </a:cubicBezTo>
                <a:cubicBezTo>
                  <a:pt x="617" y="1714"/>
                  <a:pt x="612" y="1715"/>
                  <a:pt x="608" y="1719"/>
                </a:cubicBezTo>
                <a:cubicBezTo>
                  <a:pt x="604" y="1723"/>
                  <a:pt x="601" y="1728"/>
                  <a:pt x="601" y="1735"/>
                </a:cubicBezTo>
                <a:cubicBezTo>
                  <a:pt x="600" y="1742"/>
                  <a:pt x="603" y="1748"/>
                  <a:pt x="606" y="1753"/>
                </a:cubicBezTo>
                <a:cubicBezTo>
                  <a:pt x="606" y="1754"/>
                  <a:pt x="607" y="1756"/>
                  <a:pt x="607" y="1757"/>
                </a:cubicBezTo>
                <a:cubicBezTo>
                  <a:pt x="607" y="1759"/>
                  <a:pt x="606" y="1760"/>
                  <a:pt x="606" y="1761"/>
                </a:cubicBezTo>
                <a:cubicBezTo>
                  <a:pt x="605" y="1763"/>
                  <a:pt x="606" y="1764"/>
                  <a:pt x="607" y="1765"/>
                </a:cubicBezTo>
                <a:cubicBezTo>
                  <a:pt x="610" y="1765"/>
                  <a:pt x="613" y="1766"/>
                  <a:pt x="616" y="1766"/>
                </a:cubicBezTo>
                <a:cubicBezTo>
                  <a:pt x="616" y="1766"/>
                  <a:pt x="617" y="1765"/>
                  <a:pt x="617" y="1765"/>
                </a:cubicBezTo>
                <a:cubicBezTo>
                  <a:pt x="617" y="1764"/>
                  <a:pt x="617" y="1762"/>
                  <a:pt x="618" y="1761"/>
                </a:cubicBezTo>
                <a:cubicBezTo>
                  <a:pt x="620" y="1759"/>
                  <a:pt x="620" y="1756"/>
                  <a:pt x="620" y="1753"/>
                </a:cubicBezTo>
                <a:cubicBezTo>
                  <a:pt x="620" y="1753"/>
                  <a:pt x="620" y="1753"/>
                  <a:pt x="620" y="1752"/>
                </a:cubicBezTo>
                <a:cubicBezTo>
                  <a:pt x="620" y="1752"/>
                  <a:pt x="620" y="1752"/>
                  <a:pt x="620" y="1752"/>
                </a:cubicBezTo>
                <a:cubicBezTo>
                  <a:pt x="621" y="1754"/>
                  <a:pt x="622" y="1754"/>
                  <a:pt x="624" y="1754"/>
                </a:cubicBezTo>
                <a:cubicBezTo>
                  <a:pt x="625" y="1754"/>
                  <a:pt x="626" y="1754"/>
                  <a:pt x="627" y="1754"/>
                </a:cubicBezTo>
                <a:cubicBezTo>
                  <a:pt x="629" y="1754"/>
                  <a:pt x="632" y="1755"/>
                  <a:pt x="633" y="1751"/>
                </a:cubicBezTo>
                <a:cubicBezTo>
                  <a:pt x="633" y="1753"/>
                  <a:pt x="633" y="1755"/>
                  <a:pt x="633" y="1755"/>
                </a:cubicBezTo>
                <a:cubicBezTo>
                  <a:pt x="632" y="1756"/>
                  <a:pt x="630" y="1757"/>
                  <a:pt x="629" y="1757"/>
                </a:cubicBezTo>
                <a:cubicBezTo>
                  <a:pt x="628" y="1758"/>
                  <a:pt x="627" y="1760"/>
                  <a:pt x="628" y="1761"/>
                </a:cubicBezTo>
                <a:cubicBezTo>
                  <a:pt x="629" y="1763"/>
                  <a:pt x="630" y="1765"/>
                  <a:pt x="632" y="1767"/>
                </a:cubicBezTo>
                <a:cubicBezTo>
                  <a:pt x="634" y="1768"/>
                  <a:pt x="636" y="1768"/>
                  <a:pt x="637" y="1766"/>
                </a:cubicBezTo>
                <a:cubicBezTo>
                  <a:pt x="638" y="1765"/>
                  <a:pt x="638" y="1765"/>
                  <a:pt x="639" y="1764"/>
                </a:cubicBezTo>
                <a:cubicBezTo>
                  <a:pt x="641" y="1763"/>
                  <a:pt x="642" y="1761"/>
                  <a:pt x="644" y="1760"/>
                </a:cubicBezTo>
                <a:cubicBezTo>
                  <a:pt x="648" y="1756"/>
                  <a:pt x="650" y="1750"/>
                  <a:pt x="652" y="1744"/>
                </a:cubicBezTo>
                <a:cubicBezTo>
                  <a:pt x="652" y="1744"/>
                  <a:pt x="651" y="1743"/>
                  <a:pt x="651" y="1742"/>
                </a:cubicBezTo>
                <a:cubicBezTo>
                  <a:pt x="650" y="1741"/>
                  <a:pt x="649" y="1740"/>
                  <a:pt x="647" y="1740"/>
                </a:cubicBezTo>
                <a:close/>
                <a:moveTo>
                  <a:pt x="600" y="1746"/>
                </a:moveTo>
                <a:cubicBezTo>
                  <a:pt x="599" y="1747"/>
                  <a:pt x="598" y="1748"/>
                  <a:pt x="597" y="1749"/>
                </a:cubicBezTo>
                <a:cubicBezTo>
                  <a:pt x="596" y="1749"/>
                  <a:pt x="596" y="1750"/>
                  <a:pt x="596" y="1751"/>
                </a:cubicBezTo>
                <a:cubicBezTo>
                  <a:pt x="596" y="1753"/>
                  <a:pt x="600" y="1758"/>
                  <a:pt x="603" y="1757"/>
                </a:cubicBezTo>
                <a:cubicBezTo>
                  <a:pt x="605" y="1757"/>
                  <a:pt x="606" y="1756"/>
                  <a:pt x="605" y="1755"/>
                </a:cubicBezTo>
                <a:cubicBezTo>
                  <a:pt x="603" y="1752"/>
                  <a:pt x="602" y="1749"/>
                  <a:pt x="600" y="1746"/>
                </a:cubicBezTo>
                <a:close/>
                <a:moveTo>
                  <a:pt x="653" y="1748"/>
                </a:moveTo>
                <a:cubicBezTo>
                  <a:pt x="651" y="1753"/>
                  <a:pt x="648" y="1757"/>
                  <a:pt x="646" y="1761"/>
                </a:cubicBezTo>
                <a:cubicBezTo>
                  <a:pt x="649" y="1761"/>
                  <a:pt x="651" y="1762"/>
                  <a:pt x="654" y="1761"/>
                </a:cubicBezTo>
                <a:cubicBezTo>
                  <a:pt x="654" y="1761"/>
                  <a:pt x="655" y="1760"/>
                  <a:pt x="655" y="1760"/>
                </a:cubicBezTo>
                <a:cubicBezTo>
                  <a:pt x="655" y="1757"/>
                  <a:pt x="655" y="1755"/>
                  <a:pt x="654" y="1752"/>
                </a:cubicBezTo>
                <a:cubicBezTo>
                  <a:pt x="654" y="1751"/>
                  <a:pt x="653" y="1750"/>
                  <a:pt x="653" y="1748"/>
                </a:cubicBezTo>
                <a:close/>
                <a:moveTo>
                  <a:pt x="600" y="1728"/>
                </a:moveTo>
                <a:cubicBezTo>
                  <a:pt x="599" y="1728"/>
                  <a:pt x="599" y="1729"/>
                  <a:pt x="598" y="1729"/>
                </a:cubicBezTo>
                <a:cubicBezTo>
                  <a:pt x="597" y="1729"/>
                  <a:pt x="597" y="1729"/>
                  <a:pt x="597" y="1728"/>
                </a:cubicBezTo>
                <a:cubicBezTo>
                  <a:pt x="596" y="1728"/>
                  <a:pt x="596" y="1727"/>
                  <a:pt x="596" y="1726"/>
                </a:cubicBezTo>
                <a:cubicBezTo>
                  <a:pt x="597" y="1724"/>
                  <a:pt x="597" y="1722"/>
                  <a:pt x="598" y="1720"/>
                </a:cubicBezTo>
                <a:cubicBezTo>
                  <a:pt x="597" y="1720"/>
                  <a:pt x="597" y="1720"/>
                  <a:pt x="597" y="1720"/>
                </a:cubicBezTo>
                <a:cubicBezTo>
                  <a:pt x="596" y="1721"/>
                  <a:pt x="595" y="1722"/>
                  <a:pt x="594" y="1723"/>
                </a:cubicBezTo>
                <a:cubicBezTo>
                  <a:pt x="593" y="1724"/>
                  <a:pt x="595" y="1729"/>
                  <a:pt x="597" y="1730"/>
                </a:cubicBezTo>
                <a:cubicBezTo>
                  <a:pt x="598" y="1731"/>
                  <a:pt x="600" y="1730"/>
                  <a:pt x="600" y="1728"/>
                </a:cubicBezTo>
                <a:close/>
                <a:moveTo>
                  <a:pt x="600" y="1746"/>
                </a:moveTo>
                <a:cubicBezTo>
                  <a:pt x="599" y="1746"/>
                  <a:pt x="598" y="1747"/>
                  <a:pt x="597" y="1748"/>
                </a:cubicBezTo>
                <a:cubicBezTo>
                  <a:pt x="596" y="1749"/>
                  <a:pt x="596" y="1750"/>
                  <a:pt x="596" y="1750"/>
                </a:cubicBezTo>
                <a:cubicBezTo>
                  <a:pt x="596" y="1753"/>
                  <a:pt x="600" y="1758"/>
                  <a:pt x="603" y="1757"/>
                </a:cubicBezTo>
                <a:cubicBezTo>
                  <a:pt x="605" y="1757"/>
                  <a:pt x="606" y="1756"/>
                  <a:pt x="605" y="1754"/>
                </a:cubicBezTo>
                <a:cubicBezTo>
                  <a:pt x="603" y="1751"/>
                  <a:pt x="602" y="1748"/>
                  <a:pt x="600" y="1746"/>
                </a:cubicBezTo>
                <a:close/>
                <a:moveTo>
                  <a:pt x="653" y="1748"/>
                </a:moveTo>
                <a:cubicBezTo>
                  <a:pt x="651" y="1752"/>
                  <a:pt x="648" y="1757"/>
                  <a:pt x="646" y="1761"/>
                </a:cubicBezTo>
                <a:cubicBezTo>
                  <a:pt x="649" y="1761"/>
                  <a:pt x="651" y="1761"/>
                  <a:pt x="654" y="1761"/>
                </a:cubicBezTo>
                <a:cubicBezTo>
                  <a:pt x="654" y="1761"/>
                  <a:pt x="655" y="1760"/>
                  <a:pt x="655" y="1759"/>
                </a:cubicBezTo>
                <a:cubicBezTo>
                  <a:pt x="655" y="1757"/>
                  <a:pt x="655" y="1754"/>
                  <a:pt x="654" y="1752"/>
                </a:cubicBezTo>
                <a:cubicBezTo>
                  <a:pt x="654" y="1750"/>
                  <a:pt x="653" y="1749"/>
                  <a:pt x="653" y="1748"/>
                </a:cubicBezTo>
                <a:close/>
                <a:moveTo>
                  <a:pt x="600" y="1728"/>
                </a:moveTo>
                <a:cubicBezTo>
                  <a:pt x="600" y="1728"/>
                  <a:pt x="599" y="1728"/>
                  <a:pt x="598" y="1728"/>
                </a:cubicBezTo>
                <a:cubicBezTo>
                  <a:pt x="598" y="1728"/>
                  <a:pt x="597" y="1728"/>
                  <a:pt x="597" y="1728"/>
                </a:cubicBezTo>
                <a:cubicBezTo>
                  <a:pt x="596" y="1728"/>
                  <a:pt x="596" y="1727"/>
                  <a:pt x="596" y="1726"/>
                </a:cubicBezTo>
                <a:cubicBezTo>
                  <a:pt x="597" y="1724"/>
                  <a:pt x="597" y="1722"/>
                  <a:pt x="598" y="1720"/>
                </a:cubicBezTo>
                <a:cubicBezTo>
                  <a:pt x="598" y="1720"/>
                  <a:pt x="598" y="1720"/>
                  <a:pt x="597" y="1720"/>
                </a:cubicBezTo>
                <a:cubicBezTo>
                  <a:pt x="596" y="1721"/>
                  <a:pt x="595" y="1722"/>
                  <a:pt x="594" y="1723"/>
                </a:cubicBezTo>
                <a:cubicBezTo>
                  <a:pt x="594" y="1724"/>
                  <a:pt x="595" y="1729"/>
                  <a:pt x="597" y="1730"/>
                </a:cubicBezTo>
                <a:cubicBezTo>
                  <a:pt x="598" y="1731"/>
                  <a:pt x="600" y="1730"/>
                  <a:pt x="600" y="1728"/>
                </a:cubicBezTo>
                <a:close/>
                <a:moveTo>
                  <a:pt x="653" y="1719"/>
                </a:moveTo>
                <a:cubicBezTo>
                  <a:pt x="656" y="1716"/>
                  <a:pt x="656" y="1716"/>
                  <a:pt x="660" y="1714"/>
                </a:cubicBezTo>
                <a:cubicBezTo>
                  <a:pt x="660" y="1716"/>
                  <a:pt x="661" y="1718"/>
                  <a:pt x="662" y="1718"/>
                </a:cubicBezTo>
                <a:cubicBezTo>
                  <a:pt x="660" y="1719"/>
                  <a:pt x="658" y="1720"/>
                  <a:pt x="656" y="1722"/>
                </a:cubicBezTo>
                <a:cubicBezTo>
                  <a:pt x="655" y="1721"/>
                  <a:pt x="655" y="1720"/>
                  <a:pt x="654" y="1719"/>
                </a:cubicBezTo>
                <a:cubicBezTo>
                  <a:pt x="654" y="1719"/>
                  <a:pt x="653" y="1719"/>
                  <a:pt x="653" y="1719"/>
                </a:cubicBezTo>
                <a:close/>
                <a:moveTo>
                  <a:pt x="658" y="1719"/>
                </a:moveTo>
                <a:cubicBezTo>
                  <a:pt x="658" y="1718"/>
                  <a:pt x="657" y="1718"/>
                  <a:pt x="656" y="1718"/>
                </a:cubicBezTo>
                <a:cubicBezTo>
                  <a:pt x="656" y="1718"/>
                  <a:pt x="655" y="1719"/>
                  <a:pt x="655" y="1719"/>
                </a:cubicBezTo>
                <a:cubicBezTo>
                  <a:pt x="655" y="1720"/>
                  <a:pt x="656" y="1720"/>
                  <a:pt x="656" y="1720"/>
                </a:cubicBezTo>
                <a:cubicBezTo>
                  <a:pt x="657" y="1720"/>
                  <a:pt x="657" y="1720"/>
                  <a:pt x="658" y="1719"/>
                </a:cubicBezTo>
                <a:close/>
                <a:moveTo>
                  <a:pt x="640" y="1709"/>
                </a:moveTo>
                <a:cubicBezTo>
                  <a:pt x="633" y="1709"/>
                  <a:pt x="630" y="1711"/>
                  <a:pt x="629" y="1719"/>
                </a:cubicBezTo>
                <a:cubicBezTo>
                  <a:pt x="630" y="1717"/>
                  <a:pt x="631" y="1714"/>
                  <a:pt x="632" y="1712"/>
                </a:cubicBezTo>
                <a:cubicBezTo>
                  <a:pt x="633" y="1712"/>
                  <a:pt x="633" y="1712"/>
                  <a:pt x="633" y="1712"/>
                </a:cubicBezTo>
                <a:cubicBezTo>
                  <a:pt x="633" y="1713"/>
                  <a:pt x="633" y="1714"/>
                  <a:pt x="633" y="1715"/>
                </a:cubicBezTo>
                <a:cubicBezTo>
                  <a:pt x="634" y="1712"/>
                  <a:pt x="636" y="1710"/>
                  <a:pt x="640" y="1709"/>
                </a:cubicBezTo>
                <a:close/>
                <a:moveTo>
                  <a:pt x="683" y="1711"/>
                </a:moveTo>
                <a:cubicBezTo>
                  <a:pt x="681" y="1712"/>
                  <a:pt x="679" y="1714"/>
                  <a:pt x="678" y="1715"/>
                </a:cubicBezTo>
                <a:cubicBezTo>
                  <a:pt x="679" y="1715"/>
                  <a:pt x="682" y="1714"/>
                  <a:pt x="683" y="1711"/>
                </a:cubicBezTo>
                <a:close/>
                <a:moveTo>
                  <a:pt x="650" y="1713"/>
                </a:moveTo>
                <a:cubicBezTo>
                  <a:pt x="651" y="1712"/>
                  <a:pt x="652" y="1710"/>
                  <a:pt x="653" y="1709"/>
                </a:cubicBezTo>
                <a:cubicBezTo>
                  <a:pt x="650" y="1710"/>
                  <a:pt x="649" y="1711"/>
                  <a:pt x="650" y="1713"/>
                </a:cubicBezTo>
                <a:close/>
                <a:moveTo>
                  <a:pt x="659" y="1734"/>
                </a:moveTo>
                <a:cubicBezTo>
                  <a:pt x="658" y="1735"/>
                  <a:pt x="657" y="1736"/>
                  <a:pt x="657" y="1737"/>
                </a:cubicBezTo>
                <a:cubicBezTo>
                  <a:pt x="657" y="1736"/>
                  <a:pt x="659" y="1735"/>
                  <a:pt x="659" y="1734"/>
                </a:cubicBezTo>
                <a:close/>
                <a:moveTo>
                  <a:pt x="658" y="1719"/>
                </a:moveTo>
                <a:cubicBezTo>
                  <a:pt x="658" y="1719"/>
                  <a:pt x="657" y="1718"/>
                  <a:pt x="656" y="1718"/>
                </a:cubicBezTo>
                <a:cubicBezTo>
                  <a:pt x="656" y="1718"/>
                  <a:pt x="655" y="1719"/>
                  <a:pt x="655" y="1719"/>
                </a:cubicBezTo>
                <a:cubicBezTo>
                  <a:pt x="655" y="1720"/>
                  <a:pt x="655" y="1720"/>
                  <a:pt x="656" y="1721"/>
                </a:cubicBezTo>
                <a:cubicBezTo>
                  <a:pt x="657" y="1720"/>
                  <a:pt x="657" y="1720"/>
                  <a:pt x="658" y="1719"/>
                </a:cubicBezTo>
                <a:close/>
                <a:moveTo>
                  <a:pt x="1312" y="1697"/>
                </a:moveTo>
                <a:cubicBezTo>
                  <a:pt x="1312" y="1697"/>
                  <a:pt x="1312" y="1697"/>
                  <a:pt x="1312" y="1697"/>
                </a:cubicBezTo>
                <a:cubicBezTo>
                  <a:pt x="1307" y="1697"/>
                  <a:pt x="1307" y="1697"/>
                  <a:pt x="1307" y="1697"/>
                </a:cubicBezTo>
                <a:cubicBezTo>
                  <a:pt x="1305" y="1698"/>
                  <a:pt x="1303" y="1700"/>
                  <a:pt x="1301" y="1700"/>
                </a:cubicBezTo>
                <a:cubicBezTo>
                  <a:pt x="1300" y="1702"/>
                  <a:pt x="1298" y="1702"/>
                  <a:pt x="1296" y="1703"/>
                </a:cubicBezTo>
                <a:cubicBezTo>
                  <a:pt x="1295" y="1705"/>
                  <a:pt x="1293" y="1705"/>
                  <a:pt x="1291" y="1706"/>
                </a:cubicBezTo>
                <a:cubicBezTo>
                  <a:pt x="1289" y="1707"/>
                  <a:pt x="1287" y="1708"/>
                  <a:pt x="1285" y="1708"/>
                </a:cubicBezTo>
                <a:cubicBezTo>
                  <a:pt x="1285" y="1708"/>
                  <a:pt x="1285" y="1708"/>
                  <a:pt x="1285" y="1718"/>
                </a:cubicBezTo>
                <a:cubicBezTo>
                  <a:pt x="1288" y="1717"/>
                  <a:pt x="1291" y="1716"/>
                  <a:pt x="1294" y="1715"/>
                </a:cubicBezTo>
                <a:cubicBezTo>
                  <a:pt x="1296" y="1714"/>
                  <a:pt x="1298" y="1713"/>
                  <a:pt x="1301" y="1711"/>
                </a:cubicBezTo>
                <a:cubicBezTo>
                  <a:pt x="1301" y="1711"/>
                  <a:pt x="1301" y="1711"/>
                  <a:pt x="1301" y="1770"/>
                </a:cubicBezTo>
                <a:cubicBezTo>
                  <a:pt x="1301" y="1770"/>
                  <a:pt x="1301" y="1770"/>
                  <a:pt x="1312" y="1770"/>
                </a:cubicBezTo>
                <a:cubicBezTo>
                  <a:pt x="1312" y="1770"/>
                  <a:pt x="1312" y="1770"/>
                  <a:pt x="1312" y="1697"/>
                </a:cubicBezTo>
                <a:close/>
                <a:moveTo>
                  <a:pt x="1360" y="1697"/>
                </a:moveTo>
                <a:cubicBezTo>
                  <a:pt x="1360" y="1697"/>
                  <a:pt x="1360" y="1697"/>
                  <a:pt x="1360" y="1697"/>
                </a:cubicBezTo>
                <a:cubicBezTo>
                  <a:pt x="1355" y="1697"/>
                  <a:pt x="1355" y="1697"/>
                  <a:pt x="1355" y="1697"/>
                </a:cubicBezTo>
                <a:cubicBezTo>
                  <a:pt x="1352" y="1698"/>
                  <a:pt x="1351" y="1700"/>
                  <a:pt x="1349" y="1700"/>
                </a:cubicBezTo>
                <a:cubicBezTo>
                  <a:pt x="1347" y="1702"/>
                  <a:pt x="1345" y="1702"/>
                  <a:pt x="1344" y="1703"/>
                </a:cubicBezTo>
                <a:cubicBezTo>
                  <a:pt x="1342" y="1705"/>
                  <a:pt x="1340" y="1705"/>
                  <a:pt x="1339" y="1706"/>
                </a:cubicBezTo>
                <a:cubicBezTo>
                  <a:pt x="1336" y="1707"/>
                  <a:pt x="1335" y="1708"/>
                  <a:pt x="1333" y="1708"/>
                </a:cubicBezTo>
                <a:cubicBezTo>
                  <a:pt x="1333" y="1708"/>
                  <a:pt x="1333" y="1708"/>
                  <a:pt x="1333" y="1718"/>
                </a:cubicBezTo>
                <a:cubicBezTo>
                  <a:pt x="1336" y="1717"/>
                  <a:pt x="1339" y="1716"/>
                  <a:pt x="1341" y="1715"/>
                </a:cubicBezTo>
                <a:cubicBezTo>
                  <a:pt x="1344" y="1714"/>
                  <a:pt x="1346" y="1713"/>
                  <a:pt x="1348" y="1711"/>
                </a:cubicBezTo>
                <a:cubicBezTo>
                  <a:pt x="1348" y="1711"/>
                  <a:pt x="1348" y="1711"/>
                  <a:pt x="1348" y="1770"/>
                </a:cubicBezTo>
                <a:cubicBezTo>
                  <a:pt x="1348" y="1770"/>
                  <a:pt x="1348" y="1770"/>
                  <a:pt x="1360" y="1770"/>
                </a:cubicBezTo>
                <a:cubicBezTo>
                  <a:pt x="1360" y="1770"/>
                  <a:pt x="1360" y="1770"/>
                  <a:pt x="1360" y="1697"/>
                </a:cubicBezTo>
                <a:close/>
                <a:moveTo>
                  <a:pt x="1406" y="1697"/>
                </a:moveTo>
                <a:cubicBezTo>
                  <a:pt x="1406" y="1697"/>
                  <a:pt x="1406" y="1697"/>
                  <a:pt x="1406" y="1697"/>
                </a:cubicBezTo>
                <a:cubicBezTo>
                  <a:pt x="1402" y="1697"/>
                  <a:pt x="1402" y="1697"/>
                  <a:pt x="1402" y="1697"/>
                </a:cubicBezTo>
                <a:cubicBezTo>
                  <a:pt x="1400" y="1698"/>
                  <a:pt x="1398" y="1700"/>
                  <a:pt x="1396" y="1700"/>
                </a:cubicBezTo>
                <a:cubicBezTo>
                  <a:pt x="1395" y="1702"/>
                  <a:pt x="1393" y="1702"/>
                  <a:pt x="1391" y="1703"/>
                </a:cubicBezTo>
                <a:cubicBezTo>
                  <a:pt x="1389" y="1704"/>
                  <a:pt x="1388" y="1705"/>
                  <a:pt x="1385" y="1705"/>
                </a:cubicBezTo>
                <a:cubicBezTo>
                  <a:pt x="1384" y="1706"/>
                  <a:pt x="1382" y="1707"/>
                  <a:pt x="1380" y="1708"/>
                </a:cubicBezTo>
                <a:cubicBezTo>
                  <a:pt x="1380" y="1708"/>
                  <a:pt x="1380" y="1708"/>
                  <a:pt x="1380" y="1718"/>
                </a:cubicBezTo>
                <a:cubicBezTo>
                  <a:pt x="1383" y="1717"/>
                  <a:pt x="1386" y="1716"/>
                  <a:pt x="1388" y="1715"/>
                </a:cubicBezTo>
                <a:cubicBezTo>
                  <a:pt x="1390" y="1714"/>
                  <a:pt x="1393" y="1713"/>
                  <a:pt x="1395" y="1711"/>
                </a:cubicBezTo>
                <a:cubicBezTo>
                  <a:pt x="1395" y="1711"/>
                  <a:pt x="1395" y="1711"/>
                  <a:pt x="1395" y="1770"/>
                </a:cubicBezTo>
                <a:cubicBezTo>
                  <a:pt x="1395" y="1770"/>
                  <a:pt x="1395" y="1770"/>
                  <a:pt x="1406" y="1770"/>
                </a:cubicBezTo>
                <a:cubicBezTo>
                  <a:pt x="1406" y="1770"/>
                  <a:pt x="1406" y="1770"/>
                  <a:pt x="1406" y="1697"/>
                </a:cubicBezTo>
                <a:close/>
                <a:moveTo>
                  <a:pt x="1617" y="1592"/>
                </a:moveTo>
                <a:cubicBezTo>
                  <a:pt x="1617" y="1592"/>
                  <a:pt x="1617" y="1592"/>
                  <a:pt x="1617" y="1592"/>
                </a:cubicBezTo>
                <a:cubicBezTo>
                  <a:pt x="1612" y="1592"/>
                  <a:pt x="1612" y="1592"/>
                  <a:pt x="1612" y="1592"/>
                </a:cubicBezTo>
                <a:cubicBezTo>
                  <a:pt x="1610" y="1593"/>
                  <a:pt x="1609" y="1594"/>
                  <a:pt x="1606" y="1595"/>
                </a:cubicBezTo>
                <a:cubicBezTo>
                  <a:pt x="1605" y="1597"/>
                  <a:pt x="1603" y="1597"/>
                  <a:pt x="1601" y="1598"/>
                </a:cubicBezTo>
                <a:cubicBezTo>
                  <a:pt x="1599" y="1599"/>
                  <a:pt x="1597" y="1600"/>
                  <a:pt x="1596" y="1600"/>
                </a:cubicBezTo>
                <a:cubicBezTo>
                  <a:pt x="1594" y="1601"/>
                  <a:pt x="1592" y="1602"/>
                  <a:pt x="1590" y="1602"/>
                </a:cubicBezTo>
                <a:cubicBezTo>
                  <a:pt x="1590" y="1602"/>
                  <a:pt x="1590" y="1602"/>
                  <a:pt x="1590" y="1613"/>
                </a:cubicBezTo>
                <a:cubicBezTo>
                  <a:pt x="1593" y="1612"/>
                  <a:pt x="1596" y="1610"/>
                  <a:pt x="1598" y="1610"/>
                </a:cubicBezTo>
                <a:cubicBezTo>
                  <a:pt x="1601" y="1609"/>
                  <a:pt x="1603" y="1608"/>
                  <a:pt x="1606" y="1606"/>
                </a:cubicBezTo>
                <a:cubicBezTo>
                  <a:pt x="1606" y="1606"/>
                  <a:pt x="1606" y="1606"/>
                  <a:pt x="1606" y="1665"/>
                </a:cubicBezTo>
                <a:cubicBezTo>
                  <a:pt x="1606" y="1665"/>
                  <a:pt x="1606" y="1665"/>
                  <a:pt x="1617" y="1665"/>
                </a:cubicBezTo>
                <a:cubicBezTo>
                  <a:pt x="1617" y="1665"/>
                  <a:pt x="1617" y="1665"/>
                  <a:pt x="1617" y="1592"/>
                </a:cubicBezTo>
                <a:close/>
                <a:moveTo>
                  <a:pt x="1664" y="1592"/>
                </a:moveTo>
                <a:cubicBezTo>
                  <a:pt x="1664" y="1592"/>
                  <a:pt x="1664" y="1592"/>
                  <a:pt x="1664" y="1592"/>
                </a:cubicBezTo>
                <a:cubicBezTo>
                  <a:pt x="1659" y="1592"/>
                  <a:pt x="1659" y="1592"/>
                  <a:pt x="1659" y="1592"/>
                </a:cubicBezTo>
                <a:cubicBezTo>
                  <a:pt x="1656" y="1593"/>
                  <a:pt x="1655" y="1594"/>
                  <a:pt x="1653" y="1595"/>
                </a:cubicBezTo>
                <a:cubicBezTo>
                  <a:pt x="1651" y="1597"/>
                  <a:pt x="1649" y="1597"/>
                  <a:pt x="1648" y="1598"/>
                </a:cubicBezTo>
                <a:cubicBezTo>
                  <a:pt x="1646" y="1600"/>
                  <a:pt x="1644" y="1600"/>
                  <a:pt x="1643" y="1601"/>
                </a:cubicBezTo>
                <a:cubicBezTo>
                  <a:pt x="1641" y="1602"/>
                  <a:pt x="1639" y="1602"/>
                  <a:pt x="1637" y="1602"/>
                </a:cubicBezTo>
                <a:cubicBezTo>
                  <a:pt x="1637" y="1602"/>
                  <a:pt x="1637" y="1602"/>
                  <a:pt x="1637" y="1613"/>
                </a:cubicBezTo>
                <a:cubicBezTo>
                  <a:pt x="1640" y="1612"/>
                  <a:pt x="1643" y="1611"/>
                  <a:pt x="1645" y="1610"/>
                </a:cubicBezTo>
                <a:cubicBezTo>
                  <a:pt x="1648" y="1609"/>
                  <a:pt x="1650" y="1608"/>
                  <a:pt x="1652" y="1606"/>
                </a:cubicBezTo>
                <a:cubicBezTo>
                  <a:pt x="1652" y="1606"/>
                  <a:pt x="1652" y="1606"/>
                  <a:pt x="1652" y="1665"/>
                </a:cubicBezTo>
                <a:cubicBezTo>
                  <a:pt x="1652" y="1665"/>
                  <a:pt x="1652" y="1665"/>
                  <a:pt x="1664" y="1665"/>
                </a:cubicBezTo>
                <a:cubicBezTo>
                  <a:pt x="1664" y="1665"/>
                  <a:pt x="1664" y="1665"/>
                  <a:pt x="1664" y="1592"/>
                </a:cubicBezTo>
                <a:close/>
                <a:moveTo>
                  <a:pt x="1709" y="1592"/>
                </a:moveTo>
                <a:cubicBezTo>
                  <a:pt x="1709" y="1592"/>
                  <a:pt x="1709" y="1592"/>
                  <a:pt x="1709" y="1592"/>
                </a:cubicBezTo>
                <a:cubicBezTo>
                  <a:pt x="1705" y="1592"/>
                  <a:pt x="1705" y="1592"/>
                  <a:pt x="1705" y="1592"/>
                </a:cubicBezTo>
                <a:cubicBezTo>
                  <a:pt x="1703" y="1593"/>
                  <a:pt x="1701" y="1594"/>
                  <a:pt x="1699" y="1595"/>
                </a:cubicBezTo>
                <a:cubicBezTo>
                  <a:pt x="1698" y="1597"/>
                  <a:pt x="1695" y="1597"/>
                  <a:pt x="1694" y="1598"/>
                </a:cubicBezTo>
                <a:cubicBezTo>
                  <a:pt x="1692" y="1600"/>
                  <a:pt x="1690" y="1600"/>
                  <a:pt x="1688" y="1601"/>
                </a:cubicBezTo>
                <a:cubicBezTo>
                  <a:pt x="1687" y="1602"/>
                  <a:pt x="1685" y="1602"/>
                  <a:pt x="1683" y="1602"/>
                </a:cubicBezTo>
                <a:cubicBezTo>
                  <a:pt x="1683" y="1602"/>
                  <a:pt x="1683" y="1602"/>
                  <a:pt x="1683" y="1613"/>
                </a:cubicBezTo>
                <a:cubicBezTo>
                  <a:pt x="1686" y="1612"/>
                  <a:pt x="1689" y="1611"/>
                  <a:pt x="1691" y="1610"/>
                </a:cubicBezTo>
                <a:cubicBezTo>
                  <a:pt x="1693" y="1609"/>
                  <a:pt x="1696" y="1608"/>
                  <a:pt x="1698" y="1606"/>
                </a:cubicBezTo>
                <a:cubicBezTo>
                  <a:pt x="1698" y="1606"/>
                  <a:pt x="1698" y="1606"/>
                  <a:pt x="1698" y="1665"/>
                </a:cubicBezTo>
                <a:cubicBezTo>
                  <a:pt x="1698" y="1665"/>
                  <a:pt x="1698" y="1665"/>
                  <a:pt x="1709" y="1665"/>
                </a:cubicBezTo>
                <a:cubicBezTo>
                  <a:pt x="1709" y="1665"/>
                  <a:pt x="1709" y="1665"/>
                  <a:pt x="1709" y="1592"/>
                </a:cubicBezTo>
                <a:close/>
                <a:moveTo>
                  <a:pt x="1756" y="1592"/>
                </a:moveTo>
                <a:cubicBezTo>
                  <a:pt x="1756" y="1592"/>
                  <a:pt x="1756" y="1592"/>
                  <a:pt x="1756" y="1592"/>
                </a:cubicBezTo>
                <a:cubicBezTo>
                  <a:pt x="1751" y="1592"/>
                  <a:pt x="1751" y="1592"/>
                  <a:pt x="1751" y="1592"/>
                </a:cubicBezTo>
                <a:cubicBezTo>
                  <a:pt x="1749" y="1593"/>
                  <a:pt x="1747" y="1594"/>
                  <a:pt x="1745" y="1595"/>
                </a:cubicBezTo>
                <a:cubicBezTo>
                  <a:pt x="1744" y="1597"/>
                  <a:pt x="1742" y="1597"/>
                  <a:pt x="1740" y="1598"/>
                </a:cubicBezTo>
                <a:cubicBezTo>
                  <a:pt x="1738" y="1600"/>
                  <a:pt x="1736" y="1600"/>
                  <a:pt x="1735" y="1601"/>
                </a:cubicBezTo>
                <a:cubicBezTo>
                  <a:pt x="1733" y="1602"/>
                  <a:pt x="1731" y="1602"/>
                  <a:pt x="1729" y="1602"/>
                </a:cubicBezTo>
                <a:cubicBezTo>
                  <a:pt x="1729" y="1602"/>
                  <a:pt x="1729" y="1602"/>
                  <a:pt x="1729" y="1613"/>
                </a:cubicBezTo>
                <a:cubicBezTo>
                  <a:pt x="1732" y="1612"/>
                  <a:pt x="1735" y="1611"/>
                  <a:pt x="1737" y="1610"/>
                </a:cubicBezTo>
                <a:cubicBezTo>
                  <a:pt x="1740" y="1609"/>
                  <a:pt x="1742" y="1608"/>
                  <a:pt x="1744" y="1606"/>
                </a:cubicBezTo>
                <a:cubicBezTo>
                  <a:pt x="1744" y="1606"/>
                  <a:pt x="1744" y="1606"/>
                  <a:pt x="1744" y="1665"/>
                </a:cubicBezTo>
                <a:cubicBezTo>
                  <a:pt x="1744" y="1665"/>
                  <a:pt x="1744" y="1665"/>
                  <a:pt x="1756" y="1665"/>
                </a:cubicBezTo>
                <a:cubicBezTo>
                  <a:pt x="1756" y="1665"/>
                  <a:pt x="1756" y="1665"/>
                  <a:pt x="1756" y="1592"/>
                </a:cubicBezTo>
                <a:close/>
                <a:moveTo>
                  <a:pt x="1878" y="1592"/>
                </a:moveTo>
                <a:cubicBezTo>
                  <a:pt x="1878" y="1592"/>
                  <a:pt x="1878" y="1592"/>
                  <a:pt x="1878" y="1592"/>
                </a:cubicBezTo>
                <a:cubicBezTo>
                  <a:pt x="1873" y="1592"/>
                  <a:pt x="1873" y="1592"/>
                  <a:pt x="1873" y="1592"/>
                </a:cubicBezTo>
                <a:cubicBezTo>
                  <a:pt x="1870" y="1593"/>
                  <a:pt x="1869" y="1594"/>
                  <a:pt x="1867" y="1595"/>
                </a:cubicBezTo>
                <a:cubicBezTo>
                  <a:pt x="1865" y="1597"/>
                  <a:pt x="1864" y="1597"/>
                  <a:pt x="1862" y="1598"/>
                </a:cubicBezTo>
                <a:cubicBezTo>
                  <a:pt x="1860" y="1600"/>
                  <a:pt x="1858" y="1600"/>
                  <a:pt x="1857" y="1601"/>
                </a:cubicBezTo>
                <a:cubicBezTo>
                  <a:pt x="1854" y="1602"/>
                  <a:pt x="1853" y="1602"/>
                  <a:pt x="1851" y="1602"/>
                </a:cubicBezTo>
                <a:cubicBezTo>
                  <a:pt x="1851" y="1602"/>
                  <a:pt x="1851" y="1602"/>
                  <a:pt x="1851" y="1613"/>
                </a:cubicBezTo>
                <a:cubicBezTo>
                  <a:pt x="1854" y="1612"/>
                  <a:pt x="1857" y="1611"/>
                  <a:pt x="1859" y="1610"/>
                </a:cubicBezTo>
                <a:cubicBezTo>
                  <a:pt x="1862" y="1609"/>
                  <a:pt x="1864" y="1608"/>
                  <a:pt x="1866" y="1606"/>
                </a:cubicBezTo>
                <a:cubicBezTo>
                  <a:pt x="1866" y="1606"/>
                  <a:pt x="1866" y="1606"/>
                  <a:pt x="1866" y="1665"/>
                </a:cubicBezTo>
                <a:cubicBezTo>
                  <a:pt x="1866" y="1665"/>
                  <a:pt x="1866" y="1665"/>
                  <a:pt x="1878" y="1665"/>
                </a:cubicBezTo>
                <a:cubicBezTo>
                  <a:pt x="1878" y="1665"/>
                  <a:pt x="1878" y="1665"/>
                  <a:pt x="1878" y="1592"/>
                </a:cubicBezTo>
                <a:close/>
                <a:moveTo>
                  <a:pt x="1925" y="1592"/>
                </a:moveTo>
                <a:cubicBezTo>
                  <a:pt x="1925" y="1592"/>
                  <a:pt x="1925" y="1592"/>
                  <a:pt x="1925" y="1592"/>
                </a:cubicBezTo>
                <a:cubicBezTo>
                  <a:pt x="1919" y="1592"/>
                  <a:pt x="1919" y="1592"/>
                  <a:pt x="1919" y="1592"/>
                </a:cubicBezTo>
                <a:cubicBezTo>
                  <a:pt x="1917" y="1593"/>
                  <a:pt x="1916" y="1594"/>
                  <a:pt x="1914" y="1595"/>
                </a:cubicBezTo>
                <a:cubicBezTo>
                  <a:pt x="1912" y="1597"/>
                  <a:pt x="1910" y="1597"/>
                  <a:pt x="1908" y="1598"/>
                </a:cubicBezTo>
                <a:cubicBezTo>
                  <a:pt x="1907" y="1600"/>
                  <a:pt x="1905" y="1600"/>
                  <a:pt x="1903" y="1601"/>
                </a:cubicBezTo>
                <a:cubicBezTo>
                  <a:pt x="1901" y="1602"/>
                  <a:pt x="1900" y="1602"/>
                  <a:pt x="1897" y="1602"/>
                </a:cubicBezTo>
                <a:cubicBezTo>
                  <a:pt x="1897" y="1602"/>
                  <a:pt x="1897" y="1602"/>
                  <a:pt x="1897" y="1613"/>
                </a:cubicBezTo>
                <a:cubicBezTo>
                  <a:pt x="1900" y="1612"/>
                  <a:pt x="1903" y="1611"/>
                  <a:pt x="1905" y="1610"/>
                </a:cubicBezTo>
                <a:cubicBezTo>
                  <a:pt x="1908" y="1609"/>
                  <a:pt x="1911" y="1608"/>
                  <a:pt x="1913" y="1606"/>
                </a:cubicBezTo>
                <a:cubicBezTo>
                  <a:pt x="1913" y="1606"/>
                  <a:pt x="1913" y="1606"/>
                  <a:pt x="1913" y="1665"/>
                </a:cubicBezTo>
                <a:cubicBezTo>
                  <a:pt x="1913" y="1665"/>
                  <a:pt x="1913" y="1665"/>
                  <a:pt x="1925" y="1665"/>
                </a:cubicBezTo>
                <a:cubicBezTo>
                  <a:pt x="1925" y="1665"/>
                  <a:pt x="1925" y="1665"/>
                  <a:pt x="1925" y="1592"/>
                </a:cubicBezTo>
                <a:close/>
                <a:moveTo>
                  <a:pt x="1776" y="1624"/>
                </a:moveTo>
                <a:cubicBezTo>
                  <a:pt x="1776" y="1624"/>
                  <a:pt x="1776" y="1624"/>
                  <a:pt x="1776" y="1624"/>
                </a:cubicBezTo>
                <a:cubicBezTo>
                  <a:pt x="1776" y="1632"/>
                  <a:pt x="1776" y="1632"/>
                  <a:pt x="1776" y="1632"/>
                </a:cubicBezTo>
                <a:cubicBezTo>
                  <a:pt x="1782" y="1632"/>
                  <a:pt x="1783" y="1635"/>
                  <a:pt x="1783" y="1638"/>
                </a:cubicBezTo>
                <a:cubicBezTo>
                  <a:pt x="1783" y="1640"/>
                  <a:pt x="1782" y="1643"/>
                  <a:pt x="1782" y="1645"/>
                </a:cubicBezTo>
                <a:cubicBezTo>
                  <a:pt x="1782" y="1648"/>
                  <a:pt x="1782" y="1650"/>
                  <a:pt x="1782" y="1652"/>
                </a:cubicBezTo>
                <a:cubicBezTo>
                  <a:pt x="1782" y="1662"/>
                  <a:pt x="1788" y="1665"/>
                  <a:pt x="1796" y="1665"/>
                </a:cubicBezTo>
                <a:cubicBezTo>
                  <a:pt x="1796" y="1665"/>
                  <a:pt x="1796" y="1665"/>
                  <a:pt x="1800" y="1665"/>
                </a:cubicBezTo>
                <a:cubicBezTo>
                  <a:pt x="1800" y="1665"/>
                  <a:pt x="1800" y="1665"/>
                  <a:pt x="1800" y="1656"/>
                </a:cubicBezTo>
                <a:cubicBezTo>
                  <a:pt x="1800" y="1656"/>
                  <a:pt x="1800" y="1656"/>
                  <a:pt x="1798" y="1656"/>
                </a:cubicBezTo>
                <a:cubicBezTo>
                  <a:pt x="1795" y="1656"/>
                  <a:pt x="1794" y="1653"/>
                  <a:pt x="1794" y="1650"/>
                </a:cubicBezTo>
                <a:cubicBezTo>
                  <a:pt x="1794" y="1649"/>
                  <a:pt x="1794" y="1647"/>
                  <a:pt x="1794" y="1645"/>
                </a:cubicBezTo>
                <a:cubicBezTo>
                  <a:pt x="1794" y="1644"/>
                  <a:pt x="1794" y="1641"/>
                  <a:pt x="1794" y="1639"/>
                </a:cubicBezTo>
                <a:cubicBezTo>
                  <a:pt x="1794" y="1632"/>
                  <a:pt x="1791" y="1629"/>
                  <a:pt x="1786" y="1628"/>
                </a:cubicBezTo>
                <a:cubicBezTo>
                  <a:pt x="1786" y="1628"/>
                  <a:pt x="1786" y="1628"/>
                  <a:pt x="1786" y="1628"/>
                </a:cubicBezTo>
                <a:cubicBezTo>
                  <a:pt x="1791" y="1626"/>
                  <a:pt x="1794" y="1624"/>
                  <a:pt x="1794" y="1617"/>
                </a:cubicBezTo>
                <a:cubicBezTo>
                  <a:pt x="1794" y="1614"/>
                  <a:pt x="1794" y="1612"/>
                  <a:pt x="1794" y="1610"/>
                </a:cubicBezTo>
                <a:cubicBezTo>
                  <a:pt x="1794" y="1609"/>
                  <a:pt x="1794" y="1607"/>
                  <a:pt x="1794" y="1606"/>
                </a:cubicBezTo>
                <a:cubicBezTo>
                  <a:pt x="1794" y="1602"/>
                  <a:pt x="1795" y="1600"/>
                  <a:pt x="1798" y="1600"/>
                </a:cubicBezTo>
                <a:cubicBezTo>
                  <a:pt x="1798" y="1600"/>
                  <a:pt x="1798" y="1600"/>
                  <a:pt x="1800" y="1600"/>
                </a:cubicBezTo>
                <a:cubicBezTo>
                  <a:pt x="1800" y="1600"/>
                  <a:pt x="1800" y="1600"/>
                  <a:pt x="1800" y="1591"/>
                </a:cubicBezTo>
                <a:cubicBezTo>
                  <a:pt x="1800" y="1591"/>
                  <a:pt x="1800" y="1591"/>
                  <a:pt x="1796" y="1591"/>
                </a:cubicBezTo>
                <a:cubicBezTo>
                  <a:pt x="1787" y="1591"/>
                  <a:pt x="1782" y="1595"/>
                  <a:pt x="1782" y="1603"/>
                </a:cubicBezTo>
                <a:cubicBezTo>
                  <a:pt x="1782" y="1606"/>
                  <a:pt x="1782" y="1608"/>
                  <a:pt x="1782" y="1611"/>
                </a:cubicBezTo>
                <a:cubicBezTo>
                  <a:pt x="1782" y="1613"/>
                  <a:pt x="1783" y="1616"/>
                  <a:pt x="1783" y="1618"/>
                </a:cubicBezTo>
                <a:cubicBezTo>
                  <a:pt x="1783" y="1620"/>
                  <a:pt x="1782" y="1624"/>
                  <a:pt x="1776" y="1624"/>
                </a:cubicBezTo>
                <a:close/>
                <a:moveTo>
                  <a:pt x="1831" y="1632"/>
                </a:moveTo>
                <a:cubicBezTo>
                  <a:pt x="1831" y="1632"/>
                  <a:pt x="1831" y="1632"/>
                  <a:pt x="1831" y="1632"/>
                </a:cubicBezTo>
                <a:cubicBezTo>
                  <a:pt x="1831" y="1624"/>
                  <a:pt x="1831" y="1624"/>
                  <a:pt x="1831" y="1624"/>
                </a:cubicBezTo>
                <a:cubicBezTo>
                  <a:pt x="1825" y="1624"/>
                  <a:pt x="1824" y="1620"/>
                  <a:pt x="1824" y="1618"/>
                </a:cubicBezTo>
                <a:cubicBezTo>
                  <a:pt x="1824" y="1616"/>
                  <a:pt x="1824" y="1613"/>
                  <a:pt x="1825" y="1611"/>
                </a:cubicBezTo>
                <a:cubicBezTo>
                  <a:pt x="1825" y="1608"/>
                  <a:pt x="1825" y="1606"/>
                  <a:pt x="1825" y="1603"/>
                </a:cubicBezTo>
                <a:cubicBezTo>
                  <a:pt x="1825" y="1595"/>
                  <a:pt x="1820" y="1591"/>
                  <a:pt x="1810" y="1591"/>
                </a:cubicBezTo>
                <a:cubicBezTo>
                  <a:pt x="1810" y="1591"/>
                  <a:pt x="1810" y="1591"/>
                  <a:pt x="1807" y="1591"/>
                </a:cubicBezTo>
                <a:cubicBezTo>
                  <a:pt x="1807" y="1591"/>
                  <a:pt x="1807" y="1591"/>
                  <a:pt x="1807" y="1600"/>
                </a:cubicBezTo>
                <a:cubicBezTo>
                  <a:pt x="1807" y="1600"/>
                  <a:pt x="1807" y="1600"/>
                  <a:pt x="1808" y="1600"/>
                </a:cubicBezTo>
                <a:cubicBezTo>
                  <a:pt x="1812" y="1600"/>
                  <a:pt x="1813" y="1602"/>
                  <a:pt x="1813" y="1606"/>
                </a:cubicBezTo>
                <a:cubicBezTo>
                  <a:pt x="1813" y="1607"/>
                  <a:pt x="1813" y="1609"/>
                  <a:pt x="1813" y="1610"/>
                </a:cubicBezTo>
                <a:cubicBezTo>
                  <a:pt x="1813" y="1612"/>
                  <a:pt x="1813" y="1614"/>
                  <a:pt x="1813" y="1617"/>
                </a:cubicBezTo>
                <a:cubicBezTo>
                  <a:pt x="1813" y="1624"/>
                  <a:pt x="1815" y="1626"/>
                  <a:pt x="1821" y="1628"/>
                </a:cubicBezTo>
                <a:cubicBezTo>
                  <a:pt x="1821" y="1628"/>
                  <a:pt x="1821" y="1628"/>
                  <a:pt x="1821" y="1628"/>
                </a:cubicBezTo>
                <a:cubicBezTo>
                  <a:pt x="1815" y="1629"/>
                  <a:pt x="1813" y="1632"/>
                  <a:pt x="1813" y="1639"/>
                </a:cubicBezTo>
                <a:cubicBezTo>
                  <a:pt x="1813" y="1641"/>
                  <a:pt x="1813" y="1644"/>
                  <a:pt x="1813" y="1645"/>
                </a:cubicBezTo>
                <a:cubicBezTo>
                  <a:pt x="1813" y="1647"/>
                  <a:pt x="1813" y="1649"/>
                  <a:pt x="1813" y="1650"/>
                </a:cubicBezTo>
                <a:cubicBezTo>
                  <a:pt x="1813" y="1653"/>
                  <a:pt x="1812" y="1656"/>
                  <a:pt x="1808" y="1656"/>
                </a:cubicBezTo>
                <a:cubicBezTo>
                  <a:pt x="1808" y="1656"/>
                  <a:pt x="1808" y="1656"/>
                  <a:pt x="1807" y="1656"/>
                </a:cubicBezTo>
                <a:cubicBezTo>
                  <a:pt x="1807" y="1656"/>
                  <a:pt x="1807" y="1656"/>
                  <a:pt x="1807" y="1665"/>
                </a:cubicBezTo>
                <a:cubicBezTo>
                  <a:pt x="1807" y="1665"/>
                  <a:pt x="1807" y="1665"/>
                  <a:pt x="1810" y="1665"/>
                </a:cubicBezTo>
                <a:cubicBezTo>
                  <a:pt x="1819" y="1665"/>
                  <a:pt x="1825" y="1662"/>
                  <a:pt x="1825" y="1652"/>
                </a:cubicBezTo>
                <a:cubicBezTo>
                  <a:pt x="1825" y="1650"/>
                  <a:pt x="1825" y="1648"/>
                  <a:pt x="1825" y="1645"/>
                </a:cubicBezTo>
                <a:cubicBezTo>
                  <a:pt x="1824" y="1643"/>
                  <a:pt x="1824" y="1640"/>
                  <a:pt x="1824" y="1638"/>
                </a:cubicBezTo>
                <a:cubicBezTo>
                  <a:pt x="1824" y="1635"/>
                  <a:pt x="1825" y="1632"/>
                  <a:pt x="1831" y="1632"/>
                </a:cubicBezTo>
                <a:close/>
                <a:moveTo>
                  <a:pt x="1218" y="1665"/>
                </a:moveTo>
                <a:cubicBezTo>
                  <a:pt x="1210" y="1665"/>
                  <a:pt x="1204" y="1662"/>
                  <a:pt x="1199" y="1656"/>
                </a:cubicBezTo>
                <a:cubicBezTo>
                  <a:pt x="1196" y="1650"/>
                  <a:pt x="1194" y="1641"/>
                  <a:pt x="1194" y="1628"/>
                </a:cubicBezTo>
                <a:cubicBezTo>
                  <a:pt x="1194" y="1615"/>
                  <a:pt x="1196" y="1606"/>
                  <a:pt x="1200" y="1599"/>
                </a:cubicBezTo>
                <a:cubicBezTo>
                  <a:pt x="1205" y="1592"/>
                  <a:pt x="1211" y="1589"/>
                  <a:pt x="1220" y="1589"/>
                </a:cubicBezTo>
                <a:cubicBezTo>
                  <a:pt x="1236" y="1589"/>
                  <a:pt x="1244" y="1601"/>
                  <a:pt x="1244" y="1627"/>
                </a:cubicBezTo>
                <a:cubicBezTo>
                  <a:pt x="1244" y="1639"/>
                  <a:pt x="1242" y="1649"/>
                  <a:pt x="1237" y="1655"/>
                </a:cubicBezTo>
                <a:cubicBezTo>
                  <a:pt x="1232" y="1662"/>
                  <a:pt x="1226" y="1665"/>
                  <a:pt x="1218" y="1665"/>
                </a:cubicBezTo>
                <a:close/>
                <a:moveTo>
                  <a:pt x="1219" y="1598"/>
                </a:moveTo>
                <a:cubicBezTo>
                  <a:pt x="1210" y="1598"/>
                  <a:pt x="1205" y="1608"/>
                  <a:pt x="1205" y="1628"/>
                </a:cubicBezTo>
                <a:cubicBezTo>
                  <a:pt x="1205" y="1647"/>
                  <a:pt x="1210" y="1655"/>
                  <a:pt x="1218" y="1655"/>
                </a:cubicBezTo>
                <a:cubicBezTo>
                  <a:pt x="1227" y="1655"/>
                  <a:pt x="1232" y="1647"/>
                  <a:pt x="1232" y="1628"/>
                </a:cubicBezTo>
                <a:cubicBezTo>
                  <a:pt x="1232" y="1608"/>
                  <a:pt x="1227" y="1598"/>
                  <a:pt x="1219" y="1598"/>
                </a:cubicBezTo>
                <a:close/>
                <a:moveTo>
                  <a:pt x="1288" y="1665"/>
                </a:moveTo>
                <a:cubicBezTo>
                  <a:pt x="1281" y="1665"/>
                  <a:pt x="1274" y="1662"/>
                  <a:pt x="1271" y="1656"/>
                </a:cubicBezTo>
                <a:cubicBezTo>
                  <a:pt x="1266" y="1650"/>
                  <a:pt x="1264" y="1641"/>
                  <a:pt x="1264" y="1628"/>
                </a:cubicBezTo>
                <a:cubicBezTo>
                  <a:pt x="1264" y="1615"/>
                  <a:pt x="1266" y="1606"/>
                  <a:pt x="1271" y="1599"/>
                </a:cubicBezTo>
                <a:cubicBezTo>
                  <a:pt x="1275" y="1592"/>
                  <a:pt x="1282" y="1589"/>
                  <a:pt x="1290" y="1589"/>
                </a:cubicBezTo>
                <a:cubicBezTo>
                  <a:pt x="1307" y="1589"/>
                  <a:pt x="1315" y="1601"/>
                  <a:pt x="1315" y="1627"/>
                </a:cubicBezTo>
                <a:cubicBezTo>
                  <a:pt x="1315" y="1639"/>
                  <a:pt x="1312" y="1649"/>
                  <a:pt x="1308" y="1655"/>
                </a:cubicBezTo>
                <a:cubicBezTo>
                  <a:pt x="1303" y="1662"/>
                  <a:pt x="1297" y="1665"/>
                  <a:pt x="1288" y="1665"/>
                </a:cubicBezTo>
                <a:close/>
                <a:moveTo>
                  <a:pt x="1290" y="1598"/>
                </a:moveTo>
                <a:cubicBezTo>
                  <a:pt x="1281" y="1598"/>
                  <a:pt x="1276" y="1608"/>
                  <a:pt x="1276" y="1628"/>
                </a:cubicBezTo>
                <a:cubicBezTo>
                  <a:pt x="1276" y="1647"/>
                  <a:pt x="1280" y="1655"/>
                  <a:pt x="1289" y="1655"/>
                </a:cubicBezTo>
                <a:cubicBezTo>
                  <a:pt x="1298" y="1655"/>
                  <a:pt x="1302" y="1647"/>
                  <a:pt x="1302" y="1628"/>
                </a:cubicBezTo>
                <a:cubicBezTo>
                  <a:pt x="1302" y="1608"/>
                  <a:pt x="1298" y="1598"/>
                  <a:pt x="1290" y="1598"/>
                </a:cubicBezTo>
                <a:close/>
                <a:moveTo>
                  <a:pt x="1498" y="1675"/>
                </a:moveTo>
                <a:cubicBezTo>
                  <a:pt x="1490" y="1675"/>
                  <a:pt x="1485" y="1672"/>
                  <a:pt x="1480" y="1665"/>
                </a:cubicBezTo>
                <a:cubicBezTo>
                  <a:pt x="1476" y="1659"/>
                  <a:pt x="1473" y="1650"/>
                  <a:pt x="1473" y="1638"/>
                </a:cubicBezTo>
                <a:cubicBezTo>
                  <a:pt x="1473" y="1625"/>
                  <a:pt x="1476" y="1616"/>
                  <a:pt x="1480" y="1608"/>
                </a:cubicBezTo>
                <a:cubicBezTo>
                  <a:pt x="1485" y="1602"/>
                  <a:pt x="1491" y="1599"/>
                  <a:pt x="1500" y="1599"/>
                </a:cubicBezTo>
                <a:cubicBezTo>
                  <a:pt x="1516" y="1599"/>
                  <a:pt x="1524" y="1611"/>
                  <a:pt x="1524" y="1636"/>
                </a:cubicBezTo>
                <a:cubicBezTo>
                  <a:pt x="1524" y="1649"/>
                  <a:pt x="1522" y="1659"/>
                  <a:pt x="1518" y="1665"/>
                </a:cubicBezTo>
                <a:cubicBezTo>
                  <a:pt x="1513" y="1672"/>
                  <a:pt x="1507" y="1675"/>
                  <a:pt x="1498" y="1675"/>
                </a:cubicBezTo>
                <a:close/>
                <a:moveTo>
                  <a:pt x="1499" y="1608"/>
                </a:moveTo>
                <a:cubicBezTo>
                  <a:pt x="1490" y="1608"/>
                  <a:pt x="1486" y="1618"/>
                  <a:pt x="1486" y="1637"/>
                </a:cubicBezTo>
                <a:cubicBezTo>
                  <a:pt x="1486" y="1656"/>
                  <a:pt x="1490" y="1665"/>
                  <a:pt x="1499" y="1665"/>
                </a:cubicBezTo>
                <a:cubicBezTo>
                  <a:pt x="1507" y="1665"/>
                  <a:pt x="1512" y="1656"/>
                  <a:pt x="1512" y="1637"/>
                </a:cubicBezTo>
                <a:cubicBezTo>
                  <a:pt x="1512" y="1618"/>
                  <a:pt x="1508" y="1608"/>
                  <a:pt x="1499" y="1608"/>
                </a:cubicBezTo>
                <a:close/>
                <a:moveTo>
                  <a:pt x="1570" y="1592"/>
                </a:moveTo>
                <a:cubicBezTo>
                  <a:pt x="1570" y="1592"/>
                  <a:pt x="1570" y="1592"/>
                  <a:pt x="1570" y="1592"/>
                </a:cubicBezTo>
                <a:cubicBezTo>
                  <a:pt x="1565" y="1592"/>
                  <a:pt x="1565" y="1592"/>
                  <a:pt x="1565" y="1592"/>
                </a:cubicBezTo>
                <a:cubicBezTo>
                  <a:pt x="1563" y="1593"/>
                  <a:pt x="1562" y="1594"/>
                  <a:pt x="1560" y="1595"/>
                </a:cubicBezTo>
                <a:cubicBezTo>
                  <a:pt x="1558" y="1597"/>
                  <a:pt x="1556" y="1597"/>
                  <a:pt x="1555" y="1598"/>
                </a:cubicBezTo>
                <a:cubicBezTo>
                  <a:pt x="1553" y="1599"/>
                  <a:pt x="1551" y="1600"/>
                  <a:pt x="1550" y="1600"/>
                </a:cubicBezTo>
                <a:cubicBezTo>
                  <a:pt x="1548" y="1601"/>
                  <a:pt x="1546" y="1602"/>
                  <a:pt x="1544" y="1602"/>
                </a:cubicBezTo>
                <a:cubicBezTo>
                  <a:pt x="1544" y="1602"/>
                  <a:pt x="1544" y="1602"/>
                  <a:pt x="1544" y="1613"/>
                </a:cubicBezTo>
                <a:cubicBezTo>
                  <a:pt x="1547" y="1612"/>
                  <a:pt x="1550" y="1610"/>
                  <a:pt x="1552" y="1610"/>
                </a:cubicBezTo>
                <a:cubicBezTo>
                  <a:pt x="1555" y="1609"/>
                  <a:pt x="1557" y="1608"/>
                  <a:pt x="1559" y="1606"/>
                </a:cubicBezTo>
                <a:cubicBezTo>
                  <a:pt x="1559" y="1606"/>
                  <a:pt x="1559" y="1606"/>
                  <a:pt x="1559" y="1665"/>
                </a:cubicBezTo>
                <a:cubicBezTo>
                  <a:pt x="1559" y="1665"/>
                  <a:pt x="1559" y="1665"/>
                  <a:pt x="1570" y="1665"/>
                </a:cubicBezTo>
                <a:cubicBezTo>
                  <a:pt x="1570" y="1665"/>
                  <a:pt x="1570" y="1665"/>
                  <a:pt x="1570" y="1592"/>
                </a:cubicBezTo>
                <a:close/>
                <a:moveTo>
                  <a:pt x="1361" y="1592"/>
                </a:moveTo>
                <a:cubicBezTo>
                  <a:pt x="1361" y="1592"/>
                  <a:pt x="1361" y="1592"/>
                  <a:pt x="1361" y="1592"/>
                </a:cubicBezTo>
                <a:cubicBezTo>
                  <a:pt x="1356" y="1592"/>
                  <a:pt x="1356" y="1592"/>
                  <a:pt x="1356" y="1592"/>
                </a:cubicBezTo>
                <a:cubicBezTo>
                  <a:pt x="1354" y="1593"/>
                  <a:pt x="1352" y="1594"/>
                  <a:pt x="1350" y="1595"/>
                </a:cubicBezTo>
                <a:cubicBezTo>
                  <a:pt x="1349" y="1597"/>
                  <a:pt x="1347" y="1597"/>
                  <a:pt x="1345" y="1598"/>
                </a:cubicBezTo>
                <a:cubicBezTo>
                  <a:pt x="1344" y="1600"/>
                  <a:pt x="1342" y="1600"/>
                  <a:pt x="1340" y="1601"/>
                </a:cubicBezTo>
                <a:cubicBezTo>
                  <a:pt x="1338" y="1602"/>
                  <a:pt x="1336" y="1602"/>
                  <a:pt x="1334" y="1602"/>
                </a:cubicBezTo>
                <a:cubicBezTo>
                  <a:pt x="1334" y="1602"/>
                  <a:pt x="1334" y="1602"/>
                  <a:pt x="1334" y="1613"/>
                </a:cubicBezTo>
                <a:cubicBezTo>
                  <a:pt x="1337" y="1612"/>
                  <a:pt x="1340" y="1611"/>
                  <a:pt x="1343" y="1610"/>
                </a:cubicBezTo>
                <a:cubicBezTo>
                  <a:pt x="1345" y="1609"/>
                  <a:pt x="1347" y="1608"/>
                  <a:pt x="1350" y="1606"/>
                </a:cubicBezTo>
                <a:cubicBezTo>
                  <a:pt x="1350" y="1606"/>
                  <a:pt x="1350" y="1606"/>
                  <a:pt x="1350" y="1665"/>
                </a:cubicBezTo>
                <a:cubicBezTo>
                  <a:pt x="1350" y="1665"/>
                  <a:pt x="1350" y="1665"/>
                  <a:pt x="1361" y="1665"/>
                </a:cubicBezTo>
                <a:cubicBezTo>
                  <a:pt x="1361" y="1665"/>
                  <a:pt x="1361" y="1665"/>
                  <a:pt x="1361" y="1592"/>
                </a:cubicBezTo>
                <a:close/>
                <a:moveTo>
                  <a:pt x="1408" y="1592"/>
                </a:moveTo>
                <a:cubicBezTo>
                  <a:pt x="1408" y="1592"/>
                  <a:pt x="1408" y="1592"/>
                  <a:pt x="1408" y="1592"/>
                </a:cubicBezTo>
                <a:cubicBezTo>
                  <a:pt x="1403" y="1592"/>
                  <a:pt x="1403" y="1592"/>
                  <a:pt x="1403" y="1592"/>
                </a:cubicBezTo>
                <a:cubicBezTo>
                  <a:pt x="1401" y="1593"/>
                  <a:pt x="1399" y="1594"/>
                  <a:pt x="1397" y="1595"/>
                </a:cubicBezTo>
                <a:cubicBezTo>
                  <a:pt x="1396" y="1597"/>
                  <a:pt x="1393" y="1597"/>
                  <a:pt x="1392" y="1598"/>
                </a:cubicBezTo>
                <a:cubicBezTo>
                  <a:pt x="1390" y="1600"/>
                  <a:pt x="1388" y="1600"/>
                  <a:pt x="1387" y="1601"/>
                </a:cubicBezTo>
                <a:cubicBezTo>
                  <a:pt x="1385" y="1602"/>
                  <a:pt x="1383" y="1602"/>
                  <a:pt x="1381" y="1602"/>
                </a:cubicBezTo>
                <a:cubicBezTo>
                  <a:pt x="1381" y="1602"/>
                  <a:pt x="1381" y="1602"/>
                  <a:pt x="1381" y="1613"/>
                </a:cubicBezTo>
                <a:cubicBezTo>
                  <a:pt x="1384" y="1612"/>
                  <a:pt x="1387" y="1611"/>
                  <a:pt x="1389" y="1610"/>
                </a:cubicBezTo>
                <a:cubicBezTo>
                  <a:pt x="1392" y="1609"/>
                  <a:pt x="1394" y="1608"/>
                  <a:pt x="1396" y="1606"/>
                </a:cubicBezTo>
                <a:cubicBezTo>
                  <a:pt x="1396" y="1606"/>
                  <a:pt x="1396" y="1606"/>
                  <a:pt x="1396" y="1665"/>
                </a:cubicBezTo>
                <a:cubicBezTo>
                  <a:pt x="1396" y="1665"/>
                  <a:pt x="1396" y="1665"/>
                  <a:pt x="1408" y="1665"/>
                </a:cubicBezTo>
                <a:cubicBezTo>
                  <a:pt x="1408" y="1665"/>
                  <a:pt x="1408" y="1665"/>
                  <a:pt x="1408" y="1592"/>
                </a:cubicBezTo>
                <a:close/>
                <a:moveTo>
                  <a:pt x="1454" y="1592"/>
                </a:moveTo>
                <a:cubicBezTo>
                  <a:pt x="1454" y="1592"/>
                  <a:pt x="1454" y="1592"/>
                  <a:pt x="1454" y="1592"/>
                </a:cubicBezTo>
                <a:cubicBezTo>
                  <a:pt x="1449" y="1592"/>
                  <a:pt x="1449" y="1592"/>
                  <a:pt x="1449" y="1592"/>
                </a:cubicBezTo>
                <a:cubicBezTo>
                  <a:pt x="1447" y="1593"/>
                  <a:pt x="1446" y="1594"/>
                  <a:pt x="1444" y="1595"/>
                </a:cubicBezTo>
                <a:cubicBezTo>
                  <a:pt x="1442" y="1597"/>
                  <a:pt x="1440" y="1597"/>
                  <a:pt x="1439" y="1598"/>
                </a:cubicBezTo>
                <a:cubicBezTo>
                  <a:pt x="1436" y="1599"/>
                  <a:pt x="1435" y="1600"/>
                  <a:pt x="1433" y="1600"/>
                </a:cubicBezTo>
                <a:cubicBezTo>
                  <a:pt x="1431" y="1601"/>
                  <a:pt x="1429" y="1602"/>
                  <a:pt x="1428" y="1602"/>
                </a:cubicBezTo>
                <a:cubicBezTo>
                  <a:pt x="1428" y="1602"/>
                  <a:pt x="1428" y="1602"/>
                  <a:pt x="1428" y="1613"/>
                </a:cubicBezTo>
                <a:cubicBezTo>
                  <a:pt x="1431" y="1612"/>
                  <a:pt x="1434" y="1610"/>
                  <a:pt x="1436" y="1610"/>
                </a:cubicBezTo>
                <a:cubicBezTo>
                  <a:pt x="1438" y="1609"/>
                  <a:pt x="1441" y="1608"/>
                  <a:pt x="1442" y="1606"/>
                </a:cubicBezTo>
                <a:cubicBezTo>
                  <a:pt x="1442" y="1606"/>
                  <a:pt x="1442" y="1606"/>
                  <a:pt x="1442" y="1665"/>
                </a:cubicBezTo>
                <a:cubicBezTo>
                  <a:pt x="1442" y="1665"/>
                  <a:pt x="1442" y="1665"/>
                  <a:pt x="1454" y="1665"/>
                </a:cubicBezTo>
                <a:cubicBezTo>
                  <a:pt x="1454" y="1665"/>
                  <a:pt x="1454" y="1665"/>
                  <a:pt x="1454" y="1592"/>
                </a:cubicBezTo>
                <a:close/>
                <a:moveTo>
                  <a:pt x="212" y="1592"/>
                </a:moveTo>
                <a:cubicBezTo>
                  <a:pt x="212" y="1592"/>
                  <a:pt x="212" y="1592"/>
                  <a:pt x="212" y="1592"/>
                </a:cubicBezTo>
                <a:cubicBezTo>
                  <a:pt x="206" y="1592"/>
                  <a:pt x="206" y="1592"/>
                  <a:pt x="206" y="1592"/>
                </a:cubicBezTo>
                <a:cubicBezTo>
                  <a:pt x="204" y="1593"/>
                  <a:pt x="203" y="1594"/>
                  <a:pt x="201" y="1595"/>
                </a:cubicBezTo>
                <a:cubicBezTo>
                  <a:pt x="199" y="1597"/>
                  <a:pt x="197" y="1597"/>
                  <a:pt x="196" y="1598"/>
                </a:cubicBezTo>
                <a:cubicBezTo>
                  <a:pt x="194" y="1600"/>
                  <a:pt x="192" y="1600"/>
                  <a:pt x="190" y="1601"/>
                </a:cubicBezTo>
                <a:cubicBezTo>
                  <a:pt x="188" y="1602"/>
                  <a:pt x="187" y="1602"/>
                  <a:pt x="185" y="1602"/>
                </a:cubicBezTo>
                <a:cubicBezTo>
                  <a:pt x="185" y="1602"/>
                  <a:pt x="185" y="1602"/>
                  <a:pt x="185" y="1613"/>
                </a:cubicBezTo>
                <a:cubicBezTo>
                  <a:pt x="188" y="1612"/>
                  <a:pt x="190" y="1611"/>
                  <a:pt x="193" y="1610"/>
                </a:cubicBezTo>
                <a:cubicBezTo>
                  <a:pt x="196" y="1609"/>
                  <a:pt x="198" y="1608"/>
                  <a:pt x="200" y="1606"/>
                </a:cubicBezTo>
                <a:cubicBezTo>
                  <a:pt x="200" y="1606"/>
                  <a:pt x="200" y="1606"/>
                  <a:pt x="200" y="1665"/>
                </a:cubicBezTo>
                <a:cubicBezTo>
                  <a:pt x="200" y="1665"/>
                  <a:pt x="200" y="1665"/>
                  <a:pt x="212" y="1665"/>
                </a:cubicBezTo>
                <a:cubicBezTo>
                  <a:pt x="212" y="1665"/>
                  <a:pt x="212" y="1665"/>
                  <a:pt x="212" y="1592"/>
                </a:cubicBezTo>
                <a:close/>
                <a:moveTo>
                  <a:pt x="258" y="1592"/>
                </a:moveTo>
                <a:cubicBezTo>
                  <a:pt x="258" y="1592"/>
                  <a:pt x="258" y="1592"/>
                  <a:pt x="258" y="1592"/>
                </a:cubicBezTo>
                <a:cubicBezTo>
                  <a:pt x="253" y="1592"/>
                  <a:pt x="253" y="1592"/>
                  <a:pt x="253" y="1592"/>
                </a:cubicBezTo>
                <a:cubicBezTo>
                  <a:pt x="252" y="1593"/>
                  <a:pt x="249" y="1594"/>
                  <a:pt x="248" y="1595"/>
                </a:cubicBezTo>
                <a:cubicBezTo>
                  <a:pt x="246" y="1597"/>
                  <a:pt x="244" y="1597"/>
                  <a:pt x="242" y="1598"/>
                </a:cubicBezTo>
                <a:cubicBezTo>
                  <a:pt x="241" y="1600"/>
                  <a:pt x="238" y="1600"/>
                  <a:pt x="237" y="1601"/>
                </a:cubicBezTo>
                <a:cubicBezTo>
                  <a:pt x="235" y="1602"/>
                  <a:pt x="233" y="1602"/>
                  <a:pt x="231" y="1602"/>
                </a:cubicBezTo>
                <a:cubicBezTo>
                  <a:pt x="231" y="1602"/>
                  <a:pt x="231" y="1602"/>
                  <a:pt x="231" y="1613"/>
                </a:cubicBezTo>
                <a:cubicBezTo>
                  <a:pt x="234" y="1612"/>
                  <a:pt x="237" y="1611"/>
                  <a:pt x="240" y="1610"/>
                </a:cubicBezTo>
                <a:cubicBezTo>
                  <a:pt x="242" y="1609"/>
                  <a:pt x="244" y="1608"/>
                  <a:pt x="246" y="1606"/>
                </a:cubicBezTo>
                <a:cubicBezTo>
                  <a:pt x="246" y="1606"/>
                  <a:pt x="246" y="1606"/>
                  <a:pt x="246" y="1665"/>
                </a:cubicBezTo>
                <a:cubicBezTo>
                  <a:pt x="246" y="1665"/>
                  <a:pt x="246" y="1665"/>
                  <a:pt x="258" y="1665"/>
                </a:cubicBezTo>
                <a:cubicBezTo>
                  <a:pt x="258" y="1665"/>
                  <a:pt x="258" y="1665"/>
                  <a:pt x="258" y="1592"/>
                </a:cubicBezTo>
                <a:close/>
                <a:moveTo>
                  <a:pt x="304" y="1592"/>
                </a:moveTo>
                <a:cubicBezTo>
                  <a:pt x="304" y="1592"/>
                  <a:pt x="304" y="1592"/>
                  <a:pt x="304" y="1592"/>
                </a:cubicBezTo>
                <a:cubicBezTo>
                  <a:pt x="300" y="1592"/>
                  <a:pt x="300" y="1592"/>
                  <a:pt x="300" y="1592"/>
                </a:cubicBezTo>
                <a:cubicBezTo>
                  <a:pt x="298" y="1593"/>
                  <a:pt x="296" y="1594"/>
                  <a:pt x="294" y="1595"/>
                </a:cubicBezTo>
                <a:cubicBezTo>
                  <a:pt x="293" y="1597"/>
                  <a:pt x="290" y="1597"/>
                  <a:pt x="289" y="1598"/>
                </a:cubicBezTo>
                <a:cubicBezTo>
                  <a:pt x="287" y="1599"/>
                  <a:pt x="285" y="1600"/>
                  <a:pt x="283" y="1600"/>
                </a:cubicBezTo>
                <a:cubicBezTo>
                  <a:pt x="282" y="1601"/>
                  <a:pt x="280" y="1602"/>
                  <a:pt x="278" y="1602"/>
                </a:cubicBezTo>
                <a:cubicBezTo>
                  <a:pt x="278" y="1602"/>
                  <a:pt x="278" y="1602"/>
                  <a:pt x="278" y="1613"/>
                </a:cubicBezTo>
                <a:cubicBezTo>
                  <a:pt x="281" y="1612"/>
                  <a:pt x="284" y="1610"/>
                  <a:pt x="286" y="1610"/>
                </a:cubicBezTo>
                <a:cubicBezTo>
                  <a:pt x="288" y="1609"/>
                  <a:pt x="291" y="1608"/>
                  <a:pt x="293" y="1606"/>
                </a:cubicBezTo>
                <a:cubicBezTo>
                  <a:pt x="293" y="1606"/>
                  <a:pt x="293" y="1606"/>
                  <a:pt x="293" y="1665"/>
                </a:cubicBezTo>
                <a:cubicBezTo>
                  <a:pt x="293" y="1665"/>
                  <a:pt x="293" y="1665"/>
                  <a:pt x="304" y="1665"/>
                </a:cubicBezTo>
                <a:cubicBezTo>
                  <a:pt x="304" y="1665"/>
                  <a:pt x="304" y="1665"/>
                  <a:pt x="304" y="1592"/>
                </a:cubicBezTo>
                <a:close/>
                <a:moveTo>
                  <a:pt x="440" y="1624"/>
                </a:moveTo>
                <a:cubicBezTo>
                  <a:pt x="440" y="1624"/>
                  <a:pt x="440" y="1624"/>
                  <a:pt x="440" y="1624"/>
                </a:cubicBezTo>
                <a:cubicBezTo>
                  <a:pt x="440" y="1632"/>
                  <a:pt x="440" y="1632"/>
                  <a:pt x="440" y="1632"/>
                </a:cubicBezTo>
                <a:cubicBezTo>
                  <a:pt x="446" y="1632"/>
                  <a:pt x="447" y="1635"/>
                  <a:pt x="447" y="1638"/>
                </a:cubicBezTo>
                <a:cubicBezTo>
                  <a:pt x="447" y="1640"/>
                  <a:pt x="447" y="1643"/>
                  <a:pt x="447" y="1645"/>
                </a:cubicBezTo>
                <a:cubicBezTo>
                  <a:pt x="446" y="1648"/>
                  <a:pt x="446" y="1650"/>
                  <a:pt x="446" y="1652"/>
                </a:cubicBezTo>
                <a:cubicBezTo>
                  <a:pt x="446" y="1662"/>
                  <a:pt x="452" y="1665"/>
                  <a:pt x="461" y="1665"/>
                </a:cubicBezTo>
                <a:cubicBezTo>
                  <a:pt x="461" y="1665"/>
                  <a:pt x="461" y="1665"/>
                  <a:pt x="464" y="1665"/>
                </a:cubicBezTo>
                <a:cubicBezTo>
                  <a:pt x="464" y="1665"/>
                  <a:pt x="464" y="1665"/>
                  <a:pt x="464" y="1656"/>
                </a:cubicBezTo>
                <a:cubicBezTo>
                  <a:pt x="464" y="1656"/>
                  <a:pt x="464" y="1656"/>
                  <a:pt x="463" y="1656"/>
                </a:cubicBezTo>
                <a:cubicBezTo>
                  <a:pt x="459" y="1656"/>
                  <a:pt x="458" y="1653"/>
                  <a:pt x="458" y="1650"/>
                </a:cubicBezTo>
                <a:cubicBezTo>
                  <a:pt x="458" y="1649"/>
                  <a:pt x="458" y="1647"/>
                  <a:pt x="458" y="1645"/>
                </a:cubicBezTo>
                <a:cubicBezTo>
                  <a:pt x="458" y="1644"/>
                  <a:pt x="459" y="1641"/>
                  <a:pt x="459" y="1639"/>
                </a:cubicBezTo>
                <a:cubicBezTo>
                  <a:pt x="459" y="1632"/>
                  <a:pt x="456" y="1629"/>
                  <a:pt x="450" y="1628"/>
                </a:cubicBezTo>
                <a:cubicBezTo>
                  <a:pt x="450" y="1628"/>
                  <a:pt x="450" y="1628"/>
                  <a:pt x="450" y="1628"/>
                </a:cubicBezTo>
                <a:cubicBezTo>
                  <a:pt x="456" y="1626"/>
                  <a:pt x="459" y="1624"/>
                  <a:pt x="459" y="1617"/>
                </a:cubicBezTo>
                <a:cubicBezTo>
                  <a:pt x="459" y="1614"/>
                  <a:pt x="458" y="1612"/>
                  <a:pt x="458" y="1610"/>
                </a:cubicBezTo>
                <a:cubicBezTo>
                  <a:pt x="458" y="1609"/>
                  <a:pt x="458" y="1607"/>
                  <a:pt x="458" y="1606"/>
                </a:cubicBezTo>
                <a:cubicBezTo>
                  <a:pt x="458" y="1602"/>
                  <a:pt x="459" y="1600"/>
                  <a:pt x="463" y="1600"/>
                </a:cubicBezTo>
                <a:cubicBezTo>
                  <a:pt x="463" y="1600"/>
                  <a:pt x="463" y="1600"/>
                  <a:pt x="464" y="1600"/>
                </a:cubicBezTo>
                <a:cubicBezTo>
                  <a:pt x="464" y="1600"/>
                  <a:pt x="464" y="1600"/>
                  <a:pt x="464" y="1591"/>
                </a:cubicBezTo>
                <a:cubicBezTo>
                  <a:pt x="464" y="1591"/>
                  <a:pt x="464" y="1591"/>
                  <a:pt x="461" y="1591"/>
                </a:cubicBezTo>
                <a:cubicBezTo>
                  <a:pt x="452" y="1591"/>
                  <a:pt x="446" y="1595"/>
                  <a:pt x="446" y="1603"/>
                </a:cubicBezTo>
                <a:cubicBezTo>
                  <a:pt x="446" y="1606"/>
                  <a:pt x="446" y="1608"/>
                  <a:pt x="446" y="1611"/>
                </a:cubicBezTo>
                <a:cubicBezTo>
                  <a:pt x="447" y="1613"/>
                  <a:pt x="447" y="1616"/>
                  <a:pt x="447" y="1618"/>
                </a:cubicBezTo>
                <a:cubicBezTo>
                  <a:pt x="447" y="1620"/>
                  <a:pt x="446" y="1624"/>
                  <a:pt x="440" y="1624"/>
                </a:cubicBezTo>
                <a:close/>
                <a:moveTo>
                  <a:pt x="495" y="1632"/>
                </a:moveTo>
                <a:cubicBezTo>
                  <a:pt x="495" y="1632"/>
                  <a:pt x="495" y="1632"/>
                  <a:pt x="495" y="1632"/>
                </a:cubicBezTo>
                <a:cubicBezTo>
                  <a:pt x="495" y="1624"/>
                  <a:pt x="495" y="1624"/>
                  <a:pt x="495" y="1624"/>
                </a:cubicBezTo>
                <a:cubicBezTo>
                  <a:pt x="489" y="1624"/>
                  <a:pt x="489" y="1620"/>
                  <a:pt x="489" y="1618"/>
                </a:cubicBezTo>
                <a:cubicBezTo>
                  <a:pt x="489" y="1616"/>
                  <a:pt x="489" y="1613"/>
                  <a:pt x="489" y="1611"/>
                </a:cubicBezTo>
                <a:cubicBezTo>
                  <a:pt x="489" y="1608"/>
                  <a:pt x="489" y="1606"/>
                  <a:pt x="489" y="1603"/>
                </a:cubicBezTo>
                <a:cubicBezTo>
                  <a:pt x="489" y="1595"/>
                  <a:pt x="484" y="1591"/>
                  <a:pt x="475" y="1591"/>
                </a:cubicBezTo>
                <a:cubicBezTo>
                  <a:pt x="475" y="1591"/>
                  <a:pt x="475" y="1591"/>
                  <a:pt x="471" y="1591"/>
                </a:cubicBezTo>
                <a:cubicBezTo>
                  <a:pt x="471" y="1591"/>
                  <a:pt x="471" y="1591"/>
                  <a:pt x="471" y="1600"/>
                </a:cubicBezTo>
                <a:cubicBezTo>
                  <a:pt x="471" y="1600"/>
                  <a:pt x="471" y="1600"/>
                  <a:pt x="473" y="1600"/>
                </a:cubicBezTo>
                <a:cubicBezTo>
                  <a:pt x="476" y="1600"/>
                  <a:pt x="478" y="1602"/>
                  <a:pt x="478" y="1606"/>
                </a:cubicBezTo>
                <a:cubicBezTo>
                  <a:pt x="478" y="1607"/>
                  <a:pt x="477" y="1609"/>
                  <a:pt x="477" y="1610"/>
                </a:cubicBezTo>
                <a:cubicBezTo>
                  <a:pt x="477" y="1612"/>
                  <a:pt x="477" y="1614"/>
                  <a:pt x="477" y="1617"/>
                </a:cubicBezTo>
                <a:cubicBezTo>
                  <a:pt x="477" y="1624"/>
                  <a:pt x="480" y="1626"/>
                  <a:pt x="486" y="1628"/>
                </a:cubicBezTo>
                <a:cubicBezTo>
                  <a:pt x="486" y="1628"/>
                  <a:pt x="486" y="1628"/>
                  <a:pt x="486" y="1628"/>
                </a:cubicBezTo>
                <a:cubicBezTo>
                  <a:pt x="480" y="1629"/>
                  <a:pt x="477" y="1632"/>
                  <a:pt x="477" y="1639"/>
                </a:cubicBezTo>
                <a:cubicBezTo>
                  <a:pt x="477" y="1641"/>
                  <a:pt x="477" y="1644"/>
                  <a:pt x="477" y="1645"/>
                </a:cubicBezTo>
                <a:cubicBezTo>
                  <a:pt x="477" y="1647"/>
                  <a:pt x="478" y="1649"/>
                  <a:pt x="478" y="1650"/>
                </a:cubicBezTo>
                <a:cubicBezTo>
                  <a:pt x="478" y="1653"/>
                  <a:pt x="477" y="1656"/>
                  <a:pt x="473" y="1656"/>
                </a:cubicBezTo>
                <a:cubicBezTo>
                  <a:pt x="473" y="1656"/>
                  <a:pt x="473" y="1656"/>
                  <a:pt x="471" y="1656"/>
                </a:cubicBezTo>
                <a:cubicBezTo>
                  <a:pt x="471" y="1656"/>
                  <a:pt x="471" y="1656"/>
                  <a:pt x="471" y="1665"/>
                </a:cubicBezTo>
                <a:cubicBezTo>
                  <a:pt x="471" y="1665"/>
                  <a:pt x="471" y="1665"/>
                  <a:pt x="475" y="1665"/>
                </a:cubicBezTo>
                <a:cubicBezTo>
                  <a:pt x="484" y="1665"/>
                  <a:pt x="489" y="1662"/>
                  <a:pt x="489" y="1652"/>
                </a:cubicBezTo>
                <a:cubicBezTo>
                  <a:pt x="489" y="1650"/>
                  <a:pt x="489" y="1648"/>
                  <a:pt x="489" y="1645"/>
                </a:cubicBezTo>
                <a:cubicBezTo>
                  <a:pt x="489" y="1643"/>
                  <a:pt x="489" y="1640"/>
                  <a:pt x="489" y="1638"/>
                </a:cubicBezTo>
                <a:cubicBezTo>
                  <a:pt x="489" y="1635"/>
                  <a:pt x="489" y="1632"/>
                  <a:pt x="495" y="1632"/>
                </a:cubicBezTo>
                <a:close/>
                <a:moveTo>
                  <a:pt x="542" y="1592"/>
                </a:moveTo>
                <a:cubicBezTo>
                  <a:pt x="542" y="1592"/>
                  <a:pt x="542" y="1592"/>
                  <a:pt x="542" y="1592"/>
                </a:cubicBezTo>
                <a:cubicBezTo>
                  <a:pt x="537" y="1592"/>
                  <a:pt x="537" y="1592"/>
                  <a:pt x="537" y="1592"/>
                </a:cubicBezTo>
                <a:cubicBezTo>
                  <a:pt x="535" y="1593"/>
                  <a:pt x="533" y="1594"/>
                  <a:pt x="531" y="1595"/>
                </a:cubicBezTo>
                <a:cubicBezTo>
                  <a:pt x="530" y="1597"/>
                  <a:pt x="527" y="1597"/>
                  <a:pt x="526" y="1598"/>
                </a:cubicBezTo>
                <a:cubicBezTo>
                  <a:pt x="524" y="1599"/>
                  <a:pt x="522" y="1600"/>
                  <a:pt x="521" y="1600"/>
                </a:cubicBezTo>
                <a:cubicBezTo>
                  <a:pt x="519" y="1601"/>
                  <a:pt x="517" y="1602"/>
                  <a:pt x="515" y="1602"/>
                </a:cubicBezTo>
                <a:cubicBezTo>
                  <a:pt x="515" y="1602"/>
                  <a:pt x="515" y="1602"/>
                  <a:pt x="515" y="1613"/>
                </a:cubicBezTo>
                <a:cubicBezTo>
                  <a:pt x="518" y="1612"/>
                  <a:pt x="521" y="1610"/>
                  <a:pt x="523" y="1610"/>
                </a:cubicBezTo>
                <a:cubicBezTo>
                  <a:pt x="526" y="1609"/>
                  <a:pt x="528" y="1608"/>
                  <a:pt x="530" y="1606"/>
                </a:cubicBezTo>
                <a:cubicBezTo>
                  <a:pt x="530" y="1606"/>
                  <a:pt x="530" y="1606"/>
                  <a:pt x="530" y="1665"/>
                </a:cubicBezTo>
                <a:cubicBezTo>
                  <a:pt x="530" y="1665"/>
                  <a:pt x="530" y="1665"/>
                  <a:pt x="542" y="1665"/>
                </a:cubicBezTo>
                <a:cubicBezTo>
                  <a:pt x="542" y="1665"/>
                  <a:pt x="542" y="1665"/>
                  <a:pt x="542" y="1592"/>
                </a:cubicBezTo>
                <a:close/>
                <a:moveTo>
                  <a:pt x="588" y="1592"/>
                </a:moveTo>
                <a:cubicBezTo>
                  <a:pt x="588" y="1592"/>
                  <a:pt x="588" y="1592"/>
                  <a:pt x="588" y="1592"/>
                </a:cubicBezTo>
                <a:cubicBezTo>
                  <a:pt x="583" y="1592"/>
                  <a:pt x="583" y="1592"/>
                  <a:pt x="583" y="1592"/>
                </a:cubicBezTo>
                <a:cubicBezTo>
                  <a:pt x="581" y="1593"/>
                  <a:pt x="580" y="1594"/>
                  <a:pt x="578" y="1595"/>
                </a:cubicBezTo>
                <a:cubicBezTo>
                  <a:pt x="576" y="1597"/>
                  <a:pt x="574" y="1597"/>
                  <a:pt x="573" y="1598"/>
                </a:cubicBezTo>
                <a:cubicBezTo>
                  <a:pt x="571" y="1600"/>
                  <a:pt x="569" y="1600"/>
                  <a:pt x="568" y="1601"/>
                </a:cubicBezTo>
                <a:cubicBezTo>
                  <a:pt x="566" y="1602"/>
                  <a:pt x="564" y="1602"/>
                  <a:pt x="562" y="1602"/>
                </a:cubicBezTo>
                <a:cubicBezTo>
                  <a:pt x="562" y="1602"/>
                  <a:pt x="562" y="1602"/>
                  <a:pt x="562" y="1613"/>
                </a:cubicBezTo>
                <a:cubicBezTo>
                  <a:pt x="565" y="1612"/>
                  <a:pt x="568" y="1611"/>
                  <a:pt x="570" y="1610"/>
                </a:cubicBezTo>
                <a:cubicBezTo>
                  <a:pt x="573" y="1609"/>
                  <a:pt x="575" y="1608"/>
                  <a:pt x="577" y="1606"/>
                </a:cubicBezTo>
                <a:cubicBezTo>
                  <a:pt x="577" y="1606"/>
                  <a:pt x="577" y="1606"/>
                  <a:pt x="577" y="1665"/>
                </a:cubicBezTo>
                <a:cubicBezTo>
                  <a:pt x="577" y="1665"/>
                  <a:pt x="577" y="1665"/>
                  <a:pt x="588" y="1665"/>
                </a:cubicBezTo>
                <a:cubicBezTo>
                  <a:pt x="588" y="1665"/>
                  <a:pt x="588" y="1665"/>
                  <a:pt x="588" y="1592"/>
                </a:cubicBezTo>
                <a:close/>
                <a:moveTo>
                  <a:pt x="634" y="1592"/>
                </a:moveTo>
                <a:cubicBezTo>
                  <a:pt x="634" y="1592"/>
                  <a:pt x="634" y="1592"/>
                  <a:pt x="634" y="1592"/>
                </a:cubicBezTo>
                <a:cubicBezTo>
                  <a:pt x="630" y="1592"/>
                  <a:pt x="630" y="1592"/>
                  <a:pt x="630" y="1592"/>
                </a:cubicBezTo>
                <a:cubicBezTo>
                  <a:pt x="627" y="1593"/>
                  <a:pt x="626" y="1594"/>
                  <a:pt x="624" y="1595"/>
                </a:cubicBezTo>
                <a:cubicBezTo>
                  <a:pt x="622" y="1597"/>
                  <a:pt x="620" y="1597"/>
                  <a:pt x="619" y="1598"/>
                </a:cubicBezTo>
                <a:cubicBezTo>
                  <a:pt x="617" y="1600"/>
                  <a:pt x="615" y="1600"/>
                  <a:pt x="613" y="1601"/>
                </a:cubicBezTo>
                <a:cubicBezTo>
                  <a:pt x="612" y="1602"/>
                  <a:pt x="609" y="1602"/>
                  <a:pt x="608" y="1602"/>
                </a:cubicBezTo>
                <a:cubicBezTo>
                  <a:pt x="608" y="1602"/>
                  <a:pt x="608" y="1602"/>
                  <a:pt x="608" y="1613"/>
                </a:cubicBezTo>
                <a:cubicBezTo>
                  <a:pt x="611" y="1612"/>
                  <a:pt x="614" y="1611"/>
                  <a:pt x="616" y="1610"/>
                </a:cubicBezTo>
                <a:cubicBezTo>
                  <a:pt x="618" y="1609"/>
                  <a:pt x="621" y="1608"/>
                  <a:pt x="622" y="1606"/>
                </a:cubicBezTo>
                <a:cubicBezTo>
                  <a:pt x="622" y="1606"/>
                  <a:pt x="622" y="1606"/>
                  <a:pt x="622" y="1665"/>
                </a:cubicBezTo>
                <a:cubicBezTo>
                  <a:pt x="622" y="1665"/>
                  <a:pt x="622" y="1665"/>
                  <a:pt x="634" y="1665"/>
                </a:cubicBezTo>
                <a:cubicBezTo>
                  <a:pt x="634" y="1665"/>
                  <a:pt x="634" y="1665"/>
                  <a:pt x="634" y="1592"/>
                </a:cubicBezTo>
                <a:close/>
                <a:moveTo>
                  <a:pt x="384" y="1639"/>
                </a:moveTo>
                <a:cubicBezTo>
                  <a:pt x="384" y="1640"/>
                  <a:pt x="385" y="1642"/>
                  <a:pt x="385" y="1643"/>
                </a:cubicBezTo>
                <a:cubicBezTo>
                  <a:pt x="386" y="1645"/>
                  <a:pt x="386" y="1647"/>
                  <a:pt x="387" y="1648"/>
                </a:cubicBezTo>
                <a:cubicBezTo>
                  <a:pt x="387" y="1650"/>
                  <a:pt x="387" y="1652"/>
                  <a:pt x="387" y="1653"/>
                </a:cubicBezTo>
                <a:cubicBezTo>
                  <a:pt x="388" y="1656"/>
                  <a:pt x="387" y="1658"/>
                  <a:pt x="383" y="1658"/>
                </a:cubicBezTo>
                <a:cubicBezTo>
                  <a:pt x="381" y="1658"/>
                  <a:pt x="378" y="1657"/>
                  <a:pt x="375" y="1657"/>
                </a:cubicBezTo>
                <a:cubicBezTo>
                  <a:pt x="375" y="1657"/>
                  <a:pt x="374" y="1657"/>
                  <a:pt x="374" y="1658"/>
                </a:cubicBezTo>
                <a:cubicBezTo>
                  <a:pt x="372" y="1659"/>
                  <a:pt x="371" y="1661"/>
                  <a:pt x="369" y="1662"/>
                </a:cubicBezTo>
                <a:cubicBezTo>
                  <a:pt x="367" y="1665"/>
                  <a:pt x="364" y="1665"/>
                  <a:pt x="362" y="1663"/>
                </a:cubicBezTo>
                <a:cubicBezTo>
                  <a:pt x="360" y="1661"/>
                  <a:pt x="359" y="1658"/>
                  <a:pt x="357" y="1656"/>
                </a:cubicBezTo>
                <a:cubicBezTo>
                  <a:pt x="356" y="1654"/>
                  <a:pt x="357" y="1652"/>
                  <a:pt x="359" y="1651"/>
                </a:cubicBezTo>
                <a:cubicBezTo>
                  <a:pt x="356" y="1651"/>
                  <a:pt x="355" y="1651"/>
                  <a:pt x="353" y="1651"/>
                </a:cubicBezTo>
                <a:cubicBezTo>
                  <a:pt x="352" y="1653"/>
                  <a:pt x="351" y="1655"/>
                  <a:pt x="351" y="1657"/>
                </a:cubicBezTo>
                <a:cubicBezTo>
                  <a:pt x="351" y="1657"/>
                  <a:pt x="350" y="1658"/>
                  <a:pt x="350" y="1659"/>
                </a:cubicBezTo>
                <a:cubicBezTo>
                  <a:pt x="350" y="1662"/>
                  <a:pt x="349" y="1663"/>
                  <a:pt x="346" y="1663"/>
                </a:cubicBezTo>
                <a:cubicBezTo>
                  <a:pt x="343" y="1663"/>
                  <a:pt x="340" y="1662"/>
                  <a:pt x="337" y="1661"/>
                </a:cubicBezTo>
                <a:cubicBezTo>
                  <a:pt x="335" y="1660"/>
                  <a:pt x="334" y="1659"/>
                  <a:pt x="335" y="1657"/>
                </a:cubicBezTo>
                <a:cubicBezTo>
                  <a:pt x="335" y="1656"/>
                  <a:pt x="335" y="1655"/>
                  <a:pt x="336" y="1655"/>
                </a:cubicBezTo>
                <a:cubicBezTo>
                  <a:pt x="333" y="1654"/>
                  <a:pt x="331" y="1653"/>
                  <a:pt x="329" y="1652"/>
                </a:cubicBezTo>
                <a:cubicBezTo>
                  <a:pt x="328" y="1651"/>
                  <a:pt x="327" y="1649"/>
                  <a:pt x="326" y="1647"/>
                </a:cubicBezTo>
                <a:cubicBezTo>
                  <a:pt x="325" y="1645"/>
                  <a:pt x="325" y="1644"/>
                  <a:pt x="327" y="1642"/>
                </a:cubicBezTo>
                <a:cubicBezTo>
                  <a:pt x="330" y="1640"/>
                  <a:pt x="331" y="1637"/>
                  <a:pt x="330" y="1633"/>
                </a:cubicBezTo>
                <a:cubicBezTo>
                  <a:pt x="330" y="1631"/>
                  <a:pt x="330" y="1629"/>
                  <a:pt x="330" y="1627"/>
                </a:cubicBezTo>
                <a:cubicBezTo>
                  <a:pt x="329" y="1626"/>
                  <a:pt x="327" y="1626"/>
                  <a:pt x="326" y="1625"/>
                </a:cubicBezTo>
                <a:cubicBezTo>
                  <a:pt x="325" y="1623"/>
                  <a:pt x="324" y="1621"/>
                  <a:pt x="324" y="1619"/>
                </a:cubicBezTo>
                <a:cubicBezTo>
                  <a:pt x="324" y="1616"/>
                  <a:pt x="327" y="1614"/>
                  <a:pt x="330" y="1613"/>
                </a:cubicBezTo>
                <a:cubicBezTo>
                  <a:pt x="331" y="1614"/>
                  <a:pt x="331" y="1614"/>
                  <a:pt x="331" y="1615"/>
                </a:cubicBezTo>
                <a:cubicBezTo>
                  <a:pt x="331" y="1616"/>
                  <a:pt x="331" y="1617"/>
                  <a:pt x="331" y="1618"/>
                </a:cubicBezTo>
                <a:cubicBezTo>
                  <a:pt x="331" y="1618"/>
                  <a:pt x="330" y="1618"/>
                  <a:pt x="330" y="1618"/>
                </a:cubicBezTo>
                <a:cubicBezTo>
                  <a:pt x="329" y="1619"/>
                  <a:pt x="329" y="1620"/>
                  <a:pt x="328" y="1622"/>
                </a:cubicBezTo>
                <a:cubicBezTo>
                  <a:pt x="329" y="1622"/>
                  <a:pt x="330" y="1622"/>
                  <a:pt x="331" y="1621"/>
                </a:cubicBezTo>
                <a:cubicBezTo>
                  <a:pt x="332" y="1620"/>
                  <a:pt x="332" y="1619"/>
                  <a:pt x="333" y="1618"/>
                </a:cubicBezTo>
                <a:cubicBezTo>
                  <a:pt x="338" y="1612"/>
                  <a:pt x="343" y="1608"/>
                  <a:pt x="351" y="1606"/>
                </a:cubicBezTo>
                <a:cubicBezTo>
                  <a:pt x="354" y="1606"/>
                  <a:pt x="358" y="1604"/>
                  <a:pt x="360" y="1602"/>
                </a:cubicBezTo>
                <a:cubicBezTo>
                  <a:pt x="360" y="1601"/>
                  <a:pt x="361" y="1601"/>
                  <a:pt x="361" y="1601"/>
                </a:cubicBezTo>
                <a:cubicBezTo>
                  <a:pt x="364" y="1600"/>
                  <a:pt x="365" y="1598"/>
                  <a:pt x="367" y="1596"/>
                </a:cubicBezTo>
                <a:cubicBezTo>
                  <a:pt x="375" y="1589"/>
                  <a:pt x="387" y="1588"/>
                  <a:pt x="394" y="1595"/>
                </a:cubicBezTo>
                <a:cubicBezTo>
                  <a:pt x="397" y="1597"/>
                  <a:pt x="400" y="1599"/>
                  <a:pt x="402" y="1601"/>
                </a:cubicBezTo>
                <a:cubicBezTo>
                  <a:pt x="403" y="1602"/>
                  <a:pt x="405" y="1604"/>
                  <a:pt x="406" y="1606"/>
                </a:cubicBezTo>
                <a:cubicBezTo>
                  <a:pt x="407" y="1607"/>
                  <a:pt x="407" y="1607"/>
                  <a:pt x="409" y="1606"/>
                </a:cubicBezTo>
                <a:cubicBezTo>
                  <a:pt x="409" y="1606"/>
                  <a:pt x="410" y="1605"/>
                  <a:pt x="411" y="1604"/>
                </a:cubicBezTo>
                <a:cubicBezTo>
                  <a:pt x="413" y="1601"/>
                  <a:pt x="416" y="1601"/>
                  <a:pt x="417" y="1604"/>
                </a:cubicBezTo>
                <a:cubicBezTo>
                  <a:pt x="418" y="1608"/>
                  <a:pt x="419" y="1610"/>
                  <a:pt x="420" y="1614"/>
                </a:cubicBezTo>
                <a:cubicBezTo>
                  <a:pt x="420" y="1618"/>
                  <a:pt x="420" y="1622"/>
                  <a:pt x="418" y="1627"/>
                </a:cubicBezTo>
                <a:cubicBezTo>
                  <a:pt x="416" y="1633"/>
                  <a:pt x="411" y="1636"/>
                  <a:pt x="405" y="1636"/>
                </a:cubicBezTo>
                <a:cubicBezTo>
                  <a:pt x="404" y="1636"/>
                  <a:pt x="403" y="1636"/>
                  <a:pt x="403" y="1636"/>
                </a:cubicBezTo>
                <a:cubicBezTo>
                  <a:pt x="400" y="1636"/>
                  <a:pt x="399" y="1636"/>
                  <a:pt x="398" y="1639"/>
                </a:cubicBezTo>
                <a:cubicBezTo>
                  <a:pt x="397" y="1643"/>
                  <a:pt x="391" y="1645"/>
                  <a:pt x="388" y="1642"/>
                </a:cubicBezTo>
                <a:cubicBezTo>
                  <a:pt x="387" y="1640"/>
                  <a:pt x="386" y="1640"/>
                  <a:pt x="385" y="1638"/>
                </a:cubicBezTo>
                <a:cubicBezTo>
                  <a:pt x="384" y="1639"/>
                  <a:pt x="384" y="1639"/>
                  <a:pt x="384" y="1639"/>
                </a:cubicBezTo>
                <a:close/>
                <a:moveTo>
                  <a:pt x="378" y="1635"/>
                </a:moveTo>
                <a:cubicBezTo>
                  <a:pt x="382" y="1636"/>
                  <a:pt x="385" y="1637"/>
                  <a:pt x="388" y="1640"/>
                </a:cubicBezTo>
                <a:cubicBezTo>
                  <a:pt x="390" y="1642"/>
                  <a:pt x="392" y="1642"/>
                  <a:pt x="394" y="1642"/>
                </a:cubicBezTo>
                <a:cubicBezTo>
                  <a:pt x="396" y="1641"/>
                  <a:pt x="398" y="1639"/>
                  <a:pt x="398" y="1636"/>
                </a:cubicBezTo>
                <a:cubicBezTo>
                  <a:pt x="398" y="1636"/>
                  <a:pt x="397" y="1636"/>
                  <a:pt x="397" y="1636"/>
                </a:cubicBezTo>
                <a:cubicBezTo>
                  <a:pt x="396" y="1638"/>
                  <a:pt x="395" y="1639"/>
                  <a:pt x="394" y="1640"/>
                </a:cubicBezTo>
                <a:cubicBezTo>
                  <a:pt x="393" y="1641"/>
                  <a:pt x="392" y="1641"/>
                  <a:pt x="391" y="1640"/>
                </a:cubicBezTo>
                <a:cubicBezTo>
                  <a:pt x="391" y="1640"/>
                  <a:pt x="390" y="1639"/>
                  <a:pt x="390" y="1638"/>
                </a:cubicBezTo>
                <a:cubicBezTo>
                  <a:pt x="390" y="1636"/>
                  <a:pt x="391" y="1634"/>
                  <a:pt x="391" y="1632"/>
                </a:cubicBezTo>
                <a:cubicBezTo>
                  <a:pt x="394" y="1633"/>
                  <a:pt x="397" y="1634"/>
                  <a:pt x="401" y="1635"/>
                </a:cubicBezTo>
                <a:cubicBezTo>
                  <a:pt x="408" y="1636"/>
                  <a:pt x="414" y="1634"/>
                  <a:pt x="417" y="1625"/>
                </a:cubicBezTo>
                <a:cubicBezTo>
                  <a:pt x="419" y="1621"/>
                  <a:pt x="418" y="1616"/>
                  <a:pt x="418" y="1611"/>
                </a:cubicBezTo>
                <a:cubicBezTo>
                  <a:pt x="417" y="1609"/>
                  <a:pt x="416" y="1607"/>
                  <a:pt x="416" y="1605"/>
                </a:cubicBezTo>
                <a:cubicBezTo>
                  <a:pt x="415" y="1604"/>
                  <a:pt x="414" y="1603"/>
                  <a:pt x="412" y="1605"/>
                </a:cubicBezTo>
                <a:cubicBezTo>
                  <a:pt x="411" y="1606"/>
                  <a:pt x="409" y="1608"/>
                  <a:pt x="407" y="1609"/>
                </a:cubicBezTo>
                <a:cubicBezTo>
                  <a:pt x="407" y="1609"/>
                  <a:pt x="406" y="1610"/>
                  <a:pt x="406" y="1611"/>
                </a:cubicBezTo>
                <a:cubicBezTo>
                  <a:pt x="407" y="1614"/>
                  <a:pt x="406" y="1617"/>
                  <a:pt x="405" y="1621"/>
                </a:cubicBezTo>
                <a:cubicBezTo>
                  <a:pt x="405" y="1619"/>
                  <a:pt x="405" y="1617"/>
                  <a:pt x="405" y="1615"/>
                </a:cubicBezTo>
                <a:cubicBezTo>
                  <a:pt x="405" y="1614"/>
                  <a:pt x="405" y="1614"/>
                  <a:pt x="405" y="1614"/>
                </a:cubicBezTo>
                <a:cubicBezTo>
                  <a:pt x="404" y="1614"/>
                  <a:pt x="403" y="1614"/>
                  <a:pt x="403" y="1614"/>
                </a:cubicBezTo>
                <a:cubicBezTo>
                  <a:pt x="403" y="1616"/>
                  <a:pt x="402" y="1617"/>
                  <a:pt x="401" y="1618"/>
                </a:cubicBezTo>
                <a:cubicBezTo>
                  <a:pt x="401" y="1618"/>
                  <a:pt x="401" y="1618"/>
                  <a:pt x="401" y="1618"/>
                </a:cubicBezTo>
                <a:cubicBezTo>
                  <a:pt x="401" y="1617"/>
                  <a:pt x="402" y="1615"/>
                  <a:pt x="402" y="1613"/>
                </a:cubicBezTo>
                <a:cubicBezTo>
                  <a:pt x="401" y="1614"/>
                  <a:pt x="400" y="1614"/>
                  <a:pt x="400" y="1615"/>
                </a:cubicBezTo>
                <a:cubicBezTo>
                  <a:pt x="399" y="1615"/>
                  <a:pt x="399" y="1616"/>
                  <a:pt x="398" y="1617"/>
                </a:cubicBezTo>
                <a:cubicBezTo>
                  <a:pt x="399" y="1613"/>
                  <a:pt x="399" y="1613"/>
                  <a:pt x="405" y="1612"/>
                </a:cubicBezTo>
                <a:cubicBezTo>
                  <a:pt x="405" y="1612"/>
                  <a:pt x="404" y="1611"/>
                  <a:pt x="404" y="1611"/>
                </a:cubicBezTo>
                <a:cubicBezTo>
                  <a:pt x="401" y="1612"/>
                  <a:pt x="400" y="1610"/>
                  <a:pt x="400" y="1608"/>
                </a:cubicBezTo>
                <a:cubicBezTo>
                  <a:pt x="402" y="1607"/>
                  <a:pt x="403" y="1607"/>
                  <a:pt x="405" y="1606"/>
                </a:cubicBezTo>
                <a:cubicBezTo>
                  <a:pt x="403" y="1604"/>
                  <a:pt x="402" y="1601"/>
                  <a:pt x="398" y="1601"/>
                </a:cubicBezTo>
                <a:cubicBezTo>
                  <a:pt x="398" y="1601"/>
                  <a:pt x="398" y="1600"/>
                  <a:pt x="398" y="1600"/>
                </a:cubicBezTo>
                <a:cubicBezTo>
                  <a:pt x="395" y="1598"/>
                  <a:pt x="393" y="1596"/>
                  <a:pt x="390" y="1594"/>
                </a:cubicBezTo>
                <a:cubicBezTo>
                  <a:pt x="388" y="1593"/>
                  <a:pt x="385" y="1592"/>
                  <a:pt x="383" y="1592"/>
                </a:cubicBezTo>
                <a:cubicBezTo>
                  <a:pt x="380" y="1592"/>
                  <a:pt x="376" y="1593"/>
                  <a:pt x="373" y="1594"/>
                </a:cubicBezTo>
                <a:cubicBezTo>
                  <a:pt x="371" y="1595"/>
                  <a:pt x="368" y="1597"/>
                  <a:pt x="366" y="1600"/>
                </a:cubicBezTo>
                <a:cubicBezTo>
                  <a:pt x="368" y="1600"/>
                  <a:pt x="369" y="1600"/>
                  <a:pt x="370" y="1600"/>
                </a:cubicBezTo>
                <a:cubicBezTo>
                  <a:pt x="370" y="1600"/>
                  <a:pt x="369" y="1601"/>
                  <a:pt x="368" y="1601"/>
                </a:cubicBezTo>
                <a:cubicBezTo>
                  <a:pt x="366" y="1602"/>
                  <a:pt x="363" y="1601"/>
                  <a:pt x="361" y="1603"/>
                </a:cubicBezTo>
                <a:cubicBezTo>
                  <a:pt x="358" y="1607"/>
                  <a:pt x="354" y="1611"/>
                  <a:pt x="350" y="1615"/>
                </a:cubicBezTo>
                <a:cubicBezTo>
                  <a:pt x="349" y="1617"/>
                  <a:pt x="348" y="1619"/>
                  <a:pt x="347" y="1622"/>
                </a:cubicBezTo>
                <a:cubicBezTo>
                  <a:pt x="347" y="1622"/>
                  <a:pt x="347" y="1623"/>
                  <a:pt x="347" y="1623"/>
                </a:cubicBezTo>
                <a:cubicBezTo>
                  <a:pt x="348" y="1625"/>
                  <a:pt x="349" y="1627"/>
                  <a:pt x="351" y="1629"/>
                </a:cubicBezTo>
                <a:cubicBezTo>
                  <a:pt x="352" y="1628"/>
                  <a:pt x="353" y="1626"/>
                  <a:pt x="354" y="1625"/>
                </a:cubicBezTo>
                <a:cubicBezTo>
                  <a:pt x="354" y="1626"/>
                  <a:pt x="354" y="1627"/>
                  <a:pt x="353" y="1629"/>
                </a:cubicBezTo>
                <a:cubicBezTo>
                  <a:pt x="352" y="1630"/>
                  <a:pt x="351" y="1631"/>
                  <a:pt x="351" y="1633"/>
                </a:cubicBezTo>
                <a:cubicBezTo>
                  <a:pt x="351" y="1634"/>
                  <a:pt x="351" y="1635"/>
                  <a:pt x="351" y="1636"/>
                </a:cubicBezTo>
                <a:cubicBezTo>
                  <a:pt x="354" y="1639"/>
                  <a:pt x="357" y="1639"/>
                  <a:pt x="361" y="1637"/>
                </a:cubicBezTo>
                <a:cubicBezTo>
                  <a:pt x="363" y="1636"/>
                  <a:pt x="366" y="1635"/>
                  <a:pt x="369" y="1634"/>
                </a:cubicBezTo>
                <a:cubicBezTo>
                  <a:pt x="370" y="1633"/>
                  <a:pt x="371" y="1633"/>
                  <a:pt x="371" y="1631"/>
                </a:cubicBezTo>
                <a:cubicBezTo>
                  <a:pt x="371" y="1628"/>
                  <a:pt x="371" y="1624"/>
                  <a:pt x="371" y="1621"/>
                </a:cubicBezTo>
                <a:cubicBezTo>
                  <a:pt x="371" y="1618"/>
                  <a:pt x="371" y="1615"/>
                  <a:pt x="371" y="1612"/>
                </a:cubicBezTo>
                <a:cubicBezTo>
                  <a:pt x="372" y="1615"/>
                  <a:pt x="372" y="1617"/>
                  <a:pt x="373" y="1620"/>
                </a:cubicBezTo>
                <a:cubicBezTo>
                  <a:pt x="374" y="1625"/>
                  <a:pt x="374" y="1629"/>
                  <a:pt x="372" y="1633"/>
                </a:cubicBezTo>
                <a:cubicBezTo>
                  <a:pt x="372" y="1634"/>
                  <a:pt x="371" y="1635"/>
                  <a:pt x="371" y="1635"/>
                </a:cubicBezTo>
                <a:cubicBezTo>
                  <a:pt x="367" y="1635"/>
                  <a:pt x="364" y="1637"/>
                  <a:pt x="361" y="1639"/>
                </a:cubicBezTo>
                <a:cubicBezTo>
                  <a:pt x="356" y="1642"/>
                  <a:pt x="352" y="1640"/>
                  <a:pt x="349" y="1636"/>
                </a:cubicBezTo>
                <a:cubicBezTo>
                  <a:pt x="349" y="1636"/>
                  <a:pt x="349" y="1635"/>
                  <a:pt x="349" y="1634"/>
                </a:cubicBezTo>
                <a:cubicBezTo>
                  <a:pt x="350" y="1632"/>
                  <a:pt x="349" y="1630"/>
                  <a:pt x="347" y="1628"/>
                </a:cubicBezTo>
                <a:cubicBezTo>
                  <a:pt x="346" y="1626"/>
                  <a:pt x="344" y="1623"/>
                  <a:pt x="345" y="1621"/>
                </a:cubicBezTo>
                <a:cubicBezTo>
                  <a:pt x="346" y="1619"/>
                  <a:pt x="347" y="1617"/>
                  <a:pt x="348" y="1616"/>
                </a:cubicBezTo>
                <a:cubicBezTo>
                  <a:pt x="350" y="1613"/>
                  <a:pt x="352" y="1610"/>
                  <a:pt x="354" y="1608"/>
                </a:cubicBezTo>
                <a:cubicBezTo>
                  <a:pt x="354" y="1608"/>
                  <a:pt x="353" y="1608"/>
                  <a:pt x="353" y="1608"/>
                </a:cubicBezTo>
                <a:cubicBezTo>
                  <a:pt x="348" y="1609"/>
                  <a:pt x="343" y="1610"/>
                  <a:pt x="340" y="1614"/>
                </a:cubicBezTo>
                <a:cubicBezTo>
                  <a:pt x="335" y="1618"/>
                  <a:pt x="332" y="1623"/>
                  <a:pt x="332" y="1630"/>
                </a:cubicBezTo>
                <a:cubicBezTo>
                  <a:pt x="331" y="1636"/>
                  <a:pt x="334" y="1642"/>
                  <a:pt x="337" y="1648"/>
                </a:cubicBezTo>
                <a:cubicBezTo>
                  <a:pt x="338" y="1649"/>
                  <a:pt x="338" y="1651"/>
                  <a:pt x="338" y="1652"/>
                </a:cubicBezTo>
                <a:cubicBezTo>
                  <a:pt x="338" y="1654"/>
                  <a:pt x="338" y="1655"/>
                  <a:pt x="337" y="1656"/>
                </a:cubicBezTo>
                <a:cubicBezTo>
                  <a:pt x="336" y="1658"/>
                  <a:pt x="337" y="1659"/>
                  <a:pt x="338" y="1659"/>
                </a:cubicBezTo>
                <a:cubicBezTo>
                  <a:pt x="341" y="1660"/>
                  <a:pt x="344" y="1661"/>
                  <a:pt x="347" y="1661"/>
                </a:cubicBezTo>
                <a:cubicBezTo>
                  <a:pt x="347" y="1661"/>
                  <a:pt x="348" y="1660"/>
                  <a:pt x="348" y="1660"/>
                </a:cubicBezTo>
                <a:cubicBezTo>
                  <a:pt x="349" y="1659"/>
                  <a:pt x="349" y="1657"/>
                  <a:pt x="349" y="1656"/>
                </a:cubicBezTo>
                <a:cubicBezTo>
                  <a:pt x="351" y="1654"/>
                  <a:pt x="351" y="1651"/>
                  <a:pt x="351" y="1648"/>
                </a:cubicBezTo>
                <a:cubicBezTo>
                  <a:pt x="351" y="1648"/>
                  <a:pt x="351" y="1648"/>
                  <a:pt x="351" y="1647"/>
                </a:cubicBezTo>
                <a:cubicBezTo>
                  <a:pt x="351" y="1647"/>
                  <a:pt x="351" y="1647"/>
                  <a:pt x="351" y="1646"/>
                </a:cubicBezTo>
                <a:cubicBezTo>
                  <a:pt x="352" y="1649"/>
                  <a:pt x="353" y="1649"/>
                  <a:pt x="355" y="1649"/>
                </a:cubicBezTo>
                <a:cubicBezTo>
                  <a:pt x="356" y="1649"/>
                  <a:pt x="357" y="1649"/>
                  <a:pt x="358" y="1649"/>
                </a:cubicBezTo>
                <a:cubicBezTo>
                  <a:pt x="360" y="1649"/>
                  <a:pt x="363" y="1650"/>
                  <a:pt x="364" y="1646"/>
                </a:cubicBezTo>
                <a:cubicBezTo>
                  <a:pt x="364" y="1648"/>
                  <a:pt x="364" y="1650"/>
                  <a:pt x="364" y="1650"/>
                </a:cubicBezTo>
                <a:cubicBezTo>
                  <a:pt x="363" y="1651"/>
                  <a:pt x="362" y="1652"/>
                  <a:pt x="360" y="1652"/>
                </a:cubicBezTo>
                <a:cubicBezTo>
                  <a:pt x="359" y="1653"/>
                  <a:pt x="358" y="1655"/>
                  <a:pt x="359" y="1656"/>
                </a:cubicBezTo>
                <a:cubicBezTo>
                  <a:pt x="360" y="1658"/>
                  <a:pt x="362" y="1660"/>
                  <a:pt x="363" y="1662"/>
                </a:cubicBezTo>
                <a:cubicBezTo>
                  <a:pt x="365" y="1663"/>
                  <a:pt x="367" y="1663"/>
                  <a:pt x="368" y="1661"/>
                </a:cubicBezTo>
                <a:cubicBezTo>
                  <a:pt x="369" y="1660"/>
                  <a:pt x="369" y="1659"/>
                  <a:pt x="370" y="1659"/>
                </a:cubicBezTo>
                <a:cubicBezTo>
                  <a:pt x="372" y="1657"/>
                  <a:pt x="373" y="1656"/>
                  <a:pt x="375" y="1655"/>
                </a:cubicBezTo>
                <a:cubicBezTo>
                  <a:pt x="379" y="1651"/>
                  <a:pt x="381" y="1645"/>
                  <a:pt x="383" y="1639"/>
                </a:cubicBezTo>
                <a:cubicBezTo>
                  <a:pt x="383" y="1638"/>
                  <a:pt x="382" y="1638"/>
                  <a:pt x="382" y="1637"/>
                </a:cubicBezTo>
                <a:cubicBezTo>
                  <a:pt x="381" y="1636"/>
                  <a:pt x="380" y="1635"/>
                  <a:pt x="378" y="1635"/>
                </a:cubicBezTo>
                <a:close/>
                <a:moveTo>
                  <a:pt x="331" y="1641"/>
                </a:moveTo>
                <a:cubicBezTo>
                  <a:pt x="331" y="1642"/>
                  <a:pt x="329" y="1642"/>
                  <a:pt x="328" y="1644"/>
                </a:cubicBezTo>
                <a:cubicBezTo>
                  <a:pt x="327" y="1644"/>
                  <a:pt x="327" y="1645"/>
                  <a:pt x="327" y="1646"/>
                </a:cubicBezTo>
                <a:cubicBezTo>
                  <a:pt x="327" y="1648"/>
                  <a:pt x="331" y="1653"/>
                  <a:pt x="334" y="1652"/>
                </a:cubicBezTo>
                <a:cubicBezTo>
                  <a:pt x="336" y="1652"/>
                  <a:pt x="337" y="1651"/>
                  <a:pt x="336" y="1650"/>
                </a:cubicBezTo>
                <a:cubicBezTo>
                  <a:pt x="334" y="1646"/>
                  <a:pt x="333" y="1644"/>
                  <a:pt x="331" y="1641"/>
                </a:cubicBezTo>
                <a:close/>
                <a:moveTo>
                  <a:pt x="384" y="1643"/>
                </a:moveTo>
                <a:cubicBezTo>
                  <a:pt x="382" y="1648"/>
                  <a:pt x="379" y="1652"/>
                  <a:pt x="377" y="1656"/>
                </a:cubicBezTo>
                <a:cubicBezTo>
                  <a:pt x="380" y="1656"/>
                  <a:pt x="382" y="1657"/>
                  <a:pt x="385" y="1656"/>
                </a:cubicBezTo>
                <a:cubicBezTo>
                  <a:pt x="385" y="1656"/>
                  <a:pt x="385" y="1655"/>
                  <a:pt x="385" y="1655"/>
                </a:cubicBezTo>
                <a:cubicBezTo>
                  <a:pt x="385" y="1652"/>
                  <a:pt x="385" y="1650"/>
                  <a:pt x="385" y="1647"/>
                </a:cubicBezTo>
                <a:cubicBezTo>
                  <a:pt x="385" y="1646"/>
                  <a:pt x="384" y="1644"/>
                  <a:pt x="384" y="1643"/>
                </a:cubicBezTo>
                <a:close/>
                <a:moveTo>
                  <a:pt x="331" y="1623"/>
                </a:moveTo>
                <a:cubicBezTo>
                  <a:pt x="331" y="1623"/>
                  <a:pt x="330" y="1623"/>
                  <a:pt x="329" y="1623"/>
                </a:cubicBezTo>
                <a:cubicBezTo>
                  <a:pt x="329" y="1623"/>
                  <a:pt x="328" y="1623"/>
                  <a:pt x="328" y="1623"/>
                </a:cubicBezTo>
                <a:cubicBezTo>
                  <a:pt x="327" y="1623"/>
                  <a:pt x="327" y="1622"/>
                  <a:pt x="327" y="1621"/>
                </a:cubicBezTo>
                <a:cubicBezTo>
                  <a:pt x="328" y="1619"/>
                  <a:pt x="328" y="1617"/>
                  <a:pt x="329" y="1615"/>
                </a:cubicBezTo>
                <a:cubicBezTo>
                  <a:pt x="329" y="1615"/>
                  <a:pt x="329" y="1615"/>
                  <a:pt x="328" y="1615"/>
                </a:cubicBezTo>
                <a:cubicBezTo>
                  <a:pt x="327" y="1616"/>
                  <a:pt x="326" y="1617"/>
                  <a:pt x="325" y="1618"/>
                </a:cubicBezTo>
                <a:cubicBezTo>
                  <a:pt x="325" y="1619"/>
                  <a:pt x="326" y="1624"/>
                  <a:pt x="328" y="1625"/>
                </a:cubicBezTo>
                <a:cubicBezTo>
                  <a:pt x="329" y="1626"/>
                  <a:pt x="331" y="1625"/>
                  <a:pt x="331" y="1623"/>
                </a:cubicBezTo>
                <a:close/>
                <a:moveTo>
                  <a:pt x="331" y="1641"/>
                </a:moveTo>
                <a:cubicBezTo>
                  <a:pt x="330" y="1641"/>
                  <a:pt x="329" y="1642"/>
                  <a:pt x="328" y="1643"/>
                </a:cubicBezTo>
                <a:cubicBezTo>
                  <a:pt x="327" y="1644"/>
                  <a:pt x="327" y="1645"/>
                  <a:pt x="327" y="1645"/>
                </a:cubicBezTo>
                <a:cubicBezTo>
                  <a:pt x="327" y="1648"/>
                  <a:pt x="331" y="1653"/>
                  <a:pt x="334" y="1652"/>
                </a:cubicBezTo>
                <a:cubicBezTo>
                  <a:pt x="336" y="1652"/>
                  <a:pt x="337" y="1651"/>
                  <a:pt x="336" y="1649"/>
                </a:cubicBezTo>
                <a:cubicBezTo>
                  <a:pt x="334" y="1646"/>
                  <a:pt x="333" y="1643"/>
                  <a:pt x="331" y="1641"/>
                </a:cubicBezTo>
                <a:close/>
                <a:moveTo>
                  <a:pt x="384" y="1642"/>
                </a:moveTo>
                <a:cubicBezTo>
                  <a:pt x="381" y="1647"/>
                  <a:pt x="379" y="1652"/>
                  <a:pt x="377" y="1656"/>
                </a:cubicBezTo>
                <a:cubicBezTo>
                  <a:pt x="379" y="1656"/>
                  <a:pt x="382" y="1656"/>
                  <a:pt x="385" y="1656"/>
                </a:cubicBezTo>
                <a:cubicBezTo>
                  <a:pt x="385" y="1656"/>
                  <a:pt x="385" y="1655"/>
                  <a:pt x="385" y="1654"/>
                </a:cubicBezTo>
                <a:cubicBezTo>
                  <a:pt x="385" y="1652"/>
                  <a:pt x="385" y="1649"/>
                  <a:pt x="385" y="1647"/>
                </a:cubicBezTo>
                <a:cubicBezTo>
                  <a:pt x="385" y="1645"/>
                  <a:pt x="384" y="1644"/>
                  <a:pt x="384" y="1642"/>
                </a:cubicBezTo>
                <a:close/>
                <a:moveTo>
                  <a:pt x="331" y="1623"/>
                </a:moveTo>
                <a:cubicBezTo>
                  <a:pt x="330" y="1623"/>
                  <a:pt x="330" y="1623"/>
                  <a:pt x="329" y="1623"/>
                </a:cubicBezTo>
                <a:cubicBezTo>
                  <a:pt x="328" y="1623"/>
                  <a:pt x="328" y="1623"/>
                  <a:pt x="328" y="1623"/>
                </a:cubicBezTo>
                <a:cubicBezTo>
                  <a:pt x="327" y="1623"/>
                  <a:pt x="327" y="1622"/>
                  <a:pt x="327" y="1621"/>
                </a:cubicBezTo>
                <a:cubicBezTo>
                  <a:pt x="328" y="1619"/>
                  <a:pt x="328" y="1617"/>
                  <a:pt x="329" y="1615"/>
                </a:cubicBezTo>
                <a:cubicBezTo>
                  <a:pt x="328" y="1615"/>
                  <a:pt x="328" y="1615"/>
                  <a:pt x="328" y="1615"/>
                </a:cubicBezTo>
                <a:cubicBezTo>
                  <a:pt x="327" y="1616"/>
                  <a:pt x="326" y="1617"/>
                  <a:pt x="326" y="1618"/>
                </a:cubicBezTo>
                <a:cubicBezTo>
                  <a:pt x="325" y="1619"/>
                  <a:pt x="326" y="1624"/>
                  <a:pt x="328" y="1625"/>
                </a:cubicBezTo>
                <a:cubicBezTo>
                  <a:pt x="329" y="1626"/>
                  <a:pt x="331" y="1624"/>
                  <a:pt x="331" y="1623"/>
                </a:cubicBezTo>
                <a:close/>
                <a:moveTo>
                  <a:pt x="383" y="1614"/>
                </a:moveTo>
                <a:cubicBezTo>
                  <a:pt x="387" y="1611"/>
                  <a:pt x="387" y="1611"/>
                  <a:pt x="391" y="1609"/>
                </a:cubicBezTo>
                <a:cubicBezTo>
                  <a:pt x="391" y="1611"/>
                  <a:pt x="392" y="1613"/>
                  <a:pt x="393" y="1613"/>
                </a:cubicBezTo>
                <a:cubicBezTo>
                  <a:pt x="391" y="1614"/>
                  <a:pt x="389" y="1615"/>
                  <a:pt x="387" y="1617"/>
                </a:cubicBezTo>
                <a:cubicBezTo>
                  <a:pt x="386" y="1616"/>
                  <a:pt x="386" y="1615"/>
                  <a:pt x="385" y="1614"/>
                </a:cubicBezTo>
                <a:cubicBezTo>
                  <a:pt x="385" y="1614"/>
                  <a:pt x="384" y="1614"/>
                  <a:pt x="383" y="1614"/>
                </a:cubicBezTo>
                <a:close/>
                <a:moveTo>
                  <a:pt x="389" y="1614"/>
                </a:moveTo>
                <a:cubicBezTo>
                  <a:pt x="389" y="1613"/>
                  <a:pt x="388" y="1613"/>
                  <a:pt x="387" y="1613"/>
                </a:cubicBezTo>
                <a:cubicBezTo>
                  <a:pt x="387" y="1613"/>
                  <a:pt x="386" y="1614"/>
                  <a:pt x="386" y="1614"/>
                </a:cubicBezTo>
                <a:cubicBezTo>
                  <a:pt x="386" y="1615"/>
                  <a:pt x="387" y="1615"/>
                  <a:pt x="387" y="1615"/>
                </a:cubicBezTo>
                <a:cubicBezTo>
                  <a:pt x="388" y="1615"/>
                  <a:pt x="388" y="1615"/>
                  <a:pt x="389" y="1614"/>
                </a:cubicBezTo>
                <a:close/>
                <a:moveTo>
                  <a:pt x="370" y="1604"/>
                </a:moveTo>
                <a:cubicBezTo>
                  <a:pt x="364" y="1604"/>
                  <a:pt x="361" y="1606"/>
                  <a:pt x="360" y="1614"/>
                </a:cubicBezTo>
                <a:cubicBezTo>
                  <a:pt x="361" y="1612"/>
                  <a:pt x="362" y="1609"/>
                  <a:pt x="363" y="1607"/>
                </a:cubicBezTo>
                <a:cubicBezTo>
                  <a:pt x="364" y="1607"/>
                  <a:pt x="364" y="1607"/>
                  <a:pt x="364" y="1607"/>
                </a:cubicBezTo>
                <a:cubicBezTo>
                  <a:pt x="364" y="1608"/>
                  <a:pt x="364" y="1609"/>
                  <a:pt x="364" y="1610"/>
                </a:cubicBezTo>
                <a:cubicBezTo>
                  <a:pt x="365" y="1607"/>
                  <a:pt x="367" y="1605"/>
                  <a:pt x="370" y="1604"/>
                </a:cubicBezTo>
                <a:close/>
                <a:moveTo>
                  <a:pt x="414" y="1606"/>
                </a:moveTo>
                <a:cubicBezTo>
                  <a:pt x="412" y="1607"/>
                  <a:pt x="410" y="1609"/>
                  <a:pt x="409" y="1610"/>
                </a:cubicBezTo>
                <a:cubicBezTo>
                  <a:pt x="411" y="1610"/>
                  <a:pt x="413" y="1609"/>
                  <a:pt x="414" y="1606"/>
                </a:cubicBezTo>
                <a:close/>
                <a:moveTo>
                  <a:pt x="381" y="1608"/>
                </a:moveTo>
                <a:cubicBezTo>
                  <a:pt x="382" y="1607"/>
                  <a:pt x="383" y="1605"/>
                  <a:pt x="384" y="1604"/>
                </a:cubicBezTo>
                <a:cubicBezTo>
                  <a:pt x="381" y="1605"/>
                  <a:pt x="380" y="1606"/>
                  <a:pt x="381" y="1608"/>
                </a:cubicBezTo>
                <a:close/>
                <a:moveTo>
                  <a:pt x="391" y="1629"/>
                </a:moveTo>
                <a:cubicBezTo>
                  <a:pt x="389" y="1629"/>
                  <a:pt x="388" y="1630"/>
                  <a:pt x="388" y="1631"/>
                </a:cubicBezTo>
                <a:cubicBezTo>
                  <a:pt x="389" y="1631"/>
                  <a:pt x="390" y="1630"/>
                  <a:pt x="391" y="1629"/>
                </a:cubicBezTo>
                <a:close/>
                <a:moveTo>
                  <a:pt x="390" y="1614"/>
                </a:moveTo>
                <a:cubicBezTo>
                  <a:pt x="389" y="1613"/>
                  <a:pt x="388" y="1613"/>
                  <a:pt x="388" y="1613"/>
                </a:cubicBezTo>
                <a:cubicBezTo>
                  <a:pt x="387" y="1613"/>
                  <a:pt x="386" y="1614"/>
                  <a:pt x="386" y="1614"/>
                </a:cubicBezTo>
                <a:cubicBezTo>
                  <a:pt x="386" y="1615"/>
                  <a:pt x="387" y="1615"/>
                  <a:pt x="387" y="1616"/>
                </a:cubicBezTo>
                <a:cubicBezTo>
                  <a:pt x="388" y="1615"/>
                  <a:pt x="388" y="1615"/>
                  <a:pt x="390" y="1614"/>
                </a:cubicBezTo>
                <a:close/>
                <a:moveTo>
                  <a:pt x="680" y="1592"/>
                </a:moveTo>
                <a:cubicBezTo>
                  <a:pt x="680" y="1592"/>
                  <a:pt x="680" y="1592"/>
                  <a:pt x="680" y="1592"/>
                </a:cubicBezTo>
                <a:cubicBezTo>
                  <a:pt x="676" y="1592"/>
                  <a:pt x="676" y="1592"/>
                  <a:pt x="676" y="1592"/>
                </a:cubicBezTo>
                <a:cubicBezTo>
                  <a:pt x="674" y="1593"/>
                  <a:pt x="672" y="1594"/>
                  <a:pt x="670" y="1595"/>
                </a:cubicBezTo>
                <a:cubicBezTo>
                  <a:pt x="668" y="1597"/>
                  <a:pt x="666" y="1597"/>
                  <a:pt x="665" y="1598"/>
                </a:cubicBezTo>
                <a:cubicBezTo>
                  <a:pt x="663" y="1600"/>
                  <a:pt x="661" y="1600"/>
                  <a:pt x="659" y="1601"/>
                </a:cubicBezTo>
                <a:cubicBezTo>
                  <a:pt x="658" y="1602"/>
                  <a:pt x="656" y="1602"/>
                  <a:pt x="654" y="1602"/>
                </a:cubicBezTo>
                <a:cubicBezTo>
                  <a:pt x="654" y="1602"/>
                  <a:pt x="654" y="1602"/>
                  <a:pt x="654" y="1613"/>
                </a:cubicBezTo>
                <a:cubicBezTo>
                  <a:pt x="657" y="1612"/>
                  <a:pt x="660" y="1611"/>
                  <a:pt x="662" y="1610"/>
                </a:cubicBezTo>
                <a:cubicBezTo>
                  <a:pt x="664" y="1609"/>
                  <a:pt x="667" y="1608"/>
                  <a:pt x="668" y="1606"/>
                </a:cubicBezTo>
                <a:cubicBezTo>
                  <a:pt x="668" y="1606"/>
                  <a:pt x="668" y="1606"/>
                  <a:pt x="668" y="1665"/>
                </a:cubicBezTo>
                <a:cubicBezTo>
                  <a:pt x="668" y="1665"/>
                  <a:pt x="668" y="1665"/>
                  <a:pt x="680" y="1665"/>
                </a:cubicBezTo>
                <a:cubicBezTo>
                  <a:pt x="680" y="1665"/>
                  <a:pt x="680" y="1665"/>
                  <a:pt x="680" y="1592"/>
                </a:cubicBezTo>
                <a:close/>
                <a:moveTo>
                  <a:pt x="801" y="1592"/>
                </a:moveTo>
                <a:cubicBezTo>
                  <a:pt x="801" y="1592"/>
                  <a:pt x="801" y="1592"/>
                  <a:pt x="801" y="1592"/>
                </a:cubicBezTo>
                <a:cubicBezTo>
                  <a:pt x="796" y="1592"/>
                  <a:pt x="796" y="1592"/>
                  <a:pt x="796" y="1592"/>
                </a:cubicBezTo>
                <a:cubicBezTo>
                  <a:pt x="794" y="1593"/>
                  <a:pt x="793" y="1594"/>
                  <a:pt x="791" y="1595"/>
                </a:cubicBezTo>
                <a:cubicBezTo>
                  <a:pt x="789" y="1597"/>
                  <a:pt x="788" y="1597"/>
                  <a:pt x="785" y="1598"/>
                </a:cubicBezTo>
                <a:cubicBezTo>
                  <a:pt x="784" y="1600"/>
                  <a:pt x="782" y="1600"/>
                  <a:pt x="780" y="1601"/>
                </a:cubicBezTo>
                <a:cubicBezTo>
                  <a:pt x="778" y="1602"/>
                  <a:pt x="777" y="1602"/>
                  <a:pt x="775" y="1602"/>
                </a:cubicBezTo>
                <a:cubicBezTo>
                  <a:pt x="775" y="1602"/>
                  <a:pt x="775" y="1602"/>
                  <a:pt x="775" y="1613"/>
                </a:cubicBezTo>
                <a:cubicBezTo>
                  <a:pt x="777" y="1612"/>
                  <a:pt x="780" y="1611"/>
                  <a:pt x="783" y="1610"/>
                </a:cubicBezTo>
                <a:cubicBezTo>
                  <a:pt x="785" y="1609"/>
                  <a:pt x="788" y="1608"/>
                  <a:pt x="790" y="1606"/>
                </a:cubicBezTo>
                <a:cubicBezTo>
                  <a:pt x="790" y="1606"/>
                  <a:pt x="790" y="1606"/>
                  <a:pt x="790" y="1665"/>
                </a:cubicBezTo>
                <a:cubicBezTo>
                  <a:pt x="790" y="1665"/>
                  <a:pt x="790" y="1665"/>
                  <a:pt x="801" y="1665"/>
                </a:cubicBezTo>
                <a:cubicBezTo>
                  <a:pt x="801" y="1665"/>
                  <a:pt x="801" y="1665"/>
                  <a:pt x="801" y="1592"/>
                </a:cubicBezTo>
                <a:close/>
                <a:moveTo>
                  <a:pt x="848" y="1592"/>
                </a:moveTo>
                <a:cubicBezTo>
                  <a:pt x="848" y="1592"/>
                  <a:pt x="848" y="1592"/>
                  <a:pt x="848" y="1592"/>
                </a:cubicBezTo>
                <a:cubicBezTo>
                  <a:pt x="843" y="1592"/>
                  <a:pt x="843" y="1592"/>
                  <a:pt x="843" y="1592"/>
                </a:cubicBezTo>
                <a:cubicBezTo>
                  <a:pt x="841" y="1593"/>
                  <a:pt x="840" y="1594"/>
                  <a:pt x="837" y="1595"/>
                </a:cubicBezTo>
                <a:cubicBezTo>
                  <a:pt x="836" y="1597"/>
                  <a:pt x="834" y="1597"/>
                  <a:pt x="832" y="1598"/>
                </a:cubicBezTo>
                <a:cubicBezTo>
                  <a:pt x="831" y="1600"/>
                  <a:pt x="829" y="1600"/>
                  <a:pt x="827" y="1601"/>
                </a:cubicBezTo>
                <a:cubicBezTo>
                  <a:pt x="825" y="1602"/>
                  <a:pt x="823" y="1602"/>
                  <a:pt x="821" y="1602"/>
                </a:cubicBezTo>
                <a:cubicBezTo>
                  <a:pt x="821" y="1602"/>
                  <a:pt x="821" y="1602"/>
                  <a:pt x="821" y="1613"/>
                </a:cubicBezTo>
                <a:cubicBezTo>
                  <a:pt x="824" y="1612"/>
                  <a:pt x="827" y="1611"/>
                  <a:pt x="829" y="1610"/>
                </a:cubicBezTo>
                <a:cubicBezTo>
                  <a:pt x="832" y="1609"/>
                  <a:pt x="834" y="1608"/>
                  <a:pt x="837" y="1606"/>
                </a:cubicBezTo>
                <a:cubicBezTo>
                  <a:pt x="837" y="1606"/>
                  <a:pt x="837" y="1606"/>
                  <a:pt x="837" y="1665"/>
                </a:cubicBezTo>
                <a:cubicBezTo>
                  <a:pt x="837" y="1665"/>
                  <a:pt x="837" y="1665"/>
                  <a:pt x="848" y="1665"/>
                </a:cubicBezTo>
                <a:cubicBezTo>
                  <a:pt x="848" y="1665"/>
                  <a:pt x="848" y="1665"/>
                  <a:pt x="848" y="1592"/>
                </a:cubicBezTo>
                <a:close/>
                <a:moveTo>
                  <a:pt x="894" y="1592"/>
                </a:moveTo>
                <a:cubicBezTo>
                  <a:pt x="894" y="1592"/>
                  <a:pt x="894" y="1592"/>
                  <a:pt x="894" y="1592"/>
                </a:cubicBezTo>
                <a:cubicBezTo>
                  <a:pt x="890" y="1592"/>
                  <a:pt x="890" y="1592"/>
                  <a:pt x="890" y="1592"/>
                </a:cubicBezTo>
                <a:cubicBezTo>
                  <a:pt x="888" y="1593"/>
                  <a:pt x="886" y="1594"/>
                  <a:pt x="884" y="1595"/>
                </a:cubicBezTo>
                <a:cubicBezTo>
                  <a:pt x="883" y="1597"/>
                  <a:pt x="880" y="1597"/>
                  <a:pt x="879" y="1598"/>
                </a:cubicBezTo>
                <a:cubicBezTo>
                  <a:pt x="877" y="1599"/>
                  <a:pt x="875" y="1600"/>
                  <a:pt x="873" y="1600"/>
                </a:cubicBezTo>
                <a:cubicBezTo>
                  <a:pt x="872" y="1601"/>
                  <a:pt x="870" y="1602"/>
                  <a:pt x="868" y="1602"/>
                </a:cubicBezTo>
                <a:cubicBezTo>
                  <a:pt x="868" y="1602"/>
                  <a:pt x="868" y="1602"/>
                  <a:pt x="868" y="1613"/>
                </a:cubicBezTo>
                <a:cubicBezTo>
                  <a:pt x="871" y="1612"/>
                  <a:pt x="874" y="1610"/>
                  <a:pt x="876" y="1610"/>
                </a:cubicBezTo>
                <a:cubicBezTo>
                  <a:pt x="878" y="1609"/>
                  <a:pt x="881" y="1608"/>
                  <a:pt x="883" y="1606"/>
                </a:cubicBezTo>
                <a:cubicBezTo>
                  <a:pt x="883" y="1606"/>
                  <a:pt x="883" y="1606"/>
                  <a:pt x="883" y="1665"/>
                </a:cubicBezTo>
                <a:cubicBezTo>
                  <a:pt x="883" y="1665"/>
                  <a:pt x="883" y="1665"/>
                  <a:pt x="894" y="1665"/>
                </a:cubicBezTo>
                <a:cubicBezTo>
                  <a:pt x="894" y="1665"/>
                  <a:pt x="894" y="1665"/>
                  <a:pt x="894" y="1592"/>
                </a:cubicBezTo>
                <a:close/>
                <a:moveTo>
                  <a:pt x="700" y="1624"/>
                </a:moveTo>
                <a:cubicBezTo>
                  <a:pt x="700" y="1624"/>
                  <a:pt x="700" y="1624"/>
                  <a:pt x="700" y="1624"/>
                </a:cubicBezTo>
                <a:cubicBezTo>
                  <a:pt x="700" y="1632"/>
                  <a:pt x="700" y="1632"/>
                  <a:pt x="700" y="1632"/>
                </a:cubicBezTo>
                <a:cubicBezTo>
                  <a:pt x="706" y="1632"/>
                  <a:pt x="707" y="1635"/>
                  <a:pt x="707" y="1638"/>
                </a:cubicBezTo>
                <a:cubicBezTo>
                  <a:pt x="707" y="1640"/>
                  <a:pt x="706" y="1643"/>
                  <a:pt x="706" y="1645"/>
                </a:cubicBezTo>
                <a:cubicBezTo>
                  <a:pt x="706" y="1648"/>
                  <a:pt x="706" y="1650"/>
                  <a:pt x="706" y="1652"/>
                </a:cubicBezTo>
                <a:cubicBezTo>
                  <a:pt x="706" y="1662"/>
                  <a:pt x="712" y="1665"/>
                  <a:pt x="720" y="1665"/>
                </a:cubicBezTo>
                <a:cubicBezTo>
                  <a:pt x="720" y="1665"/>
                  <a:pt x="720" y="1665"/>
                  <a:pt x="724" y="1665"/>
                </a:cubicBezTo>
                <a:cubicBezTo>
                  <a:pt x="724" y="1665"/>
                  <a:pt x="724" y="1665"/>
                  <a:pt x="724" y="1656"/>
                </a:cubicBezTo>
                <a:cubicBezTo>
                  <a:pt x="724" y="1656"/>
                  <a:pt x="724" y="1656"/>
                  <a:pt x="722" y="1656"/>
                </a:cubicBezTo>
                <a:cubicBezTo>
                  <a:pt x="719" y="1656"/>
                  <a:pt x="717" y="1653"/>
                  <a:pt x="717" y="1650"/>
                </a:cubicBezTo>
                <a:cubicBezTo>
                  <a:pt x="717" y="1649"/>
                  <a:pt x="717" y="1647"/>
                  <a:pt x="718" y="1645"/>
                </a:cubicBezTo>
                <a:cubicBezTo>
                  <a:pt x="718" y="1644"/>
                  <a:pt x="718" y="1641"/>
                  <a:pt x="718" y="1639"/>
                </a:cubicBezTo>
                <a:cubicBezTo>
                  <a:pt x="718" y="1632"/>
                  <a:pt x="715" y="1629"/>
                  <a:pt x="710" y="1628"/>
                </a:cubicBezTo>
                <a:cubicBezTo>
                  <a:pt x="710" y="1628"/>
                  <a:pt x="710" y="1628"/>
                  <a:pt x="710" y="1628"/>
                </a:cubicBezTo>
                <a:cubicBezTo>
                  <a:pt x="715" y="1626"/>
                  <a:pt x="718" y="1624"/>
                  <a:pt x="718" y="1617"/>
                </a:cubicBezTo>
                <a:cubicBezTo>
                  <a:pt x="718" y="1614"/>
                  <a:pt x="718" y="1612"/>
                  <a:pt x="718" y="1610"/>
                </a:cubicBezTo>
                <a:cubicBezTo>
                  <a:pt x="717" y="1609"/>
                  <a:pt x="717" y="1607"/>
                  <a:pt x="717" y="1606"/>
                </a:cubicBezTo>
                <a:cubicBezTo>
                  <a:pt x="717" y="1602"/>
                  <a:pt x="719" y="1600"/>
                  <a:pt x="722" y="1600"/>
                </a:cubicBezTo>
                <a:cubicBezTo>
                  <a:pt x="722" y="1600"/>
                  <a:pt x="722" y="1600"/>
                  <a:pt x="724" y="1600"/>
                </a:cubicBezTo>
                <a:cubicBezTo>
                  <a:pt x="724" y="1600"/>
                  <a:pt x="724" y="1600"/>
                  <a:pt x="724" y="1591"/>
                </a:cubicBezTo>
                <a:cubicBezTo>
                  <a:pt x="724" y="1591"/>
                  <a:pt x="724" y="1591"/>
                  <a:pt x="720" y="1591"/>
                </a:cubicBezTo>
                <a:cubicBezTo>
                  <a:pt x="711" y="1591"/>
                  <a:pt x="706" y="1595"/>
                  <a:pt x="706" y="1603"/>
                </a:cubicBezTo>
                <a:cubicBezTo>
                  <a:pt x="706" y="1606"/>
                  <a:pt x="706" y="1608"/>
                  <a:pt x="706" y="1611"/>
                </a:cubicBezTo>
                <a:cubicBezTo>
                  <a:pt x="706" y="1613"/>
                  <a:pt x="707" y="1616"/>
                  <a:pt x="707" y="1618"/>
                </a:cubicBezTo>
                <a:cubicBezTo>
                  <a:pt x="707" y="1620"/>
                  <a:pt x="706" y="1624"/>
                  <a:pt x="700" y="1624"/>
                </a:cubicBezTo>
                <a:close/>
                <a:moveTo>
                  <a:pt x="755" y="1632"/>
                </a:moveTo>
                <a:cubicBezTo>
                  <a:pt x="755" y="1632"/>
                  <a:pt x="755" y="1632"/>
                  <a:pt x="755" y="1632"/>
                </a:cubicBezTo>
                <a:cubicBezTo>
                  <a:pt x="755" y="1624"/>
                  <a:pt x="755" y="1624"/>
                  <a:pt x="755" y="1624"/>
                </a:cubicBezTo>
                <a:cubicBezTo>
                  <a:pt x="748" y="1624"/>
                  <a:pt x="748" y="1620"/>
                  <a:pt x="748" y="1618"/>
                </a:cubicBezTo>
                <a:cubicBezTo>
                  <a:pt x="748" y="1616"/>
                  <a:pt x="748" y="1613"/>
                  <a:pt x="748" y="1611"/>
                </a:cubicBezTo>
                <a:cubicBezTo>
                  <a:pt x="749" y="1608"/>
                  <a:pt x="749" y="1606"/>
                  <a:pt x="749" y="1603"/>
                </a:cubicBezTo>
                <a:cubicBezTo>
                  <a:pt x="749" y="1595"/>
                  <a:pt x="744" y="1591"/>
                  <a:pt x="734" y="1591"/>
                </a:cubicBezTo>
                <a:cubicBezTo>
                  <a:pt x="734" y="1591"/>
                  <a:pt x="734" y="1591"/>
                  <a:pt x="730" y="1591"/>
                </a:cubicBezTo>
                <a:cubicBezTo>
                  <a:pt x="730" y="1591"/>
                  <a:pt x="730" y="1591"/>
                  <a:pt x="730" y="1600"/>
                </a:cubicBezTo>
                <a:cubicBezTo>
                  <a:pt x="730" y="1600"/>
                  <a:pt x="730" y="1600"/>
                  <a:pt x="732" y="1600"/>
                </a:cubicBezTo>
                <a:cubicBezTo>
                  <a:pt x="736" y="1600"/>
                  <a:pt x="737" y="1602"/>
                  <a:pt x="737" y="1606"/>
                </a:cubicBezTo>
                <a:cubicBezTo>
                  <a:pt x="737" y="1607"/>
                  <a:pt x="737" y="1609"/>
                  <a:pt x="737" y="1610"/>
                </a:cubicBezTo>
                <a:cubicBezTo>
                  <a:pt x="736" y="1612"/>
                  <a:pt x="736" y="1614"/>
                  <a:pt x="736" y="1617"/>
                </a:cubicBezTo>
                <a:cubicBezTo>
                  <a:pt x="736" y="1624"/>
                  <a:pt x="739" y="1626"/>
                  <a:pt x="745" y="1628"/>
                </a:cubicBezTo>
                <a:cubicBezTo>
                  <a:pt x="745" y="1628"/>
                  <a:pt x="745" y="1628"/>
                  <a:pt x="745" y="1628"/>
                </a:cubicBezTo>
                <a:cubicBezTo>
                  <a:pt x="739" y="1629"/>
                  <a:pt x="736" y="1632"/>
                  <a:pt x="736" y="1639"/>
                </a:cubicBezTo>
                <a:cubicBezTo>
                  <a:pt x="736" y="1641"/>
                  <a:pt x="736" y="1644"/>
                  <a:pt x="737" y="1645"/>
                </a:cubicBezTo>
                <a:cubicBezTo>
                  <a:pt x="737" y="1647"/>
                  <a:pt x="737" y="1649"/>
                  <a:pt x="737" y="1650"/>
                </a:cubicBezTo>
                <a:cubicBezTo>
                  <a:pt x="737" y="1653"/>
                  <a:pt x="736" y="1656"/>
                  <a:pt x="732" y="1656"/>
                </a:cubicBezTo>
                <a:cubicBezTo>
                  <a:pt x="732" y="1656"/>
                  <a:pt x="732" y="1656"/>
                  <a:pt x="730" y="1656"/>
                </a:cubicBezTo>
                <a:cubicBezTo>
                  <a:pt x="730" y="1656"/>
                  <a:pt x="730" y="1656"/>
                  <a:pt x="730" y="1665"/>
                </a:cubicBezTo>
                <a:cubicBezTo>
                  <a:pt x="730" y="1665"/>
                  <a:pt x="730" y="1665"/>
                  <a:pt x="734" y="1665"/>
                </a:cubicBezTo>
                <a:cubicBezTo>
                  <a:pt x="743" y="1665"/>
                  <a:pt x="749" y="1662"/>
                  <a:pt x="749" y="1652"/>
                </a:cubicBezTo>
                <a:cubicBezTo>
                  <a:pt x="749" y="1650"/>
                  <a:pt x="749" y="1648"/>
                  <a:pt x="748" y="1645"/>
                </a:cubicBezTo>
                <a:cubicBezTo>
                  <a:pt x="748" y="1643"/>
                  <a:pt x="748" y="1640"/>
                  <a:pt x="748" y="1638"/>
                </a:cubicBezTo>
                <a:cubicBezTo>
                  <a:pt x="748" y="1635"/>
                  <a:pt x="748" y="1632"/>
                  <a:pt x="755" y="1632"/>
                </a:cubicBezTo>
                <a:close/>
                <a:moveTo>
                  <a:pt x="938" y="1665"/>
                </a:moveTo>
                <a:cubicBezTo>
                  <a:pt x="931" y="1665"/>
                  <a:pt x="924" y="1662"/>
                  <a:pt x="920" y="1656"/>
                </a:cubicBezTo>
                <a:cubicBezTo>
                  <a:pt x="916" y="1650"/>
                  <a:pt x="914" y="1641"/>
                  <a:pt x="914" y="1628"/>
                </a:cubicBezTo>
                <a:cubicBezTo>
                  <a:pt x="914" y="1615"/>
                  <a:pt x="916" y="1606"/>
                  <a:pt x="920" y="1599"/>
                </a:cubicBezTo>
                <a:cubicBezTo>
                  <a:pt x="925" y="1592"/>
                  <a:pt x="931" y="1589"/>
                  <a:pt x="940" y="1589"/>
                </a:cubicBezTo>
                <a:cubicBezTo>
                  <a:pt x="956" y="1589"/>
                  <a:pt x="964" y="1601"/>
                  <a:pt x="964" y="1627"/>
                </a:cubicBezTo>
                <a:cubicBezTo>
                  <a:pt x="964" y="1639"/>
                  <a:pt x="962" y="1649"/>
                  <a:pt x="957" y="1655"/>
                </a:cubicBezTo>
                <a:cubicBezTo>
                  <a:pt x="952" y="1662"/>
                  <a:pt x="946" y="1665"/>
                  <a:pt x="938" y="1665"/>
                </a:cubicBezTo>
                <a:close/>
                <a:moveTo>
                  <a:pt x="939" y="1598"/>
                </a:moveTo>
                <a:cubicBezTo>
                  <a:pt x="930" y="1598"/>
                  <a:pt x="925" y="1608"/>
                  <a:pt x="925" y="1628"/>
                </a:cubicBezTo>
                <a:cubicBezTo>
                  <a:pt x="925" y="1647"/>
                  <a:pt x="930" y="1655"/>
                  <a:pt x="939" y="1655"/>
                </a:cubicBezTo>
                <a:cubicBezTo>
                  <a:pt x="947" y="1655"/>
                  <a:pt x="952" y="1647"/>
                  <a:pt x="952" y="1628"/>
                </a:cubicBezTo>
                <a:cubicBezTo>
                  <a:pt x="952" y="1608"/>
                  <a:pt x="947" y="1598"/>
                  <a:pt x="939" y="1598"/>
                </a:cubicBezTo>
                <a:close/>
                <a:moveTo>
                  <a:pt x="1008" y="1665"/>
                </a:moveTo>
                <a:cubicBezTo>
                  <a:pt x="1001" y="1665"/>
                  <a:pt x="994" y="1662"/>
                  <a:pt x="990" y="1656"/>
                </a:cubicBezTo>
                <a:cubicBezTo>
                  <a:pt x="986" y="1650"/>
                  <a:pt x="984" y="1641"/>
                  <a:pt x="984" y="1628"/>
                </a:cubicBezTo>
                <a:cubicBezTo>
                  <a:pt x="984" y="1615"/>
                  <a:pt x="986" y="1606"/>
                  <a:pt x="990" y="1599"/>
                </a:cubicBezTo>
                <a:cubicBezTo>
                  <a:pt x="995" y="1592"/>
                  <a:pt x="1002" y="1589"/>
                  <a:pt x="1010" y="1589"/>
                </a:cubicBezTo>
                <a:cubicBezTo>
                  <a:pt x="1027" y="1589"/>
                  <a:pt x="1035" y="1601"/>
                  <a:pt x="1035" y="1627"/>
                </a:cubicBezTo>
                <a:cubicBezTo>
                  <a:pt x="1035" y="1639"/>
                  <a:pt x="1033" y="1649"/>
                  <a:pt x="1028" y="1655"/>
                </a:cubicBezTo>
                <a:cubicBezTo>
                  <a:pt x="1023" y="1662"/>
                  <a:pt x="1017" y="1665"/>
                  <a:pt x="1008" y="1665"/>
                </a:cubicBezTo>
                <a:close/>
                <a:moveTo>
                  <a:pt x="1010" y="1598"/>
                </a:moveTo>
                <a:cubicBezTo>
                  <a:pt x="1001" y="1598"/>
                  <a:pt x="996" y="1608"/>
                  <a:pt x="996" y="1628"/>
                </a:cubicBezTo>
                <a:cubicBezTo>
                  <a:pt x="996" y="1647"/>
                  <a:pt x="1000" y="1655"/>
                  <a:pt x="1009" y="1655"/>
                </a:cubicBezTo>
                <a:cubicBezTo>
                  <a:pt x="1018" y="1655"/>
                  <a:pt x="1022" y="1647"/>
                  <a:pt x="1022" y="1628"/>
                </a:cubicBezTo>
                <a:cubicBezTo>
                  <a:pt x="1022" y="1608"/>
                  <a:pt x="1018" y="1598"/>
                  <a:pt x="1010" y="1598"/>
                </a:cubicBezTo>
                <a:close/>
                <a:moveTo>
                  <a:pt x="1081" y="1592"/>
                </a:moveTo>
                <a:cubicBezTo>
                  <a:pt x="1081" y="1592"/>
                  <a:pt x="1081" y="1592"/>
                  <a:pt x="1081" y="1592"/>
                </a:cubicBezTo>
                <a:cubicBezTo>
                  <a:pt x="1076" y="1592"/>
                  <a:pt x="1076" y="1592"/>
                  <a:pt x="1076" y="1592"/>
                </a:cubicBezTo>
                <a:cubicBezTo>
                  <a:pt x="1074" y="1593"/>
                  <a:pt x="1073" y="1594"/>
                  <a:pt x="1070" y="1595"/>
                </a:cubicBezTo>
                <a:cubicBezTo>
                  <a:pt x="1069" y="1597"/>
                  <a:pt x="1067" y="1597"/>
                  <a:pt x="1065" y="1598"/>
                </a:cubicBezTo>
                <a:cubicBezTo>
                  <a:pt x="1064" y="1600"/>
                  <a:pt x="1062" y="1600"/>
                  <a:pt x="1060" y="1601"/>
                </a:cubicBezTo>
                <a:cubicBezTo>
                  <a:pt x="1058" y="1602"/>
                  <a:pt x="1057" y="1602"/>
                  <a:pt x="1054" y="1602"/>
                </a:cubicBezTo>
                <a:cubicBezTo>
                  <a:pt x="1054" y="1602"/>
                  <a:pt x="1054" y="1602"/>
                  <a:pt x="1054" y="1613"/>
                </a:cubicBezTo>
                <a:cubicBezTo>
                  <a:pt x="1057" y="1612"/>
                  <a:pt x="1060" y="1611"/>
                  <a:pt x="1063" y="1610"/>
                </a:cubicBezTo>
                <a:cubicBezTo>
                  <a:pt x="1065" y="1609"/>
                  <a:pt x="1067" y="1608"/>
                  <a:pt x="1070" y="1606"/>
                </a:cubicBezTo>
                <a:cubicBezTo>
                  <a:pt x="1070" y="1606"/>
                  <a:pt x="1070" y="1606"/>
                  <a:pt x="1070" y="1665"/>
                </a:cubicBezTo>
                <a:cubicBezTo>
                  <a:pt x="1070" y="1665"/>
                  <a:pt x="1070" y="1665"/>
                  <a:pt x="1081" y="1665"/>
                </a:cubicBezTo>
                <a:cubicBezTo>
                  <a:pt x="1081" y="1665"/>
                  <a:pt x="1081" y="1665"/>
                  <a:pt x="1081" y="1592"/>
                </a:cubicBezTo>
                <a:close/>
                <a:moveTo>
                  <a:pt x="1128" y="1592"/>
                </a:moveTo>
                <a:cubicBezTo>
                  <a:pt x="1128" y="1592"/>
                  <a:pt x="1128" y="1592"/>
                  <a:pt x="1128" y="1592"/>
                </a:cubicBezTo>
                <a:cubicBezTo>
                  <a:pt x="1123" y="1592"/>
                  <a:pt x="1123" y="1592"/>
                  <a:pt x="1123" y="1592"/>
                </a:cubicBezTo>
                <a:cubicBezTo>
                  <a:pt x="1121" y="1593"/>
                  <a:pt x="1119" y="1594"/>
                  <a:pt x="1117" y="1595"/>
                </a:cubicBezTo>
                <a:cubicBezTo>
                  <a:pt x="1116" y="1597"/>
                  <a:pt x="1114" y="1597"/>
                  <a:pt x="1112" y="1598"/>
                </a:cubicBezTo>
                <a:cubicBezTo>
                  <a:pt x="1111" y="1600"/>
                  <a:pt x="1108" y="1600"/>
                  <a:pt x="1107" y="1601"/>
                </a:cubicBezTo>
                <a:cubicBezTo>
                  <a:pt x="1105" y="1602"/>
                  <a:pt x="1103" y="1602"/>
                  <a:pt x="1101" y="1602"/>
                </a:cubicBezTo>
                <a:cubicBezTo>
                  <a:pt x="1101" y="1602"/>
                  <a:pt x="1101" y="1602"/>
                  <a:pt x="1101" y="1613"/>
                </a:cubicBezTo>
                <a:cubicBezTo>
                  <a:pt x="1104" y="1612"/>
                  <a:pt x="1107" y="1611"/>
                  <a:pt x="1109" y="1610"/>
                </a:cubicBezTo>
                <a:cubicBezTo>
                  <a:pt x="1112" y="1609"/>
                  <a:pt x="1114" y="1608"/>
                  <a:pt x="1117" y="1606"/>
                </a:cubicBezTo>
                <a:cubicBezTo>
                  <a:pt x="1117" y="1606"/>
                  <a:pt x="1117" y="1606"/>
                  <a:pt x="1117" y="1665"/>
                </a:cubicBezTo>
                <a:cubicBezTo>
                  <a:pt x="1117" y="1665"/>
                  <a:pt x="1117" y="1665"/>
                  <a:pt x="1128" y="1665"/>
                </a:cubicBezTo>
                <a:cubicBezTo>
                  <a:pt x="1128" y="1665"/>
                  <a:pt x="1128" y="1665"/>
                  <a:pt x="1128" y="1592"/>
                </a:cubicBezTo>
                <a:close/>
                <a:moveTo>
                  <a:pt x="1174" y="1592"/>
                </a:moveTo>
                <a:cubicBezTo>
                  <a:pt x="1174" y="1592"/>
                  <a:pt x="1174" y="1592"/>
                  <a:pt x="1174" y="1592"/>
                </a:cubicBezTo>
                <a:cubicBezTo>
                  <a:pt x="1170" y="1592"/>
                  <a:pt x="1170" y="1592"/>
                  <a:pt x="1170" y="1592"/>
                </a:cubicBezTo>
                <a:cubicBezTo>
                  <a:pt x="1167" y="1593"/>
                  <a:pt x="1166" y="1594"/>
                  <a:pt x="1164" y="1595"/>
                </a:cubicBezTo>
                <a:cubicBezTo>
                  <a:pt x="1162" y="1597"/>
                  <a:pt x="1160" y="1597"/>
                  <a:pt x="1159" y="1598"/>
                </a:cubicBezTo>
                <a:cubicBezTo>
                  <a:pt x="1157" y="1599"/>
                  <a:pt x="1155" y="1600"/>
                  <a:pt x="1153" y="1600"/>
                </a:cubicBezTo>
                <a:cubicBezTo>
                  <a:pt x="1152" y="1601"/>
                  <a:pt x="1149" y="1602"/>
                  <a:pt x="1148" y="1602"/>
                </a:cubicBezTo>
                <a:cubicBezTo>
                  <a:pt x="1148" y="1602"/>
                  <a:pt x="1148" y="1602"/>
                  <a:pt x="1148" y="1613"/>
                </a:cubicBezTo>
                <a:cubicBezTo>
                  <a:pt x="1151" y="1612"/>
                  <a:pt x="1154" y="1610"/>
                  <a:pt x="1156" y="1610"/>
                </a:cubicBezTo>
                <a:cubicBezTo>
                  <a:pt x="1158" y="1609"/>
                  <a:pt x="1161" y="1608"/>
                  <a:pt x="1162" y="1606"/>
                </a:cubicBezTo>
                <a:cubicBezTo>
                  <a:pt x="1162" y="1606"/>
                  <a:pt x="1162" y="1606"/>
                  <a:pt x="1162" y="1665"/>
                </a:cubicBezTo>
                <a:cubicBezTo>
                  <a:pt x="1162" y="1665"/>
                  <a:pt x="1162" y="1665"/>
                  <a:pt x="1174" y="1665"/>
                </a:cubicBezTo>
                <a:cubicBezTo>
                  <a:pt x="1174" y="1665"/>
                  <a:pt x="1174" y="1665"/>
                  <a:pt x="1174" y="1592"/>
                </a:cubicBezTo>
                <a:close/>
                <a:moveTo>
                  <a:pt x="983" y="1566"/>
                </a:moveTo>
                <a:cubicBezTo>
                  <a:pt x="976" y="1566"/>
                  <a:pt x="969" y="1563"/>
                  <a:pt x="965" y="1557"/>
                </a:cubicBezTo>
                <a:cubicBezTo>
                  <a:pt x="961" y="1551"/>
                  <a:pt x="959" y="1542"/>
                  <a:pt x="959" y="1530"/>
                </a:cubicBezTo>
                <a:cubicBezTo>
                  <a:pt x="959" y="1517"/>
                  <a:pt x="961" y="1507"/>
                  <a:pt x="965" y="1500"/>
                </a:cubicBezTo>
                <a:cubicBezTo>
                  <a:pt x="970" y="1494"/>
                  <a:pt x="976" y="1490"/>
                  <a:pt x="985" y="1490"/>
                </a:cubicBezTo>
                <a:cubicBezTo>
                  <a:pt x="1001" y="1490"/>
                  <a:pt x="1009" y="1503"/>
                  <a:pt x="1009" y="1528"/>
                </a:cubicBezTo>
                <a:cubicBezTo>
                  <a:pt x="1009" y="1541"/>
                  <a:pt x="1007" y="1550"/>
                  <a:pt x="1002" y="1557"/>
                </a:cubicBezTo>
                <a:cubicBezTo>
                  <a:pt x="998" y="1563"/>
                  <a:pt x="991" y="1566"/>
                  <a:pt x="983" y="1566"/>
                </a:cubicBezTo>
                <a:close/>
                <a:moveTo>
                  <a:pt x="984" y="1500"/>
                </a:moveTo>
                <a:cubicBezTo>
                  <a:pt x="975" y="1500"/>
                  <a:pt x="971" y="1510"/>
                  <a:pt x="971" y="1530"/>
                </a:cubicBezTo>
                <a:cubicBezTo>
                  <a:pt x="971" y="1548"/>
                  <a:pt x="975" y="1557"/>
                  <a:pt x="984" y="1557"/>
                </a:cubicBezTo>
                <a:cubicBezTo>
                  <a:pt x="992" y="1557"/>
                  <a:pt x="997" y="1548"/>
                  <a:pt x="997" y="1529"/>
                </a:cubicBezTo>
                <a:cubicBezTo>
                  <a:pt x="997" y="1509"/>
                  <a:pt x="992" y="1500"/>
                  <a:pt x="984" y="1500"/>
                </a:cubicBezTo>
                <a:close/>
                <a:moveTo>
                  <a:pt x="1057" y="1493"/>
                </a:moveTo>
                <a:cubicBezTo>
                  <a:pt x="1057" y="1493"/>
                  <a:pt x="1057" y="1493"/>
                  <a:pt x="1057" y="1493"/>
                </a:cubicBezTo>
                <a:cubicBezTo>
                  <a:pt x="1052" y="1493"/>
                  <a:pt x="1052" y="1493"/>
                  <a:pt x="1052" y="1493"/>
                </a:cubicBezTo>
                <a:cubicBezTo>
                  <a:pt x="1050" y="1494"/>
                  <a:pt x="1048" y="1496"/>
                  <a:pt x="1046" y="1496"/>
                </a:cubicBezTo>
                <a:cubicBezTo>
                  <a:pt x="1044" y="1498"/>
                  <a:pt x="1042" y="1498"/>
                  <a:pt x="1041" y="1499"/>
                </a:cubicBezTo>
                <a:cubicBezTo>
                  <a:pt x="1039" y="1500"/>
                  <a:pt x="1037" y="1501"/>
                  <a:pt x="1036" y="1501"/>
                </a:cubicBezTo>
                <a:cubicBezTo>
                  <a:pt x="1034" y="1502"/>
                  <a:pt x="1032" y="1503"/>
                  <a:pt x="1030" y="1504"/>
                </a:cubicBezTo>
                <a:cubicBezTo>
                  <a:pt x="1030" y="1504"/>
                  <a:pt x="1030" y="1504"/>
                  <a:pt x="1030" y="1514"/>
                </a:cubicBezTo>
                <a:cubicBezTo>
                  <a:pt x="1033" y="1513"/>
                  <a:pt x="1036" y="1512"/>
                  <a:pt x="1038" y="1511"/>
                </a:cubicBezTo>
                <a:cubicBezTo>
                  <a:pt x="1041" y="1510"/>
                  <a:pt x="1043" y="1509"/>
                  <a:pt x="1045" y="1507"/>
                </a:cubicBezTo>
                <a:cubicBezTo>
                  <a:pt x="1045" y="1507"/>
                  <a:pt x="1045" y="1507"/>
                  <a:pt x="1045" y="1566"/>
                </a:cubicBezTo>
                <a:cubicBezTo>
                  <a:pt x="1045" y="1566"/>
                  <a:pt x="1045" y="1566"/>
                  <a:pt x="1057" y="1566"/>
                </a:cubicBezTo>
                <a:cubicBezTo>
                  <a:pt x="1057" y="1566"/>
                  <a:pt x="1057" y="1566"/>
                  <a:pt x="1057" y="1493"/>
                </a:cubicBezTo>
                <a:close/>
                <a:moveTo>
                  <a:pt x="1104" y="1493"/>
                </a:moveTo>
                <a:cubicBezTo>
                  <a:pt x="1104" y="1493"/>
                  <a:pt x="1104" y="1493"/>
                  <a:pt x="1104" y="1493"/>
                </a:cubicBezTo>
                <a:cubicBezTo>
                  <a:pt x="1099" y="1493"/>
                  <a:pt x="1099" y="1493"/>
                  <a:pt x="1099" y="1493"/>
                </a:cubicBezTo>
                <a:cubicBezTo>
                  <a:pt x="1097" y="1494"/>
                  <a:pt x="1095" y="1496"/>
                  <a:pt x="1093" y="1496"/>
                </a:cubicBezTo>
                <a:cubicBezTo>
                  <a:pt x="1092" y="1498"/>
                  <a:pt x="1090" y="1498"/>
                  <a:pt x="1088" y="1499"/>
                </a:cubicBezTo>
                <a:cubicBezTo>
                  <a:pt x="1087" y="1501"/>
                  <a:pt x="1085" y="1501"/>
                  <a:pt x="1083" y="1502"/>
                </a:cubicBezTo>
                <a:cubicBezTo>
                  <a:pt x="1081" y="1503"/>
                  <a:pt x="1080" y="1504"/>
                  <a:pt x="1077" y="1504"/>
                </a:cubicBezTo>
                <a:cubicBezTo>
                  <a:pt x="1077" y="1504"/>
                  <a:pt x="1077" y="1504"/>
                  <a:pt x="1077" y="1514"/>
                </a:cubicBezTo>
                <a:cubicBezTo>
                  <a:pt x="1080" y="1513"/>
                  <a:pt x="1083" y="1512"/>
                  <a:pt x="1085" y="1511"/>
                </a:cubicBezTo>
                <a:cubicBezTo>
                  <a:pt x="1088" y="1510"/>
                  <a:pt x="1090" y="1509"/>
                  <a:pt x="1092" y="1507"/>
                </a:cubicBezTo>
                <a:cubicBezTo>
                  <a:pt x="1092" y="1507"/>
                  <a:pt x="1092" y="1507"/>
                  <a:pt x="1092" y="1566"/>
                </a:cubicBezTo>
                <a:cubicBezTo>
                  <a:pt x="1092" y="1566"/>
                  <a:pt x="1092" y="1566"/>
                  <a:pt x="1104" y="1566"/>
                </a:cubicBezTo>
                <a:cubicBezTo>
                  <a:pt x="1104" y="1566"/>
                  <a:pt x="1104" y="1566"/>
                  <a:pt x="1104" y="1493"/>
                </a:cubicBezTo>
                <a:close/>
                <a:moveTo>
                  <a:pt x="1150" y="1493"/>
                </a:moveTo>
                <a:cubicBezTo>
                  <a:pt x="1150" y="1493"/>
                  <a:pt x="1150" y="1493"/>
                  <a:pt x="1150" y="1493"/>
                </a:cubicBezTo>
                <a:cubicBezTo>
                  <a:pt x="1146" y="1493"/>
                  <a:pt x="1146" y="1493"/>
                  <a:pt x="1146" y="1493"/>
                </a:cubicBezTo>
                <a:cubicBezTo>
                  <a:pt x="1144" y="1494"/>
                  <a:pt x="1142" y="1496"/>
                  <a:pt x="1140" y="1496"/>
                </a:cubicBezTo>
                <a:cubicBezTo>
                  <a:pt x="1139" y="1498"/>
                  <a:pt x="1137" y="1498"/>
                  <a:pt x="1135" y="1499"/>
                </a:cubicBezTo>
                <a:cubicBezTo>
                  <a:pt x="1133" y="1501"/>
                  <a:pt x="1132" y="1501"/>
                  <a:pt x="1130" y="1502"/>
                </a:cubicBezTo>
                <a:cubicBezTo>
                  <a:pt x="1128" y="1503"/>
                  <a:pt x="1126" y="1504"/>
                  <a:pt x="1124" y="1504"/>
                </a:cubicBezTo>
                <a:cubicBezTo>
                  <a:pt x="1124" y="1504"/>
                  <a:pt x="1124" y="1504"/>
                  <a:pt x="1124" y="1514"/>
                </a:cubicBezTo>
                <a:cubicBezTo>
                  <a:pt x="1127" y="1513"/>
                  <a:pt x="1130" y="1512"/>
                  <a:pt x="1132" y="1511"/>
                </a:cubicBezTo>
                <a:cubicBezTo>
                  <a:pt x="1135" y="1510"/>
                  <a:pt x="1137" y="1509"/>
                  <a:pt x="1139" y="1507"/>
                </a:cubicBezTo>
                <a:cubicBezTo>
                  <a:pt x="1139" y="1507"/>
                  <a:pt x="1139" y="1507"/>
                  <a:pt x="1139" y="1566"/>
                </a:cubicBezTo>
                <a:cubicBezTo>
                  <a:pt x="1139" y="1566"/>
                  <a:pt x="1139" y="1566"/>
                  <a:pt x="1150" y="1566"/>
                </a:cubicBezTo>
                <a:cubicBezTo>
                  <a:pt x="1150" y="1566"/>
                  <a:pt x="1150" y="1566"/>
                  <a:pt x="1150" y="1493"/>
                </a:cubicBezTo>
                <a:close/>
                <a:moveTo>
                  <a:pt x="1198" y="1493"/>
                </a:moveTo>
                <a:cubicBezTo>
                  <a:pt x="1198" y="1493"/>
                  <a:pt x="1198" y="1493"/>
                  <a:pt x="1198" y="1493"/>
                </a:cubicBezTo>
                <a:cubicBezTo>
                  <a:pt x="1193" y="1493"/>
                  <a:pt x="1193" y="1493"/>
                  <a:pt x="1193" y="1493"/>
                </a:cubicBezTo>
                <a:cubicBezTo>
                  <a:pt x="1191" y="1494"/>
                  <a:pt x="1190" y="1496"/>
                  <a:pt x="1187" y="1496"/>
                </a:cubicBezTo>
                <a:cubicBezTo>
                  <a:pt x="1186" y="1498"/>
                  <a:pt x="1184" y="1498"/>
                  <a:pt x="1182" y="1499"/>
                </a:cubicBezTo>
                <a:cubicBezTo>
                  <a:pt x="1181" y="1501"/>
                  <a:pt x="1178" y="1501"/>
                  <a:pt x="1177" y="1502"/>
                </a:cubicBezTo>
                <a:cubicBezTo>
                  <a:pt x="1175" y="1503"/>
                  <a:pt x="1173" y="1504"/>
                  <a:pt x="1171" y="1504"/>
                </a:cubicBezTo>
                <a:cubicBezTo>
                  <a:pt x="1171" y="1504"/>
                  <a:pt x="1171" y="1504"/>
                  <a:pt x="1171" y="1514"/>
                </a:cubicBezTo>
                <a:cubicBezTo>
                  <a:pt x="1174" y="1513"/>
                  <a:pt x="1177" y="1512"/>
                  <a:pt x="1179" y="1511"/>
                </a:cubicBezTo>
                <a:cubicBezTo>
                  <a:pt x="1182" y="1510"/>
                  <a:pt x="1184" y="1509"/>
                  <a:pt x="1187" y="1507"/>
                </a:cubicBezTo>
                <a:cubicBezTo>
                  <a:pt x="1187" y="1507"/>
                  <a:pt x="1187" y="1507"/>
                  <a:pt x="1187" y="1566"/>
                </a:cubicBezTo>
                <a:cubicBezTo>
                  <a:pt x="1187" y="1566"/>
                  <a:pt x="1187" y="1566"/>
                  <a:pt x="1198" y="1566"/>
                </a:cubicBezTo>
                <a:cubicBezTo>
                  <a:pt x="1198" y="1566"/>
                  <a:pt x="1198" y="1566"/>
                  <a:pt x="1198" y="1493"/>
                </a:cubicBezTo>
                <a:close/>
                <a:moveTo>
                  <a:pt x="1321" y="1493"/>
                </a:moveTo>
                <a:cubicBezTo>
                  <a:pt x="1321" y="1493"/>
                  <a:pt x="1321" y="1493"/>
                  <a:pt x="1321" y="1493"/>
                </a:cubicBezTo>
                <a:cubicBezTo>
                  <a:pt x="1316" y="1493"/>
                  <a:pt x="1316" y="1493"/>
                  <a:pt x="1316" y="1493"/>
                </a:cubicBezTo>
                <a:cubicBezTo>
                  <a:pt x="1314" y="1494"/>
                  <a:pt x="1313" y="1496"/>
                  <a:pt x="1310" y="1496"/>
                </a:cubicBezTo>
                <a:cubicBezTo>
                  <a:pt x="1309" y="1498"/>
                  <a:pt x="1307" y="1498"/>
                  <a:pt x="1305" y="1499"/>
                </a:cubicBezTo>
                <a:cubicBezTo>
                  <a:pt x="1304" y="1501"/>
                  <a:pt x="1302" y="1501"/>
                  <a:pt x="1300" y="1502"/>
                </a:cubicBezTo>
                <a:cubicBezTo>
                  <a:pt x="1298" y="1503"/>
                  <a:pt x="1297" y="1504"/>
                  <a:pt x="1294" y="1504"/>
                </a:cubicBezTo>
                <a:cubicBezTo>
                  <a:pt x="1294" y="1504"/>
                  <a:pt x="1294" y="1504"/>
                  <a:pt x="1294" y="1514"/>
                </a:cubicBezTo>
                <a:cubicBezTo>
                  <a:pt x="1297" y="1513"/>
                  <a:pt x="1300" y="1512"/>
                  <a:pt x="1303" y="1511"/>
                </a:cubicBezTo>
                <a:cubicBezTo>
                  <a:pt x="1305" y="1510"/>
                  <a:pt x="1307" y="1509"/>
                  <a:pt x="1310" y="1507"/>
                </a:cubicBezTo>
                <a:cubicBezTo>
                  <a:pt x="1310" y="1507"/>
                  <a:pt x="1310" y="1507"/>
                  <a:pt x="1310" y="1566"/>
                </a:cubicBezTo>
                <a:cubicBezTo>
                  <a:pt x="1310" y="1566"/>
                  <a:pt x="1310" y="1566"/>
                  <a:pt x="1321" y="1566"/>
                </a:cubicBezTo>
                <a:cubicBezTo>
                  <a:pt x="1321" y="1566"/>
                  <a:pt x="1321" y="1566"/>
                  <a:pt x="1321" y="1493"/>
                </a:cubicBezTo>
                <a:close/>
                <a:moveTo>
                  <a:pt x="1369" y="1493"/>
                </a:moveTo>
                <a:cubicBezTo>
                  <a:pt x="1369" y="1493"/>
                  <a:pt x="1369" y="1493"/>
                  <a:pt x="1369" y="1493"/>
                </a:cubicBezTo>
                <a:cubicBezTo>
                  <a:pt x="1364" y="1493"/>
                  <a:pt x="1364" y="1493"/>
                  <a:pt x="1364" y="1493"/>
                </a:cubicBezTo>
                <a:cubicBezTo>
                  <a:pt x="1362" y="1494"/>
                  <a:pt x="1360" y="1496"/>
                  <a:pt x="1358" y="1496"/>
                </a:cubicBezTo>
                <a:cubicBezTo>
                  <a:pt x="1356" y="1498"/>
                  <a:pt x="1354" y="1498"/>
                  <a:pt x="1353" y="1499"/>
                </a:cubicBezTo>
                <a:cubicBezTo>
                  <a:pt x="1351" y="1501"/>
                  <a:pt x="1349" y="1501"/>
                  <a:pt x="1348" y="1502"/>
                </a:cubicBezTo>
                <a:cubicBezTo>
                  <a:pt x="1346" y="1503"/>
                  <a:pt x="1344" y="1504"/>
                  <a:pt x="1342" y="1504"/>
                </a:cubicBezTo>
                <a:cubicBezTo>
                  <a:pt x="1342" y="1504"/>
                  <a:pt x="1342" y="1504"/>
                  <a:pt x="1342" y="1514"/>
                </a:cubicBezTo>
                <a:cubicBezTo>
                  <a:pt x="1345" y="1513"/>
                  <a:pt x="1348" y="1512"/>
                  <a:pt x="1350" y="1511"/>
                </a:cubicBezTo>
                <a:cubicBezTo>
                  <a:pt x="1353" y="1510"/>
                  <a:pt x="1355" y="1509"/>
                  <a:pt x="1357" y="1507"/>
                </a:cubicBezTo>
                <a:cubicBezTo>
                  <a:pt x="1357" y="1507"/>
                  <a:pt x="1357" y="1507"/>
                  <a:pt x="1357" y="1566"/>
                </a:cubicBezTo>
                <a:cubicBezTo>
                  <a:pt x="1357" y="1566"/>
                  <a:pt x="1357" y="1566"/>
                  <a:pt x="1369" y="1566"/>
                </a:cubicBezTo>
                <a:cubicBezTo>
                  <a:pt x="1369" y="1566"/>
                  <a:pt x="1369" y="1566"/>
                  <a:pt x="1369" y="1493"/>
                </a:cubicBezTo>
                <a:close/>
                <a:moveTo>
                  <a:pt x="1416" y="1493"/>
                </a:moveTo>
                <a:cubicBezTo>
                  <a:pt x="1416" y="1493"/>
                  <a:pt x="1416" y="1493"/>
                  <a:pt x="1416" y="1493"/>
                </a:cubicBezTo>
                <a:cubicBezTo>
                  <a:pt x="1411" y="1493"/>
                  <a:pt x="1411" y="1493"/>
                  <a:pt x="1411" y="1493"/>
                </a:cubicBezTo>
                <a:cubicBezTo>
                  <a:pt x="1410" y="1494"/>
                  <a:pt x="1408" y="1496"/>
                  <a:pt x="1406" y="1496"/>
                </a:cubicBezTo>
                <a:cubicBezTo>
                  <a:pt x="1404" y="1498"/>
                  <a:pt x="1403" y="1498"/>
                  <a:pt x="1400" y="1499"/>
                </a:cubicBezTo>
                <a:cubicBezTo>
                  <a:pt x="1399" y="1501"/>
                  <a:pt x="1397" y="1501"/>
                  <a:pt x="1395" y="1502"/>
                </a:cubicBezTo>
                <a:cubicBezTo>
                  <a:pt x="1393" y="1503"/>
                  <a:pt x="1392" y="1504"/>
                  <a:pt x="1389" y="1504"/>
                </a:cubicBezTo>
                <a:cubicBezTo>
                  <a:pt x="1389" y="1504"/>
                  <a:pt x="1389" y="1504"/>
                  <a:pt x="1389" y="1514"/>
                </a:cubicBezTo>
                <a:cubicBezTo>
                  <a:pt x="1392" y="1513"/>
                  <a:pt x="1395" y="1512"/>
                  <a:pt x="1398" y="1511"/>
                </a:cubicBezTo>
                <a:cubicBezTo>
                  <a:pt x="1400" y="1510"/>
                  <a:pt x="1403" y="1509"/>
                  <a:pt x="1405" y="1507"/>
                </a:cubicBezTo>
                <a:cubicBezTo>
                  <a:pt x="1405" y="1507"/>
                  <a:pt x="1405" y="1507"/>
                  <a:pt x="1405" y="1566"/>
                </a:cubicBezTo>
                <a:cubicBezTo>
                  <a:pt x="1405" y="1566"/>
                  <a:pt x="1405" y="1566"/>
                  <a:pt x="1416" y="1566"/>
                </a:cubicBezTo>
                <a:cubicBezTo>
                  <a:pt x="1416" y="1566"/>
                  <a:pt x="1416" y="1566"/>
                  <a:pt x="1416" y="1493"/>
                </a:cubicBezTo>
                <a:close/>
                <a:moveTo>
                  <a:pt x="1463" y="1493"/>
                </a:moveTo>
                <a:cubicBezTo>
                  <a:pt x="1463" y="1493"/>
                  <a:pt x="1463" y="1493"/>
                  <a:pt x="1463" y="1493"/>
                </a:cubicBezTo>
                <a:cubicBezTo>
                  <a:pt x="1459" y="1493"/>
                  <a:pt x="1459" y="1493"/>
                  <a:pt x="1459" y="1493"/>
                </a:cubicBezTo>
                <a:cubicBezTo>
                  <a:pt x="1456" y="1494"/>
                  <a:pt x="1455" y="1496"/>
                  <a:pt x="1453" y="1496"/>
                </a:cubicBezTo>
                <a:cubicBezTo>
                  <a:pt x="1451" y="1498"/>
                  <a:pt x="1449" y="1498"/>
                  <a:pt x="1448" y="1499"/>
                </a:cubicBezTo>
                <a:cubicBezTo>
                  <a:pt x="1446" y="1500"/>
                  <a:pt x="1444" y="1501"/>
                  <a:pt x="1442" y="1501"/>
                </a:cubicBezTo>
                <a:cubicBezTo>
                  <a:pt x="1441" y="1502"/>
                  <a:pt x="1438" y="1503"/>
                  <a:pt x="1437" y="1504"/>
                </a:cubicBezTo>
                <a:cubicBezTo>
                  <a:pt x="1437" y="1504"/>
                  <a:pt x="1437" y="1504"/>
                  <a:pt x="1437" y="1514"/>
                </a:cubicBezTo>
                <a:cubicBezTo>
                  <a:pt x="1440" y="1513"/>
                  <a:pt x="1443" y="1512"/>
                  <a:pt x="1445" y="1511"/>
                </a:cubicBezTo>
                <a:cubicBezTo>
                  <a:pt x="1447" y="1510"/>
                  <a:pt x="1450" y="1509"/>
                  <a:pt x="1451" y="1507"/>
                </a:cubicBezTo>
                <a:cubicBezTo>
                  <a:pt x="1451" y="1507"/>
                  <a:pt x="1451" y="1507"/>
                  <a:pt x="1451" y="1566"/>
                </a:cubicBezTo>
                <a:cubicBezTo>
                  <a:pt x="1451" y="1566"/>
                  <a:pt x="1451" y="1566"/>
                  <a:pt x="1463" y="1566"/>
                </a:cubicBezTo>
                <a:cubicBezTo>
                  <a:pt x="1463" y="1566"/>
                  <a:pt x="1463" y="1566"/>
                  <a:pt x="1463" y="1493"/>
                </a:cubicBezTo>
                <a:close/>
                <a:moveTo>
                  <a:pt x="1219" y="1525"/>
                </a:moveTo>
                <a:cubicBezTo>
                  <a:pt x="1219" y="1525"/>
                  <a:pt x="1219" y="1525"/>
                  <a:pt x="1219" y="1525"/>
                </a:cubicBezTo>
                <a:cubicBezTo>
                  <a:pt x="1219" y="1533"/>
                  <a:pt x="1219" y="1533"/>
                  <a:pt x="1219" y="1533"/>
                </a:cubicBezTo>
                <a:cubicBezTo>
                  <a:pt x="1225" y="1534"/>
                  <a:pt x="1226" y="1537"/>
                  <a:pt x="1226" y="1539"/>
                </a:cubicBezTo>
                <a:cubicBezTo>
                  <a:pt x="1226" y="1541"/>
                  <a:pt x="1225" y="1544"/>
                  <a:pt x="1225" y="1546"/>
                </a:cubicBezTo>
                <a:cubicBezTo>
                  <a:pt x="1225" y="1549"/>
                  <a:pt x="1225" y="1551"/>
                  <a:pt x="1225" y="1553"/>
                </a:cubicBezTo>
                <a:cubicBezTo>
                  <a:pt x="1225" y="1563"/>
                  <a:pt x="1231" y="1566"/>
                  <a:pt x="1239" y="1566"/>
                </a:cubicBezTo>
                <a:cubicBezTo>
                  <a:pt x="1239" y="1566"/>
                  <a:pt x="1239" y="1566"/>
                  <a:pt x="1243" y="1566"/>
                </a:cubicBezTo>
                <a:cubicBezTo>
                  <a:pt x="1243" y="1566"/>
                  <a:pt x="1243" y="1566"/>
                  <a:pt x="1243" y="1557"/>
                </a:cubicBezTo>
                <a:cubicBezTo>
                  <a:pt x="1243" y="1557"/>
                  <a:pt x="1243" y="1557"/>
                  <a:pt x="1242" y="1557"/>
                </a:cubicBezTo>
                <a:cubicBezTo>
                  <a:pt x="1238" y="1557"/>
                  <a:pt x="1237" y="1555"/>
                  <a:pt x="1237" y="1551"/>
                </a:cubicBezTo>
                <a:cubicBezTo>
                  <a:pt x="1237" y="1550"/>
                  <a:pt x="1237" y="1548"/>
                  <a:pt x="1237" y="1546"/>
                </a:cubicBezTo>
                <a:cubicBezTo>
                  <a:pt x="1237" y="1545"/>
                  <a:pt x="1237" y="1543"/>
                  <a:pt x="1237" y="1540"/>
                </a:cubicBezTo>
                <a:cubicBezTo>
                  <a:pt x="1237" y="1533"/>
                  <a:pt x="1234" y="1530"/>
                  <a:pt x="1229" y="1529"/>
                </a:cubicBezTo>
                <a:cubicBezTo>
                  <a:pt x="1229" y="1529"/>
                  <a:pt x="1229" y="1529"/>
                  <a:pt x="1229" y="1529"/>
                </a:cubicBezTo>
                <a:cubicBezTo>
                  <a:pt x="1234" y="1528"/>
                  <a:pt x="1237" y="1525"/>
                  <a:pt x="1237" y="1518"/>
                </a:cubicBezTo>
                <a:cubicBezTo>
                  <a:pt x="1237" y="1515"/>
                  <a:pt x="1237" y="1513"/>
                  <a:pt x="1237" y="1512"/>
                </a:cubicBezTo>
                <a:cubicBezTo>
                  <a:pt x="1237" y="1510"/>
                  <a:pt x="1237" y="1508"/>
                  <a:pt x="1237" y="1507"/>
                </a:cubicBezTo>
                <a:cubicBezTo>
                  <a:pt x="1237" y="1503"/>
                  <a:pt x="1238" y="1501"/>
                  <a:pt x="1242" y="1501"/>
                </a:cubicBezTo>
                <a:cubicBezTo>
                  <a:pt x="1242" y="1501"/>
                  <a:pt x="1242" y="1501"/>
                  <a:pt x="1243" y="1501"/>
                </a:cubicBezTo>
                <a:cubicBezTo>
                  <a:pt x="1243" y="1501"/>
                  <a:pt x="1243" y="1501"/>
                  <a:pt x="1243" y="1492"/>
                </a:cubicBezTo>
                <a:cubicBezTo>
                  <a:pt x="1243" y="1492"/>
                  <a:pt x="1243" y="1492"/>
                  <a:pt x="1239" y="1492"/>
                </a:cubicBezTo>
                <a:cubicBezTo>
                  <a:pt x="1230" y="1492"/>
                  <a:pt x="1225" y="1496"/>
                  <a:pt x="1225" y="1504"/>
                </a:cubicBezTo>
                <a:cubicBezTo>
                  <a:pt x="1225" y="1507"/>
                  <a:pt x="1225" y="1509"/>
                  <a:pt x="1225" y="1512"/>
                </a:cubicBezTo>
                <a:cubicBezTo>
                  <a:pt x="1225" y="1514"/>
                  <a:pt x="1226" y="1517"/>
                  <a:pt x="1226" y="1519"/>
                </a:cubicBezTo>
                <a:cubicBezTo>
                  <a:pt x="1226" y="1521"/>
                  <a:pt x="1225" y="1525"/>
                  <a:pt x="1219" y="1525"/>
                </a:cubicBezTo>
                <a:close/>
                <a:moveTo>
                  <a:pt x="1274" y="1533"/>
                </a:moveTo>
                <a:cubicBezTo>
                  <a:pt x="1274" y="1533"/>
                  <a:pt x="1274" y="1533"/>
                  <a:pt x="1274" y="1533"/>
                </a:cubicBezTo>
                <a:cubicBezTo>
                  <a:pt x="1274" y="1525"/>
                  <a:pt x="1274" y="1525"/>
                  <a:pt x="1274" y="1525"/>
                </a:cubicBezTo>
                <a:cubicBezTo>
                  <a:pt x="1267" y="1525"/>
                  <a:pt x="1267" y="1521"/>
                  <a:pt x="1267" y="1519"/>
                </a:cubicBezTo>
                <a:cubicBezTo>
                  <a:pt x="1267" y="1517"/>
                  <a:pt x="1267" y="1514"/>
                  <a:pt x="1267" y="1512"/>
                </a:cubicBezTo>
                <a:cubicBezTo>
                  <a:pt x="1268" y="1509"/>
                  <a:pt x="1268" y="1507"/>
                  <a:pt x="1268" y="1504"/>
                </a:cubicBezTo>
                <a:cubicBezTo>
                  <a:pt x="1268" y="1496"/>
                  <a:pt x="1263" y="1492"/>
                  <a:pt x="1253" y="1492"/>
                </a:cubicBezTo>
                <a:cubicBezTo>
                  <a:pt x="1253" y="1492"/>
                  <a:pt x="1253" y="1492"/>
                  <a:pt x="1250" y="1492"/>
                </a:cubicBezTo>
                <a:cubicBezTo>
                  <a:pt x="1250" y="1492"/>
                  <a:pt x="1250" y="1492"/>
                  <a:pt x="1250" y="1501"/>
                </a:cubicBezTo>
                <a:cubicBezTo>
                  <a:pt x="1250" y="1501"/>
                  <a:pt x="1250" y="1501"/>
                  <a:pt x="1251" y="1501"/>
                </a:cubicBezTo>
                <a:cubicBezTo>
                  <a:pt x="1255" y="1501"/>
                  <a:pt x="1256" y="1503"/>
                  <a:pt x="1256" y="1507"/>
                </a:cubicBezTo>
                <a:cubicBezTo>
                  <a:pt x="1256" y="1508"/>
                  <a:pt x="1256" y="1510"/>
                  <a:pt x="1256" y="1512"/>
                </a:cubicBezTo>
                <a:cubicBezTo>
                  <a:pt x="1256" y="1513"/>
                  <a:pt x="1256" y="1515"/>
                  <a:pt x="1256" y="1518"/>
                </a:cubicBezTo>
                <a:cubicBezTo>
                  <a:pt x="1256" y="1525"/>
                  <a:pt x="1258" y="1528"/>
                  <a:pt x="1264" y="1529"/>
                </a:cubicBezTo>
                <a:cubicBezTo>
                  <a:pt x="1264" y="1529"/>
                  <a:pt x="1264" y="1529"/>
                  <a:pt x="1264" y="1529"/>
                </a:cubicBezTo>
                <a:cubicBezTo>
                  <a:pt x="1258" y="1530"/>
                  <a:pt x="1256" y="1533"/>
                  <a:pt x="1256" y="1540"/>
                </a:cubicBezTo>
                <a:cubicBezTo>
                  <a:pt x="1256" y="1543"/>
                  <a:pt x="1256" y="1545"/>
                  <a:pt x="1256" y="1546"/>
                </a:cubicBezTo>
                <a:cubicBezTo>
                  <a:pt x="1256" y="1548"/>
                  <a:pt x="1256" y="1550"/>
                  <a:pt x="1256" y="1551"/>
                </a:cubicBezTo>
                <a:cubicBezTo>
                  <a:pt x="1256" y="1555"/>
                  <a:pt x="1255" y="1557"/>
                  <a:pt x="1251" y="1557"/>
                </a:cubicBezTo>
                <a:cubicBezTo>
                  <a:pt x="1251" y="1557"/>
                  <a:pt x="1251" y="1557"/>
                  <a:pt x="1250" y="1557"/>
                </a:cubicBezTo>
                <a:cubicBezTo>
                  <a:pt x="1250" y="1557"/>
                  <a:pt x="1250" y="1557"/>
                  <a:pt x="1250" y="1566"/>
                </a:cubicBezTo>
                <a:cubicBezTo>
                  <a:pt x="1250" y="1566"/>
                  <a:pt x="1250" y="1566"/>
                  <a:pt x="1253" y="1566"/>
                </a:cubicBezTo>
                <a:cubicBezTo>
                  <a:pt x="1262" y="1566"/>
                  <a:pt x="1268" y="1563"/>
                  <a:pt x="1268" y="1553"/>
                </a:cubicBezTo>
                <a:cubicBezTo>
                  <a:pt x="1268" y="1551"/>
                  <a:pt x="1268" y="1549"/>
                  <a:pt x="1267" y="1546"/>
                </a:cubicBezTo>
                <a:cubicBezTo>
                  <a:pt x="1267" y="1544"/>
                  <a:pt x="1267" y="1541"/>
                  <a:pt x="1267" y="1539"/>
                </a:cubicBezTo>
                <a:cubicBezTo>
                  <a:pt x="1267" y="1537"/>
                  <a:pt x="1267" y="1534"/>
                  <a:pt x="1274" y="1533"/>
                </a:cubicBezTo>
                <a:close/>
                <a:moveTo>
                  <a:pt x="1601" y="1525"/>
                </a:moveTo>
                <a:cubicBezTo>
                  <a:pt x="1601" y="1525"/>
                  <a:pt x="1601" y="1525"/>
                  <a:pt x="1601" y="1525"/>
                </a:cubicBezTo>
                <a:cubicBezTo>
                  <a:pt x="1601" y="1533"/>
                  <a:pt x="1601" y="1533"/>
                  <a:pt x="1601" y="1533"/>
                </a:cubicBezTo>
                <a:cubicBezTo>
                  <a:pt x="1607" y="1534"/>
                  <a:pt x="1608" y="1537"/>
                  <a:pt x="1608" y="1539"/>
                </a:cubicBezTo>
                <a:cubicBezTo>
                  <a:pt x="1608" y="1541"/>
                  <a:pt x="1607" y="1544"/>
                  <a:pt x="1607" y="1546"/>
                </a:cubicBezTo>
                <a:cubicBezTo>
                  <a:pt x="1607" y="1549"/>
                  <a:pt x="1607" y="1551"/>
                  <a:pt x="1607" y="1553"/>
                </a:cubicBezTo>
                <a:cubicBezTo>
                  <a:pt x="1607" y="1563"/>
                  <a:pt x="1613" y="1566"/>
                  <a:pt x="1621" y="1566"/>
                </a:cubicBezTo>
                <a:cubicBezTo>
                  <a:pt x="1621" y="1566"/>
                  <a:pt x="1621" y="1566"/>
                  <a:pt x="1625" y="1566"/>
                </a:cubicBezTo>
                <a:cubicBezTo>
                  <a:pt x="1625" y="1566"/>
                  <a:pt x="1625" y="1566"/>
                  <a:pt x="1625" y="1557"/>
                </a:cubicBezTo>
                <a:cubicBezTo>
                  <a:pt x="1625" y="1557"/>
                  <a:pt x="1625" y="1557"/>
                  <a:pt x="1624" y="1557"/>
                </a:cubicBezTo>
                <a:cubicBezTo>
                  <a:pt x="1620" y="1557"/>
                  <a:pt x="1619" y="1555"/>
                  <a:pt x="1619" y="1551"/>
                </a:cubicBezTo>
                <a:cubicBezTo>
                  <a:pt x="1619" y="1550"/>
                  <a:pt x="1619" y="1548"/>
                  <a:pt x="1619" y="1546"/>
                </a:cubicBezTo>
                <a:cubicBezTo>
                  <a:pt x="1619" y="1545"/>
                  <a:pt x="1619" y="1543"/>
                  <a:pt x="1619" y="1540"/>
                </a:cubicBezTo>
                <a:cubicBezTo>
                  <a:pt x="1619" y="1533"/>
                  <a:pt x="1616" y="1530"/>
                  <a:pt x="1611" y="1529"/>
                </a:cubicBezTo>
                <a:cubicBezTo>
                  <a:pt x="1611" y="1529"/>
                  <a:pt x="1611" y="1529"/>
                  <a:pt x="1611" y="1529"/>
                </a:cubicBezTo>
                <a:cubicBezTo>
                  <a:pt x="1616" y="1528"/>
                  <a:pt x="1619" y="1525"/>
                  <a:pt x="1619" y="1518"/>
                </a:cubicBezTo>
                <a:cubicBezTo>
                  <a:pt x="1619" y="1515"/>
                  <a:pt x="1619" y="1513"/>
                  <a:pt x="1619" y="1512"/>
                </a:cubicBezTo>
                <a:cubicBezTo>
                  <a:pt x="1619" y="1510"/>
                  <a:pt x="1619" y="1508"/>
                  <a:pt x="1619" y="1507"/>
                </a:cubicBezTo>
                <a:cubicBezTo>
                  <a:pt x="1619" y="1503"/>
                  <a:pt x="1620" y="1501"/>
                  <a:pt x="1624" y="1501"/>
                </a:cubicBezTo>
                <a:cubicBezTo>
                  <a:pt x="1624" y="1501"/>
                  <a:pt x="1624" y="1501"/>
                  <a:pt x="1625" y="1501"/>
                </a:cubicBezTo>
                <a:cubicBezTo>
                  <a:pt x="1625" y="1501"/>
                  <a:pt x="1625" y="1501"/>
                  <a:pt x="1625" y="1492"/>
                </a:cubicBezTo>
                <a:cubicBezTo>
                  <a:pt x="1625" y="1492"/>
                  <a:pt x="1625" y="1492"/>
                  <a:pt x="1621" y="1492"/>
                </a:cubicBezTo>
                <a:cubicBezTo>
                  <a:pt x="1612" y="1492"/>
                  <a:pt x="1607" y="1496"/>
                  <a:pt x="1607" y="1504"/>
                </a:cubicBezTo>
                <a:cubicBezTo>
                  <a:pt x="1607" y="1507"/>
                  <a:pt x="1607" y="1509"/>
                  <a:pt x="1607" y="1512"/>
                </a:cubicBezTo>
                <a:cubicBezTo>
                  <a:pt x="1607" y="1514"/>
                  <a:pt x="1608" y="1517"/>
                  <a:pt x="1608" y="1519"/>
                </a:cubicBezTo>
                <a:cubicBezTo>
                  <a:pt x="1608" y="1521"/>
                  <a:pt x="1607" y="1525"/>
                  <a:pt x="1601" y="1525"/>
                </a:cubicBezTo>
                <a:close/>
                <a:moveTo>
                  <a:pt x="1656" y="1533"/>
                </a:moveTo>
                <a:cubicBezTo>
                  <a:pt x="1656" y="1533"/>
                  <a:pt x="1656" y="1533"/>
                  <a:pt x="1656" y="1533"/>
                </a:cubicBezTo>
                <a:cubicBezTo>
                  <a:pt x="1656" y="1525"/>
                  <a:pt x="1656" y="1525"/>
                  <a:pt x="1656" y="1525"/>
                </a:cubicBezTo>
                <a:cubicBezTo>
                  <a:pt x="1650" y="1525"/>
                  <a:pt x="1649" y="1521"/>
                  <a:pt x="1649" y="1519"/>
                </a:cubicBezTo>
                <a:cubicBezTo>
                  <a:pt x="1649" y="1517"/>
                  <a:pt x="1649" y="1514"/>
                  <a:pt x="1650" y="1512"/>
                </a:cubicBezTo>
                <a:cubicBezTo>
                  <a:pt x="1650" y="1509"/>
                  <a:pt x="1650" y="1507"/>
                  <a:pt x="1650" y="1504"/>
                </a:cubicBezTo>
                <a:cubicBezTo>
                  <a:pt x="1650" y="1496"/>
                  <a:pt x="1645" y="1492"/>
                  <a:pt x="1636" y="1492"/>
                </a:cubicBezTo>
                <a:cubicBezTo>
                  <a:pt x="1636" y="1492"/>
                  <a:pt x="1636" y="1492"/>
                  <a:pt x="1632" y="1492"/>
                </a:cubicBezTo>
                <a:cubicBezTo>
                  <a:pt x="1632" y="1492"/>
                  <a:pt x="1632" y="1492"/>
                  <a:pt x="1632" y="1501"/>
                </a:cubicBezTo>
                <a:cubicBezTo>
                  <a:pt x="1632" y="1501"/>
                  <a:pt x="1632" y="1501"/>
                  <a:pt x="1633" y="1501"/>
                </a:cubicBezTo>
                <a:cubicBezTo>
                  <a:pt x="1637" y="1501"/>
                  <a:pt x="1638" y="1503"/>
                  <a:pt x="1638" y="1507"/>
                </a:cubicBezTo>
                <a:cubicBezTo>
                  <a:pt x="1638" y="1508"/>
                  <a:pt x="1638" y="1510"/>
                  <a:pt x="1638" y="1512"/>
                </a:cubicBezTo>
                <a:cubicBezTo>
                  <a:pt x="1638" y="1513"/>
                  <a:pt x="1638" y="1515"/>
                  <a:pt x="1638" y="1518"/>
                </a:cubicBezTo>
                <a:cubicBezTo>
                  <a:pt x="1638" y="1525"/>
                  <a:pt x="1640" y="1528"/>
                  <a:pt x="1646" y="1529"/>
                </a:cubicBezTo>
                <a:cubicBezTo>
                  <a:pt x="1646" y="1529"/>
                  <a:pt x="1646" y="1529"/>
                  <a:pt x="1646" y="1529"/>
                </a:cubicBezTo>
                <a:cubicBezTo>
                  <a:pt x="1640" y="1530"/>
                  <a:pt x="1638" y="1533"/>
                  <a:pt x="1638" y="1540"/>
                </a:cubicBezTo>
                <a:cubicBezTo>
                  <a:pt x="1638" y="1543"/>
                  <a:pt x="1638" y="1545"/>
                  <a:pt x="1638" y="1546"/>
                </a:cubicBezTo>
                <a:cubicBezTo>
                  <a:pt x="1638" y="1548"/>
                  <a:pt x="1638" y="1550"/>
                  <a:pt x="1638" y="1551"/>
                </a:cubicBezTo>
                <a:cubicBezTo>
                  <a:pt x="1638" y="1555"/>
                  <a:pt x="1637" y="1557"/>
                  <a:pt x="1633" y="1557"/>
                </a:cubicBezTo>
                <a:cubicBezTo>
                  <a:pt x="1633" y="1557"/>
                  <a:pt x="1633" y="1557"/>
                  <a:pt x="1632" y="1557"/>
                </a:cubicBezTo>
                <a:cubicBezTo>
                  <a:pt x="1632" y="1557"/>
                  <a:pt x="1632" y="1557"/>
                  <a:pt x="1632" y="1566"/>
                </a:cubicBezTo>
                <a:cubicBezTo>
                  <a:pt x="1632" y="1566"/>
                  <a:pt x="1632" y="1566"/>
                  <a:pt x="1636" y="1566"/>
                </a:cubicBezTo>
                <a:cubicBezTo>
                  <a:pt x="1644" y="1566"/>
                  <a:pt x="1650" y="1563"/>
                  <a:pt x="1650" y="1553"/>
                </a:cubicBezTo>
                <a:cubicBezTo>
                  <a:pt x="1650" y="1551"/>
                  <a:pt x="1650" y="1549"/>
                  <a:pt x="1650" y="1546"/>
                </a:cubicBezTo>
                <a:cubicBezTo>
                  <a:pt x="1649" y="1544"/>
                  <a:pt x="1649" y="1541"/>
                  <a:pt x="1649" y="1539"/>
                </a:cubicBezTo>
                <a:cubicBezTo>
                  <a:pt x="1649" y="1537"/>
                  <a:pt x="1650" y="1534"/>
                  <a:pt x="1656" y="1533"/>
                </a:cubicBezTo>
                <a:close/>
                <a:moveTo>
                  <a:pt x="1703" y="1493"/>
                </a:moveTo>
                <a:cubicBezTo>
                  <a:pt x="1703" y="1493"/>
                  <a:pt x="1703" y="1493"/>
                  <a:pt x="1703" y="1493"/>
                </a:cubicBezTo>
                <a:cubicBezTo>
                  <a:pt x="1698" y="1493"/>
                  <a:pt x="1698" y="1493"/>
                  <a:pt x="1698" y="1493"/>
                </a:cubicBezTo>
                <a:cubicBezTo>
                  <a:pt x="1696" y="1494"/>
                  <a:pt x="1695" y="1496"/>
                  <a:pt x="1692" y="1496"/>
                </a:cubicBezTo>
                <a:cubicBezTo>
                  <a:pt x="1691" y="1498"/>
                  <a:pt x="1689" y="1498"/>
                  <a:pt x="1687" y="1499"/>
                </a:cubicBezTo>
                <a:cubicBezTo>
                  <a:pt x="1685" y="1500"/>
                  <a:pt x="1684" y="1501"/>
                  <a:pt x="1682" y="1501"/>
                </a:cubicBezTo>
                <a:cubicBezTo>
                  <a:pt x="1680" y="1502"/>
                  <a:pt x="1679" y="1503"/>
                  <a:pt x="1676" y="1504"/>
                </a:cubicBezTo>
                <a:cubicBezTo>
                  <a:pt x="1676" y="1504"/>
                  <a:pt x="1676" y="1504"/>
                  <a:pt x="1676" y="1514"/>
                </a:cubicBezTo>
                <a:cubicBezTo>
                  <a:pt x="1679" y="1513"/>
                  <a:pt x="1682" y="1512"/>
                  <a:pt x="1684" y="1511"/>
                </a:cubicBezTo>
                <a:cubicBezTo>
                  <a:pt x="1687" y="1510"/>
                  <a:pt x="1690" y="1509"/>
                  <a:pt x="1692" y="1507"/>
                </a:cubicBezTo>
                <a:cubicBezTo>
                  <a:pt x="1692" y="1507"/>
                  <a:pt x="1692" y="1507"/>
                  <a:pt x="1692" y="1566"/>
                </a:cubicBezTo>
                <a:cubicBezTo>
                  <a:pt x="1692" y="1566"/>
                  <a:pt x="1692" y="1566"/>
                  <a:pt x="1703" y="1566"/>
                </a:cubicBezTo>
                <a:cubicBezTo>
                  <a:pt x="1703" y="1566"/>
                  <a:pt x="1703" y="1566"/>
                  <a:pt x="1703" y="1493"/>
                </a:cubicBezTo>
                <a:close/>
                <a:moveTo>
                  <a:pt x="1750" y="1493"/>
                </a:moveTo>
                <a:cubicBezTo>
                  <a:pt x="1750" y="1493"/>
                  <a:pt x="1750" y="1493"/>
                  <a:pt x="1750" y="1493"/>
                </a:cubicBezTo>
                <a:cubicBezTo>
                  <a:pt x="1745" y="1493"/>
                  <a:pt x="1745" y="1493"/>
                  <a:pt x="1745" y="1493"/>
                </a:cubicBezTo>
                <a:cubicBezTo>
                  <a:pt x="1743" y="1494"/>
                  <a:pt x="1742" y="1496"/>
                  <a:pt x="1740" y="1496"/>
                </a:cubicBezTo>
                <a:cubicBezTo>
                  <a:pt x="1738" y="1498"/>
                  <a:pt x="1736" y="1498"/>
                  <a:pt x="1735" y="1499"/>
                </a:cubicBezTo>
                <a:cubicBezTo>
                  <a:pt x="1733" y="1501"/>
                  <a:pt x="1731" y="1501"/>
                  <a:pt x="1730" y="1502"/>
                </a:cubicBezTo>
                <a:cubicBezTo>
                  <a:pt x="1728" y="1503"/>
                  <a:pt x="1726" y="1504"/>
                  <a:pt x="1724" y="1504"/>
                </a:cubicBezTo>
                <a:cubicBezTo>
                  <a:pt x="1724" y="1504"/>
                  <a:pt x="1724" y="1504"/>
                  <a:pt x="1724" y="1514"/>
                </a:cubicBezTo>
                <a:cubicBezTo>
                  <a:pt x="1727" y="1513"/>
                  <a:pt x="1730" y="1512"/>
                  <a:pt x="1732" y="1511"/>
                </a:cubicBezTo>
                <a:cubicBezTo>
                  <a:pt x="1735" y="1510"/>
                  <a:pt x="1737" y="1509"/>
                  <a:pt x="1739" y="1507"/>
                </a:cubicBezTo>
                <a:cubicBezTo>
                  <a:pt x="1739" y="1507"/>
                  <a:pt x="1739" y="1507"/>
                  <a:pt x="1739" y="1566"/>
                </a:cubicBezTo>
                <a:cubicBezTo>
                  <a:pt x="1739" y="1566"/>
                  <a:pt x="1739" y="1566"/>
                  <a:pt x="1750" y="1566"/>
                </a:cubicBezTo>
                <a:cubicBezTo>
                  <a:pt x="1750" y="1566"/>
                  <a:pt x="1750" y="1566"/>
                  <a:pt x="1750" y="1493"/>
                </a:cubicBezTo>
                <a:close/>
                <a:moveTo>
                  <a:pt x="1797" y="1493"/>
                </a:moveTo>
                <a:cubicBezTo>
                  <a:pt x="1797" y="1493"/>
                  <a:pt x="1797" y="1493"/>
                  <a:pt x="1797" y="1493"/>
                </a:cubicBezTo>
                <a:cubicBezTo>
                  <a:pt x="1793" y="1493"/>
                  <a:pt x="1793" y="1493"/>
                  <a:pt x="1793" y="1493"/>
                </a:cubicBezTo>
                <a:cubicBezTo>
                  <a:pt x="1790" y="1494"/>
                  <a:pt x="1789" y="1496"/>
                  <a:pt x="1787" y="1496"/>
                </a:cubicBezTo>
                <a:cubicBezTo>
                  <a:pt x="1785" y="1498"/>
                  <a:pt x="1783" y="1498"/>
                  <a:pt x="1782" y="1499"/>
                </a:cubicBezTo>
                <a:cubicBezTo>
                  <a:pt x="1780" y="1501"/>
                  <a:pt x="1778" y="1501"/>
                  <a:pt x="1776" y="1502"/>
                </a:cubicBezTo>
                <a:cubicBezTo>
                  <a:pt x="1775" y="1503"/>
                  <a:pt x="1772" y="1504"/>
                  <a:pt x="1771" y="1504"/>
                </a:cubicBezTo>
                <a:cubicBezTo>
                  <a:pt x="1771" y="1504"/>
                  <a:pt x="1771" y="1504"/>
                  <a:pt x="1771" y="1514"/>
                </a:cubicBezTo>
                <a:cubicBezTo>
                  <a:pt x="1774" y="1513"/>
                  <a:pt x="1777" y="1512"/>
                  <a:pt x="1779" y="1511"/>
                </a:cubicBezTo>
                <a:cubicBezTo>
                  <a:pt x="1781" y="1510"/>
                  <a:pt x="1784" y="1509"/>
                  <a:pt x="1785" y="1507"/>
                </a:cubicBezTo>
                <a:cubicBezTo>
                  <a:pt x="1785" y="1507"/>
                  <a:pt x="1785" y="1507"/>
                  <a:pt x="1785" y="1566"/>
                </a:cubicBezTo>
                <a:cubicBezTo>
                  <a:pt x="1785" y="1566"/>
                  <a:pt x="1785" y="1566"/>
                  <a:pt x="1797" y="1566"/>
                </a:cubicBezTo>
                <a:cubicBezTo>
                  <a:pt x="1797" y="1566"/>
                  <a:pt x="1797" y="1566"/>
                  <a:pt x="1797" y="1493"/>
                </a:cubicBezTo>
                <a:close/>
                <a:moveTo>
                  <a:pt x="1920" y="1493"/>
                </a:moveTo>
                <a:cubicBezTo>
                  <a:pt x="1920" y="1493"/>
                  <a:pt x="1920" y="1493"/>
                  <a:pt x="1920" y="1493"/>
                </a:cubicBezTo>
                <a:cubicBezTo>
                  <a:pt x="1915" y="1493"/>
                  <a:pt x="1915" y="1493"/>
                  <a:pt x="1915" y="1493"/>
                </a:cubicBezTo>
                <a:cubicBezTo>
                  <a:pt x="1913" y="1494"/>
                  <a:pt x="1911" y="1496"/>
                  <a:pt x="1909" y="1496"/>
                </a:cubicBezTo>
                <a:cubicBezTo>
                  <a:pt x="1908" y="1498"/>
                  <a:pt x="1906" y="1498"/>
                  <a:pt x="1904" y="1499"/>
                </a:cubicBezTo>
                <a:cubicBezTo>
                  <a:pt x="1903" y="1501"/>
                  <a:pt x="1900" y="1501"/>
                  <a:pt x="1899" y="1502"/>
                </a:cubicBezTo>
                <a:cubicBezTo>
                  <a:pt x="1897" y="1503"/>
                  <a:pt x="1895" y="1504"/>
                  <a:pt x="1893" y="1504"/>
                </a:cubicBezTo>
                <a:cubicBezTo>
                  <a:pt x="1893" y="1504"/>
                  <a:pt x="1893" y="1504"/>
                  <a:pt x="1893" y="1514"/>
                </a:cubicBezTo>
                <a:cubicBezTo>
                  <a:pt x="1896" y="1513"/>
                  <a:pt x="1899" y="1512"/>
                  <a:pt x="1902" y="1511"/>
                </a:cubicBezTo>
                <a:cubicBezTo>
                  <a:pt x="1904" y="1510"/>
                  <a:pt x="1906" y="1509"/>
                  <a:pt x="1909" y="1507"/>
                </a:cubicBezTo>
                <a:cubicBezTo>
                  <a:pt x="1909" y="1507"/>
                  <a:pt x="1909" y="1507"/>
                  <a:pt x="1909" y="1566"/>
                </a:cubicBezTo>
                <a:cubicBezTo>
                  <a:pt x="1909" y="1566"/>
                  <a:pt x="1909" y="1566"/>
                  <a:pt x="1920" y="1566"/>
                </a:cubicBezTo>
                <a:cubicBezTo>
                  <a:pt x="1920" y="1566"/>
                  <a:pt x="1920" y="1566"/>
                  <a:pt x="1920" y="1493"/>
                </a:cubicBezTo>
                <a:close/>
                <a:moveTo>
                  <a:pt x="1818" y="1525"/>
                </a:moveTo>
                <a:cubicBezTo>
                  <a:pt x="1818" y="1525"/>
                  <a:pt x="1818" y="1525"/>
                  <a:pt x="1818" y="1525"/>
                </a:cubicBezTo>
                <a:cubicBezTo>
                  <a:pt x="1818" y="1533"/>
                  <a:pt x="1818" y="1533"/>
                  <a:pt x="1818" y="1533"/>
                </a:cubicBezTo>
                <a:cubicBezTo>
                  <a:pt x="1824" y="1534"/>
                  <a:pt x="1825" y="1537"/>
                  <a:pt x="1825" y="1539"/>
                </a:cubicBezTo>
                <a:cubicBezTo>
                  <a:pt x="1825" y="1541"/>
                  <a:pt x="1824" y="1544"/>
                  <a:pt x="1824" y="1546"/>
                </a:cubicBezTo>
                <a:cubicBezTo>
                  <a:pt x="1824" y="1549"/>
                  <a:pt x="1824" y="1551"/>
                  <a:pt x="1824" y="1553"/>
                </a:cubicBezTo>
                <a:cubicBezTo>
                  <a:pt x="1824" y="1563"/>
                  <a:pt x="1829" y="1566"/>
                  <a:pt x="1838" y="1566"/>
                </a:cubicBezTo>
                <a:cubicBezTo>
                  <a:pt x="1838" y="1566"/>
                  <a:pt x="1838" y="1566"/>
                  <a:pt x="1842" y="1566"/>
                </a:cubicBezTo>
                <a:cubicBezTo>
                  <a:pt x="1842" y="1566"/>
                  <a:pt x="1842" y="1566"/>
                  <a:pt x="1842" y="1557"/>
                </a:cubicBezTo>
                <a:cubicBezTo>
                  <a:pt x="1842" y="1557"/>
                  <a:pt x="1842" y="1557"/>
                  <a:pt x="1840" y="1557"/>
                </a:cubicBezTo>
                <a:cubicBezTo>
                  <a:pt x="1836" y="1557"/>
                  <a:pt x="1835" y="1555"/>
                  <a:pt x="1835" y="1551"/>
                </a:cubicBezTo>
                <a:cubicBezTo>
                  <a:pt x="1835" y="1550"/>
                  <a:pt x="1835" y="1548"/>
                  <a:pt x="1836" y="1546"/>
                </a:cubicBezTo>
                <a:cubicBezTo>
                  <a:pt x="1836" y="1545"/>
                  <a:pt x="1836" y="1543"/>
                  <a:pt x="1836" y="1540"/>
                </a:cubicBezTo>
                <a:cubicBezTo>
                  <a:pt x="1836" y="1533"/>
                  <a:pt x="1833" y="1530"/>
                  <a:pt x="1828" y="1529"/>
                </a:cubicBezTo>
                <a:cubicBezTo>
                  <a:pt x="1828" y="1529"/>
                  <a:pt x="1828" y="1529"/>
                  <a:pt x="1828" y="1529"/>
                </a:cubicBezTo>
                <a:cubicBezTo>
                  <a:pt x="1833" y="1528"/>
                  <a:pt x="1836" y="1525"/>
                  <a:pt x="1836" y="1518"/>
                </a:cubicBezTo>
                <a:cubicBezTo>
                  <a:pt x="1836" y="1515"/>
                  <a:pt x="1836" y="1513"/>
                  <a:pt x="1836" y="1512"/>
                </a:cubicBezTo>
                <a:cubicBezTo>
                  <a:pt x="1835" y="1510"/>
                  <a:pt x="1835" y="1508"/>
                  <a:pt x="1835" y="1507"/>
                </a:cubicBezTo>
                <a:cubicBezTo>
                  <a:pt x="1835" y="1503"/>
                  <a:pt x="1836" y="1501"/>
                  <a:pt x="1840" y="1501"/>
                </a:cubicBezTo>
                <a:cubicBezTo>
                  <a:pt x="1840" y="1501"/>
                  <a:pt x="1840" y="1501"/>
                  <a:pt x="1842" y="1501"/>
                </a:cubicBezTo>
                <a:cubicBezTo>
                  <a:pt x="1842" y="1501"/>
                  <a:pt x="1842" y="1501"/>
                  <a:pt x="1842" y="1492"/>
                </a:cubicBezTo>
                <a:cubicBezTo>
                  <a:pt x="1842" y="1492"/>
                  <a:pt x="1842" y="1492"/>
                  <a:pt x="1838" y="1492"/>
                </a:cubicBezTo>
                <a:cubicBezTo>
                  <a:pt x="1829" y="1492"/>
                  <a:pt x="1824" y="1496"/>
                  <a:pt x="1824" y="1504"/>
                </a:cubicBezTo>
                <a:cubicBezTo>
                  <a:pt x="1824" y="1507"/>
                  <a:pt x="1824" y="1509"/>
                  <a:pt x="1824" y="1512"/>
                </a:cubicBezTo>
                <a:cubicBezTo>
                  <a:pt x="1824" y="1514"/>
                  <a:pt x="1825" y="1517"/>
                  <a:pt x="1825" y="1519"/>
                </a:cubicBezTo>
                <a:cubicBezTo>
                  <a:pt x="1825" y="1521"/>
                  <a:pt x="1824" y="1525"/>
                  <a:pt x="1818" y="1525"/>
                </a:cubicBezTo>
                <a:close/>
                <a:moveTo>
                  <a:pt x="1873" y="1533"/>
                </a:moveTo>
                <a:cubicBezTo>
                  <a:pt x="1873" y="1533"/>
                  <a:pt x="1873" y="1533"/>
                  <a:pt x="1873" y="1533"/>
                </a:cubicBezTo>
                <a:cubicBezTo>
                  <a:pt x="1873" y="1525"/>
                  <a:pt x="1873" y="1525"/>
                  <a:pt x="1873" y="1525"/>
                </a:cubicBezTo>
                <a:cubicBezTo>
                  <a:pt x="1866" y="1525"/>
                  <a:pt x="1866" y="1521"/>
                  <a:pt x="1866" y="1519"/>
                </a:cubicBezTo>
                <a:cubicBezTo>
                  <a:pt x="1866" y="1517"/>
                  <a:pt x="1866" y="1514"/>
                  <a:pt x="1866" y="1512"/>
                </a:cubicBezTo>
                <a:cubicBezTo>
                  <a:pt x="1867" y="1509"/>
                  <a:pt x="1867" y="1507"/>
                  <a:pt x="1867" y="1504"/>
                </a:cubicBezTo>
                <a:cubicBezTo>
                  <a:pt x="1867" y="1496"/>
                  <a:pt x="1862" y="1492"/>
                  <a:pt x="1852" y="1492"/>
                </a:cubicBezTo>
                <a:cubicBezTo>
                  <a:pt x="1852" y="1492"/>
                  <a:pt x="1852" y="1492"/>
                  <a:pt x="1848" y="1492"/>
                </a:cubicBezTo>
                <a:cubicBezTo>
                  <a:pt x="1848" y="1492"/>
                  <a:pt x="1848" y="1492"/>
                  <a:pt x="1848" y="1501"/>
                </a:cubicBezTo>
                <a:cubicBezTo>
                  <a:pt x="1848" y="1501"/>
                  <a:pt x="1848" y="1501"/>
                  <a:pt x="1850" y="1501"/>
                </a:cubicBezTo>
                <a:cubicBezTo>
                  <a:pt x="1854" y="1501"/>
                  <a:pt x="1855" y="1503"/>
                  <a:pt x="1855" y="1507"/>
                </a:cubicBezTo>
                <a:cubicBezTo>
                  <a:pt x="1855" y="1508"/>
                  <a:pt x="1855" y="1510"/>
                  <a:pt x="1855" y="1512"/>
                </a:cubicBezTo>
                <a:cubicBezTo>
                  <a:pt x="1854" y="1513"/>
                  <a:pt x="1854" y="1515"/>
                  <a:pt x="1854" y="1518"/>
                </a:cubicBezTo>
                <a:cubicBezTo>
                  <a:pt x="1854" y="1525"/>
                  <a:pt x="1857" y="1528"/>
                  <a:pt x="1863" y="1529"/>
                </a:cubicBezTo>
                <a:cubicBezTo>
                  <a:pt x="1863" y="1529"/>
                  <a:pt x="1863" y="1529"/>
                  <a:pt x="1863" y="1529"/>
                </a:cubicBezTo>
                <a:cubicBezTo>
                  <a:pt x="1857" y="1530"/>
                  <a:pt x="1854" y="1533"/>
                  <a:pt x="1854" y="1540"/>
                </a:cubicBezTo>
                <a:cubicBezTo>
                  <a:pt x="1854" y="1543"/>
                  <a:pt x="1854" y="1545"/>
                  <a:pt x="1855" y="1546"/>
                </a:cubicBezTo>
                <a:cubicBezTo>
                  <a:pt x="1855" y="1548"/>
                  <a:pt x="1855" y="1550"/>
                  <a:pt x="1855" y="1551"/>
                </a:cubicBezTo>
                <a:cubicBezTo>
                  <a:pt x="1855" y="1555"/>
                  <a:pt x="1854" y="1557"/>
                  <a:pt x="1850" y="1557"/>
                </a:cubicBezTo>
                <a:cubicBezTo>
                  <a:pt x="1850" y="1557"/>
                  <a:pt x="1850" y="1557"/>
                  <a:pt x="1848" y="1557"/>
                </a:cubicBezTo>
                <a:cubicBezTo>
                  <a:pt x="1848" y="1557"/>
                  <a:pt x="1848" y="1557"/>
                  <a:pt x="1848" y="1566"/>
                </a:cubicBezTo>
                <a:cubicBezTo>
                  <a:pt x="1848" y="1566"/>
                  <a:pt x="1848" y="1566"/>
                  <a:pt x="1852" y="1566"/>
                </a:cubicBezTo>
                <a:cubicBezTo>
                  <a:pt x="1861" y="1566"/>
                  <a:pt x="1867" y="1563"/>
                  <a:pt x="1867" y="1553"/>
                </a:cubicBezTo>
                <a:cubicBezTo>
                  <a:pt x="1867" y="1551"/>
                  <a:pt x="1867" y="1549"/>
                  <a:pt x="1866" y="1546"/>
                </a:cubicBezTo>
                <a:cubicBezTo>
                  <a:pt x="1866" y="1544"/>
                  <a:pt x="1866" y="1541"/>
                  <a:pt x="1866" y="1539"/>
                </a:cubicBezTo>
                <a:cubicBezTo>
                  <a:pt x="1866" y="1537"/>
                  <a:pt x="1866" y="1534"/>
                  <a:pt x="1873" y="1533"/>
                </a:cubicBezTo>
                <a:close/>
                <a:moveTo>
                  <a:pt x="1014" y="1444"/>
                </a:moveTo>
                <a:cubicBezTo>
                  <a:pt x="1014" y="1446"/>
                  <a:pt x="1015" y="1447"/>
                  <a:pt x="1015" y="1448"/>
                </a:cubicBezTo>
                <a:cubicBezTo>
                  <a:pt x="1016" y="1450"/>
                  <a:pt x="1016" y="1452"/>
                  <a:pt x="1017" y="1453"/>
                </a:cubicBezTo>
                <a:cubicBezTo>
                  <a:pt x="1017" y="1455"/>
                  <a:pt x="1017" y="1457"/>
                  <a:pt x="1017" y="1458"/>
                </a:cubicBezTo>
                <a:cubicBezTo>
                  <a:pt x="1018" y="1461"/>
                  <a:pt x="1017" y="1463"/>
                  <a:pt x="1014" y="1463"/>
                </a:cubicBezTo>
                <a:cubicBezTo>
                  <a:pt x="1011" y="1463"/>
                  <a:pt x="1008" y="1463"/>
                  <a:pt x="1005" y="1463"/>
                </a:cubicBezTo>
                <a:cubicBezTo>
                  <a:pt x="1005" y="1463"/>
                  <a:pt x="1004" y="1463"/>
                  <a:pt x="1004" y="1463"/>
                </a:cubicBezTo>
                <a:cubicBezTo>
                  <a:pt x="1002" y="1465"/>
                  <a:pt x="1001" y="1466"/>
                  <a:pt x="999" y="1467"/>
                </a:cubicBezTo>
                <a:cubicBezTo>
                  <a:pt x="997" y="1470"/>
                  <a:pt x="994" y="1470"/>
                  <a:pt x="992" y="1468"/>
                </a:cubicBezTo>
                <a:cubicBezTo>
                  <a:pt x="990" y="1466"/>
                  <a:pt x="989" y="1463"/>
                  <a:pt x="987" y="1461"/>
                </a:cubicBezTo>
                <a:cubicBezTo>
                  <a:pt x="986" y="1459"/>
                  <a:pt x="987" y="1457"/>
                  <a:pt x="989" y="1456"/>
                </a:cubicBezTo>
                <a:cubicBezTo>
                  <a:pt x="986" y="1456"/>
                  <a:pt x="985" y="1456"/>
                  <a:pt x="983" y="1456"/>
                </a:cubicBezTo>
                <a:cubicBezTo>
                  <a:pt x="982" y="1458"/>
                  <a:pt x="981" y="1460"/>
                  <a:pt x="980" y="1462"/>
                </a:cubicBezTo>
                <a:cubicBezTo>
                  <a:pt x="980" y="1463"/>
                  <a:pt x="980" y="1463"/>
                  <a:pt x="980" y="1464"/>
                </a:cubicBezTo>
                <a:cubicBezTo>
                  <a:pt x="980" y="1467"/>
                  <a:pt x="979" y="1469"/>
                  <a:pt x="976" y="1468"/>
                </a:cubicBezTo>
                <a:cubicBezTo>
                  <a:pt x="973" y="1468"/>
                  <a:pt x="970" y="1467"/>
                  <a:pt x="967" y="1466"/>
                </a:cubicBezTo>
                <a:cubicBezTo>
                  <a:pt x="965" y="1465"/>
                  <a:pt x="964" y="1464"/>
                  <a:pt x="965" y="1462"/>
                </a:cubicBezTo>
                <a:cubicBezTo>
                  <a:pt x="965" y="1461"/>
                  <a:pt x="965" y="1460"/>
                  <a:pt x="965" y="1460"/>
                </a:cubicBezTo>
                <a:cubicBezTo>
                  <a:pt x="963" y="1459"/>
                  <a:pt x="961" y="1458"/>
                  <a:pt x="959" y="1457"/>
                </a:cubicBezTo>
                <a:cubicBezTo>
                  <a:pt x="958" y="1456"/>
                  <a:pt x="956" y="1454"/>
                  <a:pt x="956" y="1452"/>
                </a:cubicBezTo>
                <a:cubicBezTo>
                  <a:pt x="955" y="1450"/>
                  <a:pt x="955" y="1449"/>
                  <a:pt x="957" y="1447"/>
                </a:cubicBezTo>
                <a:cubicBezTo>
                  <a:pt x="960" y="1445"/>
                  <a:pt x="961" y="1442"/>
                  <a:pt x="960" y="1438"/>
                </a:cubicBezTo>
                <a:cubicBezTo>
                  <a:pt x="960" y="1436"/>
                  <a:pt x="960" y="1434"/>
                  <a:pt x="960" y="1432"/>
                </a:cubicBezTo>
                <a:cubicBezTo>
                  <a:pt x="959" y="1431"/>
                  <a:pt x="957" y="1431"/>
                  <a:pt x="956" y="1430"/>
                </a:cubicBezTo>
                <a:cubicBezTo>
                  <a:pt x="955" y="1428"/>
                  <a:pt x="954" y="1426"/>
                  <a:pt x="954" y="1424"/>
                </a:cubicBezTo>
                <a:cubicBezTo>
                  <a:pt x="954" y="1421"/>
                  <a:pt x="957" y="1419"/>
                  <a:pt x="960" y="1418"/>
                </a:cubicBezTo>
                <a:cubicBezTo>
                  <a:pt x="960" y="1419"/>
                  <a:pt x="960" y="1419"/>
                  <a:pt x="961" y="1420"/>
                </a:cubicBezTo>
                <a:cubicBezTo>
                  <a:pt x="961" y="1421"/>
                  <a:pt x="961" y="1422"/>
                  <a:pt x="961" y="1423"/>
                </a:cubicBezTo>
                <a:cubicBezTo>
                  <a:pt x="960" y="1423"/>
                  <a:pt x="960" y="1423"/>
                  <a:pt x="960" y="1423"/>
                </a:cubicBezTo>
                <a:cubicBezTo>
                  <a:pt x="959" y="1424"/>
                  <a:pt x="959" y="1425"/>
                  <a:pt x="958" y="1427"/>
                </a:cubicBezTo>
                <a:cubicBezTo>
                  <a:pt x="959" y="1427"/>
                  <a:pt x="960" y="1427"/>
                  <a:pt x="960" y="1427"/>
                </a:cubicBezTo>
                <a:cubicBezTo>
                  <a:pt x="961" y="1425"/>
                  <a:pt x="962" y="1425"/>
                  <a:pt x="963" y="1423"/>
                </a:cubicBezTo>
                <a:cubicBezTo>
                  <a:pt x="967" y="1417"/>
                  <a:pt x="973" y="1413"/>
                  <a:pt x="981" y="1411"/>
                </a:cubicBezTo>
                <a:cubicBezTo>
                  <a:pt x="984" y="1411"/>
                  <a:pt x="988" y="1410"/>
                  <a:pt x="990" y="1407"/>
                </a:cubicBezTo>
                <a:cubicBezTo>
                  <a:pt x="990" y="1406"/>
                  <a:pt x="991" y="1406"/>
                  <a:pt x="991" y="1406"/>
                </a:cubicBezTo>
                <a:cubicBezTo>
                  <a:pt x="994" y="1406"/>
                  <a:pt x="995" y="1403"/>
                  <a:pt x="997" y="1401"/>
                </a:cubicBezTo>
                <a:cubicBezTo>
                  <a:pt x="1005" y="1394"/>
                  <a:pt x="1017" y="1393"/>
                  <a:pt x="1025" y="1400"/>
                </a:cubicBezTo>
                <a:cubicBezTo>
                  <a:pt x="1027" y="1402"/>
                  <a:pt x="1030" y="1404"/>
                  <a:pt x="1032" y="1406"/>
                </a:cubicBezTo>
                <a:cubicBezTo>
                  <a:pt x="1034" y="1407"/>
                  <a:pt x="1035" y="1409"/>
                  <a:pt x="1036" y="1411"/>
                </a:cubicBezTo>
                <a:cubicBezTo>
                  <a:pt x="1037" y="1412"/>
                  <a:pt x="1038" y="1412"/>
                  <a:pt x="1039" y="1411"/>
                </a:cubicBezTo>
                <a:cubicBezTo>
                  <a:pt x="1040" y="1411"/>
                  <a:pt x="1040" y="1410"/>
                  <a:pt x="1041" y="1409"/>
                </a:cubicBezTo>
                <a:cubicBezTo>
                  <a:pt x="1043" y="1406"/>
                  <a:pt x="1046" y="1406"/>
                  <a:pt x="1047" y="1410"/>
                </a:cubicBezTo>
                <a:cubicBezTo>
                  <a:pt x="1049" y="1413"/>
                  <a:pt x="1049" y="1415"/>
                  <a:pt x="1050" y="1419"/>
                </a:cubicBezTo>
                <a:cubicBezTo>
                  <a:pt x="1051" y="1423"/>
                  <a:pt x="1050" y="1427"/>
                  <a:pt x="1049" y="1432"/>
                </a:cubicBezTo>
                <a:cubicBezTo>
                  <a:pt x="1046" y="1438"/>
                  <a:pt x="1042" y="1442"/>
                  <a:pt x="1035" y="1442"/>
                </a:cubicBezTo>
                <a:cubicBezTo>
                  <a:pt x="1034" y="1442"/>
                  <a:pt x="1034" y="1442"/>
                  <a:pt x="1033" y="1442"/>
                </a:cubicBezTo>
                <a:cubicBezTo>
                  <a:pt x="1030" y="1441"/>
                  <a:pt x="1029" y="1442"/>
                  <a:pt x="1029" y="1444"/>
                </a:cubicBezTo>
                <a:cubicBezTo>
                  <a:pt x="1027" y="1448"/>
                  <a:pt x="1021" y="1450"/>
                  <a:pt x="1018" y="1447"/>
                </a:cubicBezTo>
                <a:cubicBezTo>
                  <a:pt x="1017" y="1446"/>
                  <a:pt x="1016" y="1445"/>
                  <a:pt x="1015" y="1444"/>
                </a:cubicBezTo>
                <a:cubicBezTo>
                  <a:pt x="1014" y="1444"/>
                  <a:pt x="1014" y="1444"/>
                  <a:pt x="1014" y="1444"/>
                </a:cubicBezTo>
                <a:close/>
                <a:moveTo>
                  <a:pt x="1008" y="1440"/>
                </a:moveTo>
                <a:cubicBezTo>
                  <a:pt x="1012" y="1441"/>
                  <a:pt x="1015" y="1442"/>
                  <a:pt x="1018" y="1445"/>
                </a:cubicBezTo>
                <a:cubicBezTo>
                  <a:pt x="1020" y="1447"/>
                  <a:pt x="1022" y="1448"/>
                  <a:pt x="1024" y="1447"/>
                </a:cubicBezTo>
                <a:cubicBezTo>
                  <a:pt x="1027" y="1446"/>
                  <a:pt x="1028" y="1444"/>
                  <a:pt x="1028" y="1441"/>
                </a:cubicBezTo>
                <a:cubicBezTo>
                  <a:pt x="1028" y="1441"/>
                  <a:pt x="1027" y="1441"/>
                  <a:pt x="1027" y="1442"/>
                </a:cubicBezTo>
                <a:cubicBezTo>
                  <a:pt x="1027" y="1443"/>
                  <a:pt x="1025" y="1444"/>
                  <a:pt x="1025" y="1445"/>
                </a:cubicBezTo>
                <a:cubicBezTo>
                  <a:pt x="1023" y="1446"/>
                  <a:pt x="1022" y="1446"/>
                  <a:pt x="1021" y="1446"/>
                </a:cubicBezTo>
                <a:cubicBezTo>
                  <a:pt x="1021" y="1446"/>
                  <a:pt x="1020" y="1444"/>
                  <a:pt x="1020" y="1444"/>
                </a:cubicBezTo>
                <a:cubicBezTo>
                  <a:pt x="1020" y="1441"/>
                  <a:pt x="1021" y="1439"/>
                  <a:pt x="1021" y="1437"/>
                </a:cubicBezTo>
                <a:cubicBezTo>
                  <a:pt x="1024" y="1438"/>
                  <a:pt x="1027" y="1439"/>
                  <a:pt x="1031" y="1440"/>
                </a:cubicBezTo>
                <a:cubicBezTo>
                  <a:pt x="1038" y="1441"/>
                  <a:pt x="1044" y="1439"/>
                  <a:pt x="1047" y="1431"/>
                </a:cubicBezTo>
                <a:cubicBezTo>
                  <a:pt x="1049" y="1426"/>
                  <a:pt x="1049" y="1421"/>
                  <a:pt x="1048" y="1416"/>
                </a:cubicBezTo>
                <a:cubicBezTo>
                  <a:pt x="1047" y="1414"/>
                  <a:pt x="1047" y="1412"/>
                  <a:pt x="1046" y="1410"/>
                </a:cubicBezTo>
                <a:cubicBezTo>
                  <a:pt x="1045" y="1409"/>
                  <a:pt x="1044" y="1408"/>
                  <a:pt x="1043" y="1410"/>
                </a:cubicBezTo>
                <a:cubicBezTo>
                  <a:pt x="1041" y="1412"/>
                  <a:pt x="1040" y="1413"/>
                  <a:pt x="1038" y="1414"/>
                </a:cubicBezTo>
                <a:cubicBezTo>
                  <a:pt x="1037" y="1414"/>
                  <a:pt x="1036" y="1415"/>
                  <a:pt x="1036" y="1416"/>
                </a:cubicBezTo>
                <a:cubicBezTo>
                  <a:pt x="1037" y="1419"/>
                  <a:pt x="1036" y="1423"/>
                  <a:pt x="1035" y="1426"/>
                </a:cubicBezTo>
                <a:cubicBezTo>
                  <a:pt x="1035" y="1424"/>
                  <a:pt x="1036" y="1422"/>
                  <a:pt x="1036" y="1420"/>
                </a:cubicBezTo>
                <a:cubicBezTo>
                  <a:pt x="1036" y="1419"/>
                  <a:pt x="1035" y="1419"/>
                  <a:pt x="1035" y="1419"/>
                </a:cubicBezTo>
                <a:cubicBezTo>
                  <a:pt x="1034" y="1419"/>
                  <a:pt x="1034" y="1419"/>
                  <a:pt x="1034" y="1419"/>
                </a:cubicBezTo>
                <a:cubicBezTo>
                  <a:pt x="1033" y="1421"/>
                  <a:pt x="1032" y="1422"/>
                  <a:pt x="1031" y="1423"/>
                </a:cubicBezTo>
                <a:cubicBezTo>
                  <a:pt x="1031" y="1423"/>
                  <a:pt x="1031" y="1423"/>
                  <a:pt x="1031" y="1423"/>
                </a:cubicBezTo>
                <a:cubicBezTo>
                  <a:pt x="1031" y="1422"/>
                  <a:pt x="1032" y="1420"/>
                  <a:pt x="1032" y="1418"/>
                </a:cubicBezTo>
                <a:cubicBezTo>
                  <a:pt x="1031" y="1419"/>
                  <a:pt x="1030" y="1419"/>
                  <a:pt x="1030" y="1420"/>
                </a:cubicBezTo>
                <a:cubicBezTo>
                  <a:pt x="1029" y="1420"/>
                  <a:pt x="1029" y="1421"/>
                  <a:pt x="1029" y="1422"/>
                </a:cubicBezTo>
                <a:cubicBezTo>
                  <a:pt x="1029" y="1418"/>
                  <a:pt x="1029" y="1418"/>
                  <a:pt x="1035" y="1417"/>
                </a:cubicBezTo>
                <a:cubicBezTo>
                  <a:pt x="1035" y="1417"/>
                  <a:pt x="1034" y="1416"/>
                  <a:pt x="1034" y="1416"/>
                </a:cubicBezTo>
                <a:cubicBezTo>
                  <a:pt x="1031" y="1417"/>
                  <a:pt x="1030" y="1415"/>
                  <a:pt x="1030" y="1413"/>
                </a:cubicBezTo>
                <a:cubicBezTo>
                  <a:pt x="1032" y="1412"/>
                  <a:pt x="1033" y="1412"/>
                  <a:pt x="1035" y="1412"/>
                </a:cubicBezTo>
                <a:cubicBezTo>
                  <a:pt x="1033" y="1409"/>
                  <a:pt x="1032" y="1406"/>
                  <a:pt x="1029" y="1406"/>
                </a:cubicBezTo>
                <a:cubicBezTo>
                  <a:pt x="1028" y="1406"/>
                  <a:pt x="1028" y="1406"/>
                  <a:pt x="1028" y="1405"/>
                </a:cubicBezTo>
                <a:cubicBezTo>
                  <a:pt x="1025" y="1403"/>
                  <a:pt x="1023" y="1401"/>
                  <a:pt x="1020" y="1399"/>
                </a:cubicBezTo>
                <a:cubicBezTo>
                  <a:pt x="1018" y="1398"/>
                  <a:pt x="1015" y="1397"/>
                  <a:pt x="1013" y="1397"/>
                </a:cubicBezTo>
                <a:cubicBezTo>
                  <a:pt x="1010" y="1397"/>
                  <a:pt x="1006" y="1398"/>
                  <a:pt x="1003" y="1399"/>
                </a:cubicBezTo>
                <a:cubicBezTo>
                  <a:pt x="1001" y="1400"/>
                  <a:pt x="998" y="1402"/>
                  <a:pt x="996" y="1405"/>
                </a:cubicBezTo>
                <a:cubicBezTo>
                  <a:pt x="998" y="1405"/>
                  <a:pt x="999" y="1405"/>
                  <a:pt x="1000" y="1405"/>
                </a:cubicBezTo>
                <a:cubicBezTo>
                  <a:pt x="1000" y="1406"/>
                  <a:pt x="999" y="1406"/>
                  <a:pt x="998" y="1406"/>
                </a:cubicBezTo>
                <a:cubicBezTo>
                  <a:pt x="996" y="1407"/>
                  <a:pt x="993" y="1406"/>
                  <a:pt x="991" y="1408"/>
                </a:cubicBezTo>
                <a:cubicBezTo>
                  <a:pt x="988" y="1412"/>
                  <a:pt x="984" y="1416"/>
                  <a:pt x="980" y="1420"/>
                </a:cubicBezTo>
                <a:cubicBezTo>
                  <a:pt x="978" y="1422"/>
                  <a:pt x="978" y="1425"/>
                  <a:pt x="976" y="1427"/>
                </a:cubicBezTo>
                <a:cubicBezTo>
                  <a:pt x="976" y="1427"/>
                  <a:pt x="976" y="1428"/>
                  <a:pt x="977" y="1429"/>
                </a:cubicBezTo>
                <a:cubicBezTo>
                  <a:pt x="978" y="1431"/>
                  <a:pt x="979" y="1433"/>
                  <a:pt x="981" y="1434"/>
                </a:cubicBezTo>
                <a:cubicBezTo>
                  <a:pt x="982" y="1433"/>
                  <a:pt x="983" y="1431"/>
                  <a:pt x="984" y="1430"/>
                </a:cubicBezTo>
                <a:cubicBezTo>
                  <a:pt x="984" y="1431"/>
                  <a:pt x="984" y="1433"/>
                  <a:pt x="983" y="1434"/>
                </a:cubicBezTo>
                <a:cubicBezTo>
                  <a:pt x="982" y="1435"/>
                  <a:pt x="981" y="1436"/>
                  <a:pt x="981" y="1438"/>
                </a:cubicBezTo>
                <a:cubicBezTo>
                  <a:pt x="980" y="1439"/>
                  <a:pt x="981" y="1440"/>
                  <a:pt x="981" y="1441"/>
                </a:cubicBezTo>
                <a:cubicBezTo>
                  <a:pt x="984" y="1444"/>
                  <a:pt x="987" y="1444"/>
                  <a:pt x="991" y="1442"/>
                </a:cubicBezTo>
                <a:cubicBezTo>
                  <a:pt x="993" y="1441"/>
                  <a:pt x="996" y="1440"/>
                  <a:pt x="999" y="1439"/>
                </a:cubicBezTo>
                <a:cubicBezTo>
                  <a:pt x="1000" y="1438"/>
                  <a:pt x="1001" y="1438"/>
                  <a:pt x="1001" y="1436"/>
                </a:cubicBezTo>
                <a:cubicBezTo>
                  <a:pt x="1001" y="1433"/>
                  <a:pt x="1001" y="1429"/>
                  <a:pt x="1001" y="1426"/>
                </a:cubicBezTo>
                <a:cubicBezTo>
                  <a:pt x="1001" y="1423"/>
                  <a:pt x="1001" y="1420"/>
                  <a:pt x="1001" y="1417"/>
                </a:cubicBezTo>
                <a:cubicBezTo>
                  <a:pt x="1002" y="1420"/>
                  <a:pt x="1002" y="1423"/>
                  <a:pt x="1003" y="1425"/>
                </a:cubicBezTo>
                <a:cubicBezTo>
                  <a:pt x="1004" y="1430"/>
                  <a:pt x="1004" y="1434"/>
                  <a:pt x="1002" y="1438"/>
                </a:cubicBezTo>
                <a:cubicBezTo>
                  <a:pt x="1002" y="1439"/>
                  <a:pt x="1001" y="1440"/>
                  <a:pt x="1001" y="1440"/>
                </a:cubicBezTo>
                <a:cubicBezTo>
                  <a:pt x="997" y="1440"/>
                  <a:pt x="994" y="1442"/>
                  <a:pt x="991" y="1444"/>
                </a:cubicBezTo>
                <a:cubicBezTo>
                  <a:pt x="986" y="1447"/>
                  <a:pt x="982" y="1445"/>
                  <a:pt x="979" y="1441"/>
                </a:cubicBezTo>
                <a:cubicBezTo>
                  <a:pt x="978" y="1441"/>
                  <a:pt x="978" y="1440"/>
                  <a:pt x="979" y="1439"/>
                </a:cubicBezTo>
                <a:cubicBezTo>
                  <a:pt x="980" y="1437"/>
                  <a:pt x="979" y="1435"/>
                  <a:pt x="977" y="1433"/>
                </a:cubicBezTo>
                <a:cubicBezTo>
                  <a:pt x="976" y="1431"/>
                  <a:pt x="974" y="1429"/>
                  <a:pt x="975" y="1426"/>
                </a:cubicBezTo>
                <a:cubicBezTo>
                  <a:pt x="976" y="1424"/>
                  <a:pt x="977" y="1422"/>
                  <a:pt x="978" y="1421"/>
                </a:cubicBezTo>
                <a:cubicBezTo>
                  <a:pt x="980" y="1418"/>
                  <a:pt x="982" y="1415"/>
                  <a:pt x="984" y="1413"/>
                </a:cubicBezTo>
                <a:cubicBezTo>
                  <a:pt x="984" y="1413"/>
                  <a:pt x="983" y="1413"/>
                  <a:pt x="983" y="1413"/>
                </a:cubicBezTo>
                <a:cubicBezTo>
                  <a:pt x="978" y="1414"/>
                  <a:pt x="973" y="1415"/>
                  <a:pt x="969" y="1419"/>
                </a:cubicBezTo>
                <a:cubicBezTo>
                  <a:pt x="965" y="1423"/>
                  <a:pt x="962" y="1428"/>
                  <a:pt x="961" y="1435"/>
                </a:cubicBezTo>
                <a:cubicBezTo>
                  <a:pt x="961" y="1442"/>
                  <a:pt x="963" y="1448"/>
                  <a:pt x="967" y="1453"/>
                </a:cubicBezTo>
                <a:cubicBezTo>
                  <a:pt x="967" y="1454"/>
                  <a:pt x="968" y="1456"/>
                  <a:pt x="968" y="1457"/>
                </a:cubicBezTo>
                <a:cubicBezTo>
                  <a:pt x="968" y="1459"/>
                  <a:pt x="967" y="1460"/>
                  <a:pt x="967" y="1461"/>
                </a:cubicBezTo>
                <a:cubicBezTo>
                  <a:pt x="966" y="1463"/>
                  <a:pt x="967" y="1464"/>
                  <a:pt x="968" y="1465"/>
                </a:cubicBezTo>
                <a:cubicBezTo>
                  <a:pt x="971" y="1465"/>
                  <a:pt x="974" y="1466"/>
                  <a:pt x="976" y="1466"/>
                </a:cubicBezTo>
                <a:cubicBezTo>
                  <a:pt x="977" y="1466"/>
                  <a:pt x="978" y="1465"/>
                  <a:pt x="978" y="1465"/>
                </a:cubicBezTo>
                <a:cubicBezTo>
                  <a:pt x="978" y="1464"/>
                  <a:pt x="978" y="1462"/>
                  <a:pt x="979" y="1461"/>
                </a:cubicBezTo>
                <a:cubicBezTo>
                  <a:pt x="981" y="1459"/>
                  <a:pt x="981" y="1456"/>
                  <a:pt x="981" y="1453"/>
                </a:cubicBezTo>
                <a:cubicBezTo>
                  <a:pt x="981" y="1453"/>
                  <a:pt x="981" y="1453"/>
                  <a:pt x="981" y="1452"/>
                </a:cubicBezTo>
                <a:cubicBezTo>
                  <a:pt x="981" y="1452"/>
                  <a:pt x="981" y="1452"/>
                  <a:pt x="981" y="1452"/>
                </a:cubicBezTo>
                <a:cubicBezTo>
                  <a:pt x="982" y="1454"/>
                  <a:pt x="983" y="1454"/>
                  <a:pt x="985" y="1454"/>
                </a:cubicBezTo>
                <a:cubicBezTo>
                  <a:pt x="986" y="1454"/>
                  <a:pt x="987" y="1454"/>
                  <a:pt x="988" y="1454"/>
                </a:cubicBezTo>
                <a:cubicBezTo>
                  <a:pt x="990" y="1454"/>
                  <a:pt x="993" y="1455"/>
                  <a:pt x="994" y="1451"/>
                </a:cubicBezTo>
                <a:cubicBezTo>
                  <a:pt x="994" y="1453"/>
                  <a:pt x="994" y="1455"/>
                  <a:pt x="994" y="1455"/>
                </a:cubicBezTo>
                <a:cubicBezTo>
                  <a:pt x="993" y="1456"/>
                  <a:pt x="991" y="1457"/>
                  <a:pt x="990" y="1457"/>
                </a:cubicBezTo>
                <a:cubicBezTo>
                  <a:pt x="989" y="1458"/>
                  <a:pt x="988" y="1460"/>
                  <a:pt x="989" y="1461"/>
                </a:cubicBezTo>
                <a:cubicBezTo>
                  <a:pt x="990" y="1463"/>
                  <a:pt x="991" y="1465"/>
                  <a:pt x="993" y="1467"/>
                </a:cubicBezTo>
                <a:cubicBezTo>
                  <a:pt x="995" y="1468"/>
                  <a:pt x="997" y="1468"/>
                  <a:pt x="998" y="1466"/>
                </a:cubicBezTo>
                <a:cubicBezTo>
                  <a:pt x="999" y="1465"/>
                  <a:pt x="999" y="1465"/>
                  <a:pt x="1000" y="1464"/>
                </a:cubicBezTo>
                <a:cubicBezTo>
                  <a:pt x="1002" y="1463"/>
                  <a:pt x="1003" y="1461"/>
                  <a:pt x="1005" y="1460"/>
                </a:cubicBezTo>
                <a:cubicBezTo>
                  <a:pt x="1009" y="1456"/>
                  <a:pt x="1011" y="1450"/>
                  <a:pt x="1013" y="1444"/>
                </a:cubicBezTo>
                <a:cubicBezTo>
                  <a:pt x="1013" y="1444"/>
                  <a:pt x="1012" y="1443"/>
                  <a:pt x="1012" y="1442"/>
                </a:cubicBezTo>
                <a:cubicBezTo>
                  <a:pt x="1011" y="1441"/>
                  <a:pt x="1010" y="1440"/>
                  <a:pt x="1008" y="1440"/>
                </a:cubicBezTo>
                <a:close/>
                <a:moveTo>
                  <a:pt x="961" y="1446"/>
                </a:moveTo>
                <a:cubicBezTo>
                  <a:pt x="960" y="1447"/>
                  <a:pt x="959" y="1448"/>
                  <a:pt x="958" y="1449"/>
                </a:cubicBezTo>
                <a:cubicBezTo>
                  <a:pt x="957" y="1449"/>
                  <a:pt x="957" y="1450"/>
                  <a:pt x="957" y="1451"/>
                </a:cubicBezTo>
                <a:cubicBezTo>
                  <a:pt x="957" y="1453"/>
                  <a:pt x="961" y="1458"/>
                  <a:pt x="964" y="1457"/>
                </a:cubicBezTo>
                <a:cubicBezTo>
                  <a:pt x="966" y="1457"/>
                  <a:pt x="967" y="1456"/>
                  <a:pt x="966" y="1455"/>
                </a:cubicBezTo>
                <a:cubicBezTo>
                  <a:pt x="964" y="1452"/>
                  <a:pt x="963" y="1449"/>
                  <a:pt x="961" y="1446"/>
                </a:cubicBezTo>
                <a:close/>
                <a:moveTo>
                  <a:pt x="1014" y="1448"/>
                </a:moveTo>
                <a:cubicBezTo>
                  <a:pt x="1012" y="1453"/>
                  <a:pt x="1009" y="1457"/>
                  <a:pt x="1007" y="1461"/>
                </a:cubicBezTo>
                <a:cubicBezTo>
                  <a:pt x="1010" y="1461"/>
                  <a:pt x="1012" y="1462"/>
                  <a:pt x="1015" y="1461"/>
                </a:cubicBezTo>
                <a:cubicBezTo>
                  <a:pt x="1015" y="1461"/>
                  <a:pt x="1015" y="1460"/>
                  <a:pt x="1015" y="1460"/>
                </a:cubicBezTo>
                <a:cubicBezTo>
                  <a:pt x="1015" y="1457"/>
                  <a:pt x="1015" y="1455"/>
                  <a:pt x="1015" y="1452"/>
                </a:cubicBezTo>
                <a:cubicBezTo>
                  <a:pt x="1015" y="1451"/>
                  <a:pt x="1014" y="1450"/>
                  <a:pt x="1014" y="1448"/>
                </a:cubicBezTo>
                <a:close/>
                <a:moveTo>
                  <a:pt x="961" y="1428"/>
                </a:moveTo>
                <a:cubicBezTo>
                  <a:pt x="960" y="1428"/>
                  <a:pt x="960" y="1429"/>
                  <a:pt x="959" y="1429"/>
                </a:cubicBezTo>
                <a:cubicBezTo>
                  <a:pt x="958" y="1429"/>
                  <a:pt x="958" y="1429"/>
                  <a:pt x="958" y="1428"/>
                </a:cubicBezTo>
                <a:cubicBezTo>
                  <a:pt x="957" y="1428"/>
                  <a:pt x="957" y="1427"/>
                  <a:pt x="957" y="1426"/>
                </a:cubicBezTo>
                <a:cubicBezTo>
                  <a:pt x="958" y="1424"/>
                  <a:pt x="958" y="1422"/>
                  <a:pt x="959" y="1420"/>
                </a:cubicBezTo>
                <a:cubicBezTo>
                  <a:pt x="958" y="1420"/>
                  <a:pt x="958" y="1420"/>
                  <a:pt x="958" y="1420"/>
                </a:cubicBezTo>
                <a:cubicBezTo>
                  <a:pt x="957" y="1421"/>
                  <a:pt x="956" y="1422"/>
                  <a:pt x="955" y="1423"/>
                </a:cubicBezTo>
                <a:cubicBezTo>
                  <a:pt x="954" y="1424"/>
                  <a:pt x="956" y="1429"/>
                  <a:pt x="958" y="1430"/>
                </a:cubicBezTo>
                <a:cubicBezTo>
                  <a:pt x="959" y="1431"/>
                  <a:pt x="961" y="1430"/>
                  <a:pt x="961" y="1428"/>
                </a:cubicBezTo>
                <a:close/>
                <a:moveTo>
                  <a:pt x="961" y="1446"/>
                </a:moveTo>
                <a:cubicBezTo>
                  <a:pt x="960" y="1447"/>
                  <a:pt x="959" y="1448"/>
                  <a:pt x="958" y="1449"/>
                </a:cubicBezTo>
                <a:cubicBezTo>
                  <a:pt x="957" y="1449"/>
                  <a:pt x="957" y="1450"/>
                  <a:pt x="957" y="1451"/>
                </a:cubicBezTo>
                <a:cubicBezTo>
                  <a:pt x="957" y="1454"/>
                  <a:pt x="961" y="1458"/>
                  <a:pt x="964" y="1458"/>
                </a:cubicBezTo>
                <a:cubicBezTo>
                  <a:pt x="966" y="1458"/>
                  <a:pt x="967" y="1457"/>
                  <a:pt x="966" y="1455"/>
                </a:cubicBezTo>
                <a:cubicBezTo>
                  <a:pt x="964" y="1452"/>
                  <a:pt x="963" y="1449"/>
                  <a:pt x="961" y="1446"/>
                </a:cubicBezTo>
                <a:close/>
                <a:moveTo>
                  <a:pt x="1014" y="1448"/>
                </a:moveTo>
                <a:cubicBezTo>
                  <a:pt x="1012" y="1453"/>
                  <a:pt x="1009" y="1457"/>
                  <a:pt x="1007" y="1462"/>
                </a:cubicBezTo>
                <a:cubicBezTo>
                  <a:pt x="1010" y="1462"/>
                  <a:pt x="1012" y="1462"/>
                  <a:pt x="1015" y="1462"/>
                </a:cubicBezTo>
                <a:cubicBezTo>
                  <a:pt x="1015" y="1462"/>
                  <a:pt x="1016" y="1460"/>
                  <a:pt x="1016" y="1460"/>
                </a:cubicBezTo>
                <a:cubicBezTo>
                  <a:pt x="1016" y="1457"/>
                  <a:pt x="1016" y="1455"/>
                  <a:pt x="1015" y="1452"/>
                </a:cubicBezTo>
                <a:cubicBezTo>
                  <a:pt x="1015" y="1451"/>
                  <a:pt x="1014" y="1450"/>
                  <a:pt x="1014" y="1448"/>
                </a:cubicBezTo>
                <a:close/>
                <a:moveTo>
                  <a:pt x="961" y="1428"/>
                </a:moveTo>
                <a:cubicBezTo>
                  <a:pt x="961" y="1428"/>
                  <a:pt x="960" y="1429"/>
                  <a:pt x="959" y="1429"/>
                </a:cubicBezTo>
                <a:cubicBezTo>
                  <a:pt x="959" y="1429"/>
                  <a:pt x="958" y="1429"/>
                  <a:pt x="958" y="1428"/>
                </a:cubicBezTo>
                <a:cubicBezTo>
                  <a:pt x="957" y="1428"/>
                  <a:pt x="957" y="1427"/>
                  <a:pt x="957" y="1426"/>
                </a:cubicBezTo>
                <a:cubicBezTo>
                  <a:pt x="958" y="1424"/>
                  <a:pt x="958" y="1422"/>
                  <a:pt x="959" y="1420"/>
                </a:cubicBezTo>
                <a:cubicBezTo>
                  <a:pt x="959" y="1420"/>
                  <a:pt x="959" y="1420"/>
                  <a:pt x="958" y="1420"/>
                </a:cubicBezTo>
                <a:cubicBezTo>
                  <a:pt x="957" y="1421"/>
                  <a:pt x="956" y="1422"/>
                  <a:pt x="955" y="1423"/>
                </a:cubicBezTo>
                <a:cubicBezTo>
                  <a:pt x="955" y="1424"/>
                  <a:pt x="956" y="1430"/>
                  <a:pt x="958" y="1430"/>
                </a:cubicBezTo>
                <a:cubicBezTo>
                  <a:pt x="959" y="1431"/>
                  <a:pt x="961" y="1430"/>
                  <a:pt x="961" y="1428"/>
                </a:cubicBezTo>
                <a:close/>
                <a:moveTo>
                  <a:pt x="1014" y="1420"/>
                </a:moveTo>
                <a:cubicBezTo>
                  <a:pt x="1017" y="1416"/>
                  <a:pt x="1017" y="1416"/>
                  <a:pt x="1021" y="1415"/>
                </a:cubicBezTo>
                <a:cubicBezTo>
                  <a:pt x="1021" y="1417"/>
                  <a:pt x="1022" y="1418"/>
                  <a:pt x="1023" y="1418"/>
                </a:cubicBezTo>
                <a:cubicBezTo>
                  <a:pt x="1021" y="1419"/>
                  <a:pt x="1019" y="1421"/>
                  <a:pt x="1017" y="1422"/>
                </a:cubicBezTo>
                <a:cubicBezTo>
                  <a:pt x="1016" y="1421"/>
                  <a:pt x="1016" y="1421"/>
                  <a:pt x="1015" y="1419"/>
                </a:cubicBezTo>
                <a:cubicBezTo>
                  <a:pt x="1015" y="1419"/>
                  <a:pt x="1014" y="1419"/>
                  <a:pt x="1014" y="1420"/>
                </a:cubicBezTo>
                <a:close/>
                <a:moveTo>
                  <a:pt x="1019" y="1419"/>
                </a:moveTo>
                <a:cubicBezTo>
                  <a:pt x="1019" y="1419"/>
                  <a:pt x="1018" y="1419"/>
                  <a:pt x="1017" y="1419"/>
                </a:cubicBezTo>
                <a:cubicBezTo>
                  <a:pt x="1017" y="1419"/>
                  <a:pt x="1016" y="1419"/>
                  <a:pt x="1016" y="1420"/>
                </a:cubicBezTo>
                <a:cubicBezTo>
                  <a:pt x="1016" y="1420"/>
                  <a:pt x="1017" y="1421"/>
                  <a:pt x="1017" y="1421"/>
                </a:cubicBezTo>
                <a:cubicBezTo>
                  <a:pt x="1018" y="1421"/>
                  <a:pt x="1018" y="1420"/>
                  <a:pt x="1019" y="1419"/>
                </a:cubicBezTo>
                <a:close/>
                <a:moveTo>
                  <a:pt x="1001" y="1409"/>
                </a:moveTo>
                <a:cubicBezTo>
                  <a:pt x="994" y="1409"/>
                  <a:pt x="991" y="1411"/>
                  <a:pt x="990" y="1419"/>
                </a:cubicBezTo>
                <a:cubicBezTo>
                  <a:pt x="991" y="1417"/>
                  <a:pt x="992" y="1415"/>
                  <a:pt x="993" y="1412"/>
                </a:cubicBezTo>
                <a:cubicBezTo>
                  <a:pt x="994" y="1412"/>
                  <a:pt x="994" y="1412"/>
                  <a:pt x="994" y="1412"/>
                </a:cubicBezTo>
                <a:cubicBezTo>
                  <a:pt x="994" y="1414"/>
                  <a:pt x="994" y="1414"/>
                  <a:pt x="994" y="1415"/>
                </a:cubicBezTo>
                <a:cubicBezTo>
                  <a:pt x="995" y="1412"/>
                  <a:pt x="997" y="1410"/>
                  <a:pt x="1001" y="1409"/>
                </a:cubicBezTo>
                <a:close/>
                <a:moveTo>
                  <a:pt x="1044" y="1411"/>
                </a:moveTo>
                <a:cubicBezTo>
                  <a:pt x="1042" y="1412"/>
                  <a:pt x="1040" y="1414"/>
                  <a:pt x="1039" y="1415"/>
                </a:cubicBezTo>
                <a:cubicBezTo>
                  <a:pt x="1040" y="1416"/>
                  <a:pt x="1043" y="1414"/>
                  <a:pt x="1044" y="1411"/>
                </a:cubicBezTo>
                <a:close/>
                <a:moveTo>
                  <a:pt x="1011" y="1413"/>
                </a:moveTo>
                <a:cubicBezTo>
                  <a:pt x="1012" y="1412"/>
                  <a:pt x="1013" y="1410"/>
                  <a:pt x="1014" y="1409"/>
                </a:cubicBezTo>
                <a:cubicBezTo>
                  <a:pt x="1011" y="1410"/>
                  <a:pt x="1010" y="1411"/>
                  <a:pt x="1011" y="1413"/>
                </a:cubicBezTo>
                <a:close/>
                <a:moveTo>
                  <a:pt x="1020" y="1435"/>
                </a:moveTo>
                <a:cubicBezTo>
                  <a:pt x="1019" y="1435"/>
                  <a:pt x="1018" y="1436"/>
                  <a:pt x="1018" y="1437"/>
                </a:cubicBezTo>
                <a:cubicBezTo>
                  <a:pt x="1018" y="1436"/>
                  <a:pt x="1020" y="1435"/>
                  <a:pt x="1020" y="1435"/>
                </a:cubicBezTo>
                <a:close/>
                <a:moveTo>
                  <a:pt x="1019" y="1419"/>
                </a:moveTo>
                <a:cubicBezTo>
                  <a:pt x="1019" y="1419"/>
                  <a:pt x="1018" y="1418"/>
                  <a:pt x="1017" y="1418"/>
                </a:cubicBezTo>
                <a:cubicBezTo>
                  <a:pt x="1017" y="1418"/>
                  <a:pt x="1016" y="1419"/>
                  <a:pt x="1016" y="1419"/>
                </a:cubicBezTo>
                <a:cubicBezTo>
                  <a:pt x="1016" y="1420"/>
                  <a:pt x="1016" y="1420"/>
                  <a:pt x="1017" y="1421"/>
                </a:cubicBezTo>
                <a:cubicBezTo>
                  <a:pt x="1018" y="1420"/>
                  <a:pt x="1018" y="1420"/>
                  <a:pt x="1019" y="1419"/>
                </a:cubicBezTo>
                <a:close/>
                <a:moveTo>
                  <a:pt x="1544" y="1540"/>
                </a:moveTo>
                <a:cubicBezTo>
                  <a:pt x="1544" y="1542"/>
                  <a:pt x="1545" y="1543"/>
                  <a:pt x="1545" y="1544"/>
                </a:cubicBezTo>
                <a:cubicBezTo>
                  <a:pt x="1546" y="1546"/>
                  <a:pt x="1546" y="1548"/>
                  <a:pt x="1547" y="1549"/>
                </a:cubicBezTo>
                <a:cubicBezTo>
                  <a:pt x="1547" y="1551"/>
                  <a:pt x="1547" y="1553"/>
                  <a:pt x="1547" y="1554"/>
                </a:cubicBezTo>
                <a:cubicBezTo>
                  <a:pt x="1548" y="1557"/>
                  <a:pt x="1547" y="1559"/>
                  <a:pt x="1543" y="1559"/>
                </a:cubicBezTo>
                <a:cubicBezTo>
                  <a:pt x="1541" y="1559"/>
                  <a:pt x="1538" y="1559"/>
                  <a:pt x="1535" y="1559"/>
                </a:cubicBezTo>
                <a:cubicBezTo>
                  <a:pt x="1535" y="1559"/>
                  <a:pt x="1534" y="1559"/>
                  <a:pt x="1534" y="1559"/>
                </a:cubicBezTo>
                <a:cubicBezTo>
                  <a:pt x="1532" y="1561"/>
                  <a:pt x="1530" y="1562"/>
                  <a:pt x="1529" y="1563"/>
                </a:cubicBezTo>
                <a:cubicBezTo>
                  <a:pt x="1527" y="1566"/>
                  <a:pt x="1524" y="1566"/>
                  <a:pt x="1522" y="1564"/>
                </a:cubicBezTo>
                <a:cubicBezTo>
                  <a:pt x="1520" y="1562"/>
                  <a:pt x="1519" y="1559"/>
                  <a:pt x="1517" y="1557"/>
                </a:cubicBezTo>
                <a:cubicBezTo>
                  <a:pt x="1516" y="1555"/>
                  <a:pt x="1517" y="1553"/>
                  <a:pt x="1519" y="1552"/>
                </a:cubicBezTo>
                <a:cubicBezTo>
                  <a:pt x="1516" y="1552"/>
                  <a:pt x="1515" y="1552"/>
                  <a:pt x="1513" y="1552"/>
                </a:cubicBezTo>
                <a:cubicBezTo>
                  <a:pt x="1512" y="1554"/>
                  <a:pt x="1511" y="1556"/>
                  <a:pt x="1510" y="1558"/>
                </a:cubicBezTo>
                <a:cubicBezTo>
                  <a:pt x="1510" y="1559"/>
                  <a:pt x="1510" y="1559"/>
                  <a:pt x="1510" y="1560"/>
                </a:cubicBezTo>
                <a:cubicBezTo>
                  <a:pt x="1510" y="1563"/>
                  <a:pt x="1509" y="1565"/>
                  <a:pt x="1506" y="1564"/>
                </a:cubicBezTo>
                <a:cubicBezTo>
                  <a:pt x="1502" y="1564"/>
                  <a:pt x="1500" y="1563"/>
                  <a:pt x="1497" y="1562"/>
                </a:cubicBezTo>
                <a:cubicBezTo>
                  <a:pt x="1495" y="1561"/>
                  <a:pt x="1494" y="1560"/>
                  <a:pt x="1495" y="1558"/>
                </a:cubicBezTo>
                <a:cubicBezTo>
                  <a:pt x="1495" y="1557"/>
                  <a:pt x="1495" y="1556"/>
                  <a:pt x="1495" y="1556"/>
                </a:cubicBezTo>
                <a:cubicBezTo>
                  <a:pt x="1493" y="1555"/>
                  <a:pt x="1491" y="1554"/>
                  <a:pt x="1489" y="1553"/>
                </a:cubicBezTo>
                <a:cubicBezTo>
                  <a:pt x="1487" y="1552"/>
                  <a:pt x="1486" y="1550"/>
                  <a:pt x="1486" y="1548"/>
                </a:cubicBezTo>
                <a:cubicBezTo>
                  <a:pt x="1485" y="1546"/>
                  <a:pt x="1485" y="1545"/>
                  <a:pt x="1487" y="1543"/>
                </a:cubicBezTo>
                <a:cubicBezTo>
                  <a:pt x="1490" y="1541"/>
                  <a:pt x="1491" y="1538"/>
                  <a:pt x="1490" y="1534"/>
                </a:cubicBezTo>
                <a:cubicBezTo>
                  <a:pt x="1490" y="1532"/>
                  <a:pt x="1490" y="1530"/>
                  <a:pt x="1490" y="1528"/>
                </a:cubicBezTo>
                <a:cubicBezTo>
                  <a:pt x="1489" y="1527"/>
                  <a:pt x="1487" y="1527"/>
                  <a:pt x="1486" y="1526"/>
                </a:cubicBezTo>
                <a:cubicBezTo>
                  <a:pt x="1485" y="1524"/>
                  <a:pt x="1484" y="1522"/>
                  <a:pt x="1484" y="1520"/>
                </a:cubicBezTo>
                <a:cubicBezTo>
                  <a:pt x="1484" y="1517"/>
                  <a:pt x="1487" y="1515"/>
                  <a:pt x="1490" y="1514"/>
                </a:cubicBezTo>
                <a:cubicBezTo>
                  <a:pt x="1490" y="1515"/>
                  <a:pt x="1490" y="1515"/>
                  <a:pt x="1491" y="1516"/>
                </a:cubicBezTo>
                <a:cubicBezTo>
                  <a:pt x="1491" y="1517"/>
                  <a:pt x="1491" y="1518"/>
                  <a:pt x="1491" y="1519"/>
                </a:cubicBezTo>
                <a:cubicBezTo>
                  <a:pt x="1490" y="1519"/>
                  <a:pt x="1490" y="1519"/>
                  <a:pt x="1489" y="1519"/>
                </a:cubicBezTo>
                <a:cubicBezTo>
                  <a:pt x="1489" y="1520"/>
                  <a:pt x="1489" y="1521"/>
                  <a:pt x="1488" y="1523"/>
                </a:cubicBezTo>
                <a:cubicBezTo>
                  <a:pt x="1489" y="1523"/>
                  <a:pt x="1490" y="1523"/>
                  <a:pt x="1490" y="1523"/>
                </a:cubicBezTo>
                <a:cubicBezTo>
                  <a:pt x="1491" y="1521"/>
                  <a:pt x="1492" y="1521"/>
                  <a:pt x="1493" y="1519"/>
                </a:cubicBezTo>
                <a:cubicBezTo>
                  <a:pt x="1497" y="1513"/>
                  <a:pt x="1503" y="1509"/>
                  <a:pt x="1511" y="1507"/>
                </a:cubicBezTo>
                <a:cubicBezTo>
                  <a:pt x="1514" y="1507"/>
                  <a:pt x="1517" y="1506"/>
                  <a:pt x="1520" y="1503"/>
                </a:cubicBezTo>
                <a:cubicBezTo>
                  <a:pt x="1520" y="1502"/>
                  <a:pt x="1521" y="1502"/>
                  <a:pt x="1521" y="1502"/>
                </a:cubicBezTo>
                <a:cubicBezTo>
                  <a:pt x="1524" y="1502"/>
                  <a:pt x="1525" y="1499"/>
                  <a:pt x="1527" y="1497"/>
                </a:cubicBezTo>
                <a:cubicBezTo>
                  <a:pt x="1535" y="1490"/>
                  <a:pt x="1547" y="1489"/>
                  <a:pt x="1554" y="1496"/>
                </a:cubicBezTo>
                <a:cubicBezTo>
                  <a:pt x="1557" y="1498"/>
                  <a:pt x="1560" y="1500"/>
                  <a:pt x="1562" y="1502"/>
                </a:cubicBezTo>
                <a:cubicBezTo>
                  <a:pt x="1564" y="1503"/>
                  <a:pt x="1565" y="1505"/>
                  <a:pt x="1566" y="1507"/>
                </a:cubicBezTo>
                <a:cubicBezTo>
                  <a:pt x="1567" y="1508"/>
                  <a:pt x="1567" y="1508"/>
                  <a:pt x="1569" y="1507"/>
                </a:cubicBezTo>
                <a:cubicBezTo>
                  <a:pt x="1569" y="1507"/>
                  <a:pt x="1570" y="1506"/>
                  <a:pt x="1571" y="1505"/>
                </a:cubicBezTo>
                <a:cubicBezTo>
                  <a:pt x="1573" y="1502"/>
                  <a:pt x="1576" y="1502"/>
                  <a:pt x="1577" y="1506"/>
                </a:cubicBezTo>
                <a:cubicBezTo>
                  <a:pt x="1579" y="1509"/>
                  <a:pt x="1579" y="1511"/>
                  <a:pt x="1580" y="1515"/>
                </a:cubicBezTo>
                <a:cubicBezTo>
                  <a:pt x="1580" y="1519"/>
                  <a:pt x="1580" y="1523"/>
                  <a:pt x="1579" y="1528"/>
                </a:cubicBezTo>
                <a:cubicBezTo>
                  <a:pt x="1576" y="1534"/>
                  <a:pt x="1571" y="1538"/>
                  <a:pt x="1565" y="1538"/>
                </a:cubicBezTo>
                <a:cubicBezTo>
                  <a:pt x="1564" y="1538"/>
                  <a:pt x="1564" y="1538"/>
                  <a:pt x="1563" y="1538"/>
                </a:cubicBezTo>
                <a:cubicBezTo>
                  <a:pt x="1560" y="1537"/>
                  <a:pt x="1559" y="1538"/>
                  <a:pt x="1558" y="1540"/>
                </a:cubicBezTo>
                <a:cubicBezTo>
                  <a:pt x="1557" y="1544"/>
                  <a:pt x="1551" y="1546"/>
                  <a:pt x="1548" y="1543"/>
                </a:cubicBezTo>
                <a:cubicBezTo>
                  <a:pt x="1547" y="1542"/>
                  <a:pt x="1546" y="1541"/>
                  <a:pt x="1545" y="1540"/>
                </a:cubicBezTo>
                <a:cubicBezTo>
                  <a:pt x="1544" y="1540"/>
                  <a:pt x="1544" y="1540"/>
                  <a:pt x="1544" y="1540"/>
                </a:cubicBezTo>
                <a:close/>
                <a:moveTo>
                  <a:pt x="1538" y="1536"/>
                </a:moveTo>
                <a:cubicBezTo>
                  <a:pt x="1542" y="1537"/>
                  <a:pt x="1545" y="1538"/>
                  <a:pt x="1548" y="1541"/>
                </a:cubicBezTo>
                <a:cubicBezTo>
                  <a:pt x="1550" y="1543"/>
                  <a:pt x="1552" y="1544"/>
                  <a:pt x="1554" y="1543"/>
                </a:cubicBezTo>
                <a:cubicBezTo>
                  <a:pt x="1556" y="1542"/>
                  <a:pt x="1558" y="1540"/>
                  <a:pt x="1558" y="1537"/>
                </a:cubicBezTo>
                <a:cubicBezTo>
                  <a:pt x="1558" y="1537"/>
                  <a:pt x="1557" y="1537"/>
                  <a:pt x="1557" y="1538"/>
                </a:cubicBezTo>
                <a:cubicBezTo>
                  <a:pt x="1556" y="1539"/>
                  <a:pt x="1555" y="1540"/>
                  <a:pt x="1554" y="1541"/>
                </a:cubicBezTo>
                <a:cubicBezTo>
                  <a:pt x="1553" y="1542"/>
                  <a:pt x="1552" y="1542"/>
                  <a:pt x="1551" y="1542"/>
                </a:cubicBezTo>
                <a:cubicBezTo>
                  <a:pt x="1551" y="1542"/>
                  <a:pt x="1550" y="1540"/>
                  <a:pt x="1550" y="1540"/>
                </a:cubicBezTo>
                <a:cubicBezTo>
                  <a:pt x="1550" y="1537"/>
                  <a:pt x="1551" y="1535"/>
                  <a:pt x="1551" y="1533"/>
                </a:cubicBezTo>
                <a:cubicBezTo>
                  <a:pt x="1554" y="1534"/>
                  <a:pt x="1557" y="1535"/>
                  <a:pt x="1561" y="1536"/>
                </a:cubicBezTo>
                <a:cubicBezTo>
                  <a:pt x="1568" y="1537"/>
                  <a:pt x="1574" y="1535"/>
                  <a:pt x="1577" y="1527"/>
                </a:cubicBezTo>
                <a:cubicBezTo>
                  <a:pt x="1579" y="1522"/>
                  <a:pt x="1579" y="1517"/>
                  <a:pt x="1578" y="1512"/>
                </a:cubicBezTo>
                <a:cubicBezTo>
                  <a:pt x="1577" y="1510"/>
                  <a:pt x="1577" y="1508"/>
                  <a:pt x="1576" y="1506"/>
                </a:cubicBezTo>
                <a:cubicBezTo>
                  <a:pt x="1575" y="1505"/>
                  <a:pt x="1574" y="1504"/>
                  <a:pt x="1573" y="1506"/>
                </a:cubicBezTo>
                <a:cubicBezTo>
                  <a:pt x="1571" y="1508"/>
                  <a:pt x="1569" y="1509"/>
                  <a:pt x="1567" y="1510"/>
                </a:cubicBezTo>
                <a:cubicBezTo>
                  <a:pt x="1567" y="1510"/>
                  <a:pt x="1566" y="1511"/>
                  <a:pt x="1566" y="1512"/>
                </a:cubicBezTo>
                <a:cubicBezTo>
                  <a:pt x="1567" y="1515"/>
                  <a:pt x="1566" y="1519"/>
                  <a:pt x="1565" y="1522"/>
                </a:cubicBezTo>
                <a:cubicBezTo>
                  <a:pt x="1565" y="1520"/>
                  <a:pt x="1566" y="1518"/>
                  <a:pt x="1566" y="1516"/>
                </a:cubicBezTo>
                <a:cubicBezTo>
                  <a:pt x="1566" y="1515"/>
                  <a:pt x="1565" y="1515"/>
                  <a:pt x="1565" y="1515"/>
                </a:cubicBezTo>
                <a:cubicBezTo>
                  <a:pt x="1564" y="1515"/>
                  <a:pt x="1564" y="1515"/>
                  <a:pt x="1564" y="1515"/>
                </a:cubicBezTo>
                <a:cubicBezTo>
                  <a:pt x="1563" y="1517"/>
                  <a:pt x="1562" y="1518"/>
                  <a:pt x="1561" y="1519"/>
                </a:cubicBezTo>
                <a:cubicBezTo>
                  <a:pt x="1561" y="1519"/>
                  <a:pt x="1561" y="1519"/>
                  <a:pt x="1561" y="1519"/>
                </a:cubicBezTo>
                <a:cubicBezTo>
                  <a:pt x="1561" y="1518"/>
                  <a:pt x="1562" y="1516"/>
                  <a:pt x="1562" y="1514"/>
                </a:cubicBezTo>
                <a:cubicBezTo>
                  <a:pt x="1561" y="1515"/>
                  <a:pt x="1560" y="1515"/>
                  <a:pt x="1560" y="1516"/>
                </a:cubicBezTo>
                <a:cubicBezTo>
                  <a:pt x="1559" y="1516"/>
                  <a:pt x="1559" y="1517"/>
                  <a:pt x="1558" y="1518"/>
                </a:cubicBezTo>
                <a:cubicBezTo>
                  <a:pt x="1559" y="1514"/>
                  <a:pt x="1559" y="1514"/>
                  <a:pt x="1565" y="1513"/>
                </a:cubicBezTo>
                <a:cubicBezTo>
                  <a:pt x="1565" y="1513"/>
                  <a:pt x="1564" y="1512"/>
                  <a:pt x="1564" y="1512"/>
                </a:cubicBezTo>
                <a:cubicBezTo>
                  <a:pt x="1561" y="1513"/>
                  <a:pt x="1560" y="1511"/>
                  <a:pt x="1560" y="1509"/>
                </a:cubicBezTo>
                <a:cubicBezTo>
                  <a:pt x="1562" y="1508"/>
                  <a:pt x="1563" y="1508"/>
                  <a:pt x="1565" y="1508"/>
                </a:cubicBezTo>
                <a:cubicBezTo>
                  <a:pt x="1563" y="1505"/>
                  <a:pt x="1562" y="1502"/>
                  <a:pt x="1558" y="1502"/>
                </a:cubicBezTo>
                <a:cubicBezTo>
                  <a:pt x="1558" y="1502"/>
                  <a:pt x="1558" y="1502"/>
                  <a:pt x="1558" y="1501"/>
                </a:cubicBezTo>
                <a:cubicBezTo>
                  <a:pt x="1555" y="1499"/>
                  <a:pt x="1553" y="1497"/>
                  <a:pt x="1550" y="1495"/>
                </a:cubicBezTo>
                <a:cubicBezTo>
                  <a:pt x="1548" y="1494"/>
                  <a:pt x="1545" y="1493"/>
                  <a:pt x="1543" y="1493"/>
                </a:cubicBezTo>
                <a:cubicBezTo>
                  <a:pt x="1540" y="1493"/>
                  <a:pt x="1536" y="1494"/>
                  <a:pt x="1533" y="1495"/>
                </a:cubicBezTo>
                <a:cubicBezTo>
                  <a:pt x="1530" y="1496"/>
                  <a:pt x="1528" y="1498"/>
                  <a:pt x="1526" y="1501"/>
                </a:cubicBezTo>
                <a:cubicBezTo>
                  <a:pt x="1528" y="1501"/>
                  <a:pt x="1529" y="1501"/>
                  <a:pt x="1530" y="1501"/>
                </a:cubicBezTo>
                <a:cubicBezTo>
                  <a:pt x="1530" y="1502"/>
                  <a:pt x="1529" y="1502"/>
                  <a:pt x="1528" y="1502"/>
                </a:cubicBezTo>
                <a:cubicBezTo>
                  <a:pt x="1526" y="1503"/>
                  <a:pt x="1523" y="1502"/>
                  <a:pt x="1521" y="1504"/>
                </a:cubicBezTo>
                <a:cubicBezTo>
                  <a:pt x="1517" y="1508"/>
                  <a:pt x="1513" y="1512"/>
                  <a:pt x="1510" y="1516"/>
                </a:cubicBezTo>
                <a:cubicBezTo>
                  <a:pt x="1508" y="1518"/>
                  <a:pt x="1508" y="1521"/>
                  <a:pt x="1506" y="1523"/>
                </a:cubicBezTo>
                <a:cubicBezTo>
                  <a:pt x="1506" y="1523"/>
                  <a:pt x="1506" y="1524"/>
                  <a:pt x="1507" y="1525"/>
                </a:cubicBezTo>
                <a:cubicBezTo>
                  <a:pt x="1508" y="1527"/>
                  <a:pt x="1509" y="1529"/>
                  <a:pt x="1511" y="1530"/>
                </a:cubicBezTo>
                <a:cubicBezTo>
                  <a:pt x="1512" y="1529"/>
                  <a:pt x="1513" y="1527"/>
                  <a:pt x="1514" y="1526"/>
                </a:cubicBezTo>
                <a:cubicBezTo>
                  <a:pt x="1514" y="1527"/>
                  <a:pt x="1513" y="1529"/>
                  <a:pt x="1513" y="1530"/>
                </a:cubicBezTo>
                <a:cubicBezTo>
                  <a:pt x="1512" y="1531"/>
                  <a:pt x="1511" y="1532"/>
                  <a:pt x="1511" y="1534"/>
                </a:cubicBezTo>
                <a:cubicBezTo>
                  <a:pt x="1510" y="1535"/>
                  <a:pt x="1511" y="1536"/>
                  <a:pt x="1511" y="1537"/>
                </a:cubicBezTo>
                <a:cubicBezTo>
                  <a:pt x="1513" y="1540"/>
                  <a:pt x="1517" y="1540"/>
                  <a:pt x="1521" y="1538"/>
                </a:cubicBezTo>
                <a:cubicBezTo>
                  <a:pt x="1523" y="1537"/>
                  <a:pt x="1526" y="1536"/>
                  <a:pt x="1528" y="1535"/>
                </a:cubicBezTo>
                <a:cubicBezTo>
                  <a:pt x="1530" y="1534"/>
                  <a:pt x="1531" y="1534"/>
                  <a:pt x="1531" y="1532"/>
                </a:cubicBezTo>
                <a:cubicBezTo>
                  <a:pt x="1531" y="1529"/>
                  <a:pt x="1531" y="1525"/>
                  <a:pt x="1531" y="1522"/>
                </a:cubicBezTo>
                <a:cubicBezTo>
                  <a:pt x="1531" y="1519"/>
                  <a:pt x="1531" y="1516"/>
                  <a:pt x="1531" y="1513"/>
                </a:cubicBezTo>
                <a:cubicBezTo>
                  <a:pt x="1532" y="1516"/>
                  <a:pt x="1532" y="1519"/>
                  <a:pt x="1533" y="1521"/>
                </a:cubicBezTo>
                <a:cubicBezTo>
                  <a:pt x="1534" y="1526"/>
                  <a:pt x="1534" y="1530"/>
                  <a:pt x="1532" y="1534"/>
                </a:cubicBezTo>
                <a:cubicBezTo>
                  <a:pt x="1532" y="1535"/>
                  <a:pt x="1531" y="1536"/>
                  <a:pt x="1531" y="1536"/>
                </a:cubicBezTo>
                <a:cubicBezTo>
                  <a:pt x="1527" y="1536"/>
                  <a:pt x="1524" y="1538"/>
                  <a:pt x="1521" y="1540"/>
                </a:cubicBezTo>
                <a:cubicBezTo>
                  <a:pt x="1516" y="1543"/>
                  <a:pt x="1512" y="1541"/>
                  <a:pt x="1509" y="1537"/>
                </a:cubicBezTo>
                <a:cubicBezTo>
                  <a:pt x="1508" y="1537"/>
                  <a:pt x="1508" y="1536"/>
                  <a:pt x="1509" y="1535"/>
                </a:cubicBezTo>
                <a:cubicBezTo>
                  <a:pt x="1510" y="1533"/>
                  <a:pt x="1509" y="1531"/>
                  <a:pt x="1507" y="1529"/>
                </a:cubicBezTo>
                <a:cubicBezTo>
                  <a:pt x="1506" y="1527"/>
                  <a:pt x="1504" y="1525"/>
                  <a:pt x="1505" y="1522"/>
                </a:cubicBezTo>
                <a:cubicBezTo>
                  <a:pt x="1506" y="1520"/>
                  <a:pt x="1507" y="1518"/>
                  <a:pt x="1508" y="1517"/>
                </a:cubicBezTo>
                <a:cubicBezTo>
                  <a:pt x="1510" y="1514"/>
                  <a:pt x="1512" y="1511"/>
                  <a:pt x="1514" y="1509"/>
                </a:cubicBezTo>
                <a:cubicBezTo>
                  <a:pt x="1513" y="1509"/>
                  <a:pt x="1513" y="1509"/>
                  <a:pt x="1513" y="1509"/>
                </a:cubicBezTo>
                <a:cubicBezTo>
                  <a:pt x="1508" y="1510"/>
                  <a:pt x="1503" y="1511"/>
                  <a:pt x="1499" y="1515"/>
                </a:cubicBezTo>
                <a:cubicBezTo>
                  <a:pt x="1495" y="1519"/>
                  <a:pt x="1492" y="1524"/>
                  <a:pt x="1491" y="1531"/>
                </a:cubicBezTo>
                <a:cubicBezTo>
                  <a:pt x="1491" y="1538"/>
                  <a:pt x="1493" y="1544"/>
                  <a:pt x="1497" y="1549"/>
                </a:cubicBezTo>
                <a:cubicBezTo>
                  <a:pt x="1497" y="1550"/>
                  <a:pt x="1498" y="1552"/>
                  <a:pt x="1498" y="1553"/>
                </a:cubicBezTo>
                <a:cubicBezTo>
                  <a:pt x="1498" y="1555"/>
                  <a:pt x="1497" y="1556"/>
                  <a:pt x="1497" y="1557"/>
                </a:cubicBezTo>
                <a:cubicBezTo>
                  <a:pt x="1496" y="1559"/>
                  <a:pt x="1497" y="1560"/>
                  <a:pt x="1498" y="1561"/>
                </a:cubicBezTo>
                <a:cubicBezTo>
                  <a:pt x="1501" y="1561"/>
                  <a:pt x="1504" y="1562"/>
                  <a:pt x="1506" y="1562"/>
                </a:cubicBezTo>
                <a:cubicBezTo>
                  <a:pt x="1507" y="1562"/>
                  <a:pt x="1508" y="1561"/>
                  <a:pt x="1508" y="1561"/>
                </a:cubicBezTo>
                <a:cubicBezTo>
                  <a:pt x="1508" y="1560"/>
                  <a:pt x="1508" y="1558"/>
                  <a:pt x="1509" y="1557"/>
                </a:cubicBezTo>
                <a:cubicBezTo>
                  <a:pt x="1511" y="1555"/>
                  <a:pt x="1511" y="1552"/>
                  <a:pt x="1511" y="1549"/>
                </a:cubicBezTo>
                <a:cubicBezTo>
                  <a:pt x="1511" y="1549"/>
                  <a:pt x="1511" y="1549"/>
                  <a:pt x="1511" y="1548"/>
                </a:cubicBezTo>
                <a:cubicBezTo>
                  <a:pt x="1511" y="1548"/>
                  <a:pt x="1511" y="1548"/>
                  <a:pt x="1511" y="1548"/>
                </a:cubicBezTo>
                <a:cubicBezTo>
                  <a:pt x="1512" y="1550"/>
                  <a:pt x="1513" y="1550"/>
                  <a:pt x="1515" y="1550"/>
                </a:cubicBezTo>
                <a:cubicBezTo>
                  <a:pt x="1516" y="1550"/>
                  <a:pt x="1517" y="1550"/>
                  <a:pt x="1518" y="1550"/>
                </a:cubicBezTo>
                <a:cubicBezTo>
                  <a:pt x="1520" y="1550"/>
                  <a:pt x="1523" y="1551"/>
                  <a:pt x="1524" y="1547"/>
                </a:cubicBezTo>
                <a:cubicBezTo>
                  <a:pt x="1524" y="1549"/>
                  <a:pt x="1524" y="1551"/>
                  <a:pt x="1524" y="1551"/>
                </a:cubicBezTo>
                <a:cubicBezTo>
                  <a:pt x="1523" y="1552"/>
                  <a:pt x="1521" y="1553"/>
                  <a:pt x="1520" y="1553"/>
                </a:cubicBezTo>
                <a:cubicBezTo>
                  <a:pt x="1519" y="1554"/>
                  <a:pt x="1518" y="1556"/>
                  <a:pt x="1519" y="1557"/>
                </a:cubicBezTo>
                <a:cubicBezTo>
                  <a:pt x="1520" y="1559"/>
                  <a:pt x="1521" y="1561"/>
                  <a:pt x="1523" y="1563"/>
                </a:cubicBezTo>
                <a:cubicBezTo>
                  <a:pt x="1525" y="1564"/>
                  <a:pt x="1526" y="1564"/>
                  <a:pt x="1528" y="1562"/>
                </a:cubicBezTo>
                <a:cubicBezTo>
                  <a:pt x="1528" y="1561"/>
                  <a:pt x="1529" y="1561"/>
                  <a:pt x="1530" y="1560"/>
                </a:cubicBezTo>
                <a:cubicBezTo>
                  <a:pt x="1532" y="1559"/>
                  <a:pt x="1533" y="1557"/>
                  <a:pt x="1535" y="1556"/>
                </a:cubicBezTo>
                <a:cubicBezTo>
                  <a:pt x="1539" y="1552"/>
                  <a:pt x="1541" y="1546"/>
                  <a:pt x="1543" y="1540"/>
                </a:cubicBezTo>
                <a:cubicBezTo>
                  <a:pt x="1543" y="1540"/>
                  <a:pt x="1542" y="1539"/>
                  <a:pt x="1541" y="1538"/>
                </a:cubicBezTo>
                <a:cubicBezTo>
                  <a:pt x="1541" y="1537"/>
                  <a:pt x="1540" y="1536"/>
                  <a:pt x="1538" y="1536"/>
                </a:cubicBezTo>
                <a:close/>
                <a:moveTo>
                  <a:pt x="1491" y="1542"/>
                </a:moveTo>
                <a:cubicBezTo>
                  <a:pt x="1490" y="1543"/>
                  <a:pt x="1489" y="1544"/>
                  <a:pt x="1487" y="1545"/>
                </a:cubicBezTo>
                <a:cubicBezTo>
                  <a:pt x="1487" y="1545"/>
                  <a:pt x="1487" y="1546"/>
                  <a:pt x="1487" y="1547"/>
                </a:cubicBezTo>
                <a:cubicBezTo>
                  <a:pt x="1487" y="1549"/>
                  <a:pt x="1491" y="1554"/>
                  <a:pt x="1494" y="1553"/>
                </a:cubicBezTo>
                <a:cubicBezTo>
                  <a:pt x="1496" y="1553"/>
                  <a:pt x="1497" y="1552"/>
                  <a:pt x="1496" y="1551"/>
                </a:cubicBezTo>
                <a:cubicBezTo>
                  <a:pt x="1494" y="1548"/>
                  <a:pt x="1493" y="1545"/>
                  <a:pt x="1491" y="1542"/>
                </a:cubicBezTo>
                <a:close/>
                <a:moveTo>
                  <a:pt x="1544" y="1544"/>
                </a:moveTo>
                <a:cubicBezTo>
                  <a:pt x="1541" y="1549"/>
                  <a:pt x="1539" y="1553"/>
                  <a:pt x="1537" y="1557"/>
                </a:cubicBezTo>
                <a:cubicBezTo>
                  <a:pt x="1540" y="1557"/>
                  <a:pt x="1542" y="1558"/>
                  <a:pt x="1545" y="1557"/>
                </a:cubicBezTo>
                <a:cubicBezTo>
                  <a:pt x="1545" y="1557"/>
                  <a:pt x="1545" y="1556"/>
                  <a:pt x="1545" y="1556"/>
                </a:cubicBezTo>
                <a:cubicBezTo>
                  <a:pt x="1545" y="1553"/>
                  <a:pt x="1545" y="1551"/>
                  <a:pt x="1545" y="1548"/>
                </a:cubicBezTo>
                <a:cubicBezTo>
                  <a:pt x="1545" y="1547"/>
                  <a:pt x="1544" y="1546"/>
                  <a:pt x="1544" y="1544"/>
                </a:cubicBezTo>
                <a:close/>
                <a:moveTo>
                  <a:pt x="1491" y="1524"/>
                </a:moveTo>
                <a:cubicBezTo>
                  <a:pt x="1490" y="1524"/>
                  <a:pt x="1489" y="1525"/>
                  <a:pt x="1489" y="1525"/>
                </a:cubicBezTo>
                <a:cubicBezTo>
                  <a:pt x="1488" y="1525"/>
                  <a:pt x="1487" y="1525"/>
                  <a:pt x="1487" y="1524"/>
                </a:cubicBezTo>
                <a:cubicBezTo>
                  <a:pt x="1487" y="1524"/>
                  <a:pt x="1487" y="1523"/>
                  <a:pt x="1487" y="1522"/>
                </a:cubicBezTo>
                <a:cubicBezTo>
                  <a:pt x="1487" y="1520"/>
                  <a:pt x="1488" y="1518"/>
                  <a:pt x="1489" y="1516"/>
                </a:cubicBezTo>
                <a:cubicBezTo>
                  <a:pt x="1488" y="1516"/>
                  <a:pt x="1488" y="1516"/>
                  <a:pt x="1488" y="1516"/>
                </a:cubicBezTo>
                <a:cubicBezTo>
                  <a:pt x="1487" y="1517"/>
                  <a:pt x="1486" y="1518"/>
                  <a:pt x="1485" y="1519"/>
                </a:cubicBezTo>
                <a:cubicBezTo>
                  <a:pt x="1484" y="1520"/>
                  <a:pt x="1486" y="1525"/>
                  <a:pt x="1487" y="1526"/>
                </a:cubicBezTo>
                <a:cubicBezTo>
                  <a:pt x="1489" y="1527"/>
                  <a:pt x="1491" y="1526"/>
                  <a:pt x="1491" y="1524"/>
                </a:cubicBezTo>
                <a:close/>
                <a:moveTo>
                  <a:pt x="1491" y="1542"/>
                </a:moveTo>
                <a:cubicBezTo>
                  <a:pt x="1490" y="1543"/>
                  <a:pt x="1489" y="1544"/>
                  <a:pt x="1488" y="1545"/>
                </a:cubicBezTo>
                <a:cubicBezTo>
                  <a:pt x="1487" y="1545"/>
                  <a:pt x="1487" y="1546"/>
                  <a:pt x="1487" y="1547"/>
                </a:cubicBezTo>
                <a:cubicBezTo>
                  <a:pt x="1487" y="1550"/>
                  <a:pt x="1491" y="1554"/>
                  <a:pt x="1494" y="1554"/>
                </a:cubicBezTo>
                <a:cubicBezTo>
                  <a:pt x="1496" y="1554"/>
                  <a:pt x="1496" y="1553"/>
                  <a:pt x="1496" y="1551"/>
                </a:cubicBezTo>
                <a:cubicBezTo>
                  <a:pt x="1494" y="1548"/>
                  <a:pt x="1493" y="1545"/>
                  <a:pt x="1491" y="1542"/>
                </a:cubicBezTo>
                <a:close/>
                <a:moveTo>
                  <a:pt x="1544" y="1544"/>
                </a:moveTo>
                <a:cubicBezTo>
                  <a:pt x="1542" y="1549"/>
                  <a:pt x="1539" y="1553"/>
                  <a:pt x="1537" y="1558"/>
                </a:cubicBezTo>
                <a:cubicBezTo>
                  <a:pt x="1540" y="1558"/>
                  <a:pt x="1542" y="1558"/>
                  <a:pt x="1545" y="1558"/>
                </a:cubicBezTo>
                <a:cubicBezTo>
                  <a:pt x="1545" y="1558"/>
                  <a:pt x="1545" y="1556"/>
                  <a:pt x="1545" y="1556"/>
                </a:cubicBezTo>
                <a:cubicBezTo>
                  <a:pt x="1545" y="1553"/>
                  <a:pt x="1545" y="1551"/>
                  <a:pt x="1545" y="1548"/>
                </a:cubicBezTo>
                <a:cubicBezTo>
                  <a:pt x="1545" y="1547"/>
                  <a:pt x="1544" y="1546"/>
                  <a:pt x="1544" y="1544"/>
                </a:cubicBezTo>
                <a:close/>
                <a:moveTo>
                  <a:pt x="1491" y="1524"/>
                </a:moveTo>
                <a:cubicBezTo>
                  <a:pt x="1490" y="1524"/>
                  <a:pt x="1490" y="1525"/>
                  <a:pt x="1489" y="1525"/>
                </a:cubicBezTo>
                <a:cubicBezTo>
                  <a:pt x="1488" y="1525"/>
                  <a:pt x="1488" y="1525"/>
                  <a:pt x="1488" y="1524"/>
                </a:cubicBezTo>
                <a:cubicBezTo>
                  <a:pt x="1487" y="1524"/>
                  <a:pt x="1487" y="1523"/>
                  <a:pt x="1487" y="1522"/>
                </a:cubicBezTo>
                <a:cubicBezTo>
                  <a:pt x="1488" y="1520"/>
                  <a:pt x="1488" y="1518"/>
                  <a:pt x="1489" y="1516"/>
                </a:cubicBezTo>
                <a:cubicBezTo>
                  <a:pt x="1488" y="1516"/>
                  <a:pt x="1488" y="1516"/>
                  <a:pt x="1488" y="1516"/>
                </a:cubicBezTo>
                <a:cubicBezTo>
                  <a:pt x="1487" y="1517"/>
                  <a:pt x="1486" y="1518"/>
                  <a:pt x="1485" y="1519"/>
                </a:cubicBezTo>
                <a:cubicBezTo>
                  <a:pt x="1484" y="1520"/>
                  <a:pt x="1486" y="1526"/>
                  <a:pt x="1488" y="1526"/>
                </a:cubicBezTo>
                <a:cubicBezTo>
                  <a:pt x="1489" y="1527"/>
                  <a:pt x="1491" y="1526"/>
                  <a:pt x="1491" y="1524"/>
                </a:cubicBezTo>
                <a:close/>
                <a:moveTo>
                  <a:pt x="1544" y="1516"/>
                </a:moveTo>
                <a:cubicBezTo>
                  <a:pt x="1547" y="1512"/>
                  <a:pt x="1547" y="1512"/>
                  <a:pt x="1550" y="1511"/>
                </a:cubicBezTo>
                <a:cubicBezTo>
                  <a:pt x="1550" y="1513"/>
                  <a:pt x="1552" y="1514"/>
                  <a:pt x="1553" y="1514"/>
                </a:cubicBezTo>
                <a:cubicBezTo>
                  <a:pt x="1551" y="1515"/>
                  <a:pt x="1549" y="1517"/>
                  <a:pt x="1547" y="1518"/>
                </a:cubicBezTo>
                <a:cubicBezTo>
                  <a:pt x="1546" y="1517"/>
                  <a:pt x="1546" y="1517"/>
                  <a:pt x="1545" y="1515"/>
                </a:cubicBezTo>
                <a:cubicBezTo>
                  <a:pt x="1545" y="1515"/>
                  <a:pt x="1544" y="1515"/>
                  <a:pt x="1544" y="1516"/>
                </a:cubicBezTo>
                <a:close/>
                <a:moveTo>
                  <a:pt x="1549" y="1515"/>
                </a:moveTo>
                <a:cubicBezTo>
                  <a:pt x="1549" y="1515"/>
                  <a:pt x="1548" y="1515"/>
                  <a:pt x="1547" y="1515"/>
                </a:cubicBezTo>
                <a:cubicBezTo>
                  <a:pt x="1547" y="1515"/>
                  <a:pt x="1546" y="1515"/>
                  <a:pt x="1546" y="1516"/>
                </a:cubicBezTo>
                <a:cubicBezTo>
                  <a:pt x="1546" y="1516"/>
                  <a:pt x="1547" y="1517"/>
                  <a:pt x="1547" y="1517"/>
                </a:cubicBezTo>
                <a:cubicBezTo>
                  <a:pt x="1548" y="1517"/>
                  <a:pt x="1548" y="1516"/>
                  <a:pt x="1549" y="1515"/>
                </a:cubicBezTo>
                <a:close/>
                <a:moveTo>
                  <a:pt x="1531" y="1505"/>
                </a:moveTo>
                <a:cubicBezTo>
                  <a:pt x="1524" y="1505"/>
                  <a:pt x="1521" y="1507"/>
                  <a:pt x="1520" y="1515"/>
                </a:cubicBezTo>
                <a:cubicBezTo>
                  <a:pt x="1521" y="1513"/>
                  <a:pt x="1522" y="1511"/>
                  <a:pt x="1524" y="1508"/>
                </a:cubicBezTo>
                <a:cubicBezTo>
                  <a:pt x="1524" y="1508"/>
                  <a:pt x="1524" y="1508"/>
                  <a:pt x="1524" y="1508"/>
                </a:cubicBezTo>
                <a:cubicBezTo>
                  <a:pt x="1524" y="1510"/>
                  <a:pt x="1524" y="1510"/>
                  <a:pt x="1524" y="1511"/>
                </a:cubicBezTo>
                <a:cubicBezTo>
                  <a:pt x="1525" y="1508"/>
                  <a:pt x="1527" y="1506"/>
                  <a:pt x="1531" y="1505"/>
                </a:cubicBezTo>
                <a:close/>
                <a:moveTo>
                  <a:pt x="1574" y="1507"/>
                </a:moveTo>
                <a:cubicBezTo>
                  <a:pt x="1572" y="1508"/>
                  <a:pt x="1570" y="1510"/>
                  <a:pt x="1568" y="1511"/>
                </a:cubicBezTo>
                <a:cubicBezTo>
                  <a:pt x="1570" y="1511"/>
                  <a:pt x="1573" y="1510"/>
                  <a:pt x="1574" y="1507"/>
                </a:cubicBezTo>
                <a:close/>
                <a:moveTo>
                  <a:pt x="1541" y="1509"/>
                </a:moveTo>
                <a:cubicBezTo>
                  <a:pt x="1542" y="1508"/>
                  <a:pt x="1543" y="1506"/>
                  <a:pt x="1544" y="1505"/>
                </a:cubicBezTo>
                <a:cubicBezTo>
                  <a:pt x="1541" y="1506"/>
                  <a:pt x="1540" y="1507"/>
                  <a:pt x="1541" y="1509"/>
                </a:cubicBezTo>
                <a:close/>
                <a:moveTo>
                  <a:pt x="1550" y="1531"/>
                </a:moveTo>
                <a:cubicBezTo>
                  <a:pt x="1549" y="1531"/>
                  <a:pt x="1548" y="1532"/>
                  <a:pt x="1548" y="1533"/>
                </a:cubicBezTo>
                <a:cubicBezTo>
                  <a:pt x="1548" y="1532"/>
                  <a:pt x="1549" y="1531"/>
                  <a:pt x="1550" y="1531"/>
                </a:cubicBezTo>
                <a:close/>
                <a:moveTo>
                  <a:pt x="1549" y="1515"/>
                </a:moveTo>
                <a:cubicBezTo>
                  <a:pt x="1548" y="1515"/>
                  <a:pt x="1548" y="1514"/>
                  <a:pt x="1547" y="1514"/>
                </a:cubicBezTo>
                <a:cubicBezTo>
                  <a:pt x="1547" y="1514"/>
                  <a:pt x="1546" y="1515"/>
                  <a:pt x="1546" y="1515"/>
                </a:cubicBezTo>
                <a:cubicBezTo>
                  <a:pt x="1546" y="1516"/>
                  <a:pt x="1546" y="1516"/>
                  <a:pt x="1547" y="1517"/>
                </a:cubicBezTo>
                <a:cubicBezTo>
                  <a:pt x="1548" y="1516"/>
                  <a:pt x="1548" y="1516"/>
                  <a:pt x="1549" y="1515"/>
                </a:cubicBezTo>
                <a:close/>
                <a:moveTo>
                  <a:pt x="1097" y="1397"/>
                </a:moveTo>
                <a:cubicBezTo>
                  <a:pt x="1097" y="1397"/>
                  <a:pt x="1097" y="1397"/>
                  <a:pt x="1097" y="1397"/>
                </a:cubicBezTo>
                <a:cubicBezTo>
                  <a:pt x="1092" y="1397"/>
                  <a:pt x="1092" y="1397"/>
                  <a:pt x="1092" y="1397"/>
                </a:cubicBezTo>
                <a:cubicBezTo>
                  <a:pt x="1090" y="1398"/>
                  <a:pt x="1088" y="1400"/>
                  <a:pt x="1086" y="1400"/>
                </a:cubicBezTo>
                <a:cubicBezTo>
                  <a:pt x="1085" y="1402"/>
                  <a:pt x="1083" y="1402"/>
                  <a:pt x="1081" y="1403"/>
                </a:cubicBezTo>
                <a:cubicBezTo>
                  <a:pt x="1080" y="1405"/>
                  <a:pt x="1078" y="1405"/>
                  <a:pt x="1076" y="1406"/>
                </a:cubicBezTo>
                <a:cubicBezTo>
                  <a:pt x="1074" y="1407"/>
                  <a:pt x="1072" y="1408"/>
                  <a:pt x="1070" y="1408"/>
                </a:cubicBezTo>
                <a:cubicBezTo>
                  <a:pt x="1070" y="1408"/>
                  <a:pt x="1070" y="1408"/>
                  <a:pt x="1070" y="1418"/>
                </a:cubicBezTo>
                <a:cubicBezTo>
                  <a:pt x="1073" y="1417"/>
                  <a:pt x="1076" y="1416"/>
                  <a:pt x="1078" y="1415"/>
                </a:cubicBezTo>
                <a:cubicBezTo>
                  <a:pt x="1081" y="1414"/>
                  <a:pt x="1083" y="1413"/>
                  <a:pt x="1086" y="1411"/>
                </a:cubicBezTo>
                <a:cubicBezTo>
                  <a:pt x="1086" y="1411"/>
                  <a:pt x="1086" y="1411"/>
                  <a:pt x="1086" y="1470"/>
                </a:cubicBezTo>
                <a:cubicBezTo>
                  <a:pt x="1086" y="1470"/>
                  <a:pt x="1086" y="1470"/>
                  <a:pt x="1097" y="1470"/>
                </a:cubicBezTo>
                <a:cubicBezTo>
                  <a:pt x="1097" y="1470"/>
                  <a:pt x="1097" y="1470"/>
                  <a:pt x="1097" y="1397"/>
                </a:cubicBezTo>
                <a:close/>
                <a:moveTo>
                  <a:pt x="1144" y="1397"/>
                </a:moveTo>
                <a:cubicBezTo>
                  <a:pt x="1144" y="1397"/>
                  <a:pt x="1144" y="1397"/>
                  <a:pt x="1144" y="1397"/>
                </a:cubicBezTo>
                <a:cubicBezTo>
                  <a:pt x="1139" y="1397"/>
                  <a:pt x="1139" y="1397"/>
                  <a:pt x="1139" y="1397"/>
                </a:cubicBezTo>
                <a:cubicBezTo>
                  <a:pt x="1138" y="1398"/>
                  <a:pt x="1135" y="1400"/>
                  <a:pt x="1134" y="1400"/>
                </a:cubicBezTo>
                <a:cubicBezTo>
                  <a:pt x="1132" y="1402"/>
                  <a:pt x="1130" y="1402"/>
                  <a:pt x="1128" y="1403"/>
                </a:cubicBezTo>
                <a:cubicBezTo>
                  <a:pt x="1127" y="1405"/>
                  <a:pt x="1125" y="1405"/>
                  <a:pt x="1123" y="1406"/>
                </a:cubicBezTo>
                <a:cubicBezTo>
                  <a:pt x="1121" y="1407"/>
                  <a:pt x="1119" y="1408"/>
                  <a:pt x="1117" y="1408"/>
                </a:cubicBezTo>
                <a:cubicBezTo>
                  <a:pt x="1117" y="1408"/>
                  <a:pt x="1117" y="1408"/>
                  <a:pt x="1117" y="1418"/>
                </a:cubicBezTo>
                <a:cubicBezTo>
                  <a:pt x="1120" y="1417"/>
                  <a:pt x="1123" y="1416"/>
                  <a:pt x="1126" y="1415"/>
                </a:cubicBezTo>
                <a:cubicBezTo>
                  <a:pt x="1128" y="1414"/>
                  <a:pt x="1130" y="1413"/>
                  <a:pt x="1133" y="1411"/>
                </a:cubicBezTo>
                <a:cubicBezTo>
                  <a:pt x="1133" y="1411"/>
                  <a:pt x="1133" y="1411"/>
                  <a:pt x="1133" y="1470"/>
                </a:cubicBezTo>
                <a:cubicBezTo>
                  <a:pt x="1133" y="1470"/>
                  <a:pt x="1133" y="1470"/>
                  <a:pt x="1144" y="1470"/>
                </a:cubicBezTo>
                <a:cubicBezTo>
                  <a:pt x="1144" y="1470"/>
                  <a:pt x="1144" y="1470"/>
                  <a:pt x="1144" y="1397"/>
                </a:cubicBezTo>
                <a:close/>
                <a:moveTo>
                  <a:pt x="1190" y="1397"/>
                </a:moveTo>
                <a:cubicBezTo>
                  <a:pt x="1190" y="1397"/>
                  <a:pt x="1190" y="1397"/>
                  <a:pt x="1190" y="1397"/>
                </a:cubicBezTo>
                <a:cubicBezTo>
                  <a:pt x="1186" y="1397"/>
                  <a:pt x="1186" y="1397"/>
                  <a:pt x="1186" y="1397"/>
                </a:cubicBezTo>
                <a:cubicBezTo>
                  <a:pt x="1184" y="1398"/>
                  <a:pt x="1182" y="1400"/>
                  <a:pt x="1180" y="1400"/>
                </a:cubicBezTo>
                <a:cubicBezTo>
                  <a:pt x="1179" y="1402"/>
                  <a:pt x="1176" y="1402"/>
                  <a:pt x="1175" y="1403"/>
                </a:cubicBezTo>
                <a:cubicBezTo>
                  <a:pt x="1173" y="1404"/>
                  <a:pt x="1171" y="1405"/>
                  <a:pt x="1169" y="1405"/>
                </a:cubicBezTo>
                <a:cubicBezTo>
                  <a:pt x="1168" y="1406"/>
                  <a:pt x="1165" y="1407"/>
                  <a:pt x="1164" y="1408"/>
                </a:cubicBezTo>
                <a:cubicBezTo>
                  <a:pt x="1164" y="1408"/>
                  <a:pt x="1164" y="1408"/>
                  <a:pt x="1164" y="1418"/>
                </a:cubicBezTo>
                <a:cubicBezTo>
                  <a:pt x="1167" y="1417"/>
                  <a:pt x="1170" y="1416"/>
                  <a:pt x="1172" y="1415"/>
                </a:cubicBezTo>
                <a:cubicBezTo>
                  <a:pt x="1174" y="1414"/>
                  <a:pt x="1177" y="1413"/>
                  <a:pt x="1179" y="1411"/>
                </a:cubicBezTo>
                <a:cubicBezTo>
                  <a:pt x="1179" y="1411"/>
                  <a:pt x="1179" y="1411"/>
                  <a:pt x="1179" y="1470"/>
                </a:cubicBezTo>
                <a:cubicBezTo>
                  <a:pt x="1179" y="1470"/>
                  <a:pt x="1179" y="1470"/>
                  <a:pt x="1190" y="1470"/>
                </a:cubicBezTo>
                <a:cubicBezTo>
                  <a:pt x="1190" y="1470"/>
                  <a:pt x="1190" y="1470"/>
                  <a:pt x="1190" y="1397"/>
                </a:cubicBezTo>
                <a:close/>
                <a:moveTo>
                  <a:pt x="1327" y="1429"/>
                </a:moveTo>
                <a:cubicBezTo>
                  <a:pt x="1327" y="1429"/>
                  <a:pt x="1327" y="1429"/>
                  <a:pt x="1327" y="1429"/>
                </a:cubicBezTo>
                <a:cubicBezTo>
                  <a:pt x="1327" y="1437"/>
                  <a:pt x="1327" y="1437"/>
                  <a:pt x="1327" y="1437"/>
                </a:cubicBezTo>
                <a:cubicBezTo>
                  <a:pt x="1333" y="1438"/>
                  <a:pt x="1334" y="1441"/>
                  <a:pt x="1334" y="1443"/>
                </a:cubicBezTo>
                <a:cubicBezTo>
                  <a:pt x="1334" y="1445"/>
                  <a:pt x="1333" y="1448"/>
                  <a:pt x="1333" y="1450"/>
                </a:cubicBezTo>
                <a:cubicBezTo>
                  <a:pt x="1333" y="1453"/>
                  <a:pt x="1332" y="1455"/>
                  <a:pt x="1332" y="1457"/>
                </a:cubicBezTo>
                <a:cubicBezTo>
                  <a:pt x="1332" y="1467"/>
                  <a:pt x="1338" y="1470"/>
                  <a:pt x="1347" y="1470"/>
                </a:cubicBezTo>
                <a:cubicBezTo>
                  <a:pt x="1347" y="1470"/>
                  <a:pt x="1347" y="1470"/>
                  <a:pt x="1351" y="1470"/>
                </a:cubicBezTo>
                <a:cubicBezTo>
                  <a:pt x="1351" y="1470"/>
                  <a:pt x="1351" y="1470"/>
                  <a:pt x="1351" y="1461"/>
                </a:cubicBezTo>
                <a:cubicBezTo>
                  <a:pt x="1351" y="1461"/>
                  <a:pt x="1351" y="1461"/>
                  <a:pt x="1349" y="1461"/>
                </a:cubicBezTo>
                <a:cubicBezTo>
                  <a:pt x="1345" y="1461"/>
                  <a:pt x="1344" y="1459"/>
                  <a:pt x="1344" y="1455"/>
                </a:cubicBezTo>
                <a:cubicBezTo>
                  <a:pt x="1344" y="1454"/>
                  <a:pt x="1344" y="1452"/>
                  <a:pt x="1345" y="1450"/>
                </a:cubicBezTo>
                <a:cubicBezTo>
                  <a:pt x="1345" y="1449"/>
                  <a:pt x="1345" y="1447"/>
                  <a:pt x="1345" y="1444"/>
                </a:cubicBezTo>
                <a:cubicBezTo>
                  <a:pt x="1345" y="1437"/>
                  <a:pt x="1342" y="1434"/>
                  <a:pt x="1337" y="1433"/>
                </a:cubicBezTo>
                <a:cubicBezTo>
                  <a:pt x="1337" y="1433"/>
                  <a:pt x="1337" y="1433"/>
                  <a:pt x="1337" y="1433"/>
                </a:cubicBezTo>
                <a:cubicBezTo>
                  <a:pt x="1342" y="1432"/>
                  <a:pt x="1345" y="1429"/>
                  <a:pt x="1345" y="1422"/>
                </a:cubicBezTo>
                <a:cubicBezTo>
                  <a:pt x="1345" y="1419"/>
                  <a:pt x="1345" y="1417"/>
                  <a:pt x="1345" y="1416"/>
                </a:cubicBezTo>
                <a:cubicBezTo>
                  <a:pt x="1344" y="1414"/>
                  <a:pt x="1344" y="1412"/>
                  <a:pt x="1344" y="1411"/>
                </a:cubicBezTo>
                <a:cubicBezTo>
                  <a:pt x="1344" y="1407"/>
                  <a:pt x="1345" y="1405"/>
                  <a:pt x="1349" y="1405"/>
                </a:cubicBezTo>
                <a:cubicBezTo>
                  <a:pt x="1349" y="1405"/>
                  <a:pt x="1349" y="1405"/>
                  <a:pt x="1351" y="1405"/>
                </a:cubicBezTo>
                <a:cubicBezTo>
                  <a:pt x="1351" y="1405"/>
                  <a:pt x="1351" y="1405"/>
                  <a:pt x="1351" y="1396"/>
                </a:cubicBezTo>
                <a:cubicBezTo>
                  <a:pt x="1351" y="1396"/>
                  <a:pt x="1351" y="1396"/>
                  <a:pt x="1347" y="1396"/>
                </a:cubicBezTo>
                <a:cubicBezTo>
                  <a:pt x="1338" y="1396"/>
                  <a:pt x="1332" y="1400"/>
                  <a:pt x="1332" y="1408"/>
                </a:cubicBezTo>
                <a:cubicBezTo>
                  <a:pt x="1332" y="1411"/>
                  <a:pt x="1333" y="1413"/>
                  <a:pt x="1333" y="1416"/>
                </a:cubicBezTo>
                <a:cubicBezTo>
                  <a:pt x="1333" y="1418"/>
                  <a:pt x="1334" y="1421"/>
                  <a:pt x="1334" y="1423"/>
                </a:cubicBezTo>
                <a:cubicBezTo>
                  <a:pt x="1334" y="1425"/>
                  <a:pt x="1333" y="1429"/>
                  <a:pt x="1327" y="1429"/>
                </a:cubicBezTo>
                <a:close/>
                <a:moveTo>
                  <a:pt x="1381" y="1437"/>
                </a:moveTo>
                <a:cubicBezTo>
                  <a:pt x="1381" y="1437"/>
                  <a:pt x="1381" y="1437"/>
                  <a:pt x="1381" y="1437"/>
                </a:cubicBezTo>
                <a:cubicBezTo>
                  <a:pt x="1381" y="1429"/>
                  <a:pt x="1381" y="1429"/>
                  <a:pt x="1381" y="1429"/>
                </a:cubicBezTo>
                <a:cubicBezTo>
                  <a:pt x="1375" y="1429"/>
                  <a:pt x="1375" y="1425"/>
                  <a:pt x="1375" y="1423"/>
                </a:cubicBezTo>
                <a:cubicBezTo>
                  <a:pt x="1375" y="1421"/>
                  <a:pt x="1375" y="1418"/>
                  <a:pt x="1375" y="1416"/>
                </a:cubicBezTo>
                <a:cubicBezTo>
                  <a:pt x="1375" y="1413"/>
                  <a:pt x="1375" y="1411"/>
                  <a:pt x="1375" y="1408"/>
                </a:cubicBezTo>
                <a:cubicBezTo>
                  <a:pt x="1375" y="1400"/>
                  <a:pt x="1370" y="1396"/>
                  <a:pt x="1361" y="1396"/>
                </a:cubicBezTo>
                <a:cubicBezTo>
                  <a:pt x="1361" y="1396"/>
                  <a:pt x="1361" y="1396"/>
                  <a:pt x="1357" y="1396"/>
                </a:cubicBezTo>
                <a:cubicBezTo>
                  <a:pt x="1357" y="1396"/>
                  <a:pt x="1357" y="1396"/>
                  <a:pt x="1357" y="1405"/>
                </a:cubicBezTo>
                <a:cubicBezTo>
                  <a:pt x="1357" y="1405"/>
                  <a:pt x="1357" y="1405"/>
                  <a:pt x="1359" y="1405"/>
                </a:cubicBezTo>
                <a:cubicBezTo>
                  <a:pt x="1362" y="1405"/>
                  <a:pt x="1364" y="1407"/>
                  <a:pt x="1364" y="1411"/>
                </a:cubicBezTo>
                <a:cubicBezTo>
                  <a:pt x="1364" y="1412"/>
                  <a:pt x="1364" y="1414"/>
                  <a:pt x="1364" y="1416"/>
                </a:cubicBezTo>
                <a:cubicBezTo>
                  <a:pt x="1363" y="1417"/>
                  <a:pt x="1363" y="1419"/>
                  <a:pt x="1363" y="1422"/>
                </a:cubicBezTo>
                <a:cubicBezTo>
                  <a:pt x="1363" y="1429"/>
                  <a:pt x="1366" y="1432"/>
                  <a:pt x="1372" y="1433"/>
                </a:cubicBezTo>
                <a:cubicBezTo>
                  <a:pt x="1372" y="1433"/>
                  <a:pt x="1372" y="1433"/>
                  <a:pt x="1372" y="1433"/>
                </a:cubicBezTo>
                <a:cubicBezTo>
                  <a:pt x="1366" y="1434"/>
                  <a:pt x="1363" y="1437"/>
                  <a:pt x="1363" y="1444"/>
                </a:cubicBezTo>
                <a:cubicBezTo>
                  <a:pt x="1363" y="1447"/>
                  <a:pt x="1363" y="1449"/>
                  <a:pt x="1364" y="1450"/>
                </a:cubicBezTo>
                <a:cubicBezTo>
                  <a:pt x="1364" y="1452"/>
                  <a:pt x="1364" y="1454"/>
                  <a:pt x="1364" y="1455"/>
                </a:cubicBezTo>
                <a:cubicBezTo>
                  <a:pt x="1364" y="1459"/>
                  <a:pt x="1363" y="1461"/>
                  <a:pt x="1359" y="1461"/>
                </a:cubicBezTo>
                <a:cubicBezTo>
                  <a:pt x="1359" y="1461"/>
                  <a:pt x="1359" y="1461"/>
                  <a:pt x="1357" y="1461"/>
                </a:cubicBezTo>
                <a:cubicBezTo>
                  <a:pt x="1357" y="1461"/>
                  <a:pt x="1357" y="1461"/>
                  <a:pt x="1357" y="1470"/>
                </a:cubicBezTo>
                <a:cubicBezTo>
                  <a:pt x="1357" y="1470"/>
                  <a:pt x="1357" y="1470"/>
                  <a:pt x="1361" y="1470"/>
                </a:cubicBezTo>
                <a:cubicBezTo>
                  <a:pt x="1370" y="1470"/>
                  <a:pt x="1375" y="1467"/>
                  <a:pt x="1375" y="1457"/>
                </a:cubicBezTo>
                <a:cubicBezTo>
                  <a:pt x="1375" y="1455"/>
                  <a:pt x="1375" y="1453"/>
                  <a:pt x="1375" y="1450"/>
                </a:cubicBezTo>
                <a:cubicBezTo>
                  <a:pt x="1375" y="1448"/>
                  <a:pt x="1375" y="1445"/>
                  <a:pt x="1375" y="1443"/>
                </a:cubicBezTo>
                <a:cubicBezTo>
                  <a:pt x="1375" y="1441"/>
                  <a:pt x="1375" y="1438"/>
                  <a:pt x="1381" y="1437"/>
                </a:cubicBezTo>
                <a:close/>
                <a:moveTo>
                  <a:pt x="1428" y="1397"/>
                </a:moveTo>
                <a:cubicBezTo>
                  <a:pt x="1428" y="1397"/>
                  <a:pt x="1428" y="1397"/>
                  <a:pt x="1428" y="1397"/>
                </a:cubicBezTo>
                <a:cubicBezTo>
                  <a:pt x="1423" y="1397"/>
                  <a:pt x="1423" y="1397"/>
                  <a:pt x="1423" y="1397"/>
                </a:cubicBezTo>
                <a:cubicBezTo>
                  <a:pt x="1421" y="1398"/>
                  <a:pt x="1420" y="1400"/>
                  <a:pt x="1417" y="1400"/>
                </a:cubicBezTo>
                <a:cubicBezTo>
                  <a:pt x="1416" y="1402"/>
                  <a:pt x="1414" y="1402"/>
                  <a:pt x="1412" y="1403"/>
                </a:cubicBezTo>
                <a:cubicBezTo>
                  <a:pt x="1410" y="1404"/>
                  <a:pt x="1409" y="1405"/>
                  <a:pt x="1407" y="1405"/>
                </a:cubicBezTo>
                <a:cubicBezTo>
                  <a:pt x="1405" y="1406"/>
                  <a:pt x="1404" y="1407"/>
                  <a:pt x="1401" y="1408"/>
                </a:cubicBezTo>
                <a:cubicBezTo>
                  <a:pt x="1401" y="1408"/>
                  <a:pt x="1401" y="1408"/>
                  <a:pt x="1401" y="1418"/>
                </a:cubicBezTo>
                <a:cubicBezTo>
                  <a:pt x="1404" y="1417"/>
                  <a:pt x="1407" y="1416"/>
                  <a:pt x="1409" y="1415"/>
                </a:cubicBezTo>
                <a:cubicBezTo>
                  <a:pt x="1412" y="1414"/>
                  <a:pt x="1415" y="1413"/>
                  <a:pt x="1417" y="1411"/>
                </a:cubicBezTo>
                <a:cubicBezTo>
                  <a:pt x="1417" y="1411"/>
                  <a:pt x="1417" y="1411"/>
                  <a:pt x="1417" y="1470"/>
                </a:cubicBezTo>
                <a:cubicBezTo>
                  <a:pt x="1417" y="1470"/>
                  <a:pt x="1417" y="1470"/>
                  <a:pt x="1428" y="1470"/>
                </a:cubicBezTo>
                <a:cubicBezTo>
                  <a:pt x="1428" y="1470"/>
                  <a:pt x="1428" y="1470"/>
                  <a:pt x="1428" y="1397"/>
                </a:cubicBezTo>
                <a:close/>
                <a:moveTo>
                  <a:pt x="1475" y="1397"/>
                </a:moveTo>
                <a:cubicBezTo>
                  <a:pt x="1475" y="1397"/>
                  <a:pt x="1475" y="1397"/>
                  <a:pt x="1475" y="1397"/>
                </a:cubicBezTo>
                <a:cubicBezTo>
                  <a:pt x="1470" y="1397"/>
                  <a:pt x="1470" y="1397"/>
                  <a:pt x="1470" y="1397"/>
                </a:cubicBezTo>
                <a:cubicBezTo>
                  <a:pt x="1468" y="1398"/>
                  <a:pt x="1466" y="1400"/>
                  <a:pt x="1464" y="1400"/>
                </a:cubicBezTo>
                <a:cubicBezTo>
                  <a:pt x="1463" y="1402"/>
                  <a:pt x="1460" y="1402"/>
                  <a:pt x="1459" y="1403"/>
                </a:cubicBezTo>
                <a:cubicBezTo>
                  <a:pt x="1457" y="1405"/>
                  <a:pt x="1455" y="1405"/>
                  <a:pt x="1454" y="1406"/>
                </a:cubicBezTo>
                <a:cubicBezTo>
                  <a:pt x="1452" y="1407"/>
                  <a:pt x="1450" y="1408"/>
                  <a:pt x="1448" y="1408"/>
                </a:cubicBezTo>
                <a:cubicBezTo>
                  <a:pt x="1448" y="1408"/>
                  <a:pt x="1448" y="1408"/>
                  <a:pt x="1448" y="1418"/>
                </a:cubicBezTo>
                <a:cubicBezTo>
                  <a:pt x="1451" y="1417"/>
                  <a:pt x="1454" y="1416"/>
                  <a:pt x="1456" y="1415"/>
                </a:cubicBezTo>
                <a:cubicBezTo>
                  <a:pt x="1459" y="1414"/>
                  <a:pt x="1461" y="1413"/>
                  <a:pt x="1463" y="1411"/>
                </a:cubicBezTo>
                <a:cubicBezTo>
                  <a:pt x="1463" y="1411"/>
                  <a:pt x="1463" y="1411"/>
                  <a:pt x="1463" y="1470"/>
                </a:cubicBezTo>
                <a:cubicBezTo>
                  <a:pt x="1463" y="1470"/>
                  <a:pt x="1463" y="1470"/>
                  <a:pt x="1475" y="1470"/>
                </a:cubicBezTo>
                <a:cubicBezTo>
                  <a:pt x="1475" y="1470"/>
                  <a:pt x="1475" y="1470"/>
                  <a:pt x="1475" y="1397"/>
                </a:cubicBezTo>
                <a:close/>
                <a:moveTo>
                  <a:pt x="1520" y="1397"/>
                </a:moveTo>
                <a:cubicBezTo>
                  <a:pt x="1520" y="1397"/>
                  <a:pt x="1520" y="1397"/>
                  <a:pt x="1520" y="1397"/>
                </a:cubicBezTo>
                <a:cubicBezTo>
                  <a:pt x="1516" y="1397"/>
                  <a:pt x="1516" y="1397"/>
                  <a:pt x="1516" y="1397"/>
                </a:cubicBezTo>
                <a:cubicBezTo>
                  <a:pt x="1514" y="1398"/>
                  <a:pt x="1513" y="1400"/>
                  <a:pt x="1510" y="1400"/>
                </a:cubicBezTo>
                <a:cubicBezTo>
                  <a:pt x="1509" y="1402"/>
                  <a:pt x="1507" y="1402"/>
                  <a:pt x="1505" y="1403"/>
                </a:cubicBezTo>
                <a:cubicBezTo>
                  <a:pt x="1503" y="1405"/>
                  <a:pt x="1502" y="1405"/>
                  <a:pt x="1500" y="1406"/>
                </a:cubicBezTo>
                <a:cubicBezTo>
                  <a:pt x="1498" y="1407"/>
                  <a:pt x="1496" y="1408"/>
                  <a:pt x="1495" y="1408"/>
                </a:cubicBezTo>
                <a:cubicBezTo>
                  <a:pt x="1495" y="1408"/>
                  <a:pt x="1495" y="1408"/>
                  <a:pt x="1495" y="1418"/>
                </a:cubicBezTo>
                <a:cubicBezTo>
                  <a:pt x="1497" y="1417"/>
                  <a:pt x="1500" y="1416"/>
                  <a:pt x="1502" y="1415"/>
                </a:cubicBezTo>
                <a:cubicBezTo>
                  <a:pt x="1505" y="1414"/>
                  <a:pt x="1508" y="1413"/>
                  <a:pt x="1509" y="1411"/>
                </a:cubicBezTo>
                <a:cubicBezTo>
                  <a:pt x="1509" y="1411"/>
                  <a:pt x="1509" y="1411"/>
                  <a:pt x="1509" y="1470"/>
                </a:cubicBezTo>
                <a:cubicBezTo>
                  <a:pt x="1509" y="1470"/>
                  <a:pt x="1509" y="1470"/>
                  <a:pt x="1520" y="1470"/>
                </a:cubicBezTo>
                <a:cubicBezTo>
                  <a:pt x="1520" y="1470"/>
                  <a:pt x="1520" y="1470"/>
                  <a:pt x="1520" y="1397"/>
                </a:cubicBezTo>
                <a:close/>
                <a:moveTo>
                  <a:pt x="1270" y="1444"/>
                </a:moveTo>
                <a:cubicBezTo>
                  <a:pt x="1270" y="1446"/>
                  <a:pt x="1271" y="1447"/>
                  <a:pt x="1272" y="1448"/>
                </a:cubicBezTo>
                <a:cubicBezTo>
                  <a:pt x="1272" y="1450"/>
                  <a:pt x="1272" y="1452"/>
                  <a:pt x="1273" y="1453"/>
                </a:cubicBezTo>
                <a:cubicBezTo>
                  <a:pt x="1273" y="1455"/>
                  <a:pt x="1273" y="1457"/>
                  <a:pt x="1273" y="1458"/>
                </a:cubicBezTo>
                <a:cubicBezTo>
                  <a:pt x="1274" y="1461"/>
                  <a:pt x="1273" y="1463"/>
                  <a:pt x="1270" y="1463"/>
                </a:cubicBezTo>
                <a:cubicBezTo>
                  <a:pt x="1267" y="1463"/>
                  <a:pt x="1264" y="1463"/>
                  <a:pt x="1261" y="1463"/>
                </a:cubicBezTo>
                <a:cubicBezTo>
                  <a:pt x="1261" y="1463"/>
                  <a:pt x="1260" y="1463"/>
                  <a:pt x="1260" y="1463"/>
                </a:cubicBezTo>
                <a:cubicBezTo>
                  <a:pt x="1258" y="1465"/>
                  <a:pt x="1257" y="1466"/>
                  <a:pt x="1255" y="1467"/>
                </a:cubicBezTo>
                <a:cubicBezTo>
                  <a:pt x="1253" y="1470"/>
                  <a:pt x="1250" y="1470"/>
                  <a:pt x="1248" y="1468"/>
                </a:cubicBezTo>
                <a:cubicBezTo>
                  <a:pt x="1246" y="1466"/>
                  <a:pt x="1245" y="1463"/>
                  <a:pt x="1243" y="1461"/>
                </a:cubicBezTo>
                <a:cubicBezTo>
                  <a:pt x="1242" y="1459"/>
                  <a:pt x="1243" y="1457"/>
                  <a:pt x="1245" y="1456"/>
                </a:cubicBezTo>
                <a:cubicBezTo>
                  <a:pt x="1242" y="1456"/>
                  <a:pt x="1241" y="1456"/>
                  <a:pt x="1239" y="1456"/>
                </a:cubicBezTo>
                <a:cubicBezTo>
                  <a:pt x="1239" y="1458"/>
                  <a:pt x="1237" y="1460"/>
                  <a:pt x="1237" y="1462"/>
                </a:cubicBezTo>
                <a:cubicBezTo>
                  <a:pt x="1237" y="1463"/>
                  <a:pt x="1236" y="1463"/>
                  <a:pt x="1236" y="1464"/>
                </a:cubicBezTo>
                <a:cubicBezTo>
                  <a:pt x="1236" y="1467"/>
                  <a:pt x="1235" y="1469"/>
                  <a:pt x="1232" y="1468"/>
                </a:cubicBezTo>
                <a:cubicBezTo>
                  <a:pt x="1229" y="1468"/>
                  <a:pt x="1226" y="1467"/>
                  <a:pt x="1223" y="1466"/>
                </a:cubicBezTo>
                <a:cubicBezTo>
                  <a:pt x="1221" y="1465"/>
                  <a:pt x="1221" y="1464"/>
                  <a:pt x="1221" y="1462"/>
                </a:cubicBezTo>
                <a:cubicBezTo>
                  <a:pt x="1221" y="1461"/>
                  <a:pt x="1221" y="1460"/>
                  <a:pt x="1222" y="1460"/>
                </a:cubicBezTo>
                <a:cubicBezTo>
                  <a:pt x="1219" y="1459"/>
                  <a:pt x="1217" y="1458"/>
                  <a:pt x="1215" y="1457"/>
                </a:cubicBezTo>
                <a:cubicBezTo>
                  <a:pt x="1214" y="1456"/>
                  <a:pt x="1213" y="1454"/>
                  <a:pt x="1212" y="1452"/>
                </a:cubicBezTo>
                <a:cubicBezTo>
                  <a:pt x="1211" y="1450"/>
                  <a:pt x="1211" y="1449"/>
                  <a:pt x="1213" y="1447"/>
                </a:cubicBezTo>
                <a:cubicBezTo>
                  <a:pt x="1216" y="1445"/>
                  <a:pt x="1217" y="1442"/>
                  <a:pt x="1216" y="1438"/>
                </a:cubicBezTo>
                <a:cubicBezTo>
                  <a:pt x="1216" y="1436"/>
                  <a:pt x="1216" y="1434"/>
                  <a:pt x="1216" y="1432"/>
                </a:cubicBezTo>
                <a:cubicBezTo>
                  <a:pt x="1215" y="1431"/>
                  <a:pt x="1213" y="1431"/>
                  <a:pt x="1212" y="1430"/>
                </a:cubicBezTo>
                <a:cubicBezTo>
                  <a:pt x="1211" y="1428"/>
                  <a:pt x="1210" y="1426"/>
                  <a:pt x="1210" y="1424"/>
                </a:cubicBezTo>
                <a:cubicBezTo>
                  <a:pt x="1210" y="1421"/>
                  <a:pt x="1213" y="1419"/>
                  <a:pt x="1216" y="1418"/>
                </a:cubicBezTo>
                <a:cubicBezTo>
                  <a:pt x="1217" y="1419"/>
                  <a:pt x="1217" y="1419"/>
                  <a:pt x="1217" y="1420"/>
                </a:cubicBezTo>
                <a:cubicBezTo>
                  <a:pt x="1217" y="1421"/>
                  <a:pt x="1217" y="1422"/>
                  <a:pt x="1217" y="1423"/>
                </a:cubicBezTo>
                <a:cubicBezTo>
                  <a:pt x="1217" y="1423"/>
                  <a:pt x="1216" y="1423"/>
                  <a:pt x="1216" y="1423"/>
                </a:cubicBezTo>
                <a:cubicBezTo>
                  <a:pt x="1215" y="1424"/>
                  <a:pt x="1215" y="1425"/>
                  <a:pt x="1214" y="1427"/>
                </a:cubicBezTo>
                <a:cubicBezTo>
                  <a:pt x="1215" y="1427"/>
                  <a:pt x="1216" y="1427"/>
                  <a:pt x="1217" y="1427"/>
                </a:cubicBezTo>
                <a:cubicBezTo>
                  <a:pt x="1218" y="1425"/>
                  <a:pt x="1219" y="1425"/>
                  <a:pt x="1219" y="1423"/>
                </a:cubicBezTo>
                <a:cubicBezTo>
                  <a:pt x="1224" y="1417"/>
                  <a:pt x="1230" y="1413"/>
                  <a:pt x="1237" y="1411"/>
                </a:cubicBezTo>
                <a:cubicBezTo>
                  <a:pt x="1241" y="1411"/>
                  <a:pt x="1244" y="1410"/>
                  <a:pt x="1246" y="1407"/>
                </a:cubicBezTo>
                <a:cubicBezTo>
                  <a:pt x="1246" y="1406"/>
                  <a:pt x="1247" y="1406"/>
                  <a:pt x="1247" y="1406"/>
                </a:cubicBezTo>
                <a:cubicBezTo>
                  <a:pt x="1250" y="1406"/>
                  <a:pt x="1252" y="1403"/>
                  <a:pt x="1253" y="1401"/>
                </a:cubicBezTo>
                <a:cubicBezTo>
                  <a:pt x="1261" y="1394"/>
                  <a:pt x="1273" y="1393"/>
                  <a:pt x="1281" y="1400"/>
                </a:cubicBezTo>
                <a:cubicBezTo>
                  <a:pt x="1283" y="1402"/>
                  <a:pt x="1286" y="1404"/>
                  <a:pt x="1288" y="1406"/>
                </a:cubicBezTo>
                <a:cubicBezTo>
                  <a:pt x="1290" y="1407"/>
                  <a:pt x="1291" y="1409"/>
                  <a:pt x="1292" y="1411"/>
                </a:cubicBezTo>
                <a:cubicBezTo>
                  <a:pt x="1293" y="1412"/>
                  <a:pt x="1293" y="1412"/>
                  <a:pt x="1295" y="1411"/>
                </a:cubicBezTo>
                <a:cubicBezTo>
                  <a:pt x="1295" y="1411"/>
                  <a:pt x="1296" y="1410"/>
                  <a:pt x="1297" y="1409"/>
                </a:cubicBezTo>
                <a:cubicBezTo>
                  <a:pt x="1299" y="1406"/>
                  <a:pt x="1302" y="1406"/>
                  <a:pt x="1303" y="1410"/>
                </a:cubicBezTo>
                <a:cubicBezTo>
                  <a:pt x="1304" y="1413"/>
                  <a:pt x="1305" y="1415"/>
                  <a:pt x="1306" y="1419"/>
                </a:cubicBezTo>
                <a:cubicBezTo>
                  <a:pt x="1306" y="1423"/>
                  <a:pt x="1306" y="1427"/>
                  <a:pt x="1304" y="1432"/>
                </a:cubicBezTo>
                <a:cubicBezTo>
                  <a:pt x="1302" y="1438"/>
                  <a:pt x="1297" y="1442"/>
                  <a:pt x="1291" y="1442"/>
                </a:cubicBezTo>
                <a:cubicBezTo>
                  <a:pt x="1290" y="1442"/>
                  <a:pt x="1290" y="1442"/>
                  <a:pt x="1289" y="1442"/>
                </a:cubicBezTo>
                <a:cubicBezTo>
                  <a:pt x="1286" y="1441"/>
                  <a:pt x="1285" y="1442"/>
                  <a:pt x="1284" y="1444"/>
                </a:cubicBezTo>
                <a:cubicBezTo>
                  <a:pt x="1283" y="1448"/>
                  <a:pt x="1277" y="1450"/>
                  <a:pt x="1274" y="1447"/>
                </a:cubicBezTo>
                <a:cubicBezTo>
                  <a:pt x="1273" y="1446"/>
                  <a:pt x="1272" y="1445"/>
                  <a:pt x="1271" y="1444"/>
                </a:cubicBezTo>
                <a:cubicBezTo>
                  <a:pt x="1270" y="1444"/>
                  <a:pt x="1270" y="1444"/>
                  <a:pt x="1270" y="1444"/>
                </a:cubicBezTo>
                <a:close/>
                <a:moveTo>
                  <a:pt x="1264" y="1440"/>
                </a:moveTo>
                <a:cubicBezTo>
                  <a:pt x="1268" y="1441"/>
                  <a:pt x="1272" y="1442"/>
                  <a:pt x="1274" y="1445"/>
                </a:cubicBezTo>
                <a:cubicBezTo>
                  <a:pt x="1276" y="1447"/>
                  <a:pt x="1278" y="1448"/>
                  <a:pt x="1280" y="1447"/>
                </a:cubicBezTo>
                <a:cubicBezTo>
                  <a:pt x="1282" y="1446"/>
                  <a:pt x="1284" y="1444"/>
                  <a:pt x="1284" y="1441"/>
                </a:cubicBezTo>
                <a:cubicBezTo>
                  <a:pt x="1284" y="1441"/>
                  <a:pt x="1283" y="1441"/>
                  <a:pt x="1283" y="1442"/>
                </a:cubicBezTo>
                <a:cubicBezTo>
                  <a:pt x="1282" y="1443"/>
                  <a:pt x="1281" y="1444"/>
                  <a:pt x="1281" y="1445"/>
                </a:cubicBezTo>
                <a:cubicBezTo>
                  <a:pt x="1279" y="1446"/>
                  <a:pt x="1278" y="1446"/>
                  <a:pt x="1277" y="1446"/>
                </a:cubicBezTo>
                <a:cubicBezTo>
                  <a:pt x="1277" y="1446"/>
                  <a:pt x="1276" y="1444"/>
                  <a:pt x="1276" y="1444"/>
                </a:cubicBezTo>
                <a:cubicBezTo>
                  <a:pt x="1276" y="1441"/>
                  <a:pt x="1277" y="1439"/>
                  <a:pt x="1277" y="1437"/>
                </a:cubicBezTo>
                <a:cubicBezTo>
                  <a:pt x="1280" y="1438"/>
                  <a:pt x="1283" y="1439"/>
                  <a:pt x="1287" y="1440"/>
                </a:cubicBezTo>
                <a:cubicBezTo>
                  <a:pt x="1294" y="1441"/>
                  <a:pt x="1300" y="1439"/>
                  <a:pt x="1303" y="1431"/>
                </a:cubicBezTo>
                <a:cubicBezTo>
                  <a:pt x="1305" y="1426"/>
                  <a:pt x="1304" y="1421"/>
                  <a:pt x="1304" y="1416"/>
                </a:cubicBezTo>
                <a:cubicBezTo>
                  <a:pt x="1303" y="1414"/>
                  <a:pt x="1302" y="1412"/>
                  <a:pt x="1302" y="1410"/>
                </a:cubicBezTo>
                <a:cubicBezTo>
                  <a:pt x="1301" y="1409"/>
                  <a:pt x="1300" y="1408"/>
                  <a:pt x="1299" y="1410"/>
                </a:cubicBezTo>
                <a:cubicBezTo>
                  <a:pt x="1297" y="1412"/>
                  <a:pt x="1295" y="1413"/>
                  <a:pt x="1293" y="1414"/>
                </a:cubicBezTo>
                <a:cubicBezTo>
                  <a:pt x="1293" y="1414"/>
                  <a:pt x="1292" y="1415"/>
                  <a:pt x="1292" y="1416"/>
                </a:cubicBezTo>
                <a:cubicBezTo>
                  <a:pt x="1293" y="1419"/>
                  <a:pt x="1292" y="1423"/>
                  <a:pt x="1291" y="1426"/>
                </a:cubicBezTo>
                <a:cubicBezTo>
                  <a:pt x="1291" y="1424"/>
                  <a:pt x="1292" y="1422"/>
                  <a:pt x="1292" y="1420"/>
                </a:cubicBezTo>
                <a:cubicBezTo>
                  <a:pt x="1292" y="1419"/>
                  <a:pt x="1291" y="1419"/>
                  <a:pt x="1291" y="1419"/>
                </a:cubicBezTo>
                <a:cubicBezTo>
                  <a:pt x="1290" y="1419"/>
                  <a:pt x="1290" y="1419"/>
                  <a:pt x="1290" y="1419"/>
                </a:cubicBezTo>
                <a:cubicBezTo>
                  <a:pt x="1289" y="1421"/>
                  <a:pt x="1288" y="1422"/>
                  <a:pt x="1287" y="1423"/>
                </a:cubicBezTo>
                <a:cubicBezTo>
                  <a:pt x="1287" y="1423"/>
                  <a:pt x="1287" y="1423"/>
                  <a:pt x="1287" y="1423"/>
                </a:cubicBezTo>
                <a:cubicBezTo>
                  <a:pt x="1287" y="1422"/>
                  <a:pt x="1288" y="1420"/>
                  <a:pt x="1288" y="1418"/>
                </a:cubicBezTo>
                <a:cubicBezTo>
                  <a:pt x="1287" y="1419"/>
                  <a:pt x="1286" y="1419"/>
                  <a:pt x="1286" y="1420"/>
                </a:cubicBezTo>
                <a:cubicBezTo>
                  <a:pt x="1285" y="1420"/>
                  <a:pt x="1285" y="1421"/>
                  <a:pt x="1284" y="1422"/>
                </a:cubicBezTo>
                <a:cubicBezTo>
                  <a:pt x="1285" y="1418"/>
                  <a:pt x="1285" y="1418"/>
                  <a:pt x="1291" y="1417"/>
                </a:cubicBezTo>
                <a:cubicBezTo>
                  <a:pt x="1291" y="1417"/>
                  <a:pt x="1290" y="1416"/>
                  <a:pt x="1290" y="1416"/>
                </a:cubicBezTo>
                <a:cubicBezTo>
                  <a:pt x="1287" y="1417"/>
                  <a:pt x="1286" y="1415"/>
                  <a:pt x="1286" y="1413"/>
                </a:cubicBezTo>
                <a:cubicBezTo>
                  <a:pt x="1288" y="1412"/>
                  <a:pt x="1289" y="1412"/>
                  <a:pt x="1291" y="1412"/>
                </a:cubicBezTo>
                <a:cubicBezTo>
                  <a:pt x="1289" y="1409"/>
                  <a:pt x="1288" y="1406"/>
                  <a:pt x="1284" y="1406"/>
                </a:cubicBezTo>
                <a:cubicBezTo>
                  <a:pt x="1284" y="1406"/>
                  <a:pt x="1284" y="1406"/>
                  <a:pt x="1284" y="1405"/>
                </a:cubicBezTo>
                <a:cubicBezTo>
                  <a:pt x="1281" y="1403"/>
                  <a:pt x="1279" y="1401"/>
                  <a:pt x="1276" y="1399"/>
                </a:cubicBezTo>
                <a:cubicBezTo>
                  <a:pt x="1274" y="1398"/>
                  <a:pt x="1271" y="1397"/>
                  <a:pt x="1269" y="1397"/>
                </a:cubicBezTo>
                <a:cubicBezTo>
                  <a:pt x="1266" y="1397"/>
                  <a:pt x="1262" y="1398"/>
                  <a:pt x="1259" y="1399"/>
                </a:cubicBezTo>
                <a:cubicBezTo>
                  <a:pt x="1257" y="1400"/>
                  <a:pt x="1254" y="1402"/>
                  <a:pt x="1252" y="1405"/>
                </a:cubicBezTo>
                <a:cubicBezTo>
                  <a:pt x="1254" y="1405"/>
                  <a:pt x="1255" y="1405"/>
                  <a:pt x="1256" y="1405"/>
                </a:cubicBezTo>
                <a:cubicBezTo>
                  <a:pt x="1256" y="1406"/>
                  <a:pt x="1255" y="1406"/>
                  <a:pt x="1254" y="1406"/>
                </a:cubicBezTo>
                <a:cubicBezTo>
                  <a:pt x="1252" y="1407"/>
                  <a:pt x="1249" y="1406"/>
                  <a:pt x="1247" y="1408"/>
                </a:cubicBezTo>
                <a:cubicBezTo>
                  <a:pt x="1244" y="1412"/>
                  <a:pt x="1240" y="1416"/>
                  <a:pt x="1236" y="1420"/>
                </a:cubicBezTo>
                <a:cubicBezTo>
                  <a:pt x="1235" y="1422"/>
                  <a:pt x="1234" y="1425"/>
                  <a:pt x="1233" y="1427"/>
                </a:cubicBezTo>
                <a:cubicBezTo>
                  <a:pt x="1233" y="1427"/>
                  <a:pt x="1233" y="1428"/>
                  <a:pt x="1233" y="1429"/>
                </a:cubicBezTo>
                <a:cubicBezTo>
                  <a:pt x="1234" y="1431"/>
                  <a:pt x="1235" y="1433"/>
                  <a:pt x="1237" y="1434"/>
                </a:cubicBezTo>
                <a:cubicBezTo>
                  <a:pt x="1238" y="1433"/>
                  <a:pt x="1239" y="1431"/>
                  <a:pt x="1241" y="1430"/>
                </a:cubicBezTo>
                <a:cubicBezTo>
                  <a:pt x="1240" y="1431"/>
                  <a:pt x="1240" y="1433"/>
                  <a:pt x="1239" y="1434"/>
                </a:cubicBezTo>
                <a:cubicBezTo>
                  <a:pt x="1238" y="1435"/>
                  <a:pt x="1237" y="1436"/>
                  <a:pt x="1237" y="1438"/>
                </a:cubicBezTo>
                <a:cubicBezTo>
                  <a:pt x="1237" y="1439"/>
                  <a:pt x="1237" y="1440"/>
                  <a:pt x="1237" y="1441"/>
                </a:cubicBezTo>
                <a:cubicBezTo>
                  <a:pt x="1240" y="1444"/>
                  <a:pt x="1243" y="1444"/>
                  <a:pt x="1247" y="1442"/>
                </a:cubicBezTo>
                <a:cubicBezTo>
                  <a:pt x="1249" y="1441"/>
                  <a:pt x="1252" y="1440"/>
                  <a:pt x="1255" y="1439"/>
                </a:cubicBezTo>
                <a:cubicBezTo>
                  <a:pt x="1256" y="1438"/>
                  <a:pt x="1257" y="1438"/>
                  <a:pt x="1257" y="1436"/>
                </a:cubicBezTo>
                <a:cubicBezTo>
                  <a:pt x="1257" y="1433"/>
                  <a:pt x="1257" y="1429"/>
                  <a:pt x="1257" y="1426"/>
                </a:cubicBezTo>
                <a:cubicBezTo>
                  <a:pt x="1257" y="1423"/>
                  <a:pt x="1257" y="1420"/>
                  <a:pt x="1257" y="1417"/>
                </a:cubicBezTo>
                <a:cubicBezTo>
                  <a:pt x="1258" y="1420"/>
                  <a:pt x="1259" y="1423"/>
                  <a:pt x="1259" y="1425"/>
                </a:cubicBezTo>
                <a:cubicBezTo>
                  <a:pt x="1260" y="1430"/>
                  <a:pt x="1260" y="1434"/>
                  <a:pt x="1259" y="1438"/>
                </a:cubicBezTo>
                <a:cubicBezTo>
                  <a:pt x="1258" y="1439"/>
                  <a:pt x="1257" y="1440"/>
                  <a:pt x="1257" y="1440"/>
                </a:cubicBezTo>
                <a:cubicBezTo>
                  <a:pt x="1253" y="1440"/>
                  <a:pt x="1250" y="1442"/>
                  <a:pt x="1247" y="1444"/>
                </a:cubicBezTo>
                <a:cubicBezTo>
                  <a:pt x="1242" y="1447"/>
                  <a:pt x="1239" y="1445"/>
                  <a:pt x="1235" y="1441"/>
                </a:cubicBezTo>
                <a:cubicBezTo>
                  <a:pt x="1235" y="1441"/>
                  <a:pt x="1235" y="1440"/>
                  <a:pt x="1235" y="1439"/>
                </a:cubicBezTo>
                <a:cubicBezTo>
                  <a:pt x="1236" y="1437"/>
                  <a:pt x="1235" y="1435"/>
                  <a:pt x="1233" y="1433"/>
                </a:cubicBezTo>
                <a:cubicBezTo>
                  <a:pt x="1232" y="1431"/>
                  <a:pt x="1230" y="1429"/>
                  <a:pt x="1232" y="1426"/>
                </a:cubicBezTo>
                <a:cubicBezTo>
                  <a:pt x="1232" y="1424"/>
                  <a:pt x="1233" y="1422"/>
                  <a:pt x="1234" y="1421"/>
                </a:cubicBezTo>
                <a:cubicBezTo>
                  <a:pt x="1236" y="1418"/>
                  <a:pt x="1238" y="1415"/>
                  <a:pt x="1240" y="1413"/>
                </a:cubicBezTo>
                <a:cubicBezTo>
                  <a:pt x="1240" y="1413"/>
                  <a:pt x="1239" y="1413"/>
                  <a:pt x="1239" y="1413"/>
                </a:cubicBezTo>
                <a:cubicBezTo>
                  <a:pt x="1234" y="1414"/>
                  <a:pt x="1230" y="1415"/>
                  <a:pt x="1226" y="1419"/>
                </a:cubicBezTo>
                <a:cubicBezTo>
                  <a:pt x="1221" y="1423"/>
                  <a:pt x="1218" y="1428"/>
                  <a:pt x="1218" y="1435"/>
                </a:cubicBezTo>
                <a:cubicBezTo>
                  <a:pt x="1217" y="1442"/>
                  <a:pt x="1220" y="1448"/>
                  <a:pt x="1223" y="1453"/>
                </a:cubicBezTo>
                <a:cubicBezTo>
                  <a:pt x="1224" y="1454"/>
                  <a:pt x="1224" y="1456"/>
                  <a:pt x="1224" y="1457"/>
                </a:cubicBezTo>
                <a:cubicBezTo>
                  <a:pt x="1224" y="1459"/>
                  <a:pt x="1224" y="1460"/>
                  <a:pt x="1223" y="1461"/>
                </a:cubicBezTo>
                <a:cubicBezTo>
                  <a:pt x="1222" y="1463"/>
                  <a:pt x="1223" y="1464"/>
                  <a:pt x="1224" y="1465"/>
                </a:cubicBezTo>
                <a:cubicBezTo>
                  <a:pt x="1227" y="1465"/>
                  <a:pt x="1230" y="1466"/>
                  <a:pt x="1233" y="1466"/>
                </a:cubicBezTo>
                <a:cubicBezTo>
                  <a:pt x="1233" y="1466"/>
                  <a:pt x="1234" y="1465"/>
                  <a:pt x="1234" y="1465"/>
                </a:cubicBezTo>
                <a:cubicBezTo>
                  <a:pt x="1235" y="1464"/>
                  <a:pt x="1235" y="1462"/>
                  <a:pt x="1235" y="1461"/>
                </a:cubicBezTo>
                <a:cubicBezTo>
                  <a:pt x="1237" y="1459"/>
                  <a:pt x="1237" y="1456"/>
                  <a:pt x="1237" y="1453"/>
                </a:cubicBezTo>
                <a:cubicBezTo>
                  <a:pt x="1237" y="1453"/>
                  <a:pt x="1237" y="1453"/>
                  <a:pt x="1237" y="1452"/>
                </a:cubicBezTo>
                <a:cubicBezTo>
                  <a:pt x="1237" y="1452"/>
                  <a:pt x="1237" y="1452"/>
                  <a:pt x="1237" y="1452"/>
                </a:cubicBezTo>
                <a:cubicBezTo>
                  <a:pt x="1238" y="1454"/>
                  <a:pt x="1239" y="1454"/>
                  <a:pt x="1241" y="1454"/>
                </a:cubicBezTo>
                <a:cubicBezTo>
                  <a:pt x="1242" y="1454"/>
                  <a:pt x="1243" y="1454"/>
                  <a:pt x="1244" y="1454"/>
                </a:cubicBezTo>
                <a:cubicBezTo>
                  <a:pt x="1246" y="1454"/>
                  <a:pt x="1250" y="1455"/>
                  <a:pt x="1250" y="1451"/>
                </a:cubicBezTo>
                <a:cubicBezTo>
                  <a:pt x="1250" y="1453"/>
                  <a:pt x="1250" y="1455"/>
                  <a:pt x="1250" y="1455"/>
                </a:cubicBezTo>
                <a:cubicBezTo>
                  <a:pt x="1249" y="1456"/>
                  <a:pt x="1248" y="1457"/>
                  <a:pt x="1246" y="1457"/>
                </a:cubicBezTo>
                <a:cubicBezTo>
                  <a:pt x="1245" y="1458"/>
                  <a:pt x="1244" y="1460"/>
                  <a:pt x="1245" y="1461"/>
                </a:cubicBezTo>
                <a:cubicBezTo>
                  <a:pt x="1246" y="1463"/>
                  <a:pt x="1248" y="1465"/>
                  <a:pt x="1249" y="1467"/>
                </a:cubicBezTo>
                <a:cubicBezTo>
                  <a:pt x="1251" y="1468"/>
                  <a:pt x="1253" y="1468"/>
                  <a:pt x="1254" y="1466"/>
                </a:cubicBezTo>
                <a:cubicBezTo>
                  <a:pt x="1255" y="1465"/>
                  <a:pt x="1255" y="1465"/>
                  <a:pt x="1256" y="1464"/>
                </a:cubicBezTo>
                <a:cubicBezTo>
                  <a:pt x="1258" y="1463"/>
                  <a:pt x="1259" y="1461"/>
                  <a:pt x="1261" y="1460"/>
                </a:cubicBezTo>
                <a:cubicBezTo>
                  <a:pt x="1265" y="1456"/>
                  <a:pt x="1267" y="1450"/>
                  <a:pt x="1269" y="1444"/>
                </a:cubicBezTo>
                <a:cubicBezTo>
                  <a:pt x="1269" y="1444"/>
                  <a:pt x="1268" y="1443"/>
                  <a:pt x="1268" y="1442"/>
                </a:cubicBezTo>
                <a:cubicBezTo>
                  <a:pt x="1267" y="1441"/>
                  <a:pt x="1266" y="1440"/>
                  <a:pt x="1264" y="1440"/>
                </a:cubicBezTo>
                <a:close/>
                <a:moveTo>
                  <a:pt x="1217" y="1446"/>
                </a:moveTo>
                <a:cubicBezTo>
                  <a:pt x="1217" y="1447"/>
                  <a:pt x="1215" y="1448"/>
                  <a:pt x="1214" y="1449"/>
                </a:cubicBezTo>
                <a:cubicBezTo>
                  <a:pt x="1213" y="1449"/>
                  <a:pt x="1213" y="1450"/>
                  <a:pt x="1213" y="1451"/>
                </a:cubicBezTo>
                <a:cubicBezTo>
                  <a:pt x="1213" y="1453"/>
                  <a:pt x="1217" y="1458"/>
                  <a:pt x="1221" y="1457"/>
                </a:cubicBezTo>
                <a:cubicBezTo>
                  <a:pt x="1222" y="1457"/>
                  <a:pt x="1223" y="1456"/>
                  <a:pt x="1222" y="1455"/>
                </a:cubicBezTo>
                <a:cubicBezTo>
                  <a:pt x="1221" y="1452"/>
                  <a:pt x="1219" y="1449"/>
                  <a:pt x="1217" y="1446"/>
                </a:cubicBezTo>
                <a:close/>
                <a:moveTo>
                  <a:pt x="1270" y="1448"/>
                </a:moveTo>
                <a:cubicBezTo>
                  <a:pt x="1268" y="1453"/>
                  <a:pt x="1265" y="1457"/>
                  <a:pt x="1263" y="1461"/>
                </a:cubicBezTo>
                <a:cubicBezTo>
                  <a:pt x="1266" y="1461"/>
                  <a:pt x="1268" y="1462"/>
                  <a:pt x="1271" y="1461"/>
                </a:cubicBezTo>
                <a:cubicBezTo>
                  <a:pt x="1271" y="1461"/>
                  <a:pt x="1272" y="1460"/>
                  <a:pt x="1272" y="1460"/>
                </a:cubicBezTo>
                <a:cubicBezTo>
                  <a:pt x="1272" y="1457"/>
                  <a:pt x="1272" y="1455"/>
                  <a:pt x="1271" y="1452"/>
                </a:cubicBezTo>
                <a:cubicBezTo>
                  <a:pt x="1271" y="1451"/>
                  <a:pt x="1270" y="1450"/>
                  <a:pt x="1270" y="1448"/>
                </a:cubicBezTo>
                <a:close/>
                <a:moveTo>
                  <a:pt x="1217" y="1428"/>
                </a:moveTo>
                <a:cubicBezTo>
                  <a:pt x="1217"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29"/>
                  <a:pt x="1214" y="1430"/>
                </a:cubicBezTo>
                <a:cubicBezTo>
                  <a:pt x="1215" y="1431"/>
                  <a:pt x="1217" y="1430"/>
                  <a:pt x="1217" y="1428"/>
                </a:cubicBezTo>
                <a:close/>
                <a:moveTo>
                  <a:pt x="1218" y="1446"/>
                </a:moveTo>
                <a:cubicBezTo>
                  <a:pt x="1217" y="1447"/>
                  <a:pt x="1215" y="1448"/>
                  <a:pt x="1214" y="1449"/>
                </a:cubicBezTo>
                <a:cubicBezTo>
                  <a:pt x="1214" y="1449"/>
                  <a:pt x="1213" y="1450"/>
                  <a:pt x="1213" y="1451"/>
                </a:cubicBezTo>
                <a:cubicBezTo>
                  <a:pt x="1213" y="1454"/>
                  <a:pt x="1218" y="1458"/>
                  <a:pt x="1221" y="1458"/>
                </a:cubicBezTo>
                <a:cubicBezTo>
                  <a:pt x="1222" y="1458"/>
                  <a:pt x="1223" y="1457"/>
                  <a:pt x="1222" y="1455"/>
                </a:cubicBezTo>
                <a:cubicBezTo>
                  <a:pt x="1221" y="1452"/>
                  <a:pt x="1219" y="1449"/>
                  <a:pt x="1218" y="1446"/>
                </a:cubicBezTo>
                <a:close/>
                <a:moveTo>
                  <a:pt x="1270" y="1448"/>
                </a:moveTo>
                <a:cubicBezTo>
                  <a:pt x="1267" y="1453"/>
                  <a:pt x="1265" y="1457"/>
                  <a:pt x="1263" y="1462"/>
                </a:cubicBezTo>
                <a:cubicBezTo>
                  <a:pt x="1265" y="1462"/>
                  <a:pt x="1268" y="1462"/>
                  <a:pt x="1271" y="1462"/>
                </a:cubicBezTo>
                <a:cubicBezTo>
                  <a:pt x="1271" y="1462"/>
                  <a:pt x="1271" y="1460"/>
                  <a:pt x="1271" y="1460"/>
                </a:cubicBezTo>
                <a:cubicBezTo>
                  <a:pt x="1271" y="1457"/>
                  <a:pt x="1271" y="1455"/>
                  <a:pt x="1271" y="1452"/>
                </a:cubicBezTo>
                <a:cubicBezTo>
                  <a:pt x="1271" y="1451"/>
                  <a:pt x="1270" y="1450"/>
                  <a:pt x="1270" y="1448"/>
                </a:cubicBezTo>
                <a:close/>
                <a:moveTo>
                  <a:pt x="1217" y="1428"/>
                </a:moveTo>
                <a:cubicBezTo>
                  <a:pt x="1216"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30"/>
                  <a:pt x="1214" y="1430"/>
                </a:cubicBezTo>
                <a:cubicBezTo>
                  <a:pt x="1215" y="1431"/>
                  <a:pt x="1217" y="1430"/>
                  <a:pt x="1217" y="1428"/>
                </a:cubicBezTo>
                <a:close/>
                <a:moveTo>
                  <a:pt x="1269" y="1420"/>
                </a:moveTo>
                <a:cubicBezTo>
                  <a:pt x="1273" y="1416"/>
                  <a:pt x="1273" y="1416"/>
                  <a:pt x="1277" y="1415"/>
                </a:cubicBezTo>
                <a:cubicBezTo>
                  <a:pt x="1277" y="1417"/>
                  <a:pt x="1278" y="1418"/>
                  <a:pt x="1280" y="1418"/>
                </a:cubicBezTo>
                <a:cubicBezTo>
                  <a:pt x="1277" y="1419"/>
                  <a:pt x="1275" y="1421"/>
                  <a:pt x="1273" y="1422"/>
                </a:cubicBezTo>
                <a:cubicBezTo>
                  <a:pt x="1272" y="1421"/>
                  <a:pt x="1272" y="1421"/>
                  <a:pt x="1271" y="1419"/>
                </a:cubicBezTo>
                <a:cubicBezTo>
                  <a:pt x="1271" y="1419"/>
                  <a:pt x="1270" y="1419"/>
                  <a:pt x="1269" y="1420"/>
                </a:cubicBezTo>
                <a:close/>
                <a:moveTo>
                  <a:pt x="1276" y="1419"/>
                </a:moveTo>
                <a:cubicBezTo>
                  <a:pt x="1275" y="1419"/>
                  <a:pt x="1274" y="1419"/>
                  <a:pt x="1273" y="1419"/>
                </a:cubicBezTo>
                <a:cubicBezTo>
                  <a:pt x="1273" y="1419"/>
                  <a:pt x="1272" y="1419"/>
                  <a:pt x="1272" y="1420"/>
                </a:cubicBezTo>
                <a:cubicBezTo>
                  <a:pt x="1272" y="1420"/>
                  <a:pt x="1273" y="1421"/>
                  <a:pt x="1273" y="1421"/>
                </a:cubicBezTo>
                <a:cubicBezTo>
                  <a:pt x="1274" y="1421"/>
                  <a:pt x="1274" y="1420"/>
                  <a:pt x="1276" y="1419"/>
                </a:cubicBezTo>
                <a:close/>
                <a:moveTo>
                  <a:pt x="1256" y="1409"/>
                </a:moveTo>
                <a:cubicBezTo>
                  <a:pt x="1250" y="1409"/>
                  <a:pt x="1247" y="1411"/>
                  <a:pt x="1246" y="1419"/>
                </a:cubicBezTo>
                <a:cubicBezTo>
                  <a:pt x="1247" y="1417"/>
                  <a:pt x="1248" y="1415"/>
                  <a:pt x="1249" y="1412"/>
                </a:cubicBezTo>
                <a:cubicBezTo>
                  <a:pt x="1250" y="1412"/>
                  <a:pt x="1250" y="1412"/>
                  <a:pt x="1250" y="1412"/>
                </a:cubicBezTo>
                <a:cubicBezTo>
                  <a:pt x="1250" y="1414"/>
                  <a:pt x="1250" y="1414"/>
                  <a:pt x="1250" y="1415"/>
                </a:cubicBezTo>
                <a:cubicBezTo>
                  <a:pt x="1251" y="1412"/>
                  <a:pt x="1253" y="1410"/>
                  <a:pt x="1256" y="1409"/>
                </a:cubicBezTo>
                <a:close/>
                <a:moveTo>
                  <a:pt x="1300" y="1411"/>
                </a:moveTo>
                <a:cubicBezTo>
                  <a:pt x="1298" y="1412"/>
                  <a:pt x="1296" y="1414"/>
                  <a:pt x="1295" y="1415"/>
                </a:cubicBezTo>
                <a:cubicBezTo>
                  <a:pt x="1297" y="1416"/>
                  <a:pt x="1299" y="1414"/>
                  <a:pt x="1300" y="1411"/>
                </a:cubicBezTo>
                <a:close/>
                <a:moveTo>
                  <a:pt x="1267" y="1413"/>
                </a:moveTo>
                <a:cubicBezTo>
                  <a:pt x="1268" y="1412"/>
                  <a:pt x="1269" y="1410"/>
                  <a:pt x="1270" y="1409"/>
                </a:cubicBezTo>
                <a:cubicBezTo>
                  <a:pt x="1267" y="1410"/>
                  <a:pt x="1267" y="1411"/>
                  <a:pt x="1267" y="1413"/>
                </a:cubicBezTo>
                <a:close/>
                <a:moveTo>
                  <a:pt x="1277" y="1435"/>
                </a:moveTo>
                <a:cubicBezTo>
                  <a:pt x="1275" y="1435"/>
                  <a:pt x="1274" y="1436"/>
                  <a:pt x="1274" y="1437"/>
                </a:cubicBezTo>
                <a:cubicBezTo>
                  <a:pt x="1275" y="1436"/>
                  <a:pt x="1276" y="1435"/>
                  <a:pt x="1277" y="1435"/>
                </a:cubicBezTo>
                <a:close/>
                <a:moveTo>
                  <a:pt x="1276" y="1419"/>
                </a:moveTo>
                <a:cubicBezTo>
                  <a:pt x="1275" y="1419"/>
                  <a:pt x="1274" y="1418"/>
                  <a:pt x="1274" y="1418"/>
                </a:cubicBezTo>
                <a:cubicBezTo>
                  <a:pt x="1273" y="1418"/>
                  <a:pt x="1272" y="1419"/>
                  <a:pt x="1272" y="1419"/>
                </a:cubicBezTo>
                <a:cubicBezTo>
                  <a:pt x="1272" y="1420"/>
                  <a:pt x="1273" y="1420"/>
                  <a:pt x="1273" y="1421"/>
                </a:cubicBezTo>
                <a:cubicBezTo>
                  <a:pt x="1274" y="1420"/>
                  <a:pt x="1274" y="1420"/>
                  <a:pt x="1276" y="1419"/>
                </a:cubicBezTo>
                <a:close/>
                <a:moveTo>
                  <a:pt x="1567" y="1397"/>
                </a:moveTo>
                <a:cubicBezTo>
                  <a:pt x="1567" y="1397"/>
                  <a:pt x="1567" y="1397"/>
                  <a:pt x="1567" y="1397"/>
                </a:cubicBezTo>
                <a:cubicBezTo>
                  <a:pt x="1562" y="1397"/>
                  <a:pt x="1562" y="1397"/>
                  <a:pt x="1562" y="1397"/>
                </a:cubicBezTo>
                <a:cubicBezTo>
                  <a:pt x="1560" y="1398"/>
                  <a:pt x="1559" y="1400"/>
                  <a:pt x="1556" y="1400"/>
                </a:cubicBezTo>
                <a:cubicBezTo>
                  <a:pt x="1555" y="1402"/>
                  <a:pt x="1553" y="1402"/>
                  <a:pt x="1551" y="1403"/>
                </a:cubicBezTo>
                <a:cubicBezTo>
                  <a:pt x="1549" y="1405"/>
                  <a:pt x="1548" y="1405"/>
                  <a:pt x="1546" y="1406"/>
                </a:cubicBezTo>
                <a:cubicBezTo>
                  <a:pt x="1544" y="1407"/>
                  <a:pt x="1542" y="1408"/>
                  <a:pt x="1541" y="1408"/>
                </a:cubicBezTo>
                <a:cubicBezTo>
                  <a:pt x="1541" y="1408"/>
                  <a:pt x="1541" y="1408"/>
                  <a:pt x="1541" y="1418"/>
                </a:cubicBezTo>
                <a:cubicBezTo>
                  <a:pt x="1544" y="1417"/>
                  <a:pt x="1546" y="1416"/>
                  <a:pt x="1549" y="1415"/>
                </a:cubicBezTo>
                <a:cubicBezTo>
                  <a:pt x="1551" y="1414"/>
                  <a:pt x="1554" y="1413"/>
                  <a:pt x="1555" y="1411"/>
                </a:cubicBezTo>
                <a:cubicBezTo>
                  <a:pt x="1555" y="1411"/>
                  <a:pt x="1555" y="1411"/>
                  <a:pt x="1555" y="1470"/>
                </a:cubicBezTo>
                <a:cubicBezTo>
                  <a:pt x="1555" y="1470"/>
                  <a:pt x="1555" y="1470"/>
                  <a:pt x="1567" y="1470"/>
                </a:cubicBezTo>
                <a:cubicBezTo>
                  <a:pt x="1567" y="1470"/>
                  <a:pt x="1567" y="1470"/>
                  <a:pt x="1567" y="1397"/>
                </a:cubicBezTo>
                <a:close/>
                <a:moveTo>
                  <a:pt x="1688" y="1397"/>
                </a:moveTo>
                <a:cubicBezTo>
                  <a:pt x="1688" y="1397"/>
                  <a:pt x="1688" y="1397"/>
                  <a:pt x="1688" y="1397"/>
                </a:cubicBezTo>
                <a:cubicBezTo>
                  <a:pt x="1683" y="1397"/>
                  <a:pt x="1683" y="1397"/>
                  <a:pt x="1683" y="1397"/>
                </a:cubicBezTo>
                <a:cubicBezTo>
                  <a:pt x="1681" y="1398"/>
                  <a:pt x="1680" y="1400"/>
                  <a:pt x="1677" y="1400"/>
                </a:cubicBezTo>
                <a:cubicBezTo>
                  <a:pt x="1676" y="1402"/>
                  <a:pt x="1674" y="1402"/>
                  <a:pt x="1672" y="1403"/>
                </a:cubicBezTo>
                <a:cubicBezTo>
                  <a:pt x="1671" y="1405"/>
                  <a:pt x="1669" y="1405"/>
                  <a:pt x="1667" y="1406"/>
                </a:cubicBezTo>
                <a:cubicBezTo>
                  <a:pt x="1665" y="1407"/>
                  <a:pt x="1663" y="1408"/>
                  <a:pt x="1661" y="1408"/>
                </a:cubicBezTo>
                <a:cubicBezTo>
                  <a:pt x="1661" y="1408"/>
                  <a:pt x="1661" y="1408"/>
                  <a:pt x="1661" y="1418"/>
                </a:cubicBezTo>
                <a:cubicBezTo>
                  <a:pt x="1664" y="1417"/>
                  <a:pt x="1667" y="1416"/>
                  <a:pt x="1670" y="1415"/>
                </a:cubicBezTo>
                <a:cubicBezTo>
                  <a:pt x="1672" y="1414"/>
                  <a:pt x="1674" y="1413"/>
                  <a:pt x="1677" y="1411"/>
                </a:cubicBezTo>
                <a:cubicBezTo>
                  <a:pt x="1677" y="1411"/>
                  <a:pt x="1677" y="1411"/>
                  <a:pt x="1677" y="1470"/>
                </a:cubicBezTo>
                <a:cubicBezTo>
                  <a:pt x="1677" y="1470"/>
                  <a:pt x="1677" y="1470"/>
                  <a:pt x="1688" y="1470"/>
                </a:cubicBezTo>
                <a:cubicBezTo>
                  <a:pt x="1688" y="1470"/>
                  <a:pt x="1688" y="1470"/>
                  <a:pt x="1688" y="1397"/>
                </a:cubicBezTo>
                <a:close/>
                <a:moveTo>
                  <a:pt x="1735" y="1397"/>
                </a:moveTo>
                <a:cubicBezTo>
                  <a:pt x="1735" y="1397"/>
                  <a:pt x="1735" y="1397"/>
                  <a:pt x="1735" y="1397"/>
                </a:cubicBezTo>
                <a:cubicBezTo>
                  <a:pt x="1730" y="1397"/>
                  <a:pt x="1730" y="1397"/>
                  <a:pt x="1730" y="1397"/>
                </a:cubicBezTo>
                <a:cubicBezTo>
                  <a:pt x="1728" y="1398"/>
                  <a:pt x="1726" y="1400"/>
                  <a:pt x="1724" y="1400"/>
                </a:cubicBezTo>
                <a:cubicBezTo>
                  <a:pt x="1723" y="1402"/>
                  <a:pt x="1721" y="1402"/>
                  <a:pt x="1719" y="1403"/>
                </a:cubicBezTo>
                <a:cubicBezTo>
                  <a:pt x="1718" y="1405"/>
                  <a:pt x="1715" y="1405"/>
                  <a:pt x="1714" y="1406"/>
                </a:cubicBezTo>
                <a:cubicBezTo>
                  <a:pt x="1712" y="1407"/>
                  <a:pt x="1710" y="1408"/>
                  <a:pt x="1708" y="1408"/>
                </a:cubicBezTo>
                <a:cubicBezTo>
                  <a:pt x="1708" y="1408"/>
                  <a:pt x="1708" y="1408"/>
                  <a:pt x="1708" y="1418"/>
                </a:cubicBezTo>
                <a:cubicBezTo>
                  <a:pt x="1711" y="1417"/>
                  <a:pt x="1714" y="1416"/>
                  <a:pt x="1716" y="1415"/>
                </a:cubicBezTo>
                <a:cubicBezTo>
                  <a:pt x="1719" y="1414"/>
                  <a:pt x="1721" y="1413"/>
                  <a:pt x="1723" y="1411"/>
                </a:cubicBezTo>
                <a:cubicBezTo>
                  <a:pt x="1723" y="1411"/>
                  <a:pt x="1723" y="1411"/>
                  <a:pt x="1723" y="1470"/>
                </a:cubicBezTo>
                <a:cubicBezTo>
                  <a:pt x="1723" y="1470"/>
                  <a:pt x="1723" y="1470"/>
                  <a:pt x="1735" y="1470"/>
                </a:cubicBezTo>
                <a:cubicBezTo>
                  <a:pt x="1735" y="1470"/>
                  <a:pt x="1735" y="1470"/>
                  <a:pt x="1735" y="1397"/>
                </a:cubicBezTo>
                <a:close/>
                <a:moveTo>
                  <a:pt x="1781" y="1397"/>
                </a:moveTo>
                <a:cubicBezTo>
                  <a:pt x="1781" y="1397"/>
                  <a:pt x="1781" y="1397"/>
                  <a:pt x="1781" y="1397"/>
                </a:cubicBezTo>
                <a:cubicBezTo>
                  <a:pt x="1777" y="1397"/>
                  <a:pt x="1777" y="1397"/>
                  <a:pt x="1777" y="1397"/>
                </a:cubicBezTo>
                <a:cubicBezTo>
                  <a:pt x="1775" y="1398"/>
                  <a:pt x="1773" y="1400"/>
                  <a:pt x="1771" y="1400"/>
                </a:cubicBezTo>
                <a:cubicBezTo>
                  <a:pt x="1770" y="1402"/>
                  <a:pt x="1767" y="1402"/>
                  <a:pt x="1766" y="1403"/>
                </a:cubicBezTo>
                <a:cubicBezTo>
                  <a:pt x="1764" y="1404"/>
                  <a:pt x="1762" y="1405"/>
                  <a:pt x="1760" y="1405"/>
                </a:cubicBezTo>
                <a:cubicBezTo>
                  <a:pt x="1759" y="1406"/>
                  <a:pt x="1757" y="1407"/>
                  <a:pt x="1755" y="1408"/>
                </a:cubicBezTo>
                <a:cubicBezTo>
                  <a:pt x="1755" y="1408"/>
                  <a:pt x="1755" y="1408"/>
                  <a:pt x="1755" y="1418"/>
                </a:cubicBezTo>
                <a:cubicBezTo>
                  <a:pt x="1758" y="1417"/>
                  <a:pt x="1761" y="1416"/>
                  <a:pt x="1763" y="1415"/>
                </a:cubicBezTo>
                <a:cubicBezTo>
                  <a:pt x="1765" y="1414"/>
                  <a:pt x="1768" y="1413"/>
                  <a:pt x="1770" y="1411"/>
                </a:cubicBezTo>
                <a:cubicBezTo>
                  <a:pt x="1770" y="1411"/>
                  <a:pt x="1770" y="1411"/>
                  <a:pt x="1770" y="1470"/>
                </a:cubicBezTo>
                <a:cubicBezTo>
                  <a:pt x="1770" y="1470"/>
                  <a:pt x="1770" y="1470"/>
                  <a:pt x="1781" y="1470"/>
                </a:cubicBezTo>
                <a:cubicBezTo>
                  <a:pt x="1781" y="1470"/>
                  <a:pt x="1781" y="1470"/>
                  <a:pt x="1781" y="1397"/>
                </a:cubicBezTo>
                <a:close/>
                <a:moveTo>
                  <a:pt x="1587" y="1429"/>
                </a:moveTo>
                <a:cubicBezTo>
                  <a:pt x="1587" y="1429"/>
                  <a:pt x="1587" y="1429"/>
                  <a:pt x="1587" y="1429"/>
                </a:cubicBezTo>
                <a:cubicBezTo>
                  <a:pt x="1586" y="1437"/>
                  <a:pt x="1586" y="1437"/>
                  <a:pt x="1586" y="1437"/>
                </a:cubicBezTo>
                <a:cubicBezTo>
                  <a:pt x="1593" y="1438"/>
                  <a:pt x="1593" y="1441"/>
                  <a:pt x="1593" y="1443"/>
                </a:cubicBezTo>
                <a:cubicBezTo>
                  <a:pt x="1593" y="1445"/>
                  <a:pt x="1593" y="1448"/>
                  <a:pt x="1593" y="1450"/>
                </a:cubicBezTo>
                <a:cubicBezTo>
                  <a:pt x="1593" y="1453"/>
                  <a:pt x="1592" y="1455"/>
                  <a:pt x="1592" y="1457"/>
                </a:cubicBezTo>
                <a:cubicBezTo>
                  <a:pt x="1592" y="1467"/>
                  <a:pt x="1598" y="1470"/>
                  <a:pt x="1607" y="1470"/>
                </a:cubicBezTo>
                <a:cubicBezTo>
                  <a:pt x="1607" y="1470"/>
                  <a:pt x="1607" y="1470"/>
                  <a:pt x="1610" y="1470"/>
                </a:cubicBezTo>
                <a:cubicBezTo>
                  <a:pt x="1610" y="1470"/>
                  <a:pt x="1610" y="1470"/>
                  <a:pt x="1610" y="1461"/>
                </a:cubicBezTo>
                <a:cubicBezTo>
                  <a:pt x="1610" y="1461"/>
                  <a:pt x="1610" y="1461"/>
                  <a:pt x="1609" y="1461"/>
                </a:cubicBezTo>
                <a:cubicBezTo>
                  <a:pt x="1605" y="1461"/>
                  <a:pt x="1604" y="1459"/>
                  <a:pt x="1604" y="1455"/>
                </a:cubicBezTo>
                <a:cubicBezTo>
                  <a:pt x="1604" y="1454"/>
                  <a:pt x="1604" y="1452"/>
                  <a:pt x="1604" y="1450"/>
                </a:cubicBezTo>
                <a:cubicBezTo>
                  <a:pt x="1604" y="1449"/>
                  <a:pt x="1605" y="1447"/>
                  <a:pt x="1605" y="1444"/>
                </a:cubicBezTo>
                <a:cubicBezTo>
                  <a:pt x="1605" y="1437"/>
                  <a:pt x="1602" y="1434"/>
                  <a:pt x="1596" y="1433"/>
                </a:cubicBezTo>
                <a:cubicBezTo>
                  <a:pt x="1596" y="1433"/>
                  <a:pt x="1596" y="1433"/>
                  <a:pt x="1596" y="1433"/>
                </a:cubicBezTo>
                <a:cubicBezTo>
                  <a:pt x="1602" y="1432"/>
                  <a:pt x="1605" y="1429"/>
                  <a:pt x="1605" y="1422"/>
                </a:cubicBezTo>
                <a:cubicBezTo>
                  <a:pt x="1605" y="1419"/>
                  <a:pt x="1604" y="1417"/>
                  <a:pt x="1604" y="1416"/>
                </a:cubicBezTo>
                <a:cubicBezTo>
                  <a:pt x="1604" y="1414"/>
                  <a:pt x="1604" y="1412"/>
                  <a:pt x="1604" y="1411"/>
                </a:cubicBezTo>
                <a:cubicBezTo>
                  <a:pt x="1604" y="1407"/>
                  <a:pt x="1605" y="1405"/>
                  <a:pt x="1609" y="1405"/>
                </a:cubicBezTo>
                <a:cubicBezTo>
                  <a:pt x="1609" y="1405"/>
                  <a:pt x="1609" y="1405"/>
                  <a:pt x="1610" y="1405"/>
                </a:cubicBezTo>
                <a:cubicBezTo>
                  <a:pt x="1610" y="1405"/>
                  <a:pt x="1610" y="1405"/>
                  <a:pt x="1610" y="1396"/>
                </a:cubicBezTo>
                <a:cubicBezTo>
                  <a:pt x="1610" y="1396"/>
                  <a:pt x="1610" y="1396"/>
                  <a:pt x="1607" y="1396"/>
                </a:cubicBezTo>
                <a:cubicBezTo>
                  <a:pt x="1598" y="1396"/>
                  <a:pt x="1592" y="1400"/>
                  <a:pt x="1592" y="1408"/>
                </a:cubicBezTo>
                <a:cubicBezTo>
                  <a:pt x="1592" y="1411"/>
                  <a:pt x="1593" y="1413"/>
                  <a:pt x="1593" y="1416"/>
                </a:cubicBezTo>
                <a:cubicBezTo>
                  <a:pt x="1593" y="1418"/>
                  <a:pt x="1593" y="1421"/>
                  <a:pt x="1593" y="1423"/>
                </a:cubicBezTo>
                <a:cubicBezTo>
                  <a:pt x="1593" y="1425"/>
                  <a:pt x="1593" y="1429"/>
                  <a:pt x="1587" y="1429"/>
                </a:cubicBezTo>
                <a:close/>
                <a:moveTo>
                  <a:pt x="1641" y="1437"/>
                </a:moveTo>
                <a:cubicBezTo>
                  <a:pt x="1641" y="1437"/>
                  <a:pt x="1641" y="1437"/>
                  <a:pt x="1641" y="1437"/>
                </a:cubicBezTo>
                <a:cubicBezTo>
                  <a:pt x="1641" y="1429"/>
                  <a:pt x="1641" y="1429"/>
                  <a:pt x="1641" y="1429"/>
                </a:cubicBezTo>
                <a:cubicBezTo>
                  <a:pt x="1635" y="1429"/>
                  <a:pt x="1635" y="1425"/>
                  <a:pt x="1635" y="1423"/>
                </a:cubicBezTo>
                <a:cubicBezTo>
                  <a:pt x="1635" y="1421"/>
                  <a:pt x="1635" y="1418"/>
                  <a:pt x="1635" y="1416"/>
                </a:cubicBezTo>
                <a:cubicBezTo>
                  <a:pt x="1636" y="1413"/>
                  <a:pt x="1636" y="1411"/>
                  <a:pt x="1636" y="1408"/>
                </a:cubicBezTo>
                <a:cubicBezTo>
                  <a:pt x="1636" y="1400"/>
                  <a:pt x="1630" y="1396"/>
                  <a:pt x="1621" y="1396"/>
                </a:cubicBezTo>
                <a:cubicBezTo>
                  <a:pt x="1621" y="1396"/>
                  <a:pt x="1621" y="1396"/>
                  <a:pt x="1617" y="1396"/>
                </a:cubicBezTo>
                <a:cubicBezTo>
                  <a:pt x="1617" y="1396"/>
                  <a:pt x="1617" y="1396"/>
                  <a:pt x="1617" y="1405"/>
                </a:cubicBezTo>
                <a:cubicBezTo>
                  <a:pt x="1617" y="1405"/>
                  <a:pt x="1617" y="1405"/>
                  <a:pt x="1619" y="1405"/>
                </a:cubicBezTo>
                <a:cubicBezTo>
                  <a:pt x="1623" y="1405"/>
                  <a:pt x="1624" y="1407"/>
                  <a:pt x="1624" y="1411"/>
                </a:cubicBezTo>
                <a:cubicBezTo>
                  <a:pt x="1624" y="1412"/>
                  <a:pt x="1624" y="1414"/>
                  <a:pt x="1624" y="1416"/>
                </a:cubicBezTo>
                <a:cubicBezTo>
                  <a:pt x="1623" y="1417"/>
                  <a:pt x="1623" y="1419"/>
                  <a:pt x="1623" y="1422"/>
                </a:cubicBezTo>
                <a:cubicBezTo>
                  <a:pt x="1623" y="1429"/>
                  <a:pt x="1626" y="1432"/>
                  <a:pt x="1632" y="1433"/>
                </a:cubicBezTo>
                <a:cubicBezTo>
                  <a:pt x="1632" y="1433"/>
                  <a:pt x="1632" y="1433"/>
                  <a:pt x="1632" y="1433"/>
                </a:cubicBezTo>
                <a:cubicBezTo>
                  <a:pt x="1626" y="1434"/>
                  <a:pt x="1623" y="1437"/>
                  <a:pt x="1623" y="1444"/>
                </a:cubicBezTo>
                <a:cubicBezTo>
                  <a:pt x="1623" y="1447"/>
                  <a:pt x="1623" y="1449"/>
                  <a:pt x="1624" y="1450"/>
                </a:cubicBezTo>
                <a:cubicBezTo>
                  <a:pt x="1624" y="1452"/>
                  <a:pt x="1624" y="1454"/>
                  <a:pt x="1624" y="1455"/>
                </a:cubicBezTo>
                <a:cubicBezTo>
                  <a:pt x="1624" y="1459"/>
                  <a:pt x="1623" y="1461"/>
                  <a:pt x="1619" y="1461"/>
                </a:cubicBezTo>
                <a:cubicBezTo>
                  <a:pt x="1619" y="1461"/>
                  <a:pt x="1619" y="1461"/>
                  <a:pt x="1617" y="1461"/>
                </a:cubicBezTo>
                <a:cubicBezTo>
                  <a:pt x="1617" y="1461"/>
                  <a:pt x="1617" y="1461"/>
                  <a:pt x="1617" y="1470"/>
                </a:cubicBezTo>
                <a:cubicBezTo>
                  <a:pt x="1617" y="1470"/>
                  <a:pt x="1617" y="1470"/>
                  <a:pt x="1621" y="1470"/>
                </a:cubicBezTo>
                <a:cubicBezTo>
                  <a:pt x="1630" y="1470"/>
                  <a:pt x="1636" y="1467"/>
                  <a:pt x="1636" y="1457"/>
                </a:cubicBezTo>
                <a:cubicBezTo>
                  <a:pt x="1636" y="1455"/>
                  <a:pt x="1636" y="1453"/>
                  <a:pt x="1635" y="1450"/>
                </a:cubicBezTo>
                <a:cubicBezTo>
                  <a:pt x="1635" y="1448"/>
                  <a:pt x="1635" y="1445"/>
                  <a:pt x="1635" y="1443"/>
                </a:cubicBezTo>
                <a:cubicBezTo>
                  <a:pt x="1635" y="1441"/>
                  <a:pt x="1635" y="1438"/>
                  <a:pt x="1641" y="1437"/>
                </a:cubicBezTo>
                <a:close/>
                <a:moveTo>
                  <a:pt x="1825" y="1470"/>
                </a:moveTo>
                <a:cubicBezTo>
                  <a:pt x="1818" y="1470"/>
                  <a:pt x="1811" y="1467"/>
                  <a:pt x="1807" y="1461"/>
                </a:cubicBezTo>
                <a:cubicBezTo>
                  <a:pt x="1803" y="1455"/>
                  <a:pt x="1801" y="1446"/>
                  <a:pt x="1801" y="1434"/>
                </a:cubicBezTo>
                <a:cubicBezTo>
                  <a:pt x="1801" y="1421"/>
                  <a:pt x="1803" y="1411"/>
                  <a:pt x="1807" y="1404"/>
                </a:cubicBezTo>
                <a:cubicBezTo>
                  <a:pt x="1812" y="1398"/>
                  <a:pt x="1818" y="1394"/>
                  <a:pt x="1827" y="1394"/>
                </a:cubicBezTo>
                <a:cubicBezTo>
                  <a:pt x="1843" y="1394"/>
                  <a:pt x="1851" y="1407"/>
                  <a:pt x="1851" y="1432"/>
                </a:cubicBezTo>
                <a:cubicBezTo>
                  <a:pt x="1851" y="1445"/>
                  <a:pt x="1849" y="1454"/>
                  <a:pt x="1844" y="1461"/>
                </a:cubicBezTo>
                <a:cubicBezTo>
                  <a:pt x="1840" y="1467"/>
                  <a:pt x="1833" y="1470"/>
                  <a:pt x="1825" y="1470"/>
                </a:cubicBezTo>
                <a:close/>
                <a:moveTo>
                  <a:pt x="1826" y="1404"/>
                </a:moveTo>
                <a:cubicBezTo>
                  <a:pt x="1817" y="1404"/>
                  <a:pt x="1813" y="1414"/>
                  <a:pt x="1813" y="1434"/>
                </a:cubicBezTo>
                <a:cubicBezTo>
                  <a:pt x="1813" y="1452"/>
                  <a:pt x="1817" y="1461"/>
                  <a:pt x="1826" y="1461"/>
                </a:cubicBezTo>
                <a:cubicBezTo>
                  <a:pt x="1834" y="1461"/>
                  <a:pt x="1839" y="1452"/>
                  <a:pt x="1839" y="1433"/>
                </a:cubicBezTo>
                <a:cubicBezTo>
                  <a:pt x="1839" y="1413"/>
                  <a:pt x="1834" y="1404"/>
                  <a:pt x="1826" y="1404"/>
                </a:cubicBezTo>
                <a:close/>
                <a:moveTo>
                  <a:pt x="1895" y="1470"/>
                </a:moveTo>
                <a:cubicBezTo>
                  <a:pt x="1888" y="1470"/>
                  <a:pt x="1882" y="1467"/>
                  <a:pt x="1878" y="1461"/>
                </a:cubicBezTo>
                <a:cubicBezTo>
                  <a:pt x="1874" y="1455"/>
                  <a:pt x="1871" y="1446"/>
                  <a:pt x="1871" y="1434"/>
                </a:cubicBezTo>
                <a:cubicBezTo>
                  <a:pt x="1871" y="1421"/>
                  <a:pt x="1874" y="1411"/>
                  <a:pt x="1878" y="1404"/>
                </a:cubicBezTo>
                <a:cubicBezTo>
                  <a:pt x="1882" y="1398"/>
                  <a:pt x="1889" y="1394"/>
                  <a:pt x="1898" y="1394"/>
                </a:cubicBezTo>
                <a:cubicBezTo>
                  <a:pt x="1914" y="1394"/>
                  <a:pt x="1922" y="1407"/>
                  <a:pt x="1922" y="1432"/>
                </a:cubicBezTo>
                <a:cubicBezTo>
                  <a:pt x="1922" y="1445"/>
                  <a:pt x="1920" y="1454"/>
                  <a:pt x="1915" y="1461"/>
                </a:cubicBezTo>
                <a:cubicBezTo>
                  <a:pt x="1910" y="1467"/>
                  <a:pt x="1904" y="1470"/>
                  <a:pt x="1895" y="1470"/>
                </a:cubicBezTo>
                <a:close/>
                <a:moveTo>
                  <a:pt x="1897" y="1404"/>
                </a:moveTo>
                <a:cubicBezTo>
                  <a:pt x="1888" y="1404"/>
                  <a:pt x="1883" y="1414"/>
                  <a:pt x="1883" y="1434"/>
                </a:cubicBezTo>
                <a:cubicBezTo>
                  <a:pt x="1883" y="1452"/>
                  <a:pt x="1887" y="1461"/>
                  <a:pt x="1896" y="1461"/>
                </a:cubicBezTo>
                <a:cubicBezTo>
                  <a:pt x="1905" y="1461"/>
                  <a:pt x="1909" y="1452"/>
                  <a:pt x="1909" y="1433"/>
                </a:cubicBezTo>
                <a:cubicBezTo>
                  <a:pt x="1909" y="1413"/>
                  <a:pt x="1905" y="1404"/>
                  <a:pt x="1897" y="1404"/>
                </a:cubicBezTo>
                <a:close/>
                <a:moveTo>
                  <a:pt x="41" y="1493"/>
                </a:moveTo>
                <a:cubicBezTo>
                  <a:pt x="41" y="1493"/>
                  <a:pt x="41" y="1493"/>
                  <a:pt x="41" y="1493"/>
                </a:cubicBezTo>
                <a:cubicBezTo>
                  <a:pt x="36" y="1493"/>
                  <a:pt x="36" y="1493"/>
                  <a:pt x="36" y="1493"/>
                </a:cubicBezTo>
                <a:cubicBezTo>
                  <a:pt x="33" y="1494"/>
                  <a:pt x="32" y="1496"/>
                  <a:pt x="30" y="1496"/>
                </a:cubicBezTo>
                <a:cubicBezTo>
                  <a:pt x="28" y="1498"/>
                  <a:pt x="27" y="1498"/>
                  <a:pt x="25" y="1499"/>
                </a:cubicBezTo>
                <a:cubicBezTo>
                  <a:pt x="23" y="1501"/>
                  <a:pt x="21" y="1501"/>
                  <a:pt x="20" y="1502"/>
                </a:cubicBezTo>
                <a:cubicBezTo>
                  <a:pt x="17" y="1503"/>
                  <a:pt x="16" y="1504"/>
                  <a:pt x="14" y="1504"/>
                </a:cubicBezTo>
                <a:cubicBezTo>
                  <a:pt x="14" y="1504"/>
                  <a:pt x="14" y="1504"/>
                  <a:pt x="14" y="1514"/>
                </a:cubicBezTo>
                <a:cubicBezTo>
                  <a:pt x="17" y="1513"/>
                  <a:pt x="20" y="1512"/>
                  <a:pt x="22" y="1511"/>
                </a:cubicBezTo>
                <a:cubicBezTo>
                  <a:pt x="25" y="1510"/>
                  <a:pt x="27" y="1509"/>
                  <a:pt x="29" y="1507"/>
                </a:cubicBezTo>
                <a:cubicBezTo>
                  <a:pt x="29" y="1507"/>
                  <a:pt x="29" y="1507"/>
                  <a:pt x="29" y="1566"/>
                </a:cubicBezTo>
                <a:cubicBezTo>
                  <a:pt x="29" y="1566"/>
                  <a:pt x="29" y="1566"/>
                  <a:pt x="41" y="1566"/>
                </a:cubicBezTo>
                <a:cubicBezTo>
                  <a:pt x="41" y="1566"/>
                  <a:pt x="41" y="1566"/>
                  <a:pt x="41" y="1493"/>
                </a:cubicBezTo>
                <a:close/>
                <a:moveTo>
                  <a:pt x="88" y="1493"/>
                </a:moveTo>
                <a:cubicBezTo>
                  <a:pt x="88" y="1493"/>
                  <a:pt x="88" y="1493"/>
                  <a:pt x="88" y="1493"/>
                </a:cubicBezTo>
                <a:cubicBezTo>
                  <a:pt x="83" y="1493"/>
                  <a:pt x="83" y="1493"/>
                  <a:pt x="83" y="1493"/>
                </a:cubicBezTo>
                <a:cubicBezTo>
                  <a:pt x="81" y="1494"/>
                  <a:pt x="79" y="1496"/>
                  <a:pt x="77" y="1496"/>
                </a:cubicBezTo>
                <a:cubicBezTo>
                  <a:pt x="76" y="1498"/>
                  <a:pt x="74" y="1498"/>
                  <a:pt x="72" y="1499"/>
                </a:cubicBezTo>
                <a:cubicBezTo>
                  <a:pt x="71" y="1501"/>
                  <a:pt x="69" y="1501"/>
                  <a:pt x="67" y="1502"/>
                </a:cubicBezTo>
                <a:cubicBezTo>
                  <a:pt x="65" y="1503"/>
                  <a:pt x="63" y="1504"/>
                  <a:pt x="61" y="1504"/>
                </a:cubicBezTo>
                <a:cubicBezTo>
                  <a:pt x="61" y="1504"/>
                  <a:pt x="61" y="1504"/>
                  <a:pt x="61" y="1514"/>
                </a:cubicBezTo>
                <a:cubicBezTo>
                  <a:pt x="64" y="1513"/>
                  <a:pt x="67" y="1512"/>
                  <a:pt x="69" y="1511"/>
                </a:cubicBezTo>
                <a:cubicBezTo>
                  <a:pt x="72" y="1510"/>
                  <a:pt x="74" y="1509"/>
                  <a:pt x="77" y="1507"/>
                </a:cubicBezTo>
                <a:cubicBezTo>
                  <a:pt x="77" y="1507"/>
                  <a:pt x="77" y="1507"/>
                  <a:pt x="77" y="1566"/>
                </a:cubicBezTo>
                <a:cubicBezTo>
                  <a:pt x="77" y="1566"/>
                  <a:pt x="77" y="1566"/>
                  <a:pt x="88" y="1566"/>
                </a:cubicBezTo>
                <a:cubicBezTo>
                  <a:pt x="88" y="1566"/>
                  <a:pt x="88" y="1566"/>
                  <a:pt x="88" y="1493"/>
                </a:cubicBezTo>
                <a:close/>
                <a:moveTo>
                  <a:pt x="135" y="1493"/>
                </a:moveTo>
                <a:cubicBezTo>
                  <a:pt x="135" y="1493"/>
                  <a:pt x="135" y="1493"/>
                  <a:pt x="135" y="1493"/>
                </a:cubicBezTo>
                <a:cubicBezTo>
                  <a:pt x="130" y="1493"/>
                  <a:pt x="130" y="1493"/>
                  <a:pt x="130" y="1493"/>
                </a:cubicBezTo>
                <a:cubicBezTo>
                  <a:pt x="128" y="1494"/>
                  <a:pt x="127" y="1496"/>
                  <a:pt x="125" y="1496"/>
                </a:cubicBezTo>
                <a:cubicBezTo>
                  <a:pt x="123" y="1498"/>
                  <a:pt x="121" y="1498"/>
                  <a:pt x="120" y="1499"/>
                </a:cubicBezTo>
                <a:cubicBezTo>
                  <a:pt x="117" y="1500"/>
                  <a:pt x="116" y="1501"/>
                  <a:pt x="114" y="1501"/>
                </a:cubicBezTo>
                <a:cubicBezTo>
                  <a:pt x="112" y="1502"/>
                  <a:pt x="110" y="1503"/>
                  <a:pt x="109" y="1504"/>
                </a:cubicBezTo>
                <a:cubicBezTo>
                  <a:pt x="109" y="1504"/>
                  <a:pt x="109" y="1504"/>
                  <a:pt x="109" y="1514"/>
                </a:cubicBezTo>
                <a:cubicBezTo>
                  <a:pt x="112" y="1513"/>
                  <a:pt x="115" y="1512"/>
                  <a:pt x="117" y="1511"/>
                </a:cubicBezTo>
                <a:cubicBezTo>
                  <a:pt x="119" y="1510"/>
                  <a:pt x="122" y="1509"/>
                  <a:pt x="123" y="1507"/>
                </a:cubicBezTo>
                <a:cubicBezTo>
                  <a:pt x="123" y="1507"/>
                  <a:pt x="123" y="1507"/>
                  <a:pt x="123" y="1566"/>
                </a:cubicBezTo>
                <a:cubicBezTo>
                  <a:pt x="123" y="1566"/>
                  <a:pt x="123" y="1566"/>
                  <a:pt x="135" y="1566"/>
                </a:cubicBezTo>
                <a:cubicBezTo>
                  <a:pt x="135" y="1566"/>
                  <a:pt x="135" y="1566"/>
                  <a:pt x="135" y="1493"/>
                </a:cubicBezTo>
                <a:close/>
                <a:moveTo>
                  <a:pt x="179" y="1566"/>
                </a:moveTo>
                <a:cubicBezTo>
                  <a:pt x="172" y="1566"/>
                  <a:pt x="166" y="1563"/>
                  <a:pt x="161" y="1557"/>
                </a:cubicBezTo>
                <a:cubicBezTo>
                  <a:pt x="158" y="1551"/>
                  <a:pt x="155" y="1542"/>
                  <a:pt x="155" y="1530"/>
                </a:cubicBezTo>
                <a:cubicBezTo>
                  <a:pt x="155" y="1517"/>
                  <a:pt x="158" y="1507"/>
                  <a:pt x="162" y="1500"/>
                </a:cubicBezTo>
                <a:cubicBezTo>
                  <a:pt x="166" y="1494"/>
                  <a:pt x="173" y="1490"/>
                  <a:pt x="182" y="1490"/>
                </a:cubicBezTo>
                <a:cubicBezTo>
                  <a:pt x="198" y="1490"/>
                  <a:pt x="206" y="1503"/>
                  <a:pt x="206" y="1528"/>
                </a:cubicBezTo>
                <a:cubicBezTo>
                  <a:pt x="206" y="1541"/>
                  <a:pt x="204" y="1550"/>
                  <a:pt x="198" y="1557"/>
                </a:cubicBezTo>
                <a:cubicBezTo>
                  <a:pt x="194" y="1563"/>
                  <a:pt x="188" y="1566"/>
                  <a:pt x="179" y="1566"/>
                </a:cubicBezTo>
                <a:close/>
                <a:moveTo>
                  <a:pt x="181" y="1500"/>
                </a:moveTo>
                <a:cubicBezTo>
                  <a:pt x="171" y="1500"/>
                  <a:pt x="167" y="1510"/>
                  <a:pt x="167" y="1530"/>
                </a:cubicBezTo>
                <a:cubicBezTo>
                  <a:pt x="167" y="1548"/>
                  <a:pt x="171" y="1557"/>
                  <a:pt x="180" y="1557"/>
                </a:cubicBezTo>
                <a:cubicBezTo>
                  <a:pt x="189" y="1557"/>
                  <a:pt x="193" y="1548"/>
                  <a:pt x="193" y="1529"/>
                </a:cubicBezTo>
                <a:cubicBezTo>
                  <a:pt x="193" y="1509"/>
                  <a:pt x="189" y="1500"/>
                  <a:pt x="181" y="1500"/>
                </a:cubicBezTo>
                <a:close/>
                <a:moveTo>
                  <a:pt x="251" y="1566"/>
                </a:moveTo>
                <a:cubicBezTo>
                  <a:pt x="243" y="1566"/>
                  <a:pt x="237" y="1563"/>
                  <a:pt x="233" y="1557"/>
                </a:cubicBezTo>
                <a:cubicBezTo>
                  <a:pt x="229" y="1551"/>
                  <a:pt x="226" y="1542"/>
                  <a:pt x="226" y="1530"/>
                </a:cubicBezTo>
                <a:cubicBezTo>
                  <a:pt x="226" y="1517"/>
                  <a:pt x="229" y="1507"/>
                  <a:pt x="233" y="1500"/>
                </a:cubicBezTo>
                <a:cubicBezTo>
                  <a:pt x="237" y="1494"/>
                  <a:pt x="244" y="1490"/>
                  <a:pt x="253" y="1490"/>
                </a:cubicBezTo>
                <a:cubicBezTo>
                  <a:pt x="269" y="1490"/>
                  <a:pt x="277" y="1503"/>
                  <a:pt x="277" y="1528"/>
                </a:cubicBezTo>
                <a:cubicBezTo>
                  <a:pt x="277" y="1541"/>
                  <a:pt x="275" y="1550"/>
                  <a:pt x="270" y="1557"/>
                </a:cubicBezTo>
                <a:cubicBezTo>
                  <a:pt x="265" y="1563"/>
                  <a:pt x="259" y="1566"/>
                  <a:pt x="251" y="1566"/>
                </a:cubicBezTo>
                <a:close/>
                <a:moveTo>
                  <a:pt x="252" y="1500"/>
                </a:moveTo>
                <a:cubicBezTo>
                  <a:pt x="243" y="1500"/>
                  <a:pt x="238" y="1510"/>
                  <a:pt x="238" y="1530"/>
                </a:cubicBezTo>
                <a:cubicBezTo>
                  <a:pt x="238" y="1548"/>
                  <a:pt x="242" y="1557"/>
                  <a:pt x="251" y="1557"/>
                </a:cubicBezTo>
                <a:cubicBezTo>
                  <a:pt x="260" y="1557"/>
                  <a:pt x="264" y="1548"/>
                  <a:pt x="264" y="1529"/>
                </a:cubicBezTo>
                <a:cubicBezTo>
                  <a:pt x="264" y="1509"/>
                  <a:pt x="260" y="1500"/>
                  <a:pt x="252" y="1500"/>
                </a:cubicBezTo>
                <a:close/>
                <a:moveTo>
                  <a:pt x="463" y="1566"/>
                </a:moveTo>
                <a:cubicBezTo>
                  <a:pt x="456" y="1566"/>
                  <a:pt x="450" y="1563"/>
                  <a:pt x="446" y="1557"/>
                </a:cubicBezTo>
                <a:cubicBezTo>
                  <a:pt x="441" y="1551"/>
                  <a:pt x="439" y="1541"/>
                  <a:pt x="439" y="1530"/>
                </a:cubicBezTo>
                <a:cubicBezTo>
                  <a:pt x="439" y="1517"/>
                  <a:pt x="441" y="1507"/>
                  <a:pt x="446" y="1500"/>
                </a:cubicBezTo>
                <a:cubicBezTo>
                  <a:pt x="450" y="1493"/>
                  <a:pt x="457" y="1490"/>
                  <a:pt x="466" y="1490"/>
                </a:cubicBezTo>
                <a:cubicBezTo>
                  <a:pt x="482" y="1490"/>
                  <a:pt x="490" y="1503"/>
                  <a:pt x="490" y="1527"/>
                </a:cubicBezTo>
                <a:cubicBezTo>
                  <a:pt x="490" y="1541"/>
                  <a:pt x="488" y="1550"/>
                  <a:pt x="483" y="1557"/>
                </a:cubicBezTo>
                <a:cubicBezTo>
                  <a:pt x="478" y="1563"/>
                  <a:pt x="472" y="1566"/>
                  <a:pt x="463" y="1566"/>
                </a:cubicBezTo>
                <a:close/>
                <a:moveTo>
                  <a:pt x="465" y="1500"/>
                </a:moveTo>
                <a:cubicBezTo>
                  <a:pt x="456" y="1500"/>
                  <a:pt x="452" y="1509"/>
                  <a:pt x="452" y="1529"/>
                </a:cubicBezTo>
                <a:cubicBezTo>
                  <a:pt x="452" y="1547"/>
                  <a:pt x="456" y="1557"/>
                  <a:pt x="465" y="1557"/>
                </a:cubicBezTo>
                <a:cubicBezTo>
                  <a:pt x="473" y="1557"/>
                  <a:pt x="477" y="1547"/>
                  <a:pt x="477" y="1529"/>
                </a:cubicBezTo>
                <a:cubicBezTo>
                  <a:pt x="477" y="1509"/>
                  <a:pt x="474" y="1500"/>
                  <a:pt x="465" y="1500"/>
                </a:cubicBezTo>
                <a:close/>
                <a:moveTo>
                  <a:pt x="582" y="1566"/>
                </a:moveTo>
                <a:cubicBezTo>
                  <a:pt x="574" y="1566"/>
                  <a:pt x="569" y="1563"/>
                  <a:pt x="564" y="1557"/>
                </a:cubicBezTo>
                <a:cubicBezTo>
                  <a:pt x="560" y="1551"/>
                  <a:pt x="558" y="1541"/>
                  <a:pt x="558" y="1530"/>
                </a:cubicBezTo>
                <a:cubicBezTo>
                  <a:pt x="558" y="1517"/>
                  <a:pt x="560" y="1507"/>
                  <a:pt x="564" y="1500"/>
                </a:cubicBezTo>
                <a:cubicBezTo>
                  <a:pt x="569" y="1493"/>
                  <a:pt x="575" y="1490"/>
                  <a:pt x="584" y="1490"/>
                </a:cubicBezTo>
                <a:cubicBezTo>
                  <a:pt x="600" y="1490"/>
                  <a:pt x="608" y="1503"/>
                  <a:pt x="608" y="1527"/>
                </a:cubicBezTo>
                <a:cubicBezTo>
                  <a:pt x="608" y="1541"/>
                  <a:pt x="606" y="1550"/>
                  <a:pt x="601" y="1557"/>
                </a:cubicBezTo>
                <a:cubicBezTo>
                  <a:pt x="596" y="1563"/>
                  <a:pt x="590" y="1566"/>
                  <a:pt x="582" y="1566"/>
                </a:cubicBezTo>
                <a:close/>
                <a:moveTo>
                  <a:pt x="583" y="1500"/>
                </a:moveTo>
                <a:cubicBezTo>
                  <a:pt x="574" y="1500"/>
                  <a:pt x="570" y="1509"/>
                  <a:pt x="570" y="1529"/>
                </a:cubicBezTo>
                <a:cubicBezTo>
                  <a:pt x="570" y="1547"/>
                  <a:pt x="574" y="1557"/>
                  <a:pt x="583" y="1557"/>
                </a:cubicBezTo>
                <a:cubicBezTo>
                  <a:pt x="591" y="1557"/>
                  <a:pt x="596" y="1547"/>
                  <a:pt x="596" y="1529"/>
                </a:cubicBezTo>
                <a:cubicBezTo>
                  <a:pt x="596" y="1509"/>
                  <a:pt x="592" y="1500"/>
                  <a:pt x="583" y="1500"/>
                </a:cubicBezTo>
                <a:close/>
                <a:moveTo>
                  <a:pt x="537" y="1493"/>
                </a:moveTo>
                <a:cubicBezTo>
                  <a:pt x="537" y="1493"/>
                  <a:pt x="537" y="1493"/>
                  <a:pt x="537" y="1493"/>
                </a:cubicBezTo>
                <a:cubicBezTo>
                  <a:pt x="532" y="1493"/>
                  <a:pt x="532" y="1493"/>
                  <a:pt x="532" y="1493"/>
                </a:cubicBezTo>
                <a:cubicBezTo>
                  <a:pt x="530" y="1494"/>
                  <a:pt x="528" y="1496"/>
                  <a:pt x="526" y="1496"/>
                </a:cubicBezTo>
                <a:cubicBezTo>
                  <a:pt x="525" y="1498"/>
                  <a:pt x="522" y="1498"/>
                  <a:pt x="521" y="1499"/>
                </a:cubicBezTo>
                <a:cubicBezTo>
                  <a:pt x="520" y="1500"/>
                  <a:pt x="517" y="1501"/>
                  <a:pt x="516" y="1501"/>
                </a:cubicBezTo>
                <a:cubicBezTo>
                  <a:pt x="514" y="1502"/>
                  <a:pt x="512" y="1503"/>
                  <a:pt x="510" y="1504"/>
                </a:cubicBezTo>
                <a:cubicBezTo>
                  <a:pt x="510" y="1504"/>
                  <a:pt x="510" y="1504"/>
                  <a:pt x="510" y="1514"/>
                </a:cubicBezTo>
                <a:cubicBezTo>
                  <a:pt x="513" y="1513"/>
                  <a:pt x="516" y="1512"/>
                  <a:pt x="518" y="1511"/>
                </a:cubicBezTo>
                <a:cubicBezTo>
                  <a:pt x="521" y="1510"/>
                  <a:pt x="523" y="1509"/>
                  <a:pt x="525" y="1507"/>
                </a:cubicBezTo>
                <a:cubicBezTo>
                  <a:pt x="525" y="1507"/>
                  <a:pt x="525" y="1507"/>
                  <a:pt x="525" y="1566"/>
                </a:cubicBezTo>
                <a:cubicBezTo>
                  <a:pt x="525" y="1566"/>
                  <a:pt x="525" y="1566"/>
                  <a:pt x="537" y="1566"/>
                </a:cubicBezTo>
                <a:cubicBezTo>
                  <a:pt x="537" y="1566"/>
                  <a:pt x="537" y="1566"/>
                  <a:pt x="537" y="1493"/>
                </a:cubicBezTo>
                <a:close/>
                <a:moveTo>
                  <a:pt x="653" y="1566"/>
                </a:moveTo>
                <a:cubicBezTo>
                  <a:pt x="645" y="1566"/>
                  <a:pt x="638" y="1563"/>
                  <a:pt x="635" y="1557"/>
                </a:cubicBezTo>
                <a:cubicBezTo>
                  <a:pt x="630" y="1551"/>
                  <a:pt x="628" y="1542"/>
                  <a:pt x="628" y="1530"/>
                </a:cubicBezTo>
                <a:cubicBezTo>
                  <a:pt x="628" y="1517"/>
                  <a:pt x="630" y="1507"/>
                  <a:pt x="635" y="1500"/>
                </a:cubicBezTo>
                <a:cubicBezTo>
                  <a:pt x="639" y="1494"/>
                  <a:pt x="646" y="1490"/>
                  <a:pt x="655" y="1490"/>
                </a:cubicBezTo>
                <a:cubicBezTo>
                  <a:pt x="671" y="1490"/>
                  <a:pt x="679" y="1503"/>
                  <a:pt x="679" y="1528"/>
                </a:cubicBezTo>
                <a:cubicBezTo>
                  <a:pt x="679" y="1541"/>
                  <a:pt x="677" y="1550"/>
                  <a:pt x="672" y="1557"/>
                </a:cubicBezTo>
                <a:cubicBezTo>
                  <a:pt x="667" y="1563"/>
                  <a:pt x="661" y="1566"/>
                  <a:pt x="653" y="1566"/>
                </a:cubicBezTo>
                <a:close/>
                <a:moveTo>
                  <a:pt x="654" y="1500"/>
                </a:moveTo>
                <a:cubicBezTo>
                  <a:pt x="645" y="1500"/>
                  <a:pt x="640" y="1510"/>
                  <a:pt x="640" y="1530"/>
                </a:cubicBezTo>
                <a:cubicBezTo>
                  <a:pt x="640" y="1548"/>
                  <a:pt x="644" y="1557"/>
                  <a:pt x="653" y="1557"/>
                </a:cubicBezTo>
                <a:cubicBezTo>
                  <a:pt x="662" y="1557"/>
                  <a:pt x="667" y="1548"/>
                  <a:pt x="667" y="1529"/>
                </a:cubicBezTo>
                <a:cubicBezTo>
                  <a:pt x="667" y="1509"/>
                  <a:pt x="662" y="1500"/>
                  <a:pt x="654" y="1500"/>
                </a:cubicBezTo>
                <a:close/>
                <a:moveTo>
                  <a:pt x="700" y="1525"/>
                </a:moveTo>
                <a:cubicBezTo>
                  <a:pt x="700" y="1525"/>
                  <a:pt x="700" y="1525"/>
                  <a:pt x="700" y="1525"/>
                </a:cubicBezTo>
                <a:cubicBezTo>
                  <a:pt x="699" y="1533"/>
                  <a:pt x="699" y="1533"/>
                  <a:pt x="699" y="1533"/>
                </a:cubicBezTo>
                <a:cubicBezTo>
                  <a:pt x="706" y="1534"/>
                  <a:pt x="706" y="1537"/>
                  <a:pt x="706" y="1539"/>
                </a:cubicBezTo>
                <a:cubicBezTo>
                  <a:pt x="706" y="1541"/>
                  <a:pt x="706" y="1544"/>
                  <a:pt x="706" y="1546"/>
                </a:cubicBezTo>
                <a:cubicBezTo>
                  <a:pt x="706" y="1549"/>
                  <a:pt x="705" y="1551"/>
                  <a:pt x="705" y="1553"/>
                </a:cubicBezTo>
                <a:cubicBezTo>
                  <a:pt x="705" y="1563"/>
                  <a:pt x="711" y="1566"/>
                  <a:pt x="720" y="1566"/>
                </a:cubicBezTo>
                <a:cubicBezTo>
                  <a:pt x="720" y="1566"/>
                  <a:pt x="720" y="1566"/>
                  <a:pt x="724" y="1566"/>
                </a:cubicBezTo>
                <a:cubicBezTo>
                  <a:pt x="724" y="1566"/>
                  <a:pt x="724" y="1566"/>
                  <a:pt x="724" y="1557"/>
                </a:cubicBezTo>
                <a:cubicBezTo>
                  <a:pt x="724" y="1557"/>
                  <a:pt x="724" y="1557"/>
                  <a:pt x="722" y="1557"/>
                </a:cubicBezTo>
                <a:cubicBezTo>
                  <a:pt x="718" y="1557"/>
                  <a:pt x="717" y="1555"/>
                  <a:pt x="717" y="1551"/>
                </a:cubicBezTo>
                <a:cubicBezTo>
                  <a:pt x="717" y="1550"/>
                  <a:pt x="717" y="1548"/>
                  <a:pt x="718" y="1546"/>
                </a:cubicBezTo>
                <a:cubicBezTo>
                  <a:pt x="718" y="1545"/>
                  <a:pt x="718" y="1543"/>
                  <a:pt x="718" y="1540"/>
                </a:cubicBezTo>
                <a:cubicBezTo>
                  <a:pt x="718" y="1533"/>
                  <a:pt x="715" y="1530"/>
                  <a:pt x="709" y="1529"/>
                </a:cubicBezTo>
                <a:cubicBezTo>
                  <a:pt x="709" y="1529"/>
                  <a:pt x="709" y="1529"/>
                  <a:pt x="709" y="1529"/>
                </a:cubicBezTo>
                <a:cubicBezTo>
                  <a:pt x="715" y="1528"/>
                  <a:pt x="718" y="1525"/>
                  <a:pt x="718" y="1518"/>
                </a:cubicBezTo>
                <a:cubicBezTo>
                  <a:pt x="718" y="1515"/>
                  <a:pt x="718" y="1513"/>
                  <a:pt x="718" y="1512"/>
                </a:cubicBezTo>
                <a:cubicBezTo>
                  <a:pt x="717" y="1510"/>
                  <a:pt x="717" y="1508"/>
                  <a:pt x="717" y="1507"/>
                </a:cubicBezTo>
                <a:cubicBezTo>
                  <a:pt x="717" y="1503"/>
                  <a:pt x="718" y="1501"/>
                  <a:pt x="722" y="1501"/>
                </a:cubicBezTo>
                <a:cubicBezTo>
                  <a:pt x="722" y="1501"/>
                  <a:pt x="722" y="1501"/>
                  <a:pt x="724" y="1501"/>
                </a:cubicBezTo>
                <a:cubicBezTo>
                  <a:pt x="724" y="1501"/>
                  <a:pt x="724" y="1501"/>
                  <a:pt x="724" y="1492"/>
                </a:cubicBezTo>
                <a:cubicBezTo>
                  <a:pt x="724" y="1492"/>
                  <a:pt x="724" y="1492"/>
                  <a:pt x="720" y="1492"/>
                </a:cubicBezTo>
                <a:cubicBezTo>
                  <a:pt x="711" y="1492"/>
                  <a:pt x="705" y="1496"/>
                  <a:pt x="705" y="1504"/>
                </a:cubicBezTo>
                <a:cubicBezTo>
                  <a:pt x="705" y="1507"/>
                  <a:pt x="706" y="1509"/>
                  <a:pt x="706" y="1512"/>
                </a:cubicBezTo>
                <a:cubicBezTo>
                  <a:pt x="706" y="1514"/>
                  <a:pt x="706" y="1517"/>
                  <a:pt x="706" y="1519"/>
                </a:cubicBezTo>
                <a:cubicBezTo>
                  <a:pt x="706" y="1521"/>
                  <a:pt x="706" y="1525"/>
                  <a:pt x="700" y="1525"/>
                </a:cubicBezTo>
                <a:close/>
                <a:moveTo>
                  <a:pt x="754" y="1533"/>
                </a:moveTo>
                <a:cubicBezTo>
                  <a:pt x="754" y="1533"/>
                  <a:pt x="754" y="1533"/>
                  <a:pt x="754" y="1533"/>
                </a:cubicBezTo>
                <a:cubicBezTo>
                  <a:pt x="754" y="1525"/>
                  <a:pt x="754" y="1525"/>
                  <a:pt x="754" y="1525"/>
                </a:cubicBezTo>
                <a:cubicBezTo>
                  <a:pt x="748" y="1525"/>
                  <a:pt x="748" y="1521"/>
                  <a:pt x="748" y="1519"/>
                </a:cubicBezTo>
                <a:cubicBezTo>
                  <a:pt x="748" y="1517"/>
                  <a:pt x="748" y="1514"/>
                  <a:pt x="748" y="1512"/>
                </a:cubicBezTo>
                <a:cubicBezTo>
                  <a:pt x="749" y="1509"/>
                  <a:pt x="749" y="1507"/>
                  <a:pt x="749" y="1504"/>
                </a:cubicBezTo>
                <a:cubicBezTo>
                  <a:pt x="749" y="1496"/>
                  <a:pt x="743" y="1492"/>
                  <a:pt x="734" y="1492"/>
                </a:cubicBezTo>
                <a:cubicBezTo>
                  <a:pt x="734" y="1492"/>
                  <a:pt x="734" y="1492"/>
                  <a:pt x="730" y="1492"/>
                </a:cubicBezTo>
                <a:cubicBezTo>
                  <a:pt x="730" y="1492"/>
                  <a:pt x="730" y="1492"/>
                  <a:pt x="730" y="1501"/>
                </a:cubicBezTo>
                <a:cubicBezTo>
                  <a:pt x="730" y="1501"/>
                  <a:pt x="730" y="1501"/>
                  <a:pt x="732" y="1501"/>
                </a:cubicBezTo>
                <a:cubicBezTo>
                  <a:pt x="736" y="1501"/>
                  <a:pt x="737" y="1503"/>
                  <a:pt x="737" y="1507"/>
                </a:cubicBezTo>
                <a:cubicBezTo>
                  <a:pt x="737" y="1508"/>
                  <a:pt x="737" y="1510"/>
                  <a:pt x="737" y="1512"/>
                </a:cubicBezTo>
                <a:cubicBezTo>
                  <a:pt x="736" y="1513"/>
                  <a:pt x="736" y="1515"/>
                  <a:pt x="736" y="1518"/>
                </a:cubicBezTo>
                <a:cubicBezTo>
                  <a:pt x="736" y="1525"/>
                  <a:pt x="739" y="1528"/>
                  <a:pt x="745" y="1529"/>
                </a:cubicBezTo>
                <a:cubicBezTo>
                  <a:pt x="745" y="1529"/>
                  <a:pt x="745" y="1529"/>
                  <a:pt x="745" y="1529"/>
                </a:cubicBezTo>
                <a:cubicBezTo>
                  <a:pt x="739" y="1530"/>
                  <a:pt x="736" y="1533"/>
                  <a:pt x="736" y="1540"/>
                </a:cubicBezTo>
                <a:cubicBezTo>
                  <a:pt x="736" y="1543"/>
                  <a:pt x="736" y="1545"/>
                  <a:pt x="737" y="1546"/>
                </a:cubicBezTo>
                <a:cubicBezTo>
                  <a:pt x="737" y="1548"/>
                  <a:pt x="737" y="1550"/>
                  <a:pt x="737" y="1551"/>
                </a:cubicBezTo>
                <a:cubicBezTo>
                  <a:pt x="737" y="1555"/>
                  <a:pt x="736" y="1557"/>
                  <a:pt x="732" y="1557"/>
                </a:cubicBezTo>
                <a:cubicBezTo>
                  <a:pt x="732" y="1557"/>
                  <a:pt x="732" y="1557"/>
                  <a:pt x="730" y="1557"/>
                </a:cubicBezTo>
                <a:cubicBezTo>
                  <a:pt x="730" y="1557"/>
                  <a:pt x="730" y="1557"/>
                  <a:pt x="730" y="1566"/>
                </a:cubicBezTo>
                <a:cubicBezTo>
                  <a:pt x="730" y="1566"/>
                  <a:pt x="730" y="1566"/>
                  <a:pt x="734" y="1566"/>
                </a:cubicBezTo>
                <a:cubicBezTo>
                  <a:pt x="743" y="1566"/>
                  <a:pt x="749" y="1563"/>
                  <a:pt x="749" y="1553"/>
                </a:cubicBezTo>
                <a:cubicBezTo>
                  <a:pt x="749" y="1551"/>
                  <a:pt x="749" y="1549"/>
                  <a:pt x="748" y="1546"/>
                </a:cubicBezTo>
                <a:cubicBezTo>
                  <a:pt x="748" y="1544"/>
                  <a:pt x="748" y="1541"/>
                  <a:pt x="748" y="1539"/>
                </a:cubicBezTo>
                <a:cubicBezTo>
                  <a:pt x="748" y="1537"/>
                  <a:pt x="748" y="1534"/>
                  <a:pt x="754" y="1533"/>
                </a:cubicBezTo>
                <a:close/>
                <a:moveTo>
                  <a:pt x="875" y="1566"/>
                </a:moveTo>
                <a:cubicBezTo>
                  <a:pt x="867" y="1566"/>
                  <a:pt x="861" y="1563"/>
                  <a:pt x="856" y="1557"/>
                </a:cubicBezTo>
                <a:cubicBezTo>
                  <a:pt x="853" y="1551"/>
                  <a:pt x="850" y="1542"/>
                  <a:pt x="850" y="1530"/>
                </a:cubicBezTo>
                <a:cubicBezTo>
                  <a:pt x="850" y="1517"/>
                  <a:pt x="853" y="1507"/>
                  <a:pt x="857" y="1500"/>
                </a:cubicBezTo>
                <a:cubicBezTo>
                  <a:pt x="861" y="1494"/>
                  <a:pt x="868" y="1490"/>
                  <a:pt x="877" y="1490"/>
                </a:cubicBezTo>
                <a:cubicBezTo>
                  <a:pt x="893" y="1490"/>
                  <a:pt x="901" y="1503"/>
                  <a:pt x="901" y="1528"/>
                </a:cubicBezTo>
                <a:cubicBezTo>
                  <a:pt x="901" y="1541"/>
                  <a:pt x="899" y="1550"/>
                  <a:pt x="894" y="1557"/>
                </a:cubicBezTo>
                <a:cubicBezTo>
                  <a:pt x="889" y="1563"/>
                  <a:pt x="883" y="1566"/>
                  <a:pt x="875" y="1566"/>
                </a:cubicBezTo>
                <a:close/>
                <a:moveTo>
                  <a:pt x="876" y="1500"/>
                </a:moveTo>
                <a:cubicBezTo>
                  <a:pt x="867" y="1500"/>
                  <a:pt x="862" y="1510"/>
                  <a:pt x="862" y="1530"/>
                </a:cubicBezTo>
                <a:cubicBezTo>
                  <a:pt x="862" y="1548"/>
                  <a:pt x="867" y="1557"/>
                  <a:pt x="875" y="1557"/>
                </a:cubicBezTo>
                <a:cubicBezTo>
                  <a:pt x="884" y="1557"/>
                  <a:pt x="889" y="1548"/>
                  <a:pt x="889" y="1529"/>
                </a:cubicBezTo>
                <a:cubicBezTo>
                  <a:pt x="889" y="1509"/>
                  <a:pt x="884" y="1500"/>
                  <a:pt x="876" y="1500"/>
                </a:cubicBezTo>
                <a:close/>
                <a:moveTo>
                  <a:pt x="949" y="1493"/>
                </a:moveTo>
                <a:cubicBezTo>
                  <a:pt x="949" y="1493"/>
                  <a:pt x="949" y="1493"/>
                  <a:pt x="949" y="1493"/>
                </a:cubicBezTo>
                <a:cubicBezTo>
                  <a:pt x="944" y="1493"/>
                  <a:pt x="944" y="1493"/>
                  <a:pt x="944" y="1493"/>
                </a:cubicBezTo>
                <a:cubicBezTo>
                  <a:pt x="941" y="1494"/>
                  <a:pt x="940" y="1496"/>
                  <a:pt x="938" y="1496"/>
                </a:cubicBezTo>
                <a:cubicBezTo>
                  <a:pt x="936" y="1498"/>
                  <a:pt x="934" y="1498"/>
                  <a:pt x="933" y="1499"/>
                </a:cubicBezTo>
                <a:cubicBezTo>
                  <a:pt x="930" y="1500"/>
                  <a:pt x="929" y="1501"/>
                  <a:pt x="927" y="1501"/>
                </a:cubicBezTo>
                <a:cubicBezTo>
                  <a:pt x="925" y="1502"/>
                  <a:pt x="924" y="1503"/>
                  <a:pt x="921" y="1504"/>
                </a:cubicBezTo>
                <a:cubicBezTo>
                  <a:pt x="921" y="1504"/>
                  <a:pt x="921" y="1504"/>
                  <a:pt x="921" y="1514"/>
                </a:cubicBezTo>
                <a:cubicBezTo>
                  <a:pt x="924" y="1513"/>
                  <a:pt x="927" y="1512"/>
                  <a:pt x="930" y="1511"/>
                </a:cubicBezTo>
                <a:cubicBezTo>
                  <a:pt x="933" y="1510"/>
                  <a:pt x="935" y="1509"/>
                  <a:pt x="937" y="1507"/>
                </a:cubicBezTo>
                <a:cubicBezTo>
                  <a:pt x="937" y="1507"/>
                  <a:pt x="937" y="1507"/>
                  <a:pt x="937" y="1566"/>
                </a:cubicBezTo>
                <a:cubicBezTo>
                  <a:pt x="937" y="1566"/>
                  <a:pt x="937" y="1566"/>
                  <a:pt x="949" y="1566"/>
                </a:cubicBezTo>
                <a:cubicBezTo>
                  <a:pt x="949" y="1566"/>
                  <a:pt x="949" y="1566"/>
                  <a:pt x="949" y="1493"/>
                </a:cubicBezTo>
                <a:close/>
                <a:moveTo>
                  <a:pt x="781" y="1566"/>
                </a:moveTo>
                <a:cubicBezTo>
                  <a:pt x="784" y="1547"/>
                  <a:pt x="784" y="1547"/>
                  <a:pt x="784" y="1547"/>
                </a:cubicBezTo>
                <a:cubicBezTo>
                  <a:pt x="775" y="1547"/>
                  <a:pt x="775" y="1547"/>
                  <a:pt x="775" y="1547"/>
                </a:cubicBezTo>
                <a:cubicBezTo>
                  <a:pt x="775" y="1535"/>
                  <a:pt x="775" y="1535"/>
                  <a:pt x="775" y="1535"/>
                </a:cubicBezTo>
                <a:cubicBezTo>
                  <a:pt x="786" y="1535"/>
                  <a:pt x="786" y="1535"/>
                  <a:pt x="786" y="1535"/>
                </a:cubicBezTo>
                <a:cubicBezTo>
                  <a:pt x="787" y="1524"/>
                  <a:pt x="787" y="1524"/>
                  <a:pt x="787" y="1524"/>
                </a:cubicBezTo>
                <a:cubicBezTo>
                  <a:pt x="778" y="1524"/>
                  <a:pt x="778" y="1524"/>
                  <a:pt x="778" y="1524"/>
                </a:cubicBezTo>
                <a:cubicBezTo>
                  <a:pt x="778" y="1512"/>
                  <a:pt x="778" y="1512"/>
                  <a:pt x="778" y="1512"/>
                </a:cubicBezTo>
                <a:cubicBezTo>
                  <a:pt x="789" y="1512"/>
                  <a:pt x="789" y="1512"/>
                  <a:pt x="789" y="1512"/>
                </a:cubicBezTo>
                <a:cubicBezTo>
                  <a:pt x="792" y="1494"/>
                  <a:pt x="792" y="1494"/>
                  <a:pt x="792" y="1494"/>
                </a:cubicBezTo>
                <a:cubicBezTo>
                  <a:pt x="803" y="1494"/>
                  <a:pt x="803" y="1494"/>
                  <a:pt x="803" y="1494"/>
                </a:cubicBezTo>
                <a:cubicBezTo>
                  <a:pt x="800" y="1512"/>
                  <a:pt x="800" y="1512"/>
                  <a:pt x="800" y="1512"/>
                </a:cubicBezTo>
                <a:cubicBezTo>
                  <a:pt x="810" y="1512"/>
                  <a:pt x="810" y="1512"/>
                  <a:pt x="810" y="1512"/>
                </a:cubicBezTo>
                <a:cubicBezTo>
                  <a:pt x="813" y="1494"/>
                  <a:pt x="813" y="1494"/>
                  <a:pt x="813" y="1494"/>
                </a:cubicBezTo>
                <a:cubicBezTo>
                  <a:pt x="824" y="1494"/>
                  <a:pt x="824" y="1494"/>
                  <a:pt x="824" y="1494"/>
                </a:cubicBezTo>
                <a:cubicBezTo>
                  <a:pt x="821" y="1512"/>
                  <a:pt x="821" y="1512"/>
                  <a:pt x="821" y="1512"/>
                </a:cubicBezTo>
                <a:cubicBezTo>
                  <a:pt x="830" y="1512"/>
                  <a:pt x="830" y="1512"/>
                  <a:pt x="830" y="1512"/>
                </a:cubicBezTo>
                <a:cubicBezTo>
                  <a:pt x="830" y="1524"/>
                  <a:pt x="830" y="1524"/>
                  <a:pt x="830" y="1524"/>
                </a:cubicBezTo>
                <a:cubicBezTo>
                  <a:pt x="820" y="1524"/>
                  <a:pt x="820" y="1524"/>
                  <a:pt x="820" y="1524"/>
                </a:cubicBezTo>
                <a:cubicBezTo>
                  <a:pt x="818" y="1535"/>
                  <a:pt x="818" y="1535"/>
                  <a:pt x="818" y="1535"/>
                </a:cubicBezTo>
                <a:cubicBezTo>
                  <a:pt x="827" y="1535"/>
                  <a:pt x="827" y="1535"/>
                  <a:pt x="827" y="1535"/>
                </a:cubicBezTo>
                <a:cubicBezTo>
                  <a:pt x="827" y="1547"/>
                  <a:pt x="827" y="1547"/>
                  <a:pt x="827" y="1547"/>
                </a:cubicBezTo>
                <a:cubicBezTo>
                  <a:pt x="816" y="1547"/>
                  <a:pt x="816" y="1547"/>
                  <a:pt x="816" y="1547"/>
                </a:cubicBezTo>
                <a:cubicBezTo>
                  <a:pt x="813" y="1566"/>
                  <a:pt x="813" y="1566"/>
                  <a:pt x="813" y="1566"/>
                </a:cubicBezTo>
                <a:cubicBezTo>
                  <a:pt x="802" y="1566"/>
                  <a:pt x="802" y="1566"/>
                  <a:pt x="802" y="1566"/>
                </a:cubicBezTo>
                <a:cubicBezTo>
                  <a:pt x="805" y="1547"/>
                  <a:pt x="805" y="1547"/>
                  <a:pt x="805" y="1547"/>
                </a:cubicBezTo>
                <a:cubicBezTo>
                  <a:pt x="795" y="1547"/>
                  <a:pt x="795" y="1547"/>
                  <a:pt x="795" y="1547"/>
                </a:cubicBezTo>
                <a:cubicBezTo>
                  <a:pt x="792" y="1566"/>
                  <a:pt x="792" y="1566"/>
                  <a:pt x="792" y="1566"/>
                </a:cubicBezTo>
                <a:cubicBezTo>
                  <a:pt x="781" y="1566"/>
                  <a:pt x="781" y="1566"/>
                  <a:pt x="781" y="1566"/>
                </a:cubicBezTo>
                <a:cubicBezTo>
                  <a:pt x="781" y="1566"/>
                  <a:pt x="781" y="1566"/>
                  <a:pt x="781" y="1566"/>
                </a:cubicBezTo>
                <a:close/>
                <a:moveTo>
                  <a:pt x="807" y="1535"/>
                </a:moveTo>
                <a:cubicBezTo>
                  <a:pt x="808" y="1524"/>
                  <a:pt x="808" y="1524"/>
                  <a:pt x="808" y="1524"/>
                </a:cubicBezTo>
                <a:cubicBezTo>
                  <a:pt x="799" y="1524"/>
                  <a:pt x="799" y="1524"/>
                  <a:pt x="799" y="1524"/>
                </a:cubicBezTo>
                <a:cubicBezTo>
                  <a:pt x="797" y="1535"/>
                  <a:pt x="797" y="1535"/>
                  <a:pt x="797" y="1535"/>
                </a:cubicBezTo>
                <a:cubicBezTo>
                  <a:pt x="807" y="1535"/>
                  <a:pt x="807" y="1535"/>
                  <a:pt x="807" y="1535"/>
                </a:cubicBezTo>
                <a:cubicBezTo>
                  <a:pt x="807" y="1535"/>
                  <a:pt x="807" y="1535"/>
                  <a:pt x="807" y="1535"/>
                </a:cubicBezTo>
                <a:close/>
                <a:moveTo>
                  <a:pt x="325" y="1493"/>
                </a:moveTo>
                <a:cubicBezTo>
                  <a:pt x="325" y="1493"/>
                  <a:pt x="325" y="1493"/>
                  <a:pt x="325" y="1493"/>
                </a:cubicBezTo>
                <a:cubicBezTo>
                  <a:pt x="320" y="1493"/>
                  <a:pt x="320" y="1493"/>
                  <a:pt x="320" y="1493"/>
                </a:cubicBezTo>
                <a:cubicBezTo>
                  <a:pt x="317" y="1494"/>
                  <a:pt x="316" y="1496"/>
                  <a:pt x="314" y="1496"/>
                </a:cubicBezTo>
                <a:cubicBezTo>
                  <a:pt x="312" y="1498"/>
                  <a:pt x="311" y="1498"/>
                  <a:pt x="309" y="1499"/>
                </a:cubicBezTo>
                <a:cubicBezTo>
                  <a:pt x="307" y="1501"/>
                  <a:pt x="305" y="1501"/>
                  <a:pt x="303" y="1502"/>
                </a:cubicBezTo>
                <a:cubicBezTo>
                  <a:pt x="301" y="1503"/>
                  <a:pt x="300" y="1504"/>
                  <a:pt x="297" y="1504"/>
                </a:cubicBezTo>
                <a:cubicBezTo>
                  <a:pt x="297" y="1504"/>
                  <a:pt x="297" y="1504"/>
                  <a:pt x="297" y="1514"/>
                </a:cubicBezTo>
                <a:cubicBezTo>
                  <a:pt x="300" y="1513"/>
                  <a:pt x="303" y="1512"/>
                  <a:pt x="306" y="1511"/>
                </a:cubicBezTo>
                <a:cubicBezTo>
                  <a:pt x="309" y="1510"/>
                  <a:pt x="311" y="1509"/>
                  <a:pt x="313" y="1507"/>
                </a:cubicBezTo>
                <a:cubicBezTo>
                  <a:pt x="313" y="1507"/>
                  <a:pt x="313" y="1507"/>
                  <a:pt x="313" y="1566"/>
                </a:cubicBezTo>
                <a:cubicBezTo>
                  <a:pt x="313" y="1566"/>
                  <a:pt x="313" y="1566"/>
                  <a:pt x="325" y="1566"/>
                </a:cubicBezTo>
                <a:cubicBezTo>
                  <a:pt x="325" y="1566"/>
                  <a:pt x="325" y="1566"/>
                  <a:pt x="325" y="1493"/>
                </a:cubicBezTo>
                <a:close/>
                <a:moveTo>
                  <a:pt x="372" y="1493"/>
                </a:moveTo>
                <a:cubicBezTo>
                  <a:pt x="372" y="1493"/>
                  <a:pt x="372" y="1493"/>
                  <a:pt x="372" y="1493"/>
                </a:cubicBezTo>
                <a:cubicBezTo>
                  <a:pt x="367" y="1493"/>
                  <a:pt x="367" y="1493"/>
                  <a:pt x="367" y="1493"/>
                </a:cubicBezTo>
                <a:cubicBezTo>
                  <a:pt x="365" y="1494"/>
                  <a:pt x="363" y="1496"/>
                  <a:pt x="361" y="1496"/>
                </a:cubicBezTo>
                <a:cubicBezTo>
                  <a:pt x="360" y="1498"/>
                  <a:pt x="358" y="1498"/>
                  <a:pt x="356" y="1499"/>
                </a:cubicBezTo>
                <a:cubicBezTo>
                  <a:pt x="355" y="1501"/>
                  <a:pt x="352" y="1501"/>
                  <a:pt x="351" y="1502"/>
                </a:cubicBezTo>
                <a:cubicBezTo>
                  <a:pt x="349" y="1503"/>
                  <a:pt x="347" y="1504"/>
                  <a:pt x="345" y="1504"/>
                </a:cubicBezTo>
                <a:cubicBezTo>
                  <a:pt x="345" y="1504"/>
                  <a:pt x="345" y="1504"/>
                  <a:pt x="345" y="1514"/>
                </a:cubicBezTo>
                <a:cubicBezTo>
                  <a:pt x="348" y="1513"/>
                  <a:pt x="351" y="1512"/>
                  <a:pt x="353" y="1511"/>
                </a:cubicBezTo>
                <a:cubicBezTo>
                  <a:pt x="356" y="1510"/>
                  <a:pt x="358" y="1509"/>
                  <a:pt x="361" y="1507"/>
                </a:cubicBezTo>
                <a:cubicBezTo>
                  <a:pt x="361" y="1507"/>
                  <a:pt x="361" y="1507"/>
                  <a:pt x="361" y="1566"/>
                </a:cubicBezTo>
                <a:cubicBezTo>
                  <a:pt x="361" y="1566"/>
                  <a:pt x="361" y="1566"/>
                  <a:pt x="372" y="1566"/>
                </a:cubicBezTo>
                <a:cubicBezTo>
                  <a:pt x="372" y="1566"/>
                  <a:pt x="372" y="1566"/>
                  <a:pt x="372" y="1493"/>
                </a:cubicBezTo>
                <a:close/>
                <a:moveTo>
                  <a:pt x="419" y="1493"/>
                </a:moveTo>
                <a:cubicBezTo>
                  <a:pt x="419" y="1493"/>
                  <a:pt x="419" y="1493"/>
                  <a:pt x="419" y="1493"/>
                </a:cubicBezTo>
                <a:cubicBezTo>
                  <a:pt x="414" y="1493"/>
                  <a:pt x="414" y="1493"/>
                  <a:pt x="414" y="1493"/>
                </a:cubicBezTo>
                <a:cubicBezTo>
                  <a:pt x="412" y="1494"/>
                  <a:pt x="411" y="1496"/>
                  <a:pt x="409" y="1496"/>
                </a:cubicBezTo>
                <a:cubicBezTo>
                  <a:pt x="407" y="1498"/>
                  <a:pt x="405" y="1498"/>
                  <a:pt x="403" y="1499"/>
                </a:cubicBezTo>
                <a:cubicBezTo>
                  <a:pt x="401" y="1500"/>
                  <a:pt x="400" y="1501"/>
                  <a:pt x="398" y="1501"/>
                </a:cubicBezTo>
                <a:cubicBezTo>
                  <a:pt x="396" y="1502"/>
                  <a:pt x="394" y="1503"/>
                  <a:pt x="392" y="1504"/>
                </a:cubicBezTo>
                <a:cubicBezTo>
                  <a:pt x="392" y="1504"/>
                  <a:pt x="392" y="1504"/>
                  <a:pt x="392" y="1514"/>
                </a:cubicBezTo>
                <a:cubicBezTo>
                  <a:pt x="395" y="1513"/>
                  <a:pt x="398" y="1512"/>
                  <a:pt x="401" y="1511"/>
                </a:cubicBezTo>
                <a:cubicBezTo>
                  <a:pt x="403" y="1510"/>
                  <a:pt x="406" y="1509"/>
                  <a:pt x="407" y="1507"/>
                </a:cubicBezTo>
                <a:cubicBezTo>
                  <a:pt x="407" y="1507"/>
                  <a:pt x="407" y="1507"/>
                  <a:pt x="407" y="1566"/>
                </a:cubicBezTo>
                <a:cubicBezTo>
                  <a:pt x="407" y="1566"/>
                  <a:pt x="407" y="1566"/>
                  <a:pt x="419" y="1566"/>
                </a:cubicBezTo>
                <a:cubicBezTo>
                  <a:pt x="419" y="1566"/>
                  <a:pt x="419" y="1566"/>
                  <a:pt x="419" y="1493"/>
                </a:cubicBezTo>
                <a:close/>
                <a:moveTo>
                  <a:pt x="626" y="1397"/>
                </a:moveTo>
                <a:cubicBezTo>
                  <a:pt x="626" y="1397"/>
                  <a:pt x="626" y="1397"/>
                  <a:pt x="626" y="1397"/>
                </a:cubicBezTo>
                <a:cubicBezTo>
                  <a:pt x="621" y="1397"/>
                  <a:pt x="621" y="1397"/>
                  <a:pt x="621" y="1397"/>
                </a:cubicBezTo>
                <a:cubicBezTo>
                  <a:pt x="619" y="1398"/>
                  <a:pt x="617" y="1400"/>
                  <a:pt x="615" y="1400"/>
                </a:cubicBezTo>
                <a:cubicBezTo>
                  <a:pt x="613" y="1402"/>
                  <a:pt x="611" y="1402"/>
                  <a:pt x="610" y="1403"/>
                </a:cubicBezTo>
                <a:cubicBezTo>
                  <a:pt x="608" y="1404"/>
                  <a:pt x="606" y="1405"/>
                  <a:pt x="605" y="1405"/>
                </a:cubicBezTo>
                <a:cubicBezTo>
                  <a:pt x="603" y="1406"/>
                  <a:pt x="601" y="1407"/>
                  <a:pt x="599" y="1408"/>
                </a:cubicBezTo>
                <a:cubicBezTo>
                  <a:pt x="599" y="1408"/>
                  <a:pt x="599" y="1408"/>
                  <a:pt x="599" y="1418"/>
                </a:cubicBezTo>
                <a:cubicBezTo>
                  <a:pt x="602" y="1417"/>
                  <a:pt x="605" y="1416"/>
                  <a:pt x="607" y="1415"/>
                </a:cubicBezTo>
                <a:cubicBezTo>
                  <a:pt x="610" y="1414"/>
                  <a:pt x="612" y="1413"/>
                  <a:pt x="614" y="1411"/>
                </a:cubicBezTo>
                <a:cubicBezTo>
                  <a:pt x="614" y="1411"/>
                  <a:pt x="614" y="1411"/>
                  <a:pt x="614" y="1470"/>
                </a:cubicBezTo>
                <a:cubicBezTo>
                  <a:pt x="614" y="1470"/>
                  <a:pt x="614" y="1470"/>
                  <a:pt x="626" y="1470"/>
                </a:cubicBezTo>
                <a:cubicBezTo>
                  <a:pt x="626" y="1470"/>
                  <a:pt x="626" y="1470"/>
                  <a:pt x="626" y="1397"/>
                </a:cubicBezTo>
                <a:close/>
                <a:moveTo>
                  <a:pt x="672" y="1397"/>
                </a:moveTo>
                <a:cubicBezTo>
                  <a:pt x="672" y="1397"/>
                  <a:pt x="672" y="1397"/>
                  <a:pt x="672" y="1397"/>
                </a:cubicBezTo>
                <a:cubicBezTo>
                  <a:pt x="667" y="1397"/>
                  <a:pt x="667" y="1397"/>
                  <a:pt x="667" y="1397"/>
                </a:cubicBezTo>
                <a:cubicBezTo>
                  <a:pt x="665" y="1398"/>
                  <a:pt x="664" y="1400"/>
                  <a:pt x="662" y="1400"/>
                </a:cubicBezTo>
                <a:cubicBezTo>
                  <a:pt x="660" y="1402"/>
                  <a:pt x="658" y="1402"/>
                  <a:pt x="657" y="1403"/>
                </a:cubicBezTo>
                <a:cubicBezTo>
                  <a:pt x="655" y="1405"/>
                  <a:pt x="653" y="1405"/>
                  <a:pt x="652" y="1406"/>
                </a:cubicBezTo>
                <a:cubicBezTo>
                  <a:pt x="650" y="1407"/>
                  <a:pt x="648" y="1408"/>
                  <a:pt x="646" y="1408"/>
                </a:cubicBezTo>
                <a:cubicBezTo>
                  <a:pt x="646" y="1408"/>
                  <a:pt x="646" y="1408"/>
                  <a:pt x="646" y="1418"/>
                </a:cubicBezTo>
                <a:cubicBezTo>
                  <a:pt x="649" y="1417"/>
                  <a:pt x="652" y="1416"/>
                  <a:pt x="654" y="1415"/>
                </a:cubicBezTo>
                <a:cubicBezTo>
                  <a:pt x="657" y="1414"/>
                  <a:pt x="659" y="1413"/>
                  <a:pt x="661" y="1411"/>
                </a:cubicBezTo>
                <a:cubicBezTo>
                  <a:pt x="661" y="1411"/>
                  <a:pt x="661" y="1411"/>
                  <a:pt x="661" y="1470"/>
                </a:cubicBezTo>
                <a:cubicBezTo>
                  <a:pt x="661" y="1470"/>
                  <a:pt x="661" y="1470"/>
                  <a:pt x="672" y="1470"/>
                </a:cubicBezTo>
                <a:cubicBezTo>
                  <a:pt x="672" y="1470"/>
                  <a:pt x="672" y="1470"/>
                  <a:pt x="672" y="1397"/>
                </a:cubicBezTo>
                <a:close/>
                <a:moveTo>
                  <a:pt x="718" y="1397"/>
                </a:moveTo>
                <a:cubicBezTo>
                  <a:pt x="718" y="1397"/>
                  <a:pt x="718" y="1397"/>
                  <a:pt x="718" y="1397"/>
                </a:cubicBezTo>
                <a:cubicBezTo>
                  <a:pt x="714" y="1397"/>
                  <a:pt x="714" y="1397"/>
                  <a:pt x="714" y="1397"/>
                </a:cubicBezTo>
                <a:cubicBezTo>
                  <a:pt x="712" y="1398"/>
                  <a:pt x="710" y="1400"/>
                  <a:pt x="708" y="1400"/>
                </a:cubicBezTo>
                <a:cubicBezTo>
                  <a:pt x="707" y="1402"/>
                  <a:pt x="704" y="1402"/>
                  <a:pt x="703" y="1403"/>
                </a:cubicBezTo>
                <a:cubicBezTo>
                  <a:pt x="701" y="1405"/>
                  <a:pt x="699" y="1405"/>
                  <a:pt x="697" y="1406"/>
                </a:cubicBezTo>
                <a:cubicBezTo>
                  <a:pt x="696" y="1407"/>
                  <a:pt x="693" y="1408"/>
                  <a:pt x="692" y="1408"/>
                </a:cubicBezTo>
                <a:cubicBezTo>
                  <a:pt x="692" y="1408"/>
                  <a:pt x="692" y="1408"/>
                  <a:pt x="692" y="1418"/>
                </a:cubicBezTo>
                <a:cubicBezTo>
                  <a:pt x="695" y="1417"/>
                  <a:pt x="698" y="1416"/>
                  <a:pt x="700" y="1415"/>
                </a:cubicBezTo>
                <a:cubicBezTo>
                  <a:pt x="702" y="1414"/>
                  <a:pt x="705" y="1413"/>
                  <a:pt x="707" y="1411"/>
                </a:cubicBezTo>
                <a:cubicBezTo>
                  <a:pt x="707" y="1411"/>
                  <a:pt x="707" y="1411"/>
                  <a:pt x="707" y="1470"/>
                </a:cubicBezTo>
                <a:cubicBezTo>
                  <a:pt x="707" y="1470"/>
                  <a:pt x="707" y="1470"/>
                  <a:pt x="718" y="1470"/>
                </a:cubicBezTo>
                <a:cubicBezTo>
                  <a:pt x="718" y="1470"/>
                  <a:pt x="718" y="1470"/>
                  <a:pt x="718" y="1397"/>
                </a:cubicBezTo>
                <a:close/>
                <a:moveTo>
                  <a:pt x="765" y="1397"/>
                </a:moveTo>
                <a:cubicBezTo>
                  <a:pt x="765" y="1397"/>
                  <a:pt x="765" y="1397"/>
                  <a:pt x="765" y="1397"/>
                </a:cubicBezTo>
                <a:cubicBezTo>
                  <a:pt x="760" y="1397"/>
                  <a:pt x="760" y="1397"/>
                  <a:pt x="760" y="1397"/>
                </a:cubicBezTo>
                <a:cubicBezTo>
                  <a:pt x="758" y="1398"/>
                  <a:pt x="756" y="1400"/>
                  <a:pt x="754" y="1400"/>
                </a:cubicBezTo>
                <a:cubicBezTo>
                  <a:pt x="753" y="1402"/>
                  <a:pt x="751" y="1402"/>
                  <a:pt x="749" y="1403"/>
                </a:cubicBezTo>
                <a:cubicBezTo>
                  <a:pt x="748" y="1405"/>
                  <a:pt x="745" y="1405"/>
                  <a:pt x="744" y="1406"/>
                </a:cubicBezTo>
                <a:cubicBezTo>
                  <a:pt x="742" y="1407"/>
                  <a:pt x="740" y="1408"/>
                  <a:pt x="738" y="1408"/>
                </a:cubicBezTo>
                <a:cubicBezTo>
                  <a:pt x="738" y="1408"/>
                  <a:pt x="738" y="1408"/>
                  <a:pt x="738" y="1418"/>
                </a:cubicBezTo>
                <a:cubicBezTo>
                  <a:pt x="741" y="1417"/>
                  <a:pt x="744" y="1416"/>
                  <a:pt x="746" y="1415"/>
                </a:cubicBezTo>
                <a:cubicBezTo>
                  <a:pt x="749" y="1414"/>
                  <a:pt x="751" y="1413"/>
                  <a:pt x="753" y="1411"/>
                </a:cubicBezTo>
                <a:cubicBezTo>
                  <a:pt x="753" y="1411"/>
                  <a:pt x="753" y="1411"/>
                  <a:pt x="753" y="1470"/>
                </a:cubicBezTo>
                <a:cubicBezTo>
                  <a:pt x="753" y="1470"/>
                  <a:pt x="753" y="1470"/>
                  <a:pt x="765" y="1470"/>
                </a:cubicBezTo>
                <a:cubicBezTo>
                  <a:pt x="765" y="1470"/>
                  <a:pt x="765" y="1470"/>
                  <a:pt x="765" y="1397"/>
                </a:cubicBezTo>
                <a:close/>
                <a:moveTo>
                  <a:pt x="887" y="1397"/>
                </a:moveTo>
                <a:cubicBezTo>
                  <a:pt x="887" y="1397"/>
                  <a:pt x="887" y="1397"/>
                  <a:pt x="887" y="1397"/>
                </a:cubicBezTo>
                <a:cubicBezTo>
                  <a:pt x="882" y="1397"/>
                  <a:pt x="882" y="1397"/>
                  <a:pt x="882" y="1397"/>
                </a:cubicBezTo>
                <a:cubicBezTo>
                  <a:pt x="880" y="1398"/>
                  <a:pt x="878" y="1400"/>
                  <a:pt x="876" y="1400"/>
                </a:cubicBezTo>
                <a:cubicBezTo>
                  <a:pt x="875" y="1402"/>
                  <a:pt x="873" y="1402"/>
                  <a:pt x="871" y="1403"/>
                </a:cubicBezTo>
                <a:cubicBezTo>
                  <a:pt x="869" y="1405"/>
                  <a:pt x="867" y="1405"/>
                  <a:pt x="866" y="1406"/>
                </a:cubicBezTo>
                <a:cubicBezTo>
                  <a:pt x="864" y="1407"/>
                  <a:pt x="862" y="1408"/>
                  <a:pt x="860" y="1408"/>
                </a:cubicBezTo>
                <a:cubicBezTo>
                  <a:pt x="860" y="1408"/>
                  <a:pt x="860" y="1408"/>
                  <a:pt x="860" y="1418"/>
                </a:cubicBezTo>
                <a:cubicBezTo>
                  <a:pt x="863" y="1417"/>
                  <a:pt x="866" y="1416"/>
                  <a:pt x="869" y="1415"/>
                </a:cubicBezTo>
                <a:cubicBezTo>
                  <a:pt x="871" y="1414"/>
                  <a:pt x="873" y="1413"/>
                  <a:pt x="875" y="1411"/>
                </a:cubicBezTo>
                <a:cubicBezTo>
                  <a:pt x="875" y="1411"/>
                  <a:pt x="875" y="1411"/>
                  <a:pt x="875" y="1470"/>
                </a:cubicBezTo>
                <a:cubicBezTo>
                  <a:pt x="875" y="1470"/>
                  <a:pt x="875" y="1470"/>
                  <a:pt x="887" y="1470"/>
                </a:cubicBezTo>
                <a:cubicBezTo>
                  <a:pt x="887" y="1470"/>
                  <a:pt x="887" y="1470"/>
                  <a:pt x="887" y="1397"/>
                </a:cubicBezTo>
                <a:close/>
                <a:moveTo>
                  <a:pt x="934" y="1397"/>
                </a:moveTo>
                <a:cubicBezTo>
                  <a:pt x="934" y="1397"/>
                  <a:pt x="934" y="1397"/>
                  <a:pt x="934" y="1397"/>
                </a:cubicBezTo>
                <a:cubicBezTo>
                  <a:pt x="929" y="1397"/>
                  <a:pt x="929" y="1397"/>
                  <a:pt x="929" y="1397"/>
                </a:cubicBezTo>
                <a:cubicBezTo>
                  <a:pt x="927" y="1398"/>
                  <a:pt x="925" y="1400"/>
                  <a:pt x="923" y="1400"/>
                </a:cubicBezTo>
                <a:cubicBezTo>
                  <a:pt x="921" y="1402"/>
                  <a:pt x="919" y="1402"/>
                  <a:pt x="918" y="1403"/>
                </a:cubicBezTo>
                <a:cubicBezTo>
                  <a:pt x="916" y="1405"/>
                  <a:pt x="914" y="1405"/>
                  <a:pt x="912" y="1406"/>
                </a:cubicBezTo>
                <a:cubicBezTo>
                  <a:pt x="910" y="1407"/>
                  <a:pt x="909" y="1408"/>
                  <a:pt x="907" y="1408"/>
                </a:cubicBezTo>
                <a:cubicBezTo>
                  <a:pt x="907" y="1408"/>
                  <a:pt x="907" y="1408"/>
                  <a:pt x="907" y="1418"/>
                </a:cubicBezTo>
                <a:cubicBezTo>
                  <a:pt x="910" y="1417"/>
                  <a:pt x="912" y="1416"/>
                  <a:pt x="915" y="1415"/>
                </a:cubicBezTo>
                <a:cubicBezTo>
                  <a:pt x="918" y="1414"/>
                  <a:pt x="920" y="1413"/>
                  <a:pt x="922" y="1411"/>
                </a:cubicBezTo>
                <a:cubicBezTo>
                  <a:pt x="922" y="1411"/>
                  <a:pt x="922" y="1411"/>
                  <a:pt x="922" y="1470"/>
                </a:cubicBezTo>
                <a:cubicBezTo>
                  <a:pt x="922" y="1470"/>
                  <a:pt x="922" y="1470"/>
                  <a:pt x="934" y="1470"/>
                </a:cubicBezTo>
                <a:cubicBezTo>
                  <a:pt x="934" y="1470"/>
                  <a:pt x="934" y="1470"/>
                  <a:pt x="934" y="1397"/>
                </a:cubicBezTo>
                <a:close/>
                <a:moveTo>
                  <a:pt x="786" y="1429"/>
                </a:moveTo>
                <a:cubicBezTo>
                  <a:pt x="786" y="1429"/>
                  <a:pt x="786" y="1429"/>
                  <a:pt x="786" y="1429"/>
                </a:cubicBezTo>
                <a:cubicBezTo>
                  <a:pt x="785" y="1437"/>
                  <a:pt x="785" y="1437"/>
                  <a:pt x="785" y="1437"/>
                </a:cubicBezTo>
                <a:cubicBezTo>
                  <a:pt x="791" y="1438"/>
                  <a:pt x="792" y="1441"/>
                  <a:pt x="792" y="1443"/>
                </a:cubicBezTo>
                <a:cubicBezTo>
                  <a:pt x="792" y="1445"/>
                  <a:pt x="792" y="1448"/>
                  <a:pt x="792" y="1450"/>
                </a:cubicBezTo>
                <a:cubicBezTo>
                  <a:pt x="791" y="1453"/>
                  <a:pt x="791" y="1455"/>
                  <a:pt x="791" y="1457"/>
                </a:cubicBezTo>
                <a:cubicBezTo>
                  <a:pt x="791" y="1467"/>
                  <a:pt x="797" y="1470"/>
                  <a:pt x="805" y="1470"/>
                </a:cubicBezTo>
                <a:cubicBezTo>
                  <a:pt x="805" y="1470"/>
                  <a:pt x="805" y="1470"/>
                  <a:pt x="809" y="1470"/>
                </a:cubicBezTo>
                <a:cubicBezTo>
                  <a:pt x="809" y="1470"/>
                  <a:pt x="809" y="1470"/>
                  <a:pt x="809" y="1461"/>
                </a:cubicBezTo>
                <a:cubicBezTo>
                  <a:pt x="809" y="1461"/>
                  <a:pt x="809" y="1461"/>
                  <a:pt x="808" y="1461"/>
                </a:cubicBezTo>
                <a:cubicBezTo>
                  <a:pt x="804" y="1461"/>
                  <a:pt x="803" y="1459"/>
                  <a:pt x="803" y="1455"/>
                </a:cubicBezTo>
                <a:cubicBezTo>
                  <a:pt x="803" y="1454"/>
                  <a:pt x="803" y="1452"/>
                  <a:pt x="803" y="1450"/>
                </a:cubicBezTo>
                <a:cubicBezTo>
                  <a:pt x="803" y="1449"/>
                  <a:pt x="804" y="1447"/>
                  <a:pt x="804" y="1444"/>
                </a:cubicBezTo>
                <a:cubicBezTo>
                  <a:pt x="804" y="1437"/>
                  <a:pt x="801" y="1434"/>
                  <a:pt x="795" y="1433"/>
                </a:cubicBezTo>
                <a:cubicBezTo>
                  <a:pt x="795" y="1433"/>
                  <a:pt x="795" y="1433"/>
                  <a:pt x="795" y="1433"/>
                </a:cubicBezTo>
                <a:cubicBezTo>
                  <a:pt x="801" y="1432"/>
                  <a:pt x="804" y="1429"/>
                  <a:pt x="804" y="1422"/>
                </a:cubicBezTo>
                <a:cubicBezTo>
                  <a:pt x="804" y="1419"/>
                  <a:pt x="803" y="1417"/>
                  <a:pt x="803" y="1416"/>
                </a:cubicBezTo>
                <a:cubicBezTo>
                  <a:pt x="803" y="1414"/>
                  <a:pt x="803" y="1412"/>
                  <a:pt x="803" y="1411"/>
                </a:cubicBezTo>
                <a:cubicBezTo>
                  <a:pt x="803" y="1407"/>
                  <a:pt x="804" y="1405"/>
                  <a:pt x="808" y="1405"/>
                </a:cubicBezTo>
                <a:cubicBezTo>
                  <a:pt x="808" y="1405"/>
                  <a:pt x="808" y="1405"/>
                  <a:pt x="809" y="1405"/>
                </a:cubicBezTo>
                <a:cubicBezTo>
                  <a:pt x="809" y="1405"/>
                  <a:pt x="809" y="1405"/>
                  <a:pt x="809" y="1396"/>
                </a:cubicBezTo>
                <a:cubicBezTo>
                  <a:pt x="809" y="1396"/>
                  <a:pt x="809" y="1396"/>
                  <a:pt x="805" y="1396"/>
                </a:cubicBezTo>
                <a:cubicBezTo>
                  <a:pt x="797" y="1396"/>
                  <a:pt x="791" y="1400"/>
                  <a:pt x="791" y="1408"/>
                </a:cubicBezTo>
                <a:cubicBezTo>
                  <a:pt x="791" y="1411"/>
                  <a:pt x="791" y="1413"/>
                  <a:pt x="791" y="1416"/>
                </a:cubicBezTo>
                <a:cubicBezTo>
                  <a:pt x="792" y="1418"/>
                  <a:pt x="792" y="1421"/>
                  <a:pt x="792" y="1423"/>
                </a:cubicBezTo>
                <a:cubicBezTo>
                  <a:pt x="792" y="1425"/>
                  <a:pt x="791" y="1429"/>
                  <a:pt x="786" y="1429"/>
                </a:cubicBezTo>
                <a:close/>
                <a:moveTo>
                  <a:pt x="840" y="1437"/>
                </a:moveTo>
                <a:cubicBezTo>
                  <a:pt x="840" y="1437"/>
                  <a:pt x="840" y="1437"/>
                  <a:pt x="840" y="1437"/>
                </a:cubicBezTo>
                <a:cubicBezTo>
                  <a:pt x="840" y="1429"/>
                  <a:pt x="840" y="1429"/>
                  <a:pt x="840" y="1429"/>
                </a:cubicBezTo>
                <a:cubicBezTo>
                  <a:pt x="834" y="1429"/>
                  <a:pt x="833" y="1425"/>
                  <a:pt x="833" y="1423"/>
                </a:cubicBezTo>
                <a:cubicBezTo>
                  <a:pt x="833" y="1421"/>
                  <a:pt x="833" y="1418"/>
                  <a:pt x="834" y="1416"/>
                </a:cubicBezTo>
                <a:cubicBezTo>
                  <a:pt x="834" y="1413"/>
                  <a:pt x="834" y="1411"/>
                  <a:pt x="834" y="1408"/>
                </a:cubicBezTo>
                <a:cubicBezTo>
                  <a:pt x="834" y="1400"/>
                  <a:pt x="829" y="1396"/>
                  <a:pt x="820" y="1396"/>
                </a:cubicBezTo>
                <a:cubicBezTo>
                  <a:pt x="820" y="1396"/>
                  <a:pt x="820" y="1396"/>
                  <a:pt x="816" y="1396"/>
                </a:cubicBezTo>
                <a:cubicBezTo>
                  <a:pt x="816" y="1396"/>
                  <a:pt x="816" y="1396"/>
                  <a:pt x="816" y="1405"/>
                </a:cubicBezTo>
                <a:cubicBezTo>
                  <a:pt x="816" y="1405"/>
                  <a:pt x="816" y="1405"/>
                  <a:pt x="817" y="1405"/>
                </a:cubicBezTo>
                <a:cubicBezTo>
                  <a:pt x="821" y="1405"/>
                  <a:pt x="822" y="1407"/>
                  <a:pt x="822" y="1411"/>
                </a:cubicBezTo>
                <a:cubicBezTo>
                  <a:pt x="822" y="1412"/>
                  <a:pt x="822" y="1414"/>
                  <a:pt x="822" y="1416"/>
                </a:cubicBezTo>
                <a:cubicBezTo>
                  <a:pt x="822" y="1417"/>
                  <a:pt x="822" y="1419"/>
                  <a:pt x="822" y="1422"/>
                </a:cubicBezTo>
                <a:cubicBezTo>
                  <a:pt x="822" y="1429"/>
                  <a:pt x="824" y="1432"/>
                  <a:pt x="830" y="1433"/>
                </a:cubicBezTo>
                <a:cubicBezTo>
                  <a:pt x="830" y="1433"/>
                  <a:pt x="830" y="1433"/>
                  <a:pt x="830" y="1433"/>
                </a:cubicBezTo>
                <a:cubicBezTo>
                  <a:pt x="824" y="1434"/>
                  <a:pt x="822" y="1437"/>
                  <a:pt x="822" y="1444"/>
                </a:cubicBezTo>
                <a:cubicBezTo>
                  <a:pt x="822" y="1447"/>
                  <a:pt x="822" y="1449"/>
                  <a:pt x="822" y="1450"/>
                </a:cubicBezTo>
                <a:cubicBezTo>
                  <a:pt x="822" y="1452"/>
                  <a:pt x="822" y="1454"/>
                  <a:pt x="822" y="1455"/>
                </a:cubicBezTo>
                <a:cubicBezTo>
                  <a:pt x="822" y="1459"/>
                  <a:pt x="821" y="1461"/>
                  <a:pt x="817" y="1461"/>
                </a:cubicBezTo>
                <a:cubicBezTo>
                  <a:pt x="817" y="1461"/>
                  <a:pt x="817" y="1461"/>
                  <a:pt x="816" y="1461"/>
                </a:cubicBezTo>
                <a:cubicBezTo>
                  <a:pt x="816" y="1461"/>
                  <a:pt x="816" y="1461"/>
                  <a:pt x="816" y="1470"/>
                </a:cubicBezTo>
                <a:cubicBezTo>
                  <a:pt x="816" y="1470"/>
                  <a:pt x="816" y="1470"/>
                  <a:pt x="820" y="1470"/>
                </a:cubicBezTo>
                <a:cubicBezTo>
                  <a:pt x="828" y="1470"/>
                  <a:pt x="834" y="1467"/>
                  <a:pt x="834" y="1457"/>
                </a:cubicBezTo>
                <a:cubicBezTo>
                  <a:pt x="834" y="1455"/>
                  <a:pt x="834" y="1453"/>
                  <a:pt x="834" y="1450"/>
                </a:cubicBezTo>
                <a:cubicBezTo>
                  <a:pt x="833" y="1448"/>
                  <a:pt x="833" y="1445"/>
                  <a:pt x="833" y="1443"/>
                </a:cubicBezTo>
                <a:cubicBezTo>
                  <a:pt x="833" y="1441"/>
                  <a:pt x="834" y="1438"/>
                  <a:pt x="840" y="1437"/>
                </a:cubicBezTo>
                <a:close/>
                <a:moveTo>
                  <a:pt x="226" y="1470"/>
                </a:moveTo>
                <a:cubicBezTo>
                  <a:pt x="219" y="1470"/>
                  <a:pt x="212" y="1467"/>
                  <a:pt x="208" y="1461"/>
                </a:cubicBezTo>
                <a:cubicBezTo>
                  <a:pt x="204" y="1455"/>
                  <a:pt x="202" y="1446"/>
                  <a:pt x="202" y="1434"/>
                </a:cubicBezTo>
                <a:cubicBezTo>
                  <a:pt x="202" y="1421"/>
                  <a:pt x="204" y="1411"/>
                  <a:pt x="209" y="1404"/>
                </a:cubicBezTo>
                <a:cubicBezTo>
                  <a:pt x="213" y="1398"/>
                  <a:pt x="219" y="1394"/>
                  <a:pt x="228" y="1394"/>
                </a:cubicBezTo>
                <a:cubicBezTo>
                  <a:pt x="244" y="1394"/>
                  <a:pt x="252" y="1407"/>
                  <a:pt x="252" y="1432"/>
                </a:cubicBezTo>
                <a:cubicBezTo>
                  <a:pt x="252" y="1445"/>
                  <a:pt x="250" y="1454"/>
                  <a:pt x="245" y="1461"/>
                </a:cubicBezTo>
                <a:cubicBezTo>
                  <a:pt x="241" y="1467"/>
                  <a:pt x="234" y="1470"/>
                  <a:pt x="226" y="1470"/>
                </a:cubicBezTo>
                <a:close/>
                <a:moveTo>
                  <a:pt x="227" y="1404"/>
                </a:moveTo>
                <a:cubicBezTo>
                  <a:pt x="218" y="1404"/>
                  <a:pt x="214" y="1414"/>
                  <a:pt x="214" y="1434"/>
                </a:cubicBezTo>
                <a:cubicBezTo>
                  <a:pt x="214" y="1452"/>
                  <a:pt x="218" y="1461"/>
                  <a:pt x="227" y="1461"/>
                </a:cubicBezTo>
                <a:cubicBezTo>
                  <a:pt x="236" y="1461"/>
                  <a:pt x="240" y="1452"/>
                  <a:pt x="240" y="1433"/>
                </a:cubicBezTo>
                <a:cubicBezTo>
                  <a:pt x="240" y="1413"/>
                  <a:pt x="236" y="1404"/>
                  <a:pt x="227" y="1404"/>
                </a:cubicBezTo>
                <a:close/>
                <a:moveTo>
                  <a:pt x="296" y="1470"/>
                </a:moveTo>
                <a:cubicBezTo>
                  <a:pt x="289" y="1470"/>
                  <a:pt x="282" y="1467"/>
                  <a:pt x="279" y="1461"/>
                </a:cubicBezTo>
                <a:cubicBezTo>
                  <a:pt x="274" y="1455"/>
                  <a:pt x="272" y="1446"/>
                  <a:pt x="272" y="1434"/>
                </a:cubicBezTo>
                <a:cubicBezTo>
                  <a:pt x="272" y="1421"/>
                  <a:pt x="274" y="1411"/>
                  <a:pt x="279" y="1404"/>
                </a:cubicBezTo>
                <a:cubicBezTo>
                  <a:pt x="283" y="1398"/>
                  <a:pt x="290" y="1394"/>
                  <a:pt x="298" y="1394"/>
                </a:cubicBezTo>
                <a:cubicBezTo>
                  <a:pt x="314" y="1394"/>
                  <a:pt x="322" y="1407"/>
                  <a:pt x="322" y="1432"/>
                </a:cubicBezTo>
                <a:cubicBezTo>
                  <a:pt x="322" y="1445"/>
                  <a:pt x="320" y="1454"/>
                  <a:pt x="316" y="1461"/>
                </a:cubicBezTo>
                <a:cubicBezTo>
                  <a:pt x="311" y="1467"/>
                  <a:pt x="305" y="1470"/>
                  <a:pt x="296" y="1470"/>
                </a:cubicBezTo>
                <a:close/>
                <a:moveTo>
                  <a:pt x="298" y="1404"/>
                </a:moveTo>
                <a:cubicBezTo>
                  <a:pt x="289" y="1404"/>
                  <a:pt x="284" y="1414"/>
                  <a:pt x="284" y="1434"/>
                </a:cubicBezTo>
                <a:cubicBezTo>
                  <a:pt x="284" y="1452"/>
                  <a:pt x="288" y="1461"/>
                  <a:pt x="297" y="1461"/>
                </a:cubicBezTo>
                <a:cubicBezTo>
                  <a:pt x="306" y="1461"/>
                  <a:pt x="310" y="1452"/>
                  <a:pt x="310" y="1433"/>
                </a:cubicBezTo>
                <a:cubicBezTo>
                  <a:pt x="310" y="1413"/>
                  <a:pt x="306" y="1404"/>
                  <a:pt x="298" y="1404"/>
                </a:cubicBezTo>
                <a:close/>
                <a:moveTo>
                  <a:pt x="506" y="1470"/>
                </a:moveTo>
                <a:cubicBezTo>
                  <a:pt x="499" y="1470"/>
                  <a:pt x="493" y="1467"/>
                  <a:pt x="489" y="1461"/>
                </a:cubicBezTo>
                <a:cubicBezTo>
                  <a:pt x="484" y="1455"/>
                  <a:pt x="482" y="1445"/>
                  <a:pt x="482" y="1434"/>
                </a:cubicBezTo>
                <a:cubicBezTo>
                  <a:pt x="482" y="1421"/>
                  <a:pt x="484" y="1411"/>
                  <a:pt x="489" y="1404"/>
                </a:cubicBezTo>
                <a:cubicBezTo>
                  <a:pt x="493" y="1397"/>
                  <a:pt x="500" y="1394"/>
                  <a:pt x="509" y="1394"/>
                </a:cubicBezTo>
                <a:cubicBezTo>
                  <a:pt x="525" y="1394"/>
                  <a:pt x="533" y="1407"/>
                  <a:pt x="533" y="1431"/>
                </a:cubicBezTo>
                <a:cubicBezTo>
                  <a:pt x="533" y="1445"/>
                  <a:pt x="530" y="1454"/>
                  <a:pt x="526" y="1461"/>
                </a:cubicBezTo>
                <a:cubicBezTo>
                  <a:pt x="521" y="1467"/>
                  <a:pt x="515" y="1470"/>
                  <a:pt x="506" y="1470"/>
                </a:cubicBezTo>
                <a:close/>
                <a:moveTo>
                  <a:pt x="508" y="1404"/>
                </a:moveTo>
                <a:cubicBezTo>
                  <a:pt x="499" y="1404"/>
                  <a:pt x="495" y="1413"/>
                  <a:pt x="495" y="1433"/>
                </a:cubicBezTo>
                <a:cubicBezTo>
                  <a:pt x="495" y="1451"/>
                  <a:pt x="499" y="1461"/>
                  <a:pt x="508" y="1461"/>
                </a:cubicBezTo>
                <a:cubicBezTo>
                  <a:pt x="516" y="1461"/>
                  <a:pt x="520" y="1451"/>
                  <a:pt x="520" y="1433"/>
                </a:cubicBezTo>
                <a:cubicBezTo>
                  <a:pt x="520" y="1413"/>
                  <a:pt x="517" y="1404"/>
                  <a:pt x="508" y="1404"/>
                </a:cubicBezTo>
                <a:close/>
                <a:moveTo>
                  <a:pt x="579" y="1397"/>
                </a:moveTo>
                <a:cubicBezTo>
                  <a:pt x="579" y="1397"/>
                  <a:pt x="579" y="1397"/>
                  <a:pt x="579" y="1397"/>
                </a:cubicBezTo>
                <a:cubicBezTo>
                  <a:pt x="574" y="1397"/>
                  <a:pt x="574" y="1397"/>
                  <a:pt x="574" y="1397"/>
                </a:cubicBezTo>
                <a:cubicBezTo>
                  <a:pt x="572" y="1398"/>
                  <a:pt x="570" y="1400"/>
                  <a:pt x="568" y="1400"/>
                </a:cubicBezTo>
                <a:cubicBezTo>
                  <a:pt x="567" y="1402"/>
                  <a:pt x="565" y="1402"/>
                  <a:pt x="563" y="1403"/>
                </a:cubicBezTo>
                <a:cubicBezTo>
                  <a:pt x="562" y="1404"/>
                  <a:pt x="560" y="1405"/>
                  <a:pt x="558" y="1405"/>
                </a:cubicBezTo>
                <a:cubicBezTo>
                  <a:pt x="556" y="1406"/>
                  <a:pt x="555" y="1407"/>
                  <a:pt x="552" y="1408"/>
                </a:cubicBezTo>
                <a:cubicBezTo>
                  <a:pt x="552" y="1408"/>
                  <a:pt x="552" y="1408"/>
                  <a:pt x="552" y="1418"/>
                </a:cubicBezTo>
                <a:cubicBezTo>
                  <a:pt x="555" y="1417"/>
                  <a:pt x="558" y="1416"/>
                  <a:pt x="560" y="1415"/>
                </a:cubicBezTo>
                <a:cubicBezTo>
                  <a:pt x="563" y="1414"/>
                  <a:pt x="565" y="1413"/>
                  <a:pt x="568" y="1411"/>
                </a:cubicBezTo>
                <a:cubicBezTo>
                  <a:pt x="568" y="1411"/>
                  <a:pt x="568" y="1411"/>
                  <a:pt x="568" y="1470"/>
                </a:cubicBezTo>
                <a:cubicBezTo>
                  <a:pt x="568" y="1470"/>
                  <a:pt x="568" y="1470"/>
                  <a:pt x="579" y="1470"/>
                </a:cubicBezTo>
                <a:cubicBezTo>
                  <a:pt x="579" y="1470"/>
                  <a:pt x="579" y="1470"/>
                  <a:pt x="579" y="1397"/>
                </a:cubicBezTo>
                <a:close/>
                <a:moveTo>
                  <a:pt x="369" y="1397"/>
                </a:moveTo>
                <a:cubicBezTo>
                  <a:pt x="369" y="1397"/>
                  <a:pt x="369" y="1397"/>
                  <a:pt x="369" y="1397"/>
                </a:cubicBezTo>
                <a:cubicBezTo>
                  <a:pt x="364" y="1397"/>
                  <a:pt x="364" y="1397"/>
                  <a:pt x="364" y="1397"/>
                </a:cubicBezTo>
                <a:cubicBezTo>
                  <a:pt x="362" y="1398"/>
                  <a:pt x="361" y="1400"/>
                  <a:pt x="359" y="1400"/>
                </a:cubicBezTo>
                <a:cubicBezTo>
                  <a:pt x="357" y="1402"/>
                  <a:pt x="356" y="1402"/>
                  <a:pt x="353" y="1403"/>
                </a:cubicBezTo>
                <a:cubicBezTo>
                  <a:pt x="352" y="1405"/>
                  <a:pt x="350" y="1405"/>
                  <a:pt x="348" y="1406"/>
                </a:cubicBezTo>
                <a:cubicBezTo>
                  <a:pt x="346" y="1407"/>
                  <a:pt x="345" y="1408"/>
                  <a:pt x="343" y="1408"/>
                </a:cubicBezTo>
                <a:cubicBezTo>
                  <a:pt x="343" y="1408"/>
                  <a:pt x="343" y="1408"/>
                  <a:pt x="343" y="1418"/>
                </a:cubicBezTo>
                <a:cubicBezTo>
                  <a:pt x="345" y="1417"/>
                  <a:pt x="348" y="1416"/>
                  <a:pt x="351" y="1415"/>
                </a:cubicBezTo>
                <a:cubicBezTo>
                  <a:pt x="353" y="1414"/>
                  <a:pt x="356" y="1413"/>
                  <a:pt x="358" y="1411"/>
                </a:cubicBezTo>
                <a:cubicBezTo>
                  <a:pt x="358" y="1411"/>
                  <a:pt x="358" y="1411"/>
                  <a:pt x="358" y="1470"/>
                </a:cubicBezTo>
                <a:cubicBezTo>
                  <a:pt x="358" y="1470"/>
                  <a:pt x="358" y="1470"/>
                  <a:pt x="369" y="1470"/>
                </a:cubicBezTo>
                <a:cubicBezTo>
                  <a:pt x="369" y="1470"/>
                  <a:pt x="369" y="1470"/>
                  <a:pt x="369" y="1397"/>
                </a:cubicBezTo>
                <a:close/>
                <a:moveTo>
                  <a:pt x="416" y="1397"/>
                </a:moveTo>
                <a:cubicBezTo>
                  <a:pt x="416" y="1397"/>
                  <a:pt x="416" y="1397"/>
                  <a:pt x="416" y="1397"/>
                </a:cubicBezTo>
                <a:cubicBezTo>
                  <a:pt x="411" y="1397"/>
                  <a:pt x="411" y="1397"/>
                  <a:pt x="411" y="1397"/>
                </a:cubicBezTo>
                <a:cubicBezTo>
                  <a:pt x="409" y="1398"/>
                  <a:pt x="408" y="1400"/>
                  <a:pt x="406" y="1400"/>
                </a:cubicBezTo>
                <a:cubicBezTo>
                  <a:pt x="404" y="1402"/>
                  <a:pt x="402" y="1402"/>
                  <a:pt x="401" y="1403"/>
                </a:cubicBezTo>
                <a:cubicBezTo>
                  <a:pt x="399" y="1405"/>
                  <a:pt x="397" y="1405"/>
                  <a:pt x="395" y="1406"/>
                </a:cubicBezTo>
                <a:cubicBezTo>
                  <a:pt x="393" y="1407"/>
                  <a:pt x="392" y="1408"/>
                  <a:pt x="390" y="1408"/>
                </a:cubicBezTo>
                <a:cubicBezTo>
                  <a:pt x="390" y="1408"/>
                  <a:pt x="390" y="1408"/>
                  <a:pt x="390" y="1418"/>
                </a:cubicBezTo>
                <a:cubicBezTo>
                  <a:pt x="393" y="1417"/>
                  <a:pt x="395" y="1416"/>
                  <a:pt x="398" y="1415"/>
                </a:cubicBezTo>
                <a:cubicBezTo>
                  <a:pt x="401" y="1414"/>
                  <a:pt x="403" y="1413"/>
                  <a:pt x="405" y="1411"/>
                </a:cubicBezTo>
                <a:cubicBezTo>
                  <a:pt x="405" y="1411"/>
                  <a:pt x="405" y="1411"/>
                  <a:pt x="405" y="1470"/>
                </a:cubicBezTo>
                <a:cubicBezTo>
                  <a:pt x="405" y="1470"/>
                  <a:pt x="405" y="1470"/>
                  <a:pt x="416" y="1470"/>
                </a:cubicBezTo>
                <a:cubicBezTo>
                  <a:pt x="416" y="1470"/>
                  <a:pt x="416" y="1470"/>
                  <a:pt x="416" y="1397"/>
                </a:cubicBezTo>
                <a:close/>
                <a:moveTo>
                  <a:pt x="462" y="1397"/>
                </a:moveTo>
                <a:cubicBezTo>
                  <a:pt x="462" y="1397"/>
                  <a:pt x="462" y="1397"/>
                  <a:pt x="462" y="1397"/>
                </a:cubicBezTo>
                <a:cubicBezTo>
                  <a:pt x="458" y="1397"/>
                  <a:pt x="458" y="1397"/>
                  <a:pt x="458" y="1397"/>
                </a:cubicBezTo>
                <a:cubicBezTo>
                  <a:pt x="456" y="1398"/>
                  <a:pt x="454" y="1400"/>
                  <a:pt x="452" y="1400"/>
                </a:cubicBezTo>
                <a:cubicBezTo>
                  <a:pt x="451" y="1402"/>
                  <a:pt x="448" y="1402"/>
                  <a:pt x="447" y="1403"/>
                </a:cubicBezTo>
                <a:cubicBezTo>
                  <a:pt x="445" y="1404"/>
                  <a:pt x="443" y="1405"/>
                  <a:pt x="441" y="1405"/>
                </a:cubicBezTo>
                <a:cubicBezTo>
                  <a:pt x="440" y="1406"/>
                  <a:pt x="438" y="1407"/>
                  <a:pt x="436" y="1408"/>
                </a:cubicBezTo>
                <a:cubicBezTo>
                  <a:pt x="436" y="1408"/>
                  <a:pt x="436" y="1408"/>
                  <a:pt x="436" y="1418"/>
                </a:cubicBezTo>
                <a:cubicBezTo>
                  <a:pt x="439" y="1417"/>
                  <a:pt x="442" y="1416"/>
                  <a:pt x="444" y="1415"/>
                </a:cubicBezTo>
                <a:cubicBezTo>
                  <a:pt x="446" y="1414"/>
                  <a:pt x="449" y="1413"/>
                  <a:pt x="451" y="1411"/>
                </a:cubicBezTo>
                <a:cubicBezTo>
                  <a:pt x="451" y="1411"/>
                  <a:pt x="451" y="1411"/>
                  <a:pt x="451" y="1470"/>
                </a:cubicBezTo>
                <a:cubicBezTo>
                  <a:pt x="451" y="1470"/>
                  <a:pt x="451" y="1470"/>
                  <a:pt x="462" y="1470"/>
                </a:cubicBezTo>
                <a:cubicBezTo>
                  <a:pt x="462" y="1470"/>
                  <a:pt x="462" y="1470"/>
                  <a:pt x="462" y="1397"/>
                </a:cubicBezTo>
                <a:close/>
                <a:moveTo>
                  <a:pt x="28" y="1470"/>
                </a:moveTo>
                <a:cubicBezTo>
                  <a:pt x="20" y="1470"/>
                  <a:pt x="14" y="1467"/>
                  <a:pt x="10" y="1461"/>
                </a:cubicBezTo>
                <a:cubicBezTo>
                  <a:pt x="6" y="1455"/>
                  <a:pt x="4" y="1446"/>
                  <a:pt x="4" y="1434"/>
                </a:cubicBezTo>
                <a:cubicBezTo>
                  <a:pt x="4" y="1421"/>
                  <a:pt x="6" y="1411"/>
                  <a:pt x="10" y="1404"/>
                </a:cubicBezTo>
                <a:cubicBezTo>
                  <a:pt x="15" y="1398"/>
                  <a:pt x="21" y="1394"/>
                  <a:pt x="30" y="1394"/>
                </a:cubicBezTo>
                <a:cubicBezTo>
                  <a:pt x="46" y="1394"/>
                  <a:pt x="54" y="1407"/>
                  <a:pt x="54" y="1432"/>
                </a:cubicBezTo>
                <a:cubicBezTo>
                  <a:pt x="54" y="1445"/>
                  <a:pt x="52" y="1454"/>
                  <a:pt x="48" y="1461"/>
                </a:cubicBezTo>
                <a:cubicBezTo>
                  <a:pt x="42" y="1467"/>
                  <a:pt x="37" y="1470"/>
                  <a:pt x="28" y="1470"/>
                </a:cubicBezTo>
                <a:close/>
                <a:moveTo>
                  <a:pt x="29" y="1404"/>
                </a:moveTo>
                <a:cubicBezTo>
                  <a:pt x="20" y="1404"/>
                  <a:pt x="15" y="1414"/>
                  <a:pt x="15" y="1434"/>
                </a:cubicBezTo>
                <a:cubicBezTo>
                  <a:pt x="15" y="1452"/>
                  <a:pt x="20" y="1461"/>
                  <a:pt x="29" y="1461"/>
                </a:cubicBezTo>
                <a:cubicBezTo>
                  <a:pt x="37" y="1461"/>
                  <a:pt x="42" y="1452"/>
                  <a:pt x="42" y="1433"/>
                </a:cubicBezTo>
                <a:cubicBezTo>
                  <a:pt x="42" y="1413"/>
                  <a:pt x="37" y="1404"/>
                  <a:pt x="29" y="1404"/>
                </a:cubicBezTo>
                <a:close/>
                <a:moveTo>
                  <a:pt x="89" y="1397"/>
                </a:moveTo>
                <a:cubicBezTo>
                  <a:pt x="89" y="1397"/>
                  <a:pt x="89" y="1397"/>
                  <a:pt x="89" y="1397"/>
                </a:cubicBezTo>
                <a:cubicBezTo>
                  <a:pt x="84" y="1397"/>
                  <a:pt x="84" y="1397"/>
                  <a:pt x="84" y="1397"/>
                </a:cubicBezTo>
                <a:cubicBezTo>
                  <a:pt x="82" y="1398"/>
                  <a:pt x="80" y="1400"/>
                  <a:pt x="78" y="1400"/>
                </a:cubicBezTo>
                <a:cubicBezTo>
                  <a:pt x="77" y="1402"/>
                  <a:pt x="75" y="1402"/>
                  <a:pt x="73" y="1403"/>
                </a:cubicBezTo>
                <a:cubicBezTo>
                  <a:pt x="72" y="1405"/>
                  <a:pt x="70" y="1405"/>
                  <a:pt x="68" y="1406"/>
                </a:cubicBezTo>
                <a:cubicBezTo>
                  <a:pt x="66" y="1407"/>
                  <a:pt x="64" y="1408"/>
                  <a:pt x="62" y="1408"/>
                </a:cubicBezTo>
                <a:cubicBezTo>
                  <a:pt x="62" y="1408"/>
                  <a:pt x="62" y="1408"/>
                  <a:pt x="62" y="1418"/>
                </a:cubicBezTo>
                <a:cubicBezTo>
                  <a:pt x="65" y="1417"/>
                  <a:pt x="68" y="1416"/>
                  <a:pt x="71" y="1415"/>
                </a:cubicBezTo>
                <a:cubicBezTo>
                  <a:pt x="73" y="1414"/>
                  <a:pt x="75" y="1413"/>
                  <a:pt x="78" y="1411"/>
                </a:cubicBezTo>
                <a:cubicBezTo>
                  <a:pt x="78" y="1411"/>
                  <a:pt x="78" y="1411"/>
                  <a:pt x="78" y="1470"/>
                </a:cubicBezTo>
                <a:cubicBezTo>
                  <a:pt x="78" y="1470"/>
                  <a:pt x="78" y="1470"/>
                  <a:pt x="89" y="1470"/>
                </a:cubicBezTo>
                <a:cubicBezTo>
                  <a:pt x="89" y="1470"/>
                  <a:pt x="89" y="1470"/>
                  <a:pt x="89" y="1397"/>
                </a:cubicBezTo>
                <a:close/>
                <a:moveTo>
                  <a:pt x="136" y="1397"/>
                </a:moveTo>
                <a:cubicBezTo>
                  <a:pt x="136" y="1397"/>
                  <a:pt x="136" y="1397"/>
                  <a:pt x="136" y="1397"/>
                </a:cubicBezTo>
                <a:cubicBezTo>
                  <a:pt x="131" y="1397"/>
                  <a:pt x="131" y="1397"/>
                  <a:pt x="131" y="1397"/>
                </a:cubicBezTo>
                <a:cubicBezTo>
                  <a:pt x="129" y="1398"/>
                  <a:pt x="127" y="1400"/>
                  <a:pt x="125" y="1400"/>
                </a:cubicBezTo>
                <a:cubicBezTo>
                  <a:pt x="124" y="1402"/>
                  <a:pt x="121" y="1402"/>
                  <a:pt x="120" y="1403"/>
                </a:cubicBezTo>
                <a:cubicBezTo>
                  <a:pt x="118" y="1405"/>
                  <a:pt x="116" y="1405"/>
                  <a:pt x="115" y="1406"/>
                </a:cubicBezTo>
                <a:cubicBezTo>
                  <a:pt x="113" y="1407"/>
                  <a:pt x="111" y="1408"/>
                  <a:pt x="109" y="1408"/>
                </a:cubicBezTo>
                <a:cubicBezTo>
                  <a:pt x="109" y="1408"/>
                  <a:pt x="109" y="1408"/>
                  <a:pt x="109" y="1418"/>
                </a:cubicBezTo>
                <a:cubicBezTo>
                  <a:pt x="112" y="1417"/>
                  <a:pt x="115" y="1416"/>
                  <a:pt x="117" y="1415"/>
                </a:cubicBezTo>
                <a:cubicBezTo>
                  <a:pt x="120" y="1414"/>
                  <a:pt x="122" y="1413"/>
                  <a:pt x="124" y="1411"/>
                </a:cubicBezTo>
                <a:cubicBezTo>
                  <a:pt x="124" y="1411"/>
                  <a:pt x="124" y="1411"/>
                  <a:pt x="124" y="1470"/>
                </a:cubicBezTo>
                <a:cubicBezTo>
                  <a:pt x="124" y="1470"/>
                  <a:pt x="124" y="1470"/>
                  <a:pt x="136" y="1470"/>
                </a:cubicBezTo>
                <a:cubicBezTo>
                  <a:pt x="136" y="1470"/>
                  <a:pt x="136" y="1470"/>
                  <a:pt x="136" y="1397"/>
                </a:cubicBezTo>
                <a:close/>
                <a:moveTo>
                  <a:pt x="182" y="1397"/>
                </a:moveTo>
                <a:cubicBezTo>
                  <a:pt x="182" y="1397"/>
                  <a:pt x="182" y="1397"/>
                  <a:pt x="182" y="1397"/>
                </a:cubicBezTo>
                <a:cubicBezTo>
                  <a:pt x="177" y="1397"/>
                  <a:pt x="177" y="1397"/>
                  <a:pt x="177" y="1397"/>
                </a:cubicBezTo>
                <a:cubicBezTo>
                  <a:pt x="175" y="1398"/>
                  <a:pt x="174" y="1400"/>
                  <a:pt x="172" y="1400"/>
                </a:cubicBezTo>
                <a:cubicBezTo>
                  <a:pt x="170" y="1402"/>
                  <a:pt x="168" y="1402"/>
                  <a:pt x="167" y="1403"/>
                </a:cubicBezTo>
                <a:cubicBezTo>
                  <a:pt x="164" y="1404"/>
                  <a:pt x="163" y="1405"/>
                  <a:pt x="161" y="1405"/>
                </a:cubicBezTo>
                <a:cubicBezTo>
                  <a:pt x="159" y="1406"/>
                  <a:pt x="157" y="1407"/>
                  <a:pt x="156" y="1408"/>
                </a:cubicBezTo>
                <a:cubicBezTo>
                  <a:pt x="156" y="1408"/>
                  <a:pt x="156" y="1408"/>
                  <a:pt x="156" y="1418"/>
                </a:cubicBezTo>
                <a:cubicBezTo>
                  <a:pt x="159" y="1417"/>
                  <a:pt x="162" y="1416"/>
                  <a:pt x="164" y="1415"/>
                </a:cubicBezTo>
                <a:cubicBezTo>
                  <a:pt x="166" y="1414"/>
                  <a:pt x="169" y="1413"/>
                  <a:pt x="170" y="1411"/>
                </a:cubicBezTo>
                <a:cubicBezTo>
                  <a:pt x="170" y="1411"/>
                  <a:pt x="170" y="1411"/>
                  <a:pt x="170" y="1470"/>
                </a:cubicBezTo>
                <a:cubicBezTo>
                  <a:pt x="170" y="1470"/>
                  <a:pt x="170" y="1470"/>
                  <a:pt x="182" y="1470"/>
                </a:cubicBezTo>
                <a:cubicBezTo>
                  <a:pt x="182" y="1470"/>
                  <a:pt x="182" y="1470"/>
                  <a:pt x="182" y="1397"/>
                </a:cubicBezTo>
                <a:close/>
                <a:moveTo>
                  <a:pt x="41" y="1696"/>
                </a:moveTo>
                <a:cubicBezTo>
                  <a:pt x="41" y="1696"/>
                  <a:pt x="41" y="1696"/>
                  <a:pt x="41" y="1696"/>
                </a:cubicBezTo>
                <a:cubicBezTo>
                  <a:pt x="36" y="1696"/>
                  <a:pt x="36" y="1696"/>
                  <a:pt x="36" y="1696"/>
                </a:cubicBezTo>
                <a:cubicBezTo>
                  <a:pt x="34" y="1697"/>
                  <a:pt x="32" y="1699"/>
                  <a:pt x="30" y="1699"/>
                </a:cubicBezTo>
                <a:cubicBezTo>
                  <a:pt x="29" y="1701"/>
                  <a:pt x="26" y="1702"/>
                  <a:pt x="25" y="1702"/>
                </a:cubicBezTo>
                <a:cubicBezTo>
                  <a:pt x="23" y="1704"/>
                  <a:pt x="21" y="1704"/>
                  <a:pt x="20" y="1705"/>
                </a:cubicBezTo>
                <a:cubicBezTo>
                  <a:pt x="17" y="1706"/>
                  <a:pt x="16" y="1707"/>
                  <a:pt x="14" y="1707"/>
                </a:cubicBezTo>
                <a:cubicBezTo>
                  <a:pt x="14" y="1707"/>
                  <a:pt x="14" y="1707"/>
                  <a:pt x="14" y="1717"/>
                </a:cubicBezTo>
                <a:cubicBezTo>
                  <a:pt x="17" y="1716"/>
                  <a:pt x="20" y="1715"/>
                  <a:pt x="22" y="1714"/>
                </a:cubicBezTo>
                <a:cubicBezTo>
                  <a:pt x="25" y="1713"/>
                  <a:pt x="27" y="1712"/>
                  <a:pt x="29" y="1710"/>
                </a:cubicBezTo>
                <a:cubicBezTo>
                  <a:pt x="29" y="1710"/>
                  <a:pt x="29" y="1710"/>
                  <a:pt x="29" y="1769"/>
                </a:cubicBezTo>
                <a:cubicBezTo>
                  <a:pt x="29" y="1769"/>
                  <a:pt x="29" y="1769"/>
                  <a:pt x="41" y="1769"/>
                </a:cubicBezTo>
                <a:cubicBezTo>
                  <a:pt x="41" y="1769"/>
                  <a:pt x="41" y="1769"/>
                  <a:pt x="41" y="1696"/>
                </a:cubicBezTo>
                <a:close/>
                <a:moveTo>
                  <a:pt x="41" y="1592"/>
                </a:moveTo>
                <a:cubicBezTo>
                  <a:pt x="41" y="1592"/>
                  <a:pt x="41" y="1592"/>
                  <a:pt x="41" y="1592"/>
                </a:cubicBezTo>
                <a:cubicBezTo>
                  <a:pt x="37" y="1592"/>
                  <a:pt x="37" y="1592"/>
                  <a:pt x="37" y="1592"/>
                </a:cubicBezTo>
                <a:cubicBezTo>
                  <a:pt x="35" y="1593"/>
                  <a:pt x="33" y="1594"/>
                  <a:pt x="31" y="1595"/>
                </a:cubicBezTo>
                <a:cubicBezTo>
                  <a:pt x="30" y="1597"/>
                  <a:pt x="27" y="1597"/>
                  <a:pt x="26" y="1598"/>
                </a:cubicBezTo>
                <a:cubicBezTo>
                  <a:pt x="24" y="1599"/>
                  <a:pt x="22" y="1600"/>
                  <a:pt x="20" y="1600"/>
                </a:cubicBezTo>
                <a:cubicBezTo>
                  <a:pt x="19" y="1601"/>
                  <a:pt x="17" y="1602"/>
                  <a:pt x="15" y="1602"/>
                </a:cubicBezTo>
                <a:cubicBezTo>
                  <a:pt x="15" y="1602"/>
                  <a:pt x="15" y="1602"/>
                  <a:pt x="15" y="1613"/>
                </a:cubicBezTo>
                <a:cubicBezTo>
                  <a:pt x="18" y="1612"/>
                  <a:pt x="21" y="1610"/>
                  <a:pt x="23" y="1610"/>
                </a:cubicBezTo>
                <a:cubicBezTo>
                  <a:pt x="25" y="1609"/>
                  <a:pt x="28" y="1608"/>
                  <a:pt x="30" y="1606"/>
                </a:cubicBezTo>
                <a:cubicBezTo>
                  <a:pt x="30" y="1606"/>
                  <a:pt x="30" y="1606"/>
                  <a:pt x="30" y="1665"/>
                </a:cubicBezTo>
                <a:cubicBezTo>
                  <a:pt x="30" y="1665"/>
                  <a:pt x="30" y="1665"/>
                  <a:pt x="41" y="1665"/>
                </a:cubicBezTo>
                <a:cubicBezTo>
                  <a:pt x="41" y="1665"/>
                  <a:pt x="41" y="1665"/>
                  <a:pt x="41" y="1592"/>
                </a:cubicBezTo>
                <a:close/>
                <a:moveTo>
                  <a:pt x="985" y="1380"/>
                </a:moveTo>
                <a:cubicBezTo>
                  <a:pt x="978" y="1380"/>
                  <a:pt x="971" y="1377"/>
                  <a:pt x="967" y="1371"/>
                </a:cubicBezTo>
                <a:cubicBezTo>
                  <a:pt x="963" y="1364"/>
                  <a:pt x="961" y="1356"/>
                  <a:pt x="961" y="1343"/>
                </a:cubicBezTo>
                <a:cubicBezTo>
                  <a:pt x="961" y="1330"/>
                  <a:pt x="963" y="1320"/>
                  <a:pt x="967" y="1314"/>
                </a:cubicBezTo>
                <a:cubicBezTo>
                  <a:pt x="972" y="1307"/>
                  <a:pt x="978" y="1304"/>
                  <a:pt x="987" y="1304"/>
                </a:cubicBezTo>
                <a:cubicBezTo>
                  <a:pt x="1003" y="1304"/>
                  <a:pt x="1011" y="1316"/>
                  <a:pt x="1011" y="1342"/>
                </a:cubicBezTo>
                <a:cubicBezTo>
                  <a:pt x="1011" y="1354"/>
                  <a:pt x="1009" y="1364"/>
                  <a:pt x="1004" y="1370"/>
                </a:cubicBezTo>
                <a:cubicBezTo>
                  <a:pt x="1000" y="1377"/>
                  <a:pt x="993" y="1380"/>
                  <a:pt x="985" y="1380"/>
                </a:cubicBezTo>
                <a:close/>
                <a:moveTo>
                  <a:pt x="986" y="1313"/>
                </a:moveTo>
                <a:cubicBezTo>
                  <a:pt x="977" y="1313"/>
                  <a:pt x="973" y="1323"/>
                  <a:pt x="973" y="1343"/>
                </a:cubicBezTo>
                <a:cubicBezTo>
                  <a:pt x="973" y="1362"/>
                  <a:pt x="977" y="1370"/>
                  <a:pt x="986" y="1370"/>
                </a:cubicBezTo>
                <a:cubicBezTo>
                  <a:pt x="994" y="1370"/>
                  <a:pt x="999" y="1362"/>
                  <a:pt x="999" y="1342"/>
                </a:cubicBezTo>
                <a:cubicBezTo>
                  <a:pt x="999" y="1323"/>
                  <a:pt x="994" y="1313"/>
                  <a:pt x="986" y="1313"/>
                </a:cubicBezTo>
                <a:close/>
                <a:moveTo>
                  <a:pt x="1059" y="1306"/>
                </a:moveTo>
                <a:cubicBezTo>
                  <a:pt x="1059" y="1306"/>
                  <a:pt x="1059" y="1306"/>
                  <a:pt x="1059" y="1306"/>
                </a:cubicBezTo>
                <a:cubicBezTo>
                  <a:pt x="1054" y="1306"/>
                  <a:pt x="1054" y="1306"/>
                  <a:pt x="1054" y="1306"/>
                </a:cubicBezTo>
                <a:cubicBezTo>
                  <a:pt x="1051" y="1308"/>
                  <a:pt x="1050" y="1309"/>
                  <a:pt x="1048" y="1310"/>
                </a:cubicBezTo>
                <a:cubicBezTo>
                  <a:pt x="1046" y="1312"/>
                  <a:pt x="1044" y="1312"/>
                  <a:pt x="1043" y="1313"/>
                </a:cubicBezTo>
                <a:cubicBezTo>
                  <a:pt x="1041" y="1314"/>
                  <a:pt x="1039" y="1314"/>
                  <a:pt x="1038" y="1315"/>
                </a:cubicBezTo>
                <a:cubicBezTo>
                  <a:pt x="1035" y="1316"/>
                  <a:pt x="1034" y="1317"/>
                  <a:pt x="1032" y="1317"/>
                </a:cubicBezTo>
                <a:cubicBezTo>
                  <a:pt x="1032" y="1317"/>
                  <a:pt x="1032" y="1317"/>
                  <a:pt x="1032" y="1328"/>
                </a:cubicBezTo>
                <a:cubicBezTo>
                  <a:pt x="1035" y="1327"/>
                  <a:pt x="1038" y="1325"/>
                  <a:pt x="1040" y="1325"/>
                </a:cubicBezTo>
                <a:cubicBezTo>
                  <a:pt x="1043" y="1324"/>
                  <a:pt x="1045" y="1322"/>
                  <a:pt x="1047" y="1321"/>
                </a:cubicBezTo>
                <a:cubicBezTo>
                  <a:pt x="1047" y="1321"/>
                  <a:pt x="1047" y="1321"/>
                  <a:pt x="1047" y="1380"/>
                </a:cubicBezTo>
                <a:cubicBezTo>
                  <a:pt x="1047" y="1380"/>
                  <a:pt x="1047" y="1380"/>
                  <a:pt x="1059" y="1380"/>
                </a:cubicBezTo>
                <a:cubicBezTo>
                  <a:pt x="1059" y="1380"/>
                  <a:pt x="1059" y="1380"/>
                  <a:pt x="1059" y="1306"/>
                </a:cubicBezTo>
                <a:close/>
                <a:moveTo>
                  <a:pt x="1106" y="1306"/>
                </a:moveTo>
                <a:cubicBezTo>
                  <a:pt x="1106" y="1306"/>
                  <a:pt x="1106" y="1306"/>
                  <a:pt x="1106" y="1306"/>
                </a:cubicBezTo>
                <a:cubicBezTo>
                  <a:pt x="1101" y="1306"/>
                  <a:pt x="1101" y="1306"/>
                  <a:pt x="1101" y="1306"/>
                </a:cubicBezTo>
                <a:cubicBezTo>
                  <a:pt x="1099" y="1308"/>
                  <a:pt x="1098" y="1309"/>
                  <a:pt x="1095" y="1310"/>
                </a:cubicBezTo>
                <a:cubicBezTo>
                  <a:pt x="1094" y="1312"/>
                  <a:pt x="1092" y="1312"/>
                  <a:pt x="1090" y="1313"/>
                </a:cubicBezTo>
                <a:cubicBezTo>
                  <a:pt x="1089" y="1314"/>
                  <a:pt x="1087" y="1315"/>
                  <a:pt x="1085" y="1316"/>
                </a:cubicBezTo>
                <a:cubicBezTo>
                  <a:pt x="1083" y="1317"/>
                  <a:pt x="1082" y="1317"/>
                  <a:pt x="1079" y="1317"/>
                </a:cubicBezTo>
                <a:cubicBezTo>
                  <a:pt x="1079" y="1317"/>
                  <a:pt x="1079" y="1317"/>
                  <a:pt x="1079" y="1328"/>
                </a:cubicBezTo>
                <a:cubicBezTo>
                  <a:pt x="1082" y="1327"/>
                  <a:pt x="1085" y="1326"/>
                  <a:pt x="1087" y="1325"/>
                </a:cubicBezTo>
                <a:cubicBezTo>
                  <a:pt x="1090" y="1324"/>
                  <a:pt x="1092" y="1322"/>
                  <a:pt x="1095" y="1321"/>
                </a:cubicBezTo>
                <a:cubicBezTo>
                  <a:pt x="1095" y="1321"/>
                  <a:pt x="1095" y="1321"/>
                  <a:pt x="1095" y="1380"/>
                </a:cubicBezTo>
                <a:cubicBezTo>
                  <a:pt x="1095" y="1380"/>
                  <a:pt x="1095" y="1380"/>
                  <a:pt x="1106" y="1380"/>
                </a:cubicBezTo>
                <a:cubicBezTo>
                  <a:pt x="1106" y="1380"/>
                  <a:pt x="1106" y="1380"/>
                  <a:pt x="1106" y="1306"/>
                </a:cubicBezTo>
                <a:close/>
                <a:moveTo>
                  <a:pt x="1153" y="1306"/>
                </a:moveTo>
                <a:cubicBezTo>
                  <a:pt x="1153" y="1306"/>
                  <a:pt x="1153" y="1306"/>
                  <a:pt x="1153" y="1306"/>
                </a:cubicBezTo>
                <a:cubicBezTo>
                  <a:pt x="1148" y="1306"/>
                  <a:pt x="1148" y="1306"/>
                  <a:pt x="1148" y="1306"/>
                </a:cubicBezTo>
                <a:cubicBezTo>
                  <a:pt x="1146" y="1308"/>
                  <a:pt x="1145" y="1309"/>
                  <a:pt x="1143" y="1310"/>
                </a:cubicBezTo>
                <a:cubicBezTo>
                  <a:pt x="1141" y="1312"/>
                  <a:pt x="1139" y="1312"/>
                  <a:pt x="1137" y="1313"/>
                </a:cubicBezTo>
                <a:cubicBezTo>
                  <a:pt x="1135" y="1314"/>
                  <a:pt x="1134" y="1315"/>
                  <a:pt x="1132" y="1316"/>
                </a:cubicBezTo>
                <a:cubicBezTo>
                  <a:pt x="1130" y="1317"/>
                  <a:pt x="1128" y="1317"/>
                  <a:pt x="1126" y="1317"/>
                </a:cubicBezTo>
                <a:cubicBezTo>
                  <a:pt x="1126" y="1317"/>
                  <a:pt x="1126" y="1317"/>
                  <a:pt x="1126" y="1328"/>
                </a:cubicBezTo>
                <a:cubicBezTo>
                  <a:pt x="1129" y="1327"/>
                  <a:pt x="1132" y="1326"/>
                  <a:pt x="1134" y="1325"/>
                </a:cubicBezTo>
                <a:cubicBezTo>
                  <a:pt x="1137" y="1324"/>
                  <a:pt x="1140" y="1322"/>
                  <a:pt x="1141" y="1321"/>
                </a:cubicBezTo>
                <a:cubicBezTo>
                  <a:pt x="1141" y="1321"/>
                  <a:pt x="1141" y="1321"/>
                  <a:pt x="1141" y="1380"/>
                </a:cubicBezTo>
                <a:cubicBezTo>
                  <a:pt x="1141" y="1380"/>
                  <a:pt x="1141" y="1380"/>
                  <a:pt x="1153" y="1380"/>
                </a:cubicBezTo>
                <a:cubicBezTo>
                  <a:pt x="1153" y="1380"/>
                  <a:pt x="1153" y="1380"/>
                  <a:pt x="1153" y="1306"/>
                </a:cubicBezTo>
                <a:close/>
                <a:moveTo>
                  <a:pt x="1200" y="1306"/>
                </a:moveTo>
                <a:cubicBezTo>
                  <a:pt x="1200" y="1306"/>
                  <a:pt x="1200" y="1306"/>
                  <a:pt x="1200" y="1306"/>
                </a:cubicBezTo>
                <a:cubicBezTo>
                  <a:pt x="1195" y="1306"/>
                  <a:pt x="1195" y="1306"/>
                  <a:pt x="1195" y="1306"/>
                </a:cubicBezTo>
                <a:cubicBezTo>
                  <a:pt x="1193" y="1308"/>
                  <a:pt x="1191" y="1309"/>
                  <a:pt x="1189" y="1310"/>
                </a:cubicBezTo>
                <a:cubicBezTo>
                  <a:pt x="1188" y="1312"/>
                  <a:pt x="1186" y="1312"/>
                  <a:pt x="1184" y="1313"/>
                </a:cubicBezTo>
                <a:cubicBezTo>
                  <a:pt x="1183" y="1314"/>
                  <a:pt x="1180" y="1315"/>
                  <a:pt x="1179" y="1316"/>
                </a:cubicBezTo>
                <a:cubicBezTo>
                  <a:pt x="1177" y="1317"/>
                  <a:pt x="1175" y="1317"/>
                  <a:pt x="1173" y="1317"/>
                </a:cubicBezTo>
                <a:cubicBezTo>
                  <a:pt x="1173" y="1317"/>
                  <a:pt x="1173" y="1317"/>
                  <a:pt x="1173" y="1328"/>
                </a:cubicBezTo>
                <a:cubicBezTo>
                  <a:pt x="1176" y="1327"/>
                  <a:pt x="1179" y="1326"/>
                  <a:pt x="1181" y="1325"/>
                </a:cubicBezTo>
                <a:cubicBezTo>
                  <a:pt x="1184" y="1324"/>
                  <a:pt x="1186" y="1322"/>
                  <a:pt x="1189" y="1321"/>
                </a:cubicBezTo>
                <a:cubicBezTo>
                  <a:pt x="1189" y="1321"/>
                  <a:pt x="1189" y="1321"/>
                  <a:pt x="1189" y="1380"/>
                </a:cubicBezTo>
                <a:cubicBezTo>
                  <a:pt x="1189" y="1380"/>
                  <a:pt x="1189" y="1380"/>
                  <a:pt x="1200" y="1380"/>
                </a:cubicBezTo>
                <a:cubicBezTo>
                  <a:pt x="1200" y="1380"/>
                  <a:pt x="1200" y="1380"/>
                  <a:pt x="1200" y="1306"/>
                </a:cubicBezTo>
                <a:close/>
                <a:moveTo>
                  <a:pt x="1323" y="1306"/>
                </a:moveTo>
                <a:cubicBezTo>
                  <a:pt x="1323" y="1306"/>
                  <a:pt x="1323" y="1306"/>
                  <a:pt x="1323" y="1306"/>
                </a:cubicBezTo>
                <a:cubicBezTo>
                  <a:pt x="1318" y="1306"/>
                  <a:pt x="1318" y="1306"/>
                  <a:pt x="1318" y="1306"/>
                </a:cubicBezTo>
                <a:cubicBezTo>
                  <a:pt x="1316" y="1308"/>
                  <a:pt x="1314" y="1309"/>
                  <a:pt x="1312" y="1310"/>
                </a:cubicBezTo>
                <a:cubicBezTo>
                  <a:pt x="1311" y="1312"/>
                  <a:pt x="1309" y="1312"/>
                  <a:pt x="1307" y="1313"/>
                </a:cubicBezTo>
                <a:cubicBezTo>
                  <a:pt x="1306" y="1314"/>
                  <a:pt x="1304" y="1315"/>
                  <a:pt x="1302" y="1316"/>
                </a:cubicBezTo>
                <a:cubicBezTo>
                  <a:pt x="1300" y="1317"/>
                  <a:pt x="1299" y="1317"/>
                  <a:pt x="1296" y="1317"/>
                </a:cubicBezTo>
                <a:cubicBezTo>
                  <a:pt x="1296" y="1317"/>
                  <a:pt x="1296" y="1317"/>
                  <a:pt x="1296" y="1328"/>
                </a:cubicBezTo>
                <a:cubicBezTo>
                  <a:pt x="1299" y="1327"/>
                  <a:pt x="1302" y="1326"/>
                  <a:pt x="1305" y="1325"/>
                </a:cubicBezTo>
                <a:cubicBezTo>
                  <a:pt x="1307" y="1324"/>
                  <a:pt x="1309" y="1322"/>
                  <a:pt x="1312" y="1321"/>
                </a:cubicBezTo>
                <a:cubicBezTo>
                  <a:pt x="1312" y="1321"/>
                  <a:pt x="1312" y="1321"/>
                  <a:pt x="1312" y="1380"/>
                </a:cubicBezTo>
                <a:cubicBezTo>
                  <a:pt x="1312" y="1380"/>
                  <a:pt x="1312" y="1380"/>
                  <a:pt x="1323" y="1380"/>
                </a:cubicBezTo>
                <a:cubicBezTo>
                  <a:pt x="1323" y="1380"/>
                  <a:pt x="1323" y="1380"/>
                  <a:pt x="1323" y="1306"/>
                </a:cubicBezTo>
                <a:close/>
                <a:moveTo>
                  <a:pt x="1371" y="1306"/>
                </a:moveTo>
                <a:cubicBezTo>
                  <a:pt x="1371" y="1306"/>
                  <a:pt x="1371" y="1306"/>
                  <a:pt x="1371" y="1306"/>
                </a:cubicBezTo>
                <a:cubicBezTo>
                  <a:pt x="1366" y="1306"/>
                  <a:pt x="1366" y="1306"/>
                  <a:pt x="1366" y="1306"/>
                </a:cubicBezTo>
                <a:cubicBezTo>
                  <a:pt x="1363" y="1308"/>
                  <a:pt x="1362" y="1309"/>
                  <a:pt x="1360" y="1310"/>
                </a:cubicBezTo>
                <a:cubicBezTo>
                  <a:pt x="1358" y="1312"/>
                  <a:pt x="1356" y="1312"/>
                  <a:pt x="1355" y="1313"/>
                </a:cubicBezTo>
                <a:cubicBezTo>
                  <a:pt x="1353" y="1314"/>
                  <a:pt x="1351" y="1315"/>
                  <a:pt x="1350" y="1316"/>
                </a:cubicBezTo>
                <a:cubicBezTo>
                  <a:pt x="1347" y="1317"/>
                  <a:pt x="1346" y="1317"/>
                  <a:pt x="1344" y="1317"/>
                </a:cubicBezTo>
                <a:cubicBezTo>
                  <a:pt x="1344" y="1317"/>
                  <a:pt x="1344" y="1317"/>
                  <a:pt x="1344" y="1328"/>
                </a:cubicBezTo>
                <a:cubicBezTo>
                  <a:pt x="1347" y="1327"/>
                  <a:pt x="1350" y="1326"/>
                  <a:pt x="1352" y="1325"/>
                </a:cubicBezTo>
                <a:cubicBezTo>
                  <a:pt x="1355" y="1324"/>
                  <a:pt x="1357" y="1322"/>
                  <a:pt x="1359" y="1321"/>
                </a:cubicBezTo>
                <a:cubicBezTo>
                  <a:pt x="1359" y="1321"/>
                  <a:pt x="1359" y="1321"/>
                  <a:pt x="1359" y="1380"/>
                </a:cubicBezTo>
                <a:cubicBezTo>
                  <a:pt x="1359" y="1380"/>
                  <a:pt x="1359" y="1380"/>
                  <a:pt x="1371" y="1380"/>
                </a:cubicBezTo>
                <a:cubicBezTo>
                  <a:pt x="1371" y="1380"/>
                  <a:pt x="1371" y="1380"/>
                  <a:pt x="1371" y="1306"/>
                </a:cubicBezTo>
                <a:close/>
                <a:moveTo>
                  <a:pt x="1419" y="1306"/>
                </a:moveTo>
                <a:cubicBezTo>
                  <a:pt x="1419" y="1306"/>
                  <a:pt x="1419" y="1306"/>
                  <a:pt x="1419" y="1306"/>
                </a:cubicBezTo>
                <a:cubicBezTo>
                  <a:pt x="1414" y="1306"/>
                  <a:pt x="1414" y="1306"/>
                  <a:pt x="1414" y="1306"/>
                </a:cubicBezTo>
                <a:cubicBezTo>
                  <a:pt x="1412" y="1308"/>
                  <a:pt x="1410" y="1309"/>
                  <a:pt x="1408" y="1310"/>
                </a:cubicBezTo>
                <a:cubicBezTo>
                  <a:pt x="1406" y="1312"/>
                  <a:pt x="1405" y="1312"/>
                  <a:pt x="1402" y="1313"/>
                </a:cubicBezTo>
                <a:cubicBezTo>
                  <a:pt x="1401" y="1314"/>
                  <a:pt x="1399" y="1315"/>
                  <a:pt x="1397" y="1316"/>
                </a:cubicBezTo>
                <a:cubicBezTo>
                  <a:pt x="1395" y="1317"/>
                  <a:pt x="1394" y="1317"/>
                  <a:pt x="1391" y="1317"/>
                </a:cubicBezTo>
                <a:cubicBezTo>
                  <a:pt x="1391" y="1317"/>
                  <a:pt x="1391" y="1317"/>
                  <a:pt x="1391" y="1328"/>
                </a:cubicBezTo>
                <a:cubicBezTo>
                  <a:pt x="1394" y="1327"/>
                  <a:pt x="1397" y="1326"/>
                  <a:pt x="1400" y="1325"/>
                </a:cubicBezTo>
                <a:cubicBezTo>
                  <a:pt x="1402" y="1324"/>
                  <a:pt x="1405" y="1322"/>
                  <a:pt x="1407" y="1321"/>
                </a:cubicBezTo>
                <a:cubicBezTo>
                  <a:pt x="1407" y="1321"/>
                  <a:pt x="1407" y="1321"/>
                  <a:pt x="1407" y="1380"/>
                </a:cubicBezTo>
                <a:cubicBezTo>
                  <a:pt x="1407" y="1380"/>
                  <a:pt x="1407" y="1380"/>
                  <a:pt x="1419" y="1380"/>
                </a:cubicBezTo>
                <a:cubicBezTo>
                  <a:pt x="1419" y="1380"/>
                  <a:pt x="1419" y="1380"/>
                  <a:pt x="1419" y="1306"/>
                </a:cubicBezTo>
                <a:close/>
                <a:moveTo>
                  <a:pt x="1465" y="1306"/>
                </a:moveTo>
                <a:cubicBezTo>
                  <a:pt x="1465" y="1306"/>
                  <a:pt x="1465" y="1306"/>
                  <a:pt x="1465" y="1306"/>
                </a:cubicBezTo>
                <a:cubicBezTo>
                  <a:pt x="1461" y="1306"/>
                  <a:pt x="1461" y="1306"/>
                  <a:pt x="1461" y="1306"/>
                </a:cubicBezTo>
                <a:cubicBezTo>
                  <a:pt x="1459" y="1308"/>
                  <a:pt x="1457" y="1309"/>
                  <a:pt x="1455" y="1310"/>
                </a:cubicBezTo>
                <a:cubicBezTo>
                  <a:pt x="1454" y="1312"/>
                  <a:pt x="1451" y="1312"/>
                  <a:pt x="1450" y="1313"/>
                </a:cubicBezTo>
                <a:cubicBezTo>
                  <a:pt x="1448" y="1314"/>
                  <a:pt x="1446" y="1314"/>
                  <a:pt x="1444" y="1315"/>
                </a:cubicBezTo>
                <a:cubicBezTo>
                  <a:pt x="1443" y="1316"/>
                  <a:pt x="1440" y="1317"/>
                  <a:pt x="1439" y="1317"/>
                </a:cubicBezTo>
                <a:cubicBezTo>
                  <a:pt x="1439" y="1317"/>
                  <a:pt x="1439" y="1317"/>
                  <a:pt x="1439" y="1328"/>
                </a:cubicBezTo>
                <a:cubicBezTo>
                  <a:pt x="1442" y="1327"/>
                  <a:pt x="1445" y="1325"/>
                  <a:pt x="1447" y="1325"/>
                </a:cubicBezTo>
                <a:cubicBezTo>
                  <a:pt x="1449" y="1324"/>
                  <a:pt x="1452" y="1322"/>
                  <a:pt x="1454" y="1321"/>
                </a:cubicBezTo>
                <a:cubicBezTo>
                  <a:pt x="1454" y="1321"/>
                  <a:pt x="1454" y="1321"/>
                  <a:pt x="1454" y="1380"/>
                </a:cubicBezTo>
                <a:cubicBezTo>
                  <a:pt x="1454" y="1380"/>
                  <a:pt x="1454" y="1380"/>
                  <a:pt x="1465" y="1380"/>
                </a:cubicBezTo>
                <a:cubicBezTo>
                  <a:pt x="1465" y="1380"/>
                  <a:pt x="1465" y="1380"/>
                  <a:pt x="1465" y="1306"/>
                </a:cubicBezTo>
                <a:close/>
                <a:moveTo>
                  <a:pt x="1221" y="1339"/>
                </a:moveTo>
                <a:cubicBezTo>
                  <a:pt x="1221" y="1339"/>
                  <a:pt x="1221" y="1339"/>
                  <a:pt x="1221" y="1339"/>
                </a:cubicBezTo>
                <a:cubicBezTo>
                  <a:pt x="1220" y="1347"/>
                  <a:pt x="1220" y="1347"/>
                  <a:pt x="1220" y="1347"/>
                </a:cubicBezTo>
                <a:cubicBezTo>
                  <a:pt x="1227" y="1347"/>
                  <a:pt x="1228" y="1350"/>
                  <a:pt x="1228" y="1353"/>
                </a:cubicBezTo>
                <a:cubicBezTo>
                  <a:pt x="1228" y="1355"/>
                  <a:pt x="1227" y="1357"/>
                  <a:pt x="1227" y="1360"/>
                </a:cubicBezTo>
                <a:cubicBezTo>
                  <a:pt x="1227" y="1363"/>
                  <a:pt x="1227" y="1365"/>
                  <a:pt x="1227" y="1367"/>
                </a:cubicBezTo>
                <a:cubicBezTo>
                  <a:pt x="1227" y="1377"/>
                  <a:pt x="1233" y="1380"/>
                  <a:pt x="1241" y="1380"/>
                </a:cubicBezTo>
                <a:cubicBezTo>
                  <a:pt x="1241" y="1380"/>
                  <a:pt x="1241" y="1380"/>
                  <a:pt x="1245" y="1380"/>
                </a:cubicBezTo>
                <a:cubicBezTo>
                  <a:pt x="1245" y="1380"/>
                  <a:pt x="1245" y="1380"/>
                  <a:pt x="1245" y="1371"/>
                </a:cubicBezTo>
                <a:cubicBezTo>
                  <a:pt x="1245" y="1371"/>
                  <a:pt x="1245" y="1371"/>
                  <a:pt x="1243" y="1371"/>
                </a:cubicBezTo>
                <a:cubicBezTo>
                  <a:pt x="1240" y="1371"/>
                  <a:pt x="1239" y="1368"/>
                  <a:pt x="1239" y="1365"/>
                </a:cubicBezTo>
                <a:cubicBezTo>
                  <a:pt x="1239" y="1363"/>
                  <a:pt x="1239" y="1362"/>
                  <a:pt x="1239" y="1360"/>
                </a:cubicBezTo>
                <a:cubicBezTo>
                  <a:pt x="1239" y="1359"/>
                  <a:pt x="1239" y="1356"/>
                  <a:pt x="1239" y="1354"/>
                </a:cubicBezTo>
                <a:cubicBezTo>
                  <a:pt x="1239" y="1347"/>
                  <a:pt x="1236" y="1344"/>
                  <a:pt x="1231" y="1343"/>
                </a:cubicBezTo>
                <a:cubicBezTo>
                  <a:pt x="1231" y="1343"/>
                  <a:pt x="1231" y="1343"/>
                  <a:pt x="1231" y="1342"/>
                </a:cubicBezTo>
                <a:cubicBezTo>
                  <a:pt x="1236" y="1341"/>
                  <a:pt x="1239" y="1339"/>
                  <a:pt x="1239" y="1332"/>
                </a:cubicBezTo>
                <a:cubicBezTo>
                  <a:pt x="1239" y="1329"/>
                  <a:pt x="1239" y="1327"/>
                  <a:pt x="1239" y="1325"/>
                </a:cubicBezTo>
                <a:cubicBezTo>
                  <a:pt x="1239" y="1324"/>
                  <a:pt x="1239" y="1322"/>
                  <a:pt x="1239" y="1321"/>
                </a:cubicBezTo>
                <a:cubicBezTo>
                  <a:pt x="1239" y="1317"/>
                  <a:pt x="1240" y="1315"/>
                  <a:pt x="1243" y="1315"/>
                </a:cubicBezTo>
                <a:cubicBezTo>
                  <a:pt x="1243" y="1315"/>
                  <a:pt x="1243" y="1315"/>
                  <a:pt x="1245" y="1315"/>
                </a:cubicBezTo>
                <a:cubicBezTo>
                  <a:pt x="1245" y="1315"/>
                  <a:pt x="1245" y="1315"/>
                  <a:pt x="1245" y="1305"/>
                </a:cubicBezTo>
                <a:cubicBezTo>
                  <a:pt x="1245" y="1305"/>
                  <a:pt x="1245" y="1305"/>
                  <a:pt x="1241" y="1305"/>
                </a:cubicBezTo>
                <a:cubicBezTo>
                  <a:pt x="1232" y="1305"/>
                  <a:pt x="1227" y="1310"/>
                  <a:pt x="1227" y="1318"/>
                </a:cubicBezTo>
                <a:cubicBezTo>
                  <a:pt x="1227" y="1320"/>
                  <a:pt x="1227" y="1323"/>
                  <a:pt x="1227" y="1326"/>
                </a:cubicBezTo>
                <a:cubicBezTo>
                  <a:pt x="1227" y="1328"/>
                  <a:pt x="1228" y="1331"/>
                  <a:pt x="1228" y="1332"/>
                </a:cubicBezTo>
                <a:cubicBezTo>
                  <a:pt x="1228" y="1335"/>
                  <a:pt x="1227" y="1338"/>
                  <a:pt x="1221" y="1339"/>
                </a:cubicBezTo>
                <a:close/>
                <a:moveTo>
                  <a:pt x="1276" y="1347"/>
                </a:moveTo>
                <a:cubicBezTo>
                  <a:pt x="1276" y="1347"/>
                  <a:pt x="1276" y="1347"/>
                  <a:pt x="1276" y="1347"/>
                </a:cubicBezTo>
                <a:cubicBezTo>
                  <a:pt x="1276" y="1339"/>
                  <a:pt x="1276" y="1339"/>
                  <a:pt x="1276" y="1339"/>
                </a:cubicBezTo>
                <a:cubicBezTo>
                  <a:pt x="1269" y="1338"/>
                  <a:pt x="1269" y="1335"/>
                  <a:pt x="1269" y="1332"/>
                </a:cubicBezTo>
                <a:cubicBezTo>
                  <a:pt x="1269" y="1331"/>
                  <a:pt x="1269" y="1328"/>
                  <a:pt x="1269" y="1326"/>
                </a:cubicBezTo>
                <a:cubicBezTo>
                  <a:pt x="1270" y="1323"/>
                  <a:pt x="1270" y="1320"/>
                  <a:pt x="1270" y="1318"/>
                </a:cubicBezTo>
                <a:cubicBezTo>
                  <a:pt x="1270" y="1310"/>
                  <a:pt x="1265" y="1305"/>
                  <a:pt x="1255" y="1305"/>
                </a:cubicBezTo>
                <a:cubicBezTo>
                  <a:pt x="1255" y="1305"/>
                  <a:pt x="1255" y="1305"/>
                  <a:pt x="1252" y="1305"/>
                </a:cubicBezTo>
                <a:cubicBezTo>
                  <a:pt x="1252" y="1305"/>
                  <a:pt x="1252" y="1305"/>
                  <a:pt x="1252" y="1315"/>
                </a:cubicBezTo>
                <a:cubicBezTo>
                  <a:pt x="1252" y="1315"/>
                  <a:pt x="1252" y="1315"/>
                  <a:pt x="1253" y="1315"/>
                </a:cubicBezTo>
                <a:cubicBezTo>
                  <a:pt x="1257" y="1315"/>
                  <a:pt x="1258" y="1317"/>
                  <a:pt x="1258" y="1321"/>
                </a:cubicBezTo>
                <a:cubicBezTo>
                  <a:pt x="1258" y="1322"/>
                  <a:pt x="1258" y="1324"/>
                  <a:pt x="1258" y="1325"/>
                </a:cubicBezTo>
                <a:cubicBezTo>
                  <a:pt x="1258" y="1327"/>
                  <a:pt x="1258" y="1329"/>
                  <a:pt x="1258" y="1332"/>
                </a:cubicBezTo>
                <a:cubicBezTo>
                  <a:pt x="1258" y="1339"/>
                  <a:pt x="1260" y="1341"/>
                  <a:pt x="1266" y="1342"/>
                </a:cubicBezTo>
                <a:cubicBezTo>
                  <a:pt x="1266" y="1342"/>
                  <a:pt x="1266" y="1342"/>
                  <a:pt x="1266" y="1343"/>
                </a:cubicBezTo>
                <a:cubicBezTo>
                  <a:pt x="1260" y="1344"/>
                  <a:pt x="1258" y="1347"/>
                  <a:pt x="1258" y="1354"/>
                </a:cubicBezTo>
                <a:cubicBezTo>
                  <a:pt x="1258" y="1356"/>
                  <a:pt x="1258" y="1359"/>
                  <a:pt x="1258" y="1360"/>
                </a:cubicBezTo>
                <a:cubicBezTo>
                  <a:pt x="1258" y="1362"/>
                  <a:pt x="1258" y="1363"/>
                  <a:pt x="1258" y="1365"/>
                </a:cubicBezTo>
                <a:cubicBezTo>
                  <a:pt x="1258" y="1368"/>
                  <a:pt x="1257" y="1371"/>
                  <a:pt x="1253" y="1371"/>
                </a:cubicBezTo>
                <a:cubicBezTo>
                  <a:pt x="1253" y="1371"/>
                  <a:pt x="1253" y="1371"/>
                  <a:pt x="1252" y="1371"/>
                </a:cubicBezTo>
                <a:cubicBezTo>
                  <a:pt x="1252" y="1371"/>
                  <a:pt x="1252" y="1371"/>
                  <a:pt x="1252" y="1380"/>
                </a:cubicBezTo>
                <a:cubicBezTo>
                  <a:pt x="1252" y="1380"/>
                  <a:pt x="1252" y="1380"/>
                  <a:pt x="1255" y="1380"/>
                </a:cubicBezTo>
                <a:cubicBezTo>
                  <a:pt x="1264" y="1380"/>
                  <a:pt x="1270" y="1377"/>
                  <a:pt x="1270" y="1367"/>
                </a:cubicBezTo>
                <a:cubicBezTo>
                  <a:pt x="1270" y="1365"/>
                  <a:pt x="1270" y="1363"/>
                  <a:pt x="1269" y="1360"/>
                </a:cubicBezTo>
                <a:cubicBezTo>
                  <a:pt x="1269" y="1357"/>
                  <a:pt x="1269" y="1355"/>
                  <a:pt x="1269" y="1353"/>
                </a:cubicBezTo>
                <a:cubicBezTo>
                  <a:pt x="1269" y="1350"/>
                  <a:pt x="1269" y="1347"/>
                  <a:pt x="1276" y="1347"/>
                </a:cubicBezTo>
                <a:close/>
                <a:moveTo>
                  <a:pt x="1603" y="1339"/>
                </a:moveTo>
                <a:cubicBezTo>
                  <a:pt x="1603" y="1339"/>
                  <a:pt x="1603" y="1339"/>
                  <a:pt x="1603" y="1339"/>
                </a:cubicBezTo>
                <a:cubicBezTo>
                  <a:pt x="1603" y="1347"/>
                  <a:pt x="1603" y="1347"/>
                  <a:pt x="1603" y="1347"/>
                </a:cubicBezTo>
                <a:cubicBezTo>
                  <a:pt x="1609" y="1347"/>
                  <a:pt x="1610" y="1350"/>
                  <a:pt x="1610" y="1353"/>
                </a:cubicBezTo>
                <a:cubicBezTo>
                  <a:pt x="1610" y="1355"/>
                  <a:pt x="1610" y="1357"/>
                  <a:pt x="1610" y="1360"/>
                </a:cubicBezTo>
                <a:cubicBezTo>
                  <a:pt x="1609" y="1363"/>
                  <a:pt x="1609" y="1365"/>
                  <a:pt x="1609" y="1367"/>
                </a:cubicBezTo>
                <a:cubicBezTo>
                  <a:pt x="1609" y="1377"/>
                  <a:pt x="1615" y="1380"/>
                  <a:pt x="1623" y="1380"/>
                </a:cubicBezTo>
                <a:cubicBezTo>
                  <a:pt x="1623" y="1380"/>
                  <a:pt x="1623" y="1380"/>
                  <a:pt x="1627" y="1380"/>
                </a:cubicBezTo>
                <a:cubicBezTo>
                  <a:pt x="1627" y="1380"/>
                  <a:pt x="1627" y="1380"/>
                  <a:pt x="1627" y="1371"/>
                </a:cubicBezTo>
                <a:cubicBezTo>
                  <a:pt x="1627" y="1371"/>
                  <a:pt x="1627" y="1371"/>
                  <a:pt x="1626" y="1371"/>
                </a:cubicBezTo>
                <a:cubicBezTo>
                  <a:pt x="1622" y="1371"/>
                  <a:pt x="1621" y="1368"/>
                  <a:pt x="1621" y="1365"/>
                </a:cubicBezTo>
                <a:cubicBezTo>
                  <a:pt x="1621" y="1363"/>
                  <a:pt x="1621" y="1362"/>
                  <a:pt x="1621" y="1360"/>
                </a:cubicBezTo>
                <a:cubicBezTo>
                  <a:pt x="1621" y="1359"/>
                  <a:pt x="1622" y="1356"/>
                  <a:pt x="1622" y="1354"/>
                </a:cubicBezTo>
                <a:cubicBezTo>
                  <a:pt x="1622" y="1347"/>
                  <a:pt x="1619" y="1344"/>
                  <a:pt x="1613" y="1343"/>
                </a:cubicBezTo>
                <a:cubicBezTo>
                  <a:pt x="1613" y="1343"/>
                  <a:pt x="1613" y="1343"/>
                  <a:pt x="1613" y="1342"/>
                </a:cubicBezTo>
                <a:cubicBezTo>
                  <a:pt x="1619" y="1341"/>
                  <a:pt x="1622" y="1339"/>
                  <a:pt x="1622" y="1332"/>
                </a:cubicBezTo>
                <a:cubicBezTo>
                  <a:pt x="1622" y="1329"/>
                  <a:pt x="1621" y="1327"/>
                  <a:pt x="1621" y="1325"/>
                </a:cubicBezTo>
                <a:cubicBezTo>
                  <a:pt x="1621" y="1324"/>
                  <a:pt x="1621" y="1322"/>
                  <a:pt x="1621" y="1321"/>
                </a:cubicBezTo>
                <a:cubicBezTo>
                  <a:pt x="1621" y="1317"/>
                  <a:pt x="1622" y="1315"/>
                  <a:pt x="1626" y="1315"/>
                </a:cubicBezTo>
                <a:cubicBezTo>
                  <a:pt x="1626" y="1315"/>
                  <a:pt x="1626" y="1315"/>
                  <a:pt x="1627" y="1315"/>
                </a:cubicBezTo>
                <a:cubicBezTo>
                  <a:pt x="1627" y="1315"/>
                  <a:pt x="1627" y="1315"/>
                  <a:pt x="1627" y="1305"/>
                </a:cubicBezTo>
                <a:cubicBezTo>
                  <a:pt x="1627" y="1305"/>
                  <a:pt x="1627" y="1305"/>
                  <a:pt x="1623" y="1305"/>
                </a:cubicBezTo>
                <a:cubicBezTo>
                  <a:pt x="1614" y="1305"/>
                  <a:pt x="1609" y="1310"/>
                  <a:pt x="1609" y="1318"/>
                </a:cubicBezTo>
                <a:cubicBezTo>
                  <a:pt x="1609" y="1320"/>
                  <a:pt x="1609" y="1323"/>
                  <a:pt x="1609" y="1326"/>
                </a:cubicBezTo>
                <a:cubicBezTo>
                  <a:pt x="1610" y="1328"/>
                  <a:pt x="1610" y="1331"/>
                  <a:pt x="1610" y="1332"/>
                </a:cubicBezTo>
                <a:cubicBezTo>
                  <a:pt x="1610" y="1335"/>
                  <a:pt x="1609" y="1338"/>
                  <a:pt x="1603" y="1339"/>
                </a:cubicBezTo>
                <a:close/>
                <a:moveTo>
                  <a:pt x="1658" y="1347"/>
                </a:moveTo>
                <a:cubicBezTo>
                  <a:pt x="1658" y="1347"/>
                  <a:pt x="1658" y="1347"/>
                  <a:pt x="1658" y="1347"/>
                </a:cubicBezTo>
                <a:cubicBezTo>
                  <a:pt x="1658" y="1339"/>
                  <a:pt x="1658" y="1339"/>
                  <a:pt x="1658" y="1339"/>
                </a:cubicBezTo>
                <a:cubicBezTo>
                  <a:pt x="1651" y="1338"/>
                  <a:pt x="1651" y="1335"/>
                  <a:pt x="1651" y="1332"/>
                </a:cubicBezTo>
                <a:cubicBezTo>
                  <a:pt x="1651" y="1331"/>
                  <a:pt x="1651" y="1328"/>
                  <a:pt x="1651" y="1326"/>
                </a:cubicBezTo>
                <a:cubicBezTo>
                  <a:pt x="1652" y="1323"/>
                  <a:pt x="1652" y="1320"/>
                  <a:pt x="1652" y="1318"/>
                </a:cubicBezTo>
                <a:cubicBezTo>
                  <a:pt x="1652" y="1310"/>
                  <a:pt x="1647" y="1305"/>
                  <a:pt x="1637" y="1305"/>
                </a:cubicBezTo>
                <a:cubicBezTo>
                  <a:pt x="1637" y="1305"/>
                  <a:pt x="1637" y="1305"/>
                  <a:pt x="1634" y="1305"/>
                </a:cubicBezTo>
                <a:cubicBezTo>
                  <a:pt x="1634" y="1305"/>
                  <a:pt x="1634" y="1305"/>
                  <a:pt x="1634" y="1315"/>
                </a:cubicBezTo>
                <a:cubicBezTo>
                  <a:pt x="1634" y="1315"/>
                  <a:pt x="1634" y="1315"/>
                  <a:pt x="1635" y="1315"/>
                </a:cubicBezTo>
                <a:cubicBezTo>
                  <a:pt x="1639" y="1315"/>
                  <a:pt x="1640" y="1317"/>
                  <a:pt x="1640" y="1321"/>
                </a:cubicBezTo>
                <a:cubicBezTo>
                  <a:pt x="1640" y="1322"/>
                  <a:pt x="1640" y="1324"/>
                  <a:pt x="1640" y="1325"/>
                </a:cubicBezTo>
                <a:cubicBezTo>
                  <a:pt x="1640" y="1327"/>
                  <a:pt x="1640" y="1329"/>
                  <a:pt x="1640" y="1332"/>
                </a:cubicBezTo>
                <a:cubicBezTo>
                  <a:pt x="1640" y="1339"/>
                  <a:pt x="1642" y="1341"/>
                  <a:pt x="1648" y="1342"/>
                </a:cubicBezTo>
                <a:cubicBezTo>
                  <a:pt x="1648" y="1342"/>
                  <a:pt x="1648" y="1342"/>
                  <a:pt x="1648" y="1343"/>
                </a:cubicBezTo>
                <a:cubicBezTo>
                  <a:pt x="1642" y="1344"/>
                  <a:pt x="1640" y="1347"/>
                  <a:pt x="1640" y="1354"/>
                </a:cubicBezTo>
                <a:cubicBezTo>
                  <a:pt x="1640" y="1356"/>
                  <a:pt x="1640" y="1359"/>
                  <a:pt x="1640" y="1360"/>
                </a:cubicBezTo>
                <a:cubicBezTo>
                  <a:pt x="1640" y="1362"/>
                  <a:pt x="1640" y="1363"/>
                  <a:pt x="1640" y="1365"/>
                </a:cubicBezTo>
                <a:cubicBezTo>
                  <a:pt x="1640" y="1368"/>
                  <a:pt x="1639" y="1371"/>
                  <a:pt x="1635" y="1371"/>
                </a:cubicBezTo>
                <a:cubicBezTo>
                  <a:pt x="1635" y="1371"/>
                  <a:pt x="1635" y="1371"/>
                  <a:pt x="1634" y="1371"/>
                </a:cubicBezTo>
                <a:cubicBezTo>
                  <a:pt x="1634" y="1371"/>
                  <a:pt x="1634" y="1371"/>
                  <a:pt x="1634" y="1380"/>
                </a:cubicBezTo>
                <a:cubicBezTo>
                  <a:pt x="1634" y="1380"/>
                  <a:pt x="1634" y="1380"/>
                  <a:pt x="1637" y="1380"/>
                </a:cubicBezTo>
                <a:cubicBezTo>
                  <a:pt x="1646" y="1380"/>
                  <a:pt x="1652" y="1377"/>
                  <a:pt x="1652" y="1367"/>
                </a:cubicBezTo>
                <a:cubicBezTo>
                  <a:pt x="1652" y="1365"/>
                  <a:pt x="1652" y="1363"/>
                  <a:pt x="1651" y="1360"/>
                </a:cubicBezTo>
                <a:cubicBezTo>
                  <a:pt x="1651" y="1357"/>
                  <a:pt x="1651" y="1355"/>
                  <a:pt x="1651" y="1353"/>
                </a:cubicBezTo>
                <a:cubicBezTo>
                  <a:pt x="1651" y="1350"/>
                  <a:pt x="1651" y="1347"/>
                  <a:pt x="1658" y="1347"/>
                </a:cubicBezTo>
                <a:close/>
                <a:moveTo>
                  <a:pt x="1705" y="1306"/>
                </a:moveTo>
                <a:cubicBezTo>
                  <a:pt x="1705" y="1306"/>
                  <a:pt x="1705" y="1306"/>
                  <a:pt x="1705" y="1306"/>
                </a:cubicBezTo>
                <a:cubicBezTo>
                  <a:pt x="1700" y="1306"/>
                  <a:pt x="1700" y="1306"/>
                  <a:pt x="1700" y="1306"/>
                </a:cubicBezTo>
                <a:cubicBezTo>
                  <a:pt x="1698" y="1308"/>
                  <a:pt x="1697" y="1309"/>
                  <a:pt x="1694" y="1310"/>
                </a:cubicBezTo>
                <a:cubicBezTo>
                  <a:pt x="1693" y="1312"/>
                  <a:pt x="1691" y="1312"/>
                  <a:pt x="1689" y="1313"/>
                </a:cubicBezTo>
                <a:cubicBezTo>
                  <a:pt x="1687" y="1314"/>
                  <a:pt x="1686" y="1314"/>
                  <a:pt x="1684" y="1315"/>
                </a:cubicBezTo>
                <a:cubicBezTo>
                  <a:pt x="1682" y="1316"/>
                  <a:pt x="1681" y="1317"/>
                  <a:pt x="1678" y="1317"/>
                </a:cubicBezTo>
                <a:cubicBezTo>
                  <a:pt x="1678" y="1317"/>
                  <a:pt x="1678" y="1317"/>
                  <a:pt x="1678" y="1328"/>
                </a:cubicBezTo>
                <a:cubicBezTo>
                  <a:pt x="1681" y="1327"/>
                  <a:pt x="1684" y="1325"/>
                  <a:pt x="1686" y="1325"/>
                </a:cubicBezTo>
                <a:cubicBezTo>
                  <a:pt x="1689" y="1324"/>
                  <a:pt x="1691" y="1322"/>
                  <a:pt x="1694" y="1321"/>
                </a:cubicBezTo>
                <a:cubicBezTo>
                  <a:pt x="1694" y="1321"/>
                  <a:pt x="1694" y="1321"/>
                  <a:pt x="1694" y="1380"/>
                </a:cubicBezTo>
                <a:cubicBezTo>
                  <a:pt x="1694" y="1380"/>
                  <a:pt x="1694" y="1380"/>
                  <a:pt x="1705" y="1380"/>
                </a:cubicBezTo>
                <a:cubicBezTo>
                  <a:pt x="1705" y="1380"/>
                  <a:pt x="1705" y="1380"/>
                  <a:pt x="1705" y="1306"/>
                </a:cubicBezTo>
                <a:close/>
                <a:moveTo>
                  <a:pt x="1752" y="1306"/>
                </a:moveTo>
                <a:cubicBezTo>
                  <a:pt x="1752" y="1306"/>
                  <a:pt x="1752" y="1306"/>
                  <a:pt x="1752" y="1306"/>
                </a:cubicBezTo>
                <a:cubicBezTo>
                  <a:pt x="1747" y="1306"/>
                  <a:pt x="1747" y="1306"/>
                  <a:pt x="1747" y="1306"/>
                </a:cubicBezTo>
                <a:cubicBezTo>
                  <a:pt x="1745" y="1308"/>
                  <a:pt x="1744" y="1309"/>
                  <a:pt x="1742" y="1310"/>
                </a:cubicBezTo>
                <a:cubicBezTo>
                  <a:pt x="1740" y="1312"/>
                  <a:pt x="1738" y="1312"/>
                  <a:pt x="1737" y="1313"/>
                </a:cubicBezTo>
                <a:cubicBezTo>
                  <a:pt x="1735" y="1314"/>
                  <a:pt x="1733" y="1315"/>
                  <a:pt x="1732" y="1316"/>
                </a:cubicBezTo>
                <a:cubicBezTo>
                  <a:pt x="1730" y="1317"/>
                  <a:pt x="1728" y="1317"/>
                  <a:pt x="1726" y="1317"/>
                </a:cubicBezTo>
                <a:cubicBezTo>
                  <a:pt x="1726" y="1317"/>
                  <a:pt x="1726" y="1317"/>
                  <a:pt x="1726" y="1328"/>
                </a:cubicBezTo>
                <a:cubicBezTo>
                  <a:pt x="1729" y="1327"/>
                  <a:pt x="1732" y="1326"/>
                  <a:pt x="1734" y="1325"/>
                </a:cubicBezTo>
                <a:cubicBezTo>
                  <a:pt x="1737" y="1324"/>
                  <a:pt x="1739" y="1322"/>
                  <a:pt x="1741" y="1321"/>
                </a:cubicBezTo>
                <a:cubicBezTo>
                  <a:pt x="1741" y="1321"/>
                  <a:pt x="1741" y="1321"/>
                  <a:pt x="1741" y="1380"/>
                </a:cubicBezTo>
                <a:cubicBezTo>
                  <a:pt x="1741" y="1380"/>
                  <a:pt x="1741" y="1380"/>
                  <a:pt x="1752" y="1380"/>
                </a:cubicBezTo>
                <a:cubicBezTo>
                  <a:pt x="1752" y="1380"/>
                  <a:pt x="1752" y="1380"/>
                  <a:pt x="1752" y="1306"/>
                </a:cubicBezTo>
                <a:close/>
                <a:moveTo>
                  <a:pt x="1799" y="1306"/>
                </a:moveTo>
                <a:cubicBezTo>
                  <a:pt x="1799" y="1306"/>
                  <a:pt x="1799" y="1306"/>
                  <a:pt x="1799" y="1306"/>
                </a:cubicBezTo>
                <a:cubicBezTo>
                  <a:pt x="1795" y="1306"/>
                  <a:pt x="1795" y="1306"/>
                  <a:pt x="1795" y="1306"/>
                </a:cubicBezTo>
                <a:cubicBezTo>
                  <a:pt x="1792" y="1308"/>
                  <a:pt x="1791" y="1309"/>
                  <a:pt x="1789" y="1310"/>
                </a:cubicBezTo>
                <a:cubicBezTo>
                  <a:pt x="1787" y="1312"/>
                  <a:pt x="1785" y="1312"/>
                  <a:pt x="1784" y="1313"/>
                </a:cubicBezTo>
                <a:cubicBezTo>
                  <a:pt x="1782" y="1314"/>
                  <a:pt x="1780" y="1315"/>
                  <a:pt x="1778" y="1316"/>
                </a:cubicBezTo>
                <a:cubicBezTo>
                  <a:pt x="1777" y="1317"/>
                  <a:pt x="1774" y="1317"/>
                  <a:pt x="1773" y="1317"/>
                </a:cubicBezTo>
                <a:cubicBezTo>
                  <a:pt x="1773" y="1317"/>
                  <a:pt x="1773" y="1317"/>
                  <a:pt x="1773" y="1328"/>
                </a:cubicBezTo>
                <a:cubicBezTo>
                  <a:pt x="1776" y="1327"/>
                  <a:pt x="1779" y="1326"/>
                  <a:pt x="1781" y="1325"/>
                </a:cubicBezTo>
                <a:cubicBezTo>
                  <a:pt x="1783" y="1324"/>
                  <a:pt x="1786" y="1322"/>
                  <a:pt x="1787" y="1321"/>
                </a:cubicBezTo>
                <a:cubicBezTo>
                  <a:pt x="1787" y="1321"/>
                  <a:pt x="1787" y="1321"/>
                  <a:pt x="1787" y="1380"/>
                </a:cubicBezTo>
                <a:cubicBezTo>
                  <a:pt x="1787" y="1380"/>
                  <a:pt x="1787" y="1380"/>
                  <a:pt x="1799" y="1380"/>
                </a:cubicBezTo>
                <a:cubicBezTo>
                  <a:pt x="1799" y="1380"/>
                  <a:pt x="1799" y="1380"/>
                  <a:pt x="1799" y="1306"/>
                </a:cubicBezTo>
                <a:close/>
                <a:moveTo>
                  <a:pt x="1922" y="1306"/>
                </a:moveTo>
                <a:cubicBezTo>
                  <a:pt x="1922" y="1306"/>
                  <a:pt x="1922" y="1306"/>
                  <a:pt x="1922" y="1306"/>
                </a:cubicBezTo>
                <a:cubicBezTo>
                  <a:pt x="1917" y="1306"/>
                  <a:pt x="1917" y="1306"/>
                  <a:pt x="1917" y="1306"/>
                </a:cubicBezTo>
                <a:cubicBezTo>
                  <a:pt x="1915" y="1308"/>
                  <a:pt x="1914" y="1309"/>
                  <a:pt x="1911" y="1310"/>
                </a:cubicBezTo>
                <a:cubicBezTo>
                  <a:pt x="1910" y="1312"/>
                  <a:pt x="1908" y="1312"/>
                  <a:pt x="1906" y="1313"/>
                </a:cubicBezTo>
                <a:cubicBezTo>
                  <a:pt x="1905" y="1314"/>
                  <a:pt x="1903" y="1315"/>
                  <a:pt x="1901" y="1316"/>
                </a:cubicBezTo>
                <a:cubicBezTo>
                  <a:pt x="1899" y="1317"/>
                  <a:pt x="1898" y="1317"/>
                  <a:pt x="1895" y="1317"/>
                </a:cubicBezTo>
                <a:cubicBezTo>
                  <a:pt x="1895" y="1317"/>
                  <a:pt x="1895" y="1317"/>
                  <a:pt x="1895" y="1328"/>
                </a:cubicBezTo>
                <a:cubicBezTo>
                  <a:pt x="1898" y="1327"/>
                  <a:pt x="1901" y="1326"/>
                  <a:pt x="1904" y="1325"/>
                </a:cubicBezTo>
                <a:cubicBezTo>
                  <a:pt x="1906" y="1324"/>
                  <a:pt x="1908" y="1322"/>
                  <a:pt x="1911" y="1321"/>
                </a:cubicBezTo>
                <a:cubicBezTo>
                  <a:pt x="1911" y="1321"/>
                  <a:pt x="1911" y="1321"/>
                  <a:pt x="1911" y="1380"/>
                </a:cubicBezTo>
                <a:cubicBezTo>
                  <a:pt x="1911" y="1380"/>
                  <a:pt x="1911" y="1380"/>
                  <a:pt x="1922" y="1380"/>
                </a:cubicBezTo>
                <a:cubicBezTo>
                  <a:pt x="1922" y="1380"/>
                  <a:pt x="1922" y="1380"/>
                  <a:pt x="1922" y="1306"/>
                </a:cubicBezTo>
                <a:close/>
                <a:moveTo>
                  <a:pt x="1820" y="1339"/>
                </a:moveTo>
                <a:cubicBezTo>
                  <a:pt x="1820" y="1339"/>
                  <a:pt x="1820" y="1339"/>
                  <a:pt x="1820" y="1339"/>
                </a:cubicBezTo>
                <a:cubicBezTo>
                  <a:pt x="1820" y="1347"/>
                  <a:pt x="1820" y="1347"/>
                  <a:pt x="1820" y="1347"/>
                </a:cubicBezTo>
                <a:cubicBezTo>
                  <a:pt x="1826" y="1347"/>
                  <a:pt x="1827" y="1350"/>
                  <a:pt x="1827" y="1353"/>
                </a:cubicBezTo>
                <a:cubicBezTo>
                  <a:pt x="1827" y="1355"/>
                  <a:pt x="1826" y="1357"/>
                  <a:pt x="1826" y="1360"/>
                </a:cubicBezTo>
                <a:cubicBezTo>
                  <a:pt x="1826" y="1363"/>
                  <a:pt x="1826" y="1365"/>
                  <a:pt x="1826" y="1367"/>
                </a:cubicBezTo>
                <a:cubicBezTo>
                  <a:pt x="1826" y="1377"/>
                  <a:pt x="1832" y="1380"/>
                  <a:pt x="1840" y="1380"/>
                </a:cubicBezTo>
                <a:cubicBezTo>
                  <a:pt x="1840" y="1380"/>
                  <a:pt x="1840" y="1380"/>
                  <a:pt x="1844" y="1380"/>
                </a:cubicBezTo>
                <a:cubicBezTo>
                  <a:pt x="1844" y="1380"/>
                  <a:pt x="1844" y="1380"/>
                  <a:pt x="1844" y="1371"/>
                </a:cubicBezTo>
                <a:cubicBezTo>
                  <a:pt x="1844" y="1371"/>
                  <a:pt x="1844" y="1371"/>
                  <a:pt x="1843" y="1371"/>
                </a:cubicBezTo>
                <a:cubicBezTo>
                  <a:pt x="1839" y="1371"/>
                  <a:pt x="1838" y="1368"/>
                  <a:pt x="1838" y="1365"/>
                </a:cubicBezTo>
                <a:cubicBezTo>
                  <a:pt x="1838" y="1363"/>
                  <a:pt x="1838" y="1362"/>
                  <a:pt x="1838" y="1360"/>
                </a:cubicBezTo>
                <a:cubicBezTo>
                  <a:pt x="1838" y="1359"/>
                  <a:pt x="1838" y="1356"/>
                  <a:pt x="1838" y="1354"/>
                </a:cubicBezTo>
                <a:cubicBezTo>
                  <a:pt x="1838" y="1347"/>
                  <a:pt x="1835" y="1344"/>
                  <a:pt x="1830" y="1343"/>
                </a:cubicBezTo>
                <a:cubicBezTo>
                  <a:pt x="1830" y="1343"/>
                  <a:pt x="1830" y="1343"/>
                  <a:pt x="1830" y="1342"/>
                </a:cubicBezTo>
                <a:cubicBezTo>
                  <a:pt x="1835" y="1341"/>
                  <a:pt x="1838" y="1339"/>
                  <a:pt x="1838" y="1332"/>
                </a:cubicBezTo>
                <a:cubicBezTo>
                  <a:pt x="1838" y="1329"/>
                  <a:pt x="1838" y="1327"/>
                  <a:pt x="1838" y="1325"/>
                </a:cubicBezTo>
                <a:cubicBezTo>
                  <a:pt x="1838" y="1324"/>
                  <a:pt x="1838" y="1322"/>
                  <a:pt x="1838" y="1321"/>
                </a:cubicBezTo>
                <a:cubicBezTo>
                  <a:pt x="1838" y="1317"/>
                  <a:pt x="1839" y="1315"/>
                  <a:pt x="1843" y="1315"/>
                </a:cubicBezTo>
                <a:cubicBezTo>
                  <a:pt x="1843" y="1315"/>
                  <a:pt x="1843" y="1315"/>
                  <a:pt x="1844" y="1315"/>
                </a:cubicBezTo>
                <a:cubicBezTo>
                  <a:pt x="1844" y="1315"/>
                  <a:pt x="1844" y="1315"/>
                  <a:pt x="1844" y="1305"/>
                </a:cubicBezTo>
                <a:cubicBezTo>
                  <a:pt x="1844" y="1305"/>
                  <a:pt x="1844" y="1305"/>
                  <a:pt x="1840" y="1305"/>
                </a:cubicBezTo>
                <a:cubicBezTo>
                  <a:pt x="1831" y="1305"/>
                  <a:pt x="1826" y="1310"/>
                  <a:pt x="1826" y="1318"/>
                </a:cubicBezTo>
                <a:cubicBezTo>
                  <a:pt x="1826" y="1320"/>
                  <a:pt x="1826" y="1323"/>
                  <a:pt x="1826" y="1326"/>
                </a:cubicBezTo>
                <a:cubicBezTo>
                  <a:pt x="1826" y="1328"/>
                  <a:pt x="1827" y="1331"/>
                  <a:pt x="1827" y="1332"/>
                </a:cubicBezTo>
                <a:cubicBezTo>
                  <a:pt x="1827" y="1335"/>
                  <a:pt x="1826" y="1338"/>
                  <a:pt x="1820" y="1339"/>
                </a:cubicBezTo>
                <a:close/>
                <a:moveTo>
                  <a:pt x="1875" y="1347"/>
                </a:moveTo>
                <a:cubicBezTo>
                  <a:pt x="1875" y="1347"/>
                  <a:pt x="1875" y="1347"/>
                  <a:pt x="1875" y="1347"/>
                </a:cubicBezTo>
                <a:cubicBezTo>
                  <a:pt x="1875" y="1339"/>
                  <a:pt x="1875" y="1339"/>
                  <a:pt x="1875" y="1339"/>
                </a:cubicBezTo>
                <a:cubicBezTo>
                  <a:pt x="1868" y="1338"/>
                  <a:pt x="1868" y="1335"/>
                  <a:pt x="1868" y="1332"/>
                </a:cubicBezTo>
                <a:cubicBezTo>
                  <a:pt x="1868" y="1331"/>
                  <a:pt x="1868" y="1328"/>
                  <a:pt x="1868" y="1326"/>
                </a:cubicBezTo>
                <a:cubicBezTo>
                  <a:pt x="1869" y="1323"/>
                  <a:pt x="1869" y="1320"/>
                  <a:pt x="1869" y="1318"/>
                </a:cubicBezTo>
                <a:cubicBezTo>
                  <a:pt x="1869" y="1310"/>
                  <a:pt x="1864" y="1305"/>
                  <a:pt x="1854" y="1305"/>
                </a:cubicBezTo>
                <a:cubicBezTo>
                  <a:pt x="1854" y="1305"/>
                  <a:pt x="1854" y="1305"/>
                  <a:pt x="1851" y="1305"/>
                </a:cubicBezTo>
                <a:cubicBezTo>
                  <a:pt x="1851" y="1305"/>
                  <a:pt x="1851" y="1305"/>
                  <a:pt x="1851" y="1315"/>
                </a:cubicBezTo>
                <a:cubicBezTo>
                  <a:pt x="1851" y="1315"/>
                  <a:pt x="1851" y="1315"/>
                  <a:pt x="1852" y="1315"/>
                </a:cubicBezTo>
                <a:cubicBezTo>
                  <a:pt x="1856" y="1315"/>
                  <a:pt x="1857" y="1317"/>
                  <a:pt x="1857" y="1321"/>
                </a:cubicBezTo>
                <a:cubicBezTo>
                  <a:pt x="1857" y="1322"/>
                  <a:pt x="1857" y="1324"/>
                  <a:pt x="1857" y="1325"/>
                </a:cubicBezTo>
                <a:cubicBezTo>
                  <a:pt x="1857" y="1327"/>
                  <a:pt x="1857" y="1329"/>
                  <a:pt x="1857" y="1332"/>
                </a:cubicBezTo>
                <a:cubicBezTo>
                  <a:pt x="1857" y="1339"/>
                  <a:pt x="1859" y="1341"/>
                  <a:pt x="1865" y="1342"/>
                </a:cubicBezTo>
                <a:cubicBezTo>
                  <a:pt x="1865" y="1342"/>
                  <a:pt x="1865" y="1342"/>
                  <a:pt x="1865" y="1343"/>
                </a:cubicBezTo>
                <a:cubicBezTo>
                  <a:pt x="1859" y="1344"/>
                  <a:pt x="1857" y="1347"/>
                  <a:pt x="1857" y="1354"/>
                </a:cubicBezTo>
                <a:cubicBezTo>
                  <a:pt x="1857" y="1356"/>
                  <a:pt x="1857" y="1359"/>
                  <a:pt x="1857" y="1360"/>
                </a:cubicBezTo>
                <a:cubicBezTo>
                  <a:pt x="1857" y="1362"/>
                  <a:pt x="1857" y="1363"/>
                  <a:pt x="1857" y="1365"/>
                </a:cubicBezTo>
                <a:cubicBezTo>
                  <a:pt x="1857" y="1368"/>
                  <a:pt x="1856" y="1371"/>
                  <a:pt x="1852" y="1371"/>
                </a:cubicBezTo>
                <a:cubicBezTo>
                  <a:pt x="1852" y="1371"/>
                  <a:pt x="1852" y="1371"/>
                  <a:pt x="1851" y="1371"/>
                </a:cubicBezTo>
                <a:cubicBezTo>
                  <a:pt x="1851" y="1371"/>
                  <a:pt x="1851" y="1371"/>
                  <a:pt x="1851" y="1380"/>
                </a:cubicBezTo>
                <a:cubicBezTo>
                  <a:pt x="1851" y="1380"/>
                  <a:pt x="1851" y="1380"/>
                  <a:pt x="1854" y="1380"/>
                </a:cubicBezTo>
                <a:cubicBezTo>
                  <a:pt x="1863" y="1380"/>
                  <a:pt x="1869" y="1377"/>
                  <a:pt x="1869" y="1367"/>
                </a:cubicBezTo>
                <a:cubicBezTo>
                  <a:pt x="1869" y="1365"/>
                  <a:pt x="1869" y="1363"/>
                  <a:pt x="1868" y="1360"/>
                </a:cubicBezTo>
                <a:cubicBezTo>
                  <a:pt x="1868" y="1357"/>
                  <a:pt x="1868" y="1355"/>
                  <a:pt x="1868" y="1353"/>
                </a:cubicBezTo>
                <a:cubicBezTo>
                  <a:pt x="1868" y="1350"/>
                  <a:pt x="1868" y="1347"/>
                  <a:pt x="1875" y="1347"/>
                </a:cubicBezTo>
                <a:close/>
                <a:moveTo>
                  <a:pt x="1016" y="1258"/>
                </a:moveTo>
                <a:cubicBezTo>
                  <a:pt x="1016" y="1259"/>
                  <a:pt x="1017" y="1261"/>
                  <a:pt x="1017" y="1262"/>
                </a:cubicBezTo>
                <a:cubicBezTo>
                  <a:pt x="1018" y="1264"/>
                  <a:pt x="1018" y="1266"/>
                  <a:pt x="1019" y="1267"/>
                </a:cubicBezTo>
                <a:cubicBezTo>
                  <a:pt x="1019" y="1269"/>
                  <a:pt x="1019" y="1270"/>
                  <a:pt x="1019" y="1272"/>
                </a:cubicBezTo>
                <a:cubicBezTo>
                  <a:pt x="1020" y="1275"/>
                  <a:pt x="1019" y="1277"/>
                  <a:pt x="1015" y="1277"/>
                </a:cubicBezTo>
                <a:cubicBezTo>
                  <a:pt x="1013" y="1277"/>
                  <a:pt x="1010" y="1276"/>
                  <a:pt x="1007" y="1276"/>
                </a:cubicBezTo>
                <a:cubicBezTo>
                  <a:pt x="1007" y="1276"/>
                  <a:pt x="1006" y="1276"/>
                  <a:pt x="1006" y="1277"/>
                </a:cubicBezTo>
                <a:cubicBezTo>
                  <a:pt x="1004" y="1278"/>
                  <a:pt x="1002" y="1280"/>
                  <a:pt x="1001" y="1281"/>
                </a:cubicBezTo>
                <a:cubicBezTo>
                  <a:pt x="999" y="1283"/>
                  <a:pt x="996" y="1284"/>
                  <a:pt x="994" y="1282"/>
                </a:cubicBezTo>
                <a:cubicBezTo>
                  <a:pt x="992" y="1280"/>
                  <a:pt x="991" y="1277"/>
                  <a:pt x="989" y="1274"/>
                </a:cubicBezTo>
                <a:cubicBezTo>
                  <a:pt x="988" y="1273"/>
                  <a:pt x="989" y="1271"/>
                  <a:pt x="991" y="1270"/>
                </a:cubicBezTo>
                <a:cubicBezTo>
                  <a:pt x="988" y="1270"/>
                  <a:pt x="987" y="1270"/>
                  <a:pt x="985" y="1270"/>
                </a:cubicBezTo>
                <a:cubicBezTo>
                  <a:pt x="984" y="1272"/>
                  <a:pt x="983" y="1274"/>
                  <a:pt x="982" y="1276"/>
                </a:cubicBezTo>
                <a:cubicBezTo>
                  <a:pt x="982" y="1276"/>
                  <a:pt x="982" y="1277"/>
                  <a:pt x="982" y="1278"/>
                </a:cubicBezTo>
                <a:cubicBezTo>
                  <a:pt x="982" y="1281"/>
                  <a:pt x="981" y="1282"/>
                  <a:pt x="978" y="1282"/>
                </a:cubicBezTo>
                <a:cubicBezTo>
                  <a:pt x="974" y="1282"/>
                  <a:pt x="972" y="1281"/>
                  <a:pt x="969" y="1280"/>
                </a:cubicBezTo>
                <a:cubicBezTo>
                  <a:pt x="967" y="1279"/>
                  <a:pt x="966" y="1278"/>
                  <a:pt x="967" y="1276"/>
                </a:cubicBezTo>
                <a:cubicBezTo>
                  <a:pt x="967" y="1275"/>
                  <a:pt x="967" y="1274"/>
                  <a:pt x="967" y="1274"/>
                </a:cubicBezTo>
                <a:cubicBezTo>
                  <a:pt x="965" y="1273"/>
                  <a:pt x="963" y="1272"/>
                  <a:pt x="961" y="1270"/>
                </a:cubicBezTo>
                <a:cubicBezTo>
                  <a:pt x="959" y="1270"/>
                  <a:pt x="958" y="1268"/>
                  <a:pt x="958" y="1266"/>
                </a:cubicBezTo>
                <a:cubicBezTo>
                  <a:pt x="957" y="1264"/>
                  <a:pt x="957" y="1263"/>
                  <a:pt x="959" y="1261"/>
                </a:cubicBezTo>
                <a:cubicBezTo>
                  <a:pt x="962" y="1259"/>
                  <a:pt x="963" y="1256"/>
                  <a:pt x="962" y="1252"/>
                </a:cubicBezTo>
                <a:cubicBezTo>
                  <a:pt x="962" y="1250"/>
                  <a:pt x="962" y="1247"/>
                  <a:pt x="962" y="1246"/>
                </a:cubicBezTo>
                <a:cubicBezTo>
                  <a:pt x="961" y="1245"/>
                  <a:pt x="959" y="1245"/>
                  <a:pt x="958" y="1244"/>
                </a:cubicBezTo>
                <a:cubicBezTo>
                  <a:pt x="957" y="1242"/>
                  <a:pt x="956" y="1240"/>
                  <a:pt x="956" y="1238"/>
                </a:cubicBezTo>
                <a:cubicBezTo>
                  <a:pt x="956" y="1235"/>
                  <a:pt x="959" y="1232"/>
                  <a:pt x="962" y="1232"/>
                </a:cubicBezTo>
                <a:cubicBezTo>
                  <a:pt x="962" y="1232"/>
                  <a:pt x="962" y="1233"/>
                  <a:pt x="963" y="1234"/>
                </a:cubicBezTo>
                <a:cubicBezTo>
                  <a:pt x="963" y="1235"/>
                  <a:pt x="963" y="1236"/>
                  <a:pt x="963" y="1237"/>
                </a:cubicBezTo>
                <a:cubicBezTo>
                  <a:pt x="962" y="1237"/>
                  <a:pt x="962" y="1237"/>
                  <a:pt x="961" y="1237"/>
                </a:cubicBezTo>
                <a:cubicBezTo>
                  <a:pt x="961" y="1238"/>
                  <a:pt x="961" y="1239"/>
                  <a:pt x="960" y="1241"/>
                </a:cubicBezTo>
                <a:cubicBezTo>
                  <a:pt x="961" y="1241"/>
                  <a:pt x="962" y="1241"/>
                  <a:pt x="962" y="1240"/>
                </a:cubicBezTo>
                <a:cubicBezTo>
                  <a:pt x="963" y="1239"/>
                  <a:pt x="964" y="1238"/>
                  <a:pt x="965" y="1237"/>
                </a:cubicBezTo>
                <a:cubicBezTo>
                  <a:pt x="969" y="1230"/>
                  <a:pt x="975" y="1226"/>
                  <a:pt x="983" y="1225"/>
                </a:cubicBezTo>
                <a:cubicBezTo>
                  <a:pt x="986" y="1224"/>
                  <a:pt x="989" y="1223"/>
                  <a:pt x="992" y="1221"/>
                </a:cubicBezTo>
                <a:cubicBezTo>
                  <a:pt x="992" y="1220"/>
                  <a:pt x="993" y="1220"/>
                  <a:pt x="993" y="1220"/>
                </a:cubicBezTo>
                <a:cubicBezTo>
                  <a:pt x="996" y="1219"/>
                  <a:pt x="997" y="1217"/>
                  <a:pt x="999" y="1215"/>
                </a:cubicBezTo>
                <a:cubicBezTo>
                  <a:pt x="1007" y="1207"/>
                  <a:pt x="1019" y="1207"/>
                  <a:pt x="1026" y="1214"/>
                </a:cubicBezTo>
                <a:cubicBezTo>
                  <a:pt x="1029" y="1216"/>
                  <a:pt x="1032" y="1218"/>
                  <a:pt x="1034" y="1220"/>
                </a:cubicBezTo>
                <a:cubicBezTo>
                  <a:pt x="1036" y="1221"/>
                  <a:pt x="1037" y="1223"/>
                  <a:pt x="1038" y="1224"/>
                </a:cubicBezTo>
                <a:cubicBezTo>
                  <a:pt x="1039" y="1226"/>
                  <a:pt x="1039" y="1226"/>
                  <a:pt x="1041" y="1225"/>
                </a:cubicBezTo>
                <a:cubicBezTo>
                  <a:pt x="1041" y="1224"/>
                  <a:pt x="1042" y="1224"/>
                  <a:pt x="1043" y="1223"/>
                </a:cubicBezTo>
                <a:cubicBezTo>
                  <a:pt x="1045" y="1220"/>
                  <a:pt x="1048" y="1220"/>
                  <a:pt x="1049" y="1223"/>
                </a:cubicBezTo>
                <a:cubicBezTo>
                  <a:pt x="1051" y="1226"/>
                  <a:pt x="1051" y="1229"/>
                  <a:pt x="1052" y="1232"/>
                </a:cubicBezTo>
                <a:cubicBezTo>
                  <a:pt x="1052" y="1237"/>
                  <a:pt x="1052" y="1241"/>
                  <a:pt x="1051" y="1245"/>
                </a:cubicBezTo>
                <a:cubicBezTo>
                  <a:pt x="1048" y="1252"/>
                  <a:pt x="1043" y="1255"/>
                  <a:pt x="1037" y="1255"/>
                </a:cubicBezTo>
                <a:cubicBezTo>
                  <a:pt x="1036" y="1255"/>
                  <a:pt x="1036" y="1255"/>
                  <a:pt x="1035" y="1255"/>
                </a:cubicBezTo>
                <a:cubicBezTo>
                  <a:pt x="1032" y="1255"/>
                  <a:pt x="1031" y="1255"/>
                  <a:pt x="1030" y="1258"/>
                </a:cubicBezTo>
                <a:cubicBezTo>
                  <a:pt x="1029" y="1262"/>
                  <a:pt x="1023" y="1264"/>
                  <a:pt x="1020" y="1261"/>
                </a:cubicBezTo>
                <a:cubicBezTo>
                  <a:pt x="1019" y="1259"/>
                  <a:pt x="1018" y="1259"/>
                  <a:pt x="1017" y="1257"/>
                </a:cubicBezTo>
                <a:cubicBezTo>
                  <a:pt x="1016" y="1258"/>
                  <a:pt x="1016" y="1258"/>
                  <a:pt x="1016" y="1258"/>
                </a:cubicBezTo>
                <a:close/>
                <a:moveTo>
                  <a:pt x="1010" y="1253"/>
                </a:moveTo>
                <a:cubicBezTo>
                  <a:pt x="1014" y="1255"/>
                  <a:pt x="1017" y="1256"/>
                  <a:pt x="1020" y="1259"/>
                </a:cubicBezTo>
                <a:cubicBezTo>
                  <a:pt x="1022" y="1261"/>
                  <a:pt x="1024" y="1261"/>
                  <a:pt x="1026" y="1261"/>
                </a:cubicBezTo>
                <a:cubicBezTo>
                  <a:pt x="1028" y="1260"/>
                  <a:pt x="1030" y="1258"/>
                  <a:pt x="1030" y="1255"/>
                </a:cubicBezTo>
                <a:cubicBezTo>
                  <a:pt x="1030" y="1255"/>
                  <a:pt x="1029" y="1255"/>
                  <a:pt x="1029" y="1255"/>
                </a:cubicBezTo>
                <a:cubicBezTo>
                  <a:pt x="1028" y="1257"/>
                  <a:pt x="1027" y="1258"/>
                  <a:pt x="1026" y="1259"/>
                </a:cubicBezTo>
                <a:cubicBezTo>
                  <a:pt x="1025" y="1260"/>
                  <a:pt x="1024" y="1260"/>
                  <a:pt x="1023" y="1259"/>
                </a:cubicBezTo>
                <a:cubicBezTo>
                  <a:pt x="1023" y="1259"/>
                  <a:pt x="1022" y="1258"/>
                  <a:pt x="1022" y="1257"/>
                </a:cubicBezTo>
                <a:cubicBezTo>
                  <a:pt x="1022" y="1255"/>
                  <a:pt x="1023" y="1253"/>
                  <a:pt x="1023" y="1251"/>
                </a:cubicBezTo>
                <a:cubicBezTo>
                  <a:pt x="1026" y="1252"/>
                  <a:pt x="1029" y="1253"/>
                  <a:pt x="1033" y="1253"/>
                </a:cubicBezTo>
                <a:cubicBezTo>
                  <a:pt x="1040" y="1255"/>
                  <a:pt x="1046" y="1253"/>
                  <a:pt x="1049" y="1244"/>
                </a:cubicBezTo>
                <a:cubicBezTo>
                  <a:pt x="1051" y="1240"/>
                  <a:pt x="1051" y="1235"/>
                  <a:pt x="1050" y="1230"/>
                </a:cubicBezTo>
                <a:cubicBezTo>
                  <a:pt x="1049" y="1228"/>
                  <a:pt x="1049" y="1226"/>
                  <a:pt x="1048" y="1224"/>
                </a:cubicBezTo>
                <a:cubicBezTo>
                  <a:pt x="1047" y="1223"/>
                  <a:pt x="1046" y="1222"/>
                  <a:pt x="1045" y="1224"/>
                </a:cubicBezTo>
                <a:cubicBezTo>
                  <a:pt x="1043" y="1225"/>
                  <a:pt x="1041" y="1227"/>
                  <a:pt x="1039" y="1228"/>
                </a:cubicBezTo>
                <a:cubicBezTo>
                  <a:pt x="1039" y="1228"/>
                  <a:pt x="1038" y="1229"/>
                  <a:pt x="1038" y="1230"/>
                </a:cubicBezTo>
                <a:cubicBezTo>
                  <a:pt x="1039" y="1233"/>
                  <a:pt x="1038" y="1236"/>
                  <a:pt x="1037" y="1240"/>
                </a:cubicBezTo>
                <a:cubicBezTo>
                  <a:pt x="1037" y="1238"/>
                  <a:pt x="1038" y="1236"/>
                  <a:pt x="1038" y="1234"/>
                </a:cubicBezTo>
                <a:cubicBezTo>
                  <a:pt x="1038" y="1233"/>
                  <a:pt x="1037" y="1233"/>
                  <a:pt x="1037" y="1232"/>
                </a:cubicBezTo>
                <a:cubicBezTo>
                  <a:pt x="1036" y="1233"/>
                  <a:pt x="1036" y="1233"/>
                  <a:pt x="1036" y="1233"/>
                </a:cubicBezTo>
                <a:cubicBezTo>
                  <a:pt x="1035" y="1234"/>
                  <a:pt x="1034" y="1236"/>
                  <a:pt x="1033" y="1237"/>
                </a:cubicBezTo>
                <a:cubicBezTo>
                  <a:pt x="1033" y="1237"/>
                  <a:pt x="1033" y="1237"/>
                  <a:pt x="1033" y="1237"/>
                </a:cubicBezTo>
                <a:cubicBezTo>
                  <a:pt x="1033" y="1236"/>
                  <a:pt x="1034" y="1234"/>
                  <a:pt x="1034" y="1232"/>
                </a:cubicBezTo>
                <a:cubicBezTo>
                  <a:pt x="1033" y="1232"/>
                  <a:pt x="1032" y="1233"/>
                  <a:pt x="1032" y="1234"/>
                </a:cubicBezTo>
                <a:cubicBezTo>
                  <a:pt x="1031" y="1234"/>
                  <a:pt x="1031" y="1235"/>
                  <a:pt x="1030" y="1236"/>
                </a:cubicBezTo>
                <a:cubicBezTo>
                  <a:pt x="1031" y="1232"/>
                  <a:pt x="1031" y="1232"/>
                  <a:pt x="1037" y="1231"/>
                </a:cubicBezTo>
                <a:cubicBezTo>
                  <a:pt x="1037" y="1230"/>
                  <a:pt x="1036" y="1230"/>
                  <a:pt x="1036" y="1230"/>
                </a:cubicBezTo>
                <a:cubicBezTo>
                  <a:pt x="1033" y="1230"/>
                  <a:pt x="1032" y="1229"/>
                  <a:pt x="1032" y="1226"/>
                </a:cubicBezTo>
                <a:cubicBezTo>
                  <a:pt x="1034" y="1226"/>
                  <a:pt x="1035" y="1226"/>
                  <a:pt x="1037" y="1225"/>
                </a:cubicBezTo>
                <a:cubicBezTo>
                  <a:pt x="1035" y="1223"/>
                  <a:pt x="1034" y="1220"/>
                  <a:pt x="1030" y="1220"/>
                </a:cubicBezTo>
                <a:cubicBezTo>
                  <a:pt x="1030" y="1220"/>
                  <a:pt x="1030" y="1219"/>
                  <a:pt x="1030" y="1219"/>
                </a:cubicBezTo>
                <a:cubicBezTo>
                  <a:pt x="1027" y="1217"/>
                  <a:pt x="1025" y="1215"/>
                  <a:pt x="1022" y="1213"/>
                </a:cubicBezTo>
                <a:cubicBezTo>
                  <a:pt x="1020" y="1211"/>
                  <a:pt x="1017" y="1211"/>
                  <a:pt x="1015" y="1211"/>
                </a:cubicBezTo>
                <a:cubicBezTo>
                  <a:pt x="1012" y="1211"/>
                  <a:pt x="1008" y="1212"/>
                  <a:pt x="1005" y="1213"/>
                </a:cubicBezTo>
                <a:cubicBezTo>
                  <a:pt x="1002" y="1214"/>
                  <a:pt x="1000" y="1216"/>
                  <a:pt x="998" y="1219"/>
                </a:cubicBezTo>
                <a:cubicBezTo>
                  <a:pt x="1000" y="1219"/>
                  <a:pt x="1001" y="1219"/>
                  <a:pt x="1002" y="1219"/>
                </a:cubicBezTo>
                <a:cubicBezTo>
                  <a:pt x="1002" y="1219"/>
                  <a:pt x="1001" y="1220"/>
                  <a:pt x="1000" y="1220"/>
                </a:cubicBezTo>
                <a:cubicBezTo>
                  <a:pt x="998" y="1221"/>
                  <a:pt x="995" y="1220"/>
                  <a:pt x="993" y="1222"/>
                </a:cubicBezTo>
                <a:cubicBezTo>
                  <a:pt x="989" y="1226"/>
                  <a:pt x="985" y="1230"/>
                  <a:pt x="982" y="1234"/>
                </a:cubicBezTo>
                <a:cubicBezTo>
                  <a:pt x="980" y="1236"/>
                  <a:pt x="980" y="1238"/>
                  <a:pt x="978" y="1241"/>
                </a:cubicBezTo>
                <a:cubicBezTo>
                  <a:pt x="978" y="1241"/>
                  <a:pt x="978" y="1242"/>
                  <a:pt x="979" y="1242"/>
                </a:cubicBezTo>
                <a:cubicBezTo>
                  <a:pt x="980" y="1244"/>
                  <a:pt x="981" y="1246"/>
                  <a:pt x="983" y="1248"/>
                </a:cubicBezTo>
                <a:cubicBezTo>
                  <a:pt x="984" y="1247"/>
                  <a:pt x="985" y="1245"/>
                  <a:pt x="986" y="1244"/>
                </a:cubicBezTo>
                <a:cubicBezTo>
                  <a:pt x="986" y="1245"/>
                  <a:pt x="985" y="1246"/>
                  <a:pt x="985" y="1248"/>
                </a:cubicBezTo>
                <a:cubicBezTo>
                  <a:pt x="984" y="1249"/>
                  <a:pt x="983" y="1250"/>
                  <a:pt x="983" y="1252"/>
                </a:cubicBezTo>
                <a:cubicBezTo>
                  <a:pt x="982" y="1253"/>
                  <a:pt x="983" y="1254"/>
                  <a:pt x="983" y="1255"/>
                </a:cubicBezTo>
                <a:cubicBezTo>
                  <a:pt x="985" y="1258"/>
                  <a:pt x="989" y="1258"/>
                  <a:pt x="993" y="1256"/>
                </a:cubicBezTo>
                <a:cubicBezTo>
                  <a:pt x="995" y="1255"/>
                  <a:pt x="998" y="1253"/>
                  <a:pt x="1000" y="1253"/>
                </a:cubicBezTo>
                <a:cubicBezTo>
                  <a:pt x="1002" y="1252"/>
                  <a:pt x="1003" y="1251"/>
                  <a:pt x="1003" y="1250"/>
                </a:cubicBezTo>
                <a:cubicBezTo>
                  <a:pt x="1003" y="1247"/>
                  <a:pt x="1003" y="1243"/>
                  <a:pt x="1003" y="1240"/>
                </a:cubicBezTo>
                <a:cubicBezTo>
                  <a:pt x="1003" y="1237"/>
                  <a:pt x="1003" y="1234"/>
                  <a:pt x="1003" y="1231"/>
                </a:cubicBezTo>
                <a:cubicBezTo>
                  <a:pt x="1004" y="1234"/>
                  <a:pt x="1004" y="1236"/>
                  <a:pt x="1005" y="1239"/>
                </a:cubicBezTo>
                <a:cubicBezTo>
                  <a:pt x="1006" y="1244"/>
                  <a:pt x="1006" y="1248"/>
                  <a:pt x="1004" y="1252"/>
                </a:cubicBezTo>
                <a:cubicBezTo>
                  <a:pt x="1004" y="1253"/>
                  <a:pt x="1003" y="1254"/>
                  <a:pt x="1003" y="1254"/>
                </a:cubicBezTo>
                <a:cubicBezTo>
                  <a:pt x="999" y="1254"/>
                  <a:pt x="996" y="1256"/>
                  <a:pt x="993" y="1258"/>
                </a:cubicBezTo>
                <a:cubicBezTo>
                  <a:pt x="988" y="1261"/>
                  <a:pt x="984" y="1259"/>
                  <a:pt x="981" y="1255"/>
                </a:cubicBezTo>
                <a:cubicBezTo>
                  <a:pt x="980" y="1255"/>
                  <a:pt x="980" y="1253"/>
                  <a:pt x="981" y="1253"/>
                </a:cubicBezTo>
                <a:cubicBezTo>
                  <a:pt x="982" y="1251"/>
                  <a:pt x="981" y="1249"/>
                  <a:pt x="979" y="1247"/>
                </a:cubicBezTo>
                <a:cubicBezTo>
                  <a:pt x="978" y="1245"/>
                  <a:pt x="976" y="1242"/>
                  <a:pt x="977" y="1240"/>
                </a:cubicBezTo>
                <a:cubicBezTo>
                  <a:pt x="978" y="1238"/>
                  <a:pt x="979" y="1236"/>
                  <a:pt x="980" y="1234"/>
                </a:cubicBezTo>
                <a:cubicBezTo>
                  <a:pt x="982" y="1232"/>
                  <a:pt x="984" y="1229"/>
                  <a:pt x="986" y="1226"/>
                </a:cubicBezTo>
                <a:cubicBezTo>
                  <a:pt x="985" y="1226"/>
                  <a:pt x="985" y="1226"/>
                  <a:pt x="985" y="1226"/>
                </a:cubicBezTo>
                <a:cubicBezTo>
                  <a:pt x="980" y="1228"/>
                  <a:pt x="975" y="1229"/>
                  <a:pt x="971" y="1232"/>
                </a:cubicBezTo>
                <a:cubicBezTo>
                  <a:pt x="967" y="1237"/>
                  <a:pt x="964" y="1242"/>
                  <a:pt x="963" y="1249"/>
                </a:cubicBezTo>
                <a:cubicBezTo>
                  <a:pt x="963" y="1255"/>
                  <a:pt x="965" y="1261"/>
                  <a:pt x="969" y="1267"/>
                </a:cubicBezTo>
                <a:cubicBezTo>
                  <a:pt x="969" y="1268"/>
                  <a:pt x="970" y="1270"/>
                  <a:pt x="970" y="1271"/>
                </a:cubicBezTo>
                <a:cubicBezTo>
                  <a:pt x="970" y="1272"/>
                  <a:pt x="969" y="1274"/>
                  <a:pt x="969" y="1275"/>
                </a:cubicBezTo>
                <a:cubicBezTo>
                  <a:pt x="968" y="1277"/>
                  <a:pt x="969" y="1278"/>
                  <a:pt x="970" y="1278"/>
                </a:cubicBezTo>
                <a:cubicBezTo>
                  <a:pt x="973" y="1279"/>
                  <a:pt x="976" y="1280"/>
                  <a:pt x="978" y="1280"/>
                </a:cubicBezTo>
                <a:cubicBezTo>
                  <a:pt x="979" y="1280"/>
                  <a:pt x="980" y="1279"/>
                  <a:pt x="980" y="1279"/>
                </a:cubicBezTo>
                <a:cubicBezTo>
                  <a:pt x="980" y="1278"/>
                  <a:pt x="980" y="1276"/>
                  <a:pt x="981" y="1275"/>
                </a:cubicBezTo>
                <a:cubicBezTo>
                  <a:pt x="983" y="1273"/>
                  <a:pt x="983" y="1270"/>
                  <a:pt x="983" y="1267"/>
                </a:cubicBezTo>
                <a:cubicBezTo>
                  <a:pt x="983" y="1267"/>
                  <a:pt x="983" y="1266"/>
                  <a:pt x="983" y="1266"/>
                </a:cubicBezTo>
                <a:cubicBezTo>
                  <a:pt x="983" y="1266"/>
                  <a:pt x="983" y="1266"/>
                  <a:pt x="983" y="1265"/>
                </a:cubicBezTo>
                <a:cubicBezTo>
                  <a:pt x="984" y="1268"/>
                  <a:pt x="985" y="1268"/>
                  <a:pt x="987" y="1268"/>
                </a:cubicBezTo>
                <a:cubicBezTo>
                  <a:pt x="988" y="1268"/>
                  <a:pt x="989" y="1268"/>
                  <a:pt x="990" y="1268"/>
                </a:cubicBezTo>
                <a:cubicBezTo>
                  <a:pt x="992" y="1268"/>
                  <a:pt x="995" y="1269"/>
                  <a:pt x="996" y="1264"/>
                </a:cubicBezTo>
                <a:cubicBezTo>
                  <a:pt x="996" y="1267"/>
                  <a:pt x="996" y="1268"/>
                  <a:pt x="996" y="1269"/>
                </a:cubicBezTo>
                <a:cubicBezTo>
                  <a:pt x="995" y="1270"/>
                  <a:pt x="993" y="1271"/>
                  <a:pt x="992" y="1271"/>
                </a:cubicBezTo>
                <a:cubicBezTo>
                  <a:pt x="991" y="1272"/>
                  <a:pt x="990" y="1274"/>
                  <a:pt x="991" y="1274"/>
                </a:cubicBezTo>
                <a:cubicBezTo>
                  <a:pt x="992" y="1277"/>
                  <a:pt x="993" y="1279"/>
                  <a:pt x="995" y="1281"/>
                </a:cubicBezTo>
                <a:cubicBezTo>
                  <a:pt x="997" y="1282"/>
                  <a:pt x="998" y="1282"/>
                  <a:pt x="1000" y="1280"/>
                </a:cubicBezTo>
                <a:cubicBezTo>
                  <a:pt x="1000" y="1279"/>
                  <a:pt x="1001" y="1278"/>
                  <a:pt x="1002" y="1278"/>
                </a:cubicBezTo>
                <a:cubicBezTo>
                  <a:pt x="1004" y="1276"/>
                  <a:pt x="1005" y="1275"/>
                  <a:pt x="1007" y="1274"/>
                </a:cubicBezTo>
                <a:cubicBezTo>
                  <a:pt x="1011" y="1270"/>
                  <a:pt x="1013" y="1264"/>
                  <a:pt x="1015" y="1258"/>
                </a:cubicBezTo>
                <a:cubicBezTo>
                  <a:pt x="1015" y="1257"/>
                  <a:pt x="1014" y="1257"/>
                  <a:pt x="1013" y="1256"/>
                </a:cubicBezTo>
                <a:cubicBezTo>
                  <a:pt x="1013" y="1255"/>
                  <a:pt x="1012" y="1254"/>
                  <a:pt x="1010" y="1253"/>
                </a:cubicBezTo>
                <a:close/>
                <a:moveTo>
                  <a:pt x="963" y="1260"/>
                </a:moveTo>
                <a:cubicBezTo>
                  <a:pt x="962" y="1261"/>
                  <a:pt x="961" y="1261"/>
                  <a:pt x="959" y="1263"/>
                </a:cubicBezTo>
                <a:cubicBezTo>
                  <a:pt x="959" y="1263"/>
                  <a:pt x="959" y="1264"/>
                  <a:pt x="959" y="1264"/>
                </a:cubicBezTo>
                <a:cubicBezTo>
                  <a:pt x="959" y="1267"/>
                  <a:pt x="963" y="1272"/>
                  <a:pt x="966" y="1271"/>
                </a:cubicBezTo>
                <a:cubicBezTo>
                  <a:pt x="968" y="1271"/>
                  <a:pt x="969" y="1270"/>
                  <a:pt x="968" y="1268"/>
                </a:cubicBezTo>
                <a:cubicBezTo>
                  <a:pt x="966" y="1265"/>
                  <a:pt x="965" y="1263"/>
                  <a:pt x="963" y="1260"/>
                </a:cubicBezTo>
                <a:close/>
                <a:moveTo>
                  <a:pt x="1016" y="1262"/>
                </a:moveTo>
                <a:cubicBezTo>
                  <a:pt x="1013" y="1266"/>
                  <a:pt x="1011" y="1271"/>
                  <a:pt x="1009" y="1275"/>
                </a:cubicBezTo>
                <a:cubicBezTo>
                  <a:pt x="1012" y="1275"/>
                  <a:pt x="1014" y="1276"/>
                  <a:pt x="1017" y="1275"/>
                </a:cubicBezTo>
                <a:cubicBezTo>
                  <a:pt x="1017" y="1275"/>
                  <a:pt x="1017" y="1274"/>
                  <a:pt x="1017" y="1274"/>
                </a:cubicBezTo>
                <a:cubicBezTo>
                  <a:pt x="1017" y="1271"/>
                  <a:pt x="1017" y="1268"/>
                  <a:pt x="1017" y="1266"/>
                </a:cubicBezTo>
                <a:cubicBezTo>
                  <a:pt x="1017" y="1264"/>
                  <a:pt x="1016" y="1263"/>
                  <a:pt x="1016" y="1262"/>
                </a:cubicBezTo>
                <a:close/>
                <a:moveTo>
                  <a:pt x="963" y="1242"/>
                </a:moveTo>
                <a:cubicBezTo>
                  <a:pt x="962" y="1242"/>
                  <a:pt x="961" y="1242"/>
                  <a:pt x="961" y="1242"/>
                </a:cubicBezTo>
                <a:cubicBezTo>
                  <a:pt x="960" y="1242"/>
                  <a:pt x="959" y="1242"/>
                  <a:pt x="959" y="1242"/>
                </a:cubicBezTo>
                <a:cubicBezTo>
                  <a:pt x="959" y="1242"/>
                  <a:pt x="959" y="1241"/>
                  <a:pt x="959" y="1240"/>
                </a:cubicBezTo>
                <a:cubicBezTo>
                  <a:pt x="959" y="1238"/>
                  <a:pt x="960" y="1236"/>
                  <a:pt x="961" y="1234"/>
                </a:cubicBezTo>
                <a:cubicBezTo>
                  <a:pt x="960" y="1234"/>
                  <a:pt x="960" y="1234"/>
                  <a:pt x="960" y="1234"/>
                </a:cubicBezTo>
                <a:cubicBezTo>
                  <a:pt x="959" y="1235"/>
                  <a:pt x="958" y="1236"/>
                  <a:pt x="957" y="1237"/>
                </a:cubicBezTo>
                <a:cubicBezTo>
                  <a:pt x="956" y="1238"/>
                  <a:pt x="958" y="1243"/>
                  <a:pt x="959" y="1244"/>
                </a:cubicBezTo>
                <a:cubicBezTo>
                  <a:pt x="961" y="1245"/>
                  <a:pt x="963" y="1244"/>
                  <a:pt x="963" y="1242"/>
                </a:cubicBezTo>
                <a:close/>
                <a:moveTo>
                  <a:pt x="963" y="1259"/>
                </a:moveTo>
                <a:cubicBezTo>
                  <a:pt x="962" y="1260"/>
                  <a:pt x="961" y="1261"/>
                  <a:pt x="960" y="1262"/>
                </a:cubicBezTo>
                <a:cubicBezTo>
                  <a:pt x="959" y="1263"/>
                  <a:pt x="959" y="1263"/>
                  <a:pt x="959" y="1264"/>
                </a:cubicBezTo>
                <a:cubicBezTo>
                  <a:pt x="959" y="1267"/>
                  <a:pt x="963" y="1271"/>
                  <a:pt x="966" y="1271"/>
                </a:cubicBezTo>
                <a:cubicBezTo>
                  <a:pt x="968" y="1271"/>
                  <a:pt x="968" y="1270"/>
                  <a:pt x="968" y="1268"/>
                </a:cubicBezTo>
                <a:cubicBezTo>
                  <a:pt x="966" y="1265"/>
                  <a:pt x="965" y="1262"/>
                  <a:pt x="963" y="1259"/>
                </a:cubicBezTo>
                <a:close/>
                <a:moveTo>
                  <a:pt x="1016" y="1261"/>
                </a:moveTo>
                <a:cubicBezTo>
                  <a:pt x="1014" y="1266"/>
                  <a:pt x="1011" y="1270"/>
                  <a:pt x="1009" y="1275"/>
                </a:cubicBezTo>
                <a:cubicBezTo>
                  <a:pt x="1012" y="1275"/>
                  <a:pt x="1014" y="1275"/>
                  <a:pt x="1017" y="1275"/>
                </a:cubicBezTo>
                <a:cubicBezTo>
                  <a:pt x="1017" y="1275"/>
                  <a:pt x="1017" y="1274"/>
                  <a:pt x="1017" y="1273"/>
                </a:cubicBezTo>
                <a:cubicBezTo>
                  <a:pt x="1017" y="1270"/>
                  <a:pt x="1017" y="1268"/>
                  <a:pt x="1017" y="1266"/>
                </a:cubicBezTo>
                <a:cubicBezTo>
                  <a:pt x="1017" y="1264"/>
                  <a:pt x="1016" y="1263"/>
                  <a:pt x="1016" y="1261"/>
                </a:cubicBezTo>
                <a:close/>
                <a:moveTo>
                  <a:pt x="963" y="1241"/>
                </a:moveTo>
                <a:cubicBezTo>
                  <a:pt x="962" y="1242"/>
                  <a:pt x="962" y="1242"/>
                  <a:pt x="961" y="1242"/>
                </a:cubicBezTo>
                <a:cubicBezTo>
                  <a:pt x="960" y="1242"/>
                  <a:pt x="960" y="1242"/>
                  <a:pt x="960" y="1242"/>
                </a:cubicBezTo>
                <a:cubicBezTo>
                  <a:pt x="959" y="1241"/>
                  <a:pt x="959" y="1241"/>
                  <a:pt x="959" y="1240"/>
                </a:cubicBezTo>
                <a:cubicBezTo>
                  <a:pt x="960" y="1238"/>
                  <a:pt x="960" y="1236"/>
                  <a:pt x="961" y="1234"/>
                </a:cubicBezTo>
                <a:cubicBezTo>
                  <a:pt x="960" y="1234"/>
                  <a:pt x="960" y="1234"/>
                  <a:pt x="960" y="1234"/>
                </a:cubicBezTo>
                <a:cubicBezTo>
                  <a:pt x="959" y="1235"/>
                  <a:pt x="958" y="1236"/>
                  <a:pt x="957" y="1237"/>
                </a:cubicBezTo>
                <a:cubicBezTo>
                  <a:pt x="956" y="1238"/>
                  <a:pt x="958" y="1243"/>
                  <a:pt x="960" y="1244"/>
                </a:cubicBezTo>
                <a:cubicBezTo>
                  <a:pt x="961" y="1245"/>
                  <a:pt x="963" y="1243"/>
                  <a:pt x="963" y="1241"/>
                </a:cubicBezTo>
                <a:close/>
                <a:moveTo>
                  <a:pt x="1016" y="1233"/>
                </a:moveTo>
                <a:cubicBezTo>
                  <a:pt x="1019" y="1229"/>
                  <a:pt x="1019" y="1229"/>
                  <a:pt x="1022" y="1228"/>
                </a:cubicBezTo>
                <a:cubicBezTo>
                  <a:pt x="1022" y="1230"/>
                  <a:pt x="1024" y="1231"/>
                  <a:pt x="1025" y="1231"/>
                </a:cubicBezTo>
                <a:cubicBezTo>
                  <a:pt x="1023" y="1233"/>
                  <a:pt x="1021" y="1234"/>
                  <a:pt x="1019" y="1235"/>
                </a:cubicBezTo>
                <a:cubicBezTo>
                  <a:pt x="1018" y="1235"/>
                  <a:pt x="1018" y="1234"/>
                  <a:pt x="1017" y="1233"/>
                </a:cubicBezTo>
                <a:cubicBezTo>
                  <a:pt x="1017" y="1233"/>
                  <a:pt x="1016" y="1233"/>
                  <a:pt x="1016" y="1233"/>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003" y="1223"/>
                </a:moveTo>
                <a:cubicBezTo>
                  <a:pt x="996" y="1222"/>
                  <a:pt x="993" y="1225"/>
                  <a:pt x="992" y="1233"/>
                </a:cubicBezTo>
                <a:cubicBezTo>
                  <a:pt x="993" y="1231"/>
                  <a:pt x="994" y="1228"/>
                  <a:pt x="996" y="1226"/>
                </a:cubicBezTo>
                <a:cubicBezTo>
                  <a:pt x="996" y="1226"/>
                  <a:pt x="996" y="1226"/>
                  <a:pt x="996" y="1226"/>
                </a:cubicBezTo>
                <a:cubicBezTo>
                  <a:pt x="996" y="1227"/>
                  <a:pt x="996" y="1228"/>
                  <a:pt x="996" y="1229"/>
                </a:cubicBezTo>
                <a:cubicBezTo>
                  <a:pt x="997" y="1226"/>
                  <a:pt x="999" y="1224"/>
                  <a:pt x="1003" y="1223"/>
                </a:cubicBezTo>
                <a:close/>
                <a:moveTo>
                  <a:pt x="1046" y="1225"/>
                </a:moveTo>
                <a:cubicBezTo>
                  <a:pt x="1044" y="1226"/>
                  <a:pt x="1042" y="1228"/>
                  <a:pt x="1040" y="1229"/>
                </a:cubicBezTo>
                <a:cubicBezTo>
                  <a:pt x="1043" y="1229"/>
                  <a:pt x="1045" y="1228"/>
                  <a:pt x="1046" y="1225"/>
                </a:cubicBezTo>
                <a:close/>
                <a:moveTo>
                  <a:pt x="1013" y="1227"/>
                </a:moveTo>
                <a:cubicBezTo>
                  <a:pt x="1014" y="1226"/>
                  <a:pt x="1015" y="1224"/>
                  <a:pt x="1016" y="1223"/>
                </a:cubicBezTo>
                <a:cubicBezTo>
                  <a:pt x="1013" y="1224"/>
                  <a:pt x="1012" y="1225"/>
                  <a:pt x="1013" y="1227"/>
                </a:cubicBezTo>
                <a:close/>
                <a:moveTo>
                  <a:pt x="1023" y="1248"/>
                </a:moveTo>
                <a:cubicBezTo>
                  <a:pt x="1021" y="1248"/>
                  <a:pt x="1020" y="1249"/>
                  <a:pt x="1020" y="1250"/>
                </a:cubicBezTo>
                <a:cubicBezTo>
                  <a:pt x="1020" y="1249"/>
                  <a:pt x="1022" y="1249"/>
                  <a:pt x="1023" y="1248"/>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546" y="1354"/>
                </a:moveTo>
                <a:cubicBezTo>
                  <a:pt x="1546" y="1355"/>
                  <a:pt x="1547" y="1357"/>
                  <a:pt x="1547" y="1358"/>
                </a:cubicBezTo>
                <a:cubicBezTo>
                  <a:pt x="1548" y="1360"/>
                  <a:pt x="1548" y="1362"/>
                  <a:pt x="1549" y="1363"/>
                </a:cubicBezTo>
                <a:cubicBezTo>
                  <a:pt x="1549" y="1365"/>
                  <a:pt x="1549" y="1366"/>
                  <a:pt x="1549" y="1368"/>
                </a:cubicBezTo>
                <a:cubicBezTo>
                  <a:pt x="1550" y="1371"/>
                  <a:pt x="1549" y="1373"/>
                  <a:pt x="1545" y="1373"/>
                </a:cubicBezTo>
                <a:cubicBezTo>
                  <a:pt x="1543" y="1373"/>
                  <a:pt x="1540" y="1372"/>
                  <a:pt x="1537" y="1372"/>
                </a:cubicBezTo>
                <a:cubicBezTo>
                  <a:pt x="1537" y="1372"/>
                  <a:pt x="1536" y="1372"/>
                  <a:pt x="1536" y="1373"/>
                </a:cubicBezTo>
                <a:cubicBezTo>
                  <a:pt x="1534" y="1374"/>
                  <a:pt x="1532" y="1376"/>
                  <a:pt x="1531" y="1377"/>
                </a:cubicBezTo>
                <a:cubicBezTo>
                  <a:pt x="1529" y="1379"/>
                  <a:pt x="1526" y="1380"/>
                  <a:pt x="1524" y="1378"/>
                </a:cubicBezTo>
                <a:cubicBezTo>
                  <a:pt x="1522" y="1376"/>
                  <a:pt x="1521" y="1373"/>
                  <a:pt x="1519" y="1370"/>
                </a:cubicBezTo>
                <a:cubicBezTo>
                  <a:pt x="1518" y="1369"/>
                  <a:pt x="1519" y="1367"/>
                  <a:pt x="1521" y="1366"/>
                </a:cubicBezTo>
                <a:cubicBezTo>
                  <a:pt x="1518" y="1366"/>
                  <a:pt x="1517" y="1366"/>
                  <a:pt x="1515" y="1366"/>
                </a:cubicBezTo>
                <a:cubicBezTo>
                  <a:pt x="1514" y="1368"/>
                  <a:pt x="1513" y="1370"/>
                  <a:pt x="1512" y="1372"/>
                </a:cubicBezTo>
                <a:cubicBezTo>
                  <a:pt x="1512" y="1372"/>
                  <a:pt x="1512" y="1373"/>
                  <a:pt x="1512" y="1374"/>
                </a:cubicBezTo>
                <a:cubicBezTo>
                  <a:pt x="1512" y="1377"/>
                  <a:pt x="1511" y="1378"/>
                  <a:pt x="1508" y="1378"/>
                </a:cubicBezTo>
                <a:cubicBezTo>
                  <a:pt x="1504" y="1378"/>
                  <a:pt x="1502" y="1377"/>
                  <a:pt x="1498" y="1376"/>
                </a:cubicBezTo>
                <a:cubicBezTo>
                  <a:pt x="1496" y="1375"/>
                  <a:pt x="1496" y="1374"/>
                  <a:pt x="1496" y="1372"/>
                </a:cubicBezTo>
                <a:cubicBezTo>
                  <a:pt x="1497" y="1371"/>
                  <a:pt x="1497" y="1370"/>
                  <a:pt x="1497" y="1370"/>
                </a:cubicBezTo>
                <a:cubicBezTo>
                  <a:pt x="1495" y="1369"/>
                  <a:pt x="1493" y="1368"/>
                  <a:pt x="1491" y="1366"/>
                </a:cubicBezTo>
                <a:cubicBezTo>
                  <a:pt x="1489" y="1366"/>
                  <a:pt x="1488" y="1364"/>
                  <a:pt x="1487" y="1362"/>
                </a:cubicBezTo>
                <a:cubicBezTo>
                  <a:pt x="1487" y="1360"/>
                  <a:pt x="1487" y="1359"/>
                  <a:pt x="1489" y="1357"/>
                </a:cubicBezTo>
                <a:cubicBezTo>
                  <a:pt x="1492" y="1355"/>
                  <a:pt x="1493" y="1352"/>
                  <a:pt x="1492" y="1348"/>
                </a:cubicBezTo>
                <a:cubicBezTo>
                  <a:pt x="1492" y="1346"/>
                  <a:pt x="1492" y="1343"/>
                  <a:pt x="1492" y="1342"/>
                </a:cubicBezTo>
                <a:cubicBezTo>
                  <a:pt x="1491" y="1341"/>
                  <a:pt x="1489" y="1341"/>
                  <a:pt x="1488" y="1340"/>
                </a:cubicBezTo>
                <a:cubicBezTo>
                  <a:pt x="1487" y="1338"/>
                  <a:pt x="1486" y="1336"/>
                  <a:pt x="1486" y="1334"/>
                </a:cubicBezTo>
                <a:cubicBezTo>
                  <a:pt x="1485" y="1331"/>
                  <a:pt x="1489" y="1328"/>
                  <a:pt x="1492" y="1328"/>
                </a:cubicBezTo>
                <a:cubicBezTo>
                  <a:pt x="1492" y="1328"/>
                  <a:pt x="1492" y="1329"/>
                  <a:pt x="1493" y="1330"/>
                </a:cubicBezTo>
                <a:cubicBezTo>
                  <a:pt x="1493" y="1331"/>
                  <a:pt x="1493" y="1332"/>
                  <a:pt x="1493" y="1333"/>
                </a:cubicBezTo>
                <a:cubicBezTo>
                  <a:pt x="1492" y="1333"/>
                  <a:pt x="1492" y="1333"/>
                  <a:pt x="1491" y="1333"/>
                </a:cubicBezTo>
                <a:cubicBezTo>
                  <a:pt x="1491" y="1334"/>
                  <a:pt x="1491" y="1335"/>
                  <a:pt x="1490" y="1337"/>
                </a:cubicBezTo>
                <a:cubicBezTo>
                  <a:pt x="1491" y="1337"/>
                  <a:pt x="1492" y="1337"/>
                  <a:pt x="1492" y="1336"/>
                </a:cubicBezTo>
                <a:cubicBezTo>
                  <a:pt x="1493" y="1335"/>
                  <a:pt x="1494" y="1334"/>
                  <a:pt x="1495" y="1333"/>
                </a:cubicBezTo>
                <a:cubicBezTo>
                  <a:pt x="1499" y="1326"/>
                  <a:pt x="1505" y="1322"/>
                  <a:pt x="1513" y="1321"/>
                </a:cubicBezTo>
                <a:cubicBezTo>
                  <a:pt x="1516" y="1320"/>
                  <a:pt x="1519" y="1319"/>
                  <a:pt x="1522" y="1317"/>
                </a:cubicBezTo>
                <a:cubicBezTo>
                  <a:pt x="1522" y="1316"/>
                  <a:pt x="1523" y="1316"/>
                  <a:pt x="1523" y="1316"/>
                </a:cubicBezTo>
                <a:cubicBezTo>
                  <a:pt x="1526" y="1315"/>
                  <a:pt x="1527" y="1313"/>
                  <a:pt x="1529" y="1311"/>
                </a:cubicBezTo>
                <a:cubicBezTo>
                  <a:pt x="1537" y="1303"/>
                  <a:pt x="1549" y="1303"/>
                  <a:pt x="1556" y="1310"/>
                </a:cubicBezTo>
                <a:cubicBezTo>
                  <a:pt x="1559" y="1312"/>
                  <a:pt x="1562" y="1314"/>
                  <a:pt x="1564" y="1316"/>
                </a:cubicBezTo>
                <a:cubicBezTo>
                  <a:pt x="1565" y="1317"/>
                  <a:pt x="1567" y="1319"/>
                  <a:pt x="1568" y="1320"/>
                </a:cubicBezTo>
                <a:cubicBezTo>
                  <a:pt x="1569" y="1322"/>
                  <a:pt x="1569" y="1322"/>
                  <a:pt x="1571" y="1321"/>
                </a:cubicBezTo>
                <a:cubicBezTo>
                  <a:pt x="1571" y="1320"/>
                  <a:pt x="1572" y="1320"/>
                  <a:pt x="1573" y="1319"/>
                </a:cubicBezTo>
                <a:cubicBezTo>
                  <a:pt x="1575" y="1316"/>
                  <a:pt x="1578" y="1316"/>
                  <a:pt x="1579" y="1319"/>
                </a:cubicBezTo>
                <a:cubicBezTo>
                  <a:pt x="1580" y="1322"/>
                  <a:pt x="1581" y="1325"/>
                  <a:pt x="1582" y="1328"/>
                </a:cubicBezTo>
                <a:cubicBezTo>
                  <a:pt x="1582" y="1333"/>
                  <a:pt x="1582" y="1337"/>
                  <a:pt x="1580" y="1341"/>
                </a:cubicBezTo>
                <a:cubicBezTo>
                  <a:pt x="1578" y="1348"/>
                  <a:pt x="1573" y="1351"/>
                  <a:pt x="1567" y="1351"/>
                </a:cubicBezTo>
                <a:cubicBezTo>
                  <a:pt x="1566" y="1351"/>
                  <a:pt x="1565" y="1351"/>
                  <a:pt x="1565" y="1351"/>
                </a:cubicBezTo>
                <a:cubicBezTo>
                  <a:pt x="1562" y="1351"/>
                  <a:pt x="1561" y="1351"/>
                  <a:pt x="1560" y="1354"/>
                </a:cubicBezTo>
                <a:cubicBezTo>
                  <a:pt x="1559" y="1358"/>
                  <a:pt x="1553" y="1360"/>
                  <a:pt x="1550" y="1357"/>
                </a:cubicBezTo>
                <a:cubicBezTo>
                  <a:pt x="1549" y="1355"/>
                  <a:pt x="1548" y="1355"/>
                  <a:pt x="1547" y="1353"/>
                </a:cubicBezTo>
                <a:cubicBezTo>
                  <a:pt x="1546" y="1354"/>
                  <a:pt x="1546" y="1354"/>
                  <a:pt x="1546" y="1354"/>
                </a:cubicBezTo>
                <a:close/>
                <a:moveTo>
                  <a:pt x="1540" y="1349"/>
                </a:moveTo>
                <a:cubicBezTo>
                  <a:pt x="1544" y="1351"/>
                  <a:pt x="1547" y="1352"/>
                  <a:pt x="1550" y="1355"/>
                </a:cubicBezTo>
                <a:cubicBezTo>
                  <a:pt x="1552" y="1357"/>
                  <a:pt x="1554" y="1357"/>
                  <a:pt x="1556" y="1357"/>
                </a:cubicBezTo>
                <a:cubicBezTo>
                  <a:pt x="1558" y="1356"/>
                  <a:pt x="1560" y="1354"/>
                  <a:pt x="1560" y="1351"/>
                </a:cubicBezTo>
                <a:cubicBezTo>
                  <a:pt x="1560" y="1351"/>
                  <a:pt x="1559" y="1351"/>
                  <a:pt x="1559" y="1351"/>
                </a:cubicBezTo>
                <a:cubicBezTo>
                  <a:pt x="1558" y="1353"/>
                  <a:pt x="1557" y="1354"/>
                  <a:pt x="1556" y="1355"/>
                </a:cubicBezTo>
                <a:cubicBezTo>
                  <a:pt x="1555" y="1356"/>
                  <a:pt x="1554" y="1356"/>
                  <a:pt x="1553" y="1355"/>
                </a:cubicBezTo>
                <a:cubicBezTo>
                  <a:pt x="1552" y="1355"/>
                  <a:pt x="1552" y="1354"/>
                  <a:pt x="1552" y="1353"/>
                </a:cubicBezTo>
                <a:cubicBezTo>
                  <a:pt x="1552" y="1351"/>
                  <a:pt x="1552" y="1349"/>
                  <a:pt x="1553" y="1347"/>
                </a:cubicBezTo>
                <a:cubicBezTo>
                  <a:pt x="1556" y="1348"/>
                  <a:pt x="1559" y="1349"/>
                  <a:pt x="1563" y="1349"/>
                </a:cubicBezTo>
                <a:cubicBezTo>
                  <a:pt x="1570" y="1351"/>
                  <a:pt x="1576" y="1349"/>
                  <a:pt x="1579" y="1340"/>
                </a:cubicBezTo>
                <a:cubicBezTo>
                  <a:pt x="1581" y="1336"/>
                  <a:pt x="1580" y="1331"/>
                  <a:pt x="1580" y="1326"/>
                </a:cubicBezTo>
                <a:cubicBezTo>
                  <a:pt x="1579" y="1324"/>
                  <a:pt x="1578" y="1322"/>
                  <a:pt x="1578" y="1320"/>
                </a:cubicBezTo>
                <a:cubicBezTo>
                  <a:pt x="1577" y="1319"/>
                  <a:pt x="1576" y="1318"/>
                  <a:pt x="1575" y="1320"/>
                </a:cubicBezTo>
                <a:cubicBezTo>
                  <a:pt x="1573" y="1321"/>
                  <a:pt x="1571" y="1323"/>
                  <a:pt x="1569" y="1324"/>
                </a:cubicBezTo>
                <a:cubicBezTo>
                  <a:pt x="1569" y="1324"/>
                  <a:pt x="1568" y="1325"/>
                  <a:pt x="1568" y="1326"/>
                </a:cubicBezTo>
                <a:cubicBezTo>
                  <a:pt x="1569" y="1329"/>
                  <a:pt x="1568" y="1332"/>
                  <a:pt x="1567" y="1336"/>
                </a:cubicBezTo>
                <a:cubicBezTo>
                  <a:pt x="1567" y="1334"/>
                  <a:pt x="1567" y="1332"/>
                  <a:pt x="1567" y="1330"/>
                </a:cubicBezTo>
                <a:cubicBezTo>
                  <a:pt x="1567" y="1329"/>
                  <a:pt x="1567" y="1329"/>
                  <a:pt x="1567" y="1328"/>
                </a:cubicBezTo>
                <a:cubicBezTo>
                  <a:pt x="1566" y="1329"/>
                  <a:pt x="1565" y="1329"/>
                  <a:pt x="1565" y="1329"/>
                </a:cubicBezTo>
                <a:cubicBezTo>
                  <a:pt x="1565" y="1330"/>
                  <a:pt x="1564" y="1332"/>
                  <a:pt x="1563" y="1333"/>
                </a:cubicBezTo>
                <a:cubicBezTo>
                  <a:pt x="1563" y="1333"/>
                  <a:pt x="1563" y="1333"/>
                  <a:pt x="1563" y="1333"/>
                </a:cubicBezTo>
                <a:cubicBezTo>
                  <a:pt x="1563" y="1332"/>
                  <a:pt x="1563" y="1330"/>
                  <a:pt x="1564" y="1328"/>
                </a:cubicBezTo>
                <a:cubicBezTo>
                  <a:pt x="1563" y="1328"/>
                  <a:pt x="1562" y="1329"/>
                  <a:pt x="1562" y="1330"/>
                </a:cubicBezTo>
                <a:cubicBezTo>
                  <a:pt x="1561" y="1330"/>
                  <a:pt x="1561" y="1331"/>
                  <a:pt x="1560" y="1332"/>
                </a:cubicBezTo>
                <a:cubicBezTo>
                  <a:pt x="1561" y="1328"/>
                  <a:pt x="1561" y="1328"/>
                  <a:pt x="1567" y="1327"/>
                </a:cubicBezTo>
                <a:cubicBezTo>
                  <a:pt x="1567" y="1326"/>
                  <a:pt x="1566" y="1326"/>
                  <a:pt x="1566" y="1326"/>
                </a:cubicBezTo>
                <a:cubicBezTo>
                  <a:pt x="1563" y="1326"/>
                  <a:pt x="1562" y="1325"/>
                  <a:pt x="1562" y="1322"/>
                </a:cubicBezTo>
                <a:cubicBezTo>
                  <a:pt x="1563" y="1322"/>
                  <a:pt x="1565" y="1322"/>
                  <a:pt x="1567" y="1321"/>
                </a:cubicBezTo>
                <a:cubicBezTo>
                  <a:pt x="1565" y="1319"/>
                  <a:pt x="1563" y="1316"/>
                  <a:pt x="1560" y="1316"/>
                </a:cubicBezTo>
                <a:cubicBezTo>
                  <a:pt x="1560" y="1316"/>
                  <a:pt x="1560" y="1315"/>
                  <a:pt x="1560" y="1315"/>
                </a:cubicBezTo>
                <a:cubicBezTo>
                  <a:pt x="1557" y="1313"/>
                  <a:pt x="1555" y="1311"/>
                  <a:pt x="1552" y="1309"/>
                </a:cubicBezTo>
                <a:cubicBezTo>
                  <a:pt x="1550" y="1307"/>
                  <a:pt x="1547" y="1307"/>
                  <a:pt x="1545" y="1307"/>
                </a:cubicBezTo>
                <a:cubicBezTo>
                  <a:pt x="1541" y="1307"/>
                  <a:pt x="1538" y="1308"/>
                  <a:pt x="1535" y="1309"/>
                </a:cubicBezTo>
                <a:cubicBezTo>
                  <a:pt x="1532" y="1310"/>
                  <a:pt x="1530" y="1312"/>
                  <a:pt x="1528" y="1315"/>
                </a:cubicBezTo>
                <a:cubicBezTo>
                  <a:pt x="1530" y="1315"/>
                  <a:pt x="1531" y="1315"/>
                  <a:pt x="1532" y="1315"/>
                </a:cubicBezTo>
                <a:cubicBezTo>
                  <a:pt x="1532" y="1315"/>
                  <a:pt x="1531" y="1316"/>
                  <a:pt x="1530" y="1316"/>
                </a:cubicBezTo>
                <a:cubicBezTo>
                  <a:pt x="1528" y="1317"/>
                  <a:pt x="1525" y="1316"/>
                  <a:pt x="1523" y="1318"/>
                </a:cubicBezTo>
                <a:cubicBezTo>
                  <a:pt x="1519" y="1322"/>
                  <a:pt x="1515" y="1326"/>
                  <a:pt x="1512" y="1330"/>
                </a:cubicBezTo>
                <a:cubicBezTo>
                  <a:pt x="1510" y="1332"/>
                  <a:pt x="1509" y="1334"/>
                  <a:pt x="1508" y="1337"/>
                </a:cubicBezTo>
                <a:cubicBezTo>
                  <a:pt x="1508" y="1337"/>
                  <a:pt x="1508" y="1338"/>
                  <a:pt x="1509" y="1338"/>
                </a:cubicBezTo>
                <a:cubicBezTo>
                  <a:pt x="1510" y="1340"/>
                  <a:pt x="1511" y="1342"/>
                  <a:pt x="1513" y="1344"/>
                </a:cubicBezTo>
                <a:cubicBezTo>
                  <a:pt x="1514" y="1343"/>
                  <a:pt x="1515" y="1341"/>
                  <a:pt x="1516" y="1340"/>
                </a:cubicBezTo>
                <a:cubicBezTo>
                  <a:pt x="1516" y="1341"/>
                  <a:pt x="1515" y="1342"/>
                  <a:pt x="1515" y="1344"/>
                </a:cubicBezTo>
                <a:cubicBezTo>
                  <a:pt x="1514" y="1345"/>
                  <a:pt x="1513" y="1346"/>
                  <a:pt x="1513" y="1348"/>
                </a:cubicBezTo>
                <a:cubicBezTo>
                  <a:pt x="1512" y="1349"/>
                  <a:pt x="1513" y="1350"/>
                  <a:pt x="1513" y="1351"/>
                </a:cubicBezTo>
                <a:cubicBezTo>
                  <a:pt x="1515" y="1354"/>
                  <a:pt x="1519" y="1354"/>
                  <a:pt x="1523" y="1352"/>
                </a:cubicBezTo>
                <a:cubicBezTo>
                  <a:pt x="1525" y="1351"/>
                  <a:pt x="1528" y="1349"/>
                  <a:pt x="1530" y="1349"/>
                </a:cubicBezTo>
                <a:cubicBezTo>
                  <a:pt x="1532" y="1348"/>
                  <a:pt x="1533" y="1347"/>
                  <a:pt x="1533" y="1346"/>
                </a:cubicBezTo>
                <a:cubicBezTo>
                  <a:pt x="1533" y="1343"/>
                  <a:pt x="1533" y="1339"/>
                  <a:pt x="1533" y="1336"/>
                </a:cubicBezTo>
                <a:cubicBezTo>
                  <a:pt x="1533" y="1333"/>
                  <a:pt x="1533" y="1330"/>
                  <a:pt x="1533" y="1327"/>
                </a:cubicBezTo>
                <a:cubicBezTo>
                  <a:pt x="1534" y="1330"/>
                  <a:pt x="1534" y="1332"/>
                  <a:pt x="1535" y="1335"/>
                </a:cubicBezTo>
                <a:cubicBezTo>
                  <a:pt x="1536" y="1340"/>
                  <a:pt x="1536" y="1344"/>
                  <a:pt x="1534" y="1348"/>
                </a:cubicBezTo>
                <a:cubicBezTo>
                  <a:pt x="1534" y="1349"/>
                  <a:pt x="1533" y="1350"/>
                  <a:pt x="1533" y="1350"/>
                </a:cubicBezTo>
                <a:cubicBezTo>
                  <a:pt x="1529" y="1350"/>
                  <a:pt x="1526" y="1352"/>
                  <a:pt x="1523" y="1354"/>
                </a:cubicBezTo>
                <a:cubicBezTo>
                  <a:pt x="1518" y="1357"/>
                  <a:pt x="1514" y="1355"/>
                  <a:pt x="1511" y="1351"/>
                </a:cubicBezTo>
                <a:cubicBezTo>
                  <a:pt x="1510" y="1351"/>
                  <a:pt x="1510" y="1349"/>
                  <a:pt x="1511" y="1349"/>
                </a:cubicBezTo>
                <a:cubicBezTo>
                  <a:pt x="1512" y="1347"/>
                  <a:pt x="1511" y="1345"/>
                  <a:pt x="1509" y="1343"/>
                </a:cubicBezTo>
                <a:cubicBezTo>
                  <a:pt x="1508" y="1341"/>
                  <a:pt x="1506" y="1338"/>
                  <a:pt x="1507" y="1336"/>
                </a:cubicBezTo>
                <a:cubicBezTo>
                  <a:pt x="1508" y="1334"/>
                  <a:pt x="1509" y="1332"/>
                  <a:pt x="1510" y="1330"/>
                </a:cubicBezTo>
                <a:cubicBezTo>
                  <a:pt x="1511" y="1328"/>
                  <a:pt x="1514" y="1325"/>
                  <a:pt x="1516" y="1322"/>
                </a:cubicBezTo>
                <a:cubicBezTo>
                  <a:pt x="1515" y="1322"/>
                  <a:pt x="1515" y="1322"/>
                  <a:pt x="1515" y="1322"/>
                </a:cubicBezTo>
                <a:cubicBezTo>
                  <a:pt x="1509" y="1324"/>
                  <a:pt x="1505" y="1325"/>
                  <a:pt x="1501" y="1328"/>
                </a:cubicBezTo>
                <a:cubicBezTo>
                  <a:pt x="1496" y="1333"/>
                  <a:pt x="1494" y="1338"/>
                  <a:pt x="1493" y="1345"/>
                </a:cubicBezTo>
                <a:cubicBezTo>
                  <a:pt x="1493" y="1351"/>
                  <a:pt x="1495" y="1357"/>
                  <a:pt x="1499" y="1363"/>
                </a:cubicBezTo>
                <a:cubicBezTo>
                  <a:pt x="1499" y="1364"/>
                  <a:pt x="1500" y="1366"/>
                  <a:pt x="1500" y="1367"/>
                </a:cubicBezTo>
                <a:cubicBezTo>
                  <a:pt x="1500" y="1368"/>
                  <a:pt x="1499" y="1370"/>
                  <a:pt x="1498" y="1371"/>
                </a:cubicBezTo>
                <a:cubicBezTo>
                  <a:pt x="1498" y="1373"/>
                  <a:pt x="1498" y="1374"/>
                  <a:pt x="1500" y="1374"/>
                </a:cubicBezTo>
                <a:cubicBezTo>
                  <a:pt x="1503" y="1375"/>
                  <a:pt x="1506" y="1376"/>
                  <a:pt x="1508" y="1376"/>
                </a:cubicBezTo>
                <a:cubicBezTo>
                  <a:pt x="1509" y="1376"/>
                  <a:pt x="1510" y="1375"/>
                  <a:pt x="1510" y="1375"/>
                </a:cubicBezTo>
                <a:cubicBezTo>
                  <a:pt x="1510" y="1374"/>
                  <a:pt x="1510" y="1372"/>
                  <a:pt x="1511" y="1371"/>
                </a:cubicBezTo>
                <a:cubicBezTo>
                  <a:pt x="1513" y="1369"/>
                  <a:pt x="1513" y="1366"/>
                  <a:pt x="1513" y="1363"/>
                </a:cubicBezTo>
                <a:cubicBezTo>
                  <a:pt x="1513" y="1363"/>
                  <a:pt x="1513" y="1362"/>
                  <a:pt x="1513" y="1362"/>
                </a:cubicBezTo>
                <a:cubicBezTo>
                  <a:pt x="1513" y="1362"/>
                  <a:pt x="1513" y="1362"/>
                  <a:pt x="1513" y="1361"/>
                </a:cubicBezTo>
                <a:cubicBezTo>
                  <a:pt x="1513" y="1364"/>
                  <a:pt x="1515" y="1364"/>
                  <a:pt x="1517" y="1364"/>
                </a:cubicBezTo>
                <a:cubicBezTo>
                  <a:pt x="1518" y="1364"/>
                  <a:pt x="1519" y="1364"/>
                  <a:pt x="1520" y="1364"/>
                </a:cubicBezTo>
                <a:cubicBezTo>
                  <a:pt x="1522" y="1364"/>
                  <a:pt x="1525" y="1365"/>
                  <a:pt x="1526" y="1360"/>
                </a:cubicBezTo>
                <a:cubicBezTo>
                  <a:pt x="1526" y="1363"/>
                  <a:pt x="1526" y="1364"/>
                  <a:pt x="1526" y="1365"/>
                </a:cubicBezTo>
                <a:cubicBezTo>
                  <a:pt x="1524" y="1366"/>
                  <a:pt x="1523" y="1367"/>
                  <a:pt x="1522" y="1367"/>
                </a:cubicBezTo>
                <a:cubicBezTo>
                  <a:pt x="1521" y="1368"/>
                  <a:pt x="1520" y="1370"/>
                  <a:pt x="1521" y="1370"/>
                </a:cubicBezTo>
                <a:cubicBezTo>
                  <a:pt x="1522" y="1373"/>
                  <a:pt x="1523" y="1375"/>
                  <a:pt x="1525" y="1377"/>
                </a:cubicBezTo>
                <a:cubicBezTo>
                  <a:pt x="1526" y="1378"/>
                  <a:pt x="1528" y="1378"/>
                  <a:pt x="1530" y="1376"/>
                </a:cubicBezTo>
                <a:cubicBezTo>
                  <a:pt x="1530" y="1375"/>
                  <a:pt x="1531" y="1374"/>
                  <a:pt x="1532" y="1374"/>
                </a:cubicBezTo>
                <a:cubicBezTo>
                  <a:pt x="1534" y="1372"/>
                  <a:pt x="1535" y="1371"/>
                  <a:pt x="1537" y="1370"/>
                </a:cubicBezTo>
                <a:cubicBezTo>
                  <a:pt x="1541" y="1366"/>
                  <a:pt x="1543" y="1360"/>
                  <a:pt x="1545" y="1354"/>
                </a:cubicBezTo>
                <a:cubicBezTo>
                  <a:pt x="1545" y="1353"/>
                  <a:pt x="1544" y="1353"/>
                  <a:pt x="1543" y="1352"/>
                </a:cubicBezTo>
                <a:cubicBezTo>
                  <a:pt x="1543" y="1351"/>
                  <a:pt x="1541" y="1350"/>
                  <a:pt x="1540" y="1349"/>
                </a:cubicBezTo>
                <a:close/>
                <a:moveTo>
                  <a:pt x="1493" y="1356"/>
                </a:moveTo>
                <a:cubicBezTo>
                  <a:pt x="1492" y="1357"/>
                  <a:pt x="1491" y="1357"/>
                  <a:pt x="1489" y="1359"/>
                </a:cubicBezTo>
                <a:cubicBezTo>
                  <a:pt x="1489" y="1359"/>
                  <a:pt x="1489" y="1360"/>
                  <a:pt x="1489" y="1360"/>
                </a:cubicBezTo>
                <a:cubicBezTo>
                  <a:pt x="1489" y="1363"/>
                  <a:pt x="1493" y="1368"/>
                  <a:pt x="1496" y="1367"/>
                </a:cubicBezTo>
                <a:cubicBezTo>
                  <a:pt x="1498" y="1367"/>
                  <a:pt x="1498" y="1366"/>
                  <a:pt x="1498" y="1364"/>
                </a:cubicBezTo>
                <a:cubicBezTo>
                  <a:pt x="1496" y="1361"/>
                  <a:pt x="1495" y="1359"/>
                  <a:pt x="1493" y="1356"/>
                </a:cubicBezTo>
                <a:close/>
                <a:moveTo>
                  <a:pt x="1546" y="1358"/>
                </a:moveTo>
                <a:cubicBezTo>
                  <a:pt x="1543" y="1362"/>
                  <a:pt x="1541" y="1367"/>
                  <a:pt x="1539" y="1371"/>
                </a:cubicBezTo>
                <a:cubicBezTo>
                  <a:pt x="1541" y="1371"/>
                  <a:pt x="1544" y="1372"/>
                  <a:pt x="1547" y="1371"/>
                </a:cubicBezTo>
                <a:cubicBezTo>
                  <a:pt x="1547" y="1371"/>
                  <a:pt x="1547" y="1370"/>
                  <a:pt x="1547" y="1370"/>
                </a:cubicBezTo>
                <a:cubicBezTo>
                  <a:pt x="1547" y="1367"/>
                  <a:pt x="1547" y="1364"/>
                  <a:pt x="1547" y="1362"/>
                </a:cubicBezTo>
                <a:cubicBezTo>
                  <a:pt x="1547" y="1360"/>
                  <a:pt x="1546" y="1359"/>
                  <a:pt x="1546" y="1358"/>
                </a:cubicBezTo>
                <a:close/>
                <a:moveTo>
                  <a:pt x="1493" y="1338"/>
                </a:moveTo>
                <a:cubicBezTo>
                  <a:pt x="1492" y="1338"/>
                  <a:pt x="1491" y="1338"/>
                  <a:pt x="1491" y="1338"/>
                </a:cubicBezTo>
                <a:cubicBezTo>
                  <a:pt x="1490" y="1338"/>
                  <a:pt x="1489" y="1338"/>
                  <a:pt x="1489" y="1338"/>
                </a:cubicBezTo>
                <a:cubicBezTo>
                  <a:pt x="1489" y="1338"/>
                  <a:pt x="1489" y="1337"/>
                  <a:pt x="1489" y="1336"/>
                </a:cubicBezTo>
                <a:cubicBezTo>
                  <a:pt x="1489" y="1334"/>
                  <a:pt x="1490" y="1332"/>
                  <a:pt x="1491" y="1330"/>
                </a:cubicBezTo>
                <a:cubicBezTo>
                  <a:pt x="1490" y="1330"/>
                  <a:pt x="1490" y="1330"/>
                  <a:pt x="1490" y="1330"/>
                </a:cubicBezTo>
                <a:cubicBezTo>
                  <a:pt x="1489" y="1331"/>
                  <a:pt x="1488" y="1332"/>
                  <a:pt x="1487" y="1333"/>
                </a:cubicBezTo>
                <a:cubicBezTo>
                  <a:pt x="1486" y="1334"/>
                  <a:pt x="1488" y="1339"/>
                  <a:pt x="1489" y="1340"/>
                </a:cubicBezTo>
                <a:cubicBezTo>
                  <a:pt x="1491" y="1341"/>
                  <a:pt x="1493" y="1340"/>
                  <a:pt x="1493" y="1338"/>
                </a:cubicBezTo>
                <a:close/>
                <a:moveTo>
                  <a:pt x="1493" y="1355"/>
                </a:moveTo>
                <a:cubicBezTo>
                  <a:pt x="1492" y="1356"/>
                  <a:pt x="1491" y="1357"/>
                  <a:pt x="1490" y="1358"/>
                </a:cubicBezTo>
                <a:cubicBezTo>
                  <a:pt x="1489" y="1359"/>
                  <a:pt x="1489" y="1359"/>
                  <a:pt x="1489" y="1360"/>
                </a:cubicBezTo>
                <a:cubicBezTo>
                  <a:pt x="1489" y="1363"/>
                  <a:pt x="1493" y="1367"/>
                  <a:pt x="1496" y="1367"/>
                </a:cubicBezTo>
                <a:cubicBezTo>
                  <a:pt x="1498" y="1367"/>
                  <a:pt x="1498" y="1366"/>
                  <a:pt x="1498" y="1364"/>
                </a:cubicBezTo>
                <a:cubicBezTo>
                  <a:pt x="1496" y="1361"/>
                  <a:pt x="1495" y="1358"/>
                  <a:pt x="1493" y="1355"/>
                </a:cubicBezTo>
                <a:close/>
                <a:moveTo>
                  <a:pt x="1546" y="1357"/>
                </a:moveTo>
                <a:cubicBezTo>
                  <a:pt x="1543" y="1362"/>
                  <a:pt x="1541" y="1366"/>
                  <a:pt x="1539" y="1371"/>
                </a:cubicBezTo>
                <a:cubicBezTo>
                  <a:pt x="1541" y="1371"/>
                  <a:pt x="1544" y="1371"/>
                  <a:pt x="1547" y="1371"/>
                </a:cubicBezTo>
                <a:cubicBezTo>
                  <a:pt x="1547" y="1371"/>
                  <a:pt x="1547" y="1370"/>
                  <a:pt x="1547" y="1369"/>
                </a:cubicBezTo>
                <a:cubicBezTo>
                  <a:pt x="1547" y="1366"/>
                  <a:pt x="1547" y="1364"/>
                  <a:pt x="1547" y="1362"/>
                </a:cubicBezTo>
                <a:cubicBezTo>
                  <a:pt x="1547" y="1360"/>
                  <a:pt x="1546" y="1359"/>
                  <a:pt x="1546" y="1357"/>
                </a:cubicBezTo>
                <a:close/>
                <a:moveTo>
                  <a:pt x="1493" y="1337"/>
                </a:moveTo>
                <a:cubicBezTo>
                  <a:pt x="1492" y="1338"/>
                  <a:pt x="1492" y="1338"/>
                  <a:pt x="1491" y="1338"/>
                </a:cubicBezTo>
                <a:cubicBezTo>
                  <a:pt x="1490" y="1338"/>
                  <a:pt x="1490" y="1338"/>
                  <a:pt x="1490" y="1338"/>
                </a:cubicBezTo>
                <a:cubicBezTo>
                  <a:pt x="1489" y="1337"/>
                  <a:pt x="1489" y="1337"/>
                  <a:pt x="1489" y="1336"/>
                </a:cubicBezTo>
                <a:cubicBezTo>
                  <a:pt x="1490" y="1334"/>
                  <a:pt x="1490" y="1332"/>
                  <a:pt x="1491" y="1330"/>
                </a:cubicBezTo>
                <a:cubicBezTo>
                  <a:pt x="1490" y="1330"/>
                  <a:pt x="1490" y="1330"/>
                  <a:pt x="1490" y="1330"/>
                </a:cubicBezTo>
                <a:cubicBezTo>
                  <a:pt x="1489" y="1331"/>
                  <a:pt x="1488" y="1332"/>
                  <a:pt x="1487" y="1333"/>
                </a:cubicBezTo>
                <a:cubicBezTo>
                  <a:pt x="1486" y="1334"/>
                  <a:pt x="1488" y="1339"/>
                  <a:pt x="1490" y="1340"/>
                </a:cubicBezTo>
                <a:cubicBezTo>
                  <a:pt x="1491" y="1341"/>
                  <a:pt x="1493" y="1339"/>
                  <a:pt x="1493" y="1337"/>
                </a:cubicBezTo>
                <a:close/>
                <a:moveTo>
                  <a:pt x="1545" y="1329"/>
                </a:moveTo>
                <a:cubicBezTo>
                  <a:pt x="1549" y="1325"/>
                  <a:pt x="1549" y="1325"/>
                  <a:pt x="1552" y="1324"/>
                </a:cubicBezTo>
                <a:cubicBezTo>
                  <a:pt x="1552" y="1326"/>
                  <a:pt x="1554" y="1327"/>
                  <a:pt x="1555" y="1327"/>
                </a:cubicBezTo>
                <a:cubicBezTo>
                  <a:pt x="1553" y="1329"/>
                  <a:pt x="1551" y="1330"/>
                  <a:pt x="1549" y="1331"/>
                </a:cubicBezTo>
                <a:cubicBezTo>
                  <a:pt x="1548" y="1331"/>
                  <a:pt x="1548" y="1330"/>
                  <a:pt x="1547" y="1329"/>
                </a:cubicBezTo>
                <a:cubicBezTo>
                  <a:pt x="1547" y="1329"/>
                  <a:pt x="1546" y="1329"/>
                  <a:pt x="1545" y="1329"/>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532" y="1319"/>
                </a:moveTo>
                <a:cubicBezTo>
                  <a:pt x="1526" y="1318"/>
                  <a:pt x="1523" y="1321"/>
                  <a:pt x="1522" y="1329"/>
                </a:cubicBezTo>
                <a:cubicBezTo>
                  <a:pt x="1523" y="1327"/>
                  <a:pt x="1524" y="1324"/>
                  <a:pt x="1525" y="1322"/>
                </a:cubicBezTo>
                <a:cubicBezTo>
                  <a:pt x="1526" y="1322"/>
                  <a:pt x="1526" y="1322"/>
                  <a:pt x="1526" y="1322"/>
                </a:cubicBezTo>
                <a:cubicBezTo>
                  <a:pt x="1526" y="1323"/>
                  <a:pt x="1526" y="1324"/>
                  <a:pt x="1526" y="1325"/>
                </a:cubicBezTo>
                <a:cubicBezTo>
                  <a:pt x="1527" y="1322"/>
                  <a:pt x="1529" y="1320"/>
                  <a:pt x="1532" y="1319"/>
                </a:cubicBezTo>
                <a:close/>
                <a:moveTo>
                  <a:pt x="1576" y="1321"/>
                </a:moveTo>
                <a:cubicBezTo>
                  <a:pt x="1574" y="1322"/>
                  <a:pt x="1572" y="1324"/>
                  <a:pt x="1570" y="1325"/>
                </a:cubicBezTo>
                <a:cubicBezTo>
                  <a:pt x="1572" y="1325"/>
                  <a:pt x="1575" y="1324"/>
                  <a:pt x="1576" y="1321"/>
                </a:cubicBezTo>
                <a:close/>
                <a:moveTo>
                  <a:pt x="1542" y="1323"/>
                </a:moveTo>
                <a:cubicBezTo>
                  <a:pt x="1544" y="1322"/>
                  <a:pt x="1545" y="1320"/>
                  <a:pt x="1546" y="1319"/>
                </a:cubicBezTo>
                <a:cubicBezTo>
                  <a:pt x="1543" y="1320"/>
                  <a:pt x="1542" y="1321"/>
                  <a:pt x="1542" y="1323"/>
                </a:cubicBezTo>
                <a:close/>
                <a:moveTo>
                  <a:pt x="1553" y="1344"/>
                </a:moveTo>
                <a:cubicBezTo>
                  <a:pt x="1551" y="1344"/>
                  <a:pt x="1550" y="1345"/>
                  <a:pt x="1550" y="1346"/>
                </a:cubicBezTo>
                <a:cubicBezTo>
                  <a:pt x="1550" y="1345"/>
                  <a:pt x="1552" y="1345"/>
                  <a:pt x="1553" y="1344"/>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099" y="1210"/>
                </a:moveTo>
                <a:cubicBezTo>
                  <a:pt x="1099" y="1210"/>
                  <a:pt x="1099" y="1210"/>
                  <a:pt x="1099" y="1210"/>
                </a:cubicBezTo>
                <a:cubicBezTo>
                  <a:pt x="1094" y="1210"/>
                  <a:pt x="1094" y="1210"/>
                  <a:pt x="1094" y="1210"/>
                </a:cubicBezTo>
                <a:cubicBezTo>
                  <a:pt x="1092" y="1212"/>
                  <a:pt x="1090" y="1213"/>
                  <a:pt x="1088" y="1214"/>
                </a:cubicBezTo>
                <a:cubicBezTo>
                  <a:pt x="1087" y="1216"/>
                  <a:pt x="1085" y="1216"/>
                  <a:pt x="1083" y="1217"/>
                </a:cubicBezTo>
                <a:cubicBezTo>
                  <a:pt x="1082" y="1218"/>
                  <a:pt x="1079" y="1219"/>
                  <a:pt x="1078" y="1220"/>
                </a:cubicBezTo>
                <a:cubicBezTo>
                  <a:pt x="1076" y="1221"/>
                  <a:pt x="1074" y="1221"/>
                  <a:pt x="1072" y="1221"/>
                </a:cubicBezTo>
                <a:cubicBezTo>
                  <a:pt x="1072" y="1221"/>
                  <a:pt x="1072" y="1221"/>
                  <a:pt x="1072" y="1232"/>
                </a:cubicBezTo>
                <a:cubicBezTo>
                  <a:pt x="1075" y="1231"/>
                  <a:pt x="1078" y="1230"/>
                  <a:pt x="1080" y="1229"/>
                </a:cubicBezTo>
                <a:cubicBezTo>
                  <a:pt x="1083" y="1228"/>
                  <a:pt x="1085" y="1226"/>
                  <a:pt x="1087" y="1225"/>
                </a:cubicBezTo>
                <a:cubicBezTo>
                  <a:pt x="1087" y="1225"/>
                  <a:pt x="1087" y="1225"/>
                  <a:pt x="1087" y="1284"/>
                </a:cubicBezTo>
                <a:cubicBezTo>
                  <a:pt x="1087" y="1284"/>
                  <a:pt x="1087" y="1284"/>
                  <a:pt x="1099" y="1284"/>
                </a:cubicBezTo>
                <a:cubicBezTo>
                  <a:pt x="1099" y="1284"/>
                  <a:pt x="1099" y="1284"/>
                  <a:pt x="1099" y="1210"/>
                </a:cubicBezTo>
                <a:close/>
                <a:moveTo>
                  <a:pt x="1146" y="1210"/>
                </a:moveTo>
                <a:cubicBezTo>
                  <a:pt x="1146" y="1210"/>
                  <a:pt x="1146" y="1210"/>
                  <a:pt x="1146" y="1210"/>
                </a:cubicBezTo>
                <a:cubicBezTo>
                  <a:pt x="1141" y="1210"/>
                  <a:pt x="1141" y="1210"/>
                  <a:pt x="1141" y="1210"/>
                </a:cubicBezTo>
                <a:cubicBezTo>
                  <a:pt x="1140" y="1212"/>
                  <a:pt x="1137" y="1213"/>
                  <a:pt x="1136" y="1214"/>
                </a:cubicBezTo>
                <a:cubicBezTo>
                  <a:pt x="1134" y="1216"/>
                  <a:pt x="1132" y="1216"/>
                  <a:pt x="1130" y="1217"/>
                </a:cubicBezTo>
                <a:cubicBezTo>
                  <a:pt x="1129" y="1218"/>
                  <a:pt x="1126" y="1219"/>
                  <a:pt x="1125" y="1220"/>
                </a:cubicBezTo>
                <a:cubicBezTo>
                  <a:pt x="1123" y="1221"/>
                  <a:pt x="1121" y="1221"/>
                  <a:pt x="1119" y="1221"/>
                </a:cubicBezTo>
                <a:cubicBezTo>
                  <a:pt x="1119" y="1221"/>
                  <a:pt x="1119" y="1221"/>
                  <a:pt x="1119" y="1232"/>
                </a:cubicBezTo>
                <a:cubicBezTo>
                  <a:pt x="1122" y="1231"/>
                  <a:pt x="1125" y="1230"/>
                  <a:pt x="1128" y="1229"/>
                </a:cubicBezTo>
                <a:cubicBezTo>
                  <a:pt x="1130" y="1228"/>
                  <a:pt x="1132" y="1226"/>
                  <a:pt x="1134" y="1225"/>
                </a:cubicBezTo>
                <a:cubicBezTo>
                  <a:pt x="1134" y="1225"/>
                  <a:pt x="1134" y="1225"/>
                  <a:pt x="1134" y="1284"/>
                </a:cubicBezTo>
                <a:cubicBezTo>
                  <a:pt x="1134" y="1284"/>
                  <a:pt x="1134" y="1284"/>
                  <a:pt x="1146" y="1284"/>
                </a:cubicBezTo>
                <a:cubicBezTo>
                  <a:pt x="1146" y="1284"/>
                  <a:pt x="1146" y="1284"/>
                  <a:pt x="1146" y="1210"/>
                </a:cubicBezTo>
                <a:close/>
                <a:moveTo>
                  <a:pt x="1192" y="1210"/>
                </a:moveTo>
                <a:cubicBezTo>
                  <a:pt x="1192" y="1210"/>
                  <a:pt x="1192" y="1210"/>
                  <a:pt x="1192" y="1210"/>
                </a:cubicBezTo>
                <a:cubicBezTo>
                  <a:pt x="1188" y="1210"/>
                  <a:pt x="1188" y="1210"/>
                  <a:pt x="1188" y="1210"/>
                </a:cubicBezTo>
                <a:cubicBezTo>
                  <a:pt x="1186" y="1212"/>
                  <a:pt x="1184" y="1213"/>
                  <a:pt x="1182" y="1214"/>
                </a:cubicBezTo>
                <a:cubicBezTo>
                  <a:pt x="1181" y="1216"/>
                  <a:pt x="1178" y="1216"/>
                  <a:pt x="1177" y="1217"/>
                </a:cubicBezTo>
                <a:cubicBezTo>
                  <a:pt x="1175" y="1218"/>
                  <a:pt x="1173" y="1218"/>
                  <a:pt x="1171" y="1219"/>
                </a:cubicBezTo>
                <a:cubicBezTo>
                  <a:pt x="1170" y="1220"/>
                  <a:pt x="1168" y="1221"/>
                  <a:pt x="1166" y="1221"/>
                </a:cubicBezTo>
                <a:cubicBezTo>
                  <a:pt x="1166" y="1221"/>
                  <a:pt x="1166" y="1221"/>
                  <a:pt x="1166" y="1232"/>
                </a:cubicBezTo>
                <a:cubicBezTo>
                  <a:pt x="1169" y="1231"/>
                  <a:pt x="1172" y="1229"/>
                  <a:pt x="1174" y="1229"/>
                </a:cubicBezTo>
                <a:cubicBezTo>
                  <a:pt x="1176" y="1228"/>
                  <a:pt x="1179" y="1226"/>
                  <a:pt x="1181" y="1225"/>
                </a:cubicBezTo>
                <a:cubicBezTo>
                  <a:pt x="1181" y="1225"/>
                  <a:pt x="1181" y="1225"/>
                  <a:pt x="1181" y="1284"/>
                </a:cubicBezTo>
                <a:cubicBezTo>
                  <a:pt x="1181" y="1284"/>
                  <a:pt x="1181" y="1284"/>
                  <a:pt x="1192" y="1284"/>
                </a:cubicBezTo>
                <a:cubicBezTo>
                  <a:pt x="1192" y="1284"/>
                  <a:pt x="1192" y="1284"/>
                  <a:pt x="1192" y="1210"/>
                </a:cubicBezTo>
                <a:close/>
                <a:moveTo>
                  <a:pt x="1329" y="1243"/>
                </a:moveTo>
                <a:cubicBezTo>
                  <a:pt x="1329" y="1243"/>
                  <a:pt x="1329" y="1243"/>
                  <a:pt x="1329" y="1243"/>
                </a:cubicBezTo>
                <a:cubicBezTo>
                  <a:pt x="1328" y="1251"/>
                  <a:pt x="1328" y="1251"/>
                  <a:pt x="1328" y="1251"/>
                </a:cubicBezTo>
                <a:cubicBezTo>
                  <a:pt x="1335" y="1251"/>
                  <a:pt x="1336" y="1254"/>
                  <a:pt x="1336" y="1257"/>
                </a:cubicBezTo>
                <a:cubicBezTo>
                  <a:pt x="1336" y="1259"/>
                  <a:pt x="1335" y="1261"/>
                  <a:pt x="1335" y="1264"/>
                </a:cubicBezTo>
                <a:cubicBezTo>
                  <a:pt x="1335" y="1267"/>
                  <a:pt x="1334" y="1269"/>
                  <a:pt x="1334" y="1271"/>
                </a:cubicBezTo>
                <a:cubicBezTo>
                  <a:pt x="1334" y="1281"/>
                  <a:pt x="1340" y="1284"/>
                  <a:pt x="1349" y="1284"/>
                </a:cubicBezTo>
                <a:cubicBezTo>
                  <a:pt x="1349" y="1284"/>
                  <a:pt x="1349" y="1284"/>
                  <a:pt x="1352" y="1284"/>
                </a:cubicBezTo>
                <a:cubicBezTo>
                  <a:pt x="1352" y="1284"/>
                  <a:pt x="1352" y="1284"/>
                  <a:pt x="1352" y="1275"/>
                </a:cubicBezTo>
                <a:cubicBezTo>
                  <a:pt x="1352" y="1275"/>
                  <a:pt x="1352" y="1275"/>
                  <a:pt x="1351" y="1275"/>
                </a:cubicBezTo>
                <a:cubicBezTo>
                  <a:pt x="1347" y="1275"/>
                  <a:pt x="1346" y="1272"/>
                  <a:pt x="1346" y="1269"/>
                </a:cubicBezTo>
                <a:cubicBezTo>
                  <a:pt x="1346" y="1267"/>
                  <a:pt x="1346" y="1266"/>
                  <a:pt x="1347" y="1264"/>
                </a:cubicBezTo>
                <a:cubicBezTo>
                  <a:pt x="1347" y="1263"/>
                  <a:pt x="1347" y="1260"/>
                  <a:pt x="1347" y="1258"/>
                </a:cubicBezTo>
                <a:cubicBezTo>
                  <a:pt x="1347" y="1251"/>
                  <a:pt x="1344" y="1248"/>
                  <a:pt x="1338" y="1247"/>
                </a:cubicBezTo>
                <a:cubicBezTo>
                  <a:pt x="1338" y="1247"/>
                  <a:pt x="1338" y="1247"/>
                  <a:pt x="1338" y="1246"/>
                </a:cubicBezTo>
                <a:cubicBezTo>
                  <a:pt x="1344" y="1245"/>
                  <a:pt x="1347" y="1243"/>
                  <a:pt x="1347" y="1236"/>
                </a:cubicBezTo>
                <a:cubicBezTo>
                  <a:pt x="1347" y="1233"/>
                  <a:pt x="1347" y="1231"/>
                  <a:pt x="1347" y="1229"/>
                </a:cubicBezTo>
                <a:cubicBezTo>
                  <a:pt x="1346" y="1228"/>
                  <a:pt x="1346" y="1226"/>
                  <a:pt x="1346" y="1225"/>
                </a:cubicBezTo>
                <a:cubicBezTo>
                  <a:pt x="1346" y="1221"/>
                  <a:pt x="1347" y="1219"/>
                  <a:pt x="1351" y="1219"/>
                </a:cubicBezTo>
                <a:cubicBezTo>
                  <a:pt x="1351" y="1219"/>
                  <a:pt x="1351" y="1219"/>
                  <a:pt x="1352" y="1219"/>
                </a:cubicBezTo>
                <a:cubicBezTo>
                  <a:pt x="1352" y="1219"/>
                  <a:pt x="1352" y="1219"/>
                  <a:pt x="1352" y="1209"/>
                </a:cubicBezTo>
                <a:cubicBezTo>
                  <a:pt x="1352" y="1209"/>
                  <a:pt x="1352" y="1209"/>
                  <a:pt x="1349" y="1209"/>
                </a:cubicBezTo>
                <a:cubicBezTo>
                  <a:pt x="1340" y="1209"/>
                  <a:pt x="1334" y="1214"/>
                  <a:pt x="1334" y="1222"/>
                </a:cubicBezTo>
                <a:cubicBezTo>
                  <a:pt x="1334" y="1224"/>
                  <a:pt x="1335" y="1227"/>
                  <a:pt x="1335" y="1230"/>
                </a:cubicBezTo>
                <a:cubicBezTo>
                  <a:pt x="1335" y="1232"/>
                  <a:pt x="1336" y="1235"/>
                  <a:pt x="1336" y="1236"/>
                </a:cubicBezTo>
                <a:cubicBezTo>
                  <a:pt x="1336" y="1239"/>
                  <a:pt x="1335" y="1242"/>
                  <a:pt x="1329" y="1243"/>
                </a:cubicBezTo>
                <a:close/>
                <a:moveTo>
                  <a:pt x="1384" y="1251"/>
                </a:moveTo>
                <a:cubicBezTo>
                  <a:pt x="1384" y="1251"/>
                  <a:pt x="1384" y="1251"/>
                  <a:pt x="1384" y="1251"/>
                </a:cubicBezTo>
                <a:cubicBezTo>
                  <a:pt x="1384" y="1243"/>
                  <a:pt x="1384" y="1243"/>
                  <a:pt x="1384" y="1243"/>
                </a:cubicBezTo>
                <a:cubicBezTo>
                  <a:pt x="1377" y="1242"/>
                  <a:pt x="1377" y="1239"/>
                  <a:pt x="1377" y="1236"/>
                </a:cubicBezTo>
                <a:cubicBezTo>
                  <a:pt x="1377" y="1235"/>
                  <a:pt x="1377" y="1232"/>
                  <a:pt x="1377" y="1230"/>
                </a:cubicBezTo>
                <a:cubicBezTo>
                  <a:pt x="1378" y="1227"/>
                  <a:pt x="1378" y="1224"/>
                  <a:pt x="1378" y="1222"/>
                </a:cubicBezTo>
                <a:cubicBezTo>
                  <a:pt x="1378" y="1214"/>
                  <a:pt x="1372" y="1209"/>
                  <a:pt x="1363" y="1209"/>
                </a:cubicBezTo>
                <a:cubicBezTo>
                  <a:pt x="1363" y="1209"/>
                  <a:pt x="1363" y="1209"/>
                  <a:pt x="1359" y="1209"/>
                </a:cubicBezTo>
                <a:cubicBezTo>
                  <a:pt x="1359" y="1209"/>
                  <a:pt x="1359" y="1209"/>
                  <a:pt x="1359" y="1219"/>
                </a:cubicBezTo>
                <a:cubicBezTo>
                  <a:pt x="1359" y="1219"/>
                  <a:pt x="1359" y="1219"/>
                  <a:pt x="1361" y="1219"/>
                </a:cubicBezTo>
                <a:cubicBezTo>
                  <a:pt x="1364" y="1219"/>
                  <a:pt x="1366" y="1221"/>
                  <a:pt x="1366" y="1225"/>
                </a:cubicBezTo>
                <a:cubicBezTo>
                  <a:pt x="1366" y="1226"/>
                  <a:pt x="1366" y="1228"/>
                  <a:pt x="1366" y="1229"/>
                </a:cubicBezTo>
                <a:cubicBezTo>
                  <a:pt x="1365" y="1231"/>
                  <a:pt x="1365" y="1233"/>
                  <a:pt x="1365" y="1236"/>
                </a:cubicBezTo>
                <a:cubicBezTo>
                  <a:pt x="1365" y="1243"/>
                  <a:pt x="1368" y="1245"/>
                  <a:pt x="1374" y="1246"/>
                </a:cubicBezTo>
                <a:cubicBezTo>
                  <a:pt x="1374" y="1246"/>
                  <a:pt x="1374" y="1246"/>
                  <a:pt x="1374" y="1247"/>
                </a:cubicBezTo>
                <a:cubicBezTo>
                  <a:pt x="1368" y="1248"/>
                  <a:pt x="1365" y="1251"/>
                  <a:pt x="1365" y="1258"/>
                </a:cubicBezTo>
                <a:cubicBezTo>
                  <a:pt x="1365" y="1260"/>
                  <a:pt x="1365" y="1263"/>
                  <a:pt x="1366" y="1264"/>
                </a:cubicBezTo>
                <a:cubicBezTo>
                  <a:pt x="1366" y="1266"/>
                  <a:pt x="1366" y="1267"/>
                  <a:pt x="1366" y="1269"/>
                </a:cubicBezTo>
                <a:cubicBezTo>
                  <a:pt x="1366" y="1272"/>
                  <a:pt x="1365" y="1275"/>
                  <a:pt x="1361" y="1275"/>
                </a:cubicBezTo>
                <a:cubicBezTo>
                  <a:pt x="1361" y="1275"/>
                  <a:pt x="1361" y="1275"/>
                  <a:pt x="1359" y="1275"/>
                </a:cubicBezTo>
                <a:cubicBezTo>
                  <a:pt x="1359" y="1275"/>
                  <a:pt x="1359" y="1275"/>
                  <a:pt x="1359" y="1284"/>
                </a:cubicBezTo>
                <a:cubicBezTo>
                  <a:pt x="1359" y="1284"/>
                  <a:pt x="1359" y="1284"/>
                  <a:pt x="1363" y="1284"/>
                </a:cubicBezTo>
                <a:cubicBezTo>
                  <a:pt x="1372" y="1284"/>
                  <a:pt x="1378" y="1281"/>
                  <a:pt x="1378" y="1271"/>
                </a:cubicBezTo>
                <a:cubicBezTo>
                  <a:pt x="1378" y="1269"/>
                  <a:pt x="1378" y="1267"/>
                  <a:pt x="1377" y="1264"/>
                </a:cubicBezTo>
                <a:cubicBezTo>
                  <a:pt x="1377" y="1261"/>
                  <a:pt x="1377" y="1259"/>
                  <a:pt x="1377" y="1257"/>
                </a:cubicBezTo>
                <a:cubicBezTo>
                  <a:pt x="1377" y="1254"/>
                  <a:pt x="1377" y="1251"/>
                  <a:pt x="1384" y="1251"/>
                </a:cubicBezTo>
                <a:close/>
                <a:moveTo>
                  <a:pt x="1430" y="1210"/>
                </a:moveTo>
                <a:cubicBezTo>
                  <a:pt x="1430" y="1210"/>
                  <a:pt x="1430" y="1210"/>
                  <a:pt x="1430" y="1210"/>
                </a:cubicBezTo>
                <a:cubicBezTo>
                  <a:pt x="1425" y="1210"/>
                  <a:pt x="1425" y="1210"/>
                  <a:pt x="1425" y="1210"/>
                </a:cubicBezTo>
                <a:cubicBezTo>
                  <a:pt x="1423" y="1212"/>
                  <a:pt x="1422" y="1213"/>
                  <a:pt x="1419" y="1214"/>
                </a:cubicBezTo>
                <a:cubicBezTo>
                  <a:pt x="1418" y="1216"/>
                  <a:pt x="1416" y="1216"/>
                  <a:pt x="1414" y="1217"/>
                </a:cubicBezTo>
                <a:cubicBezTo>
                  <a:pt x="1412" y="1218"/>
                  <a:pt x="1411" y="1218"/>
                  <a:pt x="1409" y="1219"/>
                </a:cubicBezTo>
                <a:cubicBezTo>
                  <a:pt x="1407" y="1220"/>
                  <a:pt x="1406" y="1221"/>
                  <a:pt x="1403" y="1221"/>
                </a:cubicBezTo>
                <a:cubicBezTo>
                  <a:pt x="1403" y="1221"/>
                  <a:pt x="1403" y="1221"/>
                  <a:pt x="1403" y="1232"/>
                </a:cubicBezTo>
                <a:cubicBezTo>
                  <a:pt x="1406" y="1231"/>
                  <a:pt x="1409" y="1229"/>
                  <a:pt x="1411" y="1229"/>
                </a:cubicBezTo>
                <a:cubicBezTo>
                  <a:pt x="1414" y="1228"/>
                  <a:pt x="1416" y="1226"/>
                  <a:pt x="1419" y="1225"/>
                </a:cubicBezTo>
                <a:cubicBezTo>
                  <a:pt x="1419" y="1225"/>
                  <a:pt x="1419" y="1225"/>
                  <a:pt x="1419" y="1284"/>
                </a:cubicBezTo>
                <a:cubicBezTo>
                  <a:pt x="1419" y="1284"/>
                  <a:pt x="1419" y="1284"/>
                  <a:pt x="1430" y="1284"/>
                </a:cubicBezTo>
                <a:cubicBezTo>
                  <a:pt x="1430" y="1284"/>
                  <a:pt x="1430" y="1284"/>
                  <a:pt x="1430" y="1210"/>
                </a:cubicBezTo>
                <a:close/>
                <a:moveTo>
                  <a:pt x="1477" y="1210"/>
                </a:moveTo>
                <a:cubicBezTo>
                  <a:pt x="1477" y="1210"/>
                  <a:pt x="1477" y="1210"/>
                  <a:pt x="1477" y="1210"/>
                </a:cubicBezTo>
                <a:cubicBezTo>
                  <a:pt x="1472" y="1210"/>
                  <a:pt x="1472" y="1210"/>
                  <a:pt x="1472" y="1210"/>
                </a:cubicBezTo>
                <a:cubicBezTo>
                  <a:pt x="1470" y="1212"/>
                  <a:pt x="1468" y="1213"/>
                  <a:pt x="1466" y="1214"/>
                </a:cubicBezTo>
                <a:cubicBezTo>
                  <a:pt x="1465" y="1216"/>
                  <a:pt x="1463" y="1216"/>
                  <a:pt x="1461" y="1217"/>
                </a:cubicBezTo>
                <a:cubicBezTo>
                  <a:pt x="1460" y="1218"/>
                  <a:pt x="1458" y="1219"/>
                  <a:pt x="1456" y="1220"/>
                </a:cubicBezTo>
                <a:cubicBezTo>
                  <a:pt x="1454" y="1221"/>
                  <a:pt x="1453" y="1221"/>
                  <a:pt x="1450" y="1221"/>
                </a:cubicBezTo>
                <a:cubicBezTo>
                  <a:pt x="1450" y="1221"/>
                  <a:pt x="1450" y="1221"/>
                  <a:pt x="1450" y="1232"/>
                </a:cubicBezTo>
                <a:cubicBezTo>
                  <a:pt x="1453" y="1231"/>
                  <a:pt x="1456" y="1230"/>
                  <a:pt x="1458" y="1229"/>
                </a:cubicBezTo>
                <a:cubicBezTo>
                  <a:pt x="1461" y="1228"/>
                  <a:pt x="1463" y="1226"/>
                  <a:pt x="1465" y="1225"/>
                </a:cubicBezTo>
                <a:cubicBezTo>
                  <a:pt x="1465" y="1225"/>
                  <a:pt x="1465" y="1225"/>
                  <a:pt x="1465" y="1284"/>
                </a:cubicBezTo>
                <a:cubicBezTo>
                  <a:pt x="1465" y="1284"/>
                  <a:pt x="1465" y="1284"/>
                  <a:pt x="1477" y="1284"/>
                </a:cubicBezTo>
                <a:cubicBezTo>
                  <a:pt x="1477" y="1284"/>
                  <a:pt x="1477" y="1284"/>
                  <a:pt x="1477" y="1210"/>
                </a:cubicBezTo>
                <a:close/>
                <a:moveTo>
                  <a:pt x="1522" y="1210"/>
                </a:moveTo>
                <a:cubicBezTo>
                  <a:pt x="1522" y="1210"/>
                  <a:pt x="1522" y="1210"/>
                  <a:pt x="1522" y="1210"/>
                </a:cubicBezTo>
                <a:cubicBezTo>
                  <a:pt x="1518" y="1210"/>
                  <a:pt x="1518" y="1210"/>
                  <a:pt x="1518" y="1210"/>
                </a:cubicBezTo>
                <a:cubicBezTo>
                  <a:pt x="1516" y="1212"/>
                  <a:pt x="1514" y="1213"/>
                  <a:pt x="1512" y="1214"/>
                </a:cubicBezTo>
                <a:cubicBezTo>
                  <a:pt x="1511" y="1216"/>
                  <a:pt x="1509" y="1216"/>
                  <a:pt x="1507" y="1217"/>
                </a:cubicBezTo>
                <a:cubicBezTo>
                  <a:pt x="1505" y="1218"/>
                  <a:pt x="1504" y="1219"/>
                  <a:pt x="1502" y="1220"/>
                </a:cubicBezTo>
                <a:cubicBezTo>
                  <a:pt x="1500" y="1221"/>
                  <a:pt x="1498" y="1221"/>
                  <a:pt x="1496" y="1221"/>
                </a:cubicBezTo>
                <a:cubicBezTo>
                  <a:pt x="1496" y="1221"/>
                  <a:pt x="1496" y="1221"/>
                  <a:pt x="1496" y="1232"/>
                </a:cubicBezTo>
                <a:cubicBezTo>
                  <a:pt x="1499" y="1231"/>
                  <a:pt x="1502" y="1230"/>
                  <a:pt x="1504" y="1229"/>
                </a:cubicBezTo>
                <a:cubicBezTo>
                  <a:pt x="1507" y="1228"/>
                  <a:pt x="1509" y="1226"/>
                  <a:pt x="1511" y="1225"/>
                </a:cubicBezTo>
                <a:cubicBezTo>
                  <a:pt x="1511" y="1225"/>
                  <a:pt x="1511" y="1225"/>
                  <a:pt x="1511" y="1284"/>
                </a:cubicBezTo>
                <a:cubicBezTo>
                  <a:pt x="1511" y="1284"/>
                  <a:pt x="1511" y="1284"/>
                  <a:pt x="1522" y="1284"/>
                </a:cubicBezTo>
                <a:cubicBezTo>
                  <a:pt x="1522" y="1284"/>
                  <a:pt x="1522" y="1284"/>
                  <a:pt x="1522" y="1210"/>
                </a:cubicBezTo>
                <a:close/>
                <a:moveTo>
                  <a:pt x="1272" y="1258"/>
                </a:moveTo>
                <a:cubicBezTo>
                  <a:pt x="1273" y="1259"/>
                  <a:pt x="1273" y="1261"/>
                  <a:pt x="1274" y="1262"/>
                </a:cubicBezTo>
                <a:cubicBezTo>
                  <a:pt x="1274" y="1264"/>
                  <a:pt x="1275" y="1266"/>
                  <a:pt x="1275" y="1267"/>
                </a:cubicBezTo>
                <a:cubicBezTo>
                  <a:pt x="1275" y="1269"/>
                  <a:pt x="1275" y="1270"/>
                  <a:pt x="1275" y="1272"/>
                </a:cubicBezTo>
                <a:cubicBezTo>
                  <a:pt x="1276" y="1275"/>
                  <a:pt x="1275" y="1277"/>
                  <a:pt x="1272" y="1277"/>
                </a:cubicBezTo>
                <a:cubicBezTo>
                  <a:pt x="1269" y="1277"/>
                  <a:pt x="1266" y="1276"/>
                  <a:pt x="1263" y="1276"/>
                </a:cubicBezTo>
                <a:cubicBezTo>
                  <a:pt x="1263" y="1276"/>
                  <a:pt x="1262" y="1276"/>
                  <a:pt x="1262" y="1277"/>
                </a:cubicBezTo>
                <a:cubicBezTo>
                  <a:pt x="1260" y="1278"/>
                  <a:pt x="1259" y="1280"/>
                  <a:pt x="1258" y="1281"/>
                </a:cubicBezTo>
                <a:cubicBezTo>
                  <a:pt x="1256" y="1283"/>
                  <a:pt x="1252" y="1284"/>
                  <a:pt x="1250" y="1282"/>
                </a:cubicBezTo>
                <a:cubicBezTo>
                  <a:pt x="1248" y="1280"/>
                  <a:pt x="1247" y="1277"/>
                  <a:pt x="1245" y="1274"/>
                </a:cubicBezTo>
                <a:cubicBezTo>
                  <a:pt x="1245" y="1273"/>
                  <a:pt x="1245" y="1271"/>
                  <a:pt x="1247" y="1270"/>
                </a:cubicBezTo>
                <a:cubicBezTo>
                  <a:pt x="1245" y="1270"/>
                  <a:pt x="1243" y="1270"/>
                  <a:pt x="1241" y="1270"/>
                </a:cubicBezTo>
                <a:cubicBezTo>
                  <a:pt x="1241" y="1272"/>
                  <a:pt x="1239" y="1274"/>
                  <a:pt x="1239" y="1276"/>
                </a:cubicBezTo>
                <a:cubicBezTo>
                  <a:pt x="1239" y="1276"/>
                  <a:pt x="1238" y="1277"/>
                  <a:pt x="1238" y="1278"/>
                </a:cubicBezTo>
                <a:cubicBezTo>
                  <a:pt x="1238" y="1281"/>
                  <a:pt x="1237" y="1282"/>
                  <a:pt x="1234" y="1282"/>
                </a:cubicBezTo>
                <a:cubicBezTo>
                  <a:pt x="1231" y="1282"/>
                  <a:pt x="1228" y="1281"/>
                  <a:pt x="1225" y="1280"/>
                </a:cubicBezTo>
                <a:cubicBezTo>
                  <a:pt x="1223" y="1279"/>
                  <a:pt x="1222" y="1278"/>
                  <a:pt x="1223" y="1276"/>
                </a:cubicBezTo>
                <a:cubicBezTo>
                  <a:pt x="1223" y="1275"/>
                  <a:pt x="1223" y="1274"/>
                  <a:pt x="1224" y="1274"/>
                </a:cubicBezTo>
                <a:cubicBezTo>
                  <a:pt x="1221" y="1273"/>
                  <a:pt x="1219" y="1272"/>
                  <a:pt x="1217" y="1270"/>
                </a:cubicBezTo>
                <a:cubicBezTo>
                  <a:pt x="1216" y="1270"/>
                  <a:pt x="1215" y="1268"/>
                  <a:pt x="1214" y="1266"/>
                </a:cubicBezTo>
                <a:cubicBezTo>
                  <a:pt x="1213" y="1264"/>
                  <a:pt x="1213" y="1263"/>
                  <a:pt x="1215" y="1261"/>
                </a:cubicBezTo>
                <a:cubicBezTo>
                  <a:pt x="1218" y="1259"/>
                  <a:pt x="1219" y="1256"/>
                  <a:pt x="1218" y="1252"/>
                </a:cubicBezTo>
                <a:cubicBezTo>
                  <a:pt x="1218" y="1250"/>
                  <a:pt x="1218" y="1247"/>
                  <a:pt x="1218" y="1246"/>
                </a:cubicBezTo>
                <a:cubicBezTo>
                  <a:pt x="1217" y="1245"/>
                  <a:pt x="1215" y="1245"/>
                  <a:pt x="1214" y="1244"/>
                </a:cubicBezTo>
                <a:cubicBezTo>
                  <a:pt x="1213" y="1242"/>
                  <a:pt x="1212" y="1240"/>
                  <a:pt x="1212" y="1238"/>
                </a:cubicBezTo>
                <a:cubicBezTo>
                  <a:pt x="1212" y="1235"/>
                  <a:pt x="1215" y="1232"/>
                  <a:pt x="1218" y="1232"/>
                </a:cubicBezTo>
                <a:cubicBezTo>
                  <a:pt x="1219" y="1232"/>
                  <a:pt x="1219" y="1233"/>
                  <a:pt x="1219" y="1234"/>
                </a:cubicBezTo>
                <a:cubicBezTo>
                  <a:pt x="1219" y="1235"/>
                  <a:pt x="1219" y="1236"/>
                  <a:pt x="1219" y="1237"/>
                </a:cubicBezTo>
                <a:cubicBezTo>
                  <a:pt x="1219" y="1237"/>
                  <a:pt x="1218" y="1237"/>
                  <a:pt x="1218" y="1237"/>
                </a:cubicBezTo>
                <a:cubicBezTo>
                  <a:pt x="1217" y="1238"/>
                  <a:pt x="1217" y="1239"/>
                  <a:pt x="1216" y="1241"/>
                </a:cubicBezTo>
                <a:cubicBezTo>
                  <a:pt x="1217" y="1241"/>
                  <a:pt x="1218" y="1241"/>
                  <a:pt x="1219" y="1240"/>
                </a:cubicBezTo>
                <a:cubicBezTo>
                  <a:pt x="1220" y="1239"/>
                  <a:pt x="1221" y="1238"/>
                  <a:pt x="1221" y="1237"/>
                </a:cubicBezTo>
                <a:cubicBezTo>
                  <a:pt x="1226" y="1230"/>
                  <a:pt x="1232" y="1226"/>
                  <a:pt x="1239" y="1225"/>
                </a:cubicBezTo>
                <a:cubicBezTo>
                  <a:pt x="1243" y="1224"/>
                  <a:pt x="1246" y="1223"/>
                  <a:pt x="1248" y="1221"/>
                </a:cubicBezTo>
                <a:cubicBezTo>
                  <a:pt x="1248" y="1220"/>
                  <a:pt x="1249" y="1220"/>
                  <a:pt x="1249" y="1220"/>
                </a:cubicBezTo>
                <a:cubicBezTo>
                  <a:pt x="1252" y="1219"/>
                  <a:pt x="1254" y="1217"/>
                  <a:pt x="1256" y="1215"/>
                </a:cubicBezTo>
                <a:cubicBezTo>
                  <a:pt x="1263" y="1207"/>
                  <a:pt x="1275" y="1207"/>
                  <a:pt x="1283" y="1214"/>
                </a:cubicBezTo>
                <a:cubicBezTo>
                  <a:pt x="1285" y="1216"/>
                  <a:pt x="1288" y="1218"/>
                  <a:pt x="1290" y="1220"/>
                </a:cubicBezTo>
                <a:cubicBezTo>
                  <a:pt x="1292" y="1221"/>
                  <a:pt x="1293" y="1223"/>
                  <a:pt x="1294" y="1224"/>
                </a:cubicBezTo>
                <a:cubicBezTo>
                  <a:pt x="1295" y="1226"/>
                  <a:pt x="1296" y="1226"/>
                  <a:pt x="1297" y="1225"/>
                </a:cubicBezTo>
                <a:cubicBezTo>
                  <a:pt x="1298" y="1224"/>
                  <a:pt x="1299" y="1224"/>
                  <a:pt x="1299" y="1223"/>
                </a:cubicBezTo>
                <a:cubicBezTo>
                  <a:pt x="1301" y="1220"/>
                  <a:pt x="1304" y="1220"/>
                  <a:pt x="1306" y="1223"/>
                </a:cubicBezTo>
                <a:cubicBezTo>
                  <a:pt x="1307" y="1226"/>
                  <a:pt x="1308" y="1229"/>
                  <a:pt x="1308" y="1232"/>
                </a:cubicBezTo>
                <a:cubicBezTo>
                  <a:pt x="1309" y="1237"/>
                  <a:pt x="1308" y="1241"/>
                  <a:pt x="1307" y="1245"/>
                </a:cubicBezTo>
                <a:cubicBezTo>
                  <a:pt x="1304" y="1252"/>
                  <a:pt x="1300" y="1255"/>
                  <a:pt x="1293" y="1255"/>
                </a:cubicBezTo>
                <a:cubicBezTo>
                  <a:pt x="1292" y="1255"/>
                  <a:pt x="1292" y="1255"/>
                  <a:pt x="1291" y="1255"/>
                </a:cubicBezTo>
                <a:cubicBezTo>
                  <a:pt x="1289" y="1255"/>
                  <a:pt x="1288" y="1255"/>
                  <a:pt x="1287" y="1258"/>
                </a:cubicBezTo>
                <a:cubicBezTo>
                  <a:pt x="1285" y="1262"/>
                  <a:pt x="1280" y="1264"/>
                  <a:pt x="1276" y="1261"/>
                </a:cubicBezTo>
                <a:cubicBezTo>
                  <a:pt x="1275" y="1259"/>
                  <a:pt x="1274" y="1259"/>
                  <a:pt x="1273" y="1257"/>
                </a:cubicBezTo>
                <a:cubicBezTo>
                  <a:pt x="1273" y="1258"/>
                  <a:pt x="1273" y="1258"/>
                  <a:pt x="1272" y="1258"/>
                </a:cubicBezTo>
                <a:close/>
                <a:moveTo>
                  <a:pt x="1267" y="1253"/>
                </a:moveTo>
                <a:cubicBezTo>
                  <a:pt x="1270" y="1255"/>
                  <a:pt x="1274" y="1256"/>
                  <a:pt x="1276" y="1259"/>
                </a:cubicBezTo>
                <a:cubicBezTo>
                  <a:pt x="1278" y="1261"/>
                  <a:pt x="1280" y="1261"/>
                  <a:pt x="1282" y="1261"/>
                </a:cubicBezTo>
                <a:cubicBezTo>
                  <a:pt x="1285" y="1260"/>
                  <a:pt x="1286" y="1258"/>
                  <a:pt x="1286" y="1255"/>
                </a:cubicBezTo>
                <a:cubicBezTo>
                  <a:pt x="1286" y="1255"/>
                  <a:pt x="1285" y="1255"/>
                  <a:pt x="1285" y="1255"/>
                </a:cubicBezTo>
                <a:cubicBezTo>
                  <a:pt x="1285" y="1257"/>
                  <a:pt x="1284" y="1258"/>
                  <a:pt x="1283" y="1259"/>
                </a:cubicBezTo>
                <a:cubicBezTo>
                  <a:pt x="1282" y="1260"/>
                  <a:pt x="1280" y="1260"/>
                  <a:pt x="1280" y="1259"/>
                </a:cubicBezTo>
                <a:cubicBezTo>
                  <a:pt x="1279" y="1259"/>
                  <a:pt x="1278" y="1258"/>
                  <a:pt x="1278" y="1257"/>
                </a:cubicBezTo>
                <a:cubicBezTo>
                  <a:pt x="1278" y="1255"/>
                  <a:pt x="1279" y="1253"/>
                  <a:pt x="1279" y="1251"/>
                </a:cubicBezTo>
                <a:cubicBezTo>
                  <a:pt x="1282" y="1252"/>
                  <a:pt x="1286" y="1253"/>
                  <a:pt x="1289" y="1253"/>
                </a:cubicBezTo>
                <a:cubicBezTo>
                  <a:pt x="1297" y="1255"/>
                  <a:pt x="1303" y="1253"/>
                  <a:pt x="1306" y="1244"/>
                </a:cubicBezTo>
                <a:cubicBezTo>
                  <a:pt x="1307" y="1240"/>
                  <a:pt x="1307" y="1235"/>
                  <a:pt x="1306" y="1230"/>
                </a:cubicBezTo>
                <a:cubicBezTo>
                  <a:pt x="1306" y="1228"/>
                  <a:pt x="1305" y="1226"/>
                  <a:pt x="1304" y="1224"/>
                </a:cubicBezTo>
                <a:cubicBezTo>
                  <a:pt x="1303" y="1223"/>
                  <a:pt x="1302" y="1222"/>
                  <a:pt x="1301" y="1224"/>
                </a:cubicBezTo>
                <a:cubicBezTo>
                  <a:pt x="1299" y="1225"/>
                  <a:pt x="1298" y="1227"/>
                  <a:pt x="1296" y="1228"/>
                </a:cubicBezTo>
                <a:cubicBezTo>
                  <a:pt x="1295" y="1228"/>
                  <a:pt x="1294" y="1229"/>
                  <a:pt x="1295" y="1230"/>
                </a:cubicBezTo>
                <a:cubicBezTo>
                  <a:pt x="1295" y="1233"/>
                  <a:pt x="1295" y="1236"/>
                  <a:pt x="1293" y="1240"/>
                </a:cubicBezTo>
                <a:cubicBezTo>
                  <a:pt x="1293" y="1238"/>
                  <a:pt x="1294" y="1236"/>
                  <a:pt x="1294" y="1234"/>
                </a:cubicBezTo>
                <a:cubicBezTo>
                  <a:pt x="1294" y="1233"/>
                  <a:pt x="1293" y="1233"/>
                  <a:pt x="1293" y="1232"/>
                </a:cubicBezTo>
                <a:cubicBezTo>
                  <a:pt x="1293" y="1233"/>
                  <a:pt x="1292" y="1233"/>
                  <a:pt x="1292" y="1233"/>
                </a:cubicBezTo>
                <a:cubicBezTo>
                  <a:pt x="1291" y="1234"/>
                  <a:pt x="1290" y="1236"/>
                  <a:pt x="1290" y="1237"/>
                </a:cubicBezTo>
                <a:cubicBezTo>
                  <a:pt x="1289" y="1237"/>
                  <a:pt x="1289" y="1237"/>
                  <a:pt x="1289" y="1237"/>
                </a:cubicBezTo>
                <a:cubicBezTo>
                  <a:pt x="1290" y="1236"/>
                  <a:pt x="1290" y="1234"/>
                  <a:pt x="1290" y="1232"/>
                </a:cubicBezTo>
                <a:cubicBezTo>
                  <a:pt x="1289" y="1232"/>
                  <a:pt x="1289" y="1233"/>
                  <a:pt x="1288" y="1234"/>
                </a:cubicBezTo>
                <a:cubicBezTo>
                  <a:pt x="1288" y="1234"/>
                  <a:pt x="1287" y="1235"/>
                  <a:pt x="1287" y="1236"/>
                </a:cubicBezTo>
                <a:cubicBezTo>
                  <a:pt x="1287" y="1232"/>
                  <a:pt x="1288" y="1232"/>
                  <a:pt x="1293" y="1231"/>
                </a:cubicBezTo>
                <a:cubicBezTo>
                  <a:pt x="1293" y="1230"/>
                  <a:pt x="1292" y="1230"/>
                  <a:pt x="1292" y="1230"/>
                </a:cubicBezTo>
                <a:cubicBezTo>
                  <a:pt x="1290" y="1230"/>
                  <a:pt x="1289" y="1229"/>
                  <a:pt x="1288" y="1226"/>
                </a:cubicBezTo>
                <a:cubicBezTo>
                  <a:pt x="1290" y="1226"/>
                  <a:pt x="1291" y="1226"/>
                  <a:pt x="1293" y="1225"/>
                </a:cubicBezTo>
                <a:cubicBezTo>
                  <a:pt x="1291" y="1223"/>
                  <a:pt x="1290" y="1220"/>
                  <a:pt x="1287" y="1220"/>
                </a:cubicBezTo>
                <a:cubicBezTo>
                  <a:pt x="1286" y="1220"/>
                  <a:pt x="1286" y="1219"/>
                  <a:pt x="1286" y="1219"/>
                </a:cubicBezTo>
                <a:cubicBezTo>
                  <a:pt x="1284" y="1217"/>
                  <a:pt x="1281" y="1215"/>
                  <a:pt x="1278" y="1213"/>
                </a:cubicBezTo>
                <a:cubicBezTo>
                  <a:pt x="1276" y="1211"/>
                  <a:pt x="1273" y="1211"/>
                  <a:pt x="1271" y="1211"/>
                </a:cubicBezTo>
                <a:cubicBezTo>
                  <a:pt x="1268" y="1211"/>
                  <a:pt x="1265" y="1212"/>
                  <a:pt x="1262" y="1213"/>
                </a:cubicBezTo>
                <a:cubicBezTo>
                  <a:pt x="1259" y="1214"/>
                  <a:pt x="1256" y="1216"/>
                  <a:pt x="1254" y="1219"/>
                </a:cubicBezTo>
                <a:cubicBezTo>
                  <a:pt x="1256" y="1219"/>
                  <a:pt x="1257" y="1219"/>
                  <a:pt x="1258" y="1219"/>
                </a:cubicBezTo>
                <a:cubicBezTo>
                  <a:pt x="1258" y="1219"/>
                  <a:pt x="1257" y="1220"/>
                  <a:pt x="1256" y="1220"/>
                </a:cubicBezTo>
                <a:cubicBezTo>
                  <a:pt x="1254" y="1221"/>
                  <a:pt x="1251" y="1220"/>
                  <a:pt x="1249" y="1222"/>
                </a:cubicBezTo>
                <a:cubicBezTo>
                  <a:pt x="1246" y="1226"/>
                  <a:pt x="1242" y="1230"/>
                  <a:pt x="1238" y="1234"/>
                </a:cubicBezTo>
                <a:cubicBezTo>
                  <a:pt x="1237" y="1236"/>
                  <a:pt x="1236" y="1238"/>
                  <a:pt x="1235" y="1241"/>
                </a:cubicBezTo>
                <a:cubicBezTo>
                  <a:pt x="1235" y="1241"/>
                  <a:pt x="1235" y="1242"/>
                  <a:pt x="1235" y="1242"/>
                </a:cubicBezTo>
                <a:cubicBezTo>
                  <a:pt x="1236" y="1244"/>
                  <a:pt x="1237" y="1246"/>
                  <a:pt x="1239" y="1248"/>
                </a:cubicBezTo>
                <a:cubicBezTo>
                  <a:pt x="1240" y="1247"/>
                  <a:pt x="1241" y="1245"/>
                  <a:pt x="1243" y="1244"/>
                </a:cubicBezTo>
                <a:cubicBezTo>
                  <a:pt x="1242" y="1245"/>
                  <a:pt x="1242" y="1246"/>
                  <a:pt x="1241" y="1248"/>
                </a:cubicBezTo>
                <a:cubicBezTo>
                  <a:pt x="1240" y="1249"/>
                  <a:pt x="1239" y="1250"/>
                  <a:pt x="1239" y="1252"/>
                </a:cubicBezTo>
                <a:cubicBezTo>
                  <a:pt x="1239" y="1253"/>
                  <a:pt x="1239" y="1254"/>
                  <a:pt x="1239" y="1255"/>
                </a:cubicBezTo>
                <a:cubicBezTo>
                  <a:pt x="1242" y="1258"/>
                  <a:pt x="1245" y="1258"/>
                  <a:pt x="1249" y="1256"/>
                </a:cubicBezTo>
                <a:cubicBezTo>
                  <a:pt x="1251" y="1255"/>
                  <a:pt x="1254" y="1253"/>
                  <a:pt x="1257" y="1253"/>
                </a:cubicBezTo>
                <a:cubicBezTo>
                  <a:pt x="1258" y="1252"/>
                  <a:pt x="1260" y="1251"/>
                  <a:pt x="1260" y="1250"/>
                </a:cubicBezTo>
                <a:cubicBezTo>
                  <a:pt x="1260" y="1247"/>
                  <a:pt x="1260" y="1243"/>
                  <a:pt x="1260" y="1240"/>
                </a:cubicBezTo>
                <a:cubicBezTo>
                  <a:pt x="1260" y="1237"/>
                  <a:pt x="1260" y="1234"/>
                  <a:pt x="1260" y="1231"/>
                </a:cubicBezTo>
                <a:cubicBezTo>
                  <a:pt x="1260" y="1234"/>
                  <a:pt x="1261" y="1236"/>
                  <a:pt x="1261" y="1239"/>
                </a:cubicBezTo>
                <a:cubicBezTo>
                  <a:pt x="1262" y="1244"/>
                  <a:pt x="1262" y="1248"/>
                  <a:pt x="1261" y="1252"/>
                </a:cubicBezTo>
                <a:cubicBezTo>
                  <a:pt x="1260" y="1253"/>
                  <a:pt x="1260" y="1254"/>
                  <a:pt x="1259" y="1254"/>
                </a:cubicBezTo>
                <a:cubicBezTo>
                  <a:pt x="1256" y="1254"/>
                  <a:pt x="1252" y="1256"/>
                  <a:pt x="1249" y="1258"/>
                </a:cubicBezTo>
                <a:cubicBezTo>
                  <a:pt x="1244" y="1261"/>
                  <a:pt x="1241" y="1259"/>
                  <a:pt x="1237" y="1255"/>
                </a:cubicBezTo>
                <a:cubicBezTo>
                  <a:pt x="1237" y="1255"/>
                  <a:pt x="1237" y="1253"/>
                  <a:pt x="1237" y="1253"/>
                </a:cubicBezTo>
                <a:cubicBezTo>
                  <a:pt x="1238" y="1251"/>
                  <a:pt x="1237" y="1249"/>
                  <a:pt x="1236" y="1247"/>
                </a:cubicBezTo>
                <a:cubicBezTo>
                  <a:pt x="1234" y="1245"/>
                  <a:pt x="1232" y="1242"/>
                  <a:pt x="1234" y="1240"/>
                </a:cubicBezTo>
                <a:cubicBezTo>
                  <a:pt x="1234" y="1238"/>
                  <a:pt x="1235" y="1236"/>
                  <a:pt x="1236" y="1234"/>
                </a:cubicBezTo>
                <a:cubicBezTo>
                  <a:pt x="1238" y="1232"/>
                  <a:pt x="1240" y="1229"/>
                  <a:pt x="1242" y="1226"/>
                </a:cubicBezTo>
                <a:cubicBezTo>
                  <a:pt x="1242" y="1226"/>
                  <a:pt x="1241" y="1226"/>
                  <a:pt x="1241" y="1226"/>
                </a:cubicBezTo>
                <a:cubicBezTo>
                  <a:pt x="1236" y="1228"/>
                  <a:pt x="1232" y="1229"/>
                  <a:pt x="1228" y="1232"/>
                </a:cubicBezTo>
                <a:cubicBezTo>
                  <a:pt x="1223" y="1237"/>
                  <a:pt x="1220" y="1242"/>
                  <a:pt x="1220" y="1249"/>
                </a:cubicBezTo>
                <a:cubicBezTo>
                  <a:pt x="1219" y="1255"/>
                  <a:pt x="1222" y="1261"/>
                  <a:pt x="1225" y="1267"/>
                </a:cubicBezTo>
                <a:cubicBezTo>
                  <a:pt x="1226" y="1268"/>
                  <a:pt x="1226" y="1270"/>
                  <a:pt x="1226" y="1271"/>
                </a:cubicBezTo>
                <a:cubicBezTo>
                  <a:pt x="1226" y="1272"/>
                  <a:pt x="1226" y="1274"/>
                  <a:pt x="1225" y="1275"/>
                </a:cubicBezTo>
                <a:cubicBezTo>
                  <a:pt x="1224" y="1277"/>
                  <a:pt x="1225" y="1278"/>
                  <a:pt x="1226" y="1278"/>
                </a:cubicBezTo>
                <a:cubicBezTo>
                  <a:pt x="1229" y="1279"/>
                  <a:pt x="1232" y="1280"/>
                  <a:pt x="1235" y="1280"/>
                </a:cubicBezTo>
                <a:cubicBezTo>
                  <a:pt x="1236" y="1280"/>
                  <a:pt x="1236" y="1279"/>
                  <a:pt x="1236" y="1279"/>
                </a:cubicBezTo>
                <a:cubicBezTo>
                  <a:pt x="1237" y="1278"/>
                  <a:pt x="1237" y="1276"/>
                  <a:pt x="1237" y="1275"/>
                </a:cubicBezTo>
                <a:cubicBezTo>
                  <a:pt x="1239" y="1273"/>
                  <a:pt x="1239" y="1270"/>
                  <a:pt x="1239" y="1267"/>
                </a:cubicBezTo>
                <a:cubicBezTo>
                  <a:pt x="1239" y="1267"/>
                  <a:pt x="1239" y="1266"/>
                  <a:pt x="1239" y="1266"/>
                </a:cubicBezTo>
                <a:cubicBezTo>
                  <a:pt x="1239" y="1266"/>
                  <a:pt x="1239" y="1266"/>
                  <a:pt x="1239" y="1265"/>
                </a:cubicBezTo>
                <a:cubicBezTo>
                  <a:pt x="1240" y="1268"/>
                  <a:pt x="1241" y="1268"/>
                  <a:pt x="1243" y="1268"/>
                </a:cubicBezTo>
                <a:cubicBezTo>
                  <a:pt x="1244" y="1268"/>
                  <a:pt x="1245" y="1268"/>
                  <a:pt x="1246" y="1268"/>
                </a:cubicBezTo>
                <a:cubicBezTo>
                  <a:pt x="1249" y="1268"/>
                  <a:pt x="1252" y="1269"/>
                  <a:pt x="1252" y="1264"/>
                </a:cubicBezTo>
                <a:cubicBezTo>
                  <a:pt x="1252" y="1267"/>
                  <a:pt x="1252" y="1268"/>
                  <a:pt x="1252" y="1269"/>
                </a:cubicBezTo>
                <a:cubicBezTo>
                  <a:pt x="1251" y="1270"/>
                  <a:pt x="1250" y="1271"/>
                  <a:pt x="1249" y="1271"/>
                </a:cubicBezTo>
                <a:cubicBezTo>
                  <a:pt x="1247" y="1272"/>
                  <a:pt x="1247" y="1274"/>
                  <a:pt x="1247" y="1274"/>
                </a:cubicBezTo>
                <a:cubicBezTo>
                  <a:pt x="1249" y="1277"/>
                  <a:pt x="1250" y="1279"/>
                  <a:pt x="1251" y="1281"/>
                </a:cubicBezTo>
                <a:cubicBezTo>
                  <a:pt x="1253" y="1282"/>
                  <a:pt x="1255" y="1282"/>
                  <a:pt x="1256" y="1280"/>
                </a:cubicBezTo>
                <a:cubicBezTo>
                  <a:pt x="1257" y="1279"/>
                  <a:pt x="1258" y="1278"/>
                  <a:pt x="1258" y="1278"/>
                </a:cubicBezTo>
                <a:cubicBezTo>
                  <a:pt x="1260" y="1276"/>
                  <a:pt x="1262" y="1275"/>
                  <a:pt x="1263" y="1274"/>
                </a:cubicBezTo>
                <a:cubicBezTo>
                  <a:pt x="1267" y="1270"/>
                  <a:pt x="1269" y="1264"/>
                  <a:pt x="1271" y="1258"/>
                </a:cubicBezTo>
                <a:cubicBezTo>
                  <a:pt x="1271" y="1257"/>
                  <a:pt x="1270" y="1257"/>
                  <a:pt x="1270" y="1256"/>
                </a:cubicBezTo>
                <a:cubicBezTo>
                  <a:pt x="1269" y="1255"/>
                  <a:pt x="1268" y="1254"/>
                  <a:pt x="1267" y="1253"/>
                </a:cubicBezTo>
                <a:close/>
                <a:moveTo>
                  <a:pt x="1219" y="1260"/>
                </a:moveTo>
                <a:cubicBezTo>
                  <a:pt x="1219" y="1261"/>
                  <a:pt x="1217" y="1261"/>
                  <a:pt x="1216" y="1263"/>
                </a:cubicBezTo>
                <a:cubicBezTo>
                  <a:pt x="1215" y="1263"/>
                  <a:pt x="1215" y="1264"/>
                  <a:pt x="1215" y="1264"/>
                </a:cubicBezTo>
                <a:cubicBezTo>
                  <a:pt x="1215" y="1267"/>
                  <a:pt x="1219" y="1272"/>
                  <a:pt x="1222" y="1271"/>
                </a:cubicBezTo>
                <a:cubicBezTo>
                  <a:pt x="1224" y="1271"/>
                  <a:pt x="1225" y="1270"/>
                  <a:pt x="1224" y="1268"/>
                </a:cubicBezTo>
                <a:cubicBezTo>
                  <a:pt x="1222" y="1265"/>
                  <a:pt x="1221" y="1263"/>
                  <a:pt x="1219" y="1260"/>
                </a:cubicBezTo>
                <a:close/>
                <a:moveTo>
                  <a:pt x="1272" y="1262"/>
                </a:moveTo>
                <a:cubicBezTo>
                  <a:pt x="1270" y="1266"/>
                  <a:pt x="1267" y="1271"/>
                  <a:pt x="1265" y="1275"/>
                </a:cubicBezTo>
                <a:cubicBezTo>
                  <a:pt x="1268" y="1275"/>
                  <a:pt x="1270" y="1276"/>
                  <a:pt x="1273" y="1275"/>
                </a:cubicBezTo>
                <a:cubicBezTo>
                  <a:pt x="1273" y="1275"/>
                  <a:pt x="1274" y="1274"/>
                  <a:pt x="1274" y="1274"/>
                </a:cubicBezTo>
                <a:cubicBezTo>
                  <a:pt x="1274" y="1271"/>
                  <a:pt x="1274" y="1268"/>
                  <a:pt x="1273" y="1266"/>
                </a:cubicBezTo>
                <a:cubicBezTo>
                  <a:pt x="1273" y="1264"/>
                  <a:pt x="1273" y="1263"/>
                  <a:pt x="1272" y="1262"/>
                </a:cubicBezTo>
                <a:close/>
                <a:moveTo>
                  <a:pt x="1219" y="1242"/>
                </a:moveTo>
                <a:cubicBezTo>
                  <a:pt x="1219" y="1242"/>
                  <a:pt x="1218" y="1242"/>
                  <a:pt x="1217" y="1242"/>
                </a:cubicBezTo>
                <a:cubicBezTo>
                  <a:pt x="1217" y="1242"/>
                  <a:pt x="1216" y="1242"/>
                  <a:pt x="1216" y="1242"/>
                </a:cubicBezTo>
                <a:cubicBezTo>
                  <a:pt x="1215" y="1242"/>
                  <a:pt x="1215" y="1241"/>
                  <a:pt x="1215" y="1240"/>
                </a:cubicBezTo>
                <a:cubicBezTo>
                  <a:pt x="1216" y="1238"/>
                  <a:pt x="1216" y="1236"/>
                  <a:pt x="1217" y="1234"/>
                </a:cubicBezTo>
                <a:cubicBezTo>
                  <a:pt x="1217" y="1234"/>
                  <a:pt x="1217" y="1234"/>
                  <a:pt x="1216" y="1234"/>
                </a:cubicBezTo>
                <a:cubicBezTo>
                  <a:pt x="1215" y="1235"/>
                  <a:pt x="1214" y="1236"/>
                  <a:pt x="1213" y="1237"/>
                </a:cubicBezTo>
                <a:cubicBezTo>
                  <a:pt x="1213" y="1238"/>
                  <a:pt x="1214" y="1243"/>
                  <a:pt x="1216" y="1244"/>
                </a:cubicBezTo>
                <a:cubicBezTo>
                  <a:pt x="1217" y="1245"/>
                  <a:pt x="1219" y="1244"/>
                  <a:pt x="1219" y="1242"/>
                </a:cubicBezTo>
                <a:close/>
                <a:moveTo>
                  <a:pt x="1219" y="1259"/>
                </a:moveTo>
                <a:cubicBezTo>
                  <a:pt x="1219" y="1260"/>
                  <a:pt x="1217" y="1261"/>
                  <a:pt x="1216" y="1262"/>
                </a:cubicBezTo>
                <a:cubicBezTo>
                  <a:pt x="1216" y="1263"/>
                  <a:pt x="1215" y="1263"/>
                  <a:pt x="1215" y="1264"/>
                </a:cubicBezTo>
                <a:cubicBezTo>
                  <a:pt x="1215" y="1267"/>
                  <a:pt x="1219" y="1271"/>
                  <a:pt x="1223" y="1271"/>
                </a:cubicBezTo>
                <a:cubicBezTo>
                  <a:pt x="1224" y="1271"/>
                  <a:pt x="1225" y="1270"/>
                  <a:pt x="1224" y="1268"/>
                </a:cubicBezTo>
                <a:cubicBezTo>
                  <a:pt x="1223" y="1265"/>
                  <a:pt x="1221" y="1262"/>
                  <a:pt x="1219" y="1259"/>
                </a:cubicBezTo>
                <a:close/>
                <a:moveTo>
                  <a:pt x="1272" y="1261"/>
                </a:moveTo>
                <a:cubicBezTo>
                  <a:pt x="1270" y="1266"/>
                  <a:pt x="1267" y="1270"/>
                  <a:pt x="1265" y="1275"/>
                </a:cubicBezTo>
                <a:cubicBezTo>
                  <a:pt x="1268" y="1275"/>
                  <a:pt x="1270" y="1275"/>
                  <a:pt x="1273" y="1275"/>
                </a:cubicBezTo>
                <a:cubicBezTo>
                  <a:pt x="1273" y="1275"/>
                  <a:pt x="1274" y="1274"/>
                  <a:pt x="1274" y="1273"/>
                </a:cubicBezTo>
                <a:cubicBezTo>
                  <a:pt x="1274" y="1270"/>
                  <a:pt x="1274" y="1268"/>
                  <a:pt x="1273" y="1266"/>
                </a:cubicBezTo>
                <a:cubicBezTo>
                  <a:pt x="1273" y="1264"/>
                  <a:pt x="1273" y="1263"/>
                  <a:pt x="1272" y="1261"/>
                </a:cubicBezTo>
                <a:close/>
                <a:moveTo>
                  <a:pt x="1220" y="1241"/>
                </a:moveTo>
                <a:cubicBezTo>
                  <a:pt x="1219" y="1242"/>
                  <a:pt x="1218" y="1242"/>
                  <a:pt x="1218" y="1242"/>
                </a:cubicBezTo>
                <a:cubicBezTo>
                  <a:pt x="1217" y="1242"/>
                  <a:pt x="1216" y="1242"/>
                  <a:pt x="1216" y="1242"/>
                </a:cubicBezTo>
                <a:cubicBezTo>
                  <a:pt x="1216" y="1241"/>
                  <a:pt x="1215" y="1241"/>
                  <a:pt x="1215" y="1240"/>
                </a:cubicBezTo>
                <a:cubicBezTo>
                  <a:pt x="1216" y="1238"/>
                  <a:pt x="1216" y="1236"/>
                  <a:pt x="1217" y="1234"/>
                </a:cubicBezTo>
                <a:cubicBezTo>
                  <a:pt x="1217" y="1234"/>
                  <a:pt x="1217" y="1234"/>
                  <a:pt x="1216" y="1234"/>
                </a:cubicBezTo>
                <a:cubicBezTo>
                  <a:pt x="1216" y="1235"/>
                  <a:pt x="1214" y="1236"/>
                  <a:pt x="1214" y="1237"/>
                </a:cubicBezTo>
                <a:cubicBezTo>
                  <a:pt x="1213" y="1238"/>
                  <a:pt x="1214" y="1243"/>
                  <a:pt x="1216" y="1244"/>
                </a:cubicBezTo>
                <a:cubicBezTo>
                  <a:pt x="1218" y="1245"/>
                  <a:pt x="1220" y="1243"/>
                  <a:pt x="1220" y="1241"/>
                </a:cubicBezTo>
                <a:close/>
                <a:moveTo>
                  <a:pt x="1271" y="1233"/>
                </a:moveTo>
                <a:cubicBezTo>
                  <a:pt x="1275" y="1229"/>
                  <a:pt x="1275" y="1229"/>
                  <a:pt x="1279" y="1228"/>
                </a:cubicBezTo>
                <a:cubicBezTo>
                  <a:pt x="1279" y="1230"/>
                  <a:pt x="1280" y="1231"/>
                  <a:pt x="1281" y="1231"/>
                </a:cubicBezTo>
                <a:cubicBezTo>
                  <a:pt x="1279" y="1233"/>
                  <a:pt x="1277" y="1234"/>
                  <a:pt x="1275" y="1235"/>
                </a:cubicBezTo>
                <a:cubicBezTo>
                  <a:pt x="1274" y="1235"/>
                  <a:pt x="1274" y="1234"/>
                  <a:pt x="1273" y="1233"/>
                </a:cubicBezTo>
                <a:cubicBezTo>
                  <a:pt x="1273" y="1233"/>
                  <a:pt x="1272" y="1233"/>
                  <a:pt x="1271" y="1233"/>
                </a:cubicBezTo>
                <a:close/>
                <a:moveTo>
                  <a:pt x="1277" y="1233"/>
                </a:moveTo>
                <a:cubicBezTo>
                  <a:pt x="1277" y="1232"/>
                  <a:pt x="1276" y="1232"/>
                  <a:pt x="1275" y="1232"/>
                </a:cubicBezTo>
                <a:cubicBezTo>
                  <a:pt x="1275" y="1232"/>
                  <a:pt x="1274" y="1233"/>
                  <a:pt x="1274" y="1233"/>
                </a:cubicBezTo>
                <a:cubicBezTo>
                  <a:pt x="1274" y="1233"/>
                  <a:pt x="1275" y="1234"/>
                  <a:pt x="1275" y="1234"/>
                </a:cubicBezTo>
                <a:cubicBezTo>
                  <a:pt x="1276" y="1234"/>
                  <a:pt x="1276" y="1233"/>
                  <a:pt x="1277" y="1233"/>
                </a:cubicBezTo>
                <a:close/>
                <a:moveTo>
                  <a:pt x="1259" y="1223"/>
                </a:moveTo>
                <a:cubicBezTo>
                  <a:pt x="1252" y="1222"/>
                  <a:pt x="1249" y="1225"/>
                  <a:pt x="1248" y="1233"/>
                </a:cubicBezTo>
                <a:cubicBezTo>
                  <a:pt x="1249" y="1231"/>
                  <a:pt x="1250" y="1228"/>
                  <a:pt x="1252" y="1226"/>
                </a:cubicBezTo>
                <a:cubicBezTo>
                  <a:pt x="1252" y="1226"/>
                  <a:pt x="1252" y="1226"/>
                  <a:pt x="1252" y="1226"/>
                </a:cubicBezTo>
                <a:cubicBezTo>
                  <a:pt x="1252" y="1227"/>
                  <a:pt x="1252" y="1228"/>
                  <a:pt x="1252" y="1229"/>
                </a:cubicBezTo>
                <a:cubicBezTo>
                  <a:pt x="1254" y="1226"/>
                  <a:pt x="1255" y="1224"/>
                  <a:pt x="1259" y="1223"/>
                </a:cubicBezTo>
                <a:close/>
                <a:moveTo>
                  <a:pt x="1302" y="1225"/>
                </a:moveTo>
                <a:cubicBezTo>
                  <a:pt x="1300" y="1226"/>
                  <a:pt x="1298" y="1228"/>
                  <a:pt x="1297" y="1229"/>
                </a:cubicBezTo>
                <a:cubicBezTo>
                  <a:pt x="1299" y="1229"/>
                  <a:pt x="1301" y="1228"/>
                  <a:pt x="1302" y="1225"/>
                </a:cubicBezTo>
                <a:close/>
                <a:moveTo>
                  <a:pt x="1269" y="1227"/>
                </a:moveTo>
                <a:cubicBezTo>
                  <a:pt x="1270" y="1226"/>
                  <a:pt x="1271" y="1224"/>
                  <a:pt x="1272" y="1223"/>
                </a:cubicBezTo>
                <a:cubicBezTo>
                  <a:pt x="1269" y="1224"/>
                  <a:pt x="1268" y="1225"/>
                  <a:pt x="1269" y="1227"/>
                </a:cubicBezTo>
                <a:close/>
                <a:moveTo>
                  <a:pt x="1279" y="1248"/>
                </a:moveTo>
                <a:cubicBezTo>
                  <a:pt x="1277" y="1248"/>
                  <a:pt x="1276" y="1249"/>
                  <a:pt x="1276" y="1250"/>
                </a:cubicBezTo>
                <a:cubicBezTo>
                  <a:pt x="1277" y="1249"/>
                  <a:pt x="1278" y="1249"/>
                  <a:pt x="1279" y="1248"/>
                </a:cubicBezTo>
                <a:close/>
                <a:moveTo>
                  <a:pt x="1278" y="1233"/>
                </a:moveTo>
                <a:cubicBezTo>
                  <a:pt x="1277" y="1232"/>
                  <a:pt x="1276" y="1232"/>
                  <a:pt x="1276" y="1232"/>
                </a:cubicBezTo>
                <a:cubicBezTo>
                  <a:pt x="1275" y="1232"/>
                  <a:pt x="1274" y="1233"/>
                  <a:pt x="1274" y="1233"/>
                </a:cubicBezTo>
                <a:cubicBezTo>
                  <a:pt x="1274" y="1233"/>
                  <a:pt x="1275" y="1234"/>
                  <a:pt x="1275" y="1234"/>
                </a:cubicBezTo>
                <a:cubicBezTo>
                  <a:pt x="1276" y="1234"/>
                  <a:pt x="1276" y="1233"/>
                  <a:pt x="1278" y="1233"/>
                </a:cubicBezTo>
                <a:close/>
                <a:moveTo>
                  <a:pt x="1568" y="1210"/>
                </a:moveTo>
                <a:cubicBezTo>
                  <a:pt x="1568" y="1210"/>
                  <a:pt x="1568" y="1210"/>
                  <a:pt x="1568" y="1210"/>
                </a:cubicBezTo>
                <a:cubicBezTo>
                  <a:pt x="1564" y="1210"/>
                  <a:pt x="1564" y="1210"/>
                  <a:pt x="1564" y="1210"/>
                </a:cubicBezTo>
                <a:cubicBezTo>
                  <a:pt x="1562" y="1212"/>
                  <a:pt x="1561" y="1213"/>
                  <a:pt x="1558" y="1214"/>
                </a:cubicBezTo>
                <a:cubicBezTo>
                  <a:pt x="1557" y="1216"/>
                  <a:pt x="1555" y="1216"/>
                  <a:pt x="1553" y="1217"/>
                </a:cubicBezTo>
                <a:cubicBezTo>
                  <a:pt x="1551" y="1218"/>
                  <a:pt x="1550" y="1219"/>
                  <a:pt x="1548" y="1220"/>
                </a:cubicBezTo>
                <a:cubicBezTo>
                  <a:pt x="1546" y="1221"/>
                  <a:pt x="1544" y="1221"/>
                  <a:pt x="1543" y="1221"/>
                </a:cubicBezTo>
                <a:cubicBezTo>
                  <a:pt x="1543" y="1221"/>
                  <a:pt x="1543" y="1221"/>
                  <a:pt x="1543" y="1232"/>
                </a:cubicBezTo>
                <a:cubicBezTo>
                  <a:pt x="1545" y="1231"/>
                  <a:pt x="1548" y="1230"/>
                  <a:pt x="1550" y="1229"/>
                </a:cubicBezTo>
                <a:cubicBezTo>
                  <a:pt x="1553" y="1228"/>
                  <a:pt x="1556" y="1226"/>
                  <a:pt x="1557" y="1225"/>
                </a:cubicBezTo>
                <a:cubicBezTo>
                  <a:pt x="1557" y="1225"/>
                  <a:pt x="1557" y="1225"/>
                  <a:pt x="1557" y="1284"/>
                </a:cubicBezTo>
                <a:cubicBezTo>
                  <a:pt x="1557" y="1284"/>
                  <a:pt x="1557" y="1284"/>
                  <a:pt x="1568" y="1284"/>
                </a:cubicBezTo>
                <a:cubicBezTo>
                  <a:pt x="1568" y="1284"/>
                  <a:pt x="1568" y="1284"/>
                  <a:pt x="1568" y="1210"/>
                </a:cubicBezTo>
                <a:close/>
                <a:moveTo>
                  <a:pt x="1690" y="1210"/>
                </a:moveTo>
                <a:cubicBezTo>
                  <a:pt x="1690" y="1210"/>
                  <a:pt x="1690" y="1210"/>
                  <a:pt x="1690" y="1210"/>
                </a:cubicBezTo>
                <a:cubicBezTo>
                  <a:pt x="1685" y="1210"/>
                  <a:pt x="1685" y="1210"/>
                  <a:pt x="1685" y="1210"/>
                </a:cubicBezTo>
                <a:cubicBezTo>
                  <a:pt x="1683" y="1212"/>
                  <a:pt x="1682" y="1213"/>
                  <a:pt x="1679" y="1214"/>
                </a:cubicBezTo>
                <a:cubicBezTo>
                  <a:pt x="1678" y="1216"/>
                  <a:pt x="1676" y="1216"/>
                  <a:pt x="1674" y="1217"/>
                </a:cubicBezTo>
                <a:cubicBezTo>
                  <a:pt x="1673" y="1218"/>
                  <a:pt x="1670" y="1219"/>
                  <a:pt x="1669" y="1220"/>
                </a:cubicBezTo>
                <a:cubicBezTo>
                  <a:pt x="1667" y="1221"/>
                  <a:pt x="1665" y="1221"/>
                  <a:pt x="1663" y="1221"/>
                </a:cubicBezTo>
                <a:cubicBezTo>
                  <a:pt x="1663" y="1221"/>
                  <a:pt x="1663" y="1221"/>
                  <a:pt x="1663" y="1232"/>
                </a:cubicBezTo>
                <a:cubicBezTo>
                  <a:pt x="1666" y="1231"/>
                  <a:pt x="1669" y="1230"/>
                  <a:pt x="1672" y="1229"/>
                </a:cubicBezTo>
                <a:cubicBezTo>
                  <a:pt x="1674" y="1228"/>
                  <a:pt x="1676" y="1226"/>
                  <a:pt x="1679" y="1225"/>
                </a:cubicBezTo>
                <a:cubicBezTo>
                  <a:pt x="1679" y="1225"/>
                  <a:pt x="1679" y="1225"/>
                  <a:pt x="1679" y="1284"/>
                </a:cubicBezTo>
                <a:cubicBezTo>
                  <a:pt x="1679" y="1284"/>
                  <a:pt x="1679" y="1284"/>
                  <a:pt x="1690" y="1284"/>
                </a:cubicBezTo>
                <a:cubicBezTo>
                  <a:pt x="1690" y="1284"/>
                  <a:pt x="1690" y="1284"/>
                  <a:pt x="1690" y="1210"/>
                </a:cubicBezTo>
                <a:close/>
                <a:moveTo>
                  <a:pt x="1737" y="1210"/>
                </a:moveTo>
                <a:cubicBezTo>
                  <a:pt x="1737" y="1210"/>
                  <a:pt x="1737" y="1210"/>
                  <a:pt x="1737" y="1210"/>
                </a:cubicBezTo>
                <a:cubicBezTo>
                  <a:pt x="1732" y="1210"/>
                  <a:pt x="1732" y="1210"/>
                  <a:pt x="1732" y="1210"/>
                </a:cubicBezTo>
                <a:cubicBezTo>
                  <a:pt x="1730" y="1212"/>
                  <a:pt x="1728" y="1213"/>
                  <a:pt x="1726" y="1214"/>
                </a:cubicBezTo>
                <a:cubicBezTo>
                  <a:pt x="1725" y="1216"/>
                  <a:pt x="1722" y="1216"/>
                  <a:pt x="1721" y="1217"/>
                </a:cubicBezTo>
                <a:cubicBezTo>
                  <a:pt x="1720" y="1218"/>
                  <a:pt x="1717" y="1219"/>
                  <a:pt x="1716" y="1220"/>
                </a:cubicBezTo>
                <a:cubicBezTo>
                  <a:pt x="1714" y="1221"/>
                  <a:pt x="1712" y="1221"/>
                  <a:pt x="1710" y="1221"/>
                </a:cubicBezTo>
                <a:cubicBezTo>
                  <a:pt x="1710" y="1221"/>
                  <a:pt x="1710" y="1221"/>
                  <a:pt x="1710" y="1232"/>
                </a:cubicBezTo>
                <a:cubicBezTo>
                  <a:pt x="1713" y="1231"/>
                  <a:pt x="1716" y="1230"/>
                  <a:pt x="1718" y="1229"/>
                </a:cubicBezTo>
                <a:cubicBezTo>
                  <a:pt x="1721" y="1228"/>
                  <a:pt x="1723" y="1226"/>
                  <a:pt x="1725" y="1225"/>
                </a:cubicBezTo>
                <a:cubicBezTo>
                  <a:pt x="1725" y="1225"/>
                  <a:pt x="1725" y="1225"/>
                  <a:pt x="1725" y="1284"/>
                </a:cubicBezTo>
                <a:cubicBezTo>
                  <a:pt x="1725" y="1284"/>
                  <a:pt x="1725" y="1284"/>
                  <a:pt x="1737" y="1284"/>
                </a:cubicBezTo>
                <a:cubicBezTo>
                  <a:pt x="1737" y="1284"/>
                  <a:pt x="1737" y="1284"/>
                  <a:pt x="1737" y="1210"/>
                </a:cubicBezTo>
                <a:close/>
                <a:moveTo>
                  <a:pt x="1783" y="1210"/>
                </a:moveTo>
                <a:cubicBezTo>
                  <a:pt x="1783" y="1210"/>
                  <a:pt x="1783" y="1210"/>
                  <a:pt x="1783" y="1210"/>
                </a:cubicBezTo>
                <a:cubicBezTo>
                  <a:pt x="1779" y="1210"/>
                  <a:pt x="1779" y="1210"/>
                  <a:pt x="1779" y="1210"/>
                </a:cubicBezTo>
                <a:cubicBezTo>
                  <a:pt x="1777" y="1212"/>
                  <a:pt x="1775" y="1213"/>
                  <a:pt x="1773" y="1214"/>
                </a:cubicBezTo>
                <a:cubicBezTo>
                  <a:pt x="1772" y="1216"/>
                  <a:pt x="1769" y="1216"/>
                  <a:pt x="1768" y="1217"/>
                </a:cubicBezTo>
                <a:cubicBezTo>
                  <a:pt x="1766" y="1218"/>
                  <a:pt x="1764" y="1218"/>
                  <a:pt x="1762" y="1219"/>
                </a:cubicBezTo>
                <a:cubicBezTo>
                  <a:pt x="1761" y="1220"/>
                  <a:pt x="1759" y="1221"/>
                  <a:pt x="1757" y="1221"/>
                </a:cubicBezTo>
                <a:cubicBezTo>
                  <a:pt x="1757" y="1221"/>
                  <a:pt x="1757" y="1221"/>
                  <a:pt x="1757" y="1232"/>
                </a:cubicBezTo>
                <a:cubicBezTo>
                  <a:pt x="1760" y="1231"/>
                  <a:pt x="1763" y="1229"/>
                  <a:pt x="1765" y="1229"/>
                </a:cubicBezTo>
                <a:cubicBezTo>
                  <a:pt x="1767" y="1228"/>
                  <a:pt x="1770" y="1226"/>
                  <a:pt x="1772" y="1225"/>
                </a:cubicBezTo>
                <a:cubicBezTo>
                  <a:pt x="1772" y="1225"/>
                  <a:pt x="1772" y="1225"/>
                  <a:pt x="1772" y="1284"/>
                </a:cubicBezTo>
                <a:cubicBezTo>
                  <a:pt x="1772" y="1284"/>
                  <a:pt x="1772" y="1284"/>
                  <a:pt x="1783" y="1284"/>
                </a:cubicBezTo>
                <a:cubicBezTo>
                  <a:pt x="1783" y="1284"/>
                  <a:pt x="1783" y="1284"/>
                  <a:pt x="1783" y="1210"/>
                </a:cubicBezTo>
                <a:close/>
                <a:moveTo>
                  <a:pt x="1589" y="1243"/>
                </a:moveTo>
                <a:cubicBezTo>
                  <a:pt x="1589" y="1243"/>
                  <a:pt x="1589" y="1243"/>
                  <a:pt x="1589" y="1243"/>
                </a:cubicBezTo>
                <a:cubicBezTo>
                  <a:pt x="1588" y="1251"/>
                  <a:pt x="1588" y="1251"/>
                  <a:pt x="1588" y="1251"/>
                </a:cubicBezTo>
                <a:cubicBezTo>
                  <a:pt x="1595" y="1251"/>
                  <a:pt x="1595" y="1254"/>
                  <a:pt x="1595" y="1257"/>
                </a:cubicBezTo>
                <a:cubicBezTo>
                  <a:pt x="1595" y="1259"/>
                  <a:pt x="1595" y="1261"/>
                  <a:pt x="1595" y="1264"/>
                </a:cubicBezTo>
                <a:cubicBezTo>
                  <a:pt x="1595" y="1267"/>
                  <a:pt x="1594" y="1269"/>
                  <a:pt x="1594" y="1271"/>
                </a:cubicBezTo>
                <a:cubicBezTo>
                  <a:pt x="1594" y="1281"/>
                  <a:pt x="1600" y="1284"/>
                  <a:pt x="1609" y="1284"/>
                </a:cubicBezTo>
                <a:cubicBezTo>
                  <a:pt x="1609" y="1284"/>
                  <a:pt x="1609" y="1284"/>
                  <a:pt x="1613" y="1284"/>
                </a:cubicBezTo>
                <a:cubicBezTo>
                  <a:pt x="1613" y="1284"/>
                  <a:pt x="1613" y="1284"/>
                  <a:pt x="1613" y="1275"/>
                </a:cubicBezTo>
                <a:cubicBezTo>
                  <a:pt x="1613" y="1275"/>
                  <a:pt x="1613" y="1275"/>
                  <a:pt x="1611" y="1275"/>
                </a:cubicBezTo>
                <a:cubicBezTo>
                  <a:pt x="1607" y="1275"/>
                  <a:pt x="1606" y="1272"/>
                  <a:pt x="1606" y="1269"/>
                </a:cubicBezTo>
                <a:cubicBezTo>
                  <a:pt x="1606" y="1267"/>
                  <a:pt x="1606" y="1266"/>
                  <a:pt x="1607" y="1264"/>
                </a:cubicBezTo>
                <a:cubicBezTo>
                  <a:pt x="1607" y="1263"/>
                  <a:pt x="1607" y="1260"/>
                  <a:pt x="1607" y="1258"/>
                </a:cubicBezTo>
                <a:cubicBezTo>
                  <a:pt x="1607" y="1251"/>
                  <a:pt x="1604" y="1248"/>
                  <a:pt x="1598" y="1247"/>
                </a:cubicBezTo>
                <a:cubicBezTo>
                  <a:pt x="1598" y="1247"/>
                  <a:pt x="1598" y="1247"/>
                  <a:pt x="1598" y="1246"/>
                </a:cubicBezTo>
                <a:cubicBezTo>
                  <a:pt x="1604" y="1245"/>
                  <a:pt x="1607" y="1243"/>
                  <a:pt x="1607" y="1236"/>
                </a:cubicBezTo>
                <a:cubicBezTo>
                  <a:pt x="1607" y="1233"/>
                  <a:pt x="1607" y="1231"/>
                  <a:pt x="1607" y="1229"/>
                </a:cubicBezTo>
                <a:cubicBezTo>
                  <a:pt x="1606" y="1228"/>
                  <a:pt x="1606" y="1226"/>
                  <a:pt x="1606" y="1225"/>
                </a:cubicBezTo>
                <a:cubicBezTo>
                  <a:pt x="1606" y="1221"/>
                  <a:pt x="1607" y="1219"/>
                  <a:pt x="1611" y="1219"/>
                </a:cubicBezTo>
                <a:cubicBezTo>
                  <a:pt x="1611" y="1219"/>
                  <a:pt x="1611" y="1219"/>
                  <a:pt x="1613" y="1219"/>
                </a:cubicBezTo>
                <a:cubicBezTo>
                  <a:pt x="1613" y="1219"/>
                  <a:pt x="1613" y="1219"/>
                  <a:pt x="1613" y="1209"/>
                </a:cubicBezTo>
                <a:cubicBezTo>
                  <a:pt x="1613" y="1209"/>
                  <a:pt x="1613" y="1209"/>
                  <a:pt x="1609" y="1209"/>
                </a:cubicBezTo>
                <a:cubicBezTo>
                  <a:pt x="1600" y="1209"/>
                  <a:pt x="1594" y="1214"/>
                  <a:pt x="1594" y="1222"/>
                </a:cubicBezTo>
                <a:cubicBezTo>
                  <a:pt x="1594" y="1224"/>
                  <a:pt x="1595" y="1227"/>
                  <a:pt x="1595" y="1230"/>
                </a:cubicBezTo>
                <a:cubicBezTo>
                  <a:pt x="1595" y="1232"/>
                  <a:pt x="1595" y="1235"/>
                  <a:pt x="1595" y="1236"/>
                </a:cubicBezTo>
                <a:cubicBezTo>
                  <a:pt x="1595" y="1239"/>
                  <a:pt x="1595" y="1242"/>
                  <a:pt x="1589" y="1243"/>
                </a:cubicBezTo>
                <a:close/>
                <a:moveTo>
                  <a:pt x="1643" y="1251"/>
                </a:moveTo>
                <a:cubicBezTo>
                  <a:pt x="1643" y="1251"/>
                  <a:pt x="1643" y="1251"/>
                  <a:pt x="1643" y="1251"/>
                </a:cubicBezTo>
                <a:cubicBezTo>
                  <a:pt x="1643" y="1243"/>
                  <a:pt x="1643" y="1243"/>
                  <a:pt x="1643" y="1243"/>
                </a:cubicBezTo>
                <a:cubicBezTo>
                  <a:pt x="1637" y="1242"/>
                  <a:pt x="1637" y="1239"/>
                  <a:pt x="1637" y="1236"/>
                </a:cubicBezTo>
                <a:cubicBezTo>
                  <a:pt x="1637" y="1235"/>
                  <a:pt x="1637" y="1232"/>
                  <a:pt x="1637" y="1230"/>
                </a:cubicBezTo>
                <a:cubicBezTo>
                  <a:pt x="1637" y="1227"/>
                  <a:pt x="1637" y="1224"/>
                  <a:pt x="1637" y="1222"/>
                </a:cubicBezTo>
                <a:cubicBezTo>
                  <a:pt x="1637" y="1214"/>
                  <a:pt x="1632" y="1209"/>
                  <a:pt x="1623" y="1209"/>
                </a:cubicBezTo>
                <a:cubicBezTo>
                  <a:pt x="1623" y="1209"/>
                  <a:pt x="1623" y="1209"/>
                  <a:pt x="1619" y="1209"/>
                </a:cubicBezTo>
                <a:cubicBezTo>
                  <a:pt x="1619" y="1209"/>
                  <a:pt x="1619" y="1209"/>
                  <a:pt x="1619" y="1219"/>
                </a:cubicBezTo>
                <a:cubicBezTo>
                  <a:pt x="1619" y="1219"/>
                  <a:pt x="1619" y="1219"/>
                  <a:pt x="1621" y="1219"/>
                </a:cubicBezTo>
                <a:cubicBezTo>
                  <a:pt x="1625" y="1219"/>
                  <a:pt x="1626" y="1221"/>
                  <a:pt x="1626" y="1225"/>
                </a:cubicBezTo>
                <a:cubicBezTo>
                  <a:pt x="1626" y="1226"/>
                  <a:pt x="1626" y="1228"/>
                  <a:pt x="1626" y="1229"/>
                </a:cubicBezTo>
                <a:cubicBezTo>
                  <a:pt x="1625" y="1231"/>
                  <a:pt x="1625" y="1233"/>
                  <a:pt x="1625" y="1236"/>
                </a:cubicBezTo>
                <a:cubicBezTo>
                  <a:pt x="1625" y="1243"/>
                  <a:pt x="1628" y="1245"/>
                  <a:pt x="1634" y="1246"/>
                </a:cubicBezTo>
                <a:cubicBezTo>
                  <a:pt x="1634" y="1246"/>
                  <a:pt x="1634" y="1246"/>
                  <a:pt x="1634" y="1247"/>
                </a:cubicBezTo>
                <a:cubicBezTo>
                  <a:pt x="1628" y="1248"/>
                  <a:pt x="1625" y="1251"/>
                  <a:pt x="1625" y="1258"/>
                </a:cubicBezTo>
                <a:cubicBezTo>
                  <a:pt x="1625" y="1260"/>
                  <a:pt x="1625" y="1263"/>
                  <a:pt x="1626" y="1264"/>
                </a:cubicBezTo>
                <a:cubicBezTo>
                  <a:pt x="1626" y="1266"/>
                  <a:pt x="1626" y="1267"/>
                  <a:pt x="1626" y="1269"/>
                </a:cubicBezTo>
                <a:cubicBezTo>
                  <a:pt x="1626" y="1272"/>
                  <a:pt x="1625" y="1275"/>
                  <a:pt x="1621" y="1275"/>
                </a:cubicBezTo>
                <a:cubicBezTo>
                  <a:pt x="1621" y="1275"/>
                  <a:pt x="1621" y="1275"/>
                  <a:pt x="1619" y="1275"/>
                </a:cubicBezTo>
                <a:cubicBezTo>
                  <a:pt x="1619" y="1275"/>
                  <a:pt x="1619" y="1275"/>
                  <a:pt x="1619" y="1284"/>
                </a:cubicBezTo>
                <a:cubicBezTo>
                  <a:pt x="1619" y="1284"/>
                  <a:pt x="1619" y="1284"/>
                  <a:pt x="1623" y="1284"/>
                </a:cubicBezTo>
                <a:cubicBezTo>
                  <a:pt x="1632" y="1284"/>
                  <a:pt x="1637" y="1281"/>
                  <a:pt x="1637" y="1271"/>
                </a:cubicBezTo>
                <a:cubicBezTo>
                  <a:pt x="1637" y="1269"/>
                  <a:pt x="1637" y="1267"/>
                  <a:pt x="1637" y="1264"/>
                </a:cubicBezTo>
                <a:cubicBezTo>
                  <a:pt x="1637" y="1261"/>
                  <a:pt x="1637" y="1259"/>
                  <a:pt x="1637" y="1257"/>
                </a:cubicBezTo>
                <a:cubicBezTo>
                  <a:pt x="1637" y="1254"/>
                  <a:pt x="1637" y="1251"/>
                  <a:pt x="1643" y="1251"/>
                </a:cubicBezTo>
                <a:close/>
                <a:moveTo>
                  <a:pt x="1827" y="1284"/>
                </a:moveTo>
                <a:cubicBezTo>
                  <a:pt x="1820" y="1284"/>
                  <a:pt x="1813" y="1281"/>
                  <a:pt x="1809" y="1275"/>
                </a:cubicBezTo>
                <a:cubicBezTo>
                  <a:pt x="1805" y="1268"/>
                  <a:pt x="1803" y="1260"/>
                  <a:pt x="1803" y="1247"/>
                </a:cubicBezTo>
                <a:cubicBezTo>
                  <a:pt x="1803" y="1234"/>
                  <a:pt x="1805" y="1224"/>
                  <a:pt x="1809" y="1218"/>
                </a:cubicBezTo>
                <a:cubicBezTo>
                  <a:pt x="1814" y="1211"/>
                  <a:pt x="1820" y="1208"/>
                  <a:pt x="1829" y="1208"/>
                </a:cubicBezTo>
                <a:cubicBezTo>
                  <a:pt x="1846" y="1208"/>
                  <a:pt x="1854" y="1220"/>
                  <a:pt x="1854" y="1246"/>
                </a:cubicBezTo>
                <a:cubicBezTo>
                  <a:pt x="1854" y="1258"/>
                  <a:pt x="1851" y="1268"/>
                  <a:pt x="1846" y="1274"/>
                </a:cubicBezTo>
                <a:cubicBezTo>
                  <a:pt x="1842" y="1281"/>
                  <a:pt x="1835" y="1284"/>
                  <a:pt x="1827" y="1284"/>
                </a:cubicBezTo>
                <a:close/>
                <a:moveTo>
                  <a:pt x="1829" y="1217"/>
                </a:moveTo>
                <a:cubicBezTo>
                  <a:pt x="1819" y="1217"/>
                  <a:pt x="1815" y="1227"/>
                  <a:pt x="1815" y="1247"/>
                </a:cubicBezTo>
                <a:cubicBezTo>
                  <a:pt x="1815" y="1266"/>
                  <a:pt x="1819" y="1274"/>
                  <a:pt x="1828" y="1274"/>
                </a:cubicBezTo>
                <a:cubicBezTo>
                  <a:pt x="1837" y="1274"/>
                  <a:pt x="1841" y="1266"/>
                  <a:pt x="1841" y="1246"/>
                </a:cubicBezTo>
                <a:cubicBezTo>
                  <a:pt x="1841" y="1227"/>
                  <a:pt x="1837" y="1217"/>
                  <a:pt x="1829" y="1217"/>
                </a:cubicBezTo>
                <a:close/>
                <a:moveTo>
                  <a:pt x="1897" y="1284"/>
                </a:moveTo>
                <a:cubicBezTo>
                  <a:pt x="1890" y="1284"/>
                  <a:pt x="1884" y="1281"/>
                  <a:pt x="1880" y="1275"/>
                </a:cubicBezTo>
                <a:cubicBezTo>
                  <a:pt x="1875" y="1268"/>
                  <a:pt x="1873" y="1260"/>
                  <a:pt x="1873" y="1247"/>
                </a:cubicBezTo>
                <a:cubicBezTo>
                  <a:pt x="1873" y="1234"/>
                  <a:pt x="1875" y="1224"/>
                  <a:pt x="1880" y="1218"/>
                </a:cubicBezTo>
                <a:cubicBezTo>
                  <a:pt x="1884" y="1211"/>
                  <a:pt x="1891" y="1208"/>
                  <a:pt x="1900" y="1208"/>
                </a:cubicBezTo>
                <a:cubicBezTo>
                  <a:pt x="1916" y="1208"/>
                  <a:pt x="1924" y="1220"/>
                  <a:pt x="1924" y="1246"/>
                </a:cubicBezTo>
                <a:cubicBezTo>
                  <a:pt x="1924" y="1258"/>
                  <a:pt x="1922" y="1268"/>
                  <a:pt x="1917" y="1274"/>
                </a:cubicBezTo>
                <a:cubicBezTo>
                  <a:pt x="1912" y="1281"/>
                  <a:pt x="1906" y="1284"/>
                  <a:pt x="1897" y="1284"/>
                </a:cubicBezTo>
                <a:close/>
                <a:moveTo>
                  <a:pt x="1899" y="1217"/>
                </a:moveTo>
                <a:cubicBezTo>
                  <a:pt x="1890" y="1217"/>
                  <a:pt x="1885" y="1227"/>
                  <a:pt x="1885" y="1247"/>
                </a:cubicBezTo>
                <a:cubicBezTo>
                  <a:pt x="1885" y="1266"/>
                  <a:pt x="1889" y="1274"/>
                  <a:pt x="1898" y="1274"/>
                </a:cubicBezTo>
                <a:cubicBezTo>
                  <a:pt x="1907" y="1274"/>
                  <a:pt x="1911" y="1266"/>
                  <a:pt x="1911" y="1246"/>
                </a:cubicBezTo>
                <a:cubicBezTo>
                  <a:pt x="1911" y="1227"/>
                  <a:pt x="1907" y="1217"/>
                  <a:pt x="1899" y="1217"/>
                </a:cubicBezTo>
                <a:close/>
                <a:moveTo>
                  <a:pt x="43" y="1306"/>
                </a:moveTo>
                <a:cubicBezTo>
                  <a:pt x="43" y="1306"/>
                  <a:pt x="43" y="1306"/>
                  <a:pt x="43" y="1306"/>
                </a:cubicBezTo>
                <a:cubicBezTo>
                  <a:pt x="37" y="1306"/>
                  <a:pt x="37" y="1306"/>
                  <a:pt x="37" y="1306"/>
                </a:cubicBezTo>
                <a:cubicBezTo>
                  <a:pt x="35" y="1308"/>
                  <a:pt x="34" y="1309"/>
                  <a:pt x="32" y="1310"/>
                </a:cubicBezTo>
                <a:cubicBezTo>
                  <a:pt x="30" y="1312"/>
                  <a:pt x="29" y="1312"/>
                  <a:pt x="27" y="1313"/>
                </a:cubicBezTo>
                <a:cubicBezTo>
                  <a:pt x="25" y="1314"/>
                  <a:pt x="23" y="1315"/>
                  <a:pt x="22" y="1316"/>
                </a:cubicBezTo>
                <a:cubicBezTo>
                  <a:pt x="19" y="1317"/>
                  <a:pt x="18" y="1317"/>
                  <a:pt x="16" y="1317"/>
                </a:cubicBezTo>
                <a:cubicBezTo>
                  <a:pt x="16" y="1317"/>
                  <a:pt x="16" y="1317"/>
                  <a:pt x="16" y="1328"/>
                </a:cubicBezTo>
                <a:cubicBezTo>
                  <a:pt x="19" y="1327"/>
                  <a:pt x="22" y="1326"/>
                  <a:pt x="24" y="1325"/>
                </a:cubicBezTo>
                <a:cubicBezTo>
                  <a:pt x="27" y="1324"/>
                  <a:pt x="29" y="1322"/>
                  <a:pt x="31" y="1321"/>
                </a:cubicBezTo>
                <a:cubicBezTo>
                  <a:pt x="31" y="1321"/>
                  <a:pt x="31" y="1321"/>
                  <a:pt x="31" y="1380"/>
                </a:cubicBezTo>
                <a:cubicBezTo>
                  <a:pt x="31" y="1380"/>
                  <a:pt x="31" y="1380"/>
                  <a:pt x="43" y="1380"/>
                </a:cubicBezTo>
                <a:cubicBezTo>
                  <a:pt x="43" y="1380"/>
                  <a:pt x="43" y="1380"/>
                  <a:pt x="43" y="1306"/>
                </a:cubicBezTo>
                <a:close/>
                <a:moveTo>
                  <a:pt x="91" y="1306"/>
                </a:moveTo>
                <a:cubicBezTo>
                  <a:pt x="91" y="1306"/>
                  <a:pt x="91" y="1306"/>
                  <a:pt x="91" y="1306"/>
                </a:cubicBezTo>
                <a:cubicBezTo>
                  <a:pt x="85" y="1306"/>
                  <a:pt x="85" y="1306"/>
                  <a:pt x="85" y="1306"/>
                </a:cubicBezTo>
                <a:cubicBezTo>
                  <a:pt x="83" y="1308"/>
                  <a:pt x="82" y="1309"/>
                  <a:pt x="79" y="1310"/>
                </a:cubicBezTo>
                <a:cubicBezTo>
                  <a:pt x="78" y="1312"/>
                  <a:pt x="76" y="1312"/>
                  <a:pt x="74" y="1313"/>
                </a:cubicBezTo>
                <a:cubicBezTo>
                  <a:pt x="73" y="1314"/>
                  <a:pt x="71" y="1315"/>
                  <a:pt x="69" y="1316"/>
                </a:cubicBezTo>
                <a:cubicBezTo>
                  <a:pt x="67" y="1317"/>
                  <a:pt x="65" y="1317"/>
                  <a:pt x="63" y="1317"/>
                </a:cubicBezTo>
                <a:cubicBezTo>
                  <a:pt x="63" y="1317"/>
                  <a:pt x="63" y="1317"/>
                  <a:pt x="63" y="1328"/>
                </a:cubicBezTo>
                <a:cubicBezTo>
                  <a:pt x="66" y="1327"/>
                  <a:pt x="69" y="1326"/>
                  <a:pt x="71" y="1325"/>
                </a:cubicBezTo>
                <a:cubicBezTo>
                  <a:pt x="74" y="1324"/>
                  <a:pt x="77" y="1322"/>
                  <a:pt x="79" y="1321"/>
                </a:cubicBezTo>
                <a:cubicBezTo>
                  <a:pt x="79" y="1321"/>
                  <a:pt x="79" y="1321"/>
                  <a:pt x="79" y="1380"/>
                </a:cubicBezTo>
                <a:cubicBezTo>
                  <a:pt x="79" y="1380"/>
                  <a:pt x="79" y="1380"/>
                  <a:pt x="91" y="1380"/>
                </a:cubicBezTo>
                <a:cubicBezTo>
                  <a:pt x="91" y="1380"/>
                  <a:pt x="91" y="1380"/>
                  <a:pt x="91" y="1306"/>
                </a:cubicBezTo>
                <a:close/>
                <a:moveTo>
                  <a:pt x="137" y="1306"/>
                </a:moveTo>
                <a:cubicBezTo>
                  <a:pt x="137" y="1306"/>
                  <a:pt x="137" y="1306"/>
                  <a:pt x="137" y="1306"/>
                </a:cubicBezTo>
                <a:cubicBezTo>
                  <a:pt x="133" y="1306"/>
                  <a:pt x="133" y="1306"/>
                  <a:pt x="133" y="1306"/>
                </a:cubicBezTo>
                <a:cubicBezTo>
                  <a:pt x="131" y="1308"/>
                  <a:pt x="129" y="1309"/>
                  <a:pt x="127" y="1310"/>
                </a:cubicBezTo>
                <a:cubicBezTo>
                  <a:pt x="125" y="1312"/>
                  <a:pt x="123" y="1312"/>
                  <a:pt x="122" y="1313"/>
                </a:cubicBezTo>
                <a:cubicBezTo>
                  <a:pt x="120" y="1314"/>
                  <a:pt x="118" y="1314"/>
                  <a:pt x="116" y="1315"/>
                </a:cubicBezTo>
                <a:cubicBezTo>
                  <a:pt x="114" y="1316"/>
                  <a:pt x="112" y="1317"/>
                  <a:pt x="111" y="1317"/>
                </a:cubicBezTo>
                <a:cubicBezTo>
                  <a:pt x="111" y="1317"/>
                  <a:pt x="111" y="1317"/>
                  <a:pt x="111" y="1328"/>
                </a:cubicBezTo>
                <a:cubicBezTo>
                  <a:pt x="114" y="1327"/>
                  <a:pt x="117" y="1325"/>
                  <a:pt x="119" y="1325"/>
                </a:cubicBezTo>
                <a:cubicBezTo>
                  <a:pt x="121" y="1324"/>
                  <a:pt x="124" y="1322"/>
                  <a:pt x="125" y="1321"/>
                </a:cubicBezTo>
                <a:cubicBezTo>
                  <a:pt x="125" y="1321"/>
                  <a:pt x="125" y="1321"/>
                  <a:pt x="125" y="1380"/>
                </a:cubicBezTo>
                <a:cubicBezTo>
                  <a:pt x="125" y="1380"/>
                  <a:pt x="125" y="1380"/>
                  <a:pt x="137" y="1380"/>
                </a:cubicBezTo>
                <a:cubicBezTo>
                  <a:pt x="137" y="1380"/>
                  <a:pt x="137" y="1380"/>
                  <a:pt x="137" y="1306"/>
                </a:cubicBezTo>
                <a:close/>
                <a:moveTo>
                  <a:pt x="182" y="1380"/>
                </a:moveTo>
                <a:cubicBezTo>
                  <a:pt x="174" y="1380"/>
                  <a:pt x="168" y="1377"/>
                  <a:pt x="163" y="1371"/>
                </a:cubicBezTo>
                <a:cubicBezTo>
                  <a:pt x="160" y="1364"/>
                  <a:pt x="157" y="1356"/>
                  <a:pt x="157" y="1343"/>
                </a:cubicBezTo>
                <a:cubicBezTo>
                  <a:pt x="157" y="1330"/>
                  <a:pt x="160" y="1320"/>
                  <a:pt x="164" y="1314"/>
                </a:cubicBezTo>
                <a:cubicBezTo>
                  <a:pt x="168" y="1307"/>
                  <a:pt x="175" y="1304"/>
                  <a:pt x="184" y="1304"/>
                </a:cubicBezTo>
                <a:cubicBezTo>
                  <a:pt x="200" y="1304"/>
                  <a:pt x="208" y="1316"/>
                  <a:pt x="208" y="1342"/>
                </a:cubicBezTo>
                <a:cubicBezTo>
                  <a:pt x="208" y="1354"/>
                  <a:pt x="206" y="1364"/>
                  <a:pt x="201" y="1370"/>
                </a:cubicBezTo>
                <a:cubicBezTo>
                  <a:pt x="196" y="1377"/>
                  <a:pt x="190" y="1380"/>
                  <a:pt x="182" y="1380"/>
                </a:cubicBezTo>
                <a:close/>
                <a:moveTo>
                  <a:pt x="183" y="1313"/>
                </a:moveTo>
                <a:cubicBezTo>
                  <a:pt x="174" y="1313"/>
                  <a:pt x="169" y="1323"/>
                  <a:pt x="169" y="1343"/>
                </a:cubicBezTo>
                <a:cubicBezTo>
                  <a:pt x="169" y="1362"/>
                  <a:pt x="174" y="1370"/>
                  <a:pt x="182" y="1370"/>
                </a:cubicBezTo>
                <a:cubicBezTo>
                  <a:pt x="191" y="1370"/>
                  <a:pt x="196" y="1362"/>
                  <a:pt x="196" y="1342"/>
                </a:cubicBezTo>
                <a:cubicBezTo>
                  <a:pt x="196" y="1323"/>
                  <a:pt x="191" y="1313"/>
                  <a:pt x="183" y="1313"/>
                </a:cubicBezTo>
                <a:close/>
                <a:moveTo>
                  <a:pt x="253" y="1380"/>
                </a:moveTo>
                <a:cubicBezTo>
                  <a:pt x="245" y="1380"/>
                  <a:pt x="239" y="1377"/>
                  <a:pt x="235" y="1371"/>
                </a:cubicBezTo>
                <a:cubicBezTo>
                  <a:pt x="231" y="1364"/>
                  <a:pt x="228" y="1356"/>
                  <a:pt x="228" y="1343"/>
                </a:cubicBezTo>
                <a:cubicBezTo>
                  <a:pt x="228" y="1330"/>
                  <a:pt x="231" y="1320"/>
                  <a:pt x="235" y="1314"/>
                </a:cubicBezTo>
                <a:cubicBezTo>
                  <a:pt x="239" y="1307"/>
                  <a:pt x="246" y="1304"/>
                  <a:pt x="255" y="1304"/>
                </a:cubicBezTo>
                <a:cubicBezTo>
                  <a:pt x="271" y="1304"/>
                  <a:pt x="279" y="1316"/>
                  <a:pt x="279" y="1342"/>
                </a:cubicBezTo>
                <a:cubicBezTo>
                  <a:pt x="279" y="1354"/>
                  <a:pt x="277" y="1364"/>
                  <a:pt x="273" y="1370"/>
                </a:cubicBezTo>
                <a:cubicBezTo>
                  <a:pt x="267" y="1377"/>
                  <a:pt x="262" y="1380"/>
                  <a:pt x="253" y="1380"/>
                </a:cubicBezTo>
                <a:close/>
                <a:moveTo>
                  <a:pt x="254" y="1313"/>
                </a:moveTo>
                <a:cubicBezTo>
                  <a:pt x="245" y="1313"/>
                  <a:pt x="240" y="1323"/>
                  <a:pt x="240" y="1343"/>
                </a:cubicBezTo>
                <a:cubicBezTo>
                  <a:pt x="240" y="1362"/>
                  <a:pt x="245" y="1370"/>
                  <a:pt x="253" y="1370"/>
                </a:cubicBezTo>
                <a:cubicBezTo>
                  <a:pt x="262" y="1370"/>
                  <a:pt x="267" y="1362"/>
                  <a:pt x="267" y="1342"/>
                </a:cubicBezTo>
                <a:cubicBezTo>
                  <a:pt x="267" y="1323"/>
                  <a:pt x="262" y="1313"/>
                  <a:pt x="254" y="1313"/>
                </a:cubicBezTo>
                <a:close/>
                <a:moveTo>
                  <a:pt x="466" y="1380"/>
                </a:moveTo>
                <a:cubicBezTo>
                  <a:pt x="458" y="1380"/>
                  <a:pt x="452" y="1377"/>
                  <a:pt x="448" y="1370"/>
                </a:cubicBezTo>
                <a:cubicBezTo>
                  <a:pt x="444" y="1364"/>
                  <a:pt x="441" y="1355"/>
                  <a:pt x="441" y="1343"/>
                </a:cubicBezTo>
                <a:cubicBezTo>
                  <a:pt x="441" y="1330"/>
                  <a:pt x="444" y="1320"/>
                  <a:pt x="448" y="1313"/>
                </a:cubicBezTo>
                <a:cubicBezTo>
                  <a:pt x="452" y="1306"/>
                  <a:pt x="459" y="1304"/>
                  <a:pt x="468" y="1304"/>
                </a:cubicBezTo>
                <a:cubicBezTo>
                  <a:pt x="484" y="1304"/>
                  <a:pt x="492" y="1316"/>
                  <a:pt x="492" y="1341"/>
                </a:cubicBezTo>
                <a:cubicBezTo>
                  <a:pt x="492" y="1354"/>
                  <a:pt x="490" y="1364"/>
                  <a:pt x="485" y="1370"/>
                </a:cubicBezTo>
                <a:cubicBezTo>
                  <a:pt x="480" y="1377"/>
                  <a:pt x="474" y="1380"/>
                  <a:pt x="466" y="1380"/>
                </a:cubicBezTo>
                <a:close/>
                <a:moveTo>
                  <a:pt x="467" y="1313"/>
                </a:moveTo>
                <a:cubicBezTo>
                  <a:pt x="458" y="1313"/>
                  <a:pt x="454" y="1323"/>
                  <a:pt x="454" y="1342"/>
                </a:cubicBezTo>
                <a:cubicBezTo>
                  <a:pt x="454" y="1361"/>
                  <a:pt x="458" y="1370"/>
                  <a:pt x="467" y="1370"/>
                </a:cubicBezTo>
                <a:cubicBezTo>
                  <a:pt x="475" y="1370"/>
                  <a:pt x="479" y="1361"/>
                  <a:pt x="479" y="1342"/>
                </a:cubicBezTo>
                <a:cubicBezTo>
                  <a:pt x="479" y="1323"/>
                  <a:pt x="476" y="1313"/>
                  <a:pt x="467" y="1313"/>
                </a:cubicBezTo>
                <a:close/>
                <a:moveTo>
                  <a:pt x="584" y="1380"/>
                </a:moveTo>
                <a:cubicBezTo>
                  <a:pt x="576" y="1380"/>
                  <a:pt x="570" y="1377"/>
                  <a:pt x="566" y="1370"/>
                </a:cubicBezTo>
                <a:cubicBezTo>
                  <a:pt x="562" y="1364"/>
                  <a:pt x="560" y="1355"/>
                  <a:pt x="560" y="1343"/>
                </a:cubicBezTo>
                <a:cubicBezTo>
                  <a:pt x="560" y="1330"/>
                  <a:pt x="562" y="1320"/>
                  <a:pt x="566" y="1313"/>
                </a:cubicBezTo>
                <a:cubicBezTo>
                  <a:pt x="570" y="1306"/>
                  <a:pt x="577" y="1304"/>
                  <a:pt x="586" y="1304"/>
                </a:cubicBezTo>
                <a:cubicBezTo>
                  <a:pt x="602" y="1304"/>
                  <a:pt x="610" y="1316"/>
                  <a:pt x="610" y="1341"/>
                </a:cubicBezTo>
                <a:cubicBezTo>
                  <a:pt x="610" y="1354"/>
                  <a:pt x="608" y="1364"/>
                  <a:pt x="603" y="1370"/>
                </a:cubicBezTo>
                <a:cubicBezTo>
                  <a:pt x="598" y="1377"/>
                  <a:pt x="592" y="1380"/>
                  <a:pt x="584" y="1380"/>
                </a:cubicBezTo>
                <a:close/>
                <a:moveTo>
                  <a:pt x="585" y="1313"/>
                </a:moveTo>
                <a:cubicBezTo>
                  <a:pt x="576" y="1313"/>
                  <a:pt x="572" y="1323"/>
                  <a:pt x="572" y="1342"/>
                </a:cubicBezTo>
                <a:cubicBezTo>
                  <a:pt x="572" y="1361"/>
                  <a:pt x="576" y="1370"/>
                  <a:pt x="585" y="1370"/>
                </a:cubicBezTo>
                <a:cubicBezTo>
                  <a:pt x="593" y="1370"/>
                  <a:pt x="598" y="1361"/>
                  <a:pt x="598" y="1342"/>
                </a:cubicBezTo>
                <a:cubicBezTo>
                  <a:pt x="598" y="1323"/>
                  <a:pt x="594" y="1313"/>
                  <a:pt x="585" y="1313"/>
                </a:cubicBezTo>
                <a:close/>
                <a:moveTo>
                  <a:pt x="539" y="1306"/>
                </a:moveTo>
                <a:cubicBezTo>
                  <a:pt x="539" y="1306"/>
                  <a:pt x="539" y="1306"/>
                  <a:pt x="539" y="1306"/>
                </a:cubicBezTo>
                <a:cubicBezTo>
                  <a:pt x="534" y="1306"/>
                  <a:pt x="534" y="1306"/>
                  <a:pt x="534" y="1306"/>
                </a:cubicBezTo>
                <a:cubicBezTo>
                  <a:pt x="532" y="1308"/>
                  <a:pt x="530" y="1309"/>
                  <a:pt x="528" y="1310"/>
                </a:cubicBezTo>
                <a:cubicBezTo>
                  <a:pt x="527" y="1312"/>
                  <a:pt x="525" y="1312"/>
                  <a:pt x="523" y="1313"/>
                </a:cubicBezTo>
                <a:cubicBezTo>
                  <a:pt x="522" y="1314"/>
                  <a:pt x="520" y="1314"/>
                  <a:pt x="518" y="1315"/>
                </a:cubicBezTo>
                <a:cubicBezTo>
                  <a:pt x="516" y="1316"/>
                  <a:pt x="515" y="1317"/>
                  <a:pt x="512" y="1317"/>
                </a:cubicBezTo>
                <a:cubicBezTo>
                  <a:pt x="512" y="1317"/>
                  <a:pt x="512" y="1317"/>
                  <a:pt x="512" y="1328"/>
                </a:cubicBezTo>
                <a:cubicBezTo>
                  <a:pt x="515" y="1327"/>
                  <a:pt x="518" y="1325"/>
                  <a:pt x="520" y="1325"/>
                </a:cubicBezTo>
                <a:cubicBezTo>
                  <a:pt x="523" y="1324"/>
                  <a:pt x="525" y="1322"/>
                  <a:pt x="527" y="1321"/>
                </a:cubicBezTo>
                <a:cubicBezTo>
                  <a:pt x="527" y="1321"/>
                  <a:pt x="527" y="1321"/>
                  <a:pt x="527" y="1380"/>
                </a:cubicBezTo>
                <a:cubicBezTo>
                  <a:pt x="527" y="1380"/>
                  <a:pt x="527" y="1380"/>
                  <a:pt x="539" y="1380"/>
                </a:cubicBezTo>
                <a:cubicBezTo>
                  <a:pt x="539" y="1380"/>
                  <a:pt x="539" y="1380"/>
                  <a:pt x="539" y="1306"/>
                </a:cubicBezTo>
                <a:close/>
                <a:moveTo>
                  <a:pt x="655" y="1380"/>
                </a:moveTo>
                <a:cubicBezTo>
                  <a:pt x="647" y="1380"/>
                  <a:pt x="641" y="1377"/>
                  <a:pt x="637" y="1371"/>
                </a:cubicBezTo>
                <a:cubicBezTo>
                  <a:pt x="633" y="1364"/>
                  <a:pt x="631" y="1356"/>
                  <a:pt x="631" y="1343"/>
                </a:cubicBezTo>
                <a:cubicBezTo>
                  <a:pt x="631" y="1330"/>
                  <a:pt x="633" y="1320"/>
                  <a:pt x="637" y="1314"/>
                </a:cubicBezTo>
                <a:cubicBezTo>
                  <a:pt x="642" y="1307"/>
                  <a:pt x="648" y="1304"/>
                  <a:pt x="657" y="1304"/>
                </a:cubicBezTo>
                <a:cubicBezTo>
                  <a:pt x="673" y="1304"/>
                  <a:pt x="681" y="1316"/>
                  <a:pt x="681" y="1342"/>
                </a:cubicBezTo>
                <a:cubicBezTo>
                  <a:pt x="681" y="1354"/>
                  <a:pt x="679" y="1364"/>
                  <a:pt x="674" y="1370"/>
                </a:cubicBezTo>
                <a:cubicBezTo>
                  <a:pt x="669" y="1377"/>
                  <a:pt x="663" y="1380"/>
                  <a:pt x="655" y="1380"/>
                </a:cubicBezTo>
                <a:close/>
                <a:moveTo>
                  <a:pt x="656" y="1313"/>
                </a:moveTo>
                <a:cubicBezTo>
                  <a:pt x="647" y="1313"/>
                  <a:pt x="642" y="1323"/>
                  <a:pt x="642" y="1343"/>
                </a:cubicBezTo>
                <a:cubicBezTo>
                  <a:pt x="642" y="1362"/>
                  <a:pt x="647" y="1370"/>
                  <a:pt x="655" y="1370"/>
                </a:cubicBezTo>
                <a:cubicBezTo>
                  <a:pt x="664" y="1370"/>
                  <a:pt x="669" y="1362"/>
                  <a:pt x="669" y="1342"/>
                </a:cubicBezTo>
                <a:cubicBezTo>
                  <a:pt x="669" y="1323"/>
                  <a:pt x="664" y="1313"/>
                  <a:pt x="656" y="1313"/>
                </a:cubicBezTo>
                <a:close/>
                <a:moveTo>
                  <a:pt x="702" y="1339"/>
                </a:moveTo>
                <a:cubicBezTo>
                  <a:pt x="702" y="1339"/>
                  <a:pt x="702" y="1339"/>
                  <a:pt x="702" y="1339"/>
                </a:cubicBezTo>
                <a:cubicBezTo>
                  <a:pt x="702" y="1347"/>
                  <a:pt x="702" y="1347"/>
                  <a:pt x="702" y="1347"/>
                </a:cubicBezTo>
                <a:cubicBezTo>
                  <a:pt x="708" y="1347"/>
                  <a:pt x="709" y="1350"/>
                  <a:pt x="709" y="1353"/>
                </a:cubicBezTo>
                <a:cubicBezTo>
                  <a:pt x="709" y="1355"/>
                  <a:pt x="708" y="1357"/>
                  <a:pt x="708" y="1360"/>
                </a:cubicBezTo>
                <a:cubicBezTo>
                  <a:pt x="708" y="1363"/>
                  <a:pt x="708" y="1365"/>
                  <a:pt x="708" y="1367"/>
                </a:cubicBezTo>
                <a:cubicBezTo>
                  <a:pt x="708" y="1377"/>
                  <a:pt x="713" y="1380"/>
                  <a:pt x="722" y="1380"/>
                </a:cubicBezTo>
                <a:cubicBezTo>
                  <a:pt x="722" y="1380"/>
                  <a:pt x="722" y="1380"/>
                  <a:pt x="726" y="1380"/>
                </a:cubicBezTo>
                <a:cubicBezTo>
                  <a:pt x="726" y="1380"/>
                  <a:pt x="726" y="1380"/>
                  <a:pt x="726" y="1371"/>
                </a:cubicBezTo>
                <a:cubicBezTo>
                  <a:pt x="726" y="1371"/>
                  <a:pt x="726" y="1371"/>
                  <a:pt x="724" y="1371"/>
                </a:cubicBezTo>
                <a:cubicBezTo>
                  <a:pt x="720" y="1371"/>
                  <a:pt x="719" y="1368"/>
                  <a:pt x="719" y="1365"/>
                </a:cubicBezTo>
                <a:cubicBezTo>
                  <a:pt x="719" y="1363"/>
                  <a:pt x="719" y="1362"/>
                  <a:pt x="720" y="1360"/>
                </a:cubicBezTo>
                <a:cubicBezTo>
                  <a:pt x="720" y="1359"/>
                  <a:pt x="720" y="1356"/>
                  <a:pt x="720" y="1354"/>
                </a:cubicBezTo>
                <a:cubicBezTo>
                  <a:pt x="720" y="1347"/>
                  <a:pt x="717" y="1344"/>
                  <a:pt x="712" y="1343"/>
                </a:cubicBezTo>
                <a:cubicBezTo>
                  <a:pt x="712" y="1343"/>
                  <a:pt x="712" y="1343"/>
                  <a:pt x="712" y="1342"/>
                </a:cubicBezTo>
                <a:cubicBezTo>
                  <a:pt x="717" y="1341"/>
                  <a:pt x="720" y="1339"/>
                  <a:pt x="720" y="1332"/>
                </a:cubicBezTo>
                <a:cubicBezTo>
                  <a:pt x="720" y="1329"/>
                  <a:pt x="720" y="1327"/>
                  <a:pt x="720" y="1325"/>
                </a:cubicBezTo>
                <a:cubicBezTo>
                  <a:pt x="719" y="1324"/>
                  <a:pt x="719" y="1322"/>
                  <a:pt x="719" y="1321"/>
                </a:cubicBezTo>
                <a:cubicBezTo>
                  <a:pt x="719" y="1317"/>
                  <a:pt x="720" y="1315"/>
                  <a:pt x="724" y="1315"/>
                </a:cubicBezTo>
                <a:cubicBezTo>
                  <a:pt x="724" y="1315"/>
                  <a:pt x="724" y="1315"/>
                  <a:pt x="726" y="1315"/>
                </a:cubicBezTo>
                <a:cubicBezTo>
                  <a:pt x="726" y="1315"/>
                  <a:pt x="726" y="1315"/>
                  <a:pt x="726" y="1305"/>
                </a:cubicBezTo>
                <a:cubicBezTo>
                  <a:pt x="726" y="1305"/>
                  <a:pt x="726" y="1305"/>
                  <a:pt x="722" y="1305"/>
                </a:cubicBezTo>
                <a:cubicBezTo>
                  <a:pt x="713" y="1305"/>
                  <a:pt x="708" y="1310"/>
                  <a:pt x="708" y="1318"/>
                </a:cubicBezTo>
                <a:cubicBezTo>
                  <a:pt x="708" y="1320"/>
                  <a:pt x="708" y="1323"/>
                  <a:pt x="708" y="1326"/>
                </a:cubicBezTo>
                <a:cubicBezTo>
                  <a:pt x="708" y="1328"/>
                  <a:pt x="709" y="1331"/>
                  <a:pt x="709" y="1332"/>
                </a:cubicBezTo>
                <a:cubicBezTo>
                  <a:pt x="709" y="1335"/>
                  <a:pt x="708" y="1338"/>
                  <a:pt x="702" y="1339"/>
                </a:cubicBezTo>
                <a:close/>
                <a:moveTo>
                  <a:pt x="756" y="1347"/>
                </a:moveTo>
                <a:cubicBezTo>
                  <a:pt x="756" y="1347"/>
                  <a:pt x="756" y="1347"/>
                  <a:pt x="756" y="1347"/>
                </a:cubicBezTo>
                <a:cubicBezTo>
                  <a:pt x="756" y="1339"/>
                  <a:pt x="756" y="1339"/>
                  <a:pt x="756" y="1339"/>
                </a:cubicBezTo>
                <a:cubicBezTo>
                  <a:pt x="750" y="1338"/>
                  <a:pt x="750" y="1335"/>
                  <a:pt x="750" y="1332"/>
                </a:cubicBezTo>
                <a:cubicBezTo>
                  <a:pt x="750" y="1331"/>
                  <a:pt x="750" y="1328"/>
                  <a:pt x="750" y="1326"/>
                </a:cubicBezTo>
                <a:cubicBezTo>
                  <a:pt x="750" y="1323"/>
                  <a:pt x="750" y="1320"/>
                  <a:pt x="750" y="1318"/>
                </a:cubicBezTo>
                <a:cubicBezTo>
                  <a:pt x="750" y="1310"/>
                  <a:pt x="745" y="1305"/>
                  <a:pt x="736" y="1305"/>
                </a:cubicBezTo>
                <a:cubicBezTo>
                  <a:pt x="736" y="1305"/>
                  <a:pt x="736" y="1305"/>
                  <a:pt x="732" y="1305"/>
                </a:cubicBezTo>
                <a:cubicBezTo>
                  <a:pt x="732" y="1305"/>
                  <a:pt x="732" y="1305"/>
                  <a:pt x="732" y="1315"/>
                </a:cubicBezTo>
                <a:cubicBezTo>
                  <a:pt x="732" y="1315"/>
                  <a:pt x="732" y="1315"/>
                  <a:pt x="734" y="1315"/>
                </a:cubicBezTo>
                <a:cubicBezTo>
                  <a:pt x="738" y="1315"/>
                  <a:pt x="739" y="1317"/>
                  <a:pt x="739" y="1321"/>
                </a:cubicBezTo>
                <a:cubicBezTo>
                  <a:pt x="739" y="1322"/>
                  <a:pt x="739" y="1324"/>
                  <a:pt x="739" y="1325"/>
                </a:cubicBezTo>
                <a:cubicBezTo>
                  <a:pt x="738" y="1327"/>
                  <a:pt x="738" y="1329"/>
                  <a:pt x="738" y="1332"/>
                </a:cubicBezTo>
                <a:cubicBezTo>
                  <a:pt x="738" y="1339"/>
                  <a:pt x="741" y="1341"/>
                  <a:pt x="747" y="1342"/>
                </a:cubicBezTo>
                <a:cubicBezTo>
                  <a:pt x="747" y="1342"/>
                  <a:pt x="747" y="1342"/>
                  <a:pt x="747" y="1343"/>
                </a:cubicBezTo>
                <a:cubicBezTo>
                  <a:pt x="741" y="1344"/>
                  <a:pt x="738" y="1347"/>
                  <a:pt x="738" y="1354"/>
                </a:cubicBezTo>
                <a:cubicBezTo>
                  <a:pt x="738" y="1356"/>
                  <a:pt x="738" y="1359"/>
                  <a:pt x="739" y="1360"/>
                </a:cubicBezTo>
                <a:cubicBezTo>
                  <a:pt x="739" y="1362"/>
                  <a:pt x="739" y="1363"/>
                  <a:pt x="739" y="1365"/>
                </a:cubicBezTo>
                <a:cubicBezTo>
                  <a:pt x="739" y="1368"/>
                  <a:pt x="738" y="1371"/>
                  <a:pt x="734" y="1371"/>
                </a:cubicBezTo>
                <a:cubicBezTo>
                  <a:pt x="734" y="1371"/>
                  <a:pt x="734" y="1371"/>
                  <a:pt x="732" y="1371"/>
                </a:cubicBezTo>
                <a:cubicBezTo>
                  <a:pt x="732" y="1371"/>
                  <a:pt x="732" y="1371"/>
                  <a:pt x="732" y="1380"/>
                </a:cubicBezTo>
                <a:cubicBezTo>
                  <a:pt x="732" y="1380"/>
                  <a:pt x="732" y="1380"/>
                  <a:pt x="736" y="1380"/>
                </a:cubicBezTo>
                <a:cubicBezTo>
                  <a:pt x="745" y="1380"/>
                  <a:pt x="750" y="1377"/>
                  <a:pt x="750" y="1367"/>
                </a:cubicBezTo>
                <a:cubicBezTo>
                  <a:pt x="750" y="1365"/>
                  <a:pt x="750" y="1363"/>
                  <a:pt x="750" y="1360"/>
                </a:cubicBezTo>
                <a:cubicBezTo>
                  <a:pt x="750" y="1357"/>
                  <a:pt x="750" y="1355"/>
                  <a:pt x="750" y="1353"/>
                </a:cubicBezTo>
                <a:cubicBezTo>
                  <a:pt x="750" y="1350"/>
                  <a:pt x="750" y="1347"/>
                  <a:pt x="756" y="1347"/>
                </a:cubicBezTo>
                <a:close/>
                <a:moveTo>
                  <a:pt x="877" y="1380"/>
                </a:moveTo>
                <a:cubicBezTo>
                  <a:pt x="870" y="1380"/>
                  <a:pt x="863" y="1377"/>
                  <a:pt x="859" y="1371"/>
                </a:cubicBezTo>
                <a:cubicBezTo>
                  <a:pt x="855" y="1364"/>
                  <a:pt x="853" y="1356"/>
                  <a:pt x="853" y="1343"/>
                </a:cubicBezTo>
                <a:cubicBezTo>
                  <a:pt x="853" y="1330"/>
                  <a:pt x="855" y="1320"/>
                  <a:pt x="859" y="1314"/>
                </a:cubicBezTo>
                <a:cubicBezTo>
                  <a:pt x="864" y="1307"/>
                  <a:pt x="870" y="1304"/>
                  <a:pt x="879" y="1304"/>
                </a:cubicBezTo>
                <a:cubicBezTo>
                  <a:pt x="895" y="1304"/>
                  <a:pt x="903" y="1316"/>
                  <a:pt x="903" y="1342"/>
                </a:cubicBezTo>
                <a:cubicBezTo>
                  <a:pt x="903" y="1354"/>
                  <a:pt x="901" y="1364"/>
                  <a:pt x="896" y="1370"/>
                </a:cubicBezTo>
                <a:cubicBezTo>
                  <a:pt x="892" y="1377"/>
                  <a:pt x="885" y="1380"/>
                  <a:pt x="877" y="1380"/>
                </a:cubicBezTo>
                <a:close/>
                <a:moveTo>
                  <a:pt x="878" y="1313"/>
                </a:moveTo>
                <a:cubicBezTo>
                  <a:pt x="869" y="1313"/>
                  <a:pt x="865" y="1323"/>
                  <a:pt x="865" y="1343"/>
                </a:cubicBezTo>
                <a:cubicBezTo>
                  <a:pt x="865" y="1362"/>
                  <a:pt x="869" y="1370"/>
                  <a:pt x="878" y="1370"/>
                </a:cubicBezTo>
                <a:cubicBezTo>
                  <a:pt x="886" y="1370"/>
                  <a:pt x="891" y="1362"/>
                  <a:pt x="891" y="1342"/>
                </a:cubicBezTo>
                <a:cubicBezTo>
                  <a:pt x="891" y="1323"/>
                  <a:pt x="886" y="1313"/>
                  <a:pt x="878" y="1313"/>
                </a:cubicBezTo>
                <a:close/>
                <a:moveTo>
                  <a:pt x="951" y="1306"/>
                </a:moveTo>
                <a:cubicBezTo>
                  <a:pt x="951" y="1306"/>
                  <a:pt x="951" y="1306"/>
                  <a:pt x="951" y="1306"/>
                </a:cubicBezTo>
                <a:cubicBezTo>
                  <a:pt x="946" y="1306"/>
                  <a:pt x="946" y="1306"/>
                  <a:pt x="946" y="1306"/>
                </a:cubicBezTo>
                <a:cubicBezTo>
                  <a:pt x="943" y="1308"/>
                  <a:pt x="942" y="1309"/>
                  <a:pt x="940" y="1310"/>
                </a:cubicBezTo>
                <a:cubicBezTo>
                  <a:pt x="938" y="1312"/>
                  <a:pt x="936" y="1312"/>
                  <a:pt x="935" y="1313"/>
                </a:cubicBezTo>
                <a:cubicBezTo>
                  <a:pt x="933" y="1314"/>
                  <a:pt x="931" y="1314"/>
                  <a:pt x="930" y="1315"/>
                </a:cubicBezTo>
                <a:cubicBezTo>
                  <a:pt x="927" y="1316"/>
                  <a:pt x="926" y="1317"/>
                  <a:pt x="924" y="1317"/>
                </a:cubicBezTo>
                <a:cubicBezTo>
                  <a:pt x="924" y="1317"/>
                  <a:pt x="924" y="1317"/>
                  <a:pt x="924" y="1328"/>
                </a:cubicBezTo>
                <a:cubicBezTo>
                  <a:pt x="927" y="1327"/>
                  <a:pt x="930" y="1325"/>
                  <a:pt x="932" y="1325"/>
                </a:cubicBezTo>
                <a:cubicBezTo>
                  <a:pt x="935" y="1324"/>
                  <a:pt x="937" y="1322"/>
                  <a:pt x="939" y="1321"/>
                </a:cubicBezTo>
                <a:cubicBezTo>
                  <a:pt x="939" y="1321"/>
                  <a:pt x="939" y="1321"/>
                  <a:pt x="939" y="1380"/>
                </a:cubicBezTo>
                <a:cubicBezTo>
                  <a:pt x="939" y="1380"/>
                  <a:pt x="939" y="1380"/>
                  <a:pt x="951" y="1380"/>
                </a:cubicBezTo>
                <a:cubicBezTo>
                  <a:pt x="951" y="1380"/>
                  <a:pt x="951" y="1380"/>
                  <a:pt x="951" y="1306"/>
                </a:cubicBezTo>
                <a:close/>
                <a:moveTo>
                  <a:pt x="783" y="1380"/>
                </a:moveTo>
                <a:cubicBezTo>
                  <a:pt x="786" y="1361"/>
                  <a:pt x="786" y="1361"/>
                  <a:pt x="786" y="1361"/>
                </a:cubicBezTo>
                <a:cubicBezTo>
                  <a:pt x="777" y="1361"/>
                  <a:pt x="777" y="1361"/>
                  <a:pt x="777" y="1361"/>
                </a:cubicBezTo>
                <a:cubicBezTo>
                  <a:pt x="777" y="1349"/>
                  <a:pt x="777" y="1349"/>
                  <a:pt x="777" y="1349"/>
                </a:cubicBezTo>
                <a:cubicBezTo>
                  <a:pt x="788" y="1349"/>
                  <a:pt x="788" y="1349"/>
                  <a:pt x="788" y="1349"/>
                </a:cubicBezTo>
                <a:cubicBezTo>
                  <a:pt x="789" y="1338"/>
                  <a:pt x="789" y="1338"/>
                  <a:pt x="789" y="1338"/>
                </a:cubicBezTo>
                <a:cubicBezTo>
                  <a:pt x="780" y="1338"/>
                  <a:pt x="780" y="1338"/>
                  <a:pt x="780" y="1338"/>
                </a:cubicBezTo>
                <a:cubicBezTo>
                  <a:pt x="780" y="1326"/>
                  <a:pt x="780" y="1326"/>
                  <a:pt x="780" y="1326"/>
                </a:cubicBezTo>
                <a:cubicBezTo>
                  <a:pt x="791" y="1326"/>
                  <a:pt x="791" y="1326"/>
                  <a:pt x="791" y="1326"/>
                </a:cubicBezTo>
                <a:cubicBezTo>
                  <a:pt x="794" y="1307"/>
                  <a:pt x="794" y="1307"/>
                  <a:pt x="794" y="1307"/>
                </a:cubicBezTo>
                <a:cubicBezTo>
                  <a:pt x="805" y="1307"/>
                  <a:pt x="805" y="1307"/>
                  <a:pt x="805" y="1307"/>
                </a:cubicBezTo>
                <a:cubicBezTo>
                  <a:pt x="802" y="1326"/>
                  <a:pt x="802" y="1326"/>
                  <a:pt x="802" y="1326"/>
                </a:cubicBezTo>
                <a:cubicBezTo>
                  <a:pt x="812" y="1326"/>
                  <a:pt x="812" y="1326"/>
                  <a:pt x="812" y="1326"/>
                </a:cubicBezTo>
                <a:cubicBezTo>
                  <a:pt x="815" y="1307"/>
                  <a:pt x="815" y="1307"/>
                  <a:pt x="815" y="1307"/>
                </a:cubicBezTo>
                <a:cubicBezTo>
                  <a:pt x="826" y="1307"/>
                  <a:pt x="826" y="1307"/>
                  <a:pt x="826" y="1307"/>
                </a:cubicBezTo>
                <a:cubicBezTo>
                  <a:pt x="823" y="1326"/>
                  <a:pt x="823" y="1326"/>
                  <a:pt x="823" y="1326"/>
                </a:cubicBezTo>
                <a:cubicBezTo>
                  <a:pt x="832" y="1326"/>
                  <a:pt x="832" y="1326"/>
                  <a:pt x="832" y="1326"/>
                </a:cubicBezTo>
                <a:cubicBezTo>
                  <a:pt x="832" y="1338"/>
                  <a:pt x="832" y="1338"/>
                  <a:pt x="832" y="1338"/>
                </a:cubicBezTo>
                <a:cubicBezTo>
                  <a:pt x="821" y="1338"/>
                  <a:pt x="821" y="1338"/>
                  <a:pt x="821" y="1338"/>
                </a:cubicBezTo>
                <a:cubicBezTo>
                  <a:pt x="820" y="1349"/>
                  <a:pt x="820" y="1349"/>
                  <a:pt x="820" y="1349"/>
                </a:cubicBezTo>
                <a:cubicBezTo>
                  <a:pt x="829" y="1349"/>
                  <a:pt x="829" y="1349"/>
                  <a:pt x="829" y="1349"/>
                </a:cubicBezTo>
                <a:cubicBezTo>
                  <a:pt x="829" y="1361"/>
                  <a:pt x="829" y="1361"/>
                  <a:pt x="829" y="1361"/>
                </a:cubicBezTo>
                <a:cubicBezTo>
                  <a:pt x="818" y="1361"/>
                  <a:pt x="818" y="1361"/>
                  <a:pt x="818" y="1361"/>
                </a:cubicBezTo>
                <a:cubicBezTo>
                  <a:pt x="815" y="1380"/>
                  <a:pt x="815" y="1380"/>
                  <a:pt x="815" y="1380"/>
                </a:cubicBezTo>
                <a:cubicBezTo>
                  <a:pt x="804" y="1380"/>
                  <a:pt x="804" y="1380"/>
                  <a:pt x="804" y="1380"/>
                </a:cubicBezTo>
                <a:cubicBezTo>
                  <a:pt x="807" y="1361"/>
                  <a:pt x="807" y="1361"/>
                  <a:pt x="807" y="1361"/>
                </a:cubicBezTo>
                <a:cubicBezTo>
                  <a:pt x="797" y="1361"/>
                  <a:pt x="797" y="1361"/>
                  <a:pt x="797" y="1361"/>
                </a:cubicBezTo>
                <a:cubicBezTo>
                  <a:pt x="794" y="1380"/>
                  <a:pt x="794" y="1380"/>
                  <a:pt x="794" y="1380"/>
                </a:cubicBezTo>
                <a:cubicBezTo>
                  <a:pt x="783" y="1380"/>
                  <a:pt x="783" y="1380"/>
                  <a:pt x="783" y="1380"/>
                </a:cubicBezTo>
                <a:cubicBezTo>
                  <a:pt x="783" y="1380"/>
                  <a:pt x="783" y="1380"/>
                  <a:pt x="783" y="1380"/>
                </a:cubicBezTo>
                <a:close/>
                <a:moveTo>
                  <a:pt x="809" y="1349"/>
                </a:moveTo>
                <a:cubicBezTo>
                  <a:pt x="810" y="1338"/>
                  <a:pt x="810" y="1338"/>
                  <a:pt x="810" y="1338"/>
                </a:cubicBezTo>
                <a:cubicBezTo>
                  <a:pt x="800" y="1338"/>
                  <a:pt x="800" y="1338"/>
                  <a:pt x="800" y="1338"/>
                </a:cubicBezTo>
                <a:cubicBezTo>
                  <a:pt x="799" y="1349"/>
                  <a:pt x="799" y="1349"/>
                  <a:pt x="799" y="1349"/>
                </a:cubicBezTo>
                <a:cubicBezTo>
                  <a:pt x="809" y="1349"/>
                  <a:pt x="809" y="1349"/>
                  <a:pt x="809" y="1349"/>
                </a:cubicBezTo>
                <a:cubicBezTo>
                  <a:pt x="809" y="1349"/>
                  <a:pt x="809" y="1349"/>
                  <a:pt x="809" y="1349"/>
                </a:cubicBezTo>
                <a:close/>
                <a:moveTo>
                  <a:pt x="327" y="1306"/>
                </a:moveTo>
                <a:cubicBezTo>
                  <a:pt x="327" y="1306"/>
                  <a:pt x="327" y="1306"/>
                  <a:pt x="327" y="1306"/>
                </a:cubicBezTo>
                <a:cubicBezTo>
                  <a:pt x="322" y="1306"/>
                  <a:pt x="322" y="1306"/>
                  <a:pt x="322" y="1306"/>
                </a:cubicBezTo>
                <a:cubicBezTo>
                  <a:pt x="319" y="1308"/>
                  <a:pt x="318" y="1309"/>
                  <a:pt x="316" y="1310"/>
                </a:cubicBezTo>
                <a:cubicBezTo>
                  <a:pt x="314" y="1312"/>
                  <a:pt x="313" y="1312"/>
                  <a:pt x="310" y="1313"/>
                </a:cubicBezTo>
                <a:cubicBezTo>
                  <a:pt x="309" y="1314"/>
                  <a:pt x="307" y="1315"/>
                  <a:pt x="305" y="1316"/>
                </a:cubicBezTo>
                <a:cubicBezTo>
                  <a:pt x="303" y="1317"/>
                  <a:pt x="302" y="1317"/>
                  <a:pt x="299" y="1317"/>
                </a:cubicBezTo>
                <a:cubicBezTo>
                  <a:pt x="299" y="1317"/>
                  <a:pt x="299" y="1317"/>
                  <a:pt x="299" y="1328"/>
                </a:cubicBezTo>
                <a:cubicBezTo>
                  <a:pt x="302" y="1327"/>
                  <a:pt x="305" y="1326"/>
                  <a:pt x="308" y="1325"/>
                </a:cubicBezTo>
                <a:cubicBezTo>
                  <a:pt x="310" y="1324"/>
                  <a:pt x="313" y="1322"/>
                  <a:pt x="315" y="1321"/>
                </a:cubicBezTo>
                <a:cubicBezTo>
                  <a:pt x="315" y="1321"/>
                  <a:pt x="315" y="1321"/>
                  <a:pt x="315" y="1380"/>
                </a:cubicBezTo>
                <a:cubicBezTo>
                  <a:pt x="315" y="1380"/>
                  <a:pt x="315" y="1380"/>
                  <a:pt x="327" y="1380"/>
                </a:cubicBezTo>
                <a:cubicBezTo>
                  <a:pt x="327" y="1380"/>
                  <a:pt x="327" y="1380"/>
                  <a:pt x="327" y="1306"/>
                </a:cubicBezTo>
                <a:close/>
                <a:moveTo>
                  <a:pt x="374" y="1306"/>
                </a:moveTo>
                <a:cubicBezTo>
                  <a:pt x="374" y="1306"/>
                  <a:pt x="374" y="1306"/>
                  <a:pt x="374" y="1306"/>
                </a:cubicBezTo>
                <a:cubicBezTo>
                  <a:pt x="369" y="1306"/>
                  <a:pt x="369" y="1306"/>
                  <a:pt x="369" y="1306"/>
                </a:cubicBezTo>
                <a:cubicBezTo>
                  <a:pt x="367" y="1308"/>
                  <a:pt x="365" y="1309"/>
                  <a:pt x="363" y="1310"/>
                </a:cubicBezTo>
                <a:cubicBezTo>
                  <a:pt x="362" y="1312"/>
                  <a:pt x="359" y="1312"/>
                  <a:pt x="358" y="1313"/>
                </a:cubicBezTo>
                <a:cubicBezTo>
                  <a:pt x="357" y="1314"/>
                  <a:pt x="354" y="1315"/>
                  <a:pt x="353" y="1316"/>
                </a:cubicBezTo>
                <a:cubicBezTo>
                  <a:pt x="351" y="1317"/>
                  <a:pt x="349" y="1317"/>
                  <a:pt x="347" y="1317"/>
                </a:cubicBezTo>
                <a:cubicBezTo>
                  <a:pt x="347" y="1317"/>
                  <a:pt x="347" y="1317"/>
                  <a:pt x="347" y="1328"/>
                </a:cubicBezTo>
                <a:cubicBezTo>
                  <a:pt x="350" y="1327"/>
                  <a:pt x="353" y="1326"/>
                  <a:pt x="355" y="1325"/>
                </a:cubicBezTo>
                <a:cubicBezTo>
                  <a:pt x="358" y="1324"/>
                  <a:pt x="360" y="1322"/>
                  <a:pt x="362" y="1321"/>
                </a:cubicBezTo>
                <a:cubicBezTo>
                  <a:pt x="362" y="1321"/>
                  <a:pt x="362" y="1321"/>
                  <a:pt x="362" y="1380"/>
                </a:cubicBezTo>
                <a:cubicBezTo>
                  <a:pt x="362" y="1380"/>
                  <a:pt x="362" y="1380"/>
                  <a:pt x="374" y="1380"/>
                </a:cubicBezTo>
                <a:cubicBezTo>
                  <a:pt x="374" y="1380"/>
                  <a:pt x="374" y="1380"/>
                  <a:pt x="374" y="1306"/>
                </a:cubicBezTo>
                <a:close/>
                <a:moveTo>
                  <a:pt x="421" y="1306"/>
                </a:moveTo>
                <a:cubicBezTo>
                  <a:pt x="421" y="1306"/>
                  <a:pt x="421" y="1306"/>
                  <a:pt x="421" y="1306"/>
                </a:cubicBezTo>
                <a:cubicBezTo>
                  <a:pt x="416" y="1306"/>
                  <a:pt x="416" y="1306"/>
                  <a:pt x="416" y="1306"/>
                </a:cubicBezTo>
                <a:cubicBezTo>
                  <a:pt x="414" y="1308"/>
                  <a:pt x="413" y="1309"/>
                  <a:pt x="411" y="1310"/>
                </a:cubicBezTo>
                <a:cubicBezTo>
                  <a:pt x="409" y="1312"/>
                  <a:pt x="407" y="1312"/>
                  <a:pt x="406" y="1313"/>
                </a:cubicBezTo>
                <a:cubicBezTo>
                  <a:pt x="404" y="1314"/>
                  <a:pt x="402" y="1314"/>
                  <a:pt x="400" y="1315"/>
                </a:cubicBezTo>
                <a:cubicBezTo>
                  <a:pt x="398" y="1316"/>
                  <a:pt x="396" y="1317"/>
                  <a:pt x="395" y="1317"/>
                </a:cubicBezTo>
                <a:cubicBezTo>
                  <a:pt x="395" y="1317"/>
                  <a:pt x="395" y="1317"/>
                  <a:pt x="395" y="1328"/>
                </a:cubicBezTo>
                <a:cubicBezTo>
                  <a:pt x="398" y="1327"/>
                  <a:pt x="401" y="1325"/>
                  <a:pt x="403" y="1325"/>
                </a:cubicBezTo>
                <a:cubicBezTo>
                  <a:pt x="405" y="1324"/>
                  <a:pt x="408" y="1322"/>
                  <a:pt x="409" y="1321"/>
                </a:cubicBezTo>
                <a:cubicBezTo>
                  <a:pt x="409" y="1321"/>
                  <a:pt x="409" y="1321"/>
                  <a:pt x="409" y="1380"/>
                </a:cubicBezTo>
                <a:cubicBezTo>
                  <a:pt x="409" y="1380"/>
                  <a:pt x="409" y="1380"/>
                  <a:pt x="421" y="1380"/>
                </a:cubicBezTo>
                <a:cubicBezTo>
                  <a:pt x="421" y="1380"/>
                  <a:pt x="421" y="1380"/>
                  <a:pt x="421" y="1306"/>
                </a:cubicBezTo>
                <a:close/>
                <a:moveTo>
                  <a:pt x="628" y="1210"/>
                </a:moveTo>
                <a:cubicBezTo>
                  <a:pt x="628" y="1210"/>
                  <a:pt x="628" y="1210"/>
                  <a:pt x="628" y="1210"/>
                </a:cubicBezTo>
                <a:cubicBezTo>
                  <a:pt x="623" y="1210"/>
                  <a:pt x="623" y="1210"/>
                  <a:pt x="623" y="1210"/>
                </a:cubicBezTo>
                <a:cubicBezTo>
                  <a:pt x="621" y="1212"/>
                  <a:pt x="619" y="1213"/>
                  <a:pt x="617" y="1214"/>
                </a:cubicBezTo>
                <a:cubicBezTo>
                  <a:pt x="616" y="1216"/>
                  <a:pt x="613" y="1216"/>
                  <a:pt x="612" y="1217"/>
                </a:cubicBezTo>
                <a:cubicBezTo>
                  <a:pt x="610" y="1218"/>
                  <a:pt x="608" y="1218"/>
                  <a:pt x="607" y="1219"/>
                </a:cubicBezTo>
                <a:cubicBezTo>
                  <a:pt x="605" y="1220"/>
                  <a:pt x="603" y="1221"/>
                  <a:pt x="601" y="1221"/>
                </a:cubicBezTo>
                <a:cubicBezTo>
                  <a:pt x="601" y="1221"/>
                  <a:pt x="601" y="1221"/>
                  <a:pt x="601" y="1232"/>
                </a:cubicBezTo>
                <a:cubicBezTo>
                  <a:pt x="604" y="1231"/>
                  <a:pt x="607" y="1229"/>
                  <a:pt x="609" y="1229"/>
                </a:cubicBezTo>
                <a:cubicBezTo>
                  <a:pt x="612" y="1228"/>
                  <a:pt x="614" y="1226"/>
                  <a:pt x="616" y="1225"/>
                </a:cubicBezTo>
                <a:cubicBezTo>
                  <a:pt x="616" y="1225"/>
                  <a:pt x="616" y="1225"/>
                  <a:pt x="616" y="1284"/>
                </a:cubicBezTo>
                <a:cubicBezTo>
                  <a:pt x="616" y="1284"/>
                  <a:pt x="616" y="1284"/>
                  <a:pt x="628" y="1284"/>
                </a:cubicBezTo>
                <a:cubicBezTo>
                  <a:pt x="628" y="1284"/>
                  <a:pt x="628" y="1284"/>
                  <a:pt x="628" y="1210"/>
                </a:cubicBezTo>
                <a:close/>
                <a:moveTo>
                  <a:pt x="674" y="1210"/>
                </a:moveTo>
                <a:cubicBezTo>
                  <a:pt x="674" y="1210"/>
                  <a:pt x="674" y="1210"/>
                  <a:pt x="674" y="1210"/>
                </a:cubicBezTo>
                <a:cubicBezTo>
                  <a:pt x="669" y="1210"/>
                  <a:pt x="669" y="1210"/>
                  <a:pt x="669" y="1210"/>
                </a:cubicBezTo>
                <a:cubicBezTo>
                  <a:pt x="667" y="1212"/>
                  <a:pt x="666" y="1213"/>
                  <a:pt x="664" y="1214"/>
                </a:cubicBezTo>
                <a:cubicBezTo>
                  <a:pt x="662" y="1216"/>
                  <a:pt x="660" y="1216"/>
                  <a:pt x="659" y="1217"/>
                </a:cubicBezTo>
                <a:cubicBezTo>
                  <a:pt x="657" y="1218"/>
                  <a:pt x="655" y="1219"/>
                  <a:pt x="654" y="1220"/>
                </a:cubicBezTo>
                <a:cubicBezTo>
                  <a:pt x="651" y="1221"/>
                  <a:pt x="650" y="1221"/>
                  <a:pt x="648" y="1221"/>
                </a:cubicBezTo>
                <a:cubicBezTo>
                  <a:pt x="648" y="1221"/>
                  <a:pt x="648" y="1221"/>
                  <a:pt x="648" y="1232"/>
                </a:cubicBezTo>
                <a:cubicBezTo>
                  <a:pt x="651" y="1231"/>
                  <a:pt x="654" y="1230"/>
                  <a:pt x="656" y="1229"/>
                </a:cubicBezTo>
                <a:cubicBezTo>
                  <a:pt x="659" y="1228"/>
                  <a:pt x="661" y="1226"/>
                  <a:pt x="663" y="1225"/>
                </a:cubicBezTo>
                <a:cubicBezTo>
                  <a:pt x="663" y="1225"/>
                  <a:pt x="663" y="1225"/>
                  <a:pt x="663" y="1284"/>
                </a:cubicBezTo>
                <a:cubicBezTo>
                  <a:pt x="663" y="1284"/>
                  <a:pt x="663" y="1284"/>
                  <a:pt x="674" y="1284"/>
                </a:cubicBezTo>
                <a:cubicBezTo>
                  <a:pt x="674" y="1284"/>
                  <a:pt x="674" y="1284"/>
                  <a:pt x="674" y="1210"/>
                </a:cubicBezTo>
                <a:close/>
                <a:moveTo>
                  <a:pt x="720" y="1210"/>
                </a:moveTo>
                <a:cubicBezTo>
                  <a:pt x="720" y="1210"/>
                  <a:pt x="720" y="1210"/>
                  <a:pt x="720" y="1210"/>
                </a:cubicBezTo>
                <a:cubicBezTo>
                  <a:pt x="716" y="1210"/>
                  <a:pt x="716" y="1210"/>
                  <a:pt x="716" y="1210"/>
                </a:cubicBezTo>
                <a:cubicBezTo>
                  <a:pt x="714" y="1212"/>
                  <a:pt x="712" y="1213"/>
                  <a:pt x="710" y="1214"/>
                </a:cubicBezTo>
                <a:cubicBezTo>
                  <a:pt x="709" y="1216"/>
                  <a:pt x="707" y="1216"/>
                  <a:pt x="705" y="1217"/>
                </a:cubicBezTo>
                <a:cubicBezTo>
                  <a:pt x="703" y="1218"/>
                  <a:pt x="702" y="1219"/>
                  <a:pt x="699" y="1220"/>
                </a:cubicBezTo>
                <a:cubicBezTo>
                  <a:pt x="698" y="1221"/>
                  <a:pt x="696" y="1221"/>
                  <a:pt x="694" y="1221"/>
                </a:cubicBezTo>
                <a:cubicBezTo>
                  <a:pt x="694" y="1221"/>
                  <a:pt x="694" y="1221"/>
                  <a:pt x="694" y="1232"/>
                </a:cubicBezTo>
                <a:cubicBezTo>
                  <a:pt x="697" y="1231"/>
                  <a:pt x="700" y="1230"/>
                  <a:pt x="702" y="1229"/>
                </a:cubicBezTo>
                <a:cubicBezTo>
                  <a:pt x="704" y="1228"/>
                  <a:pt x="707" y="1226"/>
                  <a:pt x="709" y="1225"/>
                </a:cubicBezTo>
                <a:cubicBezTo>
                  <a:pt x="709" y="1225"/>
                  <a:pt x="709" y="1225"/>
                  <a:pt x="709" y="1284"/>
                </a:cubicBezTo>
                <a:cubicBezTo>
                  <a:pt x="709" y="1284"/>
                  <a:pt x="709" y="1284"/>
                  <a:pt x="720" y="1284"/>
                </a:cubicBezTo>
                <a:cubicBezTo>
                  <a:pt x="720" y="1284"/>
                  <a:pt x="720" y="1284"/>
                  <a:pt x="720" y="1210"/>
                </a:cubicBezTo>
                <a:close/>
                <a:moveTo>
                  <a:pt x="767" y="1210"/>
                </a:moveTo>
                <a:cubicBezTo>
                  <a:pt x="767" y="1210"/>
                  <a:pt x="767" y="1210"/>
                  <a:pt x="767" y="1210"/>
                </a:cubicBezTo>
                <a:cubicBezTo>
                  <a:pt x="762" y="1210"/>
                  <a:pt x="762" y="1210"/>
                  <a:pt x="762" y="1210"/>
                </a:cubicBezTo>
                <a:cubicBezTo>
                  <a:pt x="760" y="1212"/>
                  <a:pt x="758" y="1213"/>
                  <a:pt x="756" y="1214"/>
                </a:cubicBezTo>
                <a:cubicBezTo>
                  <a:pt x="755" y="1216"/>
                  <a:pt x="753" y="1216"/>
                  <a:pt x="751" y="1217"/>
                </a:cubicBezTo>
                <a:cubicBezTo>
                  <a:pt x="750" y="1218"/>
                  <a:pt x="747" y="1219"/>
                  <a:pt x="746" y="1220"/>
                </a:cubicBezTo>
                <a:cubicBezTo>
                  <a:pt x="744" y="1221"/>
                  <a:pt x="742" y="1221"/>
                  <a:pt x="740" y="1221"/>
                </a:cubicBezTo>
                <a:cubicBezTo>
                  <a:pt x="740" y="1221"/>
                  <a:pt x="740" y="1221"/>
                  <a:pt x="740" y="1232"/>
                </a:cubicBezTo>
                <a:cubicBezTo>
                  <a:pt x="743" y="1231"/>
                  <a:pt x="746" y="1230"/>
                  <a:pt x="748" y="1229"/>
                </a:cubicBezTo>
                <a:cubicBezTo>
                  <a:pt x="751" y="1228"/>
                  <a:pt x="753" y="1226"/>
                  <a:pt x="756" y="1225"/>
                </a:cubicBezTo>
                <a:cubicBezTo>
                  <a:pt x="756" y="1225"/>
                  <a:pt x="756" y="1225"/>
                  <a:pt x="756" y="1284"/>
                </a:cubicBezTo>
                <a:cubicBezTo>
                  <a:pt x="756" y="1284"/>
                  <a:pt x="756" y="1284"/>
                  <a:pt x="767" y="1284"/>
                </a:cubicBezTo>
                <a:cubicBezTo>
                  <a:pt x="767" y="1284"/>
                  <a:pt x="767" y="1284"/>
                  <a:pt x="767" y="1210"/>
                </a:cubicBezTo>
                <a:close/>
                <a:moveTo>
                  <a:pt x="889" y="1210"/>
                </a:moveTo>
                <a:cubicBezTo>
                  <a:pt x="889" y="1210"/>
                  <a:pt x="889" y="1210"/>
                  <a:pt x="889" y="1210"/>
                </a:cubicBezTo>
                <a:cubicBezTo>
                  <a:pt x="884" y="1210"/>
                  <a:pt x="884" y="1210"/>
                  <a:pt x="884" y="1210"/>
                </a:cubicBezTo>
                <a:cubicBezTo>
                  <a:pt x="882" y="1212"/>
                  <a:pt x="880" y="1213"/>
                  <a:pt x="878" y="1214"/>
                </a:cubicBezTo>
                <a:cubicBezTo>
                  <a:pt x="876" y="1216"/>
                  <a:pt x="875" y="1216"/>
                  <a:pt x="873" y="1217"/>
                </a:cubicBezTo>
                <a:cubicBezTo>
                  <a:pt x="871" y="1218"/>
                  <a:pt x="869" y="1219"/>
                  <a:pt x="868" y="1220"/>
                </a:cubicBezTo>
                <a:cubicBezTo>
                  <a:pt x="866" y="1221"/>
                  <a:pt x="864" y="1221"/>
                  <a:pt x="862" y="1221"/>
                </a:cubicBezTo>
                <a:cubicBezTo>
                  <a:pt x="862" y="1221"/>
                  <a:pt x="862" y="1221"/>
                  <a:pt x="862" y="1232"/>
                </a:cubicBezTo>
                <a:cubicBezTo>
                  <a:pt x="865" y="1231"/>
                  <a:pt x="868" y="1230"/>
                  <a:pt x="871" y="1229"/>
                </a:cubicBezTo>
                <a:cubicBezTo>
                  <a:pt x="873" y="1228"/>
                  <a:pt x="875" y="1226"/>
                  <a:pt x="877" y="1225"/>
                </a:cubicBezTo>
                <a:cubicBezTo>
                  <a:pt x="877" y="1225"/>
                  <a:pt x="877" y="1225"/>
                  <a:pt x="877" y="1284"/>
                </a:cubicBezTo>
                <a:cubicBezTo>
                  <a:pt x="877" y="1284"/>
                  <a:pt x="877" y="1284"/>
                  <a:pt x="889" y="1284"/>
                </a:cubicBezTo>
                <a:cubicBezTo>
                  <a:pt x="889" y="1284"/>
                  <a:pt x="889" y="1284"/>
                  <a:pt x="889" y="1210"/>
                </a:cubicBezTo>
                <a:close/>
                <a:moveTo>
                  <a:pt x="936" y="1210"/>
                </a:moveTo>
                <a:cubicBezTo>
                  <a:pt x="936" y="1210"/>
                  <a:pt x="936" y="1210"/>
                  <a:pt x="936" y="1210"/>
                </a:cubicBezTo>
                <a:cubicBezTo>
                  <a:pt x="931" y="1210"/>
                  <a:pt x="931" y="1210"/>
                  <a:pt x="931" y="1210"/>
                </a:cubicBezTo>
                <a:cubicBezTo>
                  <a:pt x="929" y="1212"/>
                  <a:pt x="927" y="1213"/>
                  <a:pt x="925" y="1214"/>
                </a:cubicBezTo>
                <a:cubicBezTo>
                  <a:pt x="924" y="1216"/>
                  <a:pt x="921" y="1216"/>
                  <a:pt x="920" y="1217"/>
                </a:cubicBezTo>
                <a:cubicBezTo>
                  <a:pt x="918" y="1218"/>
                  <a:pt x="916" y="1219"/>
                  <a:pt x="915" y="1220"/>
                </a:cubicBezTo>
                <a:cubicBezTo>
                  <a:pt x="913" y="1221"/>
                  <a:pt x="911" y="1221"/>
                  <a:pt x="909" y="1221"/>
                </a:cubicBezTo>
                <a:cubicBezTo>
                  <a:pt x="909" y="1221"/>
                  <a:pt x="909" y="1221"/>
                  <a:pt x="909" y="1232"/>
                </a:cubicBezTo>
                <a:cubicBezTo>
                  <a:pt x="912" y="1231"/>
                  <a:pt x="915" y="1230"/>
                  <a:pt x="917" y="1229"/>
                </a:cubicBezTo>
                <a:cubicBezTo>
                  <a:pt x="920" y="1228"/>
                  <a:pt x="922" y="1226"/>
                  <a:pt x="924" y="1225"/>
                </a:cubicBezTo>
                <a:cubicBezTo>
                  <a:pt x="924" y="1225"/>
                  <a:pt x="924" y="1225"/>
                  <a:pt x="924" y="1284"/>
                </a:cubicBezTo>
                <a:cubicBezTo>
                  <a:pt x="924" y="1284"/>
                  <a:pt x="924" y="1284"/>
                  <a:pt x="936" y="1284"/>
                </a:cubicBezTo>
                <a:cubicBezTo>
                  <a:pt x="936" y="1284"/>
                  <a:pt x="936" y="1284"/>
                  <a:pt x="936" y="1210"/>
                </a:cubicBezTo>
                <a:close/>
                <a:moveTo>
                  <a:pt x="787" y="1243"/>
                </a:moveTo>
                <a:cubicBezTo>
                  <a:pt x="787" y="1243"/>
                  <a:pt x="787" y="1243"/>
                  <a:pt x="787" y="1243"/>
                </a:cubicBezTo>
                <a:cubicBezTo>
                  <a:pt x="787" y="1251"/>
                  <a:pt x="787" y="1251"/>
                  <a:pt x="787" y="1251"/>
                </a:cubicBezTo>
                <a:cubicBezTo>
                  <a:pt x="793" y="1251"/>
                  <a:pt x="794" y="1254"/>
                  <a:pt x="794" y="1257"/>
                </a:cubicBezTo>
                <a:cubicBezTo>
                  <a:pt x="794" y="1259"/>
                  <a:pt x="794" y="1261"/>
                  <a:pt x="794" y="1264"/>
                </a:cubicBezTo>
                <a:cubicBezTo>
                  <a:pt x="793" y="1267"/>
                  <a:pt x="793" y="1269"/>
                  <a:pt x="793" y="1271"/>
                </a:cubicBezTo>
                <a:cubicBezTo>
                  <a:pt x="793" y="1281"/>
                  <a:pt x="799" y="1284"/>
                  <a:pt x="807" y="1284"/>
                </a:cubicBezTo>
                <a:cubicBezTo>
                  <a:pt x="807" y="1284"/>
                  <a:pt x="807" y="1284"/>
                  <a:pt x="811" y="1284"/>
                </a:cubicBezTo>
                <a:cubicBezTo>
                  <a:pt x="811" y="1284"/>
                  <a:pt x="811" y="1284"/>
                  <a:pt x="811" y="1275"/>
                </a:cubicBezTo>
                <a:cubicBezTo>
                  <a:pt x="811" y="1275"/>
                  <a:pt x="811" y="1275"/>
                  <a:pt x="810" y="1275"/>
                </a:cubicBezTo>
                <a:cubicBezTo>
                  <a:pt x="806" y="1275"/>
                  <a:pt x="805" y="1272"/>
                  <a:pt x="805" y="1269"/>
                </a:cubicBezTo>
                <a:cubicBezTo>
                  <a:pt x="805" y="1267"/>
                  <a:pt x="805" y="1266"/>
                  <a:pt x="805" y="1264"/>
                </a:cubicBezTo>
                <a:cubicBezTo>
                  <a:pt x="805" y="1263"/>
                  <a:pt x="806" y="1260"/>
                  <a:pt x="806" y="1258"/>
                </a:cubicBezTo>
                <a:cubicBezTo>
                  <a:pt x="806" y="1251"/>
                  <a:pt x="803" y="1248"/>
                  <a:pt x="797" y="1247"/>
                </a:cubicBezTo>
                <a:cubicBezTo>
                  <a:pt x="797" y="1247"/>
                  <a:pt x="797" y="1247"/>
                  <a:pt x="797" y="1246"/>
                </a:cubicBezTo>
                <a:cubicBezTo>
                  <a:pt x="803" y="1245"/>
                  <a:pt x="806" y="1243"/>
                  <a:pt x="806" y="1236"/>
                </a:cubicBezTo>
                <a:cubicBezTo>
                  <a:pt x="806" y="1233"/>
                  <a:pt x="805" y="1231"/>
                  <a:pt x="805" y="1229"/>
                </a:cubicBezTo>
                <a:cubicBezTo>
                  <a:pt x="805" y="1228"/>
                  <a:pt x="805" y="1226"/>
                  <a:pt x="805" y="1225"/>
                </a:cubicBezTo>
                <a:cubicBezTo>
                  <a:pt x="805" y="1221"/>
                  <a:pt x="806" y="1219"/>
                  <a:pt x="810" y="1219"/>
                </a:cubicBezTo>
                <a:cubicBezTo>
                  <a:pt x="810" y="1219"/>
                  <a:pt x="810" y="1219"/>
                  <a:pt x="811" y="1219"/>
                </a:cubicBezTo>
                <a:cubicBezTo>
                  <a:pt x="811" y="1219"/>
                  <a:pt x="811" y="1219"/>
                  <a:pt x="811" y="1209"/>
                </a:cubicBezTo>
                <a:cubicBezTo>
                  <a:pt x="811" y="1209"/>
                  <a:pt x="811" y="1209"/>
                  <a:pt x="807" y="1209"/>
                </a:cubicBezTo>
                <a:cubicBezTo>
                  <a:pt x="798" y="1209"/>
                  <a:pt x="793" y="1214"/>
                  <a:pt x="793" y="1222"/>
                </a:cubicBezTo>
                <a:cubicBezTo>
                  <a:pt x="793" y="1224"/>
                  <a:pt x="793" y="1227"/>
                  <a:pt x="793" y="1230"/>
                </a:cubicBezTo>
                <a:cubicBezTo>
                  <a:pt x="794" y="1232"/>
                  <a:pt x="794" y="1235"/>
                  <a:pt x="794" y="1236"/>
                </a:cubicBezTo>
                <a:cubicBezTo>
                  <a:pt x="794" y="1239"/>
                  <a:pt x="793" y="1242"/>
                  <a:pt x="787" y="1243"/>
                </a:cubicBezTo>
                <a:close/>
                <a:moveTo>
                  <a:pt x="842" y="1251"/>
                </a:moveTo>
                <a:cubicBezTo>
                  <a:pt x="842" y="1251"/>
                  <a:pt x="842" y="1251"/>
                  <a:pt x="842" y="1251"/>
                </a:cubicBezTo>
                <a:cubicBezTo>
                  <a:pt x="842" y="1243"/>
                  <a:pt x="842" y="1243"/>
                  <a:pt x="842" y="1243"/>
                </a:cubicBezTo>
                <a:cubicBezTo>
                  <a:pt x="836" y="1242"/>
                  <a:pt x="835" y="1239"/>
                  <a:pt x="835" y="1236"/>
                </a:cubicBezTo>
                <a:cubicBezTo>
                  <a:pt x="835" y="1235"/>
                  <a:pt x="835" y="1232"/>
                  <a:pt x="836" y="1230"/>
                </a:cubicBezTo>
                <a:cubicBezTo>
                  <a:pt x="836" y="1227"/>
                  <a:pt x="836" y="1224"/>
                  <a:pt x="836" y="1222"/>
                </a:cubicBezTo>
                <a:cubicBezTo>
                  <a:pt x="836" y="1214"/>
                  <a:pt x="831" y="1209"/>
                  <a:pt x="822" y="1209"/>
                </a:cubicBezTo>
                <a:cubicBezTo>
                  <a:pt x="822" y="1209"/>
                  <a:pt x="822" y="1209"/>
                  <a:pt x="818" y="1209"/>
                </a:cubicBezTo>
                <a:cubicBezTo>
                  <a:pt x="818" y="1209"/>
                  <a:pt x="818" y="1209"/>
                  <a:pt x="818" y="1219"/>
                </a:cubicBezTo>
                <a:cubicBezTo>
                  <a:pt x="818" y="1219"/>
                  <a:pt x="818" y="1219"/>
                  <a:pt x="819" y="1219"/>
                </a:cubicBezTo>
                <a:cubicBezTo>
                  <a:pt x="823" y="1219"/>
                  <a:pt x="825" y="1221"/>
                  <a:pt x="825" y="1225"/>
                </a:cubicBezTo>
                <a:cubicBezTo>
                  <a:pt x="825" y="1226"/>
                  <a:pt x="824" y="1228"/>
                  <a:pt x="824" y="1229"/>
                </a:cubicBezTo>
                <a:cubicBezTo>
                  <a:pt x="824" y="1231"/>
                  <a:pt x="824" y="1233"/>
                  <a:pt x="824" y="1236"/>
                </a:cubicBezTo>
                <a:cubicBezTo>
                  <a:pt x="824" y="1243"/>
                  <a:pt x="826" y="1245"/>
                  <a:pt x="832" y="1246"/>
                </a:cubicBezTo>
                <a:cubicBezTo>
                  <a:pt x="832" y="1246"/>
                  <a:pt x="832" y="1246"/>
                  <a:pt x="832" y="1247"/>
                </a:cubicBezTo>
                <a:cubicBezTo>
                  <a:pt x="826" y="1248"/>
                  <a:pt x="824" y="1251"/>
                  <a:pt x="824" y="1258"/>
                </a:cubicBezTo>
                <a:cubicBezTo>
                  <a:pt x="824" y="1260"/>
                  <a:pt x="824" y="1263"/>
                  <a:pt x="824" y="1264"/>
                </a:cubicBezTo>
                <a:cubicBezTo>
                  <a:pt x="824" y="1266"/>
                  <a:pt x="825" y="1267"/>
                  <a:pt x="825" y="1269"/>
                </a:cubicBezTo>
                <a:cubicBezTo>
                  <a:pt x="825" y="1272"/>
                  <a:pt x="823" y="1275"/>
                  <a:pt x="819" y="1275"/>
                </a:cubicBezTo>
                <a:cubicBezTo>
                  <a:pt x="819" y="1275"/>
                  <a:pt x="819" y="1275"/>
                  <a:pt x="818" y="1275"/>
                </a:cubicBezTo>
                <a:cubicBezTo>
                  <a:pt x="818" y="1275"/>
                  <a:pt x="818" y="1275"/>
                  <a:pt x="818" y="1284"/>
                </a:cubicBezTo>
                <a:cubicBezTo>
                  <a:pt x="818" y="1284"/>
                  <a:pt x="818" y="1284"/>
                  <a:pt x="822" y="1284"/>
                </a:cubicBezTo>
                <a:cubicBezTo>
                  <a:pt x="831" y="1284"/>
                  <a:pt x="836" y="1281"/>
                  <a:pt x="836" y="1271"/>
                </a:cubicBezTo>
                <a:cubicBezTo>
                  <a:pt x="836" y="1269"/>
                  <a:pt x="836" y="1267"/>
                  <a:pt x="836" y="1264"/>
                </a:cubicBezTo>
                <a:cubicBezTo>
                  <a:pt x="835" y="1261"/>
                  <a:pt x="835" y="1259"/>
                  <a:pt x="835" y="1257"/>
                </a:cubicBezTo>
                <a:cubicBezTo>
                  <a:pt x="835" y="1254"/>
                  <a:pt x="836" y="1251"/>
                  <a:pt x="842" y="1251"/>
                </a:cubicBezTo>
                <a:close/>
                <a:moveTo>
                  <a:pt x="228" y="1284"/>
                </a:moveTo>
                <a:cubicBezTo>
                  <a:pt x="221" y="1284"/>
                  <a:pt x="214" y="1281"/>
                  <a:pt x="210" y="1275"/>
                </a:cubicBezTo>
                <a:cubicBezTo>
                  <a:pt x="206" y="1268"/>
                  <a:pt x="204" y="1260"/>
                  <a:pt x="204" y="1247"/>
                </a:cubicBezTo>
                <a:cubicBezTo>
                  <a:pt x="204" y="1234"/>
                  <a:pt x="206" y="1224"/>
                  <a:pt x="210" y="1218"/>
                </a:cubicBezTo>
                <a:cubicBezTo>
                  <a:pt x="215" y="1211"/>
                  <a:pt x="221" y="1208"/>
                  <a:pt x="230" y="1208"/>
                </a:cubicBezTo>
                <a:cubicBezTo>
                  <a:pt x="246" y="1208"/>
                  <a:pt x="254" y="1220"/>
                  <a:pt x="254" y="1246"/>
                </a:cubicBezTo>
                <a:cubicBezTo>
                  <a:pt x="254" y="1258"/>
                  <a:pt x="252" y="1268"/>
                  <a:pt x="247" y="1274"/>
                </a:cubicBezTo>
                <a:cubicBezTo>
                  <a:pt x="243" y="1281"/>
                  <a:pt x="236" y="1284"/>
                  <a:pt x="228" y="1284"/>
                </a:cubicBezTo>
                <a:close/>
                <a:moveTo>
                  <a:pt x="229" y="1217"/>
                </a:moveTo>
                <a:cubicBezTo>
                  <a:pt x="220" y="1217"/>
                  <a:pt x="216" y="1227"/>
                  <a:pt x="216" y="1247"/>
                </a:cubicBezTo>
                <a:cubicBezTo>
                  <a:pt x="216" y="1266"/>
                  <a:pt x="220" y="1274"/>
                  <a:pt x="229" y="1274"/>
                </a:cubicBezTo>
                <a:cubicBezTo>
                  <a:pt x="237" y="1274"/>
                  <a:pt x="242" y="1266"/>
                  <a:pt x="242" y="1246"/>
                </a:cubicBezTo>
                <a:cubicBezTo>
                  <a:pt x="242" y="1227"/>
                  <a:pt x="237" y="1217"/>
                  <a:pt x="229" y="1217"/>
                </a:cubicBezTo>
                <a:close/>
                <a:moveTo>
                  <a:pt x="298" y="1284"/>
                </a:moveTo>
                <a:cubicBezTo>
                  <a:pt x="291" y="1284"/>
                  <a:pt x="284" y="1281"/>
                  <a:pt x="281" y="1275"/>
                </a:cubicBezTo>
                <a:cubicBezTo>
                  <a:pt x="276" y="1268"/>
                  <a:pt x="274" y="1260"/>
                  <a:pt x="274" y="1247"/>
                </a:cubicBezTo>
                <a:cubicBezTo>
                  <a:pt x="274" y="1234"/>
                  <a:pt x="276" y="1224"/>
                  <a:pt x="281" y="1218"/>
                </a:cubicBezTo>
                <a:cubicBezTo>
                  <a:pt x="285" y="1211"/>
                  <a:pt x="292" y="1208"/>
                  <a:pt x="300" y="1208"/>
                </a:cubicBezTo>
                <a:cubicBezTo>
                  <a:pt x="317" y="1208"/>
                  <a:pt x="325" y="1220"/>
                  <a:pt x="325" y="1246"/>
                </a:cubicBezTo>
                <a:cubicBezTo>
                  <a:pt x="325" y="1258"/>
                  <a:pt x="323" y="1268"/>
                  <a:pt x="318" y="1274"/>
                </a:cubicBezTo>
                <a:cubicBezTo>
                  <a:pt x="313" y="1281"/>
                  <a:pt x="307" y="1284"/>
                  <a:pt x="298" y="1284"/>
                </a:cubicBezTo>
                <a:close/>
                <a:moveTo>
                  <a:pt x="300" y="1217"/>
                </a:moveTo>
                <a:cubicBezTo>
                  <a:pt x="291" y="1217"/>
                  <a:pt x="286" y="1227"/>
                  <a:pt x="286" y="1247"/>
                </a:cubicBezTo>
                <a:cubicBezTo>
                  <a:pt x="286" y="1266"/>
                  <a:pt x="290" y="1274"/>
                  <a:pt x="299" y="1274"/>
                </a:cubicBezTo>
                <a:cubicBezTo>
                  <a:pt x="308" y="1274"/>
                  <a:pt x="312" y="1266"/>
                  <a:pt x="312" y="1246"/>
                </a:cubicBezTo>
                <a:cubicBezTo>
                  <a:pt x="312" y="1227"/>
                  <a:pt x="308" y="1217"/>
                  <a:pt x="300" y="1217"/>
                </a:cubicBezTo>
                <a:close/>
                <a:moveTo>
                  <a:pt x="508" y="1284"/>
                </a:moveTo>
                <a:cubicBezTo>
                  <a:pt x="501" y="1284"/>
                  <a:pt x="495" y="1281"/>
                  <a:pt x="491" y="1274"/>
                </a:cubicBezTo>
                <a:cubicBezTo>
                  <a:pt x="486" y="1268"/>
                  <a:pt x="484" y="1259"/>
                  <a:pt x="484" y="1247"/>
                </a:cubicBezTo>
                <a:cubicBezTo>
                  <a:pt x="484" y="1234"/>
                  <a:pt x="486" y="1224"/>
                  <a:pt x="491" y="1217"/>
                </a:cubicBezTo>
                <a:cubicBezTo>
                  <a:pt x="495" y="1210"/>
                  <a:pt x="502" y="1208"/>
                  <a:pt x="510" y="1208"/>
                </a:cubicBezTo>
                <a:cubicBezTo>
                  <a:pt x="527" y="1208"/>
                  <a:pt x="535" y="1220"/>
                  <a:pt x="535" y="1245"/>
                </a:cubicBezTo>
                <a:cubicBezTo>
                  <a:pt x="535" y="1258"/>
                  <a:pt x="532" y="1268"/>
                  <a:pt x="528" y="1274"/>
                </a:cubicBezTo>
                <a:cubicBezTo>
                  <a:pt x="523" y="1281"/>
                  <a:pt x="517" y="1284"/>
                  <a:pt x="508" y="1284"/>
                </a:cubicBezTo>
                <a:close/>
                <a:moveTo>
                  <a:pt x="510" y="1217"/>
                </a:moveTo>
                <a:cubicBezTo>
                  <a:pt x="501" y="1217"/>
                  <a:pt x="497" y="1227"/>
                  <a:pt x="497" y="1246"/>
                </a:cubicBezTo>
                <a:cubicBezTo>
                  <a:pt x="497" y="1265"/>
                  <a:pt x="501" y="1274"/>
                  <a:pt x="510" y="1274"/>
                </a:cubicBezTo>
                <a:cubicBezTo>
                  <a:pt x="518" y="1274"/>
                  <a:pt x="522" y="1265"/>
                  <a:pt x="522" y="1246"/>
                </a:cubicBezTo>
                <a:cubicBezTo>
                  <a:pt x="522" y="1227"/>
                  <a:pt x="519" y="1217"/>
                  <a:pt x="510" y="1217"/>
                </a:cubicBezTo>
                <a:close/>
                <a:moveTo>
                  <a:pt x="581" y="1210"/>
                </a:moveTo>
                <a:cubicBezTo>
                  <a:pt x="581" y="1210"/>
                  <a:pt x="581" y="1210"/>
                  <a:pt x="581" y="1210"/>
                </a:cubicBezTo>
                <a:cubicBezTo>
                  <a:pt x="576" y="1210"/>
                  <a:pt x="576" y="1210"/>
                  <a:pt x="576" y="1210"/>
                </a:cubicBezTo>
                <a:cubicBezTo>
                  <a:pt x="574" y="1212"/>
                  <a:pt x="573" y="1213"/>
                  <a:pt x="570" y="1214"/>
                </a:cubicBezTo>
                <a:cubicBezTo>
                  <a:pt x="569" y="1216"/>
                  <a:pt x="567" y="1216"/>
                  <a:pt x="565" y="1217"/>
                </a:cubicBezTo>
                <a:cubicBezTo>
                  <a:pt x="564" y="1218"/>
                  <a:pt x="562" y="1218"/>
                  <a:pt x="560" y="1219"/>
                </a:cubicBezTo>
                <a:cubicBezTo>
                  <a:pt x="558" y="1220"/>
                  <a:pt x="557" y="1221"/>
                  <a:pt x="555" y="1221"/>
                </a:cubicBezTo>
                <a:cubicBezTo>
                  <a:pt x="555" y="1221"/>
                  <a:pt x="555" y="1221"/>
                  <a:pt x="555" y="1232"/>
                </a:cubicBezTo>
                <a:cubicBezTo>
                  <a:pt x="558" y="1231"/>
                  <a:pt x="560" y="1229"/>
                  <a:pt x="563" y="1229"/>
                </a:cubicBezTo>
                <a:cubicBezTo>
                  <a:pt x="565" y="1228"/>
                  <a:pt x="568" y="1226"/>
                  <a:pt x="570" y="1225"/>
                </a:cubicBezTo>
                <a:cubicBezTo>
                  <a:pt x="570" y="1225"/>
                  <a:pt x="570" y="1225"/>
                  <a:pt x="570" y="1284"/>
                </a:cubicBezTo>
                <a:cubicBezTo>
                  <a:pt x="570" y="1284"/>
                  <a:pt x="570" y="1284"/>
                  <a:pt x="581" y="1284"/>
                </a:cubicBezTo>
                <a:cubicBezTo>
                  <a:pt x="581" y="1284"/>
                  <a:pt x="581" y="1284"/>
                  <a:pt x="581" y="1210"/>
                </a:cubicBezTo>
                <a:close/>
                <a:moveTo>
                  <a:pt x="371" y="1210"/>
                </a:moveTo>
                <a:cubicBezTo>
                  <a:pt x="371" y="1210"/>
                  <a:pt x="371" y="1210"/>
                  <a:pt x="371" y="1210"/>
                </a:cubicBezTo>
                <a:cubicBezTo>
                  <a:pt x="366" y="1210"/>
                  <a:pt x="366" y="1210"/>
                  <a:pt x="366" y="1210"/>
                </a:cubicBezTo>
                <a:cubicBezTo>
                  <a:pt x="364" y="1212"/>
                  <a:pt x="363" y="1213"/>
                  <a:pt x="360" y="1214"/>
                </a:cubicBezTo>
                <a:cubicBezTo>
                  <a:pt x="359" y="1216"/>
                  <a:pt x="358" y="1216"/>
                  <a:pt x="355" y="1217"/>
                </a:cubicBezTo>
                <a:cubicBezTo>
                  <a:pt x="354" y="1218"/>
                  <a:pt x="352" y="1219"/>
                  <a:pt x="350" y="1220"/>
                </a:cubicBezTo>
                <a:cubicBezTo>
                  <a:pt x="348" y="1221"/>
                  <a:pt x="347" y="1221"/>
                  <a:pt x="344" y="1221"/>
                </a:cubicBezTo>
                <a:cubicBezTo>
                  <a:pt x="344" y="1221"/>
                  <a:pt x="344" y="1221"/>
                  <a:pt x="344" y="1232"/>
                </a:cubicBezTo>
                <a:cubicBezTo>
                  <a:pt x="347" y="1231"/>
                  <a:pt x="350" y="1230"/>
                  <a:pt x="353" y="1229"/>
                </a:cubicBezTo>
                <a:cubicBezTo>
                  <a:pt x="355" y="1228"/>
                  <a:pt x="358" y="1226"/>
                  <a:pt x="360" y="1225"/>
                </a:cubicBezTo>
                <a:cubicBezTo>
                  <a:pt x="360" y="1225"/>
                  <a:pt x="360" y="1225"/>
                  <a:pt x="360" y="1284"/>
                </a:cubicBezTo>
                <a:cubicBezTo>
                  <a:pt x="360" y="1284"/>
                  <a:pt x="360" y="1284"/>
                  <a:pt x="371" y="1284"/>
                </a:cubicBezTo>
                <a:cubicBezTo>
                  <a:pt x="371" y="1284"/>
                  <a:pt x="371" y="1284"/>
                  <a:pt x="371" y="1210"/>
                </a:cubicBezTo>
                <a:close/>
                <a:moveTo>
                  <a:pt x="418" y="1210"/>
                </a:moveTo>
                <a:cubicBezTo>
                  <a:pt x="418" y="1210"/>
                  <a:pt x="418" y="1210"/>
                  <a:pt x="418" y="1210"/>
                </a:cubicBezTo>
                <a:cubicBezTo>
                  <a:pt x="413" y="1210"/>
                  <a:pt x="413" y="1210"/>
                  <a:pt x="413" y="1210"/>
                </a:cubicBezTo>
                <a:cubicBezTo>
                  <a:pt x="411" y="1212"/>
                  <a:pt x="410" y="1213"/>
                  <a:pt x="408" y="1214"/>
                </a:cubicBezTo>
                <a:cubicBezTo>
                  <a:pt x="406" y="1216"/>
                  <a:pt x="404" y="1216"/>
                  <a:pt x="402" y="1217"/>
                </a:cubicBezTo>
                <a:cubicBezTo>
                  <a:pt x="401" y="1218"/>
                  <a:pt x="399" y="1219"/>
                  <a:pt x="397" y="1220"/>
                </a:cubicBezTo>
                <a:cubicBezTo>
                  <a:pt x="395" y="1221"/>
                  <a:pt x="394" y="1221"/>
                  <a:pt x="392" y="1221"/>
                </a:cubicBezTo>
                <a:cubicBezTo>
                  <a:pt x="392" y="1221"/>
                  <a:pt x="392" y="1221"/>
                  <a:pt x="392" y="1232"/>
                </a:cubicBezTo>
                <a:cubicBezTo>
                  <a:pt x="394" y="1231"/>
                  <a:pt x="397" y="1230"/>
                  <a:pt x="400" y="1229"/>
                </a:cubicBezTo>
                <a:cubicBezTo>
                  <a:pt x="402" y="1228"/>
                  <a:pt x="405" y="1226"/>
                  <a:pt x="407" y="1225"/>
                </a:cubicBezTo>
                <a:cubicBezTo>
                  <a:pt x="407" y="1225"/>
                  <a:pt x="407" y="1225"/>
                  <a:pt x="407" y="1284"/>
                </a:cubicBezTo>
                <a:cubicBezTo>
                  <a:pt x="407" y="1284"/>
                  <a:pt x="407" y="1284"/>
                  <a:pt x="418" y="1284"/>
                </a:cubicBezTo>
                <a:cubicBezTo>
                  <a:pt x="418" y="1284"/>
                  <a:pt x="418" y="1284"/>
                  <a:pt x="418" y="1210"/>
                </a:cubicBezTo>
                <a:close/>
                <a:moveTo>
                  <a:pt x="464" y="1210"/>
                </a:moveTo>
                <a:cubicBezTo>
                  <a:pt x="464" y="1210"/>
                  <a:pt x="464" y="1210"/>
                  <a:pt x="464" y="1210"/>
                </a:cubicBezTo>
                <a:cubicBezTo>
                  <a:pt x="460" y="1210"/>
                  <a:pt x="460" y="1210"/>
                  <a:pt x="460" y="1210"/>
                </a:cubicBezTo>
                <a:cubicBezTo>
                  <a:pt x="458" y="1212"/>
                  <a:pt x="456" y="1213"/>
                  <a:pt x="454" y="1214"/>
                </a:cubicBezTo>
                <a:cubicBezTo>
                  <a:pt x="453" y="1216"/>
                  <a:pt x="451" y="1216"/>
                  <a:pt x="449" y="1217"/>
                </a:cubicBezTo>
                <a:cubicBezTo>
                  <a:pt x="447" y="1218"/>
                  <a:pt x="445" y="1218"/>
                  <a:pt x="443" y="1219"/>
                </a:cubicBezTo>
                <a:cubicBezTo>
                  <a:pt x="442" y="1220"/>
                  <a:pt x="440" y="1221"/>
                  <a:pt x="438" y="1221"/>
                </a:cubicBezTo>
                <a:cubicBezTo>
                  <a:pt x="438" y="1221"/>
                  <a:pt x="438" y="1221"/>
                  <a:pt x="438" y="1232"/>
                </a:cubicBezTo>
                <a:cubicBezTo>
                  <a:pt x="441" y="1231"/>
                  <a:pt x="444" y="1229"/>
                  <a:pt x="446" y="1229"/>
                </a:cubicBezTo>
                <a:cubicBezTo>
                  <a:pt x="448" y="1228"/>
                  <a:pt x="451" y="1226"/>
                  <a:pt x="453" y="1225"/>
                </a:cubicBezTo>
                <a:cubicBezTo>
                  <a:pt x="453" y="1225"/>
                  <a:pt x="453" y="1225"/>
                  <a:pt x="453" y="1284"/>
                </a:cubicBezTo>
                <a:cubicBezTo>
                  <a:pt x="453" y="1284"/>
                  <a:pt x="453" y="1284"/>
                  <a:pt x="464" y="1284"/>
                </a:cubicBezTo>
                <a:cubicBezTo>
                  <a:pt x="464" y="1284"/>
                  <a:pt x="464" y="1284"/>
                  <a:pt x="464" y="1210"/>
                </a:cubicBezTo>
                <a:close/>
                <a:moveTo>
                  <a:pt x="30" y="1284"/>
                </a:moveTo>
                <a:cubicBezTo>
                  <a:pt x="23" y="1284"/>
                  <a:pt x="16" y="1281"/>
                  <a:pt x="12" y="1275"/>
                </a:cubicBezTo>
                <a:cubicBezTo>
                  <a:pt x="8" y="1268"/>
                  <a:pt x="6" y="1260"/>
                  <a:pt x="6" y="1247"/>
                </a:cubicBezTo>
                <a:cubicBezTo>
                  <a:pt x="6" y="1234"/>
                  <a:pt x="8" y="1224"/>
                  <a:pt x="12" y="1218"/>
                </a:cubicBezTo>
                <a:cubicBezTo>
                  <a:pt x="17" y="1211"/>
                  <a:pt x="23" y="1208"/>
                  <a:pt x="32" y="1208"/>
                </a:cubicBezTo>
                <a:cubicBezTo>
                  <a:pt x="48" y="1208"/>
                  <a:pt x="56" y="1220"/>
                  <a:pt x="56" y="1246"/>
                </a:cubicBezTo>
                <a:cubicBezTo>
                  <a:pt x="56" y="1258"/>
                  <a:pt x="54" y="1268"/>
                  <a:pt x="50" y="1274"/>
                </a:cubicBezTo>
                <a:cubicBezTo>
                  <a:pt x="45" y="1281"/>
                  <a:pt x="39" y="1284"/>
                  <a:pt x="30" y="1284"/>
                </a:cubicBezTo>
                <a:close/>
                <a:moveTo>
                  <a:pt x="31" y="1217"/>
                </a:moveTo>
                <a:cubicBezTo>
                  <a:pt x="23" y="1217"/>
                  <a:pt x="17" y="1227"/>
                  <a:pt x="17" y="1247"/>
                </a:cubicBezTo>
                <a:cubicBezTo>
                  <a:pt x="17" y="1266"/>
                  <a:pt x="22" y="1274"/>
                  <a:pt x="31" y="1274"/>
                </a:cubicBezTo>
                <a:cubicBezTo>
                  <a:pt x="40" y="1274"/>
                  <a:pt x="44" y="1266"/>
                  <a:pt x="44" y="1246"/>
                </a:cubicBezTo>
                <a:cubicBezTo>
                  <a:pt x="44" y="1227"/>
                  <a:pt x="40" y="1217"/>
                  <a:pt x="31" y="1217"/>
                </a:cubicBezTo>
                <a:close/>
                <a:moveTo>
                  <a:pt x="91" y="1210"/>
                </a:moveTo>
                <a:cubicBezTo>
                  <a:pt x="91" y="1210"/>
                  <a:pt x="91" y="1210"/>
                  <a:pt x="91" y="1210"/>
                </a:cubicBezTo>
                <a:cubicBezTo>
                  <a:pt x="86" y="1210"/>
                  <a:pt x="86" y="1210"/>
                  <a:pt x="86" y="1210"/>
                </a:cubicBezTo>
                <a:cubicBezTo>
                  <a:pt x="84" y="1212"/>
                  <a:pt x="82" y="1213"/>
                  <a:pt x="80" y="1214"/>
                </a:cubicBezTo>
                <a:cubicBezTo>
                  <a:pt x="79" y="1216"/>
                  <a:pt x="77" y="1216"/>
                  <a:pt x="75" y="1217"/>
                </a:cubicBezTo>
                <a:cubicBezTo>
                  <a:pt x="74" y="1218"/>
                  <a:pt x="71" y="1219"/>
                  <a:pt x="70" y="1220"/>
                </a:cubicBezTo>
                <a:cubicBezTo>
                  <a:pt x="68" y="1221"/>
                  <a:pt x="66" y="1221"/>
                  <a:pt x="64" y="1221"/>
                </a:cubicBezTo>
                <a:cubicBezTo>
                  <a:pt x="64" y="1221"/>
                  <a:pt x="64" y="1221"/>
                  <a:pt x="64" y="1232"/>
                </a:cubicBezTo>
                <a:cubicBezTo>
                  <a:pt x="67" y="1231"/>
                  <a:pt x="70" y="1230"/>
                  <a:pt x="73" y="1229"/>
                </a:cubicBezTo>
                <a:cubicBezTo>
                  <a:pt x="75" y="1228"/>
                  <a:pt x="77" y="1226"/>
                  <a:pt x="79" y="1225"/>
                </a:cubicBezTo>
                <a:cubicBezTo>
                  <a:pt x="79" y="1225"/>
                  <a:pt x="79" y="1225"/>
                  <a:pt x="79" y="1284"/>
                </a:cubicBezTo>
                <a:cubicBezTo>
                  <a:pt x="79" y="1284"/>
                  <a:pt x="79" y="1284"/>
                  <a:pt x="91" y="1284"/>
                </a:cubicBezTo>
                <a:cubicBezTo>
                  <a:pt x="91" y="1284"/>
                  <a:pt x="91" y="1284"/>
                  <a:pt x="91" y="1210"/>
                </a:cubicBezTo>
                <a:close/>
                <a:moveTo>
                  <a:pt x="138" y="1210"/>
                </a:moveTo>
                <a:cubicBezTo>
                  <a:pt x="138" y="1210"/>
                  <a:pt x="138" y="1210"/>
                  <a:pt x="138" y="1210"/>
                </a:cubicBezTo>
                <a:cubicBezTo>
                  <a:pt x="133" y="1210"/>
                  <a:pt x="133" y="1210"/>
                  <a:pt x="133" y="1210"/>
                </a:cubicBezTo>
                <a:cubicBezTo>
                  <a:pt x="131" y="1212"/>
                  <a:pt x="129" y="1213"/>
                  <a:pt x="127" y="1214"/>
                </a:cubicBezTo>
                <a:cubicBezTo>
                  <a:pt x="126" y="1216"/>
                  <a:pt x="124" y="1216"/>
                  <a:pt x="122" y="1217"/>
                </a:cubicBezTo>
                <a:cubicBezTo>
                  <a:pt x="121" y="1218"/>
                  <a:pt x="118" y="1219"/>
                  <a:pt x="117" y="1220"/>
                </a:cubicBezTo>
                <a:cubicBezTo>
                  <a:pt x="115" y="1221"/>
                  <a:pt x="113" y="1221"/>
                  <a:pt x="111" y="1221"/>
                </a:cubicBezTo>
                <a:cubicBezTo>
                  <a:pt x="111" y="1221"/>
                  <a:pt x="111" y="1221"/>
                  <a:pt x="111" y="1232"/>
                </a:cubicBezTo>
                <a:cubicBezTo>
                  <a:pt x="114" y="1231"/>
                  <a:pt x="117" y="1230"/>
                  <a:pt x="119" y="1229"/>
                </a:cubicBezTo>
                <a:cubicBezTo>
                  <a:pt x="122" y="1228"/>
                  <a:pt x="124" y="1226"/>
                  <a:pt x="126" y="1225"/>
                </a:cubicBezTo>
                <a:cubicBezTo>
                  <a:pt x="126" y="1225"/>
                  <a:pt x="126" y="1225"/>
                  <a:pt x="126" y="1284"/>
                </a:cubicBezTo>
                <a:cubicBezTo>
                  <a:pt x="126" y="1284"/>
                  <a:pt x="126" y="1284"/>
                  <a:pt x="138" y="1284"/>
                </a:cubicBezTo>
                <a:cubicBezTo>
                  <a:pt x="138" y="1284"/>
                  <a:pt x="138" y="1284"/>
                  <a:pt x="138" y="1210"/>
                </a:cubicBezTo>
                <a:close/>
                <a:moveTo>
                  <a:pt x="184" y="1210"/>
                </a:moveTo>
                <a:cubicBezTo>
                  <a:pt x="184" y="1210"/>
                  <a:pt x="184" y="1210"/>
                  <a:pt x="184" y="1210"/>
                </a:cubicBezTo>
                <a:cubicBezTo>
                  <a:pt x="180" y="1210"/>
                  <a:pt x="180" y="1210"/>
                  <a:pt x="180" y="1210"/>
                </a:cubicBezTo>
                <a:cubicBezTo>
                  <a:pt x="178" y="1212"/>
                  <a:pt x="176" y="1213"/>
                  <a:pt x="174" y="1214"/>
                </a:cubicBezTo>
                <a:cubicBezTo>
                  <a:pt x="172" y="1216"/>
                  <a:pt x="170" y="1216"/>
                  <a:pt x="169" y="1217"/>
                </a:cubicBezTo>
                <a:cubicBezTo>
                  <a:pt x="167" y="1218"/>
                  <a:pt x="165" y="1218"/>
                  <a:pt x="163" y="1219"/>
                </a:cubicBezTo>
                <a:cubicBezTo>
                  <a:pt x="161" y="1220"/>
                  <a:pt x="159" y="1221"/>
                  <a:pt x="158" y="1221"/>
                </a:cubicBezTo>
                <a:cubicBezTo>
                  <a:pt x="158" y="1221"/>
                  <a:pt x="158" y="1221"/>
                  <a:pt x="158" y="1232"/>
                </a:cubicBezTo>
                <a:cubicBezTo>
                  <a:pt x="161" y="1231"/>
                  <a:pt x="164" y="1229"/>
                  <a:pt x="166" y="1229"/>
                </a:cubicBezTo>
                <a:cubicBezTo>
                  <a:pt x="168" y="1228"/>
                  <a:pt x="171" y="1226"/>
                  <a:pt x="172" y="1225"/>
                </a:cubicBezTo>
                <a:cubicBezTo>
                  <a:pt x="172" y="1225"/>
                  <a:pt x="172" y="1225"/>
                  <a:pt x="172" y="1284"/>
                </a:cubicBezTo>
                <a:cubicBezTo>
                  <a:pt x="172" y="1284"/>
                  <a:pt x="172" y="1284"/>
                  <a:pt x="184" y="1284"/>
                </a:cubicBezTo>
                <a:cubicBezTo>
                  <a:pt x="184" y="1284"/>
                  <a:pt x="184" y="1284"/>
                  <a:pt x="184" y="1210"/>
                </a:cubicBezTo>
                <a:close/>
                <a:moveTo>
                  <a:pt x="99" y="1176"/>
                </a:moveTo>
                <a:cubicBezTo>
                  <a:pt x="92" y="1176"/>
                  <a:pt x="85" y="1173"/>
                  <a:pt x="81" y="1168"/>
                </a:cubicBezTo>
                <a:cubicBezTo>
                  <a:pt x="77" y="1161"/>
                  <a:pt x="75" y="1152"/>
                  <a:pt x="75" y="1140"/>
                </a:cubicBezTo>
                <a:cubicBezTo>
                  <a:pt x="75" y="1127"/>
                  <a:pt x="77" y="1117"/>
                  <a:pt x="81" y="1111"/>
                </a:cubicBezTo>
                <a:cubicBezTo>
                  <a:pt x="86" y="1104"/>
                  <a:pt x="92" y="1101"/>
                  <a:pt x="101" y="1101"/>
                </a:cubicBezTo>
                <a:cubicBezTo>
                  <a:pt x="117" y="1101"/>
                  <a:pt x="125" y="1113"/>
                  <a:pt x="125" y="1138"/>
                </a:cubicBezTo>
                <a:cubicBezTo>
                  <a:pt x="125" y="1151"/>
                  <a:pt x="123" y="1160"/>
                  <a:pt x="118" y="1167"/>
                </a:cubicBezTo>
                <a:cubicBezTo>
                  <a:pt x="113" y="1173"/>
                  <a:pt x="107" y="1176"/>
                  <a:pt x="99" y="1176"/>
                </a:cubicBezTo>
                <a:close/>
                <a:moveTo>
                  <a:pt x="100" y="1110"/>
                </a:moveTo>
                <a:cubicBezTo>
                  <a:pt x="91" y="1110"/>
                  <a:pt x="86" y="1120"/>
                  <a:pt x="86" y="1140"/>
                </a:cubicBezTo>
                <a:cubicBezTo>
                  <a:pt x="86" y="1158"/>
                  <a:pt x="91" y="1167"/>
                  <a:pt x="100" y="1167"/>
                </a:cubicBezTo>
                <a:cubicBezTo>
                  <a:pt x="108" y="1167"/>
                  <a:pt x="113" y="1158"/>
                  <a:pt x="113" y="1139"/>
                </a:cubicBezTo>
                <a:cubicBezTo>
                  <a:pt x="113" y="1119"/>
                  <a:pt x="108" y="1110"/>
                  <a:pt x="100" y="1110"/>
                </a:cubicBezTo>
                <a:close/>
                <a:moveTo>
                  <a:pt x="173" y="1103"/>
                </a:moveTo>
                <a:cubicBezTo>
                  <a:pt x="173" y="1103"/>
                  <a:pt x="173" y="1103"/>
                  <a:pt x="173" y="1103"/>
                </a:cubicBezTo>
                <a:cubicBezTo>
                  <a:pt x="168" y="1103"/>
                  <a:pt x="168" y="1103"/>
                  <a:pt x="168" y="1103"/>
                </a:cubicBezTo>
                <a:cubicBezTo>
                  <a:pt x="165" y="1104"/>
                  <a:pt x="164" y="1106"/>
                  <a:pt x="162" y="1107"/>
                </a:cubicBezTo>
                <a:cubicBezTo>
                  <a:pt x="160" y="1108"/>
                  <a:pt x="158" y="1109"/>
                  <a:pt x="157" y="1109"/>
                </a:cubicBezTo>
                <a:cubicBezTo>
                  <a:pt x="154" y="1110"/>
                  <a:pt x="153" y="1111"/>
                  <a:pt x="152" y="1112"/>
                </a:cubicBezTo>
                <a:cubicBezTo>
                  <a:pt x="149" y="1112"/>
                  <a:pt x="148" y="1113"/>
                  <a:pt x="146" y="1114"/>
                </a:cubicBezTo>
                <a:cubicBezTo>
                  <a:pt x="146" y="1114"/>
                  <a:pt x="146" y="1114"/>
                  <a:pt x="146" y="1124"/>
                </a:cubicBezTo>
                <a:cubicBezTo>
                  <a:pt x="149" y="1123"/>
                  <a:pt x="152" y="1122"/>
                  <a:pt x="154" y="1121"/>
                </a:cubicBezTo>
                <a:cubicBezTo>
                  <a:pt x="157" y="1120"/>
                  <a:pt x="159" y="1119"/>
                  <a:pt x="161" y="1117"/>
                </a:cubicBezTo>
                <a:cubicBezTo>
                  <a:pt x="161" y="1117"/>
                  <a:pt x="161" y="1117"/>
                  <a:pt x="161" y="1176"/>
                </a:cubicBezTo>
                <a:cubicBezTo>
                  <a:pt x="161" y="1176"/>
                  <a:pt x="161" y="1176"/>
                  <a:pt x="173" y="1176"/>
                </a:cubicBezTo>
                <a:cubicBezTo>
                  <a:pt x="173" y="1176"/>
                  <a:pt x="173" y="1176"/>
                  <a:pt x="173" y="1103"/>
                </a:cubicBezTo>
                <a:close/>
                <a:moveTo>
                  <a:pt x="220" y="1103"/>
                </a:moveTo>
                <a:cubicBezTo>
                  <a:pt x="220" y="1103"/>
                  <a:pt x="220" y="1103"/>
                  <a:pt x="220" y="1103"/>
                </a:cubicBezTo>
                <a:cubicBezTo>
                  <a:pt x="215" y="1103"/>
                  <a:pt x="215" y="1103"/>
                  <a:pt x="215" y="1103"/>
                </a:cubicBezTo>
                <a:cubicBezTo>
                  <a:pt x="213" y="1104"/>
                  <a:pt x="211" y="1106"/>
                  <a:pt x="209" y="1107"/>
                </a:cubicBezTo>
                <a:cubicBezTo>
                  <a:pt x="208" y="1108"/>
                  <a:pt x="205" y="1109"/>
                  <a:pt x="204" y="1109"/>
                </a:cubicBezTo>
                <a:cubicBezTo>
                  <a:pt x="203" y="1111"/>
                  <a:pt x="200" y="1112"/>
                  <a:pt x="199" y="1112"/>
                </a:cubicBezTo>
                <a:cubicBezTo>
                  <a:pt x="197" y="1113"/>
                  <a:pt x="195" y="1114"/>
                  <a:pt x="193" y="1114"/>
                </a:cubicBezTo>
                <a:cubicBezTo>
                  <a:pt x="193" y="1114"/>
                  <a:pt x="193" y="1114"/>
                  <a:pt x="193" y="1124"/>
                </a:cubicBezTo>
                <a:cubicBezTo>
                  <a:pt x="196" y="1123"/>
                  <a:pt x="199" y="1123"/>
                  <a:pt x="201" y="1121"/>
                </a:cubicBezTo>
                <a:cubicBezTo>
                  <a:pt x="204" y="1120"/>
                  <a:pt x="206" y="1119"/>
                  <a:pt x="208" y="1117"/>
                </a:cubicBezTo>
                <a:cubicBezTo>
                  <a:pt x="208" y="1117"/>
                  <a:pt x="208" y="1117"/>
                  <a:pt x="208" y="1176"/>
                </a:cubicBezTo>
                <a:cubicBezTo>
                  <a:pt x="208" y="1176"/>
                  <a:pt x="208" y="1176"/>
                  <a:pt x="220" y="1176"/>
                </a:cubicBezTo>
                <a:cubicBezTo>
                  <a:pt x="220" y="1176"/>
                  <a:pt x="220" y="1176"/>
                  <a:pt x="220" y="1103"/>
                </a:cubicBezTo>
                <a:close/>
                <a:moveTo>
                  <a:pt x="266" y="1103"/>
                </a:moveTo>
                <a:cubicBezTo>
                  <a:pt x="266" y="1103"/>
                  <a:pt x="266" y="1103"/>
                  <a:pt x="266" y="1103"/>
                </a:cubicBezTo>
                <a:cubicBezTo>
                  <a:pt x="262" y="1103"/>
                  <a:pt x="262" y="1103"/>
                  <a:pt x="262" y="1103"/>
                </a:cubicBezTo>
                <a:cubicBezTo>
                  <a:pt x="260" y="1104"/>
                  <a:pt x="258" y="1106"/>
                  <a:pt x="256" y="1107"/>
                </a:cubicBezTo>
                <a:cubicBezTo>
                  <a:pt x="255" y="1108"/>
                  <a:pt x="253" y="1109"/>
                  <a:pt x="251" y="1109"/>
                </a:cubicBezTo>
                <a:cubicBezTo>
                  <a:pt x="249" y="1111"/>
                  <a:pt x="248" y="1112"/>
                  <a:pt x="245" y="1112"/>
                </a:cubicBezTo>
                <a:cubicBezTo>
                  <a:pt x="244" y="1113"/>
                  <a:pt x="242" y="1114"/>
                  <a:pt x="240" y="1114"/>
                </a:cubicBezTo>
                <a:cubicBezTo>
                  <a:pt x="240" y="1114"/>
                  <a:pt x="240" y="1114"/>
                  <a:pt x="240" y="1124"/>
                </a:cubicBezTo>
                <a:cubicBezTo>
                  <a:pt x="243" y="1123"/>
                  <a:pt x="246" y="1123"/>
                  <a:pt x="248" y="1121"/>
                </a:cubicBezTo>
                <a:cubicBezTo>
                  <a:pt x="250" y="1120"/>
                  <a:pt x="253" y="1119"/>
                  <a:pt x="255" y="1117"/>
                </a:cubicBezTo>
                <a:cubicBezTo>
                  <a:pt x="255" y="1117"/>
                  <a:pt x="255" y="1117"/>
                  <a:pt x="255" y="1176"/>
                </a:cubicBezTo>
                <a:cubicBezTo>
                  <a:pt x="255" y="1176"/>
                  <a:pt x="255" y="1176"/>
                  <a:pt x="266" y="1176"/>
                </a:cubicBezTo>
                <a:cubicBezTo>
                  <a:pt x="266" y="1176"/>
                  <a:pt x="266" y="1176"/>
                  <a:pt x="266" y="1103"/>
                </a:cubicBezTo>
                <a:close/>
                <a:moveTo>
                  <a:pt x="314" y="1103"/>
                </a:moveTo>
                <a:cubicBezTo>
                  <a:pt x="314" y="1103"/>
                  <a:pt x="314" y="1103"/>
                  <a:pt x="314" y="1103"/>
                </a:cubicBezTo>
                <a:cubicBezTo>
                  <a:pt x="309" y="1103"/>
                  <a:pt x="309" y="1103"/>
                  <a:pt x="309" y="1103"/>
                </a:cubicBezTo>
                <a:cubicBezTo>
                  <a:pt x="307" y="1104"/>
                  <a:pt x="305" y="1106"/>
                  <a:pt x="303" y="1107"/>
                </a:cubicBezTo>
                <a:cubicBezTo>
                  <a:pt x="301" y="1108"/>
                  <a:pt x="300" y="1109"/>
                  <a:pt x="298" y="1109"/>
                </a:cubicBezTo>
                <a:cubicBezTo>
                  <a:pt x="296" y="1111"/>
                  <a:pt x="294" y="1112"/>
                  <a:pt x="293" y="1112"/>
                </a:cubicBezTo>
                <a:cubicBezTo>
                  <a:pt x="291" y="1113"/>
                  <a:pt x="289" y="1114"/>
                  <a:pt x="287" y="1114"/>
                </a:cubicBezTo>
                <a:cubicBezTo>
                  <a:pt x="287" y="1114"/>
                  <a:pt x="287" y="1114"/>
                  <a:pt x="287" y="1124"/>
                </a:cubicBezTo>
                <a:cubicBezTo>
                  <a:pt x="290" y="1123"/>
                  <a:pt x="293" y="1123"/>
                  <a:pt x="295" y="1121"/>
                </a:cubicBezTo>
                <a:cubicBezTo>
                  <a:pt x="298" y="1120"/>
                  <a:pt x="300" y="1119"/>
                  <a:pt x="302" y="1117"/>
                </a:cubicBezTo>
                <a:cubicBezTo>
                  <a:pt x="302" y="1117"/>
                  <a:pt x="302" y="1117"/>
                  <a:pt x="302" y="1176"/>
                </a:cubicBezTo>
                <a:cubicBezTo>
                  <a:pt x="302" y="1176"/>
                  <a:pt x="302" y="1176"/>
                  <a:pt x="314" y="1176"/>
                </a:cubicBezTo>
                <a:cubicBezTo>
                  <a:pt x="314" y="1176"/>
                  <a:pt x="314" y="1176"/>
                  <a:pt x="314" y="1103"/>
                </a:cubicBezTo>
                <a:close/>
                <a:moveTo>
                  <a:pt x="437" y="1103"/>
                </a:moveTo>
                <a:cubicBezTo>
                  <a:pt x="437" y="1103"/>
                  <a:pt x="437" y="1103"/>
                  <a:pt x="437" y="1103"/>
                </a:cubicBezTo>
                <a:cubicBezTo>
                  <a:pt x="432" y="1103"/>
                  <a:pt x="432" y="1103"/>
                  <a:pt x="432" y="1103"/>
                </a:cubicBezTo>
                <a:cubicBezTo>
                  <a:pt x="429" y="1104"/>
                  <a:pt x="428" y="1106"/>
                  <a:pt x="426" y="1107"/>
                </a:cubicBezTo>
                <a:cubicBezTo>
                  <a:pt x="424" y="1108"/>
                  <a:pt x="423" y="1109"/>
                  <a:pt x="421" y="1109"/>
                </a:cubicBezTo>
                <a:cubicBezTo>
                  <a:pt x="419" y="1111"/>
                  <a:pt x="417" y="1112"/>
                  <a:pt x="416" y="1112"/>
                </a:cubicBezTo>
                <a:cubicBezTo>
                  <a:pt x="413" y="1113"/>
                  <a:pt x="412" y="1114"/>
                  <a:pt x="410" y="1114"/>
                </a:cubicBezTo>
                <a:cubicBezTo>
                  <a:pt x="410" y="1114"/>
                  <a:pt x="410" y="1114"/>
                  <a:pt x="410" y="1124"/>
                </a:cubicBezTo>
                <a:cubicBezTo>
                  <a:pt x="413" y="1123"/>
                  <a:pt x="416" y="1123"/>
                  <a:pt x="418" y="1121"/>
                </a:cubicBezTo>
                <a:cubicBezTo>
                  <a:pt x="421" y="1120"/>
                  <a:pt x="423" y="1119"/>
                  <a:pt x="425" y="1117"/>
                </a:cubicBezTo>
                <a:cubicBezTo>
                  <a:pt x="425" y="1117"/>
                  <a:pt x="425" y="1117"/>
                  <a:pt x="425" y="1176"/>
                </a:cubicBezTo>
                <a:cubicBezTo>
                  <a:pt x="425" y="1176"/>
                  <a:pt x="425" y="1176"/>
                  <a:pt x="437" y="1176"/>
                </a:cubicBezTo>
                <a:cubicBezTo>
                  <a:pt x="437" y="1176"/>
                  <a:pt x="437" y="1176"/>
                  <a:pt x="437" y="1103"/>
                </a:cubicBezTo>
                <a:close/>
                <a:moveTo>
                  <a:pt x="484" y="1103"/>
                </a:moveTo>
                <a:cubicBezTo>
                  <a:pt x="484" y="1103"/>
                  <a:pt x="484" y="1103"/>
                  <a:pt x="484" y="1103"/>
                </a:cubicBezTo>
                <a:cubicBezTo>
                  <a:pt x="479" y="1103"/>
                  <a:pt x="479" y="1103"/>
                  <a:pt x="479" y="1103"/>
                </a:cubicBezTo>
                <a:cubicBezTo>
                  <a:pt x="477" y="1104"/>
                  <a:pt x="475" y="1106"/>
                  <a:pt x="473" y="1107"/>
                </a:cubicBezTo>
                <a:cubicBezTo>
                  <a:pt x="472" y="1108"/>
                  <a:pt x="470" y="1109"/>
                  <a:pt x="468" y="1109"/>
                </a:cubicBezTo>
                <a:cubicBezTo>
                  <a:pt x="467" y="1111"/>
                  <a:pt x="465" y="1112"/>
                  <a:pt x="463" y="1112"/>
                </a:cubicBezTo>
                <a:cubicBezTo>
                  <a:pt x="461" y="1113"/>
                  <a:pt x="459" y="1114"/>
                  <a:pt x="457" y="1114"/>
                </a:cubicBezTo>
                <a:cubicBezTo>
                  <a:pt x="457" y="1114"/>
                  <a:pt x="457" y="1114"/>
                  <a:pt x="457" y="1124"/>
                </a:cubicBezTo>
                <a:cubicBezTo>
                  <a:pt x="460" y="1123"/>
                  <a:pt x="463" y="1123"/>
                  <a:pt x="465" y="1121"/>
                </a:cubicBezTo>
                <a:cubicBezTo>
                  <a:pt x="468" y="1120"/>
                  <a:pt x="470" y="1119"/>
                  <a:pt x="473" y="1117"/>
                </a:cubicBezTo>
                <a:cubicBezTo>
                  <a:pt x="473" y="1117"/>
                  <a:pt x="473" y="1117"/>
                  <a:pt x="473" y="1176"/>
                </a:cubicBezTo>
                <a:cubicBezTo>
                  <a:pt x="473" y="1176"/>
                  <a:pt x="473" y="1176"/>
                  <a:pt x="484" y="1176"/>
                </a:cubicBezTo>
                <a:cubicBezTo>
                  <a:pt x="484" y="1176"/>
                  <a:pt x="484" y="1176"/>
                  <a:pt x="484" y="1103"/>
                </a:cubicBezTo>
                <a:close/>
                <a:moveTo>
                  <a:pt x="532" y="1103"/>
                </a:moveTo>
                <a:cubicBezTo>
                  <a:pt x="532" y="1103"/>
                  <a:pt x="532" y="1103"/>
                  <a:pt x="532" y="1103"/>
                </a:cubicBezTo>
                <a:cubicBezTo>
                  <a:pt x="527" y="1103"/>
                  <a:pt x="527" y="1103"/>
                  <a:pt x="527" y="1103"/>
                </a:cubicBezTo>
                <a:cubicBezTo>
                  <a:pt x="525" y="1104"/>
                  <a:pt x="523" y="1106"/>
                  <a:pt x="522" y="1107"/>
                </a:cubicBezTo>
                <a:cubicBezTo>
                  <a:pt x="519" y="1108"/>
                  <a:pt x="518" y="1109"/>
                  <a:pt x="516" y="1109"/>
                </a:cubicBezTo>
                <a:cubicBezTo>
                  <a:pt x="514" y="1111"/>
                  <a:pt x="512" y="1112"/>
                  <a:pt x="511" y="1112"/>
                </a:cubicBezTo>
                <a:cubicBezTo>
                  <a:pt x="508" y="1113"/>
                  <a:pt x="507" y="1114"/>
                  <a:pt x="505" y="1114"/>
                </a:cubicBezTo>
                <a:cubicBezTo>
                  <a:pt x="505" y="1114"/>
                  <a:pt x="505" y="1114"/>
                  <a:pt x="505" y="1124"/>
                </a:cubicBezTo>
                <a:cubicBezTo>
                  <a:pt x="508" y="1123"/>
                  <a:pt x="511" y="1123"/>
                  <a:pt x="514" y="1121"/>
                </a:cubicBezTo>
                <a:cubicBezTo>
                  <a:pt x="516" y="1120"/>
                  <a:pt x="518" y="1119"/>
                  <a:pt x="520" y="1117"/>
                </a:cubicBezTo>
                <a:cubicBezTo>
                  <a:pt x="520" y="1117"/>
                  <a:pt x="520" y="1117"/>
                  <a:pt x="520" y="1176"/>
                </a:cubicBezTo>
                <a:cubicBezTo>
                  <a:pt x="520" y="1176"/>
                  <a:pt x="520" y="1176"/>
                  <a:pt x="532" y="1176"/>
                </a:cubicBezTo>
                <a:cubicBezTo>
                  <a:pt x="532" y="1176"/>
                  <a:pt x="532" y="1176"/>
                  <a:pt x="532" y="1103"/>
                </a:cubicBezTo>
                <a:close/>
                <a:moveTo>
                  <a:pt x="578" y="1103"/>
                </a:moveTo>
                <a:cubicBezTo>
                  <a:pt x="578" y="1103"/>
                  <a:pt x="578" y="1103"/>
                  <a:pt x="578" y="1103"/>
                </a:cubicBezTo>
                <a:cubicBezTo>
                  <a:pt x="574" y="1103"/>
                  <a:pt x="574" y="1103"/>
                  <a:pt x="574" y="1103"/>
                </a:cubicBezTo>
                <a:cubicBezTo>
                  <a:pt x="572" y="1104"/>
                  <a:pt x="570" y="1106"/>
                  <a:pt x="568" y="1107"/>
                </a:cubicBezTo>
                <a:cubicBezTo>
                  <a:pt x="567" y="1108"/>
                  <a:pt x="565" y="1109"/>
                  <a:pt x="563" y="1109"/>
                </a:cubicBezTo>
                <a:cubicBezTo>
                  <a:pt x="561" y="1110"/>
                  <a:pt x="560" y="1111"/>
                  <a:pt x="557" y="1112"/>
                </a:cubicBezTo>
                <a:cubicBezTo>
                  <a:pt x="556" y="1112"/>
                  <a:pt x="554" y="1113"/>
                  <a:pt x="552" y="1114"/>
                </a:cubicBezTo>
                <a:cubicBezTo>
                  <a:pt x="552" y="1114"/>
                  <a:pt x="552" y="1114"/>
                  <a:pt x="552" y="1124"/>
                </a:cubicBezTo>
                <a:cubicBezTo>
                  <a:pt x="555" y="1123"/>
                  <a:pt x="558" y="1122"/>
                  <a:pt x="560" y="1121"/>
                </a:cubicBezTo>
                <a:cubicBezTo>
                  <a:pt x="562" y="1120"/>
                  <a:pt x="565" y="1119"/>
                  <a:pt x="567" y="1117"/>
                </a:cubicBezTo>
                <a:cubicBezTo>
                  <a:pt x="567" y="1117"/>
                  <a:pt x="567" y="1117"/>
                  <a:pt x="567" y="1176"/>
                </a:cubicBezTo>
                <a:cubicBezTo>
                  <a:pt x="567" y="1176"/>
                  <a:pt x="567" y="1176"/>
                  <a:pt x="578" y="1176"/>
                </a:cubicBezTo>
                <a:cubicBezTo>
                  <a:pt x="578" y="1176"/>
                  <a:pt x="578" y="1176"/>
                  <a:pt x="578" y="1103"/>
                </a:cubicBezTo>
                <a:close/>
                <a:moveTo>
                  <a:pt x="335" y="1135"/>
                </a:moveTo>
                <a:cubicBezTo>
                  <a:pt x="335" y="1135"/>
                  <a:pt x="335" y="1135"/>
                  <a:pt x="335" y="1135"/>
                </a:cubicBezTo>
                <a:cubicBezTo>
                  <a:pt x="334" y="1143"/>
                  <a:pt x="334" y="1143"/>
                  <a:pt x="334" y="1143"/>
                </a:cubicBezTo>
                <a:cubicBezTo>
                  <a:pt x="341" y="1144"/>
                  <a:pt x="341" y="1147"/>
                  <a:pt x="341" y="1149"/>
                </a:cubicBezTo>
                <a:cubicBezTo>
                  <a:pt x="341" y="1152"/>
                  <a:pt x="341" y="1154"/>
                  <a:pt x="341" y="1157"/>
                </a:cubicBezTo>
                <a:cubicBezTo>
                  <a:pt x="341" y="1159"/>
                  <a:pt x="340" y="1161"/>
                  <a:pt x="340" y="1164"/>
                </a:cubicBezTo>
                <a:cubicBezTo>
                  <a:pt x="340" y="1173"/>
                  <a:pt x="346" y="1176"/>
                  <a:pt x="355" y="1176"/>
                </a:cubicBezTo>
                <a:cubicBezTo>
                  <a:pt x="355" y="1176"/>
                  <a:pt x="355" y="1176"/>
                  <a:pt x="358" y="1176"/>
                </a:cubicBezTo>
                <a:cubicBezTo>
                  <a:pt x="358" y="1176"/>
                  <a:pt x="358" y="1176"/>
                  <a:pt x="358" y="1167"/>
                </a:cubicBezTo>
                <a:cubicBezTo>
                  <a:pt x="358" y="1167"/>
                  <a:pt x="358" y="1167"/>
                  <a:pt x="357" y="1167"/>
                </a:cubicBezTo>
                <a:cubicBezTo>
                  <a:pt x="353" y="1167"/>
                  <a:pt x="352" y="1165"/>
                  <a:pt x="352" y="1161"/>
                </a:cubicBezTo>
                <a:cubicBezTo>
                  <a:pt x="352" y="1160"/>
                  <a:pt x="352" y="1158"/>
                  <a:pt x="353" y="1157"/>
                </a:cubicBezTo>
                <a:cubicBezTo>
                  <a:pt x="353" y="1155"/>
                  <a:pt x="353" y="1153"/>
                  <a:pt x="353" y="1151"/>
                </a:cubicBezTo>
                <a:cubicBezTo>
                  <a:pt x="353" y="1143"/>
                  <a:pt x="350" y="1140"/>
                  <a:pt x="344" y="1139"/>
                </a:cubicBezTo>
                <a:cubicBezTo>
                  <a:pt x="344" y="1139"/>
                  <a:pt x="344" y="1139"/>
                  <a:pt x="344" y="1139"/>
                </a:cubicBezTo>
                <a:cubicBezTo>
                  <a:pt x="350" y="1138"/>
                  <a:pt x="353" y="1136"/>
                  <a:pt x="353" y="1128"/>
                </a:cubicBezTo>
                <a:cubicBezTo>
                  <a:pt x="353" y="1126"/>
                  <a:pt x="353" y="1124"/>
                  <a:pt x="353" y="1122"/>
                </a:cubicBezTo>
                <a:cubicBezTo>
                  <a:pt x="352" y="1120"/>
                  <a:pt x="352" y="1118"/>
                  <a:pt x="352" y="1117"/>
                </a:cubicBezTo>
                <a:cubicBezTo>
                  <a:pt x="352" y="1114"/>
                  <a:pt x="353" y="1111"/>
                  <a:pt x="357" y="1111"/>
                </a:cubicBezTo>
                <a:cubicBezTo>
                  <a:pt x="357" y="1111"/>
                  <a:pt x="357" y="1111"/>
                  <a:pt x="358" y="1111"/>
                </a:cubicBezTo>
                <a:cubicBezTo>
                  <a:pt x="358" y="1111"/>
                  <a:pt x="358" y="1111"/>
                  <a:pt x="358" y="1102"/>
                </a:cubicBezTo>
                <a:cubicBezTo>
                  <a:pt x="358" y="1102"/>
                  <a:pt x="358" y="1102"/>
                  <a:pt x="355" y="1102"/>
                </a:cubicBezTo>
                <a:cubicBezTo>
                  <a:pt x="346" y="1102"/>
                  <a:pt x="340" y="1106"/>
                  <a:pt x="340" y="1115"/>
                </a:cubicBezTo>
                <a:cubicBezTo>
                  <a:pt x="340" y="1117"/>
                  <a:pt x="341" y="1120"/>
                  <a:pt x="341" y="1122"/>
                </a:cubicBezTo>
                <a:cubicBezTo>
                  <a:pt x="341" y="1124"/>
                  <a:pt x="341" y="1127"/>
                  <a:pt x="341" y="1129"/>
                </a:cubicBezTo>
                <a:cubicBezTo>
                  <a:pt x="341" y="1131"/>
                  <a:pt x="341" y="1135"/>
                  <a:pt x="335" y="1135"/>
                </a:cubicBezTo>
                <a:close/>
                <a:moveTo>
                  <a:pt x="389" y="1143"/>
                </a:moveTo>
                <a:cubicBezTo>
                  <a:pt x="389" y="1143"/>
                  <a:pt x="389" y="1143"/>
                  <a:pt x="389" y="1143"/>
                </a:cubicBezTo>
                <a:cubicBezTo>
                  <a:pt x="389" y="1135"/>
                  <a:pt x="389" y="1135"/>
                  <a:pt x="389" y="1135"/>
                </a:cubicBezTo>
                <a:cubicBezTo>
                  <a:pt x="383" y="1135"/>
                  <a:pt x="382" y="1131"/>
                  <a:pt x="382" y="1129"/>
                </a:cubicBezTo>
                <a:cubicBezTo>
                  <a:pt x="382" y="1127"/>
                  <a:pt x="382" y="1124"/>
                  <a:pt x="383" y="1122"/>
                </a:cubicBezTo>
                <a:cubicBezTo>
                  <a:pt x="383" y="1120"/>
                  <a:pt x="383" y="1117"/>
                  <a:pt x="383" y="1115"/>
                </a:cubicBezTo>
                <a:cubicBezTo>
                  <a:pt x="383" y="1106"/>
                  <a:pt x="378" y="1102"/>
                  <a:pt x="369" y="1102"/>
                </a:cubicBezTo>
                <a:cubicBezTo>
                  <a:pt x="369" y="1102"/>
                  <a:pt x="369" y="1102"/>
                  <a:pt x="365" y="1102"/>
                </a:cubicBezTo>
                <a:cubicBezTo>
                  <a:pt x="365" y="1102"/>
                  <a:pt x="365" y="1102"/>
                  <a:pt x="365" y="1111"/>
                </a:cubicBezTo>
                <a:cubicBezTo>
                  <a:pt x="365" y="1111"/>
                  <a:pt x="365" y="1111"/>
                  <a:pt x="367" y="1111"/>
                </a:cubicBezTo>
                <a:cubicBezTo>
                  <a:pt x="370" y="1111"/>
                  <a:pt x="372" y="1114"/>
                  <a:pt x="372" y="1117"/>
                </a:cubicBezTo>
                <a:cubicBezTo>
                  <a:pt x="372" y="1118"/>
                  <a:pt x="371" y="1120"/>
                  <a:pt x="371" y="1122"/>
                </a:cubicBezTo>
                <a:cubicBezTo>
                  <a:pt x="371" y="1124"/>
                  <a:pt x="371" y="1126"/>
                  <a:pt x="371" y="1128"/>
                </a:cubicBezTo>
                <a:cubicBezTo>
                  <a:pt x="371" y="1136"/>
                  <a:pt x="374" y="1138"/>
                  <a:pt x="380" y="1139"/>
                </a:cubicBezTo>
                <a:cubicBezTo>
                  <a:pt x="380" y="1139"/>
                  <a:pt x="380" y="1139"/>
                  <a:pt x="380" y="1139"/>
                </a:cubicBezTo>
                <a:cubicBezTo>
                  <a:pt x="374" y="1140"/>
                  <a:pt x="371" y="1143"/>
                  <a:pt x="371" y="1151"/>
                </a:cubicBezTo>
                <a:cubicBezTo>
                  <a:pt x="371" y="1153"/>
                  <a:pt x="371" y="1155"/>
                  <a:pt x="371" y="1157"/>
                </a:cubicBezTo>
                <a:cubicBezTo>
                  <a:pt x="371" y="1158"/>
                  <a:pt x="372" y="1160"/>
                  <a:pt x="372" y="1161"/>
                </a:cubicBezTo>
                <a:cubicBezTo>
                  <a:pt x="372" y="1165"/>
                  <a:pt x="371" y="1167"/>
                  <a:pt x="367" y="1167"/>
                </a:cubicBezTo>
                <a:cubicBezTo>
                  <a:pt x="367" y="1167"/>
                  <a:pt x="367" y="1167"/>
                  <a:pt x="365" y="1167"/>
                </a:cubicBezTo>
                <a:cubicBezTo>
                  <a:pt x="365" y="1167"/>
                  <a:pt x="365" y="1167"/>
                  <a:pt x="365" y="1176"/>
                </a:cubicBezTo>
                <a:cubicBezTo>
                  <a:pt x="365" y="1176"/>
                  <a:pt x="365" y="1176"/>
                  <a:pt x="369" y="1176"/>
                </a:cubicBezTo>
                <a:cubicBezTo>
                  <a:pt x="378" y="1176"/>
                  <a:pt x="383" y="1173"/>
                  <a:pt x="383" y="1164"/>
                </a:cubicBezTo>
                <a:cubicBezTo>
                  <a:pt x="383" y="1161"/>
                  <a:pt x="383" y="1159"/>
                  <a:pt x="383" y="1157"/>
                </a:cubicBezTo>
                <a:cubicBezTo>
                  <a:pt x="382" y="1154"/>
                  <a:pt x="382" y="1152"/>
                  <a:pt x="382" y="1149"/>
                </a:cubicBezTo>
                <a:cubicBezTo>
                  <a:pt x="382" y="1147"/>
                  <a:pt x="383" y="1144"/>
                  <a:pt x="389" y="1143"/>
                </a:cubicBezTo>
                <a:close/>
                <a:moveTo>
                  <a:pt x="716" y="1135"/>
                </a:moveTo>
                <a:cubicBezTo>
                  <a:pt x="716" y="1135"/>
                  <a:pt x="716" y="1135"/>
                  <a:pt x="716" y="1135"/>
                </a:cubicBezTo>
                <a:cubicBezTo>
                  <a:pt x="716" y="1143"/>
                  <a:pt x="716" y="1143"/>
                  <a:pt x="716" y="1143"/>
                </a:cubicBezTo>
                <a:cubicBezTo>
                  <a:pt x="722" y="1144"/>
                  <a:pt x="723" y="1147"/>
                  <a:pt x="723" y="1149"/>
                </a:cubicBezTo>
                <a:cubicBezTo>
                  <a:pt x="723" y="1152"/>
                  <a:pt x="723" y="1154"/>
                  <a:pt x="723" y="1157"/>
                </a:cubicBezTo>
                <a:cubicBezTo>
                  <a:pt x="722" y="1159"/>
                  <a:pt x="722" y="1161"/>
                  <a:pt x="722" y="1164"/>
                </a:cubicBezTo>
                <a:cubicBezTo>
                  <a:pt x="722" y="1173"/>
                  <a:pt x="728" y="1176"/>
                  <a:pt x="736" y="1176"/>
                </a:cubicBezTo>
                <a:cubicBezTo>
                  <a:pt x="736" y="1176"/>
                  <a:pt x="736" y="1176"/>
                  <a:pt x="740" y="1176"/>
                </a:cubicBezTo>
                <a:cubicBezTo>
                  <a:pt x="740" y="1176"/>
                  <a:pt x="740" y="1176"/>
                  <a:pt x="740" y="1167"/>
                </a:cubicBezTo>
                <a:cubicBezTo>
                  <a:pt x="740" y="1167"/>
                  <a:pt x="740" y="1167"/>
                  <a:pt x="739" y="1167"/>
                </a:cubicBezTo>
                <a:cubicBezTo>
                  <a:pt x="735" y="1167"/>
                  <a:pt x="734" y="1165"/>
                  <a:pt x="734" y="1161"/>
                </a:cubicBezTo>
                <a:cubicBezTo>
                  <a:pt x="734" y="1160"/>
                  <a:pt x="734" y="1158"/>
                  <a:pt x="734" y="1157"/>
                </a:cubicBezTo>
                <a:cubicBezTo>
                  <a:pt x="734" y="1155"/>
                  <a:pt x="734" y="1153"/>
                  <a:pt x="734" y="1151"/>
                </a:cubicBezTo>
                <a:cubicBezTo>
                  <a:pt x="734" y="1143"/>
                  <a:pt x="732" y="1140"/>
                  <a:pt x="726" y="1139"/>
                </a:cubicBezTo>
                <a:cubicBezTo>
                  <a:pt x="726" y="1139"/>
                  <a:pt x="726" y="1139"/>
                  <a:pt x="726" y="1139"/>
                </a:cubicBezTo>
                <a:cubicBezTo>
                  <a:pt x="732" y="1138"/>
                  <a:pt x="734" y="1136"/>
                  <a:pt x="734" y="1128"/>
                </a:cubicBezTo>
                <a:cubicBezTo>
                  <a:pt x="734" y="1126"/>
                  <a:pt x="734" y="1124"/>
                  <a:pt x="734" y="1122"/>
                </a:cubicBezTo>
                <a:cubicBezTo>
                  <a:pt x="734" y="1120"/>
                  <a:pt x="734" y="1118"/>
                  <a:pt x="734" y="1117"/>
                </a:cubicBezTo>
                <a:cubicBezTo>
                  <a:pt x="734" y="1114"/>
                  <a:pt x="735" y="1111"/>
                  <a:pt x="739" y="1111"/>
                </a:cubicBezTo>
                <a:cubicBezTo>
                  <a:pt x="739" y="1111"/>
                  <a:pt x="739" y="1111"/>
                  <a:pt x="740" y="1111"/>
                </a:cubicBezTo>
                <a:cubicBezTo>
                  <a:pt x="740" y="1111"/>
                  <a:pt x="740" y="1111"/>
                  <a:pt x="740" y="1102"/>
                </a:cubicBezTo>
                <a:cubicBezTo>
                  <a:pt x="740" y="1102"/>
                  <a:pt x="740" y="1102"/>
                  <a:pt x="736" y="1102"/>
                </a:cubicBezTo>
                <a:cubicBezTo>
                  <a:pt x="727" y="1102"/>
                  <a:pt x="722" y="1106"/>
                  <a:pt x="722" y="1115"/>
                </a:cubicBezTo>
                <a:cubicBezTo>
                  <a:pt x="722" y="1117"/>
                  <a:pt x="722" y="1120"/>
                  <a:pt x="722" y="1122"/>
                </a:cubicBezTo>
                <a:cubicBezTo>
                  <a:pt x="723" y="1124"/>
                  <a:pt x="723" y="1127"/>
                  <a:pt x="723" y="1129"/>
                </a:cubicBezTo>
                <a:cubicBezTo>
                  <a:pt x="723" y="1131"/>
                  <a:pt x="722" y="1135"/>
                  <a:pt x="716" y="1135"/>
                </a:cubicBezTo>
                <a:close/>
                <a:moveTo>
                  <a:pt x="771" y="1143"/>
                </a:moveTo>
                <a:cubicBezTo>
                  <a:pt x="771" y="1143"/>
                  <a:pt x="771" y="1143"/>
                  <a:pt x="771" y="1143"/>
                </a:cubicBezTo>
                <a:cubicBezTo>
                  <a:pt x="771" y="1135"/>
                  <a:pt x="771" y="1135"/>
                  <a:pt x="771" y="1135"/>
                </a:cubicBezTo>
                <a:cubicBezTo>
                  <a:pt x="764" y="1135"/>
                  <a:pt x="764" y="1131"/>
                  <a:pt x="764" y="1129"/>
                </a:cubicBezTo>
                <a:cubicBezTo>
                  <a:pt x="764" y="1127"/>
                  <a:pt x="764" y="1124"/>
                  <a:pt x="764" y="1122"/>
                </a:cubicBezTo>
                <a:cubicBezTo>
                  <a:pt x="765" y="1120"/>
                  <a:pt x="765" y="1117"/>
                  <a:pt x="765" y="1115"/>
                </a:cubicBezTo>
                <a:cubicBezTo>
                  <a:pt x="765" y="1106"/>
                  <a:pt x="760" y="1102"/>
                  <a:pt x="750" y="1102"/>
                </a:cubicBezTo>
                <a:cubicBezTo>
                  <a:pt x="750" y="1102"/>
                  <a:pt x="750" y="1102"/>
                  <a:pt x="747" y="1102"/>
                </a:cubicBezTo>
                <a:cubicBezTo>
                  <a:pt x="747" y="1102"/>
                  <a:pt x="747" y="1102"/>
                  <a:pt x="747" y="1111"/>
                </a:cubicBezTo>
                <a:cubicBezTo>
                  <a:pt x="747" y="1111"/>
                  <a:pt x="747" y="1111"/>
                  <a:pt x="748" y="1111"/>
                </a:cubicBezTo>
                <a:cubicBezTo>
                  <a:pt x="752" y="1111"/>
                  <a:pt x="753" y="1114"/>
                  <a:pt x="753" y="1117"/>
                </a:cubicBezTo>
                <a:cubicBezTo>
                  <a:pt x="753" y="1118"/>
                  <a:pt x="753" y="1120"/>
                  <a:pt x="753" y="1122"/>
                </a:cubicBezTo>
                <a:cubicBezTo>
                  <a:pt x="753" y="1124"/>
                  <a:pt x="753" y="1126"/>
                  <a:pt x="753" y="1128"/>
                </a:cubicBezTo>
                <a:cubicBezTo>
                  <a:pt x="753" y="1136"/>
                  <a:pt x="755" y="1138"/>
                  <a:pt x="761" y="1139"/>
                </a:cubicBezTo>
                <a:cubicBezTo>
                  <a:pt x="761" y="1139"/>
                  <a:pt x="761" y="1139"/>
                  <a:pt x="761" y="1139"/>
                </a:cubicBezTo>
                <a:cubicBezTo>
                  <a:pt x="755" y="1140"/>
                  <a:pt x="753" y="1143"/>
                  <a:pt x="753" y="1151"/>
                </a:cubicBezTo>
                <a:cubicBezTo>
                  <a:pt x="753" y="1153"/>
                  <a:pt x="753" y="1155"/>
                  <a:pt x="753" y="1157"/>
                </a:cubicBezTo>
                <a:cubicBezTo>
                  <a:pt x="753" y="1158"/>
                  <a:pt x="753" y="1160"/>
                  <a:pt x="753" y="1161"/>
                </a:cubicBezTo>
                <a:cubicBezTo>
                  <a:pt x="753" y="1165"/>
                  <a:pt x="752" y="1167"/>
                  <a:pt x="748" y="1167"/>
                </a:cubicBezTo>
                <a:cubicBezTo>
                  <a:pt x="748" y="1167"/>
                  <a:pt x="748" y="1167"/>
                  <a:pt x="747" y="1167"/>
                </a:cubicBezTo>
                <a:cubicBezTo>
                  <a:pt x="747" y="1167"/>
                  <a:pt x="747" y="1167"/>
                  <a:pt x="747" y="1176"/>
                </a:cubicBezTo>
                <a:cubicBezTo>
                  <a:pt x="747" y="1176"/>
                  <a:pt x="747" y="1176"/>
                  <a:pt x="750" y="1176"/>
                </a:cubicBezTo>
                <a:cubicBezTo>
                  <a:pt x="759" y="1176"/>
                  <a:pt x="765" y="1173"/>
                  <a:pt x="765" y="1164"/>
                </a:cubicBezTo>
                <a:cubicBezTo>
                  <a:pt x="765" y="1161"/>
                  <a:pt x="765" y="1159"/>
                  <a:pt x="764" y="1157"/>
                </a:cubicBezTo>
                <a:cubicBezTo>
                  <a:pt x="764" y="1154"/>
                  <a:pt x="764" y="1152"/>
                  <a:pt x="764" y="1149"/>
                </a:cubicBezTo>
                <a:cubicBezTo>
                  <a:pt x="764" y="1147"/>
                  <a:pt x="764" y="1144"/>
                  <a:pt x="771" y="1143"/>
                </a:cubicBezTo>
                <a:close/>
                <a:moveTo>
                  <a:pt x="818" y="1103"/>
                </a:moveTo>
                <a:cubicBezTo>
                  <a:pt x="818" y="1103"/>
                  <a:pt x="818" y="1103"/>
                  <a:pt x="818" y="1103"/>
                </a:cubicBezTo>
                <a:cubicBezTo>
                  <a:pt x="813" y="1103"/>
                  <a:pt x="813" y="1103"/>
                  <a:pt x="813" y="1103"/>
                </a:cubicBezTo>
                <a:cubicBezTo>
                  <a:pt x="811" y="1104"/>
                  <a:pt x="810" y="1106"/>
                  <a:pt x="807" y="1107"/>
                </a:cubicBezTo>
                <a:cubicBezTo>
                  <a:pt x="806" y="1108"/>
                  <a:pt x="804" y="1109"/>
                  <a:pt x="802" y="1109"/>
                </a:cubicBezTo>
                <a:cubicBezTo>
                  <a:pt x="800" y="1110"/>
                  <a:pt x="799" y="1111"/>
                  <a:pt x="797" y="1112"/>
                </a:cubicBezTo>
                <a:cubicBezTo>
                  <a:pt x="795" y="1112"/>
                  <a:pt x="794" y="1113"/>
                  <a:pt x="791" y="1114"/>
                </a:cubicBezTo>
                <a:cubicBezTo>
                  <a:pt x="791" y="1114"/>
                  <a:pt x="791" y="1114"/>
                  <a:pt x="791" y="1124"/>
                </a:cubicBezTo>
                <a:cubicBezTo>
                  <a:pt x="794" y="1123"/>
                  <a:pt x="797" y="1122"/>
                  <a:pt x="799" y="1121"/>
                </a:cubicBezTo>
                <a:cubicBezTo>
                  <a:pt x="802" y="1120"/>
                  <a:pt x="804" y="1119"/>
                  <a:pt x="807" y="1117"/>
                </a:cubicBezTo>
                <a:cubicBezTo>
                  <a:pt x="807" y="1117"/>
                  <a:pt x="807" y="1117"/>
                  <a:pt x="807" y="1176"/>
                </a:cubicBezTo>
                <a:cubicBezTo>
                  <a:pt x="807" y="1176"/>
                  <a:pt x="807" y="1176"/>
                  <a:pt x="818" y="1176"/>
                </a:cubicBezTo>
                <a:cubicBezTo>
                  <a:pt x="818" y="1176"/>
                  <a:pt x="818" y="1176"/>
                  <a:pt x="818" y="1103"/>
                </a:cubicBezTo>
                <a:close/>
                <a:moveTo>
                  <a:pt x="865" y="1103"/>
                </a:moveTo>
                <a:cubicBezTo>
                  <a:pt x="865" y="1103"/>
                  <a:pt x="865" y="1103"/>
                  <a:pt x="865" y="1103"/>
                </a:cubicBezTo>
                <a:cubicBezTo>
                  <a:pt x="860" y="1103"/>
                  <a:pt x="860" y="1103"/>
                  <a:pt x="860" y="1103"/>
                </a:cubicBezTo>
                <a:cubicBezTo>
                  <a:pt x="858" y="1104"/>
                  <a:pt x="857" y="1106"/>
                  <a:pt x="855" y="1107"/>
                </a:cubicBezTo>
                <a:cubicBezTo>
                  <a:pt x="853" y="1108"/>
                  <a:pt x="851" y="1109"/>
                  <a:pt x="850" y="1109"/>
                </a:cubicBezTo>
                <a:cubicBezTo>
                  <a:pt x="848" y="1111"/>
                  <a:pt x="846" y="1112"/>
                  <a:pt x="845" y="1112"/>
                </a:cubicBezTo>
                <a:cubicBezTo>
                  <a:pt x="842" y="1113"/>
                  <a:pt x="841" y="1114"/>
                  <a:pt x="839" y="1114"/>
                </a:cubicBezTo>
                <a:cubicBezTo>
                  <a:pt x="839" y="1114"/>
                  <a:pt x="839" y="1114"/>
                  <a:pt x="839" y="1124"/>
                </a:cubicBezTo>
                <a:cubicBezTo>
                  <a:pt x="842" y="1123"/>
                  <a:pt x="845" y="1123"/>
                  <a:pt x="847" y="1121"/>
                </a:cubicBezTo>
                <a:cubicBezTo>
                  <a:pt x="850" y="1120"/>
                  <a:pt x="852" y="1119"/>
                  <a:pt x="854" y="1117"/>
                </a:cubicBezTo>
                <a:cubicBezTo>
                  <a:pt x="854" y="1117"/>
                  <a:pt x="854" y="1117"/>
                  <a:pt x="854" y="1176"/>
                </a:cubicBezTo>
                <a:cubicBezTo>
                  <a:pt x="854" y="1176"/>
                  <a:pt x="854" y="1176"/>
                  <a:pt x="865" y="1176"/>
                </a:cubicBezTo>
                <a:cubicBezTo>
                  <a:pt x="865" y="1176"/>
                  <a:pt x="865" y="1176"/>
                  <a:pt x="865" y="1103"/>
                </a:cubicBezTo>
                <a:close/>
                <a:moveTo>
                  <a:pt x="912" y="1103"/>
                </a:moveTo>
                <a:cubicBezTo>
                  <a:pt x="912" y="1103"/>
                  <a:pt x="912" y="1103"/>
                  <a:pt x="912" y="1103"/>
                </a:cubicBezTo>
                <a:cubicBezTo>
                  <a:pt x="908" y="1103"/>
                  <a:pt x="908" y="1103"/>
                  <a:pt x="908" y="1103"/>
                </a:cubicBezTo>
                <a:cubicBezTo>
                  <a:pt x="905" y="1104"/>
                  <a:pt x="904" y="1106"/>
                  <a:pt x="902" y="1107"/>
                </a:cubicBezTo>
                <a:cubicBezTo>
                  <a:pt x="900" y="1108"/>
                  <a:pt x="898" y="1109"/>
                  <a:pt x="897" y="1109"/>
                </a:cubicBezTo>
                <a:cubicBezTo>
                  <a:pt x="895" y="1111"/>
                  <a:pt x="893" y="1112"/>
                  <a:pt x="891" y="1112"/>
                </a:cubicBezTo>
                <a:cubicBezTo>
                  <a:pt x="890" y="1113"/>
                  <a:pt x="887" y="1114"/>
                  <a:pt x="886" y="1114"/>
                </a:cubicBezTo>
                <a:cubicBezTo>
                  <a:pt x="886" y="1114"/>
                  <a:pt x="886" y="1114"/>
                  <a:pt x="886" y="1124"/>
                </a:cubicBezTo>
                <a:cubicBezTo>
                  <a:pt x="889" y="1123"/>
                  <a:pt x="892" y="1123"/>
                  <a:pt x="894" y="1121"/>
                </a:cubicBezTo>
                <a:cubicBezTo>
                  <a:pt x="896" y="1120"/>
                  <a:pt x="899" y="1119"/>
                  <a:pt x="900" y="1117"/>
                </a:cubicBezTo>
                <a:cubicBezTo>
                  <a:pt x="900" y="1117"/>
                  <a:pt x="900" y="1117"/>
                  <a:pt x="900" y="1176"/>
                </a:cubicBezTo>
                <a:cubicBezTo>
                  <a:pt x="900" y="1176"/>
                  <a:pt x="900" y="1176"/>
                  <a:pt x="912" y="1176"/>
                </a:cubicBezTo>
                <a:cubicBezTo>
                  <a:pt x="912" y="1176"/>
                  <a:pt x="912" y="1176"/>
                  <a:pt x="912" y="1103"/>
                </a:cubicBezTo>
                <a:close/>
                <a:moveTo>
                  <a:pt x="1035" y="1103"/>
                </a:moveTo>
                <a:cubicBezTo>
                  <a:pt x="1035" y="1103"/>
                  <a:pt x="1035" y="1103"/>
                  <a:pt x="1035" y="1103"/>
                </a:cubicBezTo>
                <a:cubicBezTo>
                  <a:pt x="1030" y="1103"/>
                  <a:pt x="1030" y="1103"/>
                  <a:pt x="1030" y="1103"/>
                </a:cubicBezTo>
                <a:cubicBezTo>
                  <a:pt x="1027" y="1104"/>
                  <a:pt x="1026" y="1106"/>
                  <a:pt x="1024" y="1107"/>
                </a:cubicBezTo>
                <a:cubicBezTo>
                  <a:pt x="1022" y="1108"/>
                  <a:pt x="1021" y="1109"/>
                  <a:pt x="1019" y="1109"/>
                </a:cubicBezTo>
                <a:cubicBezTo>
                  <a:pt x="1017" y="1111"/>
                  <a:pt x="1015" y="1112"/>
                  <a:pt x="1014" y="1112"/>
                </a:cubicBezTo>
                <a:cubicBezTo>
                  <a:pt x="1011" y="1113"/>
                  <a:pt x="1010" y="1114"/>
                  <a:pt x="1008" y="1114"/>
                </a:cubicBezTo>
                <a:cubicBezTo>
                  <a:pt x="1008" y="1114"/>
                  <a:pt x="1008" y="1114"/>
                  <a:pt x="1008" y="1124"/>
                </a:cubicBezTo>
                <a:cubicBezTo>
                  <a:pt x="1011" y="1123"/>
                  <a:pt x="1014" y="1123"/>
                  <a:pt x="1017" y="1121"/>
                </a:cubicBezTo>
                <a:cubicBezTo>
                  <a:pt x="1019" y="1120"/>
                  <a:pt x="1021" y="1119"/>
                  <a:pt x="1023" y="1117"/>
                </a:cubicBezTo>
                <a:cubicBezTo>
                  <a:pt x="1023" y="1117"/>
                  <a:pt x="1023" y="1117"/>
                  <a:pt x="1023" y="1176"/>
                </a:cubicBezTo>
                <a:cubicBezTo>
                  <a:pt x="1023" y="1176"/>
                  <a:pt x="1023" y="1176"/>
                  <a:pt x="1035" y="1176"/>
                </a:cubicBezTo>
                <a:cubicBezTo>
                  <a:pt x="1035" y="1176"/>
                  <a:pt x="1035" y="1176"/>
                  <a:pt x="1035" y="1103"/>
                </a:cubicBezTo>
                <a:close/>
                <a:moveTo>
                  <a:pt x="1082" y="1103"/>
                </a:moveTo>
                <a:cubicBezTo>
                  <a:pt x="1082" y="1103"/>
                  <a:pt x="1082" y="1103"/>
                  <a:pt x="1082" y="1103"/>
                </a:cubicBezTo>
                <a:cubicBezTo>
                  <a:pt x="1077" y="1103"/>
                  <a:pt x="1077" y="1103"/>
                  <a:pt x="1077" y="1103"/>
                </a:cubicBezTo>
                <a:cubicBezTo>
                  <a:pt x="1075" y="1104"/>
                  <a:pt x="1074" y="1106"/>
                  <a:pt x="1071" y="1107"/>
                </a:cubicBezTo>
                <a:cubicBezTo>
                  <a:pt x="1070" y="1108"/>
                  <a:pt x="1068" y="1109"/>
                  <a:pt x="1066" y="1109"/>
                </a:cubicBezTo>
                <a:cubicBezTo>
                  <a:pt x="1065" y="1111"/>
                  <a:pt x="1063" y="1112"/>
                  <a:pt x="1061" y="1112"/>
                </a:cubicBezTo>
                <a:cubicBezTo>
                  <a:pt x="1059" y="1113"/>
                  <a:pt x="1058" y="1114"/>
                  <a:pt x="1055" y="1114"/>
                </a:cubicBezTo>
                <a:cubicBezTo>
                  <a:pt x="1055" y="1114"/>
                  <a:pt x="1055" y="1114"/>
                  <a:pt x="1055" y="1124"/>
                </a:cubicBezTo>
                <a:cubicBezTo>
                  <a:pt x="1058" y="1123"/>
                  <a:pt x="1061" y="1123"/>
                  <a:pt x="1063" y="1121"/>
                </a:cubicBezTo>
                <a:cubicBezTo>
                  <a:pt x="1066" y="1120"/>
                  <a:pt x="1068" y="1119"/>
                  <a:pt x="1071" y="1117"/>
                </a:cubicBezTo>
                <a:cubicBezTo>
                  <a:pt x="1071" y="1117"/>
                  <a:pt x="1071" y="1117"/>
                  <a:pt x="1071" y="1176"/>
                </a:cubicBezTo>
                <a:cubicBezTo>
                  <a:pt x="1071" y="1176"/>
                  <a:pt x="1071" y="1176"/>
                  <a:pt x="1082" y="1176"/>
                </a:cubicBezTo>
                <a:cubicBezTo>
                  <a:pt x="1082" y="1176"/>
                  <a:pt x="1082" y="1176"/>
                  <a:pt x="1082" y="1103"/>
                </a:cubicBezTo>
                <a:close/>
                <a:moveTo>
                  <a:pt x="1129" y="1103"/>
                </a:moveTo>
                <a:cubicBezTo>
                  <a:pt x="1129" y="1103"/>
                  <a:pt x="1129" y="1103"/>
                  <a:pt x="1129" y="1103"/>
                </a:cubicBezTo>
                <a:cubicBezTo>
                  <a:pt x="1124" y="1103"/>
                  <a:pt x="1124" y="1103"/>
                  <a:pt x="1124" y="1103"/>
                </a:cubicBezTo>
                <a:cubicBezTo>
                  <a:pt x="1122" y="1104"/>
                  <a:pt x="1121" y="1106"/>
                  <a:pt x="1119" y="1107"/>
                </a:cubicBezTo>
                <a:cubicBezTo>
                  <a:pt x="1117" y="1108"/>
                  <a:pt x="1115" y="1109"/>
                  <a:pt x="1114" y="1109"/>
                </a:cubicBezTo>
                <a:cubicBezTo>
                  <a:pt x="1112" y="1110"/>
                  <a:pt x="1110" y="1111"/>
                  <a:pt x="1108" y="1112"/>
                </a:cubicBezTo>
                <a:cubicBezTo>
                  <a:pt x="1106" y="1112"/>
                  <a:pt x="1104" y="1113"/>
                  <a:pt x="1103" y="1114"/>
                </a:cubicBezTo>
                <a:cubicBezTo>
                  <a:pt x="1103" y="1114"/>
                  <a:pt x="1103" y="1114"/>
                  <a:pt x="1103" y="1124"/>
                </a:cubicBezTo>
                <a:cubicBezTo>
                  <a:pt x="1106" y="1123"/>
                  <a:pt x="1109" y="1122"/>
                  <a:pt x="1111" y="1121"/>
                </a:cubicBezTo>
                <a:cubicBezTo>
                  <a:pt x="1113" y="1120"/>
                  <a:pt x="1116" y="1119"/>
                  <a:pt x="1117" y="1117"/>
                </a:cubicBezTo>
                <a:cubicBezTo>
                  <a:pt x="1117" y="1117"/>
                  <a:pt x="1117" y="1117"/>
                  <a:pt x="1117" y="1176"/>
                </a:cubicBezTo>
                <a:cubicBezTo>
                  <a:pt x="1117" y="1176"/>
                  <a:pt x="1117" y="1176"/>
                  <a:pt x="1129" y="1176"/>
                </a:cubicBezTo>
                <a:cubicBezTo>
                  <a:pt x="1129" y="1176"/>
                  <a:pt x="1129" y="1176"/>
                  <a:pt x="1129" y="1103"/>
                </a:cubicBezTo>
                <a:close/>
                <a:moveTo>
                  <a:pt x="1174" y="1176"/>
                </a:moveTo>
                <a:cubicBezTo>
                  <a:pt x="1166" y="1176"/>
                  <a:pt x="1160" y="1173"/>
                  <a:pt x="1155" y="1168"/>
                </a:cubicBezTo>
                <a:cubicBezTo>
                  <a:pt x="1152" y="1161"/>
                  <a:pt x="1149" y="1152"/>
                  <a:pt x="1149" y="1140"/>
                </a:cubicBezTo>
                <a:cubicBezTo>
                  <a:pt x="1149" y="1127"/>
                  <a:pt x="1152" y="1117"/>
                  <a:pt x="1156" y="1111"/>
                </a:cubicBezTo>
                <a:cubicBezTo>
                  <a:pt x="1160" y="1104"/>
                  <a:pt x="1167" y="1101"/>
                  <a:pt x="1176" y="1101"/>
                </a:cubicBezTo>
                <a:cubicBezTo>
                  <a:pt x="1192" y="1101"/>
                  <a:pt x="1200" y="1113"/>
                  <a:pt x="1200" y="1138"/>
                </a:cubicBezTo>
                <a:cubicBezTo>
                  <a:pt x="1200" y="1151"/>
                  <a:pt x="1198" y="1160"/>
                  <a:pt x="1193" y="1167"/>
                </a:cubicBezTo>
                <a:cubicBezTo>
                  <a:pt x="1188" y="1173"/>
                  <a:pt x="1182" y="1176"/>
                  <a:pt x="1174" y="1176"/>
                </a:cubicBezTo>
                <a:close/>
                <a:moveTo>
                  <a:pt x="1175" y="1110"/>
                </a:moveTo>
                <a:cubicBezTo>
                  <a:pt x="1166" y="1110"/>
                  <a:pt x="1161" y="1120"/>
                  <a:pt x="1161" y="1140"/>
                </a:cubicBezTo>
                <a:cubicBezTo>
                  <a:pt x="1161" y="1158"/>
                  <a:pt x="1166" y="1167"/>
                  <a:pt x="1174" y="1167"/>
                </a:cubicBezTo>
                <a:cubicBezTo>
                  <a:pt x="1183" y="1167"/>
                  <a:pt x="1187" y="1158"/>
                  <a:pt x="1187" y="1139"/>
                </a:cubicBezTo>
                <a:cubicBezTo>
                  <a:pt x="1187" y="1119"/>
                  <a:pt x="1183" y="1110"/>
                  <a:pt x="1175" y="1110"/>
                </a:cubicBezTo>
                <a:close/>
                <a:moveTo>
                  <a:pt x="1245" y="1176"/>
                </a:moveTo>
                <a:cubicBezTo>
                  <a:pt x="1237" y="1176"/>
                  <a:pt x="1231" y="1173"/>
                  <a:pt x="1227" y="1168"/>
                </a:cubicBezTo>
                <a:cubicBezTo>
                  <a:pt x="1223" y="1161"/>
                  <a:pt x="1220" y="1152"/>
                  <a:pt x="1220" y="1140"/>
                </a:cubicBezTo>
                <a:cubicBezTo>
                  <a:pt x="1220" y="1127"/>
                  <a:pt x="1223" y="1117"/>
                  <a:pt x="1227" y="1111"/>
                </a:cubicBezTo>
                <a:cubicBezTo>
                  <a:pt x="1231" y="1104"/>
                  <a:pt x="1238" y="1101"/>
                  <a:pt x="1247" y="1101"/>
                </a:cubicBezTo>
                <a:cubicBezTo>
                  <a:pt x="1263" y="1101"/>
                  <a:pt x="1271" y="1113"/>
                  <a:pt x="1271" y="1138"/>
                </a:cubicBezTo>
                <a:cubicBezTo>
                  <a:pt x="1271" y="1151"/>
                  <a:pt x="1269" y="1160"/>
                  <a:pt x="1264" y="1167"/>
                </a:cubicBezTo>
                <a:cubicBezTo>
                  <a:pt x="1259" y="1173"/>
                  <a:pt x="1253" y="1176"/>
                  <a:pt x="1245" y="1176"/>
                </a:cubicBezTo>
                <a:close/>
                <a:moveTo>
                  <a:pt x="1246" y="1110"/>
                </a:moveTo>
                <a:cubicBezTo>
                  <a:pt x="1237" y="1110"/>
                  <a:pt x="1232" y="1120"/>
                  <a:pt x="1232" y="1140"/>
                </a:cubicBezTo>
                <a:cubicBezTo>
                  <a:pt x="1232" y="1158"/>
                  <a:pt x="1237" y="1167"/>
                  <a:pt x="1245" y="1167"/>
                </a:cubicBezTo>
                <a:cubicBezTo>
                  <a:pt x="1254" y="1167"/>
                  <a:pt x="1258" y="1158"/>
                  <a:pt x="1258" y="1139"/>
                </a:cubicBezTo>
                <a:cubicBezTo>
                  <a:pt x="1258" y="1119"/>
                  <a:pt x="1254" y="1110"/>
                  <a:pt x="1246" y="1110"/>
                </a:cubicBezTo>
                <a:close/>
                <a:moveTo>
                  <a:pt x="933" y="1135"/>
                </a:moveTo>
                <a:cubicBezTo>
                  <a:pt x="933" y="1135"/>
                  <a:pt x="933" y="1135"/>
                  <a:pt x="933" y="1135"/>
                </a:cubicBezTo>
                <a:cubicBezTo>
                  <a:pt x="932" y="1143"/>
                  <a:pt x="932" y="1143"/>
                  <a:pt x="932" y="1143"/>
                </a:cubicBezTo>
                <a:cubicBezTo>
                  <a:pt x="939" y="1144"/>
                  <a:pt x="940" y="1147"/>
                  <a:pt x="940" y="1149"/>
                </a:cubicBezTo>
                <a:cubicBezTo>
                  <a:pt x="940" y="1152"/>
                  <a:pt x="939" y="1154"/>
                  <a:pt x="939" y="1157"/>
                </a:cubicBezTo>
                <a:cubicBezTo>
                  <a:pt x="939" y="1159"/>
                  <a:pt x="938" y="1161"/>
                  <a:pt x="938" y="1164"/>
                </a:cubicBezTo>
                <a:cubicBezTo>
                  <a:pt x="938" y="1173"/>
                  <a:pt x="944" y="1176"/>
                  <a:pt x="953" y="1176"/>
                </a:cubicBezTo>
                <a:cubicBezTo>
                  <a:pt x="953" y="1176"/>
                  <a:pt x="953" y="1176"/>
                  <a:pt x="956" y="1176"/>
                </a:cubicBezTo>
                <a:cubicBezTo>
                  <a:pt x="956" y="1176"/>
                  <a:pt x="956" y="1176"/>
                  <a:pt x="956" y="1167"/>
                </a:cubicBezTo>
                <a:cubicBezTo>
                  <a:pt x="956" y="1167"/>
                  <a:pt x="956" y="1167"/>
                  <a:pt x="955" y="1167"/>
                </a:cubicBezTo>
                <a:cubicBezTo>
                  <a:pt x="951" y="1167"/>
                  <a:pt x="950" y="1165"/>
                  <a:pt x="950" y="1161"/>
                </a:cubicBezTo>
                <a:cubicBezTo>
                  <a:pt x="950" y="1160"/>
                  <a:pt x="950" y="1158"/>
                  <a:pt x="951" y="1157"/>
                </a:cubicBezTo>
                <a:cubicBezTo>
                  <a:pt x="951" y="1155"/>
                  <a:pt x="951" y="1153"/>
                  <a:pt x="951" y="1151"/>
                </a:cubicBezTo>
                <a:cubicBezTo>
                  <a:pt x="951" y="1143"/>
                  <a:pt x="948" y="1140"/>
                  <a:pt x="942" y="1139"/>
                </a:cubicBezTo>
                <a:cubicBezTo>
                  <a:pt x="942" y="1139"/>
                  <a:pt x="942" y="1139"/>
                  <a:pt x="942" y="1139"/>
                </a:cubicBezTo>
                <a:cubicBezTo>
                  <a:pt x="948" y="1138"/>
                  <a:pt x="951" y="1136"/>
                  <a:pt x="951" y="1128"/>
                </a:cubicBezTo>
                <a:cubicBezTo>
                  <a:pt x="951" y="1126"/>
                  <a:pt x="951" y="1124"/>
                  <a:pt x="951" y="1122"/>
                </a:cubicBezTo>
                <a:cubicBezTo>
                  <a:pt x="950" y="1120"/>
                  <a:pt x="950" y="1118"/>
                  <a:pt x="950" y="1117"/>
                </a:cubicBezTo>
                <a:cubicBezTo>
                  <a:pt x="950" y="1114"/>
                  <a:pt x="951" y="1111"/>
                  <a:pt x="955" y="1111"/>
                </a:cubicBezTo>
                <a:cubicBezTo>
                  <a:pt x="955" y="1111"/>
                  <a:pt x="955" y="1111"/>
                  <a:pt x="956" y="1111"/>
                </a:cubicBezTo>
                <a:cubicBezTo>
                  <a:pt x="956" y="1111"/>
                  <a:pt x="956" y="1111"/>
                  <a:pt x="956" y="1102"/>
                </a:cubicBezTo>
                <a:cubicBezTo>
                  <a:pt x="956" y="1102"/>
                  <a:pt x="956" y="1102"/>
                  <a:pt x="953" y="1102"/>
                </a:cubicBezTo>
                <a:cubicBezTo>
                  <a:pt x="944" y="1102"/>
                  <a:pt x="938" y="1106"/>
                  <a:pt x="938" y="1115"/>
                </a:cubicBezTo>
                <a:cubicBezTo>
                  <a:pt x="938" y="1117"/>
                  <a:pt x="939" y="1120"/>
                  <a:pt x="939" y="1122"/>
                </a:cubicBezTo>
                <a:cubicBezTo>
                  <a:pt x="939" y="1124"/>
                  <a:pt x="940" y="1127"/>
                  <a:pt x="940" y="1129"/>
                </a:cubicBezTo>
                <a:cubicBezTo>
                  <a:pt x="940" y="1131"/>
                  <a:pt x="939" y="1135"/>
                  <a:pt x="933" y="1135"/>
                </a:cubicBezTo>
                <a:close/>
                <a:moveTo>
                  <a:pt x="987" y="1143"/>
                </a:moveTo>
                <a:cubicBezTo>
                  <a:pt x="987" y="1143"/>
                  <a:pt x="987" y="1143"/>
                  <a:pt x="987" y="1143"/>
                </a:cubicBezTo>
                <a:cubicBezTo>
                  <a:pt x="987" y="1135"/>
                  <a:pt x="987" y="1135"/>
                  <a:pt x="987" y="1135"/>
                </a:cubicBezTo>
                <a:cubicBezTo>
                  <a:pt x="981" y="1135"/>
                  <a:pt x="981" y="1131"/>
                  <a:pt x="981" y="1129"/>
                </a:cubicBezTo>
                <a:cubicBezTo>
                  <a:pt x="981" y="1127"/>
                  <a:pt x="981" y="1124"/>
                  <a:pt x="981" y="1122"/>
                </a:cubicBezTo>
                <a:cubicBezTo>
                  <a:pt x="981" y="1120"/>
                  <a:pt x="981" y="1117"/>
                  <a:pt x="981" y="1115"/>
                </a:cubicBezTo>
                <a:cubicBezTo>
                  <a:pt x="981" y="1106"/>
                  <a:pt x="976" y="1102"/>
                  <a:pt x="967" y="1102"/>
                </a:cubicBezTo>
                <a:cubicBezTo>
                  <a:pt x="967" y="1102"/>
                  <a:pt x="967" y="1102"/>
                  <a:pt x="963" y="1102"/>
                </a:cubicBezTo>
                <a:cubicBezTo>
                  <a:pt x="963" y="1102"/>
                  <a:pt x="963" y="1102"/>
                  <a:pt x="963" y="1111"/>
                </a:cubicBezTo>
                <a:cubicBezTo>
                  <a:pt x="963" y="1111"/>
                  <a:pt x="963" y="1111"/>
                  <a:pt x="965" y="1111"/>
                </a:cubicBezTo>
                <a:cubicBezTo>
                  <a:pt x="968" y="1111"/>
                  <a:pt x="970" y="1114"/>
                  <a:pt x="970" y="1117"/>
                </a:cubicBezTo>
                <a:cubicBezTo>
                  <a:pt x="970" y="1118"/>
                  <a:pt x="969" y="1120"/>
                  <a:pt x="969" y="1122"/>
                </a:cubicBezTo>
                <a:cubicBezTo>
                  <a:pt x="969" y="1124"/>
                  <a:pt x="969" y="1126"/>
                  <a:pt x="969" y="1128"/>
                </a:cubicBezTo>
                <a:cubicBezTo>
                  <a:pt x="969" y="1136"/>
                  <a:pt x="972" y="1138"/>
                  <a:pt x="978" y="1139"/>
                </a:cubicBezTo>
                <a:cubicBezTo>
                  <a:pt x="978" y="1139"/>
                  <a:pt x="978" y="1139"/>
                  <a:pt x="978" y="1139"/>
                </a:cubicBezTo>
                <a:cubicBezTo>
                  <a:pt x="972" y="1140"/>
                  <a:pt x="969" y="1143"/>
                  <a:pt x="969" y="1151"/>
                </a:cubicBezTo>
                <a:cubicBezTo>
                  <a:pt x="969" y="1153"/>
                  <a:pt x="969" y="1155"/>
                  <a:pt x="969" y="1157"/>
                </a:cubicBezTo>
                <a:cubicBezTo>
                  <a:pt x="969" y="1158"/>
                  <a:pt x="970" y="1160"/>
                  <a:pt x="970" y="1161"/>
                </a:cubicBezTo>
                <a:cubicBezTo>
                  <a:pt x="970" y="1165"/>
                  <a:pt x="969" y="1167"/>
                  <a:pt x="965" y="1167"/>
                </a:cubicBezTo>
                <a:cubicBezTo>
                  <a:pt x="965" y="1167"/>
                  <a:pt x="965" y="1167"/>
                  <a:pt x="963" y="1167"/>
                </a:cubicBezTo>
                <a:cubicBezTo>
                  <a:pt x="963" y="1167"/>
                  <a:pt x="963" y="1167"/>
                  <a:pt x="963" y="1176"/>
                </a:cubicBezTo>
                <a:cubicBezTo>
                  <a:pt x="963" y="1176"/>
                  <a:pt x="963" y="1176"/>
                  <a:pt x="967" y="1176"/>
                </a:cubicBezTo>
                <a:cubicBezTo>
                  <a:pt x="976" y="1176"/>
                  <a:pt x="981" y="1173"/>
                  <a:pt x="981" y="1164"/>
                </a:cubicBezTo>
                <a:cubicBezTo>
                  <a:pt x="981" y="1161"/>
                  <a:pt x="981" y="1159"/>
                  <a:pt x="981" y="1157"/>
                </a:cubicBezTo>
                <a:cubicBezTo>
                  <a:pt x="981" y="1154"/>
                  <a:pt x="981" y="1152"/>
                  <a:pt x="981" y="1149"/>
                </a:cubicBezTo>
                <a:cubicBezTo>
                  <a:pt x="981" y="1147"/>
                  <a:pt x="981" y="1144"/>
                  <a:pt x="987" y="1143"/>
                </a:cubicBezTo>
                <a:close/>
                <a:moveTo>
                  <a:pt x="1457" y="1176"/>
                </a:moveTo>
                <a:cubicBezTo>
                  <a:pt x="1450" y="1176"/>
                  <a:pt x="1444" y="1173"/>
                  <a:pt x="1439" y="1167"/>
                </a:cubicBezTo>
                <a:cubicBezTo>
                  <a:pt x="1435" y="1161"/>
                  <a:pt x="1433" y="1152"/>
                  <a:pt x="1433" y="1140"/>
                </a:cubicBezTo>
                <a:cubicBezTo>
                  <a:pt x="1433" y="1127"/>
                  <a:pt x="1435" y="1117"/>
                  <a:pt x="1439" y="1110"/>
                </a:cubicBezTo>
                <a:cubicBezTo>
                  <a:pt x="1444" y="1103"/>
                  <a:pt x="1450" y="1101"/>
                  <a:pt x="1459" y="1101"/>
                </a:cubicBezTo>
                <a:cubicBezTo>
                  <a:pt x="1475" y="1101"/>
                  <a:pt x="1484" y="1113"/>
                  <a:pt x="1484" y="1138"/>
                </a:cubicBezTo>
                <a:cubicBezTo>
                  <a:pt x="1484" y="1151"/>
                  <a:pt x="1481" y="1160"/>
                  <a:pt x="1477" y="1167"/>
                </a:cubicBezTo>
                <a:cubicBezTo>
                  <a:pt x="1472" y="1173"/>
                  <a:pt x="1466" y="1176"/>
                  <a:pt x="1457" y="1176"/>
                </a:cubicBezTo>
                <a:close/>
                <a:moveTo>
                  <a:pt x="1458" y="1110"/>
                </a:moveTo>
                <a:cubicBezTo>
                  <a:pt x="1450" y="1110"/>
                  <a:pt x="1445" y="1119"/>
                  <a:pt x="1445" y="1139"/>
                </a:cubicBezTo>
                <a:cubicBezTo>
                  <a:pt x="1445" y="1157"/>
                  <a:pt x="1450" y="1167"/>
                  <a:pt x="1458" y="1167"/>
                </a:cubicBezTo>
                <a:cubicBezTo>
                  <a:pt x="1467" y="1167"/>
                  <a:pt x="1471" y="1157"/>
                  <a:pt x="1471" y="1139"/>
                </a:cubicBezTo>
                <a:cubicBezTo>
                  <a:pt x="1471" y="1119"/>
                  <a:pt x="1467" y="1110"/>
                  <a:pt x="1458" y="1110"/>
                </a:cubicBezTo>
                <a:close/>
                <a:moveTo>
                  <a:pt x="1530" y="1103"/>
                </a:moveTo>
                <a:cubicBezTo>
                  <a:pt x="1530" y="1103"/>
                  <a:pt x="1530" y="1103"/>
                  <a:pt x="1530" y="1103"/>
                </a:cubicBezTo>
                <a:cubicBezTo>
                  <a:pt x="1525" y="1103"/>
                  <a:pt x="1525" y="1103"/>
                  <a:pt x="1525" y="1103"/>
                </a:cubicBezTo>
                <a:cubicBezTo>
                  <a:pt x="1523" y="1104"/>
                  <a:pt x="1522" y="1106"/>
                  <a:pt x="1519" y="1107"/>
                </a:cubicBezTo>
                <a:cubicBezTo>
                  <a:pt x="1518" y="1108"/>
                  <a:pt x="1516" y="1109"/>
                  <a:pt x="1514" y="1109"/>
                </a:cubicBezTo>
                <a:cubicBezTo>
                  <a:pt x="1513" y="1110"/>
                  <a:pt x="1511" y="1111"/>
                  <a:pt x="1509" y="1112"/>
                </a:cubicBezTo>
                <a:cubicBezTo>
                  <a:pt x="1507" y="1112"/>
                  <a:pt x="1506" y="1113"/>
                  <a:pt x="1504" y="1114"/>
                </a:cubicBezTo>
                <a:cubicBezTo>
                  <a:pt x="1504" y="1114"/>
                  <a:pt x="1504" y="1114"/>
                  <a:pt x="1504" y="1124"/>
                </a:cubicBezTo>
                <a:cubicBezTo>
                  <a:pt x="1507" y="1123"/>
                  <a:pt x="1509" y="1122"/>
                  <a:pt x="1512" y="1121"/>
                </a:cubicBezTo>
                <a:cubicBezTo>
                  <a:pt x="1514" y="1120"/>
                  <a:pt x="1517" y="1119"/>
                  <a:pt x="1519" y="1117"/>
                </a:cubicBezTo>
                <a:cubicBezTo>
                  <a:pt x="1519" y="1117"/>
                  <a:pt x="1519" y="1117"/>
                  <a:pt x="1519" y="1176"/>
                </a:cubicBezTo>
                <a:cubicBezTo>
                  <a:pt x="1519" y="1176"/>
                  <a:pt x="1519" y="1176"/>
                  <a:pt x="1530" y="1176"/>
                </a:cubicBezTo>
                <a:cubicBezTo>
                  <a:pt x="1530" y="1176"/>
                  <a:pt x="1530" y="1176"/>
                  <a:pt x="1530" y="1103"/>
                </a:cubicBezTo>
                <a:close/>
                <a:moveTo>
                  <a:pt x="1868" y="1176"/>
                </a:moveTo>
                <a:cubicBezTo>
                  <a:pt x="1860" y="1176"/>
                  <a:pt x="1854" y="1173"/>
                  <a:pt x="1849" y="1168"/>
                </a:cubicBezTo>
                <a:cubicBezTo>
                  <a:pt x="1846" y="1161"/>
                  <a:pt x="1844" y="1152"/>
                  <a:pt x="1844" y="1140"/>
                </a:cubicBezTo>
                <a:cubicBezTo>
                  <a:pt x="1844" y="1127"/>
                  <a:pt x="1846" y="1117"/>
                  <a:pt x="1850" y="1111"/>
                </a:cubicBezTo>
                <a:cubicBezTo>
                  <a:pt x="1855" y="1104"/>
                  <a:pt x="1861" y="1101"/>
                  <a:pt x="1870" y="1101"/>
                </a:cubicBezTo>
                <a:cubicBezTo>
                  <a:pt x="1886" y="1101"/>
                  <a:pt x="1894" y="1113"/>
                  <a:pt x="1894" y="1138"/>
                </a:cubicBezTo>
                <a:cubicBezTo>
                  <a:pt x="1894" y="1151"/>
                  <a:pt x="1892" y="1160"/>
                  <a:pt x="1887" y="1167"/>
                </a:cubicBezTo>
                <a:cubicBezTo>
                  <a:pt x="1883" y="1173"/>
                  <a:pt x="1876" y="1176"/>
                  <a:pt x="1868" y="1176"/>
                </a:cubicBezTo>
                <a:close/>
                <a:moveTo>
                  <a:pt x="1869" y="1110"/>
                </a:moveTo>
                <a:cubicBezTo>
                  <a:pt x="1860" y="1110"/>
                  <a:pt x="1855" y="1120"/>
                  <a:pt x="1855" y="1140"/>
                </a:cubicBezTo>
                <a:cubicBezTo>
                  <a:pt x="1855" y="1158"/>
                  <a:pt x="1860" y="1167"/>
                  <a:pt x="1869" y="1167"/>
                </a:cubicBezTo>
                <a:cubicBezTo>
                  <a:pt x="1877" y="1167"/>
                  <a:pt x="1882" y="1158"/>
                  <a:pt x="1882" y="1139"/>
                </a:cubicBezTo>
                <a:cubicBezTo>
                  <a:pt x="1882" y="1119"/>
                  <a:pt x="1877" y="1110"/>
                  <a:pt x="1869" y="1110"/>
                </a:cubicBezTo>
                <a:close/>
                <a:moveTo>
                  <a:pt x="1938" y="1103"/>
                </a:moveTo>
                <a:cubicBezTo>
                  <a:pt x="1938" y="1103"/>
                  <a:pt x="1938" y="1103"/>
                  <a:pt x="1938" y="1103"/>
                </a:cubicBezTo>
                <a:cubicBezTo>
                  <a:pt x="1933" y="1103"/>
                  <a:pt x="1933" y="1103"/>
                  <a:pt x="1933" y="1103"/>
                </a:cubicBezTo>
                <a:cubicBezTo>
                  <a:pt x="1930" y="1104"/>
                  <a:pt x="1929" y="1106"/>
                  <a:pt x="1927" y="1107"/>
                </a:cubicBezTo>
                <a:cubicBezTo>
                  <a:pt x="1925" y="1108"/>
                  <a:pt x="1923" y="1109"/>
                  <a:pt x="1922" y="1109"/>
                </a:cubicBezTo>
                <a:cubicBezTo>
                  <a:pt x="1919" y="1110"/>
                  <a:pt x="1918" y="1111"/>
                  <a:pt x="1917" y="1112"/>
                </a:cubicBezTo>
                <a:cubicBezTo>
                  <a:pt x="1914" y="1112"/>
                  <a:pt x="1913" y="1113"/>
                  <a:pt x="1911" y="1114"/>
                </a:cubicBezTo>
                <a:cubicBezTo>
                  <a:pt x="1911" y="1114"/>
                  <a:pt x="1911" y="1114"/>
                  <a:pt x="1911" y="1124"/>
                </a:cubicBezTo>
                <a:cubicBezTo>
                  <a:pt x="1914" y="1123"/>
                  <a:pt x="1917" y="1122"/>
                  <a:pt x="1919" y="1121"/>
                </a:cubicBezTo>
                <a:cubicBezTo>
                  <a:pt x="1922" y="1120"/>
                  <a:pt x="1924" y="1119"/>
                  <a:pt x="1926" y="1117"/>
                </a:cubicBezTo>
                <a:cubicBezTo>
                  <a:pt x="1926" y="1117"/>
                  <a:pt x="1926" y="1117"/>
                  <a:pt x="1926" y="1176"/>
                </a:cubicBezTo>
                <a:cubicBezTo>
                  <a:pt x="1926" y="1176"/>
                  <a:pt x="1926" y="1176"/>
                  <a:pt x="1938" y="1176"/>
                </a:cubicBezTo>
                <a:cubicBezTo>
                  <a:pt x="1938" y="1176"/>
                  <a:pt x="1938" y="1176"/>
                  <a:pt x="1938" y="1103"/>
                </a:cubicBezTo>
                <a:close/>
                <a:moveTo>
                  <a:pt x="1774" y="1176"/>
                </a:moveTo>
                <a:cubicBezTo>
                  <a:pt x="1777" y="1157"/>
                  <a:pt x="1777" y="1157"/>
                  <a:pt x="1777" y="1157"/>
                </a:cubicBezTo>
                <a:cubicBezTo>
                  <a:pt x="1768" y="1157"/>
                  <a:pt x="1768" y="1157"/>
                  <a:pt x="1768" y="1157"/>
                </a:cubicBezTo>
                <a:cubicBezTo>
                  <a:pt x="1768" y="1145"/>
                  <a:pt x="1768" y="1145"/>
                  <a:pt x="1768" y="1145"/>
                </a:cubicBezTo>
                <a:cubicBezTo>
                  <a:pt x="1779" y="1145"/>
                  <a:pt x="1779" y="1145"/>
                  <a:pt x="1779" y="1145"/>
                </a:cubicBezTo>
                <a:cubicBezTo>
                  <a:pt x="1781" y="1134"/>
                  <a:pt x="1781" y="1134"/>
                  <a:pt x="1781" y="1134"/>
                </a:cubicBezTo>
                <a:cubicBezTo>
                  <a:pt x="1771" y="1134"/>
                  <a:pt x="1771" y="1134"/>
                  <a:pt x="1771" y="1134"/>
                </a:cubicBezTo>
                <a:cubicBezTo>
                  <a:pt x="1771" y="1122"/>
                  <a:pt x="1771" y="1122"/>
                  <a:pt x="1771" y="1122"/>
                </a:cubicBezTo>
                <a:cubicBezTo>
                  <a:pt x="1782" y="1122"/>
                  <a:pt x="1782" y="1122"/>
                  <a:pt x="1782" y="1122"/>
                </a:cubicBezTo>
                <a:cubicBezTo>
                  <a:pt x="1785" y="1104"/>
                  <a:pt x="1785" y="1104"/>
                  <a:pt x="1785" y="1104"/>
                </a:cubicBezTo>
                <a:cubicBezTo>
                  <a:pt x="1797" y="1104"/>
                  <a:pt x="1797" y="1104"/>
                  <a:pt x="1797" y="1104"/>
                </a:cubicBezTo>
                <a:cubicBezTo>
                  <a:pt x="1794" y="1122"/>
                  <a:pt x="1794" y="1122"/>
                  <a:pt x="1794" y="1122"/>
                </a:cubicBezTo>
                <a:cubicBezTo>
                  <a:pt x="1803" y="1122"/>
                  <a:pt x="1803" y="1122"/>
                  <a:pt x="1803" y="1122"/>
                </a:cubicBezTo>
                <a:cubicBezTo>
                  <a:pt x="1806" y="1104"/>
                  <a:pt x="1806" y="1104"/>
                  <a:pt x="1806" y="1104"/>
                </a:cubicBezTo>
                <a:cubicBezTo>
                  <a:pt x="1818" y="1104"/>
                  <a:pt x="1818" y="1104"/>
                  <a:pt x="1818" y="1104"/>
                </a:cubicBezTo>
                <a:cubicBezTo>
                  <a:pt x="1814" y="1122"/>
                  <a:pt x="1814" y="1122"/>
                  <a:pt x="1814" y="1122"/>
                </a:cubicBezTo>
                <a:cubicBezTo>
                  <a:pt x="1823" y="1122"/>
                  <a:pt x="1823" y="1122"/>
                  <a:pt x="1823" y="1122"/>
                </a:cubicBezTo>
                <a:cubicBezTo>
                  <a:pt x="1823" y="1134"/>
                  <a:pt x="1823" y="1134"/>
                  <a:pt x="1823" y="1134"/>
                </a:cubicBezTo>
                <a:cubicBezTo>
                  <a:pt x="1813" y="1134"/>
                  <a:pt x="1813" y="1134"/>
                  <a:pt x="1813" y="1134"/>
                </a:cubicBezTo>
                <a:cubicBezTo>
                  <a:pt x="1811" y="1145"/>
                  <a:pt x="1811" y="1145"/>
                  <a:pt x="1811" y="1145"/>
                </a:cubicBezTo>
                <a:cubicBezTo>
                  <a:pt x="1820" y="1145"/>
                  <a:pt x="1820" y="1145"/>
                  <a:pt x="1820" y="1145"/>
                </a:cubicBezTo>
                <a:cubicBezTo>
                  <a:pt x="1820" y="1157"/>
                  <a:pt x="1820" y="1157"/>
                  <a:pt x="1820" y="1157"/>
                </a:cubicBezTo>
                <a:cubicBezTo>
                  <a:pt x="1809" y="1157"/>
                  <a:pt x="1809" y="1157"/>
                  <a:pt x="1809" y="1157"/>
                </a:cubicBezTo>
                <a:cubicBezTo>
                  <a:pt x="1806" y="1176"/>
                  <a:pt x="1806" y="1176"/>
                  <a:pt x="1806" y="1176"/>
                </a:cubicBezTo>
                <a:cubicBezTo>
                  <a:pt x="1795" y="1176"/>
                  <a:pt x="1795" y="1176"/>
                  <a:pt x="1795" y="1176"/>
                </a:cubicBezTo>
                <a:cubicBezTo>
                  <a:pt x="1798" y="1157"/>
                  <a:pt x="1798" y="1157"/>
                  <a:pt x="1798" y="1157"/>
                </a:cubicBezTo>
                <a:cubicBezTo>
                  <a:pt x="1788" y="1157"/>
                  <a:pt x="1788" y="1157"/>
                  <a:pt x="1788" y="1157"/>
                </a:cubicBezTo>
                <a:cubicBezTo>
                  <a:pt x="1785" y="1176"/>
                  <a:pt x="1785" y="1176"/>
                  <a:pt x="1785" y="1176"/>
                </a:cubicBezTo>
                <a:cubicBezTo>
                  <a:pt x="1774" y="1176"/>
                  <a:pt x="1774" y="1176"/>
                  <a:pt x="1774" y="1176"/>
                </a:cubicBezTo>
                <a:cubicBezTo>
                  <a:pt x="1774" y="1176"/>
                  <a:pt x="1774" y="1176"/>
                  <a:pt x="1774" y="1176"/>
                </a:cubicBezTo>
                <a:close/>
                <a:moveTo>
                  <a:pt x="1800" y="1145"/>
                </a:moveTo>
                <a:cubicBezTo>
                  <a:pt x="1801" y="1134"/>
                  <a:pt x="1801" y="1134"/>
                  <a:pt x="1801" y="1134"/>
                </a:cubicBezTo>
                <a:cubicBezTo>
                  <a:pt x="1792" y="1134"/>
                  <a:pt x="1792" y="1134"/>
                  <a:pt x="1792" y="1134"/>
                </a:cubicBezTo>
                <a:cubicBezTo>
                  <a:pt x="1790" y="1145"/>
                  <a:pt x="1790" y="1145"/>
                  <a:pt x="1790" y="1145"/>
                </a:cubicBezTo>
                <a:cubicBezTo>
                  <a:pt x="1800" y="1145"/>
                  <a:pt x="1800" y="1145"/>
                  <a:pt x="1800" y="1145"/>
                </a:cubicBezTo>
                <a:cubicBezTo>
                  <a:pt x="1800" y="1145"/>
                  <a:pt x="1800" y="1145"/>
                  <a:pt x="1800" y="1145"/>
                </a:cubicBezTo>
                <a:close/>
                <a:moveTo>
                  <a:pt x="659" y="1150"/>
                </a:moveTo>
                <a:cubicBezTo>
                  <a:pt x="659" y="1152"/>
                  <a:pt x="660" y="1153"/>
                  <a:pt x="660" y="1155"/>
                </a:cubicBezTo>
                <a:cubicBezTo>
                  <a:pt x="661" y="1156"/>
                  <a:pt x="661" y="1158"/>
                  <a:pt x="662" y="1160"/>
                </a:cubicBezTo>
                <a:cubicBezTo>
                  <a:pt x="662" y="1161"/>
                  <a:pt x="662" y="1163"/>
                  <a:pt x="662" y="1164"/>
                </a:cubicBezTo>
                <a:cubicBezTo>
                  <a:pt x="663" y="1168"/>
                  <a:pt x="662" y="1169"/>
                  <a:pt x="659" y="1169"/>
                </a:cubicBezTo>
                <a:cubicBezTo>
                  <a:pt x="656" y="1169"/>
                  <a:pt x="653" y="1169"/>
                  <a:pt x="650" y="1169"/>
                </a:cubicBezTo>
                <a:cubicBezTo>
                  <a:pt x="650" y="1169"/>
                  <a:pt x="649" y="1169"/>
                  <a:pt x="649" y="1169"/>
                </a:cubicBezTo>
                <a:cubicBezTo>
                  <a:pt x="647" y="1171"/>
                  <a:pt x="646" y="1172"/>
                  <a:pt x="644" y="1174"/>
                </a:cubicBezTo>
                <a:cubicBezTo>
                  <a:pt x="642" y="1176"/>
                  <a:pt x="639" y="1176"/>
                  <a:pt x="637" y="1174"/>
                </a:cubicBezTo>
                <a:cubicBezTo>
                  <a:pt x="635" y="1172"/>
                  <a:pt x="634" y="1170"/>
                  <a:pt x="632" y="1167"/>
                </a:cubicBezTo>
                <a:cubicBezTo>
                  <a:pt x="631" y="1165"/>
                  <a:pt x="632" y="1164"/>
                  <a:pt x="634" y="1162"/>
                </a:cubicBezTo>
                <a:cubicBezTo>
                  <a:pt x="631" y="1162"/>
                  <a:pt x="630" y="1162"/>
                  <a:pt x="628" y="1162"/>
                </a:cubicBezTo>
                <a:cubicBezTo>
                  <a:pt x="628" y="1164"/>
                  <a:pt x="626" y="1166"/>
                  <a:pt x="626" y="1168"/>
                </a:cubicBezTo>
                <a:cubicBezTo>
                  <a:pt x="626" y="1169"/>
                  <a:pt x="625" y="1170"/>
                  <a:pt x="625" y="1170"/>
                </a:cubicBezTo>
                <a:cubicBezTo>
                  <a:pt x="625" y="1174"/>
                  <a:pt x="624" y="1175"/>
                  <a:pt x="621" y="1174"/>
                </a:cubicBezTo>
                <a:cubicBezTo>
                  <a:pt x="618" y="1174"/>
                  <a:pt x="615" y="1173"/>
                  <a:pt x="612" y="1172"/>
                </a:cubicBezTo>
                <a:cubicBezTo>
                  <a:pt x="610" y="1172"/>
                  <a:pt x="609" y="1170"/>
                  <a:pt x="610" y="1168"/>
                </a:cubicBezTo>
                <a:cubicBezTo>
                  <a:pt x="610" y="1167"/>
                  <a:pt x="610" y="1166"/>
                  <a:pt x="611" y="1166"/>
                </a:cubicBezTo>
                <a:cubicBezTo>
                  <a:pt x="608" y="1165"/>
                  <a:pt x="606" y="1164"/>
                  <a:pt x="604" y="1163"/>
                </a:cubicBezTo>
                <a:cubicBezTo>
                  <a:pt x="603" y="1162"/>
                  <a:pt x="602" y="1160"/>
                  <a:pt x="601" y="1159"/>
                </a:cubicBezTo>
                <a:cubicBezTo>
                  <a:pt x="600" y="1157"/>
                  <a:pt x="600" y="1155"/>
                  <a:pt x="602" y="1153"/>
                </a:cubicBezTo>
                <a:cubicBezTo>
                  <a:pt x="605" y="1151"/>
                  <a:pt x="606" y="1148"/>
                  <a:pt x="605" y="1144"/>
                </a:cubicBezTo>
                <a:cubicBezTo>
                  <a:pt x="605" y="1142"/>
                  <a:pt x="605" y="1140"/>
                  <a:pt x="605" y="1138"/>
                </a:cubicBezTo>
                <a:cubicBezTo>
                  <a:pt x="604" y="1138"/>
                  <a:pt x="602" y="1137"/>
                  <a:pt x="601" y="1136"/>
                </a:cubicBezTo>
                <a:cubicBezTo>
                  <a:pt x="600" y="1134"/>
                  <a:pt x="599" y="1132"/>
                  <a:pt x="599" y="1130"/>
                </a:cubicBezTo>
                <a:cubicBezTo>
                  <a:pt x="599" y="1128"/>
                  <a:pt x="602" y="1125"/>
                  <a:pt x="605" y="1124"/>
                </a:cubicBezTo>
                <a:cubicBezTo>
                  <a:pt x="606" y="1125"/>
                  <a:pt x="606" y="1126"/>
                  <a:pt x="606" y="1126"/>
                </a:cubicBezTo>
                <a:cubicBezTo>
                  <a:pt x="606" y="1128"/>
                  <a:pt x="606" y="1128"/>
                  <a:pt x="606" y="1130"/>
                </a:cubicBezTo>
                <a:cubicBezTo>
                  <a:pt x="606" y="1129"/>
                  <a:pt x="605" y="1129"/>
                  <a:pt x="605" y="1129"/>
                </a:cubicBezTo>
                <a:cubicBezTo>
                  <a:pt x="604" y="1130"/>
                  <a:pt x="604" y="1132"/>
                  <a:pt x="603" y="1134"/>
                </a:cubicBezTo>
                <a:cubicBezTo>
                  <a:pt x="604" y="1133"/>
                  <a:pt x="605" y="1133"/>
                  <a:pt x="606" y="1133"/>
                </a:cubicBezTo>
                <a:cubicBezTo>
                  <a:pt x="607" y="1132"/>
                  <a:pt x="608" y="1131"/>
                  <a:pt x="608" y="1130"/>
                </a:cubicBezTo>
                <a:cubicBezTo>
                  <a:pt x="613" y="1123"/>
                  <a:pt x="619" y="1119"/>
                  <a:pt x="626" y="1117"/>
                </a:cubicBezTo>
                <a:cubicBezTo>
                  <a:pt x="629" y="1117"/>
                  <a:pt x="633" y="1116"/>
                  <a:pt x="635" y="1113"/>
                </a:cubicBezTo>
                <a:cubicBezTo>
                  <a:pt x="635" y="1113"/>
                  <a:pt x="636" y="1112"/>
                  <a:pt x="636" y="1112"/>
                </a:cubicBezTo>
                <a:cubicBezTo>
                  <a:pt x="639" y="1112"/>
                  <a:pt x="640" y="1109"/>
                  <a:pt x="642" y="1107"/>
                </a:cubicBezTo>
                <a:cubicBezTo>
                  <a:pt x="650" y="1100"/>
                  <a:pt x="662" y="1100"/>
                  <a:pt x="669" y="1106"/>
                </a:cubicBezTo>
                <a:cubicBezTo>
                  <a:pt x="672" y="1108"/>
                  <a:pt x="675" y="1110"/>
                  <a:pt x="677" y="1112"/>
                </a:cubicBezTo>
                <a:cubicBezTo>
                  <a:pt x="679" y="1113"/>
                  <a:pt x="680" y="1115"/>
                  <a:pt x="681" y="1117"/>
                </a:cubicBezTo>
                <a:cubicBezTo>
                  <a:pt x="682" y="1119"/>
                  <a:pt x="682" y="1119"/>
                  <a:pt x="684" y="1117"/>
                </a:cubicBezTo>
                <a:cubicBezTo>
                  <a:pt x="684" y="1117"/>
                  <a:pt x="685" y="1116"/>
                  <a:pt x="686" y="1115"/>
                </a:cubicBezTo>
                <a:cubicBezTo>
                  <a:pt x="688" y="1113"/>
                  <a:pt x="691" y="1113"/>
                  <a:pt x="692" y="1116"/>
                </a:cubicBezTo>
                <a:cubicBezTo>
                  <a:pt x="693" y="1119"/>
                  <a:pt x="694" y="1122"/>
                  <a:pt x="695" y="1125"/>
                </a:cubicBezTo>
                <a:cubicBezTo>
                  <a:pt x="695" y="1129"/>
                  <a:pt x="695" y="1134"/>
                  <a:pt x="693" y="1138"/>
                </a:cubicBezTo>
                <a:cubicBezTo>
                  <a:pt x="691" y="1144"/>
                  <a:pt x="686" y="1148"/>
                  <a:pt x="680" y="1148"/>
                </a:cubicBezTo>
                <a:cubicBezTo>
                  <a:pt x="679" y="1148"/>
                  <a:pt x="679" y="1148"/>
                  <a:pt x="678" y="1148"/>
                </a:cubicBezTo>
                <a:cubicBezTo>
                  <a:pt x="675" y="1147"/>
                  <a:pt x="674" y="1148"/>
                  <a:pt x="673" y="1150"/>
                </a:cubicBezTo>
                <a:cubicBezTo>
                  <a:pt x="672" y="1155"/>
                  <a:pt x="666" y="1156"/>
                  <a:pt x="663" y="1153"/>
                </a:cubicBezTo>
                <a:cubicBezTo>
                  <a:pt x="662" y="1152"/>
                  <a:pt x="661" y="1151"/>
                  <a:pt x="660" y="1150"/>
                </a:cubicBezTo>
                <a:cubicBezTo>
                  <a:pt x="659" y="1150"/>
                  <a:pt x="659" y="1150"/>
                  <a:pt x="659" y="1150"/>
                </a:cubicBezTo>
                <a:close/>
                <a:moveTo>
                  <a:pt x="653" y="1146"/>
                </a:moveTo>
                <a:cubicBezTo>
                  <a:pt x="657" y="1147"/>
                  <a:pt x="660" y="1149"/>
                  <a:pt x="663" y="1151"/>
                </a:cubicBezTo>
                <a:cubicBezTo>
                  <a:pt x="665" y="1153"/>
                  <a:pt x="667" y="1154"/>
                  <a:pt x="669" y="1153"/>
                </a:cubicBezTo>
                <a:cubicBezTo>
                  <a:pt x="671" y="1152"/>
                  <a:pt x="673" y="1150"/>
                  <a:pt x="673" y="1147"/>
                </a:cubicBezTo>
                <a:cubicBezTo>
                  <a:pt x="673" y="1147"/>
                  <a:pt x="672" y="1147"/>
                  <a:pt x="672" y="1148"/>
                </a:cubicBezTo>
                <a:cubicBezTo>
                  <a:pt x="671" y="1149"/>
                  <a:pt x="670" y="1150"/>
                  <a:pt x="669" y="1151"/>
                </a:cubicBezTo>
                <a:cubicBezTo>
                  <a:pt x="668" y="1153"/>
                  <a:pt x="667" y="1152"/>
                  <a:pt x="666" y="1152"/>
                </a:cubicBezTo>
                <a:cubicBezTo>
                  <a:pt x="666" y="1152"/>
                  <a:pt x="665" y="1151"/>
                  <a:pt x="665" y="1150"/>
                </a:cubicBezTo>
                <a:cubicBezTo>
                  <a:pt x="665" y="1147"/>
                  <a:pt x="666" y="1145"/>
                  <a:pt x="666" y="1144"/>
                </a:cubicBezTo>
                <a:cubicBezTo>
                  <a:pt x="669" y="1144"/>
                  <a:pt x="672" y="1145"/>
                  <a:pt x="676" y="1146"/>
                </a:cubicBezTo>
                <a:cubicBezTo>
                  <a:pt x="683" y="1147"/>
                  <a:pt x="689" y="1145"/>
                  <a:pt x="692" y="1137"/>
                </a:cubicBezTo>
                <a:cubicBezTo>
                  <a:pt x="694" y="1132"/>
                  <a:pt x="693" y="1127"/>
                  <a:pt x="693" y="1122"/>
                </a:cubicBezTo>
                <a:cubicBezTo>
                  <a:pt x="692" y="1120"/>
                  <a:pt x="691" y="1119"/>
                  <a:pt x="691" y="1117"/>
                </a:cubicBezTo>
                <a:cubicBezTo>
                  <a:pt x="690" y="1115"/>
                  <a:pt x="689" y="1115"/>
                  <a:pt x="688" y="1116"/>
                </a:cubicBezTo>
                <a:cubicBezTo>
                  <a:pt x="686" y="1118"/>
                  <a:pt x="684" y="1119"/>
                  <a:pt x="682" y="1120"/>
                </a:cubicBezTo>
                <a:cubicBezTo>
                  <a:pt x="682" y="1121"/>
                  <a:pt x="681" y="1121"/>
                  <a:pt x="681" y="1123"/>
                </a:cubicBezTo>
                <a:cubicBezTo>
                  <a:pt x="682" y="1126"/>
                  <a:pt x="681" y="1129"/>
                  <a:pt x="680" y="1132"/>
                </a:cubicBezTo>
                <a:cubicBezTo>
                  <a:pt x="680" y="1130"/>
                  <a:pt x="680" y="1128"/>
                  <a:pt x="680" y="1126"/>
                </a:cubicBezTo>
                <a:cubicBezTo>
                  <a:pt x="680" y="1126"/>
                  <a:pt x="680" y="1125"/>
                  <a:pt x="680" y="1125"/>
                </a:cubicBezTo>
                <a:cubicBezTo>
                  <a:pt x="679" y="1125"/>
                  <a:pt x="679" y="1125"/>
                  <a:pt x="679" y="1126"/>
                </a:cubicBezTo>
                <a:cubicBezTo>
                  <a:pt x="678" y="1127"/>
                  <a:pt x="677" y="1128"/>
                  <a:pt x="676" y="1130"/>
                </a:cubicBezTo>
                <a:cubicBezTo>
                  <a:pt x="676" y="1130"/>
                  <a:pt x="676" y="1130"/>
                  <a:pt x="676" y="1130"/>
                </a:cubicBezTo>
                <a:cubicBezTo>
                  <a:pt x="676" y="1128"/>
                  <a:pt x="677" y="1126"/>
                  <a:pt x="677" y="1124"/>
                </a:cubicBezTo>
                <a:cubicBezTo>
                  <a:pt x="676" y="1125"/>
                  <a:pt x="675" y="1125"/>
                  <a:pt x="675" y="1126"/>
                </a:cubicBezTo>
                <a:cubicBezTo>
                  <a:pt x="674" y="1126"/>
                  <a:pt x="674" y="1127"/>
                  <a:pt x="673" y="1128"/>
                </a:cubicBezTo>
                <a:cubicBezTo>
                  <a:pt x="674" y="1125"/>
                  <a:pt x="674" y="1125"/>
                  <a:pt x="680" y="1123"/>
                </a:cubicBezTo>
                <a:cubicBezTo>
                  <a:pt x="680" y="1123"/>
                  <a:pt x="679" y="1122"/>
                  <a:pt x="679" y="1122"/>
                </a:cubicBezTo>
                <a:cubicBezTo>
                  <a:pt x="676" y="1123"/>
                  <a:pt x="675" y="1121"/>
                  <a:pt x="675" y="1119"/>
                </a:cubicBezTo>
                <a:cubicBezTo>
                  <a:pt x="677" y="1119"/>
                  <a:pt x="678" y="1118"/>
                  <a:pt x="680" y="1118"/>
                </a:cubicBezTo>
                <a:cubicBezTo>
                  <a:pt x="678" y="1115"/>
                  <a:pt x="677" y="1113"/>
                  <a:pt x="673" y="1112"/>
                </a:cubicBezTo>
                <a:cubicBezTo>
                  <a:pt x="673" y="1112"/>
                  <a:pt x="673" y="1112"/>
                  <a:pt x="673" y="1111"/>
                </a:cubicBezTo>
                <a:cubicBezTo>
                  <a:pt x="670" y="1109"/>
                  <a:pt x="668" y="1107"/>
                  <a:pt x="665" y="1105"/>
                </a:cubicBezTo>
                <a:cubicBezTo>
                  <a:pt x="663" y="1104"/>
                  <a:pt x="660" y="1103"/>
                  <a:pt x="658" y="1103"/>
                </a:cubicBezTo>
                <a:cubicBezTo>
                  <a:pt x="655" y="1104"/>
                  <a:pt x="651" y="1105"/>
                  <a:pt x="648" y="1105"/>
                </a:cubicBezTo>
                <a:cubicBezTo>
                  <a:pt x="646" y="1107"/>
                  <a:pt x="643" y="1108"/>
                  <a:pt x="641" y="1111"/>
                </a:cubicBezTo>
                <a:cubicBezTo>
                  <a:pt x="643" y="1111"/>
                  <a:pt x="644" y="1111"/>
                  <a:pt x="645" y="1111"/>
                </a:cubicBezTo>
                <a:cubicBezTo>
                  <a:pt x="645" y="1112"/>
                  <a:pt x="644" y="1112"/>
                  <a:pt x="643" y="1112"/>
                </a:cubicBezTo>
                <a:cubicBezTo>
                  <a:pt x="641" y="1113"/>
                  <a:pt x="638" y="1112"/>
                  <a:pt x="636" y="1115"/>
                </a:cubicBezTo>
                <a:cubicBezTo>
                  <a:pt x="633" y="1119"/>
                  <a:pt x="629" y="1122"/>
                  <a:pt x="625" y="1126"/>
                </a:cubicBezTo>
                <a:cubicBezTo>
                  <a:pt x="624" y="1128"/>
                  <a:pt x="623" y="1131"/>
                  <a:pt x="622" y="1133"/>
                </a:cubicBezTo>
                <a:cubicBezTo>
                  <a:pt x="622" y="1134"/>
                  <a:pt x="622" y="1134"/>
                  <a:pt x="622" y="1135"/>
                </a:cubicBezTo>
                <a:cubicBezTo>
                  <a:pt x="623" y="1137"/>
                  <a:pt x="624" y="1139"/>
                  <a:pt x="626" y="1141"/>
                </a:cubicBezTo>
                <a:cubicBezTo>
                  <a:pt x="627" y="1139"/>
                  <a:pt x="628" y="1138"/>
                  <a:pt x="629" y="1136"/>
                </a:cubicBezTo>
                <a:cubicBezTo>
                  <a:pt x="629" y="1138"/>
                  <a:pt x="629" y="1139"/>
                  <a:pt x="628" y="1140"/>
                </a:cubicBezTo>
                <a:cubicBezTo>
                  <a:pt x="627" y="1142"/>
                  <a:pt x="626" y="1143"/>
                  <a:pt x="626" y="1144"/>
                </a:cubicBezTo>
                <a:cubicBezTo>
                  <a:pt x="626" y="1145"/>
                  <a:pt x="626" y="1146"/>
                  <a:pt x="626" y="1147"/>
                </a:cubicBezTo>
                <a:cubicBezTo>
                  <a:pt x="629" y="1151"/>
                  <a:pt x="632" y="1151"/>
                  <a:pt x="636" y="1149"/>
                </a:cubicBezTo>
                <a:cubicBezTo>
                  <a:pt x="638" y="1147"/>
                  <a:pt x="641" y="1146"/>
                  <a:pt x="644" y="1145"/>
                </a:cubicBezTo>
                <a:cubicBezTo>
                  <a:pt x="645" y="1145"/>
                  <a:pt x="646" y="1144"/>
                  <a:pt x="646" y="1142"/>
                </a:cubicBezTo>
                <a:cubicBezTo>
                  <a:pt x="646" y="1139"/>
                  <a:pt x="646" y="1136"/>
                  <a:pt x="646" y="1132"/>
                </a:cubicBezTo>
                <a:cubicBezTo>
                  <a:pt x="646" y="1129"/>
                  <a:pt x="646" y="1126"/>
                  <a:pt x="646" y="1123"/>
                </a:cubicBezTo>
                <a:cubicBezTo>
                  <a:pt x="647" y="1126"/>
                  <a:pt x="648" y="1129"/>
                  <a:pt x="648" y="1131"/>
                </a:cubicBezTo>
                <a:cubicBezTo>
                  <a:pt x="649" y="1136"/>
                  <a:pt x="649" y="1140"/>
                  <a:pt x="648" y="1145"/>
                </a:cubicBezTo>
                <a:cubicBezTo>
                  <a:pt x="647" y="1145"/>
                  <a:pt x="646" y="1146"/>
                  <a:pt x="646" y="1146"/>
                </a:cubicBezTo>
                <a:cubicBezTo>
                  <a:pt x="642" y="1147"/>
                  <a:pt x="639" y="1149"/>
                  <a:pt x="636" y="1150"/>
                </a:cubicBezTo>
                <a:cubicBezTo>
                  <a:pt x="631" y="1153"/>
                  <a:pt x="628" y="1151"/>
                  <a:pt x="624" y="1147"/>
                </a:cubicBezTo>
                <a:cubicBezTo>
                  <a:pt x="624" y="1147"/>
                  <a:pt x="624" y="1146"/>
                  <a:pt x="624" y="1145"/>
                </a:cubicBezTo>
                <a:cubicBezTo>
                  <a:pt x="625" y="1143"/>
                  <a:pt x="624" y="1141"/>
                  <a:pt x="622" y="1139"/>
                </a:cubicBezTo>
                <a:cubicBezTo>
                  <a:pt x="621" y="1137"/>
                  <a:pt x="619" y="1135"/>
                  <a:pt x="620" y="1132"/>
                </a:cubicBezTo>
                <a:cubicBezTo>
                  <a:pt x="621" y="1130"/>
                  <a:pt x="622" y="1128"/>
                  <a:pt x="623" y="1127"/>
                </a:cubicBezTo>
                <a:cubicBezTo>
                  <a:pt x="625" y="1124"/>
                  <a:pt x="627" y="1122"/>
                  <a:pt x="629" y="1119"/>
                </a:cubicBezTo>
                <a:cubicBezTo>
                  <a:pt x="629" y="1119"/>
                  <a:pt x="628" y="1119"/>
                  <a:pt x="628" y="1119"/>
                </a:cubicBezTo>
                <a:cubicBezTo>
                  <a:pt x="623" y="1120"/>
                  <a:pt x="619" y="1122"/>
                  <a:pt x="615" y="1125"/>
                </a:cubicBezTo>
                <a:cubicBezTo>
                  <a:pt x="610" y="1129"/>
                  <a:pt x="607" y="1134"/>
                  <a:pt x="607" y="1141"/>
                </a:cubicBezTo>
                <a:cubicBezTo>
                  <a:pt x="606" y="1148"/>
                  <a:pt x="609" y="1154"/>
                  <a:pt x="612" y="1160"/>
                </a:cubicBezTo>
                <a:cubicBezTo>
                  <a:pt x="613" y="1161"/>
                  <a:pt x="613" y="1162"/>
                  <a:pt x="613" y="1163"/>
                </a:cubicBezTo>
                <a:cubicBezTo>
                  <a:pt x="613" y="1165"/>
                  <a:pt x="613" y="1166"/>
                  <a:pt x="612" y="1168"/>
                </a:cubicBezTo>
                <a:cubicBezTo>
                  <a:pt x="611" y="1170"/>
                  <a:pt x="612" y="1170"/>
                  <a:pt x="613" y="1171"/>
                </a:cubicBezTo>
                <a:cubicBezTo>
                  <a:pt x="616" y="1172"/>
                  <a:pt x="619" y="1172"/>
                  <a:pt x="622" y="1172"/>
                </a:cubicBezTo>
                <a:cubicBezTo>
                  <a:pt x="622" y="1172"/>
                  <a:pt x="623" y="1172"/>
                  <a:pt x="623" y="1171"/>
                </a:cubicBezTo>
                <a:cubicBezTo>
                  <a:pt x="624" y="1170"/>
                  <a:pt x="624" y="1168"/>
                  <a:pt x="624" y="1168"/>
                </a:cubicBezTo>
                <a:cubicBezTo>
                  <a:pt x="626" y="1165"/>
                  <a:pt x="626" y="1163"/>
                  <a:pt x="626" y="1160"/>
                </a:cubicBezTo>
                <a:cubicBezTo>
                  <a:pt x="626" y="1159"/>
                  <a:pt x="626" y="1159"/>
                  <a:pt x="626" y="1159"/>
                </a:cubicBezTo>
                <a:cubicBezTo>
                  <a:pt x="626" y="1158"/>
                  <a:pt x="626" y="1158"/>
                  <a:pt x="626" y="1158"/>
                </a:cubicBezTo>
                <a:cubicBezTo>
                  <a:pt x="627" y="1161"/>
                  <a:pt x="628" y="1161"/>
                  <a:pt x="630" y="1161"/>
                </a:cubicBezTo>
                <a:cubicBezTo>
                  <a:pt x="631" y="1161"/>
                  <a:pt x="632" y="1161"/>
                  <a:pt x="633" y="1161"/>
                </a:cubicBezTo>
                <a:cubicBezTo>
                  <a:pt x="635" y="1161"/>
                  <a:pt x="639" y="1161"/>
                  <a:pt x="639" y="1157"/>
                </a:cubicBezTo>
                <a:cubicBezTo>
                  <a:pt x="639" y="1159"/>
                  <a:pt x="639" y="1161"/>
                  <a:pt x="639" y="1162"/>
                </a:cubicBezTo>
                <a:cubicBezTo>
                  <a:pt x="638" y="1163"/>
                  <a:pt x="637" y="1163"/>
                  <a:pt x="635" y="1164"/>
                </a:cubicBezTo>
                <a:cubicBezTo>
                  <a:pt x="634" y="1164"/>
                  <a:pt x="633" y="1166"/>
                  <a:pt x="634" y="1167"/>
                </a:cubicBezTo>
                <a:cubicBezTo>
                  <a:pt x="635" y="1169"/>
                  <a:pt x="637" y="1171"/>
                  <a:pt x="638" y="1173"/>
                </a:cubicBezTo>
                <a:cubicBezTo>
                  <a:pt x="640" y="1174"/>
                  <a:pt x="642" y="1174"/>
                  <a:pt x="643" y="1172"/>
                </a:cubicBezTo>
                <a:cubicBezTo>
                  <a:pt x="644" y="1172"/>
                  <a:pt x="644" y="1171"/>
                  <a:pt x="645" y="1170"/>
                </a:cubicBezTo>
                <a:cubicBezTo>
                  <a:pt x="647" y="1169"/>
                  <a:pt x="648" y="1168"/>
                  <a:pt x="650" y="1166"/>
                </a:cubicBezTo>
                <a:cubicBezTo>
                  <a:pt x="654" y="1162"/>
                  <a:pt x="656" y="1156"/>
                  <a:pt x="658" y="1150"/>
                </a:cubicBezTo>
                <a:cubicBezTo>
                  <a:pt x="658" y="1150"/>
                  <a:pt x="657" y="1149"/>
                  <a:pt x="657" y="1149"/>
                </a:cubicBezTo>
                <a:cubicBezTo>
                  <a:pt x="656" y="1147"/>
                  <a:pt x="655" y="1147"/>
                  <a:pt x="653" y="1146"/>
                </a:cubicBezTo>
                <a:close/>
                <a:moveTo>
                  <a:pt x="606" y="1152"/>
                </a:moveTo>
                <a:cubicBezTo>
                  <a:pt x="606" y="1153"/>
                  <a:pt x="604" y="1154"/>
                  <a:pt x="603" y="1155"/>
                </a:cubicBezTo>
                <a:cubicBezTo>
                  <a:pt x="602" y="1155"/>
                  <a:pt x="602" y="1156"/>
                  <a:pt x="602" y="1157"/>
                </a:cubicBezTo>
                <a:cubicBezTo>
                  <a:pt x="602" y="1160"/>
                  <a:pt x="606" y="1164"/>
                  <a:pt x="609" y="1164"/>
                </a:cubicBezTo>
                <a:cubicBezTo>
                  <a:pt x="611" y="1164"/>
                  <a:pt x="612" y="1163"/>
                  <a:pt x="611" y="1161"/>
                </a:cubicBezTo>
                <a:cubicBezTo>
                  <a:pt x="609" y="1158"/>
                  <a:pt x="608" y="1155"/>
                  <a:pt x="606" y="1152"/>
                </a:cubicBezTo>
                <a:close/>
                <a:moveTo>
                  <a:pt x="659" y="1154"/>
                </a:moveTo>
                <a:cubicBezTo>
                  <a:pt x="657" y="1159"/>
                  <a:pt x="654" y="1163"/>
                  <a:pt x="652" y="1168"/>
                </a:cubicBezTo>
                <a:cubicBezTo>
                  <a:pt x="655" y="1168"/>
                  <a:pt x="657" y="1168"/>
                  <a:pt x="660" y="1168"/>
                </a:cubicBezTo>
                <a:cubicBezTo>
                  <a:pt x="660" y="1168"/>
                  <a:pt x="660" y="1166"/>
                  <a:pt x="660" y="1166"/>
                </a:cubicBezTo>
                <a:cubicBezTo>
                  <a:pt x="660" y="1163"/>
                  <a:pt x="660" y="1161"/>
                  <a:pt x="660" y="1159"/>
                </a:cubicBezTo>
                <a:cubicBezTo>
                  <a:pt x="660" y="1157"/>
                  <a:pt x="659" y="1156"/>
                  <a:pt x="659" y="1154"/>
                </a:cubicBezTo>
                <a:close/>
                <a:moveTo>
                  <a:pt x="606" y="1134"/>
                </a:moveTo>
                <a:cubicBezTo>
                  <a:pt x="606" y="1134"/>
                  <a:pt x="605" y="1135"/>
                  <a:pt x="604" y="1135"/>
                </a:cubicBezTo>
                <a:cubicBezTo>
                  <a:pt x="604" y="1135"/>
                  <a:pt x="603" y="1135"/>
                  <a:pt x="603" y="1134"/>
                </a:cubicBezTo>
                <a:cubicBezTo>
                  <a:pt x="602" y="1134"/>
                  <a:pt x="602" y="1133"/>
                  <a:pt x="602" y="1132"/>
                </a:cubicBezTo>
                <a:cubicBezTo>
                  <a:pt x="603" y="1130"/>
                  <a:pt x="603" y="1128"/>
                  <a:pt x="604" y="1126"/>
                </a:cubicBezTo>
                <a:cubicBezTo>
                  <a:pt x="604" y="1126"/>
                  <a:pt x="604" y="1126"/>
                  <a:pt x="603" y="1126"/>
                </a:cubicBezTo>
                <a:cubicBezTo>
                  <a:pt x="602" y="1127"/>
                  <a:pt x="601" y="1128"/>
                  <a:pt x="600" y="1129"/>
                </a:cubicBezTo>
                <a:cubicBezTo>
                  <a:pt x="600" y="1130"/>
                  <a:pt x="601" y="1136"/>
                  <a:pt x="603" y="1136"/>
                </a:cubicBezTo>
                <a:cubicBezTo>
                  <a:pt x="604" y="1137"/>
                  <a:pt x="606" y="1136"/>
                  <a:pt x="606" y="1134"/>
                </a:cubicBezTo>
                <a:close/>
                <a:moveTo>
                  <a:pt x="606" y="1152"/>
                </a:moveTo>
                <a:cubicBezTo>
                  <a:pt x="605" y="1153"/>
                  <a:pt x="604" y="1153"/>
                  <a:pt x="603" y="1155"/>
                </a:cubicBezTo>
                <a:cubicBezTo>
                  <a:pt x="602" y="1155"/>
                  <a:pt x="602" y="1156"/>
                  <a:pt x="602" y="1157"/>
                </a:cubicBezTo>
                <a:cubicBezTo>
                  <a:pt x="602" y="1159"/>
                  <a:pt x="606" y="1164"/>
                  <a:pt x="609" y="1163"/>
                </a:cubicBezTo>
                <a:cubicBezTo>
                  <a:pt x="611" y="1163"/>
                  <a:pt x="612" y="1162"/>
                  <a:pt x="611" y="1161"/>
                </a:cubicBezTo>
                <a:cubicBezTo>
                  <a:pt x="609" y="1157"/>
                  <a:pt x="608" y="1155"/>
                  <a:pt x="606" y="1152"/>
                </a:cubicBezTo>
                <a:close/>
                <a:moveTo>
                  <a:pt x="659" y="1154"/>
                </a:moveTo>
                <a:cubicBezTo>
                  <a:pt x="656" y="1159"/>
                  <a:pt x="654" y="1163"/>
                  <a:pt x="652" y="1168"/>
                </a:cubicBezTo>
                <a:cubicBezTo>
                  <a:pt x="654" y="1168"/>
                  <a:pt x="657" y="1168"/>
                  <a:pt x="660" y="1168"/>
                </a:cubicBezTo>
                <a:cubicBezTo>
                  <a:pt x="660" y="1168"/>
                  <a:pt x="660" y="1167"/>
                  <a:pt x="660" y="1166"/>
                </a:cubicBezTo>
                <a:cubicBezTo>
                  <a:pt x="660" y="1163"/>
                  <a:pt x="660" y="1161"/>
                  <a:pt x="660" y="1159"/>
                </a:cubicBezTo>
                <a:cubicBezTo>
                  <a:pt x="660" y="1157"/>
                  <a:pt x="659" y="1156"/>
                  <a:pt x="659" y="1154"/>
                </a:cubicBezTo>
                <a:close/>
                <a:moveTo>
                  <a:pt x="606" y="1134"/>
                </a:moveTo>
                <a:cubicBezTo>
                  <a:pt x="605" y="1134"/>
                  <a:pt x="605" y="1135"/>
                  <a:pt x="604" y="1135"/>
                </a:cubicBezTo>
                <a:cubicBezTo>
                  <a:pt x="603" y="1135"/>
                  <a:pt x="603" y="1135"/>
                  <a:pt x="603" y="1134"/>
                </a:cubicBezTo>
                <a:cubicBezTo>
                  <a:pt x="602" y="1134"/>
                  <a:pt x="602" y="1133"/>
                  <a:pt x="602" y="1132"/>
                </a:cubicBezTo>
                <a:cubicBezTo>
                  <a:pt x="603" y="1130"/>
                  <a:pt x="603" y="1128"/>
                  <a:pt x="604" y="1126"/>
                </a:cubicBezTo>
                <a:cubicBezTo>
                  <a:pt x="603" y="1126"/>
                  <a:pt x="603" y="1126"/>
                  <a:pt x="603" y="1126"/>
                </a:cubicBezTo>
                <a:cubicBezTo>
                  <a:pt x="602" y="1127"/>
                  <a:pt x="601" y="1128"/>
                  <a:pt x="600" y="1129"/>
                </a:cubicBezTo>
                <a:cubicBezTo>
                  <a:pt x="599" y="1130"/>
                  <a:pt x="601" y="1135"/>
                  <a:pt x="603" y="1136"/>
                </a:cubicBezTo>
                <a:cubicBezTo>
                  <a:pt x="604" y="1137"/>
                  <a:pt x="606" y="1136"/>
                  <a:pt x="606" y="1134"/>
                </a:cubicBezTo>
                <a:close/>
                <a:moveTo>
                  <a:pt x="658" y="1126"/>
                </a:moveTo>
                <a:cubicBezTo>
                  <a:pt x="661" y="1122"/>
                  <a:pt x="661" y="1122"/>
                  <a:pt x="665" y="1121"/>
                </a:cubicBezTo>
                <a:cubicBezTo>
                  <a:pt x="665" y="1123"/>
                  <a:pt x="666" y="1124"/>
                  <a:pt x="668" y="1124"/>
                </a:cubicBezTo>
                <a:cubicBezTo>
                  <a:pt x="666" y="1125"/>
                  <a:pt x="664" y="1127"/>
                  <a:pt x="662" y="1128"/>
                </a:cubicBezTo>
                <a:cubicBezTo>
                  <a:pt x="661" y="1127"/>
                  <a:pt x="661" y="1126"/>
                  <a:pt x="660" y="1125"/>
                </a:cubicBezTo>
                <a:cubicBezTo>
                  <a:pt x="660" y="1125"/>
                  <a:pt x="659" y="1125"/>
                  <a:pt x="658" y="1126"/>
                </a:cubicBezTo>
                <a:close/>
                <a:moveTo>
                  <a:pt x="664" y="1125"/>
                </a:moveTo>
                <a:cubicBezTo>
                  <a:pt x="663" y="1125"/>
                  <a:pt x="663" y="1125"/>
                  <a:pt x="662" y="1125"/>
                </a:cubicBezTo>
                <a:cubicBezTo>
                  <a:pt x="662" y="1125"/>
                  <a:pt x="661" y="1125"/>
                  <a:pt x="661" y="1126"/>
                </a:cubicBezTo>
                <a:cubicBezTo>
                  <a:pt x="661" y="1126"/>
                  <a:pt x="661" y="1126"/>
                  <a:pt x="662" y="1127"/>
                </a:cubicBezTo>
                <a:cubicBezTo>
                  <a:pt x="663" y="1126"/>
                  <a:pt x="663" y="1126"/>
                  <a:pt x="664" y="1125"/>
                </a:cubicBezTo>
                <a:close/>
                <a:moveTo>
                  <a:pt x="645" y="1116"/>
                </a:moveTo>
                <a:cubicBezTo>
                  <a:pt x="639" y="1115"/>
                  <a:pt x="636" y="1117"/>
                  <a:pt x="635" y="1125"/>
                </a:cubicBezTo>
                <a:cubicBezTo>
                  <a:pt x="636" y="1123"/>
                  <a:pt x="637" y="1121"/>
                  <a:pt x="638" y="1118"/>
                </a:cubicBezTo>
                <a:cubicBezTo>
                  <a:pt x="639" y="1118"/>
                  <a:pt x="639" y="1118"/>
                  <a:pt x="639" y="1118"/>
                </a:cubicBezTo>
                <a:cubicBezTo>
                  <a:pt x="639" y="1120"/>
                  <a:pt x="639" y="1120"/>
                  <a:pt x="639" y="1121"/>
                </a:cubicBezTo>
                <a:cubicBezTo>
                  <a:pt x="640" y="1118"/>
                  <a:pt x="642" y="1116"/>
                  <a:pt x="645" y="1116"/>
                </a:cubicBezTo>
                <a:close/>
                <a:moveTo>
                  <a:pt x="689" y="1117"/>
                </a:moveTo>
                <a:cubicBezTo>
                  <a:pt x="687" y="1118"/>
                  <a:pt x="685" y="1120"/>
                  <a:pt x="684" y="1121"/>
                </a:cubicBezTo>
                <a:cubicBezTo>
                  <a:pt x="686" y="1122"/>
                  <a:pt x="688" y="1120"/>
                  <a:pt x="689" y="1117"/>
                </a:cubicBezTo>
                <a:close/>
                <a:moveTo>
                  <a:pt x="656" y="1119"/>
                </a:moveTo>
                <a:cubicBezTo>
                  <a:pt x="657" y="1118"/>
                  <a:pt x="658" y="1117"/>
                  <a:pt x="659" y="1115"/>
                </a:cubicBezTo>
                <a:cubicBezTo>
                  <a:pt x="656" y="1117"/>
                  <a:pt x="656" y="1117"/>
                  <a:pt x="656" y="1119"/>
                </a:cubicBezTo>
                <a:close/>
                <a:moveTo>
                  <a:pt x="666" y="1141"/>
                </a:moveTo>
                <a:cubicBezTo>
                  <a:pt x="664" y="1141"/>
                  <a:pt x="663" y="1142"/>
                  <a:pt x="663" y="1143"/>
                </a:cubicBezTo>
                <a:cubicBezTo>
                  <a:pt x="664" y="1142"/>
                  <a:pt x="665" y="1142"/>
                  <a:pt x="666" y="1141"/>
                </a:cubicBezTo>
                <a:close/>
                <a:moveTo>
                  <a:pt x="665" y="1125"/>
                </a:moveTo>
                <a:cubicBezTo>
                  <a:pt x="664" y="1125"/>
                  <a:pt x="663" y="1125"/>
                  <a:pt x="663" y="1125"/>
                </a:cubicBezTo>
                <a:cubicBezTo>
                  <a:pt x="662" y="1125"/>
                  <a:pt x="661" y="1125"/>
                  <a:pt x="661" y="1126"/>
                </a:cubicBezTo>
                <a:cubicBezTo>
                  <a:pt x="661" y="1126"/>
                  <a:pt x="662" y="1127"/>
                  <a:pt x="662" y="1127"/>
                </a:cubicBezTo>
                <a:cubicBezTo>
                  <a:pt x="663" y="1127"/>
                  <a:pt x="663" y="1126"/>
                  <a:pt x="665" y="1125"/>
                </a:cubicBezTo>
                <a:close/>
                <a:moveTo>
                  <a:pt x="1318" y="1103"/>
                </a:moveTo>
                <a:cubicBezTo>
                  <a:pt x="1318" y="1103"/>
                  <a:pt x="1318" y="1103"/>
                  <a:pt x="1318" y="1103"/>
                </a:cubicBezTo>
                <a:cubicBezTo>
                  <a:pt x="1313" y="1103"/>
                  <a:pt x="1313" y="1103"/>
                  <a:pt x="1313" y="1103"/>
                </a:cubicBezTo>
                <a:cubicBezTo>
                  <a:pt x="1311" y="1104"/>
                  <a:pt x="1310" y="1106"/>
                  <a:pt x="1307" y="1107"/>
                </a:cubicBezTo>
                <a:cubicBezTo>
                  <a:pt x="1306" y="1108"/>
                  <a:pt x="1304" y="1109"/>
                  <a:pt x="1302" y="1109"/>
                </a:cubicBezTo>
                <a:cubicBezTo>
                  <a:pt x="1301" y="1111"/>
                  <a:pt x="1298" y="1112"/>
                  <a:pt x="1297" y="1112"/>
                </a:cubicBezTo>
                <a:cubicBezTo>
                  <a:pt x="1295" y="1113"/>
                  <a:pt x="1293" y="1114"/>
                  <a:pt x="1291" y="1114"/>
                </a:cubicBezTo>
                <a:cubicBezTo>
                  <a:pt x="1291" y="1114"/>
                  <a:pt x="1291" y="1114"/>
                  <a:pt x="1291" y="1124"/>
                </a:cubicBezTo>
                <a:cubicBezTo>
                  <a:pt x="1294" y="1123"/>
                  <a:pt x="1297" y="1123"/>
                  <a:pt x="1300" y="1121"/>
                </a:cubicBezTo>
                <a:cubicBezTo>
                  <a:pt x="1302" y="1120"/>
                  <a:pt x="1304" y="1119"/>
                  <a:pt x="1307" y="1117"/>
                </a:cubicBezTo>
                <a:cubicBezTo>
                  <a:pt x="1307" y="1117"/>
                  <a:pt x="1307" y="1117"/>
                  <a:pt x="1307" y="1176"/>
                </a:cubicBezTo>
                <a:cubicBezTo>
                  <a:pt x="1307" y="1176"/>
                  <a:pt x="1307" y="1176"/>
                  <a:pt x="1318" y="1176"/>
                </a:cubicBezTo>
                <a:cubicBezTo>
                  <a:pt x="1318" y="1176"/>
                  <a:pt x="1318" y="1176"/>
                  <a:pt x="1318" y="1103"/>
                </a:cubicBezTo>
                <a:close/>
                <a:moveTo>
                  <a:pt x="1366" y="1103"/>
                </a:moveTo>
                <a:cubicBezTo>
                  <a:pt x="1366" y="1103"/>
                  <a:pt x="1366" y="1103"/>
                  <a:pt x="1366" y="1103"/>
                </a:cubicBezTo>
                <a:cubicBezTo>
                  <a:pt x="1361" y="1103"/>
                  <a:pt x="1361" y="1103"/>
                  <a:pt x="1361" y="1103"/>
                </a:cubicBezTo>
                <a:cubicBezTo>
                  <a:pt x="1359" y="1104"/>
                  <a:pt x="1357" y="1106"/>
                  <a:pt x="1355" y="1107"/>
                </a:cubicBezTo>
                <a:cubicBezTo>
                  <a:pt x="1353" y="1108"/>
                  <a:pt x="1351" y="1109"/>
                  <a:pt x="1350" y="1109"/>
                </a:cubicBezTo>
                <a:cubicBezTo>
                  <a:pt x="1348" y="1111"/>
                  <a:pt x="1346" y="1112"/>
                  <a:pt x="1344" y="1112"/>
                </a:cubicBezTo>
                <a:cubicBezTo>
                  <a:pt x="1342" y="1113"/>
                  <a:pt x="1341" y="1114"/>
                  <a:pt x="1339" y="1114"/>
                </a:cubicBezTo>
                <a:cubicBezTo>
                  <a:pt x="1339" y="1114"/>
                  <a:pt x="1339" y="1114"/>
                  <a:pt x="1339" y="1124"/>
                </a:cubicBezTo>
                <a:cubicBezTo>
                  <a:pt x="1342" y="1123"/>
                  <a:pt x="1344" y="1123"/>
                  <a:pt x="1347" y="1121"/>
                </a:cubicBezTo>
                <a:cubicBezTo>
                  <a:pt x="1350" y="1120"/>
                  <a:pt x="1352" y="1119"/>
                  <a:pt x="1354" y="1117"/>
                </a:cubicBezTo>
                <a:cubicBezTo>
                  <a:pt x="1354" y="1117"/>
                  <a:pt x="1354" y="1117"/>
                  <a:pt x="1354" y="1176"/>
                </a:cubicBezTo>
                <a:cubicBezTo>
                  <a:pt x="1354" y="1176"/>
                  <a:pt x="1354" y="1176"/>
                  <a:pt x="1366" y="1176"/>
                </a:cubicBezTo>
                <a:cubicBezTo>
                  <a:pt x="1366" y="1176"/>
                  <a:pt x="1366" y="1176"/>
                  <a:pt x="1366" y="1103"/>
                </a:cubicBezTo>
                <a:close/>
                <a:moveTo>
                  <a:pt x="1412" y="1103"/>
                </a:moveTo>
                <a:cubicBezTo>
                  <a:pt x="1412" y="1103"/>
                  <a:pt x="1412" y="1103"/>
                  <a:pt x="1412" y="1103"/>
                </a:cubicBezTo>
                <a:cubicBezTo>
                  <a:pt x="1408" y="1103"/>
                  <a:pt x="1408" y="1103"/>
                  <a:pt x="1408" y="1103"/>
                </a:cubicBezTo>
                <a:cubicBezTo>
                  <a:pt x="1406" y="1104"/>
                  <a:pt x="1404" y="1106"/>
                  <a:pt x="1402" y="1107"/>
                </a:cubicBezTo>
                <a:cubicBezTo>
                  <a:pt x="1401" y="1108"/>
                  <a:pt x="1399" y="1109"/>
                  <a:pt x="1397" y="1109"/>
                </a:cubicBezTo>
                <a:cubicBezTo>
                  <a:pt x="1395" y="1110"/>
                  <a:pt x="1393" y="1111"/>
                  <a:pt x="1391" y="1112"/>
                </a:cubicBezTo>
                <a:cubicBezTo>
                  <a:pt x="1390" y="1112"/>
                  <a:pt x="1388" y="1113"/>
                  <a:pt x="1386" y="1114"/>
                </a:cubicBezTo>
                <a:cubicBezTo>
                  <a:pt x="1386" y="1114"/>
                  <a:pt x="1386" y="1114"/>
                  <a:pt x="1386" y="1124"/>
                </a:cubicBezTo>
                <a:cubicBezTo>
                  <a:pt x="1389" y="1123"/>
                  <a:pt x="1392" y="1122"/>
                  <a:pt x="1394" y="1121"/>
                </a:cubicBezTo>
                <a:cubicBezTo>
                  <a:pt x="1396" y="1120"/>
                  <a:pt x="1399" y="1119"/>
                  <a:pt x="1401" y="1117"/>
                </a:cubicBezTo>
                <a:cubicBezTo>
                  <a:pt x="1401" y="1117"/>
                  <a:pt x="1401" y="1117"/>
                  <a:pt x="1401" y="1176"/>
                </a:cubicBezTo>
                <a:cubicBezTo>
                  <a:pt x="1401" y="1176"/>
                  <a:pt x="1401" y="1176"/>
                  <a:pt x="1412" y="1176"/>
                </a:cubicBezTo>
                <a:cubicBezTo>
                  <a:pt x="1412" y="1176"/>
                  <a:pt x="1412" y="1176"/>
                  <a:pt x="1412" y="1103"/>
                </a:cubicBezTo>
                <a:close/>
                <a:moveTo>
                  <a:pt x="47" y="1102"/>
                </a:moveTo>
                <a:cubicBezTo>
                  <a:pt x="47" y="1102"/>
                  <a:pt x="47" y="1102"/>
                  <a:pt x="47" y="1102"/>
                </a:cubicBezTo>
                <a:cubicBezTo>
                  <a:pt x="42" y="1102"/>
                  <a:pt x="42" y="1102"/>
                  <a:pt x="42" y="1102"/>
                </a:cubicBezTo>
                <a:cubicBezTo>
                  <a:pt x="40" y="1103"/>
                  <a:pt x="38" y="1105"/>
                  <a:pt x="36" y="1106"/>
                </a:cubicBezTo>
                <a:cubicBezTo>
                  <a:pt x="35" y="1107"/>
                  <a:pt x="32" y="1108"/>
                  <a:pt x="31" y="1109"/>
                </a:cubicBezTo>
                <a:cubicBezTo>
                  <a:pt x="29" y="1110"/>
                  <a:pt x="27" y="1111"/>
                  <a:pt x="26" y="1111"/>
                </a:cubicBezTo>
                <a:cubicBezTo>
                  <a:pt x="24" y="1112"/>
                  <a:pt x="22" y="1113"/>
                  <a:pt x="20" y="1113"/>
                </a:cubicBezTo>
                <a:cubicBezTo>
                  <a:pt x="20" y="1113"/>
                  <a:pt x="20" y="1113"/>
                  <a:pt x="20" y="1123"/>
                </a:cubicBezTo>
                <a:cubicBezTo>
                  <a:pt x="23" y="1122"/>
                  <a:pt x="26" y="1122"/>
                  <a:pt x="28" y="1120"/>
                </a:cubicBezTo>
                <a:cubicBezTo>
                  <a:pt x="31" y="1119"/>
                  <a:pt x="33" y="1118"/>
                  <a:pt x="35" y="1117"/>
                </a:cubicBezTo>
                <a:cubicBezTo>
                  <a:pt x="35" y="1117"/>
                  <a:pt x="35" y="1117"/>
                  <a:pt x="35" y="1175"/>
                </a:cubicBezTo>
                <a:cubicBezTo>
                  <a:pt x="35" y="1175"/>
                  <a:pt x="35" y="1175"/>
                  <a:pt x="47" y="1175"/>
                </a:cubicBezTo>
                <a:cubicBezTo>
                  <a:pt x="47" y="1175"/>
                  <a:pt x="47" y="1175"/>
                  <a:pt x="47" y="1102"/>
                </a:cubicBezTo>
                <a:close/>
                <a:moveTo>
                  <a:pt x="2026" y="2177"/>
                </a:moveTo>
                <a:cubicBezTo>
                  <a:pt x="2019" y="2177"/>
                  <a:pt x="2012" y="2174"/>
                  <a:pt x="2008" y="2168"/>
                </a:cubicBezTo>
                <a:cubicBezTo>
                  <a:pt x="2004" y="2162"/>
                  <a:pt x="2002" y="2153"/>
                  <a:pt x="2002" y="2141"/>
                </a:cubicBezTo>
                <a:cubicBezTo>
                  <a:pt x="2002" y="2128"/>
                  <a:pt x="2004" y="2118"/>
                  <a:pt x="2009" y="2112"/>
                </a:cubicBezTo>
                <a:cubicBezTo>
                  <a:pt x="2013" y="2105"/>
                  <a:pt x="2019" y="2101"/>
                  <a:pt x="2028" y="2101"/>
                </a:cubicBezTo>
                <a:cubicBezTo>
                  <a:pt x="2044" y="2101"/>
                  <a:pt x="2052" y="2114"/>
                  <a:pt x="2052" y="2139"/>
                </a:cubicBezTo>
                <a:cubicBezTo>
                  <a:pt x="2052" y="2152"/>
                  <a:pt x="2050" y="2161"/>
                  <a:pt x="2045" y="2168"/>
                </a:cubicBezTo>
                <a:cubicBezTo>
                  <a:pt x="2041" y="2174"/>
                  <a:pt x="2034" y="2177"/>
                  <a:pt x="2026" y="2177"/>
                </a:cubicBezTo>
                <a:close/>
                <a:moveTo>
                  <a:pt x="2027" y="2111"/>
                </a:moveTo>
                <a:cubicBezTo>
                  <a:pt x="2018" y="2111"/>
                  <a:pt x="2014" y="2121"/>
                  <a:pt x="2014" y="2141"/>
                </a:cubicBezTo>
                <a:cubicBezTo>
                  <a:pt x="2014" y="2159"/>
                  <a:pt x="2018" y="2168"/>
                  <a:pt x="2027" y="2168"/>
                </a:cubicBezTo>
                <a:cubicBezTo>
                  <a:pt x="2036" y="2168"/>
                  <a:pt x="2040" y="2159"/>
                  <a:pt x="2040" y="2140"/>
                </a:cubicBezTo>
                <a:cubicBezTo>
                  <a:pt x="2040" y="2120"/>
                  <a:pt x="2036" y="2111"/>
                  <a:pt x="2027" y="2111"/>
                </a:cubicBezTo>
                <a:close/>
                <a:moveTo>
                  <a:pt x="2100" y="2104"/>
                </a:moveTo>
                <a:cubicBezTo>
                  <a:pt x="2100" y="2104"/>
                  <a:pt x="2100" y="2104"/>
                  <a:pt x="2100" y="2104"/>
                </a:cubicBezTo>
                <a:cubicBezTo>
                  <a:pt x="2095" y="2104"/>
                  <a:pt x="2095" y="2104"/>
                  <a:pt x="2095" y="2104"/>
                </a:cubicBezTo>
                <a:cubicBezTo>
                  <a:pt x="2093" y="2105"/>
                  <a:pt x="2091" y="2107"/>
                  <a:pt x="2089" y="2107"/>
                </a:cubicBezTo>
                <a:cubicBezTo>
                  <a:pt x="2088" y="2109"/>
                  <a:pt x="2085" y="2110"/>
                  <a:pt x="2084" y="2110"/>
                </a:cubicBezTo>
                <a:cubicBezTo>
                  <a:pt x="2082" y="2111"/>
                  <a:pt x="2080" y="2112"/>
                  <a:pt x="2079" y="2112"/>
                </a:cubicBezTo>
                <a:cubicBezTo>
                  <a:pt x="2077" y="2113"/>
                  <a:pt x="2075" y="2114"/>
                  <a:pt x="2073" y="2115"/>
                </a:cubicBezTo>
                <a:cubicBezTo>
                  <a:pt x="2073" y="2115"/>
                  <a:pt x="2073" y="2115"/>
                  <a:pt x="2073" y="2125"/>
                </a:cubicBezTo>
                <a:cubicBezTo>
                  <a:pt x="2076" y="2124"/>
                  <a:pt x="2079" y="2123"/>
                  <a:pt x="2081" y="2122"/>
                </a:cubicBezTo>
                <a:cubicBezTo>
                  <a:pt x="2084" y="2121"/>
                  <a:pt x="2086" y="2120"/>
                  <a:pt x="2088" y="2118"/>
                </a:cubicBezTo>
                <a:cubicBezTo>
                  <a:pt x="2088" y="2118"/>
                  <a:pt x="2088" y="2118"/>
                  <a:pt x="2088" y="2177"/>
                </a:cubicBezTo>
                <a:cubicBezTo>
                  <a:pt x="2088" y="2177"/>
                  <a:pt x="2088" y="2177"/>
                  <a:pt x="2100" y="2177"/>
                </a:cubicBezTo>
                <a:cubicBezTo>
                  <a:pt x="2100" y="2177"/>
                  <a:pt x="2100" y="2177"/>
                  <a:pt x="2100" y="2104"/>
                </a:cubicBezTo>
                <a:close/>
                <a:moveTo>
                  <a:pt x="2147" y="2104"/>
                </a:moveTo>
                <a:cubicBezTo>
                  <a:pt x="2147" y="2104"/>
                  <a:pt x="2147" y="2104"/>
                  <a:pt x="2147" y="2104"/>
                </a:cubicBezTo>
                <a:cubicBezTo>
                  <a:pt x="2142" y="2104"/>
                  <a:pt x="2142" y="2104"/>
                  <a:pt x="2142" y="2104"/>
                </a:cubicBezTo>
                <a:cubicBezTo>
                  <a:pt x="2140" y="2105"/>
                  <a:pt x="2138" y="2107"/>
                  <a:pt x="2136" y="2107"/>
                </a:cubicBezTo>
                <a:cubicBezTo>
                  <a:pt x="2135" y="2109"/>
                  <a:pt x="2133" y="2110"/>
                  <a:pt x="2131" y="2110"/>
                </a:cubicBezTo>
                <a:cubicBezTo>
                  <a:pt x="2130" y="2112"/>
                  <a:pt x="2128" y="2112"/>
                  <a:pt x="2126" y="2113"/>
                </a:cubicBezTo>
                <a:cubicBezTo>
                  <a:pt x="2124" y="2114"/>
                  <a:pt x="2123" y="2115"/>
                  <a:pt x="2120" y="2115"/>
                </a:cubicBezTo>
                <a:cubicBezTo>
                  <a:pt x="2120" y="2115"/>
                  <a:pt x="2120" y="2115"/>
                  <a:pt x="2120" y="2125"/>
                </a:cubicBezTo>
                <a:cubicBezTo>
                  <a:pt x="2123" y="2124"/>
                  <a:pt x="2126" y="2123"/>
                  <a:pt x="2128" y="2122"/>
                </a:cubicBezTo>
                <a:cubicBezTo>
                  <a:pt x="2131" y="2121"/>
                  <a:pt x="2133" y="2120"/>
                  <a:pt x="2135" y="2118"/>
                </a:cubicBezTo>
                <a:cubicBezTo>
                  <a:pt x="2135" y="2118"/>
                  <a:pt x="2135" y="2118"/>
                  <a:pt x="2135" y="2177"/>
                </a:cubicBezTo>
                <a:cubicBezTo>
                  <a:pt x="2135" y="2177"/>
                  <a:pt x="2135" y="2177"/>
                  <a:pt x="2147" y="2177"/>
                </a:cubicBezTo>
                <a:cubicBezTo>
                  <a:pt x="2147" y="2177"/>
                  <a:pt x="2147" y="2177"/>
                  <a:pt x="2147" y="2104"/>
                </a:cubicBezTo>
                <a:close/>
                <a:moveTo>
                  <a:pt x="2193" y="2104"/>
                </a:moveTo>
                <a:cubicBezTo>
                  <a:pt x="2193" y="2104"/>
                  <a:pt x="2193" y="2104"/>
                  <a:pt x="2193" y="2104"/>
                </a:cubicBezTo>
                <a:cubicBezTo>
                  <a:pt x="2189" y="2104"/>
                  <a:pt x="2189" y="2104"/>
                  <a:pt x="2189" y="2104"/>
                </a:cubicBezTo>
                <a:cubicBezTo>
                  <a:pt x="2187" y="2105"/>
                  <a:pt x="2186" y="2107"/>
                  <a:pt x="2183" y="2107"/>
                </a:cubicBezTo>
                <a:cubicBezTo>
                  <a:pt x="2182" y="2109"/>
                  <a:pt x="2180" y="2110"/>
                  <a:pt x="2178" y="2110"/>
                </a:cubicBezTo>
                <a:cubicBezTo>
                  <a:pt x="2176" y="2112"/>
                  <a:pt x="2175" y="2112"/>
                  <a:pt x="2173" y="2113"/>
                </a:cubicBezTo>
                <a:cubicBezTo>
                  <a:pt x="2171" y="2114"/>
                  <a:pt x="2169" y="2115"/>
                  <a:pt x="2168" y="2115"/>
                </a:cubicBezTo>
                <a:cubicBezTo>
                  <a:pt x="2168" y="2115"/>
                  <a:pt x="2168" y="2115"/>
                  <a:pt x="2168" y="2125"/>
                </a:cubicBezTo>
                <a:cubicBezTo>
                  <a:pt x="2170" y="2124"/>
                  <a:pt x="2173" y="2123"/>
                  <a:pt x="2175" y="2122"/>
                </a:cubicBezTo>
                <a:cubicBezTo>
                  <a:pt x="2178" y="2121"/>
                  <a:pt x="2180" y="2120"/>
                  <a:pt x="2182" y="2118"/>
                </a:cubicBezTo>
                <a:cubicBezTo>
                  <a:pt x="2182" y="2118"/>
                  <a:pt x="2182" y="2118"/>
                  <a:pt x="2182" y="2177"/>
                </a:cubicBezTo>
                <a:cubicBezTo>
                  <a:pt x="2182" y="2177"/>
                  <a:pt x="2182" y="2177"/>
                  <a:pt x="2193" y="2177"/>
                </a:cubicBezTo>
                <a:cubicBezTo>
                  <a:pt x="2193" y="2177"/>
                  <a:pt x="2193" y="2177"/>
                  <a:pt x="2193" y="2104"/>
                </a:cubicBezTo>
                <a:close/>
                <a:moveTo>
                  <a:pt x="2241" y="2104"/>
                </a:moveTo>
                <a:cubicBezTo>
                  <a:pt x="2241" y="2104"/>
                  <a:pt x="2241" y="2104"/>
                  <a:pt x="2241" y="2104"/>
                </a:cubicBezTo>
                <a:cubicBezTo>
                  <a:pt x="2236" y="2104"/>
                  <a:pt x="2236" y="2104"/>
                  <a:pt x="2236" y="2104"/>
                </a:cubicBezTo>
                <a:cubicBezTo>
                  <a:pt x="2234" y="2105"/>
                  <a:pt x="2232" y="2107"/>
                  <a:pt x="2230" y="2107"/>
                </a:cubicBezTo>
                <a:cubicBezTo>
                  <a:pt x="2228" y="2109"/>
                  <a:pt x="2227" y="2110"/>
                  <a:pt x="2225" y="2110"/>
                </a:cubicBezTo>
                <a:cubicBezTo>
                  <a:pt x="2223" y="2112"/>
                  <a:pt x="2221" y="2112"/>
                  <a:pt x="2220" y="2113"/>
                </a:cubicBezTo>
                <a:cubicBezTo>
                  <a:pt x="2217" y="2114"/>
                  <a:pt x="2216" y="2115"/>
                  <a:pt x="2214" y="2115"/>
                </a:cubicBezTo>
                <a:cubicBezTo>
                  <a:pt x="2214" y="2115"/>
                  <a:pt x="2214" y="2115"/>
                  <a:pt x="2214" y="2125"/>
                </a:cubicBezTo>
                <a:cubicBezTo>
                  <a:pt x="2217" y="2124"/>
                  <a:pt x="2220" y="2123"/>
                  <a:pt x="2222" y="2122"/>
                </a:cubicBezTo>
                <a:cubicBezTo>
                  <a:pt x="2225" y="2121"/>
                  <a:pt x="2227" y="2120"/>
                  <a:pt x="2229" y="2118"/>
                </a:cubicBezTo>
                <a:cubicBezTo>
                  <a:pt x="2229" y="2118"/>
                  <a:pt x="2229" y="2118"/>
                  <a:pt x="2229" y="2177"/>
                </a:cubicBezTo>
                <a:cubicBezTo>
                  <a:pt x="2229" y="2177"/>
                  <a:pt x="2229" y="2177"/>
                  <a:pt x="2241" y="2177"/>
                </a:cubicBezTo>
                <a:cubicBezTo>
                  <a:pt x="2241" y="2177"/>
                  <a:pt x="2241" y="2177"/>
                  <a:pt x="2241" y="2104"/>
                </a:cubicBezTo>
                <a:close/>
                <a:moveTo>
                  <a:pt x="2364" y="2104"/>
                </a:moveTo>
                <a:cubicBezTo>
                  <a:pt x="2364" y="2104"/>
                  <a:pt x="2364" y="2104"/>
                  <a:pt x="2364" y="2104"/>
                </a:cubicBezTo>
                <a:cubicBezTo>
                  <a:pt x="2359" y="2104"/>
                  <a:pt x="2359" y="2104"/>
                  <a:pt x="2359" y="2104"/>
                </a:cubicBezTo>
                <a:cubicBezTo>
                  <a:pt x="2357" y="2105"/>
                  <a:pt x="2355" y="2107"/>
                  <a:pt x="2353" y="2107"/>
                </a:cubicBezTo>
                <a:cubicBezTo>
                  <a:pt x="2352" y="2109"/>
                  <a:pt x="2350" y="2110"/>
                  <a:pt x="2348" y="2110"/>
                </a:cubicBezTo>
                <a:cubicBezTo>
                  <a:pt x="2346" y="2112"/>
                  <a:pt x="2344" y="2112"/>
                  <a:pt x="2343" y="2113"/>
                </a:cubicBezTo>
                <a:cubicBezTo>
                  <a:pt x="2341" y="2114"/>
                  <a:pt x="2339" y="2115"/>
                  <a:pt x="2337" y="2115"/>
                </a:cubicBezTo>
                <a:cubicBezTo>
                  <a:pt x="2337" y="2115"/>
                  <a:pt x="2337" y="2115"/>
                  <a:pt x="2337" y="2125"/>
                </a:cubicBezTo>
                <a:cubicBezTo>
                  <a:pt x="2340" y="2124"/>
                  <a:pt x="2343" y="2123"/>
                  <a:pt x="2346" y="2122"/>
                </a:cubicBezTo>
                <a:cubicBezTo>
                  <a:pt x="2348" y="2121"/>
                  <a:pt x="2350" y="2120"/>
                  <a:pt x="2352" y="2118"/>
                </a:cubicBezTo>
                <a:cubicBezTo>
                  <a:pt x="2352" y="2118"/>
                  <a:pt x="2352" y="2118"/>
                  <a:pt x="2352" y="2177"/>
                </a:cubicBezTo>
                <a:cubicBezTo>
                  <a:pt x="2352" y="2177"/>
                  <a:pt x="2352" y="2177"/>
                  <a:pt x="2364" y="2177"/>
                </a:cubicBezTo>
                <a:cubicBezTo>
                  <a:pt x="2364" y="2177"/>
                  <a:pt x="2364" y="2177"/>
                  <a:pt x="2364" y="2104"/>
                </a:cubicBezTo>
                <a:close/>
                <a:moveTo>
                  <a:pt x="2411" y="2104"/>
                </a:moveTo>
                <a:cubicBezTo>
                  <a:pt x="2411" y="2104"/>
                  <a:pt x="2411" y="2104"/>
                  <a:pt x="2411" y="2104"/>
                </a:cubicBezTo>
                <a:cubicBezTo>
                  <a:pt x="2406" y="2104"/>
                  <a:pt x="2406" y="2104"/>
                  <a:pt x="2406" y="2104"/>
                </a:cubicBezTo>
                <a:cubicBezTo>
                  <a:pt x="2404" y="2105"/>
                  <a:pt x="2403" y="2107"/>
                  <a:pt x="2400" y="2107"/>
                </a:cubicBezTo>
                <a:cubicBezTo>
                  <a:pt x="2399" y="2109"/>
                  <a:pt x="2397" y="2110"/>
                  <a:pt x="2395" y="2110"/>
                </a:cubicBezTo>
                <a:cubicBezTo>
                  <a:pt x="2394" y="2112"/>
                  <a:pt x="2392" y="2112"/>
                  <a:pt x="2390" y="2113"/>
                </a:cubicBezTo>
                <a:cubicBezTo>
                  <a:pt x="2388" y="2114"/>
                  <a:pt x="2387" y="2115"/>
                  <a:pt x="2384" y="2115"/>
                </a:cubicBezTo>
                <a:cubicBezTo>
                  <a:pt x="2384" y="2115"/>
                  <a:pt x="2384" y="2115"/>
                  <a:pt x="2384" y="2125"/>
                </a:cubicBezTo>
                <a:cubicBezTo>
                  <a:pt x="2387" y="2124"/>
                  <a:pt x="2390" y="2123"/>
                  <a:pt x="2392" y="2122"/>
                </a:cubicBezTo>
                <a:cubicBezTo>
                  <a:pt x="2395" y="2121"/>
                  <a:pt x="2398" y="2120"/>
                  <a:pt x="2400" y="2118"/>
                </a:cubicBezTo>
                <a:cubicBezTo>
                  <a:pt x="2400" y="2118"/>
                  <a:pt x="2400" y="2118"/>
                  <a:pt x="2400" y="2177"/>
                </a:cubicBezTo>
                <a:cubicBezTo>
                  <a:pt x="2400" y="2177"/>
                  <a:pt x="2400" y="2177"/>
                  <a:pt x="2411" y="2177"/>
                </a:cubicBezTo>
                <a:cubicBezTo>
                  <a:pt x="2411" y="2177"/>
                  <a:pt x="2411" y="2177"/>
                  <a:pt x="2411" y="2104"/>
                </a:cubicBezTo>
                <a:close/>
                <a:moveTo>
                  <a:pt x="2459" y="2104"/>
                </a:moveTo>
                <a:cubicBezTo>
                  <a:pt x="2459" y="2104"/>
                  <a:pt x="2459" y="2104"/>
                  <a:pt x="2459" y="2104"/>
                </a:cubicBezTo>
                <a:cubicBezTo>
                  <a:pt x="2454" y="2104"/>
                  <a:pt x="2454" y="2104"/>
                  <a:pt x="2454" y="2104"/>
                </a:cubicBezTo>
                <a:cubicBezTo>
                  <a:pt x="2452" y="2105"/>
                  <a:pt x="2450" y="2107"/>
                  <a:pt x="2449" y="2107"/>
                </a:cubicBezTo>
                <a:cubicBezTo>
                  <a:pt x="2447" y="2109"/>
                  <a:pt x="2445" y="2110"/>
                  <a:pt x="2443" y="2110"/>
                </a:cubicBezTo>
                <a:cubicBezTo>
                  <a:pt x="2441" y="2112"/>
                  <a:pt x="2439" y="2112"/>
                  <a:pt x="2438" y="2113"/>
                </a:cubicBezTo>
                <a:cubicBezTo>
                  <a:pt x="2436" y="2114"/>
                  <a:pt x="2434" y="2115"/>
                  <a:pt x="2432" y="2115"/>
                </a:cubicBezTo>
                <a:cubicBezTo>
                  <a:pt x="2432" y="2115"/>
                  <a:pt x="2432" y="2115"/>
                  <a:pt x="2432" y="2125"/>
                </a:cubicBezTo>
                <a:cubicBezTo>
                  <a:pt x="2435" y="2124"/>
                  <a:pt x="2438" y="2123"/>
                  <a:pt x="2441" y="2122"/>
                </a:cubicBezTo>
                <a:cubicBezTo>
                  <a:pt x="2443" y="2121"/>
                  <a:pt x="2445" y="2120"/>
                  <a:pt x="2447" y="2118"/>
                </a:cubicBezTo>
                <a:cubicBezTo>
                  <a:pt x="2447" y="2118"/>
                  <a:pt x="2447" y="2118"/>
                  <a:pt x="2447" y="2177"/>
                </a:cubicBezTo>
                <a:cubicBezTo>
                  <a:pt x="2447" y="2177"/>
                  <a:pt x="2447" y="2177"/>
                  <a:pt x="2459" y="2177"/>
                </a:cubicBezTo>
                <a:cubicBezTo>
                  <a:pt x="2459" y="2177"/>
                  <a:pt x="2459" y="2177"/>
                  <a:pt x="2459" y="2104"/>
                </a:cubicBezTo>
                <a:close/>
                <a:moveTo>
                  <a:pt x="2505" y="2104"/>
                </a:moveTo>
                <a:cubicBezTo>
                  <a:pt x="2505" y="2104"/>
                  <a:pt x="2505" y="2104"/>
                  <a:pt x="2505" y="2104"/>
                </a:cubicBezTo>
                <a:cubicBezTo>
                  <a:pt x="2501" y="2104"/>
                  <a:pt x="2501" y="2104"/>
                  <a:pt x="2501" y="2104"/>
                </a:cubicBezTo>
                <a:cubicBezTo>
                  <a:pt x="2499" y="2105"/>
                  <a:pt x="2498" y="2107"/>
                  <a:pt x="2495" y="2107"/>
                </a:cubicBezTo>
                <a:cubicBezTo>
                  <a:pt x="2494" y="2109"/>
                  <a:pt x="2492" y="2110"/>
                  <a:pt x="2490" y="2110"/>
                </a:cubicBezTo>
                <a:cubicBezTo>
                  <a:pt x="2488" y="2111"/>
                  <a:pt x="2487" y="2112"/>
                  <a:pt x="2485" y="2112"/>
                </a:cubicBezTo>
                <a:cubicBezTo>
                  <a:pt x="2483" y="2113"/>
                  <a:pt x="2481" y="2114"/>
                  <a:pt x="2480" y="2115"/>
                </a:cubicBezTo>
                <a:cubicBezTo>
                  <a:pt x="2480" y="2115"/>
                  <a:pt x="2480" y="2115"/>
                  <a:pt x="2480" y="2125"/>
                </a:cubicBezTo>
                <a:cubicBezTo>
                  <a:pt x="2482" y="2124"/>
                  <a:pt x="2485" y="2123"/>
                  <a:pt x="2487" y="2122"/>
                </a:cubicBezTo>
                <a:cubicBezTo>
                  <a:pt x="2490" y="2121"/>
                  <a:pt x="2492" y="2120"/>
                  <a:pt x="2494" y="2118"/>
                </a:cubicBezTo>
                <a:cubicBezTo>
                  <a:pt x="2494" y="2118"/>
                  <a:pt x="2494" y="2118"/>
                  <a:pt x="2494" y="2177"/>
                </a:cubicBezTo>
                <a:cubicBezTo>
                  <a:pt x="2494" y="2177"/>
                  <a:pt x="2494" y="2177"/>
                  <a:pt x="2505" y="2177"/>
                </a:cubicBezTo>
                <a:cubicBezTo>
                  <a:pt x="2505" y="2177"/>
                  <a:pt x="2505" y="2177"/>
                  <a:pt x="2505" y="2104"/>
                </a:cubicBezTo>
                <a:close/>
                <a:moveTo>
                  <a:pt x="2262" y="2136"/>
                </a:moveTo>
                <a:cubicBezTo>
                  <a:pt x="2262" y="2136"/>
                  <a:pt x="2262" y="2136"/>
                  <a:pt x="2262" y="2136"/>
                </a:cubicBezTo>
                <a:cubicBezTo>
                  <a:pt x="2261" y="2144"/>
                  <a:pt x="2261" y="2144"/>
                  <a:pt x="2261" y="2144"/>
                </a:cubicBezTo>
                <a:cubicBezTo>
                  <a:pt x="2268" y="2145"/>
                  <a:pt x="2268" y="2148"/>
                  <a:pt x="2268" y="2150"/>
                </a:cubicBezTo>
                <a:cubicBezTo>
                  <a:pt x="2268" y="2152"/>
                  <a:pt x="2268" y="2155"/>
                  <a:pt x="2268" y="2157"/>
                </a:cubicBezTo>
                <a:cubicBezTo>
                  <a:pt x="2268" y="2160"/>
                  <a:pt x="2267" y="2162"/>
                  <a:pt x="2267" y="2164"/>
                </a:cubicBezTo>
                <a:cubicBezTo>
                  <a:pt x="2267" y="2174"/>
                  <a:pt x="2273" y="2177"/>
                  <a:pt x="2282" y="2177"/>
                </a:cubicBezTo>
                <a:cubicBezTo>
                  <a:pt x="2282" y="2177"/>
                  <a:pt x="2282" y="2177"/>
                  <a:pt x="2286" y="2177"/>
                </a:cubicBezTo>
                <a:cubicBezTo>
                  <a:pt x="2286" y="2177"/>
                  <a:pt x="2286" y="2177"/>
                  <a:pt x="2286" y="2168"/>
                </a:cubicBezTo>
                <a:cubicBezTo>
                  <a:pt x="2286" y="2168"/>
                  <a:pt x="2286" y="2168"/>
                  <a:pt x="2284" y="2168"/>
                </a:cubicBezTo>
                <a:cubicBezTo>
                  <a:pt x="2280" y="2168"/>
                  <a:pt x="2279" y="2166"/>
                  <a:pt x="2279" y="2162"/>
                </a:cubicBezTo>
                <a:cubicBezTo>
                  <a:pt x="2279" y="2161"/>
                  <a:pt x="2279" y="2159"/>
                  <a:pt x="2280" y="2157"/>
                </a:cubicBezTo>
                <a:cubicBezTo>
                  <a:pt x="2280" y="2156"/>
                  <a:pt x="2280" y="2154"/>
                  <a:pt x="2280" y="2151"/>
                </a:cubicBezTo>
                <a:cubicBezTo>
                  <a:pt x="2280" y="2144"/>
                  <a:pt x="2277" y="2141"/>
                  <a:pt x="2271" y="2140"/>
                </a:cubicBezTo>
                <a:cubicBezTo>
                  <a:pt x="2271" y="2140"/>
                  <a:pt x="2271" y="2140"/>
                  <a:pt x="2271" y="2140"/>
                </a:cubicBezTo>
                <a:cubicBezTo>
                  <a:pt x="2277" y="2139"/>
                  <a:pt x="2280" y="2136"/>
                  <a:pt x="2280" y="2129"/>
                </a:cubicBezTo>
                <a:cubicBezTo>
                  <a:pt x="2280" y="2126"/>
                  <a:pt x="2280" y="2124"/>
                  <a:pt x="2280" y="2123"/>
                </a:cubicBezTo>
                <a:cubicBezTo>
                  <a:pt x="2279" y="2121"/>
                  <a:pt x="2279" y="2119"/>
                  <a:pt x="2279" y="2118"/>
                </a:cubicBezTo>
                <a:cubicBezTo>
                  <a:pt x="2279" y="2114"/>
                  <a:pt x="2280" y="2112"/>
                  <a:pt x="2284" y="2112"/>
                </a:cubicBezTo>
                <a:cubicBezTo>
                  <a:pt x="2284" y="2112"/>
                  <a:pt x="2284" y="2112"/>
                  <a:pt x="2286" y="2112"/>
                </a:cubicBezTo>
                <a:cubicBezTo>
                  <a:pt x="2286" y="2112"/>
                  <a:pt x="2286" y="2112"/>
                  <a:pt x="2286" y="2103"/>
                </a:cubicBezTo>
                <a:cubicBezTo>
                  <a:pt x="2286" y="2103"/>
                  <a:pt x="2286" y="2103"/>
                  <a:pt x="2282" y="2103"/>
                </a:cubicBezTo>
                <a:cubicBezTo>
                  <a:pt x="2273" y="2103"/>
                  <a:pt x="2267" y="2107"/>
                  <a:pt x="2267" y="2115"/>
                </a:cubicBezTo>
                <a:cubicBezTo>
                  <a:pt x="2267" y="2118"/>
                  <a:pt x="2268" y="2120"/>
                  <a:pt x="2268" y="2123"/>
                </a:cubicBezTo>
                <a:cubicBezTo>
                  <a:pt x="2268" y="2125"/>
                  <a:pt x="2268" y="2128"/>
                  <a:pt x="2268" y="2130"/>
                </a:cubicBezTo>
                <a:cubicBezTo>
                  <a:pt x="2268" y="2132"/>
                  <a:pt x="2268" y="2136"/>
                  <a:pt x="2262" y="2136"/>
                </a:cubicBezTo>
                <a:close/>
                <a:moveTo>
                  <a:pt x="2316" y="2144"/>
                </a:moveTo>
                <a:cubicBezTo>
                  <a:pt x="2316" y="2144"/>
                  <a:pt x="2316" y="2144"/>
                  <a:pt x="2316" y="2144"/>
                </a:cubicBezTo>
                <a:cubicBezTo>
                  <a:pt x="2316" y="2136"/>
                  <a:pt x="2316" y="2136"/>
                  <a:pt x="2316" y="2136"/>
                </a:cubicBezTo>
                <a:cubicBezTo>
                  <a:pt x="2310" y="2136"/>
                  <a:pt x="2310" y="2132"/>
                  <a:pt x="2310" y="2130"/>
                </a:cubicBezTo>
                <a:cubicBezTo>
                  <a:pt x="2310" y="2128"/>
                  <a:pt x="2310" y="2125"/>
                  <a:pt x="2310" y="2123"/>
                </a:cubicBezTo>
                <a:cubicBezTo>
                  <a:pt x="2310" y="2120"/>
                  <a:pt x="2310" y="2118"/>
                  <a:pt x="2310" y="2115"/>
                </a:cubicBezTo>
                <a:cubicBezTo>
                  <a:pt x="2310" y="2107"/>
                  <a:pt x="2305" y="2103"/>
                  <a:pt x="2296" y="2103"/>
                </a:cubicBezTo>
                <a:cubicBezTo>
                  <a:pt x="2296" y="2103"/>
                  <a:pt x="2296" y="2103"/>
                  <a:pt x="2292" y="2103"/>
                </a:cubicBezTo>
                <a:cubicBezTo>
                  <a:pt x="2292" y="2103"/>
                  <a:pt x="2292" y="2103"/>
                  <a:pt x="2292" y="2112"/>
                </a:cubicBezTo>
                <a:cubicBezTo>
                  <a:pt x="2292" y="2112"/>
                  <a:pt x="2292" y="2112"/>
                  <a:pt x="2294" y="2112"/>
                </a:cubicBezTo>
                <a:cubicBezTo>
                  <a:pt x="2298" y="2112"/>
                  <a:pt x="2299" y="2114"/>
                  <a:pt x="2299" y="2118"/>
                </a:cubicBezTo>
                <a:cubicBezTo>
                  <a:pt x="2299" y="2119"/>
                  <a:pt x="2299" y="2121"/>
                  <a:pt x="2299" y="2123"/>
                </a:cubicBezTo>
                <a:cubicBezTo>
                  <a:pt x="2298" y="2124"/>
                  <a:pt x="2298" y="2126"/>
                  <a:pt x="2298" y="2129"/>
                </a:cubicBezTo>
                <a:cubicBezTo>
                  <a:pt x="2298" y="2136"/>
                  <a:pt x="2301" y="2139"/>
                  <a:pt x="2307" y="2140"/>
                </a:cubicBezTo>
                <a:cubicBezTo>
                  <a:pt x="2307" y="2140"/>
                  <a:pt x="2307" y="2140"/>
                  <a:pt x="2307" y="2140"/>
                </a:cubicBezTo>
                <a:cubicBezTo>
                  <a:pt x="2301" y="2141"/>
                  <a:pt x="2298" y="2144"/>
                  <a:pt x="2298" y="2151"/>
                </a:cubicBezTo>
                <a:cubicBezTo>
                  <a:pt x="2298" y="2154"/>
                  <a:pt x="2298" y="2156"/>
                  <a:pt x="2299" y="2157"/>
                </a:cubicBezTo>
                <a:cubicBezTo>
                  <a:pt x="2299" y="2159"/>
                  <a:pt x="2299" y="2161"/>
                  <a:pt x="2299" y="2162"/>
                </a:cubicBezTo>
                <a:cubicBezTo>
                  <a:pt x="2299" y="2166"/>
                  <a:pt x="2298" y="2168"/>
                  <a:pt x="2294" y="2168"/>
                </a:cubicBezTo>
                <a:cubicBezTo>
                  <a:pt x="2294" y="2168"/>
                  <a:pt x="2294" y="2168"/>
                  <a:pt x="2292" y="2168"/>
                </a:cubicBezTo>
                <a:cubicBezTo>
                  <a:pt x="2292" y="2168"/>
                  <a:pt x="2292" y="2168"/>
                  <a:pt x="2292" y="2177"/>
                </a:cubicBezTo>
                <a:cubicBezTo>
                  <a:pt x="2292" y="2177"/>
                  <a:pt x="2292" y="2177"/>
                  <a:pt x="2296" y="2177"/>
                </a:cubicBezTo>
                <a:cubicBezTo>
                  <a:pt x="2305" y="2177"/>
                  <a:pt x="2310" y="2174"/>
                  <a:pt x="2310" y="2164"/>
                </a:cubicBezTo>
                <a:cubicBezTo>
                  <a:pt x="2310" y="2162"/>
                  <a:pt x="2310" y="2160"/>
                  <a:pt x="2310" y="2157"/>
                </a:cubicBezTo>
                <a:cubicBezTo>
                  <a:pt x="2310" y="2155"/>
                  <a:pt x="2310" y="2152"/>
                  <a:pt x="2310" y="2150"/>
                </a:cubicBezTo>
                <a:cubicBezTo>
                  <a:pt x="2310" y="2148"/>
                  <a:pt x="2310" y="2145"/>
                  <a:pt x="2316" y="2144"/>
                </a:cubicBezTo>
                <a:close/>
                <a:moveTo>
                  <a:pt x="2644" y="2136"/>
                </a:moveTo>
                <a:cubicBezTo>
                  <a:pt x="2644" y="2136"/>
                  <a:pt x="2644" y="2136"/>
                  <a:pt x="2644" y="2136"/>
                </a:cubicBezTo>
                <a:cubicBezTo>
                  <a:pt x="2643" y="2144"/>
                  <a:pt x="2643" y="2144"/>
                  <a:pt x="2643" y="2144"/>
                </a:cubicBezTo>
                <a:cubicBezTo>
                  <a:pt x="2649" y="2145"/>
                  <a:pt x="2650" y="2148"/>
                  <a:pt x="2650" y="2150"/>
                </a:cubicBezTo>
                <a:cubicBezTo>
                  <a:pt x="2650" y="2152"/>
                  <a:pt x="2650" y="2155"/>
                  <a:pt x="2650" y="2157"/>
                </a:cubicBezTo>
                <a:cubicBezTo>
                  <a:pt x="2649" y="2160"/>
                  <a:pt x="2649" y="2162"/>
                  <a:pt x="2649" y="2164"/>
                </a:cubicBezTo>
                <a:cubicBezTo>
                  <a:pt x="2649" y="2174"/>
                  <a:pt x="2655" y="2177"/>
                  <a:pt x="2664" y="2177"/>
                </a:cubicBezTo>
                <a:cubicBezTo>
                  <a:pt x="2664" y="2177"/>
                  <a:pt x="2664" y="2177"/>
                  <a:pt x="2667" y="2177"/>
                </a:cubicBezTo>
                <a:cubicBezTo>
                  <a:pt x="2667" y="2177"/>
                  <a:pt x="2667" y="2177"/>
                  <a:pt x="2667" y="2168"/>
                </a:cubicBezTo>
                <a:cubicBezTo>
                  <a:pt x="2667" y="2168"/>
                  <a:pt x="2667" y="2168"/>
                  <a:pt x="2666" y="2168"/>
                </a:cubicBezTo>
                <a:cubicBezTo>
                  <a:pt x="2662" y="2168"/>
                  <a:pt x="2661" y="2166"/>
                  <a:pt x="2661" y="2162"/>
                </a:cubicBezTo>
                <a:cubicBezTo>
                  <a:pt x="2661" y="2161"/>
                  <a:pt x="2661" y="2159"/>
                  <a:pt x="2661" y="2157"/>
                </a:cubicBezTo>
                <a:cubicBezTo>
                  <a:pt x="2661" y="2156"/>
                  <a:pt x="2662" y="2154"/>
                  <a:pt x="2662" y="2151"/>
                </a:cubicBezTo>
                <a:cubicBezTo>
                  <a:pt x="2662" y="2144"/>
                  <a:pt x="2659" y="2141"/>
                  <a:pt x="2653" y="2140"/>
                </a:cubicBezTo>
                <a:cubicBezTo>
                  <a:pt x="2653" y="2140"/>
                  <a:pt x="2653" y="2140"/>
                  <a:pt x="2653" y="2140"/>
                </a:cubicBezTo>
                <a:cubicBezTo>
                  <a:pt x="2659" y="2139"/>
                  <a:pt x="2662" y="2136"/>
                  <a:pt x="2662" y="2129"/>
                </a:cubicBezTo>
                <a:cubicBezTo>
                  <a:pt x="2662" y="2126"/>
                  <a:pt x="2661" y="2124"/>
                  <a:pt x="2661" y="2123"/>
                </a:cubicBezTo>
                <a:cubicBezTo>
                  <a:pt x="2661" y="2121"/>
                  <a:pt x="2661" y="2119"/>
                  <a:pt x="2661" y="2118"/>
                </a:cubicBezTo>
                <a:cubicBezTo>
                  <a:pt x="2661" y="2114"/>
                  <a:pt x="2662" y="2112"/>
                  <a:pt x="2666" y="2112"/>
                </a:cubicBezTo>
                <a:cubicBezTo>
                  <a:pt x="2666" y="2112"/>
                  <a:pt x="2666" y="2112"/>
                  <a:pt x="2667" y="2112"/>
                </a:cubicBezTo>
                <a:cubicBezTo>
                  <a:pt x="2667" y="2112"/>
                  <a:pt x="2667" y="2112"/>
                  <a:pt x="2667" y="2103"/>
                </a:cubicBezTo>
                <a:cubicBezTo>
                  <a:pt x="2667" y="2103"/>
                  <a:pt x="2667" y="2103"/>
                  <a:pt x="2664" y="2103"/>
                </a:cubicBezTo>
                <a:cubicBezTo>
                  <a:pt x="2655" y="2103"/>
                  <a:pt x="2649" y="2107"/>
                  <a:pt x="2649" y="2115"/>
                </a:cubicBezTo>
                <a:cubicBezTo>
                  <a:pt x="2649" y="2118"/>
                  <a:pt x="2649" y="2120"/>
                  <a:pt x="2649" y="2123"/>
                </a:cubicBezTo>
                <a:cubicBezTo>
                  <a:pt x="2650" y="2125"/>
                  <a:pt x="2650" y="2128"/>
                  <a:pt x="2650" y="2130"/>
                </a:cubicBezTo>
                <a:cubicBezTo>
                  <a:pt x="2650" y="2132"/>
                  <a:pt x="2649" y="2136"/>
                  <a:pt x="2644" y="2136"/>
                </a:cubicBezTo>
                <a:close/>
                <a:moveTo>
                  <a:pt x="2698" y="2144"/>
                </a:moveTo>
                <a:cubicBezTo>
                  <a:pt x="2698" y="2144"/>
                  <a:pt x="2698" y="2144"/>
                  <a:pt x="2698" y="2144"/>
                </a:cubicBezTo>
                <a:cubicBezTo>
                  <a:pt x="2698" y="2136"/>
                  <a:pt x="2698" y="2136"/>
                  <a:pt x="2698" y="2136"/>
                </a:cubicBezTo>
                <a:cubicBezTo>
                  <a:pt x="2692" y="2136"/>
                  <a:pt x="2691" y="2132"/>
                  <a:pt x="2691" y="2130"/>
                </a:cubicBezTo>
                <a:cubicBezTo>
                  <a:pt x="2691" y="2128"/>
                  <a:pt x="2691" y="2125"/>
                  <a:pt x="2692" y="2123"/>
                </a:cubicBezTo>
                <a:cubicBezTo>
                  <a:pt x="2692" y="2120"/>
                  <a:pt x="2692" y="2118"/>
                  <a:pt x="2692" y="2115"/>
                </a:cubicBezTo>
                <a:cubicBezTo>
                  <a:pt x="2692" y="2107"/>
                  <a:pt x="2687" y="2103"/>
                  <a:pt x="2678" y="2103"/>
                </a:cubicBezTo>
                <a:cubicBezTo>
                  <a:pt x="2678" y="2103"/>
                  <a:pt x="2678" y="2103"/>
                  <a:pt x="2674" y="2103"/>
                </a:cubicBezTo>
                <a:cubicBezTo>
                  <a:pt x="2674" y="2103"/>
                  <a:pt x="2674" y="2103"/>
                  <a:pt x="2674" y="2112"/>
                </a:cubicBezTo>
                <a:cubicBezTo>
                  <a:pt x="2674" y="2112"/>
                  <a:pt x="2674" y="2112"/>
                  <a:pt x="2675" y="2112"/>
                </a:cubicBezTo>
                <a:cubicBezTo>
                  <a:pt x="2679" y="2112"/>
                  <a:pt x="2681" y="2114"/>
                  <a:pt x="2681" y="2118"/>
                </a:cubicBezTo>
                <a:cubicBezTo>
                  <a:pt x="2681" y="2119"/>
                  <a:pt x="2680" y="2121"/>
                  <a:pt x="2680" y="2123"/>
                </a:cubicBezTo>
                <a:cubicBezTo>
                  <a:pt x="2680" y="2124"/>
                  <a:pt x="2680" y="2126"/>
                  <a:pt x="2680" y="2129"/>
                </a:cubicBezTo>
                <a:cubicBezTo>
                  <a:pt x="2680" y="2136"/>
                  <a:pt x="2682" y="2139"/>
                  <a:pt x="2688" y="2140"/>
                </a:cubicBezTo>
                <a:cubicBezTo>
                  <a:pt x="2688" y="2140"/>
                  <a:pt x="2688" y="2140"/>
                  <a:pt x="2688" y="2140"/>
                </a:cubicBezTo>
                <a:cubicBezTo>
                  <a:pt x="2682" y="2141"/>
                  <a:pt x="2680" y="2144"/>
                  <a:pt x="2680" y="2151"/>
                </a:cubicBezTo>
                <a:cubicBezTo>
                  <a:pt x="2680" y="2154"/>
                  <a:pt x="2680" y="2156"/>
                  <a:pt x="2680" y="2157"/>
                </a:cubicBezTo>
                <a:cubicBezTo>
                  <a:pt x="2680" y="2159"/>
                  <a:pt x="2681" y="2161"/>
                  <a:pt x="2681" y="2162"/>
                </a:cubicBezTo>
                <a:cubicBezTo>
                  <a:pt x="2681" y="2166"/>
                  <a:pt x="2679" y="2168"/>
                  <a:pt x="2675" y="2168"/>
                </a:cubicBezTo>
                <a:cubicBezTo>
                  <a:pt x="2675" y="2168"/>
                  <a:pt x="2675" y="2168"/>
                  <a:pt x="2674" y="2168"/>
                </a:cubicBezTo>
                <a:cubicBezTo>
                  <a:pt x="2674" y="2168"/>
                  <a:pt x="2674" y="2168"/>
                  <a:pt x="2674" y="2177"/>
                </a:cubicBezTo>
                <a:cubicBezTo>
                  <a:pt x="2674" y="2177"/>
                  <a:pt x="2674" y="2177"/>
                  <a:pt x="2678" y="2177"/>
                </a:cubicBezTo>
                <a:cubicBezTo>
                  <a:pt x="2686" y="2177"/>
                  <a:pt x="2692" y="2174"/>
                  <a:pt x="2692" y="2164"/>
                </a:cubicBezTo>
                <a:cubicBezTo>
                  <a:pt x="2692" y="2162"/>
                  <a:pt x="2692" y="2160"/>
                  <a:pt x="2692" y="2157"/>
                </a:cubicBezTo>
                <a:cubicBezTo>
                  <a:pt x="2691" y="2155"/>
                  <a:pt x="2691" y="2152"/>
                  <a:pt x="2691" y="2150"/>
                </a:cubicBezTo>
                <a:cubicBezTo>
                  <a:pt x="2691" y="2148"/>
                  <a:pt x="2692" y="2145"/>
                  <a:pt x="2698" y="2144"/>
                </a:cubicBezTo>
                <a:close/>
                <a:moveTo>
                  <a:pt x="2745" y="2104"/>
                </a:moveTo>
                <a:cubicBezTo>
                  <a:pt x="2745" y="2104"/>
                  <a:pt x="2745" y="2104"/>
                  <a:pt x="2745" y="2104"/>
                </a:cubicBezTo>
                <a:cubicBezTo>
                  <a:pt x="2740" y="2104"/>
                  <a:pt x="2740" y="2104"/>
                  <a:pt x="2740" y="2104"/>
                </a:cubicBezTo>
                <a:cubicBezTo>
                  <a:pt x="2738" y="2105"/>
                  <a:pt x="2737" y="2107"/>
                  <a:pt x="2735" y="2107"/>
                </a:cubicBezTo>
                <a:cubicBezTo>
                  <a:pt x="2733" y="2109"/>
                  <a:pt x="2731" y="2110"/>
                  <a:pt x="2729" y="2110"/>
                </a:cubicBezTo>
                <a:cubicBezTo>
                  <a:pt x="2727" y="2111"/>
                  <a:pt x="2726" y="2112"/>
                  <a:pt x="2724" y="2112"/>
                </a:cubicBezTo>
                <a:cubicBezTo>
                  <a:pt x="2722" y="2113"/>
                  <a:pt x="2721" y="2114"/>
                  <a:pt x="2719" y="2115"/>
                </a:cubicBezTo>
                <a:cubicBezTo>
                  <a:pt x="2719" y="2115"/>
                  <a:pt x="2719" y="2115"/>
                  <a:pt x="2719" y="2125"/>
                </a:cubicBezTo>
                <a:cubicBezTo>
                  <a:pt x="2721" y="2124"/>
                  <a:pt x="2724" y="2123"/>
                  <a:pt x="2727" y="2122"/>
                </a:cubicBezTo>
                <a:cubicBezTo>
                  <a:pt x="2729" y="2121"/>
                  <a:pt x="2732" y="2120"/>
                  <a:pt x="2734" y="2118"/>
                </a:cubicBezTo>
                <a:cubicBezTo>
                  <a:pt x="2734" y="2118"/>
                  <a:pt x="2734" y="2118"/>
                  <a:pt x="2734" y="2177"/>
                </a:cubicBezTo>
                <a:cubicBezTo>
                  <a:pt x="2734" y="2177"/>
                  <a:pt x="2734" y="2177"/>
                  <a:pt x="2745" y="2177"/>
                </a:cubicBezTo>
                <a:cubicBezTo>
                  <a:pt x="2745" y="2177"/>
                  <a:pt x="2745" y="2177"/>
                  <a:pt x="2745" y="2104"/>
                </a:cubicBezTo>
                <a:close/>
                <a:moveTo>
                  <a:pt x="2792" y="2104"/>
                </a:moveTo>
                <a:cubicBezTo>
                  <a:pt x="2792" y="2104"/>
                  <a:pt x="2792" y="2104"/>
                  <a:pt x="2792" y="2104"/>
                </a:cubicBezTo>
                <a:cubicBezTo>
                  <a:pt x="2787" y="2104"/>
                  <a:pt x="2787" y="2104"/>
                  <a:pt x="2787" y="2104"/>
                </a:cubicBezTo>
                <a:cubicBezTo>
                  <a:pt x="2785" y="2105"/>
                  <a:pt x="2784" y="2107"/>
                  <a:pt x="2782" y="2107"/>
                </a:cubicBezTo>
                <a:cubicBezTo>
                  <a:pt x="2780" y="2109"/>
                  <a:pt x="2778" y="2110"/>
                  <a:pt x="2777" y="2110"/>
                </a:cubicBezTo>
                <a:cubicBezTo>
                  <a:pt x="2775" y="2112"/>
                  <a:pt x="2773" y="2112"/>
                  <a:pt x="2772" y="2113"/>
                </a:cubicBezTo>
                <a:cubicBezTo>
                  <a:pt x="2770" y="2114"/>
                  <a:pt x="2768" y="2115"/>
                  <a:pt x="2766" y="2115"/>
                </a:cubicBezTo>
                <a:cubicBezTo>
                  <a:pt x="2766" y="2115"/>
                  <a:pt x="2766" y="2115"/>
                  <a:pt x="2766" y="2125"/>
                </a:cubicBezTo>
                <a:cubicBezTo>
                  <a:pt x="2769" y="2124"/>
                  <a:pt x="2772" y="2123"/>
                  <a:pt x="2774" y="2122"/>
                </a:cubicBezTo>
                <a:cubicBezTo>
                  <a:pt x="2777" y="2121"/>
                  <a:pt x="2779" y="2120"/>
                  <a:pt x="2781" y="2118"/>
                </a:cubicBezTo>
                <a:cubicBezTo>
                  <a:pt x="2781" y="2118"/>
                  <a:pt x="2781" y="2118"/>
                  <a:pt x="2781" y="2177"/>
                </a:cubicBezTo>
                <a:cubicBezTo>
                  <a:pt x="2781" y="2177"/>
                  <a:pt x="2781" y="2177"/>
                  <a:pt x="2792" y="2177"/>
                </a:cubicBezTo>
                <a:cubicBezTo>
                  <a:pt x="2792" y="2177"/>
                  <a:pt x="2792" y="2177"/>
                  <a:pt x="2792" y="2104"/>
                </a:cubicBezTo>
                <a:close/>
                <a:moveTo>
                  <a:pt x="2839" y="2104"/>
                </a:moveTo>
                <a:cubicBezTo>
                  <a:pt x="2839" y="2104"/>
                  <a:pt x="2839" y="2104"/>
                  <a:pt x="2839" y="2104"/>
                </a:cubicBezTo>
                <a:cubicBezTo>
                  <a:pt x="2835" y="2104"/>
                  <a:pt x="2835" y="2104"/>
                  <a:pt x="2835" y="2104"/>
                </a:cubicBezTo>
                <a:cubicBezTo>
                  <a:pt x="2833" y="2105"/>
                  <a:pt x="2831" y="2107"/>
                  <a:pt x="2829" y="2107"/>
                </a:cubicBezTo>
                <a:cubicBezTo>
                  <a:pt x="2828" y="2109"/>
                  <a:pt x="2825" y="2110"/>
                  <a:pt x="2824" y="2110"/>
                </a:cubicBezTo>
                <a:cubicBezTo>
                  <a:pt x="2822" y="2112"/>
                  <a:pt x="2820" y="2112"/>
                  <a:pt x="2818" y="2113"/>
                </a:cubicBezTo>
                <a:cubicBezTo>
                  <a:pt x="2817" y="2114"/>
                  <a:pt x="2815" y="2115"/>
                  <a:pt x="2813" y="2115"/>
                </a:cubicBezTo>
                <a:cubicBezTo>
                  <a:pt x="2813" y="2115"/>
                  <a:pt x="2813" y="2115"/>
                  <a:pt x="2813" y="2125"/>
                </a:cubicBezTo>
                <a:cubicBezTo>
                  <a:pt x="2816" y="2124"/>
                  <a:pt x="2819" y="2123"/>
                  <a:pt x="2821" y="2122"/>
                </a:cubicBezTo>
                <a:cubicBezTo>
                  <a:pt x="2823" y="2121"/>
                  <a:pt x="2826" y="2120"/>
                  <a:pt x="2828" y="2118"/>
                </a:cubicBezTo>
                <a:cubicBezTo>
                  <a:pt x="2828" y="2118"/>
                  <a:pt x="2828" y="2118"/>
                  <a:pt x="2828" y="2177"/>
                </a:cubicBezTo>
                <a:cubicBezTo>
                  <a:pt x="2828" y="2177"/>
                  <a:pt x="2828" y="2177"/>
                  <a:pt x="2839" y="2177"/>
                </a:cubicBezTo>
                <a:cubicBezTo>
                  <a:pt x="2839" y="2177"/>
                  <a:pt x="2839" y="2177"/>
                  <a:pt x="2839" y="2104"/>
                </a:cubicBezTo>
                <a:close/>
                <a:moveTo>
                  <a:pt x="2962" y="2104"/>
                </a:moveTo>
                <a:cubicBezTo>
                  <a:pt x="2962" y="2104"/>
                  <a:pt x="2962" y="2104"/>
                  <a:pt x="2962" y="2104"/>
                </a:cubicBezTo>
                <a:cubicBezTo>
                  <a:pt x="2957" y="2104"/>
                  <a:pt x="2957" y="2104"/>
                  <a:pt x="2957" y="2104"/>
                </a:cubicBezTo>
                <a:cubicBezTo>
                  <a:pt x="2955" y="2105"/>
                  <a:pt x="2953" y="2107"/>
                  <a:pt x="2951" y="2107"/>
                </a:cubicBezTo>
                <a:cubicBezTo>
                  <a:pt x="2950" y="2109"/>
                  <a:pt x="2948" y="2110"/>
                  <a:pt x="2946" y="2110"/>
                </a:cubicBezTo>
                <a:cubicBezTo>
                  <a:pt x="2944" y="2112"/>
                  <a:pt x="2942" y="2112"/>
                  <a:pt x="2941" y="2113"/>
                </a:cubicBezTo>
                <a:cubicBezTo>
                  <a:pt x="2939" y="2114"/>
                  <a:pt x="2937" y="2115"/>
                  <a:pt x="2935" y="2115"/>
                </a:cubicBezTo>
                <a:cubicBezTo>
                  <a:pt x="2935" y="2115"/>
                  <a:pt x="2935" y="2115"/>
                  <a:pt x="2935" y="2125"/>
                </a:cubicBezTo>
                <a:cubicBezTo>
                  <a:pt x="2938" y="2124"/>
                  <a:pt x="2941" y="2123"/>
                  <a:pt x="2944" y="2122"/>
                </a:cubicBezTo>
                <a:cubicBezTo>
                  <a:pt x="2946" y="2121"/>
                  <a:pt x="2948" y="2120"/>
                  <a:pt x="2950" y="2118"/>
                </a:cubicBezTo>
                <a:cubicBezTo>
                  <a:pt x="2950" y="2118"/>
                  <a:pt x="2950" y="2118"/>
                  <a:pt x="2950" y="2177"/>
                </a:cubicBezTo>
                <a:cubicBezTo>
                  <a:pt x="2950" y="2177"/>
                  <a:pt x="2950" y="2177"/>
                  <a:pt x="2962" y="2177"/>
                </a:cubicBezTo>
                <a:cubicBezTo>
                  <a:pt x="2962" y="2177"/>
                  <a:pt x="2962" y="2177"/>
                  <a:pt x="2962" y="2104"/>
                </a:cubicBezTo>
                <a:close/>
                <a:moveTo>
                  <a:pt x="3009" y="2104"/>
                </a:moveTo>
                <a:cubicBezTo>
                  <a:pt x="3009" y="2104"/>
                  <a:pt x="3009" y="2104"/>
                  <a:pt x="3009" y="2104"/>
                </a:cubicBezTo>
                <a:cubicBezTo>
                  <a:pt x="3004" y="2104"/>
                  <a:pt x="3004" y="2104"/>
                  <a:pt x="3004" y="2104"/>
                </a:cubicBezTo>
                <a:cubicBezTo>
                  <a:pt x="3002" y="2105"/>
                  <a:pt x="3001" y="2107"/>
                  <a:pt x="2999" y="2107"/>
                </a:cubicBezTo>
                <a:cubicBezTo>
                  <a:pt x="2997" y="2109"/>
                  <a:pt x="2995" y="2110"/>
                  <a:pt x="2993" y="2110"/>
                </a:cubicBezTo>
                <a:cubicBezTo>
                  <a:pt x="2992" y="2112"/>
                  <a:pt x="2990" y="2112"/>
                  <a:pt x="2988" y="2113"/>
                </a:cubicBezTo>
                <a:cubicBezTo>
                  <a:pt x="2986" y="2114"/>
                  <a:pt x="2985" y="2115"/>
                  <a:pt x="2983" y="2115"/>
                </a:cubicBezTo>
                <a:cubicBezTo>
                  <a:pt x="2983" y="2115"/>
                  <a:pt x="2983" y="2115"/>
                  <a:pt x="2983" y="2125"/>
                </a:cubicBezTo>
                <a:cubicBezTo>
                  <a:pt x="2985" y="2124"/>
                  <a:pt x="2988" y="2123"/>
                  <a:pt x="2991" y="2122"/>
                </a:cubicBezTo>
                <a:cubicBezTo>
                  <a:pt x="2993" y="2121"/>
                  <a:pt x="2996" y="2120"/>
                  <a:pt x="2998" y="2118"/>
                </a:cubicBezTo>
                <a:cubicBezTo>
                  <a:pt x="2998" y="2118"/>
                  <a:pt x="2998" y="2118"/>
                  <a:pt x="2998" y="2177"/>
                </a:cubicBezTo>
                <a:cubicBezTo>
                  <a:pt x="2998" y="2177"/>
                  <a:pt x="2998" y="2177"/>
                  <a:pt x="3009" y="2177"/>
                </a:cubicBezTo>
                <a:cubicBezTo>
                  <a:pt x="3009" y="2177"/>
                  <a:pt x="3009" y="2177"/>
                  <a:pt x="3009" y="2104"/>
                </a:cubicBezTo>
                <a:close/>
                <a:moveTo>
                  <a:pt x="3056" y="2104"/>
                </a:moveTo>
                <a:cubicBezTo>
                  <a:pt x="3056" y="2104"/>
                  <a:pt x="3056" y="2104"/>
                  <a:pt x="3056" y="2104"/>
                </a:cubicBezTo>
                <a:cubicBezTo>
                  <a:pt x="3052" y="2104"/>
                  <a:pt x="3052" y="2104"/>
                  <a:pt x="3052" y="2104"/>
                </a:cubicBezTo>
                <a:cubicBezTo>
                  <a:pt x="3050" y="2105"/>
                  <a:pt x="3048" y="2107"/>
                  <a:pt x="3046" y="2107"/>
                </a:cubicBezTo>
                <a:cubicBezTo>
                  <a:pt x="3044" y="2109"/>
                  <a:pt x="3042" y="2110"/>
                  <a:pt x="3041" y="2110"/>
                </a:cubicBezTo>
                <a:cubicBezTo>
                  <a:pt x="3039" y="2111"/>
                  <a:pt x="3037" y="2112"/>
                  <a:pt x="3035" y="2112"/>
                </a:cubicBezTo>
                <a:cubicBezTo>
                  <a:pt x="3034" y="2113"/>
                  <a:pt x="3032" y="2114"/>
                  <a:pt x="3030" y="2115"/>
                </a:cubicBezTo>
                <a:cubicBezTo>
                  <a:pt x="3030" y="2115"/>
                  <a:pt x="3030" y="2115"/>
                  <a:pt x="3030" y="2125"/>
                </a:cubicBezTo>
                <a:cubicBezTo>
                  <a:pt x="3033" y="2124"/>
                  <a:pt x="3036" y="2123"/>
                  <a:pt x="3038" y="2122"/>
                </a:cubicBezTo>
                <a:cubicBezTo>
                  <a:pt x="3040" y="2121"/>
                  <a:pt x="3043" y="2120"/>
                  <a:pt x="3044" y="2118"/>
                </a:cubicBezTo>
                <a:cubicBezTo>
                  <a:pt x="3044" y="2118"/>
                  <a:pt x="3044" y="2118"/>
                  <a:pt x="3044" y="2177"/>
                </a:cubicBezTo>
                <a:cubicBezTo>
                  <a:pt x="3044" y="2177"/>
                  <a:pt x="3044" y="2177"/>
                  <a:pt x="3056" y="2177"/>
                </a:cubicBezTo>
                <a:cubicBezTo>
                  <a:pt x="3056" y="2177"/>
                  <a:pt x="3056" y="2177"/>
                  <a:pt x="3056" y="2104"/>
                </a:cubicBezTo>
                <a:close/>
                <a:moveTo>
                  <a:pt x="3101" y="2177"/>
                </a:moveTo>
                <a:cubicBezTo>
                  <a:pt x="3093" y="2177"/>
                  <a:pt x="3087" y="2174"/>
                  <a:pt x="3082" y="2168"/>
                </a:cubicBezTo>
                <a:cubicBezTo>
                  <a:pt x="3079" y="2162"/>
                  <a:pt x="3077" y="2153"/>
                  <a:pt x="3077" y="2141"/>
                </a:cubicBezTo>
                <a:cubicBezTo>
                  <a:pt x="3077" y="2128"/>
                  <a:pt x="3079" y="2118"/>
                  <a:pt x="3083" y="2112"/>
                </a:cubicBezTo>
                <a:cubicBezTo>
                  <a:pt x="3088" y="2105"/>
                  <a:pt x="3094" y="2101"/>
                  <a:pt x="3103" y="2101"/>
                </a:cubicBezTo>
                <a:cubicBezTo>
                  <a:pt x="3119" y="2101"/>
                  <a:pt x="3127" y="2114"/>
                  <a:pt x="3127" y="2139"/>
                </a:cubicBezTo>
                <a:cubicBezTo>
                  <a:pt x="3127" y="2152"/>
                  <a:pt x="3125" y="2161"/>
                  <a:pt x="3120" y="2168"/>
                </a:cubicBezTo>
                <a:cubicBezTo>
                  <a:pt x="3115" y="2174"/>
                  <a:pt x="3109" y="2177"/>
                  <a:pt x="3101" y="2177"/>
                </a:cubicBezTo>
                <a:close/>
                <a:moveTo>
                  <a:pt x="3102" y="2111"/>
                </a:moveTo>
                <a:cubicBezTo>
                  <a:pt x="3093" y="2111"/>
                  <a:pt x="3088" y="2121"/>
                  <a:pt x="3088" y="2141"/>
                </a:cubicBezTo>
                <a:cubicBezTo>
                  <a:pt x="3088" y="2159"/>
                  <a:pt x="3093" y="2168"/>
                  <a:pt x="3101" y="2168"/>
                </a:cubicBezTo>
                <a:cubicBezTo>
                  <a:pt x="3110" y="2168"/>
                  <a:pt x="3115" y="2159"/>
                  <a:pt x="3115" y="2140"/>
                </a:cubicBezTo>
                <a:cubicBezTo>
                  <a:pt x="3115" y="2120"/>
                  <a:pt x="3110" y="2111"/>
                  <a:pt x="3102" y="2111"/>
                </a:cubicBezTo>
                <a:close/>
                <a:moveTo>
                  <a:pt x="3172" y="2177"/>
                </a:moveTo>
                <a:cubicBezTo>
                  <a:pt x="3164" y="2177"/>
                  <a:pt x="3158" y="2174"/>
                  <a:pt x="3154" y="2168"/>
                </a:cubicBezTo>
                <a:cubicBezTo>
                  <a:pt x="3149" y="2162"/>
                  <a:pt x="3147" y="2153"/>
                  <a:pt x="3147" y="2141"/>
                </a:cubicBezTo>
                <a:cubicBezTo>
                  <a:pt x="3147" y="2128"/>
                  <a:pt x="3149" y="2118"/>
                  <a:pt x="3154" y="2112"/>
                </a:cubicBezTo>
                <a:cubicBezTo>
                  <a:pt x="3158" y="2105"/>
                  <a:pt x="3165" y="2101"/>
                  <a:pt x="3174" y="2101"/>
                </a:cubicBezTo>
                <a:cubicBezTo>
                  <a:pt x="3190" y="2101"/>
                  <a:pt x="3198" y="2114"/>
                  <a:pt x="3198" y="2139"/>
                </a:cubicBezTo>
                <a:cubicBezTo>
                  <a:pt x="3198" y="2152"/>
                  <a:pt x="3196" y="2161"/>
                  <a:pt x="3191" y="2168"/>
                </a:cubicBezTo>
                <a:cubicBezTo>
                  <a:pt x="3186" y="2174"/>
                  <a:pt x="3180" y="2177"/>
                  <a:pt x="3172" y="2177"/>
                </a:cubicBezTo>
                <a:close/>
                <a:moveTo>
                  <a:pt x="3173" y="2111"/>
                </a:moveTo>
                <a:cubicBezTo>
                  <a:pt x="3164" y="2111"/>
                  <a:pt x="3159" y="2121"/>
                  <a:pt x="3159" y="2141"/>
                </a:cubicBezTo>
                <a:cubicBezTo>
                  <a:pt x="3159" y="2159"/>
                  <a:pt x="3163" y="2168"/>
                  <a:pt x="3172" y="2168"/>
                </a:cubicBezTo>
                <a:cubicBezTo>
                  <a:pt x="3181" y="2168"/>
                  <a:pt x="3186" y="2159"/>
                  <a:pt x="3186" y="2140"/>
                </a:cubicBezTo>
                <a:cubicBezTo>
                  <a:pt x="3186" y="2120"/>
                  <a:pt x="3181" y="2111"/>
                  <a:pt x="3173" y="2111"/>
                </a:cubicBezTo>
                <a:close/>
                <a:moveTo>
                  <a:pt x="2860" y="2136"/>
                </a:moveTo>
                <a:cubicBezTo>
                  <a:pt x="2860" y="2136"/>
                  <a:pt x="2860" y="2136"/>
                  <a:pt x="2860" y="2136"/>
                </a:cubicBezTo>
                <a:cubicBezTo>
                  <a:pt x="2860" y="2144"/>
                  <a:pt x="2860" y="2144"/>
                  <a:pt x="2860" y="2144"/>
                </a:cubicBezTo>
                <a:cubicBezTo>
                  <a:pt x="2866" y="2145"/>
                  <a:pt x="2867" y="2148"/>
                  <a:pt x="2867" y="2150"/>
                </a:cubicBezTo>
                <a:cubicBezTo>
                  <a:pt x="2867" y="2152"/>
                  <a:pt x="2866" y="2155"/>
                  <a:pt x="2866" y="2157"/>
                </a:cubicBezTo>
                <a:cubicBezTo>
                  <a:pt x="2866" y="2160"/>
                  <a:pt x="2866" y="2162"/>
                  <a:pt x="2866" y="2164"/>
                </a:cubicBezTo>
                <a:cubicBezTo>
                  <a:pt x="2866" y="2174"/>
                  <a:pt x="2872" y="2177"/>
                  <a:pt x="2880" y="2177"/>
                </a:cubicBezTo>
                <a:cubicBezTo>
                  <a:pt x="2880" y="2177"/>
                  <a:pt x="2880" y="2177"/>
                  <a:pt x="2884" y="2177"/>
                </a:cubicBezTo>
                <a:cubicBezTo>
                  <a:pt x="2884" y="2177"/>
                  <a:pt x="2884" y="2177"/>
                  <a:pt x="2884" y="2168"/>
                </a:cubicBezTo>
                <a:cubicBezTo>
                  <a:pt x="2884" y="2168"/>
                  <a:pt x="2884" y="2168"/>
                  <a:pt x="2882" y="2168"/>
                </a:cubicBezTo>
                <a:cubicBezTo>
                  <a:pt x="2879" y="2168"/>
                  <a:pt x="2877" y="2166"/>
                  <a:pt x="2877" y="2162"/>
                </a:cubicBezTo>
                <a:cubicBezTo>
                  <a:pt x="2877" y="2161"/>
                  <a:pt x="2877" y="2159"/>
                  <a:pt x="2878" y="2157"/>
                </a:cubicBezTo>
                <a:cubicBezTo>
                  <a:pt x="2878" y="2156"/>
                  <a:pt x="2878" y="2154"/>
                  <a:pt x="2878" y="2151"/>
                </a:cubicBezTo>
                <a:cubicBezTo>
                  <a:pt x="2878" y="2144"/>
                  <a:pt x="2875" y="2141"/>
                  <a:pt x="2870" y="2140"/>
                </a:cubicBezTo>
                <a:cubicBezTo>
                  <a:pt x="2870" y="2140"/>
                  <a:pt x="2870" y="2140"/>
                  <a:pt x="2870" y="2140"/>
                </a:cubicBezTo>
                <a:cubicBezTo>
                  <a:pt x="2875" y="2139"/>
                  <a:pt x="2878" y="2136"/>
                  <a:pt x="2878" y="2129"/>
                </a:cubicBezTo>
                <a:cubicBezTo>
                  <a:pt x="2878" y="2126"/>
                  <a:pt x="2878" y="2124"/>
                  <a:pt x="2878" y="2123"/>
                </a:cubicBezTo>
                <a:cubicBezTo>
                  <a:pt x="2877" y="2121"/>
                  <a:pt x="2877" y="2119"/>
                  <a:pt x="2877" y="2118"/>
                </a:cubicBezTo>
                <a:cubicBezTo>
                  <a:pt x="2877" y="2114"/>
                  <a:pt x="2879" y="2112"/>
                  <a:pt x="2882" y="2112"/>
                </a:cubicBezTo>
                <a:cubicBezTo>
                  <a:pt x="2882" y="2112"/>
                  <a:pt x="2882" y="2112"/>
                  <a:pt x="2884" y="2112"/>
                </a:cubicBezTo>
                <a:cubicBezTo>
                  <a:pt x="2884" y="2112"/>
                  <a:pt x="2884" y="2112"/>
                  <a:pt x="2884" y="2103"/>
                </a:cubicBezTo>
                <a:cubicBezTo>
                  <a:pt x="2884" y="2103"/>
                  <a:pt x="2884" y="2103"/>
                  <a:pt x="2880" y="2103"/>
                </a:cubicBezTo>
                <a:cubicBezTo>
                  <a:pt x="2871" y="2103"/>
                  <a:pt x="2866" y="2107"/>
                  <a:pt x="2866" y="2115"/>
                </a:cubicBezTo>
                <a:cubicBezTo>
                  <a:pt x="2866" y="2118"/>
                  <a:pt x="2866" y="2120"/>
                  <a:pt x="2866" y="2123"/>
                </a:cubicBezTo>
                <a:cubicBezTo>
                  <a:pt x="2866" y="2125"/>
                  <a:pt x="2867" y="2128"/>
                  <a:pt x="2867" y="2130"/>
                </a:cubicBezTo>
                <a:cubicBezTo>
                  <a:pt x="2867" y="2132"/>
                  <a:pt x="2866" y="2136"/>
                  <a:pt x="2860" y="2136"/>
                </a:cubicBezTo>
                <a:close/>
                <a:moveTo>
                  <a:pt x="2914" y="2144"/>
                </a:moveTo>
                <a:cubicBezTo>
                  <a:pt x="2914" y="2144"/>
                  <a:pt x="2914" y="2144"/>
                  <a:pt x="2914" y="2144"/>
                </a:cubicBezTo>
                <a:cubicBezTo>
                  <a:pt x="2914" y="2136"/>
                  <a:pt x="2914" y="2136"/>
                  <a:pt x="2914" y="2136"/>
                </a:cubicBezTo>
                <a:cubicBezTo>
                  <a:pt x="2908" y="2136"/>
                  <a:pt x="2908" y="2132"/>
                  <a:pt x="2908" y="2130"/>
                </a:cubicBezTo>
                <a:cubicBezTo>
                  <a:pt x="2908" y="2128"/>
                  <a:pt x="2908" y="2125"/>
                  <a:pt x="2908" y="2123"/>
                </a:cubicBezTo>
                <a:cubicBezTo>
                  <a:pt x="2909" y="2120"/>
                  <a:pt x="2909" y="2118"/>
                  <a:pt x="2909" y="2115"/>
                </a:cubicBezTo>
                <a:cubicBezTo>
                  <a:pt x="2909" y="2107"/>
                  <a:pt x="2903" y="2103"/>
                  <a:pt x="2894" y="2103"/>
                </a:cubicBezTo>
                <a:cubicBezTo>
                  <a:pt x="2894" y="2103"/>
                  <a:pt x="2894" y="2103"/>
                  <a:pt x="2890" y="2103"/>
                </a:cubicBezTo>
                <a:cubicBezTo>
                  <a:pt x="2890" y="2103"/>
                  <a:pt x="2890" y="2103"/>
                  <a:pt x="2890" y="2112"/>
                </a:cubicBezTo>
                <a:cubicBezTo>
                  <a:pt x="2890" y="2112"/>
                  <a:pt x="2890" y="2112"/>
                  <a:pt x="2892" y="2112"/>
                </a:cubicBezTo>
                <a:cubicBezTo>
                  <a:pt x="2896" y="2112"/>
                  <a:pt x="2897" y="2114"/>
                  <a:pt x="2897" y="2118"/>
                </a:cubicBezTo>
                <a:cubicBezTo>
                  <a:pt x="2897" y="2119"/>
                  <a:pt x="2897" y="2121"/>
                  <a:pt x="2897" y="2123"/>
                </a:cubicBezTo>
                <a:cubicBezTo>
                  <a:pt x="2896" y="2124"/>
                  <a:pt x="2896" y="2126"/>
                  <a:pt x="2896" y="2129"/>
                </a:cubicBezTo>
                <a:cubicBezTo>
                  <a:pt x="2896" y="2136"/>
                  <a:pt x="2899" y="2139"/>
                  <a:pt x="2905" y="2140"/>
                </a:cubicBezTo>
                <a:cubicBezTo>
                  <a:pt x="2905" y="2140"/>
                  <a:pt x="2905" y="2140"/>
                  <a:pt x="2905" y="2140"/>
                </a:cubicBezTo>
                <a:cubicBezTo>
                  <a:pt x="2899" y="2141"/>
                  <a:pt x="2896" y="2144"/>
                  <a:pt x="2896" y="2151"/>
                </a:cubicBezTo>
                <a:cubicBezTo>
                  <a:pt x="2896" y="2154"/>
                  <a:pt x="2896" y="2156"/>
                  <a:pt x="2897" y="2157"/>
                </a:cubicBezTo>
                <a:cubicBezTo>
                  <a:pt x="2897" y="2159"/>
                  <a:pt x="2897" y="2161"/>
                  <a:pt x="2897" y="2162"/>
                </a:cubicBezTo>
                <a:cubicBezTo>
                  <a:pt x="2897" y="2166"/>
                  <a:pt x="2896" y="2168"/>
                  <a:pt x="2892" y="2168"/>
                </a:cubicBezTo>
                <a:cubicBezTo>
                  <a:pt x="2892" y="2168"/>
                  <a:pt x="2892" y="2168"/>
                  <a:pt x="2890" y="2168"/>
                </a:cubicBezTo>
                <a:cubicBezTo>
                  <a:pt x="2890" y="2168"/>
                  <a:pt x="2890" y="2168"/>
                  <a:pt x="2890" y="2177"/>
                </a:cubicBezTo>
                <a:cubicBezTo>
                  <a:pt x="2890" y="2177"/>
                  <a:pt x="2890" y="2177"/>
                  <a:pt x="2894" y="2177"/>
                </a:cubicBezTo>
                <a:cubicBezTo>
                  <a:pt x="2903" y="2177"/>
                  <a:pt x="2909" y="2174"/>
                  <a:pt x="2909" y="2164"/>
                </a:cubicBezTo>
                <a:cubicBezTo>
                  <a:pt x="2909" y="2162"/>
                  <a:pt x="2909" y="2160"/>
                  <a:pt x="2908" y="2157"/>
                </a:cubicBezTo>
                <a:cubicBezTo>
                  <a:pt x="2908" y="2155"/>
                  <a:pt x="2908" y="2152"/>
                  <a:pt x="2908" y="2150"/>
                </a:cubicBezTo>
                <a:cubicBezTo>
                  <a:pt x="2908" y="2148"/>
                  <a:pt x="2908" y="2145"/>
                  <a:pt x="2914" y="2144"/>
                </a:cubicBezTo>
                <a:close/>
                <a:moveTo>
                  <a:pt x="3384" y="2177"/>
                </a:moveTo>
                <a:cubicBezTo>
                  <a:pt x="3377" y="2177"/>
                  <a:pt x="3371" y="2174"/>
                  <a:pt x="3366" y="2168"/>
                </a:cubicBezTo>
                <a:cubicBezTo>
                  <a:pt x="3362" y="2162"/>
                  <a:pt x="3360" y="2152"/>
                  <a:pt x="3360" y="2141"/>
                </a:cubicBezTo>
                <a:cubicBezTo>
                  <a:pt x="3360" y="2128"/>
                  <a:pt x="3362" y="2118"/>
                  <a:pt x="3366" y="2111"/>
                </a:cubicBezTo>
                <a:cubicBezTo>
                  <a:pt x="3371" y="2104"/>
                  <a:pt x="3377" y="2101"/>
                  <a:pt x="3386" y="2101"/>
                </a:cubicBezTo>
                <a:cubicBezTo>
                  <a:pt x="3402" y="2101"/>
                  <a:pt x="3410" y="2114"/>
                  <a:pt x="3410" y="2139"/>
                </a:cubicBezTo>
                <a:cubicBezTo>
                  <a:pt x="3410" y="2152"/>
                  <a:pt x="3408" y="2161"/>
                  <a:pt x="3404" y="2168"/>
                </a:cubicBezTo>
                <a:cubicBezTo>
                  <a:pt x="3399" y="2174"/>
                  <a:pt x="3393" y="2177"/>
                  <a:pt x="3384" y="2177"/>
                </a:cubicBezTo>
                <a:close/>
                <a:moveTo>
                  <a:pt x="3385" y="2111"/>
                </a:moveTo>
                <a:cubicBezTo>
                  <a:pt x="3377" y="2111"/>
                  <a:pt x="3372" y="2120"/>
                  <a:pt x="3372" y="2140"/>
                </a:cubicBezTo>
                <a:cubicBezTo>
                  <a:pt x="3372" y="2158"/>
                  <a:pt x="3377" y="2168"/>
                  <a:pt x="3385" y="2168"/>
                </a:cubicBezTo>
                <a:cubicBezTo>
                  <a:pt x="3393" y="2168"/>
                  <a:pt x="3398" y="2158"/>
                  <a:pt x="3398" y="2140"/>
                </a:cubicBezTo>
                <a:cubicBezTo>
                  <a:pt x="3398" y="2120"/>
                  <a:pt x="3394" y="2111"/>
                  <a:pt x="3385" y="2111"/>
                </a:cubicBezTo>
                <a:close/>
                <a:moveTo>
                  <a:pt x="3502" y="2177"/>
                </a:moveTo>
                <a:cubicBezTo>
                  <a:pt x="3495" y="2177"/>
                  <a:pt x="3489" y="2174"/>
                  <a:pt x="3485" y="2168"/>
                </a:cubicBezTo>
                <a:cubicBezTo>
                  <a:pt x="3480" y="2162"/>
                  <a:pt x="3478" y="2152"/>
                  <a:pt x="3478" y="2141"/>
                </a:cubicBezTo>
                <a:cubicBezTo>
                  <a:pt x="3478" y="2128"/>
                  <a:pt x="3480" y="2118"/>
                  <a:pt x="3485" y="2111"/>
                </a:cubicBezTo>
                <a:cubicBezTo>
                  <a:pt x="3489" y="2104"/>
                  <a:pt x="3495" y="2101"/>
                  <a:pt x="3504" y="2101"/>
                </a:cubicBezTo>
                <a:cubicBezTo>
                  <a:pt x="3520" y="2101"/>
                  <a:pt x="3528" y="2114"/>
                  <a:pt x="3528" y="2139"/>
                </a:cubicBezTo>
                <a:cubicBezTo>
                  <a:pt x="3528" y="2152"/>
                  <a:pt x="3526" y="2161"/>
                  <a:pt x="3522" y="2168"/>
                </a:cubicBezTo>
                <a:cubicBezTo>
                  <a:pt x="3517" y="2174"/>
                  <a:pt x="3511" y="2177"/>
                  <a:pt x="3502" y="2177"/>
                </a:cubicBezTo>
                <a:close/>
                <a:moveTo>
                  <a:pt x="3503" y="2111"/>
                </a:moveTo>
                <a:cubicBezTo>
                  <a:pt x="3495" y="2111"/>
                  <a:pt x="3490" y="2120"/>
                  <a:pt x="3490" y="2140"/>
                </a:cubicBezTo>
                <a:cubicBezTo>
                  <a:pt x="3490" y="2158"/>
                  <a:pt x="3495" y="2168"/>
                  <a:pt x="3503" y="2168"/>
                </a:cubicBezTo>
                <a:cubicBezTo>
                  <a:pt x="3512" y="2168"/>
                  <a:pt x="3516" y="2158"/>
                  <a:pt x="3516" y="2140"/>
                </a:cubicBezTo>
                <a:cubicBezTo>
                  <a:pt x="3516" y="2120"/>
                  <a:pt x="3512" y="2111"/>
                  <a:pt x="3503" y="2111"/>
                </a:cubicBezTo>
                <a:close/>
                <a:moveTo>
                  <a:pt x="3457" y="2104"/>
                </a:moveTo>
                <a:cubicBezTo>
                  <a:pt x="3457" y="2104"/>
                  <a:pt x="3457" y="2104"/>
                  <a:pt x="3457" y="2104"/>
                </a:cubicBezTo>
                <a:cubicBezTo>
                  <a:pt x="3452" y="2104"/>
                  <a:pt x="3452" y="2104"/>
                  <a:pt x="3452" y="2104"/>
                </a:cubicBezTo>
                <a:cubicBezTo>
                  <a:pt x="3450" y="2105"/>
                  <a:pt x="3449" y="2107"/>
                  <a:pt x="3447" y="2107"/>
                </a:cubicBezTo>
                <a:cubicBezTo>
                  <a:pt x="3445" y="2109"/>
                  <a:pt x="3443" y="2110"/>
                  <a:pt x="3442" y="2110"/>
                </a:cubicBezTo>
                <a:cubicBezTo>
                  <a:pt x="3440" y="2111"/>
                  <a:pt x="3438" y="2112"/>
                  <a:pt x="3437" y="2112"/>
                </a:cubicBezTo>
                <a:cubicBezTo>
                  <a:pt x="3434" y="2113"/>
                  <a:pt x="3433" y="2114"/>
                  <a:pt x="3431" y="2115"/>
                </a:cubicBezTo>
                <a:cubicBezTo>
                  <a:pt x="3431" y="2115"/>
                  <a:pt x="3431" y="2115"/>
                  <a:pt x="3431" y="2125"/>
                </a:cubicBezTo>
                <a:cubicBezTo>
                  <a:pt x="3434" y="2124"/>
                  <a:pt x="3437" y="2123"/>
                  <a:pt x="3439" y="2122"/>
                </a:cubicBezTo>
                <a:cubicBezTo>
                  <a:pt x="3442" y="2121"/>
                  <a:pt x="3444" y="2120"/>
                  <a:pt x="3446" y="2118"/>
                </a:cubicBezTo>
                <a:cubicBezTo>
                  <a:pt x="3446" y="2118"/>
                  <a:pt x="3446" y="2118"/>
                  <a:pt x="3446" y="2177"/>
                </a:cubicBezTo>
                <a:cubicBezTo>
                  <a:pt x="3446" y="2177"/>
                  <a:pt x="3446" y="2177"/>
                  <a:pt x="3457" y="2177"/>
                </a:cubicBezTo>
                <a:cubicBezTo>
                  <a:pt x="3457" y="2177"/>
                  <a:pt x="3457" y="2177"/>
                  <a:pt x="3457" y="2104"/>
                </a:cubicBezTo>
                <a:close/>
                <a:moveTo>
                  <a:pt x="3573" y="2177"/>
                </a:moveTo>
                <a:cubicBezTo>
                  <a:pt x="3566" y="2177"/>
                  <a:pt x="3559" y="2174"/>
                  <a:pt x="3556" y="2168"/>
                </a:cubicBezTo>
                <a:cubicBezTo>
                  <a:pt x="3551" y="2162"/>
                  <a:pt x="3549" y="2153"/>
                  <a:pt x="3549" y="2141"/>
                </a:cubicBezTo>
                <a:cubicBezTo>
                  <a:pt x="3549" y="2128"/>
                  <a:pt x="3551" y="2118"/>
                  <a:pt x="3556" y="2112"/>
                </a:cubicBezTo>
                <a:cubicBezTo>
                  <a:pt x="3560" y="2105"/>
                  <a:pt x="3567" y="2101"/>
                  <a:pt x="3575" y="2101"/>
                </a:cubicBezTo>
                <a:cubicBezTo>
                  <a:pt x="3591" y="2101"/>
                  <a:pt x="3599" y="2114"/>
                  <a:pt x="3599" y="2139"/>
                </a:cubicBezTo>
                <a:cubicBezTo>
                  <a:pt x="3599" y="2152"/>
                  <a:pt x="3597" y="2161"/>
                  <a:pt x="3593" y="2168"/>
                </a:cubicBezTo>
                <a:cubicBezTo>
                  <a:pt x="3588" y="2174"/>
                  <a:pt x="3582" y="2177"/>
                  <a:pt x="3573" y="2177"/>
                </a:cubicBezTo>
                <a:close/>
                <a:moveTo>
                  <a:pt x="3575" y="2111"/>
                </a:moveTo>
                <a:cubicBezTo>
                  <a:pt x="3566" y="2111"/>
                  <a:pt x="3561" y="2121"/>
                  <a:pt x="3561" y="2141"/>
                </a:cubicBezTo>
                <a:cubicBezTo>
                  <a:pt x="3561" y="2159"/>
                  <a:pt x="3565" y="2168"/>
                  <a:pt x="3574" y="2168"/>
                </a:cubicBezTo>
                <a:cubicBezTo>
                  <a:pt x="3583" y="2168"/>
                  <a:pt x="3587" y="2159"/>
                  <a:pt x="3587" y="2140"/>
                </a:cubicBezTo>
                <a:cubicBezTo>
                  <a:pt x="3587" y="2120"/>
                  <a:pt x="3583" y="2111"/>
                  <a:pt x="3575" y="2111"/>
                </a:cubicBezTo>
                <a:close/>
                <a:moveTo>
                  <a:pt x="3620" y="2136"/>
                </a:moveTo>
                <a:cubicBezTo>
                  <a:pt x="3620" y="2136"/>
                  <a:pt x="3620" y="2136"/>
                  <a:pt x="3620" y="2136"/>
                </a:cubicBezTo>
                <a:cubicBezTo>
                  <a:pt x="3620" y="2144"/>
                  <a:pt x="3620" y="2144"/>
                  <a:pt x="3620" y="2144"/>
                </a:cubicBezTo>
                <a:cubicBezTo>
                  <a:pt x="3626" y="2145"/>
                  <a:pt x="3627" y="2148"/>
                  <a:pt x="3627" y="2150"/>
                </a:cubicBezTo>
                <a:cubicBezTo>
                  <a:pt x="3627" y="2152"/>
                  <a:pt x="3627" y="2155"/>
                  <a:pt x="3627" y="2157"/>
                </a:cubicBezTo>
                <a:cubicBezTo>
                  <a:pt x="3626" y="2160"/>
                  <a:pt x="3626" y="2162"/>
                  <a:pt x="3626" y="2164"/>
                </a:cubicBezTo>
                <a:cubicBezTo>
                  <a:pt x="3626" y="2174"/>
                  <a:pt x="3632" y="2177"/>
                  <a:pt x="3640" y="2177"/>
                </a:cubicBezTo>
                <a:cubicBezTo>
                  <a:pt x="3640" y="2177"/>
                  <a:pt x="3640" y="2177"/>
                  <a:pt x="3644" y="2177"/>
                </a:cubicBezTo>
                <a:cubicBezTo>
                  <a:pt x="3644" y="2177"/>
                  <a:pt x="3644" y="2177"/>
                  <a:pt x="3644" y="2168"/>
                </a:cubicBezTo>
                <a:cubicBezTo>
                  <a:pt x="3644" y="2168"/>
                  <a:pt x="3644" y="2168"/>
                  <a:pt x="3643" y="2168"/>
                </a:cubicBezTo>
                <a:cubicBezTo>
                  <a:pt x="3639" y="2168"/>
                  <a:pt x="3638" y="2166"/>
                  <a:pt x="3638" y="2162"/>
                </a:cubicBezTo>
                <a:cubicBezTo>
                  <a:pt x="3638" y="2161"/>
                  <a:pt x="3638" y="2159"/>
                  <a:pt x="3638" y="2157"/>
                </a:cubicBezTo>
                <a:cubicBezTo>
                  <a:pt x="3638" y="2156"/>
                  <a:pt x="3638" y="2154"/>
                  <a:pt x="3638" y="2151"/>
                </a:cubicBezTo>
                <a:cubicBezTo>
                  <a:pt x="3638" y="2144"/>
                  <a:pt x="3636" y="2141"/>
                  <a:pt x="3630" y="2140"/>
                </a:cubicBezTo>
                <a:cubicBezTo>
                  <a:pt x="3630" y="2140"/>
                  <a:pt x="3630" y="2140"/>
                  <a:pt x="3630" y="2140"/>
                </a:cubicBezTo>
                <a:cubicBezTo>
                  <a:pt x="3636" y="2139"/>
                  <a:pt x="3638" y="2136"/>
                  <a:pt x="3638" y="2129"/>
                </a:cubicBezTo>
                <a:cubicBezTo>
                  <a:pt x="3638" y="2126"/>
                  <a:pt x="3638" y="2124"/>
                  <a:pt x="3638" y="2123"/>
                </a:cubicBezTo>
                <a:cubicBezTo>
                  <a:pt x="3638" y="2121"/>
                  <a:pt x="3638" y="2119"/>
                  <a:pt x="3638" y="2118"/>
                </a:cubicBezTo>
                <a:cubicBezTo>
                  <a:pt x="3638" y="2114"/>
                  <a:pt x="3639" y="2112"/>
                  <a:pt x="3643" y="2112"/>
                </a:cubicBezTo>
                <a:cubicBezTo>
                  <a:pt x="3643" y="2112"/>
                  <a:pt x="3643" y="2112"/>
                  <a:pt x="3644" y="2112"/>
                </a:cubicBezTo>
                <a:cubicBezTo>
                  <a:pt x="3644" y="2112"/>
                  <a:pt x="3644" y="2112"/>
                  <a:pt x="3644" y="2103"/>
                </a:cubicBezTo>
                <a:cubicBezTo>
                  <a:pt x="3644" y="2103"/>
                  <a:pt x="3644" y="2103"/>
                  <a:pt x="3640" y="2103"/>
                </a:cubicBezTo>
                <a:cubicBezTo>
                  <a:pt x="3631" y="2103"/>
                  <a:pt x="3626" y="2107"/>
                  <a:pt x="3626" y="2115"/>
                </a:cubicBezTo>
                <a:cubicBezTo>
                  <a:pt x="3626" y="2118"/>
                  <a:pt x="3626" y="2120"/>
                  <a:pt x="3626" y="2123"/>
                </a:cubicBezTo>
                <a:cubicBezTo>
                  <a:pt x="3627" y="2125"/>
                  <a:pt x="3627" y="2128"/>
                  <a:pt x="3627" y="2130"/>
                </a:cubicBezTo>
                <a:cubicBezTo>
                  <a:pt x="3627" y="2132"/>
                  <a:pt x="3626" y="2136"/>
                  <a:pt x="3620" y="2136"/>
                </a:cubicBezTo>
                <a:close/>
                <a:moveTo>
                  <a:pt x="3675" y="2144"/>
                </a:moveTo>
                <a:cubicBezTo>
                  <a:pt x="3675" y="2144"/>
                  <a:pt x="3675" y="2144"/>
                  <a:pt x="3675" y="2144"/>
                </a:cubicBezTo>
                <a:cubicBezTo>
                  <a:pt x="3675" y="2136"/>
                  <a:pt x="3675" y="2136"/>
                  <a:pt x="3675" y="2136"/>
                </a:cubicBezTo>
                <a:cubicBezTo>
                  <a:pt x="3668" y="2136"/>
                  <a:pt x="3668" y="2132"/>
                  <a:pt x="3668" y="2130"/>
                </a:cubicBezTo>
                <a:cubicBezTo>
                  <a:pt x="3668" y="2128"/>
                  <a:pt x="3668" y="2125"/>
                  <a:pt x="3668" y="2123"/>
                </a:cubicBezTo>
                <a:cubicBezTo>
                  <a:pt x="3669" y="2120"/>
                  <a:pt x="3669" y="2118"/>
                  <a:pt x="3669" y="2115"/>
                </a:cubicBezTo>
                <a:cubicBezTo>
                  <a:pt x="3669" y="2107"/>
                  <a:pt x="3664" y="2103"/>
                  <a:pt x="3654" y="2103"/>
                </a:cubicBezTo>
                <a:cubicBezTo>
                  <a:pt x="3654" y="2103"/>
                  <a:pt x="3654" y="2103"/>
                  <a:pt x="3651" y="2103"/>
                </a:cubicBezTo>
                <a:cubicBezTo>
                  <a:pt x="3651" y="2103"/>
                  <a:pt x="3651" y="2103"/>
                  <a:pt x="3651" y="2112"/>
                </a:cubicBezTo>
                <a:cubicBezTo>
                  <a:pt x="3651" y="2112"/>
                  <a:pt x="3651" y="2112"/>
                  <a:pt x="3652" y="2112"/>
                </a:cubicBezTo>
                <a:cubicBezTo>
                  <a:pt x="3656" y="2112"/>
                  <a:pt x="3657" y="2114"/>
                  <a:pt x="3657" y="2118"/>
                </a:cubicBezTo>
                <a:cubicBezTo>
                  <a:pt x="3657" y="2119"/>
                  <a:pt x="3657" y="2121"/>
                  <a:pt x="3657" y="2123"/>
                </a:cubicBezTo>
                <a:cubicBezTo>
                  <a:pt x="3657" y="2124"/>
                  <a:pt x="3657" y="2126"/>
                  <a:pt x="3657" y="2129"/>
                </a:cubicBezTo>
                <a:cubicBezTo>
                  <a:pt x="3657" y="2136"/>
                  <a:pt x="3659" y="2139"/>
                  <a:pt x="3665" y="2140"/>
                </a:cubicBezTo>
                <a:cubicBezTo>
                  <a:pt x="3665" y="2140"/>
                  <a:pt x="3665" y="2140"/>
                  <a:pt x="3665" y="2140"/>
                </a:cubicBezTo>
                <a:cubicBezTo>
                  <a:pt x="3659" y="2141"/>
                  <a:pt x="3657" y="2144"/>
                  <a:pt x="3657" y="2151"/>
                </a:cubicBezTo>
                <a:cubicBezTo>
                  <a:pt x="3657" y="2154"/>
                  <a:pt x="3657" y="2156"/>
                  <a:pt x="3657" y="2157"/>
                </a:cubicBezTo>
                <a:cubicBezTo>
                  <a:pt x="3657" y="2159"/>
                  <a:pt x="3657" y="2161"/>
                  <a:pt x="3657" y="2162"/>
                </a:cubicBezTo>
                <a:cubicBezTo>
                  <a:pt x="3657" y="2166"/>
                  <a:pt x="3656" y="2168"/>
                  <a:pt x="3652" y="2168"/>
                </a:cubicBezTo>
                <a:cubicBezTo>
                  <a:pt x="3652" y="2168"/>
                  <a:pt x="3652" y="2168"/>
                  <a:pt x="3651" y="2168"/>
                </a:cubicBezTo>
                <a:cubicBezTo>
                  <a:pt x="3651" y="2168"/>
                  <a:pt x="3651" y="2168"/>
                  <a:pt x="3651" y="2177"/>
                </a:cubicBezTo>
                <a:cubicBezTo>
                  <a:pt x="3651" y="2177"/>
                  <a:pt x="3651" y="2177"/>
                  <a:pt x="3654" y="2177"/>
                </a:cubicBezTo>
                <a:cubicBezTo>
                  <a:pt x="3663" y="2177"/>
                  <a:pt x="3669" y="2174"/>
                  <a:pt x="3669" y="2164"/>
                </a:cubicBezTo>
                <a:cubicBezTo>
                  <a:pt x="3669" y="2162"/>
                  <a:pt x="3669" y="2160"/>
                  <a:pt x="3668" y="2157"/>
                </a:cubicBezTo>
                <a:cubicBezTo>
                  <a:pt x="3668" y="2155"/>
                  <a:pt x="3668" y="2152"/>
                  <a:pt x="3668" y="2150"/>
                </a:cubicBezTo>
                <a:cubicBezTo>
                  <a:pt x="3668" y="2148"/>
                  <a:pt x="3668" y="2145"/>
                  <a:pt x="3675" y="2144"/>
                </a:cubicBezTo>
                <a:close/>
                <a:moveTo>
                  <a:pt x="3795" y="2177"/>
                </a:moveTo>
                <a:cubicBezTo>
                  <a:pt x="3788" y="2177"/>
                  <a:pt x="3781" y="2174"/>
                  <a:pt x="3777" y="2168"/>
                </a:cubicBezTo>
                <a:cubicBezTo>
                  <a:pt x="3773" y="2162"/>
                  <a:pt x="3771" y="2153"/>
                  <a:pt x="3771" y="2141"/>
                </a:cubicBezTo>
                <a:cubicBezTo>
                  <a:pt x="3771" y="2128"/>
                  <a:pt x="3773" y="2118"/>
                  <a:pt x="3777" y="2112"/>
                </a:cubicBezTo>
                <a:cubicBezTo>
                  <a:pt x="3782" y="2105"/>
                  <a:pt x="3788" y="2101"/>
                  <a:pt x="3797" y="2101"/>
                </a:cubicBezTo>
                <a:cubicBezTo>
                  <a:pt x="3813" y="2101"/>
                  <a:pt x="3821" y="2114"/>
                  <a:pt x="3821" y="2139"/>
                </a:cubicBezTo>
                <a:cubicBezTo>
                  <a:pt x="3821" y="2152"/>
                  <a:pt x="3819" y="2161"/>
                  <a:pt x="3814" y="2168"/>
                </a:cubicBezTo>
                <a:cubicBezTo>
                  <a:pt x="3809" y="2174"/>
                  <a:pt x="3803" y="2177"/>
                  <a:pt x="3795" y="2177"/>
                </a:cubicBezTo>
                <a:close/>
                <a:moveTo>
                  <a:pt x="3796" y="2111"/>
                </a:moveTo>
                <a:cubicBezTo>
                  <a:pt x="3787" y="2111"/>
                  <a:pt x="3782" y="2121"/>
                  <a:pt x="3782" y="2141"/>
                </a:cubicBezTo>
                <a:cubicBezTo>
                  <a:pt x="3782" y="2159"/>
                  <a:pt x="3787" y="2168"/>
                  <a:pt x="3796" y="2168"/>
                </a:cubicBezTo>
                <a:cubicBezTo>
                  <a:pt x="3804" y="2168"/>
                  <a:pt x="3809" y="2159"/>
                  <a:pt x="3809" y="2140"/>
                </a:cubicBezTo>
                <a:cubicBezTo>
                  <a:pt x="3809" y="2120"/>
                  <a:pt x="3804" y="2111"/>
                  <a:pt x="3796" y="2111"/>
                </a:cubicBezTo>
                <a:close/>
                <a:moveTo>
                  <a:pt x="3869" y="2104"/>
                </a:moveTo>
                <a:cubicBezTo>
                  <a:pt x="3869" y="2104"/>
                  <a:pt x="3869" y="2104"/>
                  <a:pt x="3869" y="2104"/>
                </a:cubicBezTo>
                <a:cubicBezTo>
                  <a:pt x="3864" y="2104"/>
                  <a:pt x="3864" y="2104"/>
                  <a:pt x="3864" y="2104"/>
                </a:cubicBezTo>
                <a:cubicBezTo>
                  <a:pt x="3861" y="2105"/>
                  <a:pt x="3860" y="2107"/>
                  <a:pt x="3858" y="2107"/>
                </a:cubicBezTo>
                <a:cubicBezTo>
                  <a:pt x="3856" y="2109"/>
                  <a:pt x="3854" y="2110"/>
                  <a:pt x="3853" y="2110"/>
                </a:cubicBezTo>
                <a:cubicBezTo>
                  <a:pt x="3850" y="2111"/>
                  <a:pt x="3849" y="2112"/>
                  <a:pt x="3848" y="2112"/>
                </a:cubicBezTo>
                <a:cubicBezTo>
                  <a:pt x="3845" y="2113"/>
                  <a:pt x="3844" y="2114"/>
                  <a:pt x="3842" y="2115"/>
                </a:cubicBezTo>
                <a:cubicBezTo>
                  <a:pt x="3842" y="2115"/>
                  <a:pt x="3842" y="2115"/>
                  <a:pt x="3842" y="2125"/>
                </a:cubicBezTo>
                <a:cubicBezTo>
                  <a:pt x="3845" y="2124"/>
                  <a:pt x="3848" y="2123"/>
                  <a:pt x="3850" y="2122"/>
                </a:cubicBezTo>
                <a:cubicBezTo>
                  <a:pt x="3853" y="2121"/>
                  <a:pt x="3855" y="2120"/>
                  <a:pt x="3857" y="2118"/>
                </a:cubicBezTo>
                <a:cubicBezTo>
                  <a:pt x="3857" y="2118"/>
                  <a:pt x="3857" y="2118"/>
                  <a:pt x="3857" y="2177"/>
                </a:cubicBezTo>
                <a:cubicBezTo>
                  <a:pt x="3857" y="2177"/>
                  <a:pt x="3857" y="2177"/>
                  <a:pt x="3869" y="2177"/>
                </a:cubicBezTo>
                <a:cubicBezTo>
                  <a:pt x="3869" y="2177"/>
                  <a:pt x="3869" y="2177"/>
                  <a:pt x="3869" y="2104"/>
                </a:cubicBezTo>
                <a:close/>
                <a:moveTo>
                  <a:pt x="2065" y="2056"/>
                </a:moveTo>
                <a:cubicBezTo>
                  <a:pt x="2066" y="2058"/>
                  <a:pt x="2066" y="2059"/>
                  <a:pt x="2067" y="2060"/>
                </a:cubicBezTo>
                <a:cubicBezTo>
                  <a:pt x="2067" y="2062"/>
                  <a:pt x="2068" y="2064"/>
                  <a:pt x="2068" y="2065"/>
                </a:cubicBezTo>
                <a:cubicBezTo>
                  <a:pt x="2068" y="2067"/>
                  <a:pt x="2068" y="2069"/>
                  <a:pt x="2068" y="2070"/>
                </a:cubicBezTo>
                <a:cubicBezTo>
                  <a:pt x="2069" y="2073"/>
                  <a:pt x="2068" y="2075"/>
                  <a:pt x="2065" y="2075"/>
                </a:cubicBezTo>
                <a:cubicBezTo>
                  <a:pt x="2062" y="2075"/>
                  <a:pt x="2059" y="2075"/>
                  <a:pt x="2057" y="2075"/>
                </a:cubicBezTo>
                <a:cubicBezTo>
                  <a:pt x="2056" y="2075"/>
                  <a:pt x="2055" y="2075"/>
                  <a:pt x="2055" y="2075"/>
                </a:cubicBezTo>
                <a:cubicBezTo>
                  <a:pt x="2054" y="2077"/>
                  <a:pt x="2052" y="2078"/>
                  <a:pt x="2051" y="2079"/>
                </a:cubicBezTo>
                <a:cubicBezTo>
                  <a:pt x="2049" y="2082"/>
                  <a:pt x="2046" y="2082"/>
                  <a:pt x="2043" y="2080"/>
                </a:cubicBezTo>
                <a:cubicBezTo>
                  <a:pt x="2041" y="2078"/>
                  <a:pt x="2040" y="2075"/>
                  <a:pt x="2039" y="2073"/>
                </a:cubicBezTo>
                <a:cubicBezTo>
                  <a:pt x="2038" y="2071"/>
                  <a:pt x="2038" y="2069"/>
                  <a:pt x="2041" y="2068"/>
                </a:cubicBezTo>
                <a:cubicBezTo>
                  <a:pt x="2038" y="2068"/>
                  <a:pt x="2036" y="2068"/>
                  <a:pt x="2035" y="2068"/>
                </a:cubicBezTo>
                <a:cubicBezTo>
                  <a:pt x="2034" y="2070"/>
                  <a:pt x="2033" y="2072"/>
                  <a:pt x="2032" y="2074"/>
                </a:cubicBezTo>
                <a:cubicBezTo>
                  <a:pt x="2032" y="2075"/>
                  <a:pt x="2032" y="2075"/>
                  <a:pt x="2032" y="2076"/>
                </a:cubicBezTo>
                <a:cubicBezTo>
                  <a:pt x="2032" y="2079"/>
                  <a:pt x="2030" y="2081"/>
                  <a:pt x="2027" y="2080"/>
                </a:cubicBezTo>
                <a:cubicBezTo>
                  <a:pt x="2024" y="2080"/>
                  <a:pt x="2021" y="2079"/>
                  <a:pt x="2018" y="2078"/>
                </a:cubicBezTo>
                <a:cubicBezTo>
                  <a:pt x="2016" y="2077"/>
                  <a:pt x="2016" y="2076"/>
                  <a:pt x="2016" y="2074"/>
                </a:cubicBezTo>
                <a:cubicBezTo>
                  <a:pt x="2017" y="2073"/>
                  <a:pt x="2017" y="2072"/>
                  <a:pt x="2017" y="2072"/>
                </a:cubicBezTo>
                <a:cubicBezTo>
                  <a:pt x="2015" y="2071"/>
                  <a:pt x="2012" y="2070"/>
                  <a:pt x="2010" y="2069"/>
                </a:cubicBezTo>
                <a:cubicBezTo>
                  <a:pt x="2009" y="2068"/>
                  <a:pt x="2008" y="2066"/>
                  <a:pt x="2007" y="2064"/>
                </a:cubicBezTo>
                <a:cubicBezTo>
                  <a:pt x="2006" y="2062"/>
                  <a:pt x="2006" y="2061"/>
                  <a:pt x="2008" y="2059"/>
                </a:cubicBezTo>
                <a:cubicBezTo>
                  <a:pt x="2012" y="2057"/>
                  <a:pt x="2012" y="2054"/>
                  <a:pt x="2012" y="2050"/>
                </a:cubicBezTo>
                <a:cubicBezTo>
                  <a:pt x="2012" y="2048"/>
                  <a:pt x="2012" y="2046"/>
                  <a:pt x="2012" y="2044"/>
                </a:cubicBezTo>
                <a:cubicBezTo>
                  <a:pt x="2010" y="2043"/>
                  <a:pt x="2008" y="2043"/>
                  <a:pt x="2008" y="2042"/>
                </a:cubicBezTo>
                <a:cubicBezTo>
                  <a:pt x="2006" y="2040"/>
                  <a:pt x="2006" y="2038"/>
                  <a:pt x="2006" y="2036"/>
                </a:cubicBezTo>
                <a:cubicBezTo>
                  <a:pt x="2005" y="2033"/>
                  <a:pt x="2009" y="2031"/>
                  <a:pt x="2012" y="2030"/>
                </a:cubicBezTo>
                <a:cubicBezTo>
                  <a:pt x="2012" y="2031"/>
                  <a:pt x="2012" y="2031"/>
                  <a:pt x="2012" y="2032"/>
                </a:cubicBezTo>
                <a:cubicBezTo>
                  <a:pt x="2012" y="2033"/>
                  <a:pt x="2012" y="2034"/>
                  <a:pt x="2013" y="2035"/>
                </a:cubicBezTo>
                <a:cubicBezTo>
                  <a:pt x="2012" y="2035"/>
                  <a:pt x="2012" y="2035"/>
                  <a:pt x="2011" y="2035"/>
                </a:cubicBezTo>
                <a:cubicBezTo>
                  <a:pt x="2011" y="2036"/>
                  <a:pt x="2010" y="2037"/>
                  <a:pt x="2010" y="2039"/>
                </a:cubicBezTo>
                <a:cubicBezTo>
                  <a:pt x="2011" y="2039"/>
                  <a:pt x="2012" y="2039"/>
                  <a:pt x="2012" y="2039"/>
                </a:cubicBezTo>
                <a:cubicBezTo>
                  <a:pt x="2013" y="2037"/>
                  <a:pt x="2014" y="2037"/>
                  <a:pt x="2015" y="2035"/>
                </a:cubicBezTo>
                <a:cubicBezTo>
                  <a:pt x="2019" y="2029"/>
                  <a:pt x="2025" y="2025"/>
                  <a:pt x="2033" y="2023"/>
                </a:cubicBezTo>
                <a:cubicBezTo>
                  <a:pt x="2036" y="2023"/>
                  <a:pt x="2039" y="2022"/>
                  <a:pt x="2041" y="2019"/>
                </a:cubicBezTo>
                <a:cubicBezTo>
                  <a:pt x="2041" y="2018"/>
                  <a:pt x="2042" y="2018"/>
                  <a:pt x="2043" y="2018"/>
                </a:cubicBezTo>
                <a:cubicBezTo>
                  <a:pt x="2045" y="2018"/>
                  <a:pt x="2047" y="2015"/>
                  <a:pt x="2049" y="2013"/>
                </a:cubicBezTo>
                <a:cubicBezTo>
                  <a:pt x="2056" y="2006"/>
                  <a:pt x="2068" y="2005"/>
                  <a:pt x="2076" y="2012"/>
                </a:cubicBezTo>
                <a:cubicBezTo>
                  <a:pt x="2078" y="2014"/>
                  <a:pt x="2081" y="2016"/>
                  <a:pt x="2083" y="2018"/>
                </a:cubicBezTo>
                <a:cubicBezTo>
                  <a:pt x="2085" y="2019"/>
                  <a:pt x="2086" y="2021"/>
                  <a:pt x="2087" y="2023"/>
                </a:cubicBezTo>
                <a:cubicBezTo>
                  <a:pt x="2088" y="2024"/>
                  <a:pt x="2089" y="2024"/>
                  <a:pt x="2090" y="2023"/>
                </a:cubicBezTo>
                <a:cubicBezTo>
                  <a:pt x="2091" y="2023"/>
                  <a:pt x="2092" y="2022"/>
                  <a:pt x="2092" y="2021"/>
                </a:cubicBezTo>
                <a:cubicBezTo>
                  <a:pt x="2094" y="2018"/>
                  <a:pt x="2097" y="2018"/>
                  <a:pt x="2099" y="2022"/>
                </a:cubicBezTo>
                <a:cubicBezTo>
                  <a:pt x="2100" y="2025"/>
                  <a:pt x="2101" y="2027"/>
                  <a:pt x="2101" y="2031"/>
                </a:cubicBezTo>
                <a:cubicBezTo>
                  <a:pt x="2102" y="2035"/>
                  <a:pt x="2101" y="2039"/>
                  <a:pt x="2100" y="2044"/>
                </a:cubicBezTo>
                <a:cubicBezTo>
                  <a:pt x="2097" y="2050"/>
                  <a:pt x="2093" y="2054"/>
                  <a:pt x="2086" y="2054"/>
                </a:cubicBezTo>
                <a:cubicBezTo>
                  <a:pt x="2085" y="2054"/>
                  <a:pt x="2085" y="2054"/>
                  <a:pt x="2084" y="2054"/>
                </a:cubicBezTo>
                <a:cubicBezTo>
                  <a:pt x="2082" y="2053"/>
                  <a:pt x="2081" y="2054"/>
                  <a:pt x="2080" y="2056"/>
                </a:cubicBezTo>
                <a:cubicBezTo>
                  <a:pt x="2078" y="2060"/>
                  <a:pt x="2073" y="2062"/>
                  <a:pt x="2069" y="2059"/>
                </a:cubicBezTo>
                <a:cubicBezTo>
                  <a:pt x="2068" y="2058"/>
                  <a:pt x="2067" y="2057"/>
                  <a:pt x="2066" y="2056"/>
                </a:cubicBezTo>
                <a:cubicBezTo>
                  <a:pt x="2066" y="2056"/>
                  <a:pt x="2066" y="2056"/>
                  <a:pt x="2065" y="2056"/>
                </a:cubicBezTo>
                <a:close/>
                <a:moveTo>
                  <a:pt x="2060" y="2052"/>
                </a:moveTo>
                <a:cubicBezTo>
                  <a:pt x="2063" y="2053"/>
                  <a:pt x="2067" y="2054"/>
                  <a:pt x="2070" y="2057"/>
                </a:cubicBezTo>
                <a:cubicBezTo>
                  <a:pt x="2071" y="2059"/>
                  <a:pt x="2073" y="2060"/>
                  <a:pt x="2075" y="2059"/>
                </a:cubicBezTo>
                <a:cubicBezTo>
                  <a:pt x="2078" y="2058"/>
                  <a:pt x="2079" y="2056"/>
                  <a:pt x="2079" y="2053"/>
                </a:cubicBezTo>
                <a:cubicBezTo>
                  <a:pt x="2079" y="2053"/>
                  <a:pt x="2078" y="2053"/>
                  <a:pt x="2078" y="2054"/>
                </a:cubicBezTo>
                <a:cubicBezTo>
                  <a:pt x="2078" y="2055"/>
                  <a:pt x="2077" y="2056"/>
                  <a:pt x="2076" y="2057"/>
                </a:cubicBezTo>
                <a:cubicBezTo>
                  <a:pt x="2075" y="2058"/>
                  <a:pt x="2074" y="2058"/>
                  <a:pt x="2073" y="2058"/>
                </a:cubicBezTo>
                <a:cubicBezTo>
                  <a:pt x="2072" y="2058"/>
                  <a:pt x="2072" y="2056"/>
                  <a:pt x="2072" y="2056"/>
                </a:cubicBezTo>
                <a:cubicBezTo>
                  <a:pt x="2072" y="2053"/>
                  <a:pt x="2072" y="2051"/>
                  <a:pt x="2072" y="2049"/>
                </a:cubicBezTo>
                <a:cubicBezTo>
                  <a:pt x="2075" y="2050"/>
                  <a:pt x="2079" y="2051"/>
                  <a:pt x="2082" y="2052"/>
                </a:cubicBezTo>
                <a:cubicBezTo>
                  <a:pt x="2090" y="2053"/>
                  <a:pt x="2095" y="2051"/>
                  <a:pt x="2099" y="2043"/>
                </a:cubicBezTo>
                <a:cubicBezTo>
                  <a:pt x="2100" y="2038"/>
                  <a:pt x="2100" y="2033"/>
                  <a:pt x="2099" y="2028"/>
                </a:cubicBezTo>
                <a:cubicBezTo>
                  <a:pt x="2099" y="2026"/>
                  <a:pt x="2098" y="2024"/>
                  <a:pt x="2097" y="2022"/>
                </a:cubicBezTo>
                <a:cubicBezTo>
                  <a:pt x="2096" y="2021"/>
                  <a:pt x="2095" y="2020"/>
                  <a:pt x="2094" y="2022"/>
                </a:cubicBezTo>
                <a:cubicBezTo>
                  <a:pt x="2092" y="2024"/>
                  <a:pt x="2091" y="2025"/>
                  <a:pt x="2089" y="2026"/>
                </a:cubicBezTo>
                <a:cubicBezTo>
                  <a:pt x="2088" y="2026"/>
                  <a:pt x="2087" y="2027"/>
                  <a:pt x="2088" y="2028"/>
                </a:cubicBezTo>
                <a:cubicBezTo>
                  <a:pt x="2088" y="2031"/>
                  <a:pt x="2088" y="2035"/>
                  <a:pt x="2086" y="2038"/>
                </a:cubicBezTo>
                <a:cubicBezTo>
                  <a:pt x="2086" y="2036"/>
                  <a:pt x="2087" y="2034"/>
                  <a:pt x="2087" y="2032"/>
                </a:cubicBezTo>
                <a:cubicBezTo>
                  <a:pt x="2087" y="2031"/>
                  <a:pt x="2086" y="2031"/>
                  <a:pt x="2086" y="2031"/>
                </a:cubicBezTo>
                <a:cubicBezTo>
                  <a:pt x="2086" y="2031"/>
                  <a:pt x="2085" y="2031"/>
                  <a:pt x="2085" y="2031"/>
                </a:cubicBezTo>
                <a:cubicBezTo>
                  <a:pt x="2084" y="2033"/>
                  <a:pt x="2083" y="2034"/>
                  <a:pt x="2083" y="2035"/>
                </a:cubicBezTo>
                <a:cubicBezTo>
                  <a:pt x="2082" y="2035"/>
                  <a:pt x="2082" y="2035"/>
                  <a:pt x="2082" y="2035"/>
                </a:cubicBezTo>
                <a:cubicBezTo>
                  <a:pt x="2083" y="2034"/>
                  <a:pt x="2083" y="2032"/>
                  <a:pt x="2083" y="2030"/>
                </a:cubicBezTo>
                <a:cubicBezTo>
                  <a:pt x="2082" y="2031"/>
                  <a:pt x="2082" y="2031"/>
                  <a:pt x="2081" y="2032"/>
                </a:cubicBezTo>
                <a:cubicBezTo>
                  <a:pt x="2081" y="2032"/>
                  <a:pt x="2080" y="2033"/>
                  <a:pt x="2080" y="2034"/>
                </a:cubicBezTo>
                <a:cubicBezTo>
                  <a:pt x="2080" y="2030"/>
                  <a:pt x="2081" y="2030"/>
                  <a:pt x="2086" y="2029"/>
                </a:cubicBezTo>
                <a:cubicBezTo>
                  <a:pt x="2086" y="2029"/>
                  <a:pt x="2085" y="2028"/>
                  <a:pt x="2085" y="2028"/>
                </a:cubicBezTo>
                <a:cubicBezTo>
                  <a:pt x="2083" y="2029"/>
                  <a:pt x="2082" y="2027"/>
                  <a:pt x="2081" y="2025"/>
                </a:cubicBezTo>
                <a:cubicBezTo>
                  <a:pt x="2083" y="2024"/>
                  <a:pt x="2085" y="2024"/>
                  <a:pt x="2086" y="2024"/>
                </a:cubicBezTo>
                <a:cubicBezTo>
                  <a:pt x="2085" y="2021"/>
                  <a:pt x="2083" y="2018"/>
                  <a:pt x="2080" y="2018"/>
                </a:cubicBezTo>
                <a:cubicBezTo>
                  <a:pt x="2079" y="2018"/>
                  <a:pt x="2079" y="2018"/>
                  <a:pt x="2079" y="2017"/>
                </a:cubicBezTo>
                <a:cubicBezTo>
                  <a:pt x="2077" y="2015"/>
                  <a:pt x="2074" y="2013"/>
                  <a:pt x="2072" y="2011"/>
                </a:cubicBezTo>
                <a:cubicBezTo>
                  <a:pt x="2069" y="2010"/>
                  <a:pt x="2066" y="2009"/>
                  <a:pt x="2064" y="2009"/>
                </a:cubicBezTo>
                <a:cubicBezTo>
                  <a:pt x="2061" y="2009"/>
                  <a:pt x="2058" y="2010"/>
                  <a:pt x="2055" y="2011"/>
                </a:cubicBezTo>
                <a:cubicBezTo>
                  <a:pt x="2052" y="2012"/>
                  <a:pt x="2049" y="2014"/>
                  <a:pt x="2048" y="2017"/>
                </a:cubicBezTo>
                <a:cubicBezTo>
                  <a:pt x="2049" y="2017"/>
                  <a:pt x="2050" y="2017"/>
                  <a:pt x="2052" y="2017"/>
                </a:cubicBezTo>
                <a:cubicBezTo>
                  <a:pt x="2051" y="2018"/>
                  <a:pt x="2050" y="2018"/>
                  <a:pt x="2050" y="2018"/>
                </a:cubicBezTo>
                <a:cubicBezTo>
                  <a:pt x="2047" y="2019"/>
                  <a:pt x="2045" y="2018"/>
                  <a:pt x="2043" y="2020"/>
                </a:cubicBezTo>
                <a:cubicBezTo>
                  <a:pt x="2039" y="2024"/>
                  <a:pt x="2035" y="2028"/>
                  <a:pt x="2032" y="2032"/>
                </a:cubicBezTo>
                <a:cubicBezTo>
                  <a:pt x="2030" y="2034"/>
                  <a:pt x="2029" y="2037"/>
                  <a:pt x="2028" y="2039"/>
                </a:cubicBezTo>
                <a:cubicBezTo>
                  <a:pt x="2028" y="2039"/>
                  <a:pt x="2028" y="2040"/>
                  <a:pt x="2028" y="2041"/>
                </a:cubicBezTo>
                <a:cubicBezTo>
                  <a:pt x="2030" y="2043"/>
                  <a:pt x="2031" y="2045"/>
                  <a:pt x="2032" y="2046"/>
                </a:cubicBezTo>
                <a:cubicBezTo>
                  <a:pt x="2034" y="2045"/>
                  <a:pt x="2035" y="2043"/>
                  <a:pt x="2036" y="2042"/>
                </a:cubicBezTo>
                <a:cubicBezTo>
                  <a:pt x="2035" y="2043"/>
                  <a:pt x="2035" y="2045"/>
                  <a:pt x="2034" y="2046"/>
                </a:cubicBezTo>
                <a:cubicBezTo>
                  <a:pt x="2034" y="2047"/>
                  <a:pt x="2033" y="2048"/>
                  <a:pt x="2032" y="2050"/>
                </a:cubicBezTo>
                <a:cubicBezTo>
                  <a:pt x="2032" y="2051"/>
                  <a:pt x="2032" y="2052"/>
                  <a:pt x="2033" y="2053"/>
                </a:cubicBezTo>
                <a:cubicBezTo>
                  <a:pt x="2035" y="2056"/>
                  <a:pt x="2038" y="2056"/>
                  <a:pt x="2042" y="2054"/>
                </a:cubicBezTo>
                <a:cubicBezTo>
                  <a:pt x="2045" y="2053"/>
                  <a:pt x="2047" y="2052"/>
                  <a:pt x="2050" y="2051"/>
                </a:cubicBezTo>
                <a:cubicBezTo>
                  <a:pt x="2052" y="2050"/>
                  <a:pt x="2053" y="2050"/>
                  <a:pt x="2053" y="2048"/>
                </a:cubicBezTo>
                <a:cubicBezTo>
                  <a:pt x="2053" y="2045"/>
                  <a:pt x="2053" y="2041"/>
                  <a:pt x="2053" y="2038"/>
                </a:cubicBezTo>
                <a:cubicBezTo>
                  <a:pt x="2053" y="2035"/>
                  <a:pt x="2053" y="2032"/>
                  <a:pt x="2053" y="2029"/>
                </a:cubicBezTo>
                <a:cubicBezTo>
                  <a:pt x="2054" y="2032"/>
                  <a:pt x="2054" y="2035"/>
                  <a:pt x="2054" y="2037"/>
                </a:cubicBezTo>
                <a:cubicBezTo>
                  <a:pt x="2055" y="2042"/>
                  <a:pt x="2055" y="2046"/>
                  <a:pt x="2054" y="2050"/>
                </a:cubicBezTo>
                <a:cubicBezTo>
                  <a:pt x="2054" y="2051"/>
                  <a:pt x="2053" y="2052"/>
                  <a:pt x="2052" y="2052"/>
                </a:cubicBezTo>
                <a:cubicBezTo>
                  <a:pt x="2049" y="2052"/>
                  <a:pt x="2046" y="2054"/>
                  <a:pt x="2043" y="2056"/>
                </a:cubicBezTo>
                <a:cubicBezTo>
                  <a:pt x="2037" y="2059"/>
                  <a:pt x="2034" y="2057"/>
                  <a:pt x="2030" y="2053"/>
                </a:cubicBezTo>
                <a:cubicBezTo>
                  <a:pt x="2030" y="2053"/>
                  <a:pt x="2030" y="2052"/>
                  <a:pt x="2030" y="2051"/>
                </a:cubicBezTo>
                <a:cubicBezTo>
                  <a:pt x="2032" y="2049"/>
                  <a:pt x="2030" y="2047"/>
                  <a:pt x="2029" y="2045"/>
                </a:cubicBezTo>
                <a:cubicBezTo>
                  <a:pt x="2027" y="2043"/>
                  <a:pt x="2026" y="2041"/>
                  <a:pt x="2027" y="2038"/>
                </a:cubicBezTo>
                <a:cubicBezTo>
                  <a:pt x="2027" y="2036"/>
                  <a:pt x="2028" y="2034"/>
                  <a:pt x="2030" y="2033"/>
                </a:cubicBezTo>
                <a:cubicBezTo>
                  <a:pt x="2031" y="2030"/>
                  <a:pt x="2034" y="2027"/>
                  <a:pt x="2035" y="2025"/>
                </a:cubicBezTo>
                <a:cubicBezTo>
                  <a:pt x="2035" y="2025"/>
                  <a:pt x="2034" y="2025"/>
                  <a:pt x="2034" y="2025"/>
                </a:cubicBezTo>
                <a:cubicBezTo>
                  <a:pt x="2029" y="2026"/>
                  <a:pt x="2025" y="2027"/>
                  <a:pt x="2021" y="2031"/>
                </a:cubicBezTo>
                <a:cubicBezTo>
                  <a:pt x="2016" y="2035"/>
                  <a:pt x="2014" y="2040"/>
                  <a:pt x="2013" y="2047"/>
                </a:cubicBezTo>
                <a:cubicBezTo>
                  <a:pt x="2013" y="2054"/>
                  <a:pt x="2015" y="2060"/>
                  <a:pt x="2019" y="2065"/>
                </a:cubicBezTo>
                <a:cubicBezTo>
                  <a:pt x="2019" y="2066"/>
                  <a:pt x="2020" y="2068"/>
                  <a:pt x="2019" y="2069"/>
                </a:cubicBezTo>
                <a:cubicBezTo>
                  <a:pt x="2019" y="2071"/>
                  <a:pt x="2019" y="2072"/>
                  <a:pt x="2018" y="2073"/>
                </a:cubicBezTo>
                <a:cubicBezTo>
                  <a:pt x="2018" y="2075"/>
                  <a:pt x="2018" y="2076"/>
                  <a:pt x="2019" y="2077"/>
                </a:cubicBezTo>
                <a:cubicBezTo>
                  <a:pt x="2023" y="2077"/>
                  <a:pt x="2025" y="2078"/>
                  <a:pt x="2028" y="2078"/>
                </a:cubicBezTo>
                <a:cubicBezTo>
                  <a:pt x="2029" y="2078"/>
                  <a:pt x="2030" y="2077"/>
                  <a:pt x="2030" y="2077"/>
                </a:cubicBezTo>
                <a:cubicBezTo>
                  <a:pt x="2030" y="2076"/>
                  <a:pt x="2030" y="2074"/>
                  <a:pt x="2031" y="2073"/>
                </a:cubicBezTo>
                <a:cubicBezTo>
                  <a:pt x="2033" y="2071"/>
                  <a:pt x="2033" y="2068"/>
                  <a:pt x="2033" y="2065"/>
                </a:cubicBezTo>
                <a:cubicBezTo>
                  <a:pt x="2033" y="2065"/>
                  <a:pt x="2033" y="2065"/>
                  <a:pt x="2033" y="2064"/>
                </a:cubicBezTo>
                <a:cubicBezTo>
                  <a:pt x="2033" y="2064"/>
                  <a:pt x="2033" y="2064"/>
                  <a:pt x="2033" y="2064"/>
                </a:cubicBezTo>
                <a:cubicBezTo>
                  <a:pt x="2033" y="2066"/>
                  <a:pt x="2035" y="2066"/>
                  <a:pt x="2037" y="2066"/>
                </a:cubicBezTo>
                <a:cubicBezTo>
                  <a:pt x="2037" y="2066"/>
                  <a:pt x="2039" y="2066"/>
                  <a:pt x="2039" y="2066"/>
                </a:cubicBezTo>
                <a:cubicBezTo>
                  <a:pt x="2042" y="2066"/>
                  <a:pt x="2045" y="2067"/>
                  <a:pt x="2046" y="2063"/>
                </a:cubicBezTo>
                <a:cubicBezTo>
                  <a:pt x="2046" y="2065"/>
                  <a:pt x="2046" y="2067"/>
                  <a:pt x="2046" y="2067"/>
                </a:cubicBezTo>
                <a:cubicBezTo>
                  <a:pt x="2044" y="2068"/>
                  <a:pt x="2043" y="2069"/>
                  <a:pt x="2042" y="2069"/>
                </a:cubicBezTo>
                <a:cubicBezTo>
                  <a:pt x="2040" y="2070"/>
                  <a:pt x="2040" y="2072"/>
                  <a:pt x="2041" y="2073"/>
                </a:cubicBezTo>
                <a:cubicBezTo>
                  <a:pt x="2042" y="2075"/>
                  <a:pt x="2043" y="2077"/>
                  <a:pt x="2045" y="2079"/>
                </a:cubicBezTo>
                <a:cubicBezTo>
                  <a:pt x="2046" y="2080"/>
                  <a:pt x="2048" y="2080"/>
                  <a:pt x="2050" y="2078"/>
                </a:cubicBezTo>
                <a:cubicBezTo>
                  <a:pt x="2050" y="2077"/>
                  <a:pt x="2051" y="2077"/>
                  <a:pt x="2052" y="2076"/>
                </a:cubicBezTo>
                <a:cubicBezTo>
                  <a:pt x="2053" y="2075"/>
                  <a:pt x="2055" y="2073"/>
                  <a:pt x="2056" y="2072"/>
                </a:cubicBezTo>
                <a:cubicBezTo>
                  <a:pt x="2061" y="2068"/>
                  <a:pt x="2063" y="2062"/>
                  <a:pt x="2064" y="2056"/>
                </a:cubicBezTo>
                <a:cubicBezTo>
                  <a:pt x="2064" y="2056"/>
                  <a:pt x="2063" y="2055"/>
                  <a:pt x="2063" y="2054"/>
                </a:cubicBezTo>
                <a:cubicBezTo>
                  <a:pt x="2062" y="2053"/>
                  <a:pt x="2061" y="2052"/>
                  <a:pt x="2060" y="2052"/>
                </a:cubicBezTo>
                <a:close/>
                <a:moveTo>
                  <a:pt x="2013" y="2058"/>
                </a:moveTo>
                <a:cubicBezTo>
                  <a:pt x="2012" y="2059"/>
                  <a:pt x="2010" y="2060"/>
                  <a:pt x="2009" y="2061"/>
                </a:cubicBezTo>
                <a:cubicBezTo>
                  <a:pt x="2009" y="2061"/>
                  <a:pt x="2008" y="2062"/>
                  <a:pt x="2008" y="2063"/>
                </a:cubicBezTo>
                <a:cubicBezTo>
                  <a:pt x="2008" y="2065"/>
                  <a:pt x="2013" y="2070"/>
                  <a:pt x="2016" y="2069"/>
                </a:cubicBezTo>
                <a:cubicBezTo>
                  <a:pt x="2017" y="2069"/>
                  <a:pt x="2018" y="2068"/>
                  <a:pt x="2017" y="2067"/>
                </a:cubicBezTo>
                <a:cubicBezTo>
                  <a:pt x="2016" y="2064"/>
                  <a:pt x="2014" y="2061"/>
                  <a:pt x="2013" y="2058"/>
                </a:cubicBezTo>
                <a:close/>
                <a:moveTo>
                  <a:pt x="2065" y="2060"/>
                </a:moveTo>
                <a:cubicBezTo>
                  <a:pt x="2063" y="2065"/>
                  <a:pt x="2061" y="2069"/>
                  <a:pt x="2058" y="2073"/>
                </a:cubicBezTo>
                <a:cubicBezTo>
                  <a:pt x="2061" y="2073"/>
                  <a:pt x="2063" y="2074"/>
                  <a:pt x="2066" y="2073"/>
                </a:cubicBezTo>
                <a:cubicBezTo>
                  <a:pt x="2066" y="2073"/>
                  <a:pt x="2067" y="2072"/>
                  <a:pt x="2067" y="2072"/>
                </a:cubicBezTo>
                <a:cubicBezTo>
                  <a:pt x="2067" y="2069"/>
                  <a:pt x="2067" y="2067"/>
                  <a:pt x="2066" y="2064"/>
                </a:cubicBezTo>
                <a:cubicBezTo>
                  <a:pt x="2066" y="2063"/>
                  <a:pt x="2066" y="2062"/>
                  <a:pt x="2065" y="2060"/>
                </a:cubicBezTo>
                <a:close/>
                <a:moveTo>
                  <a:pt x="2013" y="2040"/>
                </a:moveTo>
                <a:cubicBezTo>
                  <a:pt x="2012" y="2040"/>
                  <a:pt x="2011" y="2041"/>
                  <a:pt x="2011" y="2041"/>
                </a:cubicBezTo>
                <a:cubicBezTo>
                  <a:pt x="2010" y="2041"/>
                  <a:pt x="2009" y="2041"/>
                  <a:pt x="2009" y="2040"/>
                </a:cubicBezTo>
                <a:cubicBezTo>
                  <a:pt x="2009" y="2040"/>
                  <a:pt x="2008" y="2039"/>
                  <a:pt x="2008" y="2038"/>
                </a:cubicBezTo>
                <a:cubicBezTo>
                  <a:pt x="2009" y="2036"/>
                  <a:pt x="2010" y="2034"/>
                  <a:pt x="2010" y="2032"/>
                </a:cubicBezTo>
                <a:cubicBezTo>
                  <a:pt x="2010" y="2032"/>
                  <a:pt x="2010" y="2032"/>
                  <a:pt x="2010" y="2032"/>
                </a:cubicBezTo>
                <a:cubicBezTo>
                  <a:pt x="2009" y="2033"/>
                  <a:pt x="2008" y="2034"/>
                  <a:pt x="2007" y="2035"/>
                </a:cubicBezTo>
                <a:cubicBezTo>
                  <a:pt x="2006" y="2036"/>
                  <a:pt x="2008" y="2041"/>
                  <a:pt x="2009" y="2042"/>
                </a:cubicBezTo>
                <a:cubicBezTo>
                  <a:pt x="2011" y="2043"/>
                  <a:pt x="2013" y="2042"/>
                  <a:pt x="2013" y="2040"/>
                </a:cubicBezTo>
                <a:close/>
                <a:moveTo>
                  <a:pt x="2013" y="2058"/>
                </a:moveTo>
                <a:cubicBezTo>
                  <a:pt x="2012" y="2058"/>
                  <a:pt x="2010" y="2059"/>
                  <a:pt x="2009" y="2060"/>
                </a:cubicBezTo>
                <a:cubicBezTo>
                  <a:pt x="2009" y="2061"/>
                  <a:pt x="2008" y="2062"/>
                  <a:pt x="2008" y="2062"/>
                </a:cubicBezTo>
                <a:cubicBezTo>
                  <a:pt x="2008" y="2065"/>
                  <a:pt x="2013" y="2070"/>
                  <a:pt x="2016" y="2069"/>
                </a:cubicBezTo>
                <a:cubicBezTo>
                  <a:pt x="2017" y="2069"/>
                  <a:pt x="2018" y="2068"/>
                  <a:pt x="2017" y="2066"/>
                </a:cubicBezTo>
                <a:cubicBezTo>
                  <a:pt x="2016" y="2063"/>
                  <a:pt x="2014" y="2060"/>
                  <a:pt x="2013" y="2058"/>
                </a:cubicBezTo>
                <a:close/>
                <a:moveTo>
                  <a:pt x="2065" y="2060"/>
                </a:moveTo>
                <a:cubicBezTo>
                  <a:pt x="2063" y="2064"/>
                  <a:pt x="2060" y="2069"/>
                  <a:pt x="2058" y="2073"/>
                </a:cubicBezTo>
                <a:cubicBezTo>
                  <a:pt x="2061" y="2073"/>
                  <a:pt x="2063" y="2073"/>
                  <a:pt x="2066" y="2073"/>
                </a:cubicBezTo>
                <a:cubicBezTo>
                  <a:pt x="2066" y="2073"/>
                  <a:pt x="2067" y="2072"/>
                  <a:pt x="2067" y="2071"/>
                </a:cubicBezTo>
                <a:cubicBezTo>
                  <a:pt x="2067" y="2069"/>
                  <a:pt x="2067" y="2066"/>
                  <a:pt x="2066" y="2064"/>
                </a:cubicBezTo>
                <a:cubicBezTo>
                  <a:pt x="2066" y="2062"/>
                  <a:pt x="2066" y="2061"/>
                  <a:pt x="2065" y="2060"/>
                </a:cubicBezTo>
                <a:close/>
                <a:moveTo>
                  <a:pt x="2012" y="2040"/>
                </a:moveTo>
                <a:cubicBezTo>
                  <a:pt x="2012" y="2040"/>
                  <a:pt x="2011" y="2040"/>
                  <a:pt x="2011" y="2040"/>
                </a:cubicBezTo>
                <a:cubicBezTo>
                  <a:pt x="2010" y="2040"/>
                  <a:pt x="2009" y="2040"/>
                  <a:pt x="2009" y="2040"/>
                </a:cubicBezTo>
                <a:cubicBezTo>
                  <a:pt x="2009" y="2040"/>
                  <a:pt x="2008" y="2039"/>
                  <a:pt x="2008" y="2038"/>
                </a:cubicBezTo>
                <a:cubicBezTo>
                  <a:pt x="2009" y="2036"/>
                  <a:pt x="2009" y="2034"/>
                  <a:pt x="2010" y="2032"/>
                </a:cubicBezTo>
                <a:cubicBezTo>
                  <a:pt x="2010" y="2032"/>
                  <a:pt x="2010" y="2032"/>
                  <a:pt x="2009" y="2032"/>
                </a:cubicBezTo>
                <a:cubicBezTo>
                  <a:pt x="2009" y="2033"/>
                  <a:pt x="2007" y="2034"/>
                  <a:pt x="2007" y="2035"/>
                </a:cubicBezTo>
                <a:cubicBezTo>
                  <a:pt x="2006" y="2036"/>
                  <a:pt x="2007" y="2041"/>
                  <a:pt x="2009" y="2042"/>
                </a:cubicBezTo>
                <a:cubicBezTo>
                  <a:pt x="2011" y="2043"/>
                  <a:pt x="2012" y="2042"/>
                  <a:pt x="2012" y="2040"/>
                </a:cubicBezTo>
                <a:close/>
                <a:moveTo>
                  <a:pt x="2065" y="2031"/>
                </a:moveTo>
                <a:cubicBezTo>
                  <a:pt x="2068" y="2028"/>
                  <a:pt x="2068" y="2028"/>
                  <a:pt x="2072" y="2026"/>
                </a:cubicBezTo>
                <a:cubicBezTo>
                  <a:pt x="2072" y="2028"/>
                  <a:pt x="2073" y="2030"/>
                  <a:pt x="2074" y="2030"/>
                </a:cubicBezTo>
                <a:cubicBezTo>
                  <a:pt x="2072" y="2031"/>
                  <a:pt x="2070" y="2032"/>
                  <a:pt x="2068" y="2034"/>
                </a:cubicBezTo>
                <a:cubicBezTo>
                  <a:pt x="2068" y="2033"/>
                  <a:pt x="2067" y="2032"/>
                  <a:pt x="2066" y="2031"/>
                </a:cubicBezTo>
                <a:cubicBezTo>
                  <a:pt x="2066" y="2031"/>
                  <a:pt x="2066" y="2031"/>
                  <a:pt x="2065" y="2031"/>
                </a:cubicBezTo>
                <a:close/>
                <a:moveTo>
                  <a:pt x="2071" y="2031"/>
                </a:moveTo>
                <a:cubicBezTo>
                  <a:pt x="2070" y="2030"/>
                  <a:pt x="2069" y="2030"/>
                  <a:pt x="2069" y="2030"/>
                </a:cubicBezTo>
                <a:cubicBezTo>
                  <a:pt x="2068" y="2030"/>
                  <a:pt x="2068" y="2031"/>
                  <a:pt x="2068" y="2031"/>
                </a:cubicBezTo>
                <a:cubicBezTo>
                  <a:pt x="2068" y="2032"/>
                  <a:pt x="2068" y="2032"/>
                  <a:pt x="2068" y="2032"/>
                </a:cubicBezTo>
                <a:cubicBezTo>
                  <a:pt x="2069" y="2032"/>
                  <a:pt x="2069" y="2032"/>
                  <a:pt x="2071" y="2031"/>
                </a:cubicBezTo>
                <a:close/>
                <a:moveTo>
                  <a:pt x="2052" y="2021"/>
                </a:moveTo>
                <a:cubicBezTo>
                  <a:pt x="2045" y="2021"/>
                  <a:pt x="2042" y="2023"/>
                  <a:pt x="2041" y="2031"/>
                </a:cubicBezTo>
                <a:cubicBezTo>
                  <a:pt x="2042" y="2029"/>
                  <a:pt x="2044" y="2026"/>
                  <a:pt x="2045" y="2024"/>
                </a:cubicBezTo>
                <a:cubicBezTo>
                  <a:pt x="2045" y="2024"/>
                  <a:pt x="2045" y="2024"/>
                  <a:pt x="2045" y="2024"/>
                </a:cubicBezTo>
                <a:cubicBezTo>
                  <a:pt x="2045" y="2025"/>
                  <a:pt x="2046" y="2026"/>
                  <a:pt x="2046" y="2027"/>
                </a:cubicBezTo>
                <a:cubicBezTo>
                  <a:pt x="2047" y="2024"/>
                  <a:pt x="2048" y="2022"/>
                  <a:pt x="2052" y="2021"/>
                </a:cubicBezTo>
                <a:close/>
                <a:moveTo>
                  <a:pt x="2096" y="2023"/>
                </a:moveTo>
                <a:cubicBezTo>
                  <a:pt x="2094" y="2024"/>
                  <a:pt x="2092" y="2026"/>
                  <a:pt x="2090" y="2027"/>
                </a:cubicBezTo>
                <a:cubicBezTo>
                  <a:pt x="2092" y="2027"/>
                  <a:pt x="2094" y="2026"/>
                  <a:pt x="2096" y="2023"/>
                </a:cubicBezTo>
                <a:close/>
                <a:moveTo>
                  <a:pt x="2062" y="2025"/>
                </a:moveTo>
                <a:cubicBezTo>
                  <a:pt x="2063" y="2024"/>
                  <a:pt x="2064" y="2022"/>
                  <a:pt x="2066" y="2021"/>
                </a:cubicBezTo>
                <a:cubicBezTo>
                  <a:pt x="2062" y="2022"/>
                  <a:pt x="2061" y="2023"/>
                  <a:pt x="2062" y="2025"/>
                </a:cubicBezTo>
                <a:close/>
                <a:moveTo>
                  <a:pt x="2072" y="2046"/>
                </a:moveTo>
                <a:cubicBezTo>
                  <a:pt x="2070" y="2047"/>
                  <a:pt x="2070" y="2048"/>
                  <a:pt x="2070" y="2049"/>
                </a:cubicBezTo>
                <a:cubicBezTo>
                  <a:pt x="2070" y="2048"/>
                  <a:pt x="2071" y="2047"/>
                  <a:pt x="2072" y="2046"/>
                </a:cubicBezTo>
                <a:close/>
                <a:moveTo>
                  <a:pt x="2071" y="2031"/>
                </a:moveTo>
                <a:cubicBezTo>
                  <a:pt x="2070" y="2031"/>
                  <a:pt x="2069" y="2030"/>
                  <a:pt x="2069" y="2030"/>
                </a:cubicBezTo>
                <a:cubicBezTo>
                  <a:pt x="2068" y="2030"/>
                  <a:pt x="2068" y="2031"/>
                  <a:pt x="2068" y="2031"/>
                </a:cubicBezTo>
                <a:cubicBezTo>
                  <a:pt x="2068" y="2032"/>
                  <a:pt x="2068" y="2032"/>
                  <a:pt x="2068" y="2033"/>
                </a:cubicBezTo>
                <a:cubicBezTo>
                  <a:pt x="2069" y="2032"/>
                  <a:pt x="2069" y="2032"/>
                  <a:pt x="2071" y="2031"/>
                </a:cubicBezTo>
                <a:close/>
                <a:moveTo>
                  <a:pt x="3701" y="2177"/>
                </a:moveTo>
                <a:cubicBezTo>
                  <a:pt x="3704" y="2158"/>
                  <a:pt x="3704" y="2158"/>
                  <a:pt x="3704" y="2158"/>
                </a:cubicBezTo>
                <a:cubicBezTo>
                  <a:pt x="3695" y="2158"/>
                  <a:pt x="3695" y="2158"/>
                  <a:pt x="3695" y="2158"/>
                </a:cubicBezTo>
                <a:cubicBezTo>
                  <a:pt x="3695" y="2146"/>
                  <a:pt x="3695" y="2146"/>
                  <a:pt x="3695" y="2146"/>
                </a:cubicBezTo>
                <a:cubicBezTo>
                  <a:pt x="3706" y="2146"/>
                  <a:pt x="3706" y="2146"/>
                  <a:pt x="3706" y="2146"/>
                </a:cubicBezTo>
                <a:cubicBezTo>
                  <a:pt x="3708" y="2135"/>
                  <a:pt x="3708" y="2135"/>
                  <a:pt x="3708" y="2135"/>
                </a:cubicBezTo>
                <a:cubicBezTo>
                  <a:pt x="3698" y="2135"/>
                  <a:pt x="3698" y="2135"/>
                  <a:pt x="3698" y="2135"/>
                </a:cubicBezTo>
                <a:cubicBezTo>
                  <a:pt x="3698" y="2123"/>
                  <a:pt x="3698" y="2123"/>
                  <a:pt x="3698" y="2123"/>
                </a:cubicBezTo>
                <a:cubicBezTo>
                  <a:pt x="3710" y="2123"/>
                  <a:pt x="3710" y="2123"/>
                  <a:pt x="3710" y="2123"/>
                </a:cubicBezTo>
                <a:cubicBezTo>
                  <a:pt x="3712" y="2105"/>
                  <a:pt x="3712" y="2105"/>
                  <a:pt x="3712" y="2105"/>
                </a:cubicBezTo>
                <a:cubicBezTo>
                  <a:pt x="3724" y="2105"/>
                  <a:pt x="3724" y="2105"/>
                  <a:pt x="3724" y="2105"/>
                </a:cubicBezTo>
                <a:cubicBezTo>
                  <a:pt x="3721" y="2123"/>
                  <a:pt x="3721" y="2123"/>
                  <a:pt x="3721" y="2123"/>
                </a:cubicBezTo>
                <a:cubicBezTo>
                  <a:pt x="3730" y="2123"/>
                  <a:pt x="3730" y="2123"/>
                  <a:pt x="3730" y="2123"/>
                </a:cubicBezTo>
                <a:cubicBezTo>
                  <a:pt x="3733" y="2105"/>
                  <a:pt x="3733" y="2105"/>
                  <a:pt x="3733" y="2105"/>
                </a:cubicBezTo>
                <a:cubicBezTo>
                  <a:pt x="3745" y="2105"/>
                  <a:pt x="3745" y="2105"/>
                  <a:pt x="3745" y="2105"/>
                </a:cubicBezTo>
                <a:cubicBezTo>
                  <a:pt x="3742" y="2123"/>
                  <a:pt x="3742" y="2123"/>
                  <a:pt x="3742" y="2123"/>
                </a:cubicBezTo>
                <a:cubicBezTo>
                  <a:pt x="3751" y="2123"/>
                  <a:pt x="3751" y="2123"/>
                  <a:pt x="3751" y="2123"/>
                </a:cubicBezTo>
                <a:cubicBezTo>
                  <a:pt x="3751" y="2135"/>
                  <a:pt x="3751" y="2135"/>
                  <a:pt x="3751" y="2135"/>
                </a:cubicBezTo>
                <a:cubicBezTo>
                  <a:pt x="3740" y="2135"/>
                  <a:pt x="3740" y="2135"/>
                  <a:pt x="3740" y="2135"/>
                </a:cubicBezTo>
                <a:cubicBezTo>
                  <a:pt x="3738" y="2146"/>
                  <a:pt x="3738" y="2146"/>
                  <a:pt x="3738" y="2146"/>
                </a:cubicBezTo>
                <a:cubicBezTo>
                  <a:pt x="3747" y="2146"/>
                  <a:pt x="3747" y="2146"/>
                  <a:pt x="3747" y="2146"/>
                </a:cubicBezTo>
                <a:cubicBezTo>
                  <a:pt x="3747" y="2158"/>
                  <a:pt x="3747" y="2158"/>
                  <a:pt x="3747" y="2158"/>
                </a:cubicBezTo>
                <a:cubicBezTo>
                  <a:pt x="3736" y="2158"/>
                  <a:pt x="3736" y="2158"/>
                  <a:pt x="3736" y="2158"/>
                </a:cubicBezTo>
                <a:cubicBezTo>
                  <a:pt x="3734" y="2177"/>
                  <a:pt x="3734" y="2177"/>
                  <a:pt x="3734" y="2177"/>
                </a:cubicBezTo>
                <a:cubicBezTo>
                  <a:pt x="3722" y="2177"/>
                  <a:pt x="3722" y="2177"/>
                  <a:pt x="3722" y="2177"/>
                </a:cubicBezTo>
                <a:cubicBezTo>
                  <a:pt x="3725" y="2158"/>
                  <a:pt x="3725" y="2158"/>
                  <a:pt x="3725" y="2158"/>
                </a:cubicBezTo>
                <a:cubicBezTo>
                  <a:pt x="3715" y="2158"/>
                  <a:pt x="3715" y="2158"/>
                  <a:pt x="3715" y="2158"/>
                </a:cubicBezTo>
                <a:cubicBezTo>
                  <a:pt x="3713" y="2177"/>
                  <a:pt x="3713" y="2177"/>
                  <a:pt x="3713" y="2177"/>
                </a:cubicBezTo>
                <a:cubicBezTo>
                  <a:pt x="3701" y="2177"/>
                  <a:pt x="3701" y="2177"/>
                  <a:pt x="3701" y="2177"/>
                </a:cubicBezTo>
                <a:cubicBezTo>
                  <a:pt x="3701" y="2177"/>
                  <a:pt x="3701" y="2177"/>
                  <a:pt x="3701" y="2177"/>
                </a:cubicBezTo>
                <a:close/>
                <a:moveTo>
                  <a:pt x="3727" y="2146"/>
                </a:moveTo>
                <a:cubicBezTo>
                  <a:pt x="3729" y="2135"/>
                  <a:pt x="3729" y="2135"/>
                  <a:pt x="3729" y="2135"/>
                </a:cubicBezTo>
                <a:cubicBezTo>
                  <a:pt x="3719" y="2135"/>
                  <a:pt x="3719" y="2135"/>
                  <a:pt x="3719" y="2135"/>
                </a:cubicBezTo>
                <a:cubicBezTo>
                  <a:pt x="3718" y="2146"/>
                  <a:pt x="3718" y="2146"/>
                  <a:pt x="3718" y="2146"/>
                </a:cubicBezTo>
                <a:cubicBezTo>
                  <a:pt x="3727" y="2146"/>
                  <a:pt x="3727" y="2146"/>
                  <a:pt x="3727" y="2146"/>
                </a:cubicBezTo>
                <a:cubicBezTo>
                  <a:pt x="3727" y="2146"/>
                  <a:pt x="3727" y="2146"/>
                  <a:pt x="3727" y="2146"/>
                </a:cubicBezTo>
                <a:close/>
                <a:moveTo>
                  <a:pt x="2586" y="2151"/>
                </a:moveTo>
                <a:cubicBezTo>
                  <a:pt x="2586" y="2153"/>
                  <a:pt x="2587" y="2154"/>
                  <a:pt x="2588" y="2155"/>
                </a:cubicBezTo>
                <a:cubicBezTo>
                  <a:pt x="2588" y="2157"/>
                  <a:pt x="2588" y="2159"/>
                  <a:pt x="2589" y="2161"/>
                </a:cubicBezTo>
                <a:cubicBezTo>
                  <a:pt x="2589" y="2162"/>
                  <a:pt x="2589" y="2164"/>
                  <a:pt x="2589" y="2165"/>
                </a:cubicBezTo>
                <a:cubicBezTo>
                  <a:pt x="2590" y="2168"/>
                  <a:pt x="2589" y="2170"/>
                  <a:pt x="2586" y="2170"/>
                </a:cubicBezTo>
                <a:cubicBezTo>
                  <a:pt x="2583" y="2170"/>
                  <a:pt x="2580" y="2170"/>
                  <a:pt x="2577" y="2170"/>
                </a:cubicBezTo>
                <a:cubicBezTo>
                  <a:pt x="2577" y="2170"/>
                  <a:pt x="2576" y="2170"/>
                  <a:pt x="2576" y="2170"/>
                </a:cubicBezTo>
                <a:cubicBezTo>
                  <a:pt x="2574" y="2172"/>
                  <a:pt x="2573" y="2173"/>
                  <a:pt x="2572" y="2174"/>
                </a:cubicBezTo>
                <a:cubicBezTo>
                  <a:pt x="2570" y="2177"/>
                  <a:pt x="2566" y="2177"/>
                  <a:pt x="2564" y="2175"/>
                </a:cubicBezTo>
                <a:cubicBezTo>
                  <a:pt x="2562" y="2173"/>
                  <a:pt x="2561" y="2170"/>
                  <a:pt x="2559" y="2168"/>
                </a:cubicBezTo>
                <a:cubicBezTo>
                  <a:pt x="2559" y="2166"/>
                  <a:pt x="2559" y="2164"/>
                  <a:pt x="2561" y="2163"/>
                </a:cubicBezTo>
                <a:cubicBezTo>
                  <a:pt x="2559" y="2163"/>
                  <a:pt x="2557" y="2163"/>
                  <a:pt x="2556" y="2163"/>
                </a:cubicBezTo>
                <a:cubicBezTo>
                  <a:pt x="2555" y="2165"/>
                  <a:pt x="2554" y="2167"/>
                  <a:pt x="2553" y="2169"/>
                </a:cubicBezTo>
                <a:cubicBezTo>
                  <a:pt x="2553" y="2170"/>
                  <a:pt x="2552" y="2170"/>
                  <a:pt x="2552" y="2171"/>
                </a:cubicBezTo>
                <a:cubicBezTo>
                  <a:pt x="2552" y="2174"/>
                  <a:pt x="2551" y="2176"/>
                  <a:pt x="2548" y="2175"/>
                </a:cubicBezTo>
                <a:cubicBezTo>
                  <a:pt x="2545" y="2175"/>
                  <a:pt x="2542" y="2174"/>
                  <a:pt x="2539" y="2173"/>
                </a:cubicBezTo>
                <a:cubicBezTo>
                  <a:pt x="2537" y="2172"/>
                  <a:pt x="2537" y="2171"/>
                  <a:pt x="2537" y="2169"/>
                </a:cubicBezTo>
                <a:cubicBezTo>
                  <a:pt x="2537" y="2168"/>
                  <a:pt x="2537" y="2167"/>
                  <a:pt x="2538" y="2167"/>
                </a:cubicBezTo>
                <a:cubicBezTo>
                  <a:pt x="2536" y="2166"/>
                  <a:pt x="2533" y="2165"/>
                  <a:pt x="2531" y="2164"/>
                </a:cubicBezTo>
                <a:cubicBezTo>
                  <a:pt x="2530" y="2163"/>
                  <a:pt x="2529" y="2161"/>
                  <a:pt x="2528" y="2159"/>
                </a:cubicBezTo>
                <a:cubicBezTo>
                  <a:pt x="2527" y="2157"/>
                  <a:pt x="2527" y="2156"/>
                  <a:pt x="2529" y="2154"/>
                </a:cubicBezTo>
                <a:cubicBezTo>
                  <a:pt x="2532" y="2152"/>
                  <a:pt x="2533" y="2149"/>
                  <a:pt x="2532" y="2145"/>
                </a:cubicBezTo>
                <a:cubicBezTo>
                  <a:pt x="2532" y="2143"/>
                  <a:pt x="2532" y="2141"/>
                  <a:pt x="2532" y="2139"/>
                </a:cubicBezTo>
                <a:cubicBezTo>
                  <a:pt x="2531" y="2138"/>
                  <a:pt x="2529" y="2138"/>
                  <a:pt x="2528" y="2137"/>
                </a:cubicBezTo>
                <a:cubicBezTo>
                  <a:pt x="2527" y="2135"/>
                  <a:pt x="2526" y="2133"/>
                  <a:pt x="2526" y="2131"/>
                </a:cubicBezTo>
                <a:cubicBezTo>
                  <a:pt x="2526" y="2128"/>
                  <a:pt x="2530" y="2126"/>
                  <a:pt x="2532" y="2125"/>
                </a:cubicBezTo>
                <a:cubicBezTo>
                  <a:pt x="2533" y="2126"/>
                  <a:pt x="2533" y="2126"/>
                  <a:pt x="2533" y="2127"/>
                </a:cubicBezTo>
                <a:cubicBezTo>
                  <a:pt x="2533" y="2128"/>
                  <a:pt x="2533" y="2129"/>
                  <a:pt x="2534" y="2130"/>
                </a:cubicBezTo>
                <a:cubicBezTo>
                  <a:pt x="2533" y="2130"/>
                  <a:pt x="2532" y="2130"/>
                  <a:pt x="2532" y="2130"/>
                </a:cubicBezTo>
                <a:cubicBezTo>
                  <a:pt x="2532" y="2131"/>
                  <a:pt x="2531" y="2132"/>
                  <a:pt x="2530" y="2134"/>
                </a:cubicBezTo>
                <a:cubicBezTo>
                  <a:pt x="2532" y="2134"/>
                  <a:pt x="2532" y="2134"/>
                  <a:pt x="2533" y="2134"/>
                </a:cubicBezTo>
                <a:cubicBezTo>
                  <a:pt x="2534" y="2132"/>
                  <a:pt x="2535" y="2132"/>
                  <a:pt x="2536" y="2130"/>
                </a:cubicBezTo>
                <a:cubicBezTo>
                  <a:pt x="2540" y="2124"/>
                  <a:pt x="2546" y="2120"/>
                  <a:pt x="2554" y="2118"/>
                </a:cubicBezTo>
                <a:cubicBezTo>
                  <a:pt x="2557" y="2118"/>
                  <a:pt x="2560" y="2117"/>
                  <a:pt x="2562" y="2114"/>
                </a:cubicBezTo>
                <a:cubicBezTo>
                  <a:pt x="2562" y="2113"/>
                  <a:pt x="2563" y="2113"/>
                  <a:pt x="2563" y="2113"/>
                </a:cubicBezTo>
                <a:cubicBezTo>
                  <a:pt x="2566" y="2113"/>
                  <a:pt x="2568" y="2110"/>
                  <a:pt x="2570" y="2108"/>
                </a:cubicBezTo>
                <a:cubicBezTo>
                  <a:pt x="2577" y="2101"/>
                  <a:pt x="2589" y="2100"/>
                  <a:pt x="2597" y="2107"/>
                </a:cubicBezTo>
                <a:cubicBezTo>
                  <a:pt x="2599" y="2109"/>
                  <a:pt x="2602" y="2111"/>
                  <a:pt x="2604" y="2113"/>
                </a:cubicBezTo>
                <a:cubicBezTo>
                  <a:pt x="2606" y="2114"/>
                  <a:pt x="2607" y="2116"/>
                  <a:pt x="2608" y="2118"/>
                </a:cubicBezTo>
                <a:cubicBezTo>
                  <a:pt x="2609" y="2119"/>
                  <a:pt x="2610" y="2119"/>
                  <a:pt x="2611" y="2118"/>
                </a:cubicBezTo>
                <a:cubicBezTo>
                  <a:pt x="2612" y="2118"/>
                  <a:pt x="2612" y="2117"/>
                  <a:pt x="2613" y="2116"/>
                </a:cubicBezTo>
                <a:cubicBezTo>
                  <a:pt x="2615" y="2113"/>
                  <a:pt x="2618" y="2113"/>
                  <a:pt x="2619" y="2117"/>
                </a:cubicBezTo>
                <a:cubicBezTo>
                  <a:pt x="2621" y="2120"/>
                  <a:pt x="2621" y="2123"/>
                  <a:pt x="2622" y="2126"/>
                </a:cubicBezTo>
                <a:cubicBezTo>
                  <a:pt x="2623" y="2130"/>
                  <a:pt x="2622" y="2134"/>
                  <a:pt x="2621" y="2139"/>
                </a:cubicBezTo>
                <a:cubicBezTo>
                  <a:pt x="2618" y="2145"/>
                  <a:pt x="2614" y="2149"/>
                  <a:pt x="2607" y="2149"/>
                </a:cubicBezTo>
                <a:cubicBezTo>
                  <a:pt x="2606" y="2149"/>
                  <a:pt x="2606" y="2149"/>
                  <a:pt x="2605" y="2149"/>
                </a:cubicBezTo>
                <a:cubicBezTo>
                  <a:pt x="2603" y="2148"/>
                  <a:pt x="2601" y="2149"/>
                  <a:pt x="2601" y="2151"/>
                </a:cubicBezTo>
                <a:cubicBezTo>
                  <a:pt x="2599" y="2155"/>
                  <a:pt x="2594" y="2157"/>
                  <a:pt x="2590" y="2154"/>
                </a:cubicBezTo>
                <a:cubicBezTo>
                  <a:pt x="2589" y="2153"/>
                  <a:pt x="2588" y="2152"/>
                  <a:pt x="2587" y="2151"/>
                </a:cubicBezTo>
                <a:cubicBezTo>
                  <a:pt x="2586" y="2151"/>
                  <a:pt x="2586" y="2151"/>
                  <a:pt x="2586" y="2151"/>
                </a:cubicBezTo>
                <a:close/>
                <a:moveTo>
                  <a:pt x="2581" y="2147"/>
                </a:moveTo>
                <a:cubicBezTo>
                  <a:pt x="2584" y="2148"/>
                  <a:pt x="2588" y="2149"/>
                  <a:pt x="2590" y="2152"/>
                </a:cubicBezTo>
                <a:cubicBezTo>
                  <a:pt x="2592" y="2154"/>
                  <a:pt x="2594" y="2155"/>
                  <a:pt x="2596" y="2154"/>
                </a:cubicBezTo>
                <a:cubicBezTo>
                  <a:pt x="2599" y="2153"/>
                  <a:pt x="2600" y="2151"/>
                  <a:pt x="2600" y="2148"/>
                </a:cubicBezTo>
                <a:cubicBezTo>
                  <a:pt x="2600" y="2148"/>
                  <a:pt x="2599" y="2148"/>
                  <a:pt x="2599" y="2149"/>
                </a:cubicBezTo>
                <a:cubicBezTo>
                  <a:pt x="2599" y="2150"/>
                  <a:pt x="2597" y="2151"/>
                  <a:pt x="2597" y="2152"/>
                </a:cubicBezTo>
                <a:cubicBezTo>
                  <a:pt x="2596" y="2153"/>
                  <a:pt x="2594" y="2153"/>
                  <a:pt x="2594" y="2153"/>
                </a:cubicBezTo>
                <a:cubicBezTo>
                  <a:pt x="2593" y="2153"/>
                  <a:pt x="2592" y="2151"/>
                  <a:pt x="2592" y="2151"/>
                </a:cubicBezTo>
                <a:cubicBezTo>
                  <a:pt x="2592" y="2148"/>
                  <a:pt x="2593" y="2146"/>
                  <a:pt x="2593" y="2144"/>
                </a:cubicBezTo>
                <a:cubicBezTo>
                  <a:pt x="2596" y="2145"/>
                  <a:pt x="2599" y="2146"/>
                  <a:pt x="2603" y="2147"/>
                </a:cubicBezTo>
                <a:cubicBezTo>
                  <a:pt x="2610" y="2148"/>
                  <a:pt x="2616" y="2146"/>
                  <a:pt x="2619" y="2138"/>
                </a:cubicBezTo>
                <a:cubicBezTo>
                  <a:pt x="2621" y="2133"/>
                  <a:pt x="2621" y="2128"/>
                  <a:pt x="2620" y="2123"/>
                </a:cubicBezTo>
                <a:cubicBezTo>
                  <a:pt x="2619" y="2121"/>
                  <a:pt x="2619" y="2119"/>
                  <a:pt x="2618" y="2117"/>
                </a:cubicBezTo>
                <a:cubicBezTo>
                  <a:pt x="2617" y="2116"/>
                  <a:pt x="2616" y="2115"/>
                  <a:pt x="2615" y="2117"/>
                </a:cubicBezTo>
                <a:cubicBezTo>
                  <a:pt x="2613" y="2119"/>
                  <a:pt x="2612" y="2120"/>
                  <a:pt x="2610" y="2121"/>
                </a:cubicBezTo>
                <a:cubicBezTo>
                  <a:pt x="2609" y="2121"/>
                  <a:pt x="2608" y="2122"/>
                  <a:pt x="2608" y="2123"/>
                </a:cubicBezTo>
                <a:cubicBezTo>
                  <a:pt x="2609" y="2126"/>
                  <a:pt x="2608" y="2130"/>
                  <a:pt x="2607" y="2133"/>
                </a:cubicBezTo>
                <a:cubicBezTo>
                  <a:pt x="2607" y="2131"/>
                  <a:pt x="2608" y="2129"/>
                  <a:pt x="2608" y="2127"/>
                </a:cubicBezTo>
                <a:cubicBezTo>
                  <a:pt x="2608" y="2126"/>
                  <a:pt x="2607" y="2126"/>
                  <a:pt x="2607" y="2126"/>
                </a:cubicBezTo>
                <a:cubicBezTo>
                  <a:pt x="2606" y="2126"/>
                  <a:pt x="2606" y="2126"/>
                  <a:pt x="2606" y="2126"/>
                </a:cubicBezTo>
                <a:cubicBezTo>
                  <a:pt x="2605" y="2128"/>
                  <a:pt x="2604" y="2129"/>
                  <a:pt x="2603" y="2130"/>
                </a:cubicBezTo>
                <a:cubicBezTo>
                  <a:pt x="2603" y="2130"/>
                  <a:pt x="2603" y="2130"/>
                  <a:pt x="2603" y="2130"/>
                </a:cubicBezTo>
                <a:cubicBezTo>
                  <a:pt x="2603" y="2129"/>
                  <a:pt x="2604" y="2127"/>
                  <a:pt x="2604" y="2125"/>
                </a:cubicBezTo>
                <a:cubicBezTo>
                  <a:pt x="2603" y="2126"/>
                  <a:pt x="2603" y="2126"/>
                  <a:pt x="2602" y="2127"/>
                </a:cubicBezTo>
                <a:cubicBezTo>
                  <a:pt x="2601" y="2127"/>
                  <a:pt x="2601" y="2128"/>
                  <a:pt x="2601" y="2129"/>
                </a:cubicBezTo>
                <a:cubicBezTo>
                  <a:pt x="2601" y="2125"/>
                  <a:pt x="2601" y="2125"/>
                  <a:pt x="2607" y="2124"/>
                </a:cubicBezTo>
                <a:cubicBezTo>
                  <a:pt x="2607" y="2124"/>
                  <a:pt x="2606" y="2123"/>
                  <a:pt x="2606" y="2123"/>
                </a:cubicBezTo>
                <a:cubicBezTo>
                  <a:pt x="2603" y="2124"/>
                  <a:pt x="2603" y="2122"/>
                  <a:pt x="2602" y="2120"/>
                </a:cubicBezTo>
                <a:cubicBezTo>
                  <a:pt x="2604" y="2119"/>
                  <a:pt x="2605" y="2119"/>
                  <a:pt x="2607" y="2119"/>
                </a:cubicBezTo>
                <a:cubicBezTo>
                  <a:pt x="2605" y="2116"/>
                  <a:pt x="2604" y="2113"/>
                  <a:pt x="2601" y="2113"/>
                </a:cubicBezTo>
                <a:cubicBezTo>
                  <a:pt x="2600" y="2113"/>
                  <a:pt x="2600" y="2113"/>
                  <a:pt x="2600" y="2112"/>
                </a:cubicBezTo>
                <a:cubicBezTo>
                  <a:pt x="2597" y="2110"/>
                  <a:pt x="2595" y="2108"/>
                  <a:pt x="2592" y="2106"/>
                </a:cubicBezTo>
                <a:cubicBezTo>
                  <a:pt x="2590" y="2105"/>
                  <a:pt x="2587" y="2104"/>
                  <a:pt x="2585" y="2104"/>
                </a:cubicBezTo>
                <a:cubicBezTo>
                  <a:pt x="2582" y="2104"/>
                  <a:pt x="2579" y="2106"/>
                  <a:pt x="2576" y="2106"/>
                </a:cubicBezTo>
                <a:cubicBezTo>
                  <a:pt x="2573" y="2107"/>
                  <a:pt x="2570" y="2109"/>
                  <a:pt x="2568" y="2112"/>
                </a:cubicBezTo>
                <a:cubicBezTo>
                  <a:pt x="2570" y="2112"/>
                  <a:pt x="2571" y="2112"/>
                  <a:pt x="2572" y="2112"/>
                </a:cubicBezTo>
                <a:cubicBezTo>
                  <a:pt x="2572" y="2113"/>
                  <a:pt x="2571" y="2113"/>
                  <a:pt x="2570" y="2113"/>
                </a:cubicBezTo>
                <a:cubicBezTo>
                  <a:pt x="2568" y="2114"/>
                  <a:pt x="2565" y="2113"/>
                  <a:pt x="2563" y="2115"/>
                </a:cubicBezTo>
                <a:cubicBezTo>
                  <a:pt x="2560" y="2119"/>
                  <a:pt x="2556" y="2123"/>
                  <a:pt x="2552" y="2127"/>
                </a:cubicBezTo>
                <a:cubicBezTo>
                  <a:pt x="2551" y="2129"/>
                  <a:pt x="2550" y="2132"/>
                  <a:pt x="2549" y="2134"/>
                </a:cubicBezTo>
                <a:cubicBezTo>
                  <a:pt x="2549" y="2134"/>
                  <a:pt x="2549" y="2135"/>
                  <a:pt x="2549" y="2136"/>
                </a:cubicBezTo>
                <a:cubicBezTo>
                  <a:pt x="2550" y="2138"/>
                  <a:pt x="2552" y="2140"/>
                  <a:pt x="2553" y="2142"/>
                </a:cubicBezTo>
                <a:cubicBezTo>
                  <a:pt x="2554" y="2140"/>
                  <a:pt x="2556" y="2138"/>
                  <a:pt x="2557" y="2137"/>
                </a:cubicBezTo>
                <a:cubicBezTo>
                  <a:pt x="2556" y="2138"/>
                  <a:pt x="2556" y="2140"/>
                  <a:pt x="2555" y="2141"/>
                </a:cubicBezTo>
                <a:cubicBezTo>
                  <a:pt x="2554" y="2142"/>
                  <a:pt x="2554" y="2144"/>
                  <a:pt x="2553" y="2145"/>
                </a:cubicBezTo>
                <a:cubicBezTo>
                  <a:pt x="2553" y="2146"/>
                  <a:pt x="2553" y="2147"/>
                  <a:pt x="2554" y="2148"/>
                </a:cubicBezTo>
                <a:cubicBezTo>
                  <a:pt x="2556" y="2151"/>
                  <a:pt x="2559" y="2151"/>
                  <a:pt x="2563" y="2149"/>
                </a:cubicBezTo>
                <a:cubicBezTo>
                  <a:pt x="2565" y="2148"/>
                  <a:pt x="2568" y="2147"/>
                  <a:pt x="2571" y="2146"/>
                </a:cubicBezTo>
                <a:cubicBezTo>
                  <a:pt x="2572" y="2145"/>
                  <a:pt x="2574" y="2145"/>
                  <a:pt x="2574" y="2143"/>
                </a:cubicBezTo>
                <a:cubicBezTo>
                  <a:pt x="2574" y="2140"/>
                  <a:pt x="2574" y="2136"/>
                  <a:pt x="2574" y="2133"/>
                </a:cubicBezTo>
                <a:cubicBezTo>
                  <a:pt x="2574" y="2130"/>
                  <a:pt x="2574" y="2127"/>
                  <a:pt x="2574" y="2124"/>
                </a:cubicBezTo>
                <a:cubicBezTo>
                  <a:pt x="2574" y="2127"/>
                  <a:pt x="2575" y="2130"/>
                  <a:pt x="2575" y="2132"/>
                </a:cubicBezTo>
                <a:cubicBezTo>
                  <a:pt x="2576" y="2137"/>
                  <a:pt x="2576" y="2141"/>
                  <a:pt x="2575" y="2145"/>
                </a:cubicBezTo>
                <a:cubicBezTo>
                  <a:pt x="2574" y="2146"/>
                  <a:pt x="2574" y="2147"/>
                  <a:pt x="2573" y="2147"/>
                </a:cubicBezTo>
                <a:cubicBezTo>
                  <a:pt x="2570" y="2147"/>
                  <a:pt x="2566" y="2149"/>
                  <a:pt x="2563" y="2151"/>
                </a:cubicBezTo>
                <a:cubicBezTo>
                  <a:pt x="2558" y="2154"/>
                  <a:pt x="2555" y="2152"/>
                  <a:pt x="2551" y="2148"/>
                </a:cubicBezTo>
                <a:cubicBezTo>
                  <a:pt x="2551" y="2148"/>
                  <a:pt x="2551" y="2147"/>
                  <a:pt x="2551" y="2146"/>
                </a:cubicBezTo>
                <a:cubicBezTo>
                  <a:pt x="2552" y="2144"/>
                  <a:pt x="2551" y="2142"/>
                  <a:pt x="2550" y="2140"/>
                </a:cubicBezTo>
                <a:cubicBezTo>
                  <a:pt x="2548" y="2138"/>
                  <a:pt x="2546" y="2136"/>
                  <a:pt x="2548" y="2133"/>
                </a:cubicBezTo>
                <a:cubicBezTo>
                  <a:pt x="2548" y="2131"/>
                  <a:pt x="2549" y="2129"/>
                  <a:pt x="2550" y="2128"/>
                </a:cubicBezTo>
                <a:cubicBezTo>
                  <a:pt x="2552" y="2125"/>
                  <a:pt x="2554" y="2123"/>
                  <a:pt x="2556" y="2120"/>
                </a:cubicBezTo>
                <a:cubicBezTo>
                  <a:pt x="2556" y="2120"/>
                  <a:pt x="2555" y="2120"/>
                  <a:pt x="2555" y="2120"/>
                </a:cubicBezTo>
                <a:cubicBezTo>
                  <a:pt x="2550" y="2121"/>
                  <a:pt x="2546" y="2123"/>
                  <a:pt x="2542" y="2126"/>
                </a:cubicBezTo>
                <a:cubicBezTo>
                  <a:pt x="2537" y="2130"/>
                  <a:pt x="2534" y="2135"/>
                  <a:pt x="2534" y="2142"/>
                </a:cubicBezTo>
                <a:cubicBezTo>
                  <a:pt x="2534" y="2149"/>
                  <a:pt x="2536" y="2155"/>
                  <a:pt x="2539" y="2161"/>
                </a:cubicBezTo>
                <a:cubicBezTo>
                  <a:pt x="2540" y="2161"/>
                  <a:pt x="2541" y="2163"/>
                  <a:pt x="2540" y="2164"/>
                </a:cubicBezTo>
                <a:cubicBezTo>
                  <a:pt x="2540" y="2166"/>
                  <a:pt x="2540" y="2167"/>
                  <a:pt x="2539" y="2168"/>
                </a:cubicBezTo>
                <a:cubicBezTo>
                  <a:pt x="2539" y="2170"/>
                  <a:pt x="2539" y="2171"/>
                  <a:pt x="2540" y="2172"/>
                </a:cubicBezTo>
                <a:cubicBezTo>
                  <a:pt x="2543" y="2172"/>
                  <a:pt x="2546" y="2173"/>
                  <a:pt x="2549" y="2173"/>
                </a:cubicBezTo>
                <a:cubicBezTo>
                  <a:pt x="2550" y="2173"/>
                  <a:pt x="2550" y="2172"/>
                  <a:pt x="2550" y="2172"/>
                </a:cubicBezTo>
                <a:cubicBezTo>
                  <a:pt x="2551" y="2171"/>
                  <a:pt x="2551" y="2169"/>
                  <a:pt x="2552" y="2168"/>
                </a:cubicBezTo>
                <a:cubicBezTo>
                  <a:pt x="2554" y="2166"/>
                  <a:pt x="2554" y="2163"/>
                  <a:pt x="2554" y="2161"/>
                </a:cubicBezTo>
                <a:cubicBezTo>
                  <a:pt x="2554" y="2160"/>
                  <a:pt x="2554" y="2160"/>
                  <a:pt x="2554" y="2159"/>
                </a:cubicBezTo>
                <a:cubicBezTo>
                  <a:pt x="2554" y="2159"/>
                  <a:pt x="2554" y="2159"/>
                  <a:pt x="2554" y="2159"/>
                </a:cubicBezTo>
                <a:cubicBezTo>
                  <a:pt x="2554" y="2161"/>
                  <a:pt x="2556" y="2161"/>
                  <a:pt x="2557" y="2161"/>
                </a:cubicBezTo>
                <a:cubicBezTo>
                  <a:pt x="2558" y="2161"/>
                  <a:pt x="2559" y="2161"/>
                  <a:pt x="2560" y="2161"/>
                </a:cubicBezTo>
                <a:cubicBezTo>
                  <a:pt x="2563" y="2161"/>
                  <a:pt x="2566" y="2162"/>
                  <a:pt x="2566" y="2158"/>
                </a:cubicBezTo>
                <a:cubicBezTo>
                  <a:pt x="2566" y="2160"/>
                  <a:pt x="2566" y="2162"/>
                  <a:pt x="2566" y="2163"/>
                </a:cubicBezTo>
                <a:cubicBezTo>
                  <a:pt x="2565" y="2163"/>
                  <a:pt x="2564" y="2164"/>
                  <a:pt x="2563" y="2164"/>
                </a:cubicBezTo>
                <a:cubicBezTo>
                  <a:pt x="2561" y="2165"/>
                  <a:pt x="2561" y="2167"/>
                  <a:pt x="2561" y="2168"/>
                </a:cubicBezTo>
                <a:cubicBezTo>
                  <a:pt x="2563" y="2170"/>
                  <a:pt x="2564" y="2172"/>
                  <a:pt x="2565" y="2174"/>
                </a:cubicBezTo>
                <a:cubicBezTo>
                  <a:pt x="2567" y="2175"/>
                  <a:pt x="2569" y="2175"/>
                  <a:pt x="2570" y="2173"/>
                </a:cubicBezTo>
                <a:cubicBezTo>
                  <a:pt x="2571" y="2172"/>
                  <a:pt x="2572" y="2172"/>
                  <a:pt x="2572" y="2171"/>
                </a:cubicBezTo>
                <a:cubicBezTo>
                  <a:pt x="2574" y="2170"/>
                  <a:pt x="2576" y="2168"/>
                  <a:pt x="2577" y="2167"/>
                </a:cubicBezTo>
                <a:cubicBezTo>
                  <a:pt x="2581" y="2163"/>
                  <a:pt x="2583" y="2157"/>
                  <a:pt x="2585" y="2151"/>
                </a:cubicBezTo>
                <a:cubicBezTo>
                  <a:pt x="2585" y="2151"/>
                  <a:pt x="2584" y="2150"/>
                  <a:pt x="2584" y="2149"/>
                </a:cubicBezTo>
                <a:cubicBezTo>
                  <a:pt x="2583" y="2148"/>
                  <a:pt x="2582" y="2147"/>
                  <a:pt x="2581" y="2147"/>
                </a:cubicBezTo>
                <a:close/>
                <a:moveTo>
                  <a:pt x="2534" y="2153"/>
                </a:moveTo>
                <a:cubicBezTo>
                  <a:pt x="2533" y="2154"/>
                  <a:pt x="2531" y="2155"/>
                  <a:pt x="2530" y="2156"/>
                </a:cubicBezTo>
                <a:cubicBezTo>
                  <a:pt x="2530" y="2156"/>
                  <a:pt x="2529" y="2157"/>
                  <a:pt x="2529" y="2158"/>
                </a:cubicBezTo>
                <a:cubicBezTo>
                  <a:pt x="2529" y="2161"/>
                  <a:pt x="2534" y="2165"/>
                  <a:pt x="2537" y="2164"/>
                </a:cubicBezTo>
                <a:cubicBezTo>
                  <a:pt x="2538" y="2164"/>
                  <a:pt x="2539" y="2163"/>
                  <a:pt x="2538" y="2162"/>
                </a:cubicBezTo>
                <a:cubicBezTo>
                  <a:pt x="2537" y="2159"/>
                  <a:pt x="2535" y="2156"/>
                  <a:pt x="2534" y="2153"/>
                </a:cubicBezTo>
                <a:close/>
                <a:moveTo>
                  <a:pt x="2586" y="2155"/>
                </a:moveTo>
                <a:cubicBezTo>
                  <a:pt x="2584" y="2160"/>
                  <a:pt x="2581" y="2164"/>
                  <a:pt x="2579" y="2168"/>
                </a:cubicBezTo>
                <a:cubicBezTo>
                  <a:pt x="2582" y="2168"/>
                  <a:pt x="2584" y="2169"/>
                  <a:pt x="2587" y="2168"/>
                </a:cubicBezTo>
                <a:cubicBezTo>
                  <a:pt x="2587" y="2168"/>
                  <a:pt x="2588" y="2167"/>
                  <a:pt x="2588" y="2167"/>
                </a:cubicBezTo>
                <a:cubicBezTo>
                  <a:pt x="2588" y="2164"/>
                  <a:pt x="2588" y="2162"/>
                  <a:pt x="2587" y="2159"/>
                </a:cubicBezTo>
                <a:cubicBezTo>
                  <a:pt x="2587" y="2158"/>
                  <a:pt x="2586" y="2157"/>
                  <a:pt x="2586" y="2155"/>
                </a:cubicBezTo>
                <a:close/>
                <a:moveTo>
                  <a:pt x="2534" y="2135"/>
                </a:moveTo>
                <a:cubicBezTo>
                  <a:pt x="2533" y="2135"/>
                  <a:pt x="2532" y="2136"/>
                  <a:pt x="2532" y="2136"/>
                </a:cubicBezTo>
                <a:cubicBezTo>
                  <a:pt x="2531" y="2136"/>
                  <a:pt x="2530" y="2136"/>
                  <a:pt x="2530" y="2135"/>
                </a:cubicBezTo>
                <a:cubicBezTo>
                  <a:pt x="2530" y="2135"/>
                  <a:pt x="2529" y="2134"/>
                  <a:pt x="2529" y="2133"/>
                </a:cubicBezTo>
                <a:cubicBezTo>
                  <a:pt x="2530" y="2131"/>
                  <a:pt x="2530" y="2129"/>
                  <a:pt x="2531" y="2127"/>
                </a:cubicBezTo>
                <a:cubicBezTo>
                  <a:pt x="2531" y="2127"/>
                  <a:pt x="2531" y="2127"/>
                  <a:pt x="2530" y="2127"/>
                </a:cubicBezTo>
                <a:cubicBezTo>
                  <a:pt x="2530" y="2128"/>
                  <a:pt x="2528" y="2129"/>
                  <a:pt x="2528" y="2130"/>
                </a:cubicBezTo>
                <a:cubicBezTo>
                  <a:pt x="2527" y="2131"/>
                  <a:pt x="2528" y="2136"/>
                  <a:pt x="2530" y="2137"/>
                </a:cubicBezTo>
                <a:cubicBezTo>
                  <a:pt x="2532" y="2138"/>
                  <a:pt x="2534" y="2137"/>
                  <a:pt x="2534" y="2135"/>
                </a:cubicBezTo>
                <a:close/>
                <a:moveTo>
                  <a:pt x="2533" y="2153"/>
                </a:moveTo>
                <a:cubicBezTo>
                  <a:pt x="2532" y="2154"/>
                  <a:pt x="2531" y="2155"/>
                  <a:pt x="2530" y="2156"/>
                </a:cubicBezTo>
                <a:cubicBezTo>
                  <a:pt x="2529" y="2156"/>
                  <a:pt x="2529" y="2157"/>
                  <a:pt x="2529" y="2158"/>
                </a:cubicBezTo>
                <a:cubicBezTo>
                  <a:pt x="2529" y="2160"/>
                  <a:pt x="2533" y="2165"/>
                  <a:pt x="2536" y="2164"/>
                </a:cubicBezTo>
                <a:cubicBezTo>
                  <a:pt x="2538" y="2164"/>
                  <a:pt x="2539" y="2163"/>
                  <a:pt x="2538" y="2162"/>
                </a:cubicBezTo>
                <a:cubicBezTo>
                  <a:pt x="2536" y="2159"/>
                  <a:pt x="2535" y="2156"/>
                  <a:pt x="2533" y="2153"/>
                </a:cubicBezTo>
                <a:close/>
                <a:moveTo>
                  <a:pt x="2586" y="2155"/>
                </a:moveTo>
                <a:cubicBezTo>
                  <a:pt x="2584" y="2160"/>
                  <a:pt x="2581" y="2164"/>
                  <a:pt x="2579" y="2169"/>
                </a:cubicBezTo>
                <a:cubicBezTo>
                  <a:pt x="2582" y="2169"/>
                  <a:pt x="2584" y="2169"/>
                  <a:pt x="2587" y="2169"/>
                </a:cubicBezTo>
                <a:cubicBezTo>
                  <a:pt x="2587" y="2169"/>
                  <a:pt x="2588" y="2167"/>
                  <a:pt x="2588" y="2167"/>
                </a:cubicBezTo>
                <a:cubicBezTo>
                  <a:pt x="2588" y="2164"/>
                  <a:pt x="2588" y="2162"/>
                  <a:pt x="2587" y="2159"/>
                </a:cubicBezTo>
                <a:cubicBezTo>
                  <a:pt x="2587" y="2158"/>
                  <a:pt x="2586" y="2157"/>
                  <a:pt x="2586" y="2155"/>
                </a:cubicBezTo>
                <a:close/>
                <a:moveTo>
                  <a:pt x="2533" y="2135"/>
                </a:moveTo>
                <a:cubicBezTo>
                  <a:pt x="2533" y="2135"/>
                  <a:pt x="2532" y="2135"/>
                  <a:pt x="2531" y="2135"/>
                </a:cubicBezTo>
                <a:cubicBezTo>
                  <a:pt x="2531" y="2135"/>
                  <a:pt x="2530" y="2135"/>
                  <a:pt x="2530" y="2135"/>
                </a:cubicBezTo>
                <a:cubicBezTo>
                  <a:pt x="2529" y="2135"/>
                  <a:pt x="2529" y="2134"/>
                  <a:pt x="2529" y="2133"/>
                </a:cubicBezTo>
                <a:cubicBezTo>
                  <a:pt x="2530" y="2131"/>
                  <a:pt x="2530" y="2129"/>
                  <a:pt x="2531" y="2127"/>
                </a:cubicBezTo>
                <a:cubicBezTo>
                  <a:pt x="2531" y="2127"/>
                  <a:pt x="2531" y="2127"/>
                  <a:pt x="2530" y="2127"/>
                </a:cubicBezTo>
                <a:cubicBezTo>
                  <a:pt x="2529" y="2128"/>
                  <a:pt x="2528" y="2129"/>
                  <a:pt x="2527" y="2130"/>
                </a:cubicBezTo>
                <a:cubicBezTo>
                  <a:pt x="2527" y="2131"/>
                  <a:pt x="2528" y="2136"/>
                  <a:pt x="2530" y="2137"/>
                </a:cubicBezTo>
                <a:cubicBezTo>
                  <a:pt x="2531" y="2138"/>
                  <a:pt x="2533" y="2137"/>
                  <a:pt x="2533" y="2135"/>
                </a:cubicBezTo>
                <a:close/>
                <a:moveTo>
                  <a:pt x="2586" y="2126"/>
                </a:moveTo>
                <a:cubicBezTo>
                  <a:pt x="2589" y="2123"/>
                  <a:pt x="2589" y="2123"/>
                  <a:pt x="2593" y="2122"/>
                </a:cubicBezTo>
                <a:cubicBezTo>
                  <a:pt x="2593" y="2124"/>
                  <a:pt x="2594" y="2125"/>
                  <a:pt x="2595" y="2125"/>
                </a:cubicBezTo>
                <a:cubicBezTo>
                  <a:pt x="2593" y="2126"/>
                  <a:pt x="2591" y="2128"/>
                  <a:pt x="2589" y="2129"/>
                </a:cubicBezTo>
                <a:cubicBezTo>
                  <a:pt x="2588" y="2128"/>
                  <a:pt x="2588" y="2127"/>
                  <a:pt x="2587" y="2126"/>
                </a:cubicBezTo>
                <a:cubicBezTo>
                  <a:pt x="2587" y="2126"/>
                  <a:pt x="2586" y="2126"/>
                  <a:pt x="2586" y="2126"/>
                </a:cubicBezTo>
                <a:close/>
                <a:moveTo>
                  <a:pt x="2591" y="2126"/>
                </a:moveTo>
                <a:cubicBezTo>
                  <a:pt x="2591" y="2126"/>
                  <a:pt x="2590" y="2125"/>
                  <a:pt x="2589" y="2125"/>
                </a:cubicBezTo>
                <a:cubicBezTo>
                  <a:pt x="2589" y="2125"/>
                  <a:pt x="2588" y="2126"/>
                  <a:pt x="2588" y="2126"/>
                </a:cubicBezTo>
                <a:cubicBezTo>
                  <a:pt x="2588" y="2127"/>
                  <a:pt x="2589" y="2127"/>
                  <a:pt x="2589" y="2128"/>
                </a:cubicBezTo>
                <a:cubicBezTo>
                  <a:pt x="2590" y="2127"/>
                  <a:pt x="2590" y="2127"/>
                  <a:pt x="2591" y="2126"/>
                </a:cubicBezTo>
                <a:close/>
                <a:moveTo>
                  <a:pt x="2573" y="2117"/>
                </a:moveTo>
                <a:cubicBezTo>
                  <a:pt x="2566" y="2116"/>
                  <a:pt x="2563" y="2118"/>
                  <a:pt x="2562" y="2126"/>
                </a:cubicBezTo>
                <a:cubicBezTo>
                  <a:pt x="2563" y="2124"/>
                  <a:pt x="2564" y="2122"/>
                  <a:pt x="2566" y="2119"/>
                </a:cubicBezTo>
                <a:cubicBezTo>
                  <a:pt x="2566" y="2119"/>
                  <a:pt x="2566" y="2119"/>
                  <a:pt x="2566" y="2119"/>
                </a:cubicBezTo>
                <a:cubicBezTo>
                  <a:pt x="2566" y="2121"/>
                  <a:pt x="2566" y="2121"/>
                  <a:pt x="2566" y="2122"/>
                </a:cubicBezTo>
                <a:cubicBezTo>
                  <a:pt x="2568" y="2119"/>
                  <a:pt x="2569" y="2117"/>
                  <a:pt x="2573" y="2117"/>
                </a:cubicBezTo>
                <a:close/>
                <a:moveTo>
                  <a:pt x="2616" y="2118"/>
                </a:moveTo>
                <a:cubicBezTo>
                  <a:pt x="2614" y="2119"/>
                  <a:pt x="2612" y="2121"/>
                  <a:pt x="2611" y="2122"/>
                </a:cubicBezTo>
                <a:cubicBezTo>
                  <a:pt x="2613" y="2122"/>
                  <a:pt x="2615" y="2121"/>
                  <a:pt x="2616" y="2118"/>
                </a:cubicBezTo>
                <a:close/>
                <a:moveTo>
                  <a:pt x="2583" y="2120"/>
                </a:moveTo>
                <a:cubicBezTo>
                  <a:pt x="2584" y="2119"/>
                  <a:pt x="2585" y="2117"/>
                  <a:pt x="2587" y="2116"/>
                </a:cubicBezTo>
                <a:cubicBezTo>
                  <a:pt x="2583" y="2117"/>
                  <a:pt x="2582" y="2118"/>
                  <a:pt x="2583" y="2120"/>
                </a:cubicBezTo>
                <a:close/>
                <a:moveTo>
                  <a:pt x="2593" y="2142"/>
                </a:moveTo>
                <a:cubicBezTo>
                  <a:pt x="2591" y="2142"/>
                  <a:pt x="2590" y="2143"/>
                  <a:pt x="2590" y="2144"/>
                </a:cubicBezTo>
                <a:cubicBezTo>
                  <a:pt x="2591" y="2143"/>
                  <a:pt x="2592" y="2142"/>
                  <a:pt x="2593" y="2142"/>
                </a:cubicBezTo>
                <a:close/>
                <a:moveTo>
                  <a:pt x="2591" y="2126"/>
                </a:moveTo>
                <a:cubicBezTo>
                  <a:pt x="2591" y="2126"/>
                  <a:pt x="2590" y="2125"/>
                  <a:pt x="2590" y="2125"/>
                </a:cubicBezTo>
                <a:cubicBezTo>
                  <a:pt x="2589" y="2125"/>
                  <a:pt x="2588" y="2126"/>
                  <a:pt x="2588" y="2127"/>
                </a:cubicBezTo>
                <a:cubicBezTo>
                  <a:pt x="2588" y="2127"/>
                  <a:pt x="2589" y="2127"/>
                  <a:pt x="2589" y="2128"/>
                </a:cubicBezTo>
                <a:cubicBezTo>
                  <a:pt x="2590" y="2127"/>
                  <a:pt x="2590" y="2127"/>
                  <a:pt x="2591" y="2126"/>
                </a:cubicBezTo>
                <a:close/>
                <a:moveTo>
                  <a:pt x="3246" y="2104"/>
                </a:moveTo>
                <a:cubicBezTo>
                  <a:pt x="3246" y="2104"/>
                  <a:pt x="3246" y="2104"/>
                  <a:pt x="3246" y="2104"/>
                </a:cubicBezTo>
                <a:cubicBezTo>
                  <a:pt x="3240" y="2104"/>
                  <a:pt x="3240" y="2104"/>
                  <a:pt x="3240" y="2104"/>
                </a:cubicBezTo>
                <a:cubicBezTo>
                  <a:pt x="3238" y="2105"/>
                  <a:pt x="3237" y="2107"/>
                  <a:pt x="3235" y="2107"/>
                </a:cubicBezTo>
                <a:cubicBezTo>
                  <a:pt x="3233" y="2109"/>
                  <a:pt x="3232" y="2110"/>
                  <a:pt x="3229" y="2110"/>
                </a:cubicBezTo>
                <a:cubicBezTo>
                  <a:pt x="3228" y="2112"/>
                  <a:pt x="3226" y="2112"/>
                  <a:pt x="3224" y="2113"/>
                </a:cubicBezTo>
                <a:cubicBezTo>
                  <a:pt x="3222" y="2114"/>
                  <a:pt x="3220" y="2115"/>
                  <a:pt x="3218" y="2115"/>
                </a:cubicBezTo>
                <a:cubicBezTo>
                  <a:pt x="3218" y="2115"/>
                  <a:pt x="3218" y="2115"/>
                  <a:pt x="3218" y="2125"/>
                </a:cubicBezTo>
                <a:cubicBezTo>
                  <a:pt x="3221" y="2124"/>
                  <a:pt x="3224" y="2123"/>
                  <a:pt x="3227" y="2122"/>
                </a:cubicBezTo>
                <a:cubicBezTo>
                  <a:pt x="3229" y="2121"/>
                  <a:pt x="3232" y="2120"/>
                  <a:pt x="3234" y="2118"/>
                </a:cubicBezTo>
                <a:cubicBezTo>
                  <a:pt x="3234" y="2118"/>
                  <a:pt x="3234" y="2118"/>
                  <a:pt x="3234" y="2177"/>
                </a:cubicBezTo>
                <a:cubicBezTo>
                  <a:pt x="3234" y="2177"/>
                  <a:pt x="3234" y="2177"/>
                  <a:pt x="3246" y="2177"/>
                </a:cubicBezTo>
                <a:cubicBezTo>
                  <a:pt x="3246" y="2177"/>
                  <a:pt x="3246" y="2177"/>
                  <a:pt x="3246" y="2104"/>
                </a:cubicBezTo>
                <a:close/>
                <a:moveTo>
                  <a:pt x="3293" y="2104"/>
                </a:moveTo>
                <a:cubicBezTo>
                  <a:pt x="3293" y="2104"/>
                  <a:pt x="3293" y="2104"/>
                  <a:pt x="3293" y="2104"/>
                </a:cubicBezTo>
                <a:cubicBezTo>
                  <a:pt x="3288" y="2104"/>
                  <a:pt x="3288" y="2104"/>
                  <a:pt x="3288" y="2104"/>
                </a:cubicBezTo>
                <a:cubicBezTo>
                  <a:pt x="3286" y="2105"/>
                  <a:pt x="3284" y="2107"/>
                  <a:pt x="3282" y="2107"/>
                </a:cubicBezTo>
                <a:cubicBezTo>
                  <a:pt x="3281" y="2109"/>
                  <a:pt x="3278" y="2110"/>
                  <a:pt x="3277" y="2110"/>
                </a:cubicBezTo>
                <a:cubicBezTo>
                  <a:pt x="3275" y="2112"/>
                  <a:pt x="3273" y="2112"/>
                  <a:pt x="3272" y="2113"/>
                </a:cubicBezTo>
                <a:cubicBezTo>
                  <a:pt x="3269" y="2114"/>
                  <a:pt x="3268" y="2115"/>
                  <a:pt x="3266" y="2115"/>
                </a:cubicBezTo>
                <a:cubicBezTo>
                  <a:pt x="3266" y="2115"/>
                  <a:pt x="3266" y="2115"/>
                  <a:pt x="3266" y="2125"/>
                </a:cubicBezTo>
                <a:cubicBezTo>
                  <a:pt x="3269" y="2124"/>
                  <a:pt x="3272" y="2123"/>
                  <a:pt x="3274" y="2122"/>
                </a:cubicBezTo>
                <a:cubicBezTo>
                  <a:pt x="3277" y="2121"/>
                  <a:pt x="3279" y="2120"/>
                  <a:pt x="3281" y="2118"/>
                </a:cubicBezTo>
                <a:cubicBezTo>
                  <a:pt x="3281" y="2118"/>
                  <a:pt x="3281" y="2118"/>
                  <a:pt x="3281" y="2177"/>
                </a:cubicBezTo>
                <a:cubicBezTo>
                  <a:pt x="3281" y="2177"/>
                  <a:pt x="3281" y="2177"/>
                  <a:pt x="3293" y="2177"/>
                </a:cubicBezTo>
                <a:cubicBezTo>
                  <a:pt x="3293" y="2177"/>
                  <a:pt x="3293" y="2177"/>
                  <a:pt x="3293" y="2104"/>
                </a:cubicBezTo>
                <a:close/>
                <a:moveTo>
                  <a:pt x="3340" y="2104"/>
                </a:moveTo>
                <a:cubicBezTo>
                  <a:pt x="3340" y="2104"/>
                  <a:pt x="3340" y="2104"/>
                  <a:pt x="3340" y="2104"/>
                </a:cubicBezTo>
                <a:cubicBezTo>
                  <a:pt x="3335" y="2104"/>
                  <a:pt x="3335" y="2104"/>
                  <a:pt x="3335" y="2104"/>
                </a:cubicBezTo>
                <a:cubicBezTo>
                  <a:pt x="3333" y="2105"/>
                  <a:pt x="3332" y="2107"/>
                  <a:pt x="3329" y="2107"/>
                </a:cubicBezTo>
                <a:cubicBezTo>
                  <a:pt x="3328" y="2109"/>
                  <a:pt x="3326" y="2110"/>
                  <a:pt x="3324" y="2110"/>
                </a:cubicBezTo>
                <a:cubicBezTo>
                  <a:pt x="3322" y="2111"/>
                  <a:pt x="3321" y="2112"/>
                  <a:pt x="3318" y="2112"/>
                </a:cubicBezTo>
                <a:cubicBezTo>
                  <a:pt x="3317" y="2113"/>
                  <a:pt x="3315" y="2114"/>
                  <a:pt x="3313" y="2115"/>
                </a:cubicBezTo>
                <a:cubicBezTo>
                  <a:pt x="3313" y="2115"/>
                  <a:pt x="3313" y="2115"/>
                  <a:pt x="3313" y="2125"/>
                </a:cubicBezTo>
                <a:cubicBezTo>
                  <a:pt x="3316" y="2124"/>
                  <a:pt x="3319" y="2123"/>
                  <a:pt x="3321" y="2122"/>
                </a:cubicBezTo>
                <a:cubicBezTo>
                  <a:pt x="3324" y="2121"/>
                  <a:pt x="3326" y="2120"/>
                  <a:pt x="3328" y="2118"/>
                </a:cubicBezTo>
                <a:cubicBezTo>
                  <a:pt x="3328" y="2118"/>
                  <a:pt x="3328" y="2118"/>
                  <a:pt x="3328" y="2177"/>
                </a:cubicBezTo>
                <a:cubicBezTo>
                  <a:pt x="3328" y="2177"/>
                  <a:pt x="3328" y="2177"/>
                  <a:pt x="3340" y="2177"/>
                </a:cubicBezTo>
                <a:cubicBezTo>
                  <a:pt x="3340" y="2177"/>
                  <a:pt x="3340" y="2177"/>
                  <a:pt x="3340" y="2104"/>
                </a:cubicBezTo>
                <a:close/>
                <a:moveTo>
                  <a:pt x="3550" y="2009"/>
                </a:moveTo>
                <a:cubicBezTo>
                  <a:pt x="3550" y="2009"/>
                  <a:pt x="3550" y="2009"/>
                  <a:pt x="3550" y="2009"/>
                </a:cubicBezTo>
                <a:cubicBezTo>
                  <a:pt x="3545" y="2009"/>
                  <a:pt x="3545" y="2009"/>
                  <a:pt x="3545" y="2009"/>
                </a:cubicBezTo>
                <a:cubicBezTo>
                  <a:pt x="3543" y="2010"/>
                  <a:pt x="3542" y="2012"/>
                  <a:pt x="3539" y="2012"/>
                </a:cubicBezTo>
                <a:cubicBezTo>
                  <a:pt x="3538" y="2014"/>
                  <a:pt x="3536" y="2014"/>
                  <a:pt x="3534" y="2015"/>
                </a:cubicBezTo>
                <a:cubicBezTo>
                  <a:pt x="3532" y="2016"/>
                  <a:pt x="3530" y="2017"/>
                  <a:pt x="3529" y="2017"/>
                </a:cubicBezTo>
                <a:cubicBezTo>
                  <a:pt x="3527" y="2018"/>
                  <a:pt x="3525" y="2019"/>
                  <a:pt x="3523" y="2020"/>
                </a:cubicBezTo>
                <a:cubicBezTo>
                  <a:pt x="3523" y="2020"/>
                  <a:pt x="3523" y="2020"/>
                  <a:pt x="3523" y="2030"/>
                </a:cubicBezTo>
                <a:cubicBezTo>
                  <a:pt x="3526" y="2029"/>
                  <a:pt x="3529" y="2028"/>
                  <a:pt x="3531" y="2027"/>
                </a:cubicBezTo>
                <a:cubicBezTo>
                  <a:pt x="3534" y="2026"/>
                  <a:pt x="3536" y="2025"/>
                  <a:pt x="3539" y="2023"/>
                </a:cubicBezTo>
                <a:cubicBezTo>
                  <a:pt x="3539" y="2023"/>
                  <a:pt x="3539" y="2023"/>
                  <a:pt x="3539" y="2082"/>
                </a:cubicBezTo>
                <a:cubicBezTo>
                  <a:pt x="3539" y="2082"/>
                  <a:pt x="3539" y="2082"/>
                  <a:pt x="3550" y="2082"/>
                </a:cubicBezTo>
                <a:cubicBezTo>
                  <a:pt x="3550" y="2082"/>
                  <a:pt x="3550" y="2082"/>
                  <a:pt x="3550" y="2009"/>
                </a:cubicBezTo>
                <a:close/>
                <a:moveTo>
                  <a:pt x="3596" y="2009"/>
                </a:moveTo>
                <a:cubicBezTo>
                  <a:pt x="3596" y="2009"/>
                  <a:pt x="3596" y="2009"/>
                  <a:pt x="3596" y="2009"/>
                </a:cubicBezTo>
                <a:cubicBezTo>
                  <a:pt x="3591" y="2009"/>
                  <a:pt x="3591" y="2009"/>
                  <a:pt x="3591" y="2009"/>
                </a:cubicBezTo>
                <a:cubicBezTo>
                  <a:pt x="3589" y="2010"/>
                  <a:pt x="3588" y="2012"/>
                  <a:pt x="3586" y="2012"/>
                </a:cubicBezTo>
                <a:cubicBezTo>
                  <a:pt x="3584" y="2014"/>
                  <a:pt x="3582" y="2014"/>
                  <a:pt x="3581" y="2015"/>
                </a:cubicBezTo>
                <a:cubicBezTo>
                  <a:pt x="3579" y="2017"/>
                  <a:pt x="3577" y="2017"/>
                  <a:pt x="3576" y="2018"/>
                </a:cubicBezTo>
                <a:cubicBezTo>
                  <a:pt x="3574" y="2019"/>
                  <a:pt x="3572" y="2020"/>
                  <a:pt x="3570" y="2020"/>
                </a:cubicBezTo>
                <a:cubicBezTo>
                  <a:pt x="3570" y="2020"/>
                  <a:pt x="3570" y="2020"/>
                  <a:pt x="3570" y="2030"/>
                </a:cubicBezTo>
                <a:cubicBezTo>
                  <a:pt x="3573" y="2029"/>
                  <a:pt x="3576" y="2028"/>
                  <a:pt x="3578" y="2027"/>
                </a:cubicBezTo>
                <a:cubicBezTo>
                  <a:pt x="3581" y="2026"/>
                  <a:pt x="3583" y="2025"/>
                  <a:pt x="3585" y="2023"/>
                </a:cubicBezTo>
                <a:cubicBezTo>
                  <a:pt x="3585" y="2023"/>
                  <a:pt x="3585" y="2023"/>
                  <a:pt x="3585" y="2082"/>
                </a:cubicBezTo>
                <a:cubicBezTo>
                  <a:pt x="3585" y="2082"/>
                  <a:pt x="3585" y="2082"/>
                  <a:pt x="3596" y="2082"/>
                </a:cubicBezTo>
                <a:cubicBezTo>
                  <a:pt x="3596" y="2082"/>
                  <a:pt x="3596" y="2082"/>
                  <a:pt x="3596" y="2009"/>
                </a:cubicBezTo>
                <a:close/>
                <a:moveTo>
                  <a:pt x="3643" y="2009"/>
                </a:moveTo>
                <a:cubicBezTo>
                  <a:pt x="3643" y="2009"/>
                  <a:pt x="3643" y="2009"/>
                  <a:pt x="3643" y="2009"/>
                </a:cubicBezTo>
                <a:cubicBezTo>
                  <a:pt x="3638" y="2009"/>
                  <a:pt x="3638" y="2009"/>
                  <a:pt x="3638" y="2009"/>
                </a:cubicBezTo>
                <a:cubicBezTo>
                  <a:pt x="3636" y="2010"/>
                  <a:pt x="3635" y="2012"/>
                  <a:pt x="3632" y="2012"/>
                </a:cubicBezTo>
                <a:cubicBezTo>
                  <a:pt x="3631" y="2014"/>
                  <a:pt x="3629" y="2014"/>
                  <a:pt x="3627" y="2015"/>
                </a:cubicBezTo>
                <a:cubicBezTo>
                  <a:pt x="3625" y="2017"/>
                  <a:pt x="3624" y="2017"/>
                  <a:pt x="3621" y="2018"/>
                </a:cubicBezTo>
                <a:cubicBezTo>
                  <a:pt x="3620" y="2019"/>
                  <a:pt x="3618" y="2020"/>
                  <a:pt x="3616" y="2020"/>
                </a:cubicBezTo>
                <a:cubicBezTo>
                  <a:pt x="3616" y="2020"/>
                  <a:pt x="3616" y="2020"/>
                  <a:pt x="3616" y="2030"/>
                </a:cubicBezTo>
                <a:cubicBezTo>
                  <a:pt x="3619" y="2029"/>
                  <a:pt x="3622" y="2028"/>
                  <a:pt x="3624" y="2027"/>
                </a:cubicBezTo>
                <a:cubicBezTo>
                  <a:pt x="3626" y="2026"/>
                  <a:pt x="3629" y="2025"/>
                  <a:pt x="3631" y="2023"/>
                </a:cubicBezTo>
                <a:cubicBezTo>
                  <a:pt x="3631" y="2023"/>
                  <a:pt x="3631" y="2023"/>
                  <a:pt x="3631" y="2082"/>
                </a:cubicBezTo>
                <a:cubicBezTo>
                  <a:pt x="3631" y="2082"/>
                  <a:pt x="3631" y="2082"/>
                  <a:pt x="3643" y="2082"/>
                </a:cubicBezTo>
                <a:cubicBezTo>
                  <a:pt x="3643" y="2082"/>
                  <a:pt x="3643" y="2082"/>
                  <a:pt x="3643" y="2009"/>
                </a:cubicBezTo>
                <a:close/>
                <a:moveTo>
                  <a:pt x="3689" y="2009"/>
                </a:moveTo>
                <a:cubicBezTo>
                  <a:pt x="3689" y="2009"/>
                  <a:pt x="3689" y="2009"/>
                  <a:pt x="3689" y="2009"/>
                </a:cubicBezTo>
                <a:cubicBezTo>
                  <a:pt x="3684" y="2009"/>
                  <a:pt x="3684" y="2009"/>
                  <a:pt x="3684" y="2009"/>
                </a:cubicBezTo>
                <a:cubicBezTo>
                  <a:pt x="3682" y="2010"/>
                  <a:pt x="3680" y="2012"/>
                  <a:pt x="3678" y="2012"/>
                </a:cubicBezTo>
                <a:cubicBezTo>
                  <a:pt x="3677" y="2014"/>
                  <a:pt x="3675" y="2014"/>
                  <a:pt x="3673" y="2015"/>
                </a:cubicBezTo>
                <a:cubicBezTo>
                  <a:pt x="3672" y="2017"/>
                  <a:pt x="3670" y="2017"/>
                  <a:pt x="3668" y="2018"/>
                </a:cubicBezTo>
                <a:cubicBezTo>
                  <a:pt x="3666" y="2019"/>
                  <a:pt x="3664" y="2020"/>
                  <a:pt x="3662" y="2020"/>
                </a:cubicBezTo>
                <a:cubicBezTo>
                  <a:pt x="3662" y="2020"/>
                  <a:pt x="3662" y="2020"/>
                  <a:pt x="3662" y="2030"/>
                </a:cubicBezTo>
                <a:cubicBezTo>
                  <a:pt x="3665" y="2029"/>
                  <a:pt x="3668" y="2028"/>
                  <a:pt x="3670" y="2027"/>
                </a:cubicBezTo>
                <a:cubicBezTo>
                  <a:pt x="3673" y="2026"/>
                  <a:pt x="3675" y="2025"/>
                  <a:pt x="3678" y="2023"/>
                </a:cubicBezTo>
                <a:cubicBezTo>
                  <a:pt x="3678" y="2023"/>
                  <a:pt x="3678" y="2023"/>
                  <a:pt x="3678" y="2082"/>
                </a:cubicBezTo>
                <a:cubicBezTo>
                  <a:pt x="3678" y="2082"/>
                  <a:pt x="3678" y="2082"/>
                  <a:pt x="3689" y="2082"/>
                </a:cubicBezTo>
                <a:cubicBezTo>
                  <a:pt x="3689" y="2082"/>
                  <a:pt x="3689" y="2082"/>
                  <a:pt x="3689" y="2009"/>
                </a:cubicBezTo>
                <a:close/>
                <a:moveTo>
                  <a:pt x="3811" y="2009"/>
                </a:moveTo>
                <a:cubicBezTo>
                  <a:pt x="3811" y="2009"/>
                  <a:pt x="3811" y="2009"/>
                  <a:pt x="3811" y="2009"/>
                </a:cubicBezTo>
                <a:cubicBezTo>
                  <a:pt x="3806" y="2009"/>
                  <a:pt x="3806" y="2009"/>
                  <a:pt x="3806" y="2009"/>
                </a:cubicBezTo>
                <a:cubicBezTo>
                  <a:pt x="3804" y="2010"/>
                  <a:pt x="3802" y="2012"/>
                  <a:pt x="3800" y="2012"/>
                </a:cubicBezTo>
                <a:cubicBezTo>
                  <a:pt x="3798" y="2014"/>
                  <a:pt x="3797" y="2014"/>
                  <a:pt x="3795" y="2015"/>
                </a:cubicBezTo>
                <a:cubicBezTo>
                  <a:pt x="3793" y="2017"/>
                  <a:pt x="3791" y="2017"/>
                  <a:pt x="3790" y="2018"/>
                </a:cubicBezTo>
                <a:cubicBezTo>
                  <a:pt x="3787" y="2019"/>
                  <a:pt x="3786" y="2020"/>
                  <a:pt x="3784" y="2020"/>
                </a:cubicBezTo>
                <a:cubicBezTo>
                  <a:pt x="3784" y="2020"/>
                  <a:pt x="3784" y="2020"/>
                  <a:pt x="3784" y="2030"/>
                </a:cubicBezTo>
                <a:cubicBezTo>
                  <a:pt x="3787" y="2029"/>
                  <a:pt x="3790" y="2028"/>
                  <a:pt x="3793" y="2027"/>
                </a:cubicBezTo>
                <a:cubicBezTo>
                  <a:pt x="3795" y="2026"/>
                  <a:pt x="3797" y="2025"/>
                  <a:pt x="3799" y="2023"/>
                </a:cubicBezTo>
                <a:cubicBezTo>
                  <a:pt x="3799" y="2023"/>
                  <a:pt x="3799" y="2023"/>
                  <a:pt x="3799" y="2082"/>
                </a:cubicBezTo>
                <a:cubicBezTo>
                  <a:pt x="3799" y="2082"/>
                  <a:pt x="3799" y="2082"/>
                  <a:pt x="3811" y="2082"/>
                </a:cubicBezTo>
                <a:cubicBezTo>
                  <a:pt x="3811" y="2082"/>
                  <a:pt x="3811" y="2082"/>
                  <a:pt x="3811" y="2009"/>
                </a:cubicBezTo>
                <a:close/>
                <a:moveTo>
                  <a:pt x="3858" y="2009"/>
                </a:moveTo>
                <a:cubicBezTo>
                  <a:pt x="3858" y="2009"/>
                  <a:pt x="3858" y="2009"/>
                  <a:pt x="3858" y="2009"/>
                </a:cubicBezTo>
                <a:cubicBezTo>
                  <a:pt x="3853" y="2009"/>
                  <a:pt x="3853" y="2009"/>
                  <a:pt x="3853" y="2009"/>
                </a:cubicBezTo>
                <a:cubicBezTo>
                  <a:pt x="3850" y="2010"/>
                  <a:pt x="3849" y="2012"/>
                  <a:pt x="3847" y="2012"/>
                </a:cubicBezTo>
                <a:cubicBezTo>
                  <a:pt x="3845" y="2014"/>
                  <a:pt x="3843" y="2014"/>
                  <a:pt x="3842" y="2015"/>
                </a:cubicBezTo>
                <a:cubicBezTo>
                  <a:pt x="3840" y="2017"/>
                  <a:pt x="3838" y="2017"/>
                  <a:pt x="3837" y="2018"/>
                </a:cubicBezTo>
                <a:cubicBezTo>
                  <a:pt x="3834" y="2019"/>
                  <a:pt x="3833" y="2020"/>
                  <a:pt x="3831" y="2020"/>
                </a:cubicBezTo>
                <a:cubicBezTo>
                  <a:pt x="3831" y="2020"/>
                  <a:pt x="3831" y="2020"/>
                  <a:pt x="3831" y="2030"/>
                </a:cubicBezTo>
                <a:cubicBezTo>
                  <a:pt x="3834" y="2029"/>
                  <a:pt x="3837" y="2028"/>
                  <a:pt x="3839" y="2027"/>
                </a:cubicBezTo>
                <a:cubicBezTo>
                  <a:pt x="3842" y="2026"/>
                  <a:pt x="3844" y="2025"/>
                  <a:pt x="3846" y="2023"/>
                </a:cubicBezTo>
                <a:cubicBezTo>
                  <a:pt x="3846" y="2023"/>
                  <a:pt x="3846" y="2023"/>
                  <a:pt x="3846" y="2082"/>
                </a:cubicBezTo>
                <a:cubicBezTo>
                  <a:pt x="3846" y="2082"/>
                  <a:pt x="3846" y="2082"/>
                  <a:pt x="3858" y="2082"/>
                </a:cubicBezTo>
                <a:cubicBezTo>
                  <a:pt x="3858" y="2082"/>
                  <a:pt x="3858" y="2082"/>
                  <a:pt x="3858" y="2009"/>
                </a:cubicBezTo>
                <a:close/>
                <a:moveTo>
                  <a:pt x="3709" y="2041"/>
                </a:moveTo>
                <a:cubicBezTo>
                  <a:pt x="3709" y="2041"/>
                  <a:pt x="3709" y="2041"/>
                  <a:pt x="3709" y="2041"/>
                </a:cubicBezTo>
                <a:cubicBezTo>
                  <a:pt x="3709" y="2049"/>
                  <a:pt x="3709" y="2049"/>
                  <a:pt x="3709" y="2049"/>
                </a:cubicBezTo>
                <a:cubicBezTo>
                  <a:pt x="3715" y="2050"/>
                  <a:pt x="3716" y="2053"/>
                  <a:pt x="3716" y="2055"/>
                </a:cubicBezTo>
                <a:cubicBezTo>
                  <a:pt x="3716" y="2057"/>
                  <a:pt x="3716" y="2060"/>
                  <a:pt x="3716" y="2062"/>
                </a:cubicBezTo>
                <a:cubicBezTo>
                  <a:pt x="3715" y="2065"/>
                  <a:pt x="3715" y="2067"/>
                  <a:pt x="3715" y="2069"/>
                </a:cubicBezTo>
                <a:cubicBezTo>
                  <a:pt x="3715" y="2079"/>
                  <a:pt x="3721" y="2082"/>
                  <a:pt x="3730" y="2082"/>
                </a:cubicBezTo>
                <a:cubicBezTo>
                  <a:pt x="3730" y="2082"/>
                  <a:pt x="3730" y="2082"/>
                  <a:pt x="3733" y="2082"/>
                </a:cubicBezTo>
                <a:cubicBezTo>
                  <a:pt x="3733" y="2082"/>
                  <a:pt x="3733" y="2082"/>
                  <a:pt x="3733" y="2073"/>
                </a:cubicBezTo>
                <a:cubicBezTo>
                  <a:pt x="3733" y="2073"/>
                  <a:pt x="3733" y="2073"/>
                  <a:pt x="3732" y="2073"/>
                </a:cubicBezTo>
                <a:cubicBezTo>
                  <a:pt x="3728" y="2073"/>
                  <a:pt x="3727" y="2071"/>
                  <a:pt x="3727" y="2067"/>
                </a:cubicBezTo>
                <a:cubicBezTo>
                  <a:pt x="3727" y="2066"/>
                  <a:pt x="3727" y="2064"/>
                  <a:pt x="3727" y="2062"/>
                </a:cubicBezTo>
                <a:cubicBezTo>
                  <a:pt x="3727" y="2061"/>
                  <a:pt x="3728" y="2059"/>
                  <a:pt x="3728" y="2056"/>
                </a:cubicBezTo>
                <a:cubicBezTo>
                  <a:pt x="3728" y="2049"/>
                  <a:pt x="3725" y="2046"/>
                  <a:pt x="3719" y="2045"/>
                </a:cubicBezTo>
                <a:cubicBezTo>
                  <a:pt x="3719" y="2045"/>
                  <a:pt x="3719" y="2045"/>
                  <a:pt x="3719" y="2045"/>
                </a:cubicBezTo>
                <a:cubicBezTo>
                  <a:pt x="3725" y="2044"/>
                  <a:pt x="3728" y="2041"/>
                  <a:pt x="3728" y="2034"/>
                </a:cubicBezTo>
                <a:cubicBezTo>
                  <a:pt x="3728" y="2031"/>
                  <a:pt x="3727" y="2029"/>
                  <a:pt x="3727" y="2028"/>
                </a:cubicBezTo>
                <a:cubicBezTo>
                  <a:pt x="3727" y="2026"/>
                  <a:pt x="3727" y="2024"/>
                  <a:pt x="3727" y="2023"/>
                </a:cubicBezTo>
                <a:cubicBezTo>
                  <a:pt x="3727" y="2019"/>
                  <a:pt x="3728" y="2017"/>
                  <a:pt x="3732" y="2017"/>
                </a:cubicBezTo>
                <a:cubicBezTo>
                  <a:pt x="3732" y="2017"/>
                  <a:pt x="3732" y="2017"/>
                  <a:pt x="3733" y="2017"/>
                </a:cubicBezTo>
                <a:cubicBezTo>
                  <a:pt x="3733" y="2017"/>
                  <a:pt x="3733" y="2017"/>
                  <a:pt x="3733" y="2008"/>
                </a:cubicBezTo>
                <a:cubicBezTo>
                  <a:pt x="3733" y="2008"/>
                  <a:pt x="3733" y="2008"/>
                  <a:pt x="3730" y="2008"/>
                </a:cubicBezTo>
                <a:cubicBezTo>
                  <a:pt x="3720" y="2008"/>
                  <a:pt x="3715" y="2012"/>
                  <a:pt x="3715" y="2020"/>
                </a:cubicBezTo>
                <a:cubicBezTo>
                  <a:pt x="3715" y="2023"/>
                  <a:pt x="3715" y="2025"/>
                  <a:pt x="3715" y="2028"/>
                </a:cubicBezTo>
                <a:cubicBezTo>
                  <a:pt x="3716" y="2030"/>
                  <a:pt x="3716" y="2033"/>
                  <a:pt x="3716" y="2035"/>
                </a:cubicBezTo>
                <a:cubicBezTo>
                  <a:pt x="3716" y="2037"/>
                  <a:pt x="3715" y="2041"/>
                  <a:pt x="3709" y="2041"/>
                </a:cubicBezTo>
                <a:close/>
                <a:moveTo>
                  <a:pt x="3764" y="2049"/>
                </a:moveTo>
                <a:cubicBezTo>
                  <a:pt x="3764" y="2049"/>
                  <a:pt x="3764" y="2049"/>
                  <a:pt x="3764" y="2049"/>
                </a:cubicBezTo>
                <a:cubicBezTo>
                  <a:pt x="3764" y="2041"/>
                  <a:pt x="3764" y="2041"/>
                  <a:pt x="3764" y="2041"/>
                </a:cubicBezTo>
                <a:cubicBezTo>
                  <a:pt x="3758" y="2041"/>
                  <a:pt x="3757" y="2037"/>
                  <a:pt x="3757" y="2035"/>
                </a:cubicBezTo>
                <a:cubicBezTo>
                  <a:pt x="3757" y="2033"/>
                  <a:pt x="3757" y="2030"/>
                  <a:pt x="3758" y="2028"/>
                </a:cubicBezTo>
                <a:cubicBezTo>
                  <a:pt x="3758" y="2025"/>
                  <a:pt x="3758" y="2023"/>
                  <a:pt x="3758" y="2020"/>
                </a:cubicBezTo>
                <a:cubicBezTo>
                  <a:pt x="3758" y="2012"/>
                  <a:pt x="3753" y="2008"/>
                  <a:pt x="3744" y="2008"/>
                </a:cubicBezTo>
                <a:cubicBezTo>
                  <a:pt x="3744" y="2008"/>
                  <a:pt x="3744" y="2008"/>
                  <a:pt x="3740" y="2008"/>
                </a:cubicBezTo>
                <a:cubicBezTo>
                  <a:pt x="3740" y="2008"/>
                  <a:pt x="3740" y="2008"/>
                  <a:pt x="3740" y="2017"/>
                </a:cubicBezTo>
                <a:cubicBezTo>
                  <a:pt x="3740" y="2017"/>
                  <a:pt x="3740" y="2017"/>
                  <a:pt x="3741" y="2017"/>
                </a:cubicBezTo>
                <a:cubicBezTo>
                  <a:pt x="3745" y="2017"/>
                  <a:pt x="3747" y="2019"/>
                  <a:pt x="3747" y="2023"/>
                </a:cubicBezTo>
                <a:cubicBezTo>
                  <a:pt x="3747" y="2024"/>
                  <a:pt x="3746" y="2026"/>
                  <a:pt x="3746" y="2028"/>
                </a:cubicBezTo>
                <a:cubicBezTo>
                  <a:pt x="3746" y="2029"/>
                  <a:pt x="3746" y="2031"/>
                  <a:pt x="3746" y="2034"/>
                </a:cubicBezTo>
                <a:cubicBezTo>
                  <a:pt x="3746" y="2041"/>
                  <a:pt x="3749" y="2044"/>
                  <a:pt x="3754" y="2045"/>
                </a:cubicBezTo>
                <a:cubicBezTo>
                  <a:pt x="3754" y="2045"/>
                  <a:pt x="3754" y="2045"/>
                  <a:pt x="3754" y="2045"/>
                </a:cubicBezTo>
                <a:cubicBezTo>
                  <a:pt x="3749" y="2046"/>
                  <a:pt x="3746" y="2049"/>
                  <a:pt x="3746" y="2056"/>
                </a:cubicBezTo>
                <a:cubicBezTo>
                  <a:pt x="3746" y="2059"/>
                  <a:pt x="3746" y="2061"/>
                  <a:pt x="3746" y="2062"/>
                </a:cubicBezTo>
                <a:cubicBezTo>
                  <a:pt x="3746" y="2064"/>
                  <a:pt x="3747" y="2066"/>
                  <a:pt x="3747" y="2067"/>
                </a:cubicBezTo>
                <a:cubicBezTo>
                  <a:pt x="3747" y="2071"/>
                  <a:pt x="3746" y="2073"/>
                  <a:pt x="3741" y="2073"/>
                </a:cubicBezTo>
                <a:cubicBezTo>
                  <a:pt x="3741" y="2073"/>
                  <a:pt x="3741" y="2073"/>
                  <a:pt x="3740" y="2073"/>
                </a:cubicBezTo>
                <a:cubicBezTo>
                  <a:pt x="3740" y="2073"/>
                  <a:pt x="3740" y="2073"/>
                  <a:pt x="3740" y="2082"/>
                </a:cubicBezTo>
                <a:cubicBezTo>
                  <a:pt x="3740" y="2082"/>
                  <a:pt x="3740" y="2082"/>
                  <a:pt x="3744" y="2082"/>
                </a:cubicBezTo>
                <a:cubicBezTo>
                  <a:pt x="3753" y="2082"/>
                  <a:pt x="3758" y="2079"/>
                  <a:pt x="3758" y="2069"/>
                </a:cubicBezTo>
                <a:cubicBezTo>
                  <a:pt x="3758" y="2067"/>
                  <a:pt x="3758" y="2065"/>
                  <a:pt x="3758" y="2062"/>
                </a:cubicBezTo>
                <a:cubicBezTo>
                  <a:pt x="3757" y="2060"/>
                  <a:pt x="3757" y="2057"/>
                  <a:pt x="3757" y="2055"/>
                </a:cubicBezTo>
                <a:cubicBezTo>
                  <a:pt x="3757" y="2053"/>
                  <a:pt x="3758" y="2050"/>
                  <a:pt x="3764" y="2049"/>
                </a:cubicBezTo>
                <a:close/>
                <a:moveTo>
                  <a:pt x="3151" y="2082"/>
                </a:moveTo>
                <a:cubicBezTo>
                  <a:pt x="3144" y="2082"/>
                  <a:pt x="3137" y="2079"/>
                  <a:pt x="3133" y="2073"/>
                </a:cubicBezTo>
                <a:cubicBezTo>
                  <a:pt x="3129" y="2067"/>
                  <a:pt x="3127" y="2058"/>
                  <a:pt x="3127" y="2045"/>
                </a:cubicBezTo>
                <a:cubicBezTo>
                  <a:pt x="3127" y="2032"/>
                  <a:pt x="3129" y="2023"/>
                  <a:pt x="3134" y="2016"/>
                </a:cubicBezTo>
                <a:cubicBezTo>
                  <a:pt x="3138" y="2009"/>
                  <a:pt x="3145" y="2006"/>
                  <a:pt x="3153" y="2006"/>
                </a:cubicBezTo>
                <a:cubicBezTo>
                  <a:pt x="3169" y="2006"/>
                  <a:pt x="3177" y="2018"/>
                  <a:pt x="3177" y="2044"/>
                </a:cubicBezTo>
                <a:cubicBezTo>
                  <a:pt x="3177" y="2056"/>
                  <a:pt x="3175" y="2066"/>
                  <a:pt x="3170" y="2073"/>
                </a:cubicBezTo>
                <a:cubicBezTo>
                  <a:pt x="3166" y="2079"/>
                  <a:pt x="3159" y="2082"/>
                  <a:pt x="3151" y="2082"/>
                </a:cubicBezTo>
                <a:close/>
                <a:moveTo>
                  <a:pt x="3153" y="2015"/>
                </a:moveTo>
                <a:cubicBezTo>
                  <a:pt x="3143" y="2015"/>
                  <a:pt x="3139" y="2026"/>
                  <a:pt x="3139" y="2045"/>
                </a:cubicBezTo>
                <a:cubicBezTo>
                  <a:pt x="3139" y="2064"/>
                  <a:pt x="3143" y="2073"/>
                  <a:pt x="3152" y="2073"/>
                </a:cubicBezTo>
                <a:cubicBezTo>
                  <a:pt x="3161" y="2073"/>
                  <a:pt x="3165" y="2064"/>
                  <a:pt x="3165" y="2045"/>
                </a:cubicBezTo>
                <a:cubicBezTo>
                  <a:pt x="3165" y="2025"/>
                  <a:pt x="3161" y="2015"/>
                  <a:pt x="3153" y="2015"/>
                </a:cubicBezTo>
                <a:close/>
                <a:moveTo>
                  <a:pt x="3221" y="2082"/>
                </a:moveTo>
                <a:cubicBezTo>
                  <a:pt x="3214" y="2082"/>
                  <a:pt x="3207" y="2079"/>
                  <a:pt x="3204" y="2073"/>
                </a:cubicBezTo>
                <a:cubicBezTo>
                  <a:pt x="3199" y="2067"/>
                  <a:pt x="3197" y="2058"/>
                  <a:pt x="3197" y="2045"/>
                </a:cubicBezTo>
                <a:cubicBezTo>
                  <a:pt x="3197" y="2032"/>
                  <a:pt x="3199" y="2023"/>
                  <a:pt x="3204" y="2016"/>
                </a:cubicBezTo>
                <a:cubicBezTo>
                  <a:pt x="3208" y="2009"/>
                  <a:pt x="3215" y="2006"/>
                  <a:pt x="3223" y="2006"/>
                </a:cubicBezTo>
                <a:cubicBezTo>
                  <a:pt x="3239" y="2006"/>
                  <a:pt x="3248" y="2018"/>
                  <a:pt x="3248" y="2044"/>
                </a:cubicBezTo>
                <a:cubicBezTo>
                  <a:pt x="3248" y="2056"/>
                  <a:pt x="3245" y="2066"/>
                  <a:pt x="3241" y="2073"/>
                </a:cubicBezTo>
                <a:cubicBezTo>
                  <a:pt x="3236" y="2079"/>
                  <a:pt x="3230" y="2082"/>
                  <a:pt x="3221" y="2082"/>
                </a:cubicBezTo>
                <a:close/>
                <a:moveTo>
                  <a:pt x="3223" y="2015"/>
                </a:moveTo>
                <a:cubicBezTo>
                  <a:pt x="3214" y="2015"/>
                  <a:pt x="3209" y="2026"/>
                  <a:pt x="3209" y="2045"/>
                </a:cubicBezTo>
                <a:cubicBezTo>
                  <a:pt x="3209" y="2064"/>
                  <a:pt x="3213" y="2073"/>
                  <a:pt x="3222" y="2073"/>
                </a:cubicBezTo>
                <a:cubicBezTo>
                  <a:pt x="3231" y="2073"/>
                  <a:pt x="3235" y="2064"/>
                  <a:pt x="3235" y="2045"/>
                </a:cubicBezTo>
                <a:cubicBezTo>
                  <a:pt x="3235" y="2025"/>
                  <a:pt x="3231" y="2015"/>
                  <a:pt x="3223" y="2015"/>
                </a:cubicBezTo>
                <a:close/>
                <a:moveTo>
                  <a:pt x="3431" y="2082"/>
                </a:moveTo>
                <a:cubicBezTo>
                  <a:pt x="3424" y="2082"/>
                  <a:pt x="3418" y="2079"/>
                  <a:pt x="3413" y="2073"/>
                </a:cubicBezTo>
                <a:cubicBezTo>
                  <a:pt x="3409" y="2067"/>
                  <a:pt x="3407" y="2057"/>
                  <a:pt x="3407" y="2045"/>
                </a:cubicBezTo>
                <a:cubicBezTo>
                  <a:pt x="3407" y="2032"/>
                  <a:pt x="3409" y="2023"/>
                  <a:pt x="3413" y="2015"/>
                </a:cubicBezTo>
                <a:cubicBezTo>
                  <a:pt x="3418" y="2009"/>
                  <a:pt x="3424" y="2006"/>
                  <a:pt x="3433" y="2006"/>
                </a:cubicBezTo>
                <a:cubicBezTo>
                  <a:pt x="3449" y="2006"/>
                  <a:pt x="3457" y="2018"/>
                  <a:pt x="3457" y="2043"/>
                </a:cubicBezTo>
                <a:cubicBezTo>
                  <a:pt x="3457" y="2056"/>
                  <a:pt x="3455" y="2066"/>
                  <a:pt x="3451" y="2073"/>
                </a:cubicBezTo>
                <a:cubicBezTo>
                  <a:pt x="3446" y="2079"/>
                  <a:pt x="3440" y="2082"/>
                  <a:pt x="3431" y="2082"/>
                </a:cubicBezTo>
                <a:close/>
                <a:moveTo>
                  <a:pt x="3432" y="2015"/>
                </a:moveTo>
                <a:cubicBezTo>
                  <a:pt x="3424" y="2015"/>
                  <a:pt x="3419" y="2025"/>
                  <a:pt x="3419" y="2045"/>
                </a:cubicBezTo>
                <a:cubicBezTo>
                  <a:pt x="3419" y="2063"/>
                  <a:pt x="3424" y="2073"/>
                  <a:pt x="3432" y="2073"/>
                </a:cubicBezTo>
                <a:cubicBezTo>
                  <a:pt x="3440" y="2073"/>
                  <a:pt x="3445" y="2063"/>
                  <a:pt x="3445" y="2045"/>
                </a:cubicBezTo>
                <a:cubicBezTo>
                  <a:pt x="3445" y="2025"/>
                  <a:pt x="3441" y="2015"/>
                  <a:pt x="3432" y="2015"/>
                </a:cubicBezTo>
                <a:close/>
                <a:moveTo>
                  <a:pt x="3503" y="2009"/>
                </a:moveTo>
                <a:cubicBezTo>
                  <a:pt x="3503" y="2009"/>
                  <a:pt x="3503" y="2009"/>
                  <a:pt x="3503" y="2009"/>
                </a:cubicBezTo>
                <a:cubicBezTo>
                  <a:pt x="3498" y="2009"/>
                  <a:pt x="3498" y="2009"/>
                  <a:pt x="3498" y="2009"/>
                </a:cubicBezTo>
                <a:cubicBezTo>
                  <a:pt x="3496" y="2010"/>
                  <a:pt x="3495" y="2012"/>
                  <a:pt x="3493" y="2012"/>
                </a:cubicBezTo>
                <a:cubicBezTo>
                  <a:pt x="3491" y="2014"/>
                  <a:pt x="3489" y="2014"/>
                  <a:pt x="3488" y="2015"/>
                </a:cubicBezTo>
                <a:cubicBezTo>
                  <a:pt x="3486" y="2016"/>
                  <a:pt x="3484" y="2017"/>
                  <a:pt x="3483" y="2017"/>
                </a:cubicBezTo>
                <a:cubicBezTo>
                  <a:pt x="3481" y="2018"/>
                  <a:pt x="3479" y="2019"/>
                  <a:pt x="3477" y="2020"/>
                </a:cubicBezTo>
                <a:cubicBezTo>
                  <a:pt x="3477" y="2020"/>
                  <a:pt x="3477" y="2020"/>
                  <a:pt x="3477" y="2030"/>
                </a:cubicBezTo>
                <a:cubicBezTo>
                  <a:pt x="3480" y="2029"/>
                  <a:pt x="3483" y="2028"/>
                  <a:pt x="3485" y="2027"/>
                </a:cubicBezTo>
                <a:cubicBezTo>
                  <a:pt x="3488" y="2026"/>
                  <a:pt x="3490" y="2025"/>
                  <a:pt x="3492" y="2023"/>
                </a:cubicBezTo>
                <a:cubicBezTo>
                  <a:pt x="3492" y="2023"/>
                  <a:pt x="3492" y="2023"/>
                  <a:pt x="3492" y="2082"/>
                </a:cubicBezTo>
                <a:cubicBezTo>
                  <a:pt x="3492" y="2082"/>
                  <a:pt x="3492" y="2082"/>
                  <a:pt x="3503" y="2082"/>
                </a:cubicBezTo>
                <a:cubicBezTo>
                  <a:pt x="3503" y="2082"/>
                  <a:pt x="3503" y="2082"/>
                  <a:pt x="3503" y="2009"/>
                </a:cubicBezTo>
                <a:close/>
                <a:moveTo>
                  <a:pt x="3295" y="2009"/>
                </a:moveTo>
                <a:cubicBezTo>
                  <a:pt x="3295" y="2009"/>
                  <a:pt x="3295" y="2009"/>
                  <a:pt x="3295" y="2009"/>
                </a:cubicBezTo>
                <a:cubicBezTo>
                  <a:pt x="3289" y="2009"/>
                  <a:pt x="3289" y="2009"/>
                  <a:pt x="3289" y="2009"/>
                </a:cubicBezTo>
                <a:cubicBezTo>
                  <a:pt x="3287" y="2010"/>
                  <a:pt x="3286" y="2012"/>
                  <a:pt x="3283" y="2012"/>
                </a:cubicBezTo>
                <a:cubicBezTo>
                  <a:pt x="3282" y="2014"/>
                  <a:pt x="3281" y="2014"/>
                  <a:pt x="3278" y="2015"/>
                </a:cubicBezTo>
                <a:cubicBezTo>
                  <a:pt x="3277" y="2017"/>
                  <a:pt x="3275" y="2017"/>
                  <a:pt x="3273" y="2018"/>
                </a:cubicBezTo>
                <a:cubicBezTo>
                  <a:pt x="3271" y="2019"/>
                  <a:pt x="3269" y="2020"/>
                  <a:pt x="3267" y="2020"/>
                </a:cubicBezTo>
                <a:cubicBezTo>
                  <a:pt x="3267" y="2020"/>
                  <a:pt x="3267" y="2020"/>
                  <a:pt x="3267" y="2030"/>
                </a:cubicBezTo>
                <a:cubicBezTo>
                  <a:pt x="3270" y="2029"/>
                  <a:pt x="3273" y="2028"/>
                  <a:pt x="3276" y="2027"/>
                </a:cubicBezTo>
                <a:cubicBezTo>
                  <a:pt x="3278" y="2026"/>
                  <a:pt x="3281" y="2025"/>
                  <a:pt x="3283" y="2023"/>
                </a:cubicBezTo>
                <a:cubicBezTo>
                  <a:pt x="3283" y="2023"/>
                  <a:pt x="3283" y="2023"/>
                  <a:pt x="3283" y="2082"/>
                </a:cubicBezTo>
                <a:cubicBezTo>
                  <a:pt x="3283" y="2082"/>
                  <a:pt x="3283" y="2082"/>
                  <a:pt x="3295" y="2082"/>
                </a:cubicBezTo>
                <a:cubicBezTo>
                  <a:pt x="3295" y="2082"/>
                  <a:pt x="3295" y="2082"/>
                  <a:pt x="3295" y="2009"/>
                </a:cubicBezTo>
                <a:close/>
                <a:moveTo>
                  <a:pt x="3341" y="2009"/>
                </a:moveTo>
                <a:cubicBezTo>
                  <a:pt x="3341" y="2009"/>
                  <a:pt x="3341" y="2009"/>
                  <a:pt x="3341" y="2009"/>
                </a:cubicBezTo>
                <a:cubicBezTo>
                  <a:pt x="3336" y="2009"/>
                  <a:pt x="3336" y="2009"/>
                  <a:pt x="3336" y="2009"/>
                </a:cubicBezTo>
                <a:cubicBezTo>
                  <a:pt x="3334" y="2010"/>
                  <a:pt x="3332" y="2012"/>
                  <a:pt x="3330" y="2012"/>
                </a:cubicBezTo>
                <a:cubicBezTo>
                  <a:pt x="3329" y="2014"/>
                  <a:pt x="3327" y="2014"/>
                  <a:pt x="3325" y="2015"/>
                </a:cubicBezTo>
                <a:cubicBezTo>
                  <a:pt x="3324" y="2017"/>
                  <a:pt x="3322" y="2017"/>
                  <a:pt x="3320" y="2018"/>
                </a:cubicBezTo>
                <a:cubicBezTo>
                  <a:pt x="3318" y="2019"/>
                  <a:pt x="3316" y="2020"/>
                  <a:pt x="3314" y="2020"/>
                </a:cubicBezTo>
                <a:cubicBezTo>
                  <a:pt x="3314" y="2020"/>
                  <a:pt x="3314" y="2020"/>
                  <a:pt x="3314" y="2030"/>
                </a:cubicBezTo>
                <a:cubicBezTo>
                  <a:pt x="3317" y="2029"/>
                  <a:pt x="3320" y="2028"/>
                  <a:pt x="3322" y="2027"/>
                </a:cubicBezTo>
                <a:cubicBezTo>
                  <a:pt x="3325" y="2026"/>
                  <a:pt x="3327" y="2025"/>
                  <a:pt x="3330" y="2023"/>
                </a:cubicBezTo>
                <a:cubicBezTo>
                  <a:pt x="3330" y="2023"/>
                  <a:pt x="3330" y="2023"/>
                  <a:pt x="3330" y="2082"/>
                </a:cubicBezTo>
                <a:cubicBezTo>
                  <a:pt x="3330" y="2082"/>
                  <a:pt x="3330" y="2082"/>
                  <a:pt x="3341" y="2082"/>
                </a:cubicBezTo>
                <a:cubicBezTo>
                  <a:pt x="3341" y="2082"/>
                  <a:pt x="3341" y="2082"/>
                  <a:pt x="3341" y="2009"/>
                </a:cubicBezTo>
                <a:close/>
                <a:moveTo>
                  <a:pt x="3387" y="2009"/>
                </a:moveTo>
                <a:cubicBezTo>
                  <a:pt x="3387" y="2009"/>
                  <a:pt x="3387" y="2009"/>
                  <a:pt x="3387" y="2009"/>
                </a:cubicBezTo>
                <a:cubicBezTo>
                  <a:pt x="3383" y="2009"/>
                  <a:pt x="3383" y="2009"/>
                  <a:pt x="3383" y="2009"/>
                </a:cubicBezTo>
                <a:cubicBezTo>
                  <a:pt x="3381" y="2010"/>
                  <a:pt x="3379" y="2012"/>
                  <a:pt x="3377" y="2012"/>
                </a:cubicBezTo>
                <a:cubicBezTo>
                  <a:pt x="3375" y="2014"/>
                  <a:pt x="3373" y="2014"/>
                  <a:pt x="3372" y="2015"/>
                </a:cubicBezTo>
                <a:cubicBezTo>
                  <a:pt x="3370" y="2016"/>
                  <a:pt x="3368" y="2017"/>
                  <a:pt x="3366" y="2017"/>
                </a:cubicBezTo>
                <a:cubicBezTo>
                  <a:pt x="3364" y="2018"/>
                  <a:pt x="3362" y="2019"/>
                  <a:pt x="3361" y="2020"/>
                </a:cubicBezTo>
                <a:cubicBezTo>
                  <a:pt x="3361" y="2020"/>
                  <a:pt x="3361" y="2020"/>
                  <a:pt x="3361" y="2030"/>
                </a:cubicBezTo>
                <a:cubicBezTo>
                  <a:pt x="3364" y="2029"/>
                  <a:pt x="3367" y="2028"/>
                  <a:pt x="3369" y="2027"/>
                </a:cubicBezTo>
                <a:cubicBezTo>
                  <a:pt x="3371" y="2026"/>
                  <a:pt x="3374" y="2025"/>
                  <a:pt x="3375" y="2023"/>
                </a:cubicBezTo>
                <a:cubicBezTo>
                  <a:pt x="3375" y="2023"/>
                  <a:pt x="3375" y="2023"/>
                  <a:pt x="3375" y="2082"/>
                </a:cubicBezTo>
                <a:cubicBezTo>
                  <a:pt x="3375" y="2082"/>
                  <a:pt x="3375" y="2082"/>
                  <a:pt x="3387" y="2082"/>
                </a:cubicBezTo>
                <a:cubicBezTo>
                  <a:pt x="3387" y="2082"/>
                  <a:pt x="3387" y="2082"/>
                  <a:pt x="3387" y="2009"/>
                </a:cubicBezTo>
                <a:close/>
                <a:moveTo>
                  <a:pt x="2144" y="2009"/>
                </a:moveTo>
                <a:cubicBezTo>
                  <a:pt x="2144" y="2009"/>
                  <a:pt x="2144" y="2009"/>
                  <a:pt x="2144" y="2009"/>
                </a:cubicBezTo>
                <a:cubicBezTo>
                  <a:pt x="2139" y="2009"/>
                  <a:pt x="2139" y="2009"/>
                  <a:pt x="2139" y="2009"/>
                </a:cubicBezTo>
                <a:cubicBezTo>
                  <a:pt x="2137" y="2010"/>
                  <a:pt x="2136" y="2012"/>
                  <a:pt x="2134" y="2012"/>
                </a:cubicBezTo>
                <a:cubicBezTo>
                  <a:pt x="2132" y="2014"/>
                  <a:pt x="2130" y="2014"/>
                  <a:pt x="2129" y="2015"/>
                </a:cubicBezTo>
                <a:cubicBezTo>
                  <a:pt x="2127" y="2017"/>
                  <a:pt x="2125" y="2017"/>
                  <a:pt x="2123" y="2018"/>
                </a:cubicBezTo>
                <a:cubicBezTo>
                  <a:pt x="2121" y="2019"/>
                  <a:pt x="2120" y="2020"/>
                  <a:pt x="2118" y="2020"/>
                </a:cubicBezTo>
                <a:cubicBezTo>
                  <a:pt x="2118" y="2020"/>
                  <a:pt x="2118" y="2020"/>
                  <a:pt x="2118" y="2030"/>
                </a:cubicBezTo>
                <a:cubicBezTo>
                  <a:pt x="2121" y="2029"/>
                  <a:pt x="2123" y="2028"/>
                  <a:pt x="2126" y="2027"/>
                </a:cubicBezTo>
                <a:cubicBezTo>
                  <a:pt x="2129" y="2026"/>
                  <a:pt x="2131" y="2025"/>
                  <a:pt x="2133" y="2023"/>
                </a:cubicBezTo>
                <a:cubicBezTo>
                  <a:pt x="2133" y="2023"/>
                  <a:pt x="2133" y="2023"/>
                  <a:pt x="2133" y="2082"/>
                </a:cubicBezTo>
                <a:cubicBezTo>
                  <a:pt x="2133" y="2082"/>
                  <a:pt x="2133" y="2082"/>
                  <a:pt x="2144" y="2082"/>
                </a:cubicBezTo>
                <a:cubicBezTo>
                  <a:pt x="2144" y="2082"/>
                  <a:pt x="2144" y="2082"/>
                  <a:pt x="2144" y="2009"/>
                </a:cubicBezTo>
                <a:close/>
                <a:moveTo>
                  <a:pt x="2192" y="2009"/>
                </a:moveTo>
                <a:cubicBezTo>
                  <a:pt x="2192" y="2009"/>
                  <a:pt x="2192" y="2009"/>
                  <a:pt x="2192" y="2009"/>
                </a:cubicBezTo>
                <a:cubicBezTo>
                  <a:pt x="2186" y="2009"/>
                  <a:pt x="2186" y="2009"/>
                  <a:pt x="2186" y="2009"/>
                </a:cubicBezTo>
                <a:cubicBezTo>
                  <a:pt x="2185" y="2010"/>
                  <a:pt x="2183" y="2012"/>
                  <a:pt x="2181" y="2012"/>
                </a:cubicBezTo>
                <a:cubicBezTo>
                  <a:pt x="2179" y="2014"/>
                  <a:pt x="2177" y="2014"/>
                  <a:pt x="2175" y="2015"/>
                </a:cubicBezTo>
                <a:cubicBezTo>
                  <a:pt x="2174" y="2017"/>
                  <a:pt x="2172" y="2017"/>
                  <a:pt x="2170" y="2018"/>
                </a:cubicBezTo>
                <a:cubicBezTo>
                  <a:pt x="2168" y="2019"/>
                  <a:pt x="2166" y="2020"/>
                  <a:pt x="2164" y="2020"/>
                </a:cubicBezTo>
                <a:cubicBezTo>
                  <a:pt x="2164" y="2020"/>
                  <a:pt x="2164" y="2020"/>
                  <a:pt x="2164" y="2030"/>
                </a:cubicBezTo>
                <a:cubicBezTo>
                  <a:pt x="2167" y="2029"/>
                  <a:pt x="2170" y="2028"/>
                  <a:pt x="2173" y="2027"/>
                </a:cubicBezTo>
                <a:cubicBezTo>
                  <a:pt x="2175" y="2026"/>
                  <a:pt x="2177" y="2025"/>
                  <a:pt x="2180" y="2023"/>
                </a:cubicBezTo>
                <a:cubicBezTo>
                  <a:pt x="2180" y="2023"/>
                  <a:pt x="2180" y="2023"/>
                  <a:pt x="2180" y="2082"/>
                </a:cubicBezTo>
                <a:cubicBezTo>
                  <a:pt x="2180" y="2082"/>
                  <a:pt x="2180" y="2082"/>
                  <a:pt x="2192" y="2082"/>
                </a:cubicBezTo>
                <a:cubicBezTo>
                  <a:pt x="2192" y="2082"/>
                  <a:pt x="2192" y="2082"/>
                  <a:pt x="2192" y="2009"/>
                </a:cubicBezTo>
                <a:close/>
                <a:moveTo>
                  <a:pt x="2237" y="2009"/>
                </a:moveTo>
                <a:cubicBezTo>
                  <a:pt x="2237" y="2009"/>
                  <a:pt x="2237" y="2009"/>
                  <a:pt x="2237" y="2009"/>
                </a:cubicBezTo>
                <a:cubicBezTo>
                  <a:pt x="2233" y="2009"/>
                  <a:pt x="2233" y="2009"/>
                  <a:pt x="2233" y="2009"/>
                </a:cubicBezTo>
                <a:cubicBezTo>
                  <a:pt x="2231" y="2010"/>
                  <a:pt x="2229" y="2012"/>
                  <a:pt x="2227" y="2012"/>
                </a:cubicBezTo>
                <a:cubicBezTo>
                  <a:pt x="2226" y="2014"/>
                  <a:pt x="2223" y="2014"/>
                  <a:pt x="2222" y="2015"/>
                </a:cubicBezTo>
                <a:cubicBezTo>
                  <a:pt x="2220" y="2016"/>
                  <a:pt x="2218" y="2017"/>
                  <a:pt x="2216" y="2017"/>
                </a:cubicBezTo>
                <a:cubicBezTo>
                  <a:pt x="2215" y="2018"/>
                  <a:pt x="2213" y="2019"/>
                  <a:pt x="2211" y="2020"/>
                </a:cubicBezTo>
                <a:cubicBezTo>
                  <a:pt x="2211" y="2020"/>
                  <a:pt x="2211" y="2020"/>
                  <a:pt x="2211" y="2030"/>
                </a:cubicBezTo>
                <a:cubicBezTo>
                  <a:pt x="2214" y="2029"/>
                  <a:pt x="2217" y="2028"/>
                  <a:pt x="2219" y="2027"/>
                </a:cubicBezTo>
                <a:cubicBezTo>
                  <a:pt x="2221" y="2026"/>
                  <a:pt x="2224" y="2025"/>
                  <a:pt x="2226" y="2023"/>
                </a:cubicBezTo>
                <a:cubicBezTo>
                  <a:pt x="2226" y="2023"/>
                  <a:pt x="2226" y="2023"/>
                  <a:pt x="2226" y="2082"/>
                </a:cubicBezTo>
                <a:cubicBezTo>
                  <a:pt x="2226" y="2082"/>
                  <a:pt x="2226" y="2082"/>
                  <a:pt x="2237" y="2082"/>
                </a:cubicBezTo>
                <a:cubicBezTo>
                  <a:pt x="2237" y="2082"/>
                  <a:pt x="2237" y="2082"/>
                  <a:pt x="2237" y="2009"/>
                </a:cubicBezTo>
                <a:close/>
                <a:moveTo>
                  <a:pt x="2374" y="2041"/>
                </a:moveTo>
                <a:cubicBezTo>
                  <a:pt x="2374" y="2041"/>
                  <a:pt x="2374" y="2041"/>
                  <a:pt x="2374" y="2041"/>
                </a:cubicBezTo>
                <a:cubicBezTo>
                  <a:pt x="2373" y="2049"/>
                  <a:pt x="2373" y="2049"/>
                  <a:pt x="2373" y="2049"/>
                </a:cubicBezTo>
                <a:cubicBezTo>
                  <a:pt x="2380" y="2050"/>
                  <a:pt x="2380" y="2053"/>
                  <a:pt x="2380" y="2055"/>
                </a:cubicBezTo>
                <a:cubicBezTo>
                  <a:pt x="2380" y="2057"/>
                  <a:pt x="2380" y="2060"/>
                  <a:pt x="2380" y="2062"/>
                </a:cubicBezTo>
                <a:cubicBezTo>
                  <a:pt x="2380" y="2065"/>
                  <a:pt x="2379" y="2067"/>
                  <a:pt x="2379" y="2069"/>
                </a:cubicBezTo>
                <a:cubicBezTo>
                  <a:pt x="2379" y="2079"/>
                  <a:pt x="2385" y="2082"/>
                  <a:pt x="2394" y="2082"/>
                </a:cubicBezTo>
                <a:cubicBezTo>
                  <a:pt x="2394" y="2082"/>
                  <a:pt x="2394" y="2082"/>
                  <a:pt x="2397" y="2082"/>
                </a:cubicBezTo>
                <a:cubicBezTo>
                  <a:pt x="2397" y="2082"/>
                  <a:pt x="2397" y="2082"/>
                  <a:pt x="2397" y="2073"/>
                </a:cubicBezTo>
                <a:cubicBezTo>
                  <a:pt x="2397" y="2073"/>
                  <a:pt x="2397" y="2073"/>
                  <a:pt x="2396" y="2073"/>
                </a:cubicBezTo>
                <a:cubicBezTo>
                  <a:pt x="2392" y="2073"/>
                  <a:pt x="2391" y="2071"/>
                  <a:pt x="2391" y="2067"/>
                </a:cubicBezTo>
                <a:cubicBezTo>
                  <a:pt x="2391" y="2066"/>
                  <a:pt x="2391" y="2064"/>
                  <a:pt x="2392" y="2062"/>
                </a:cubicBezTo>
                <a:cubicBezTo>
                  <a:pt x="2392" y="2061"/>
                  <a:pt x="2392" y="2059"/>
                  <a:pt x="2392" y="2056"/>
                </a:cubicBezTo>
                <a:cubicBezTo>
                  <a:pt x="2392" y="2049"/>
                  <a:pt x="2389" y="2046"/>
                  <a:pt x="2383" y="2045"/>
                </a:cubicBezTo>
                <a:cubicBezTo>
                  <a:pt x="2383" y="2045"/>
                  <a:pt x="2383" y="2045"/>
                  <a:pt x="2383" y="2045"/>
                </a:cubicBezTo>
                <a:cubicBezTo>
                  <a:pt x="2389" y="2044"/>
                  <a:pt x="2392" y="2041"/>
                  <a:pt x="2392" y="2034"/>
                </a:cubicBezTo>
                <a:cubicBezTo>
                  <a:pt x="2392" y="2031"/>
                  <a:pt x="2392" y="2029"/>
                  <a:pt x="2392" y="2028"/>
                </a:cubicBezTo>
                <a:cubicBezTo>
                  <a:pt x="2391" y="2026"/>
                  <a:pt x="2391" y="2024"/>
                  <a:pt x="2391" y="2023"/>
                </a:cubicBezTo>
                <a:cubicBezTo>
                  <a:pt x="2391" y="2019"/>
                  <a:pt x="2392" y="2017"/>
                  <a:pt x="2396" y="2017"/>
                </a:cubicBezTo>
                <a:cubicBezTo>
                  <a:pt x="2396" y="2017"/>
                  <a:pt x="2396" y="2017"/>
                  <a:pt x="2397" y="2017"/>
                </a:cubicBezTo>
                <a:cubicBezTo>
                  <a:pt x="2397" y="2017"/>
                  <a:pt x="2397" y="2017"/>
                  <a:pt x="2397" y="2008"/>
                </a:cubicBezTo>
                <a:cubicBezTo>
                  <a:pt x="2397" y="2008"/>
                  <a:pt x="2397" y="2008"/>
                  <a:pt x="2394" y="2008"/>
                </a:cubicBezTo>
                <a:cubicBezTo>
                  <a:pt x="2385" y="2008"/>
                  <a:pt x="2379" y="2012"/>
                  <a:pt x="2379" y="2020"/>
                </a:cubicBezTo>
                <a:cubicBezTo>
                  <a:pt x="2379" y="2023"/>
                  <a:pt x="2380" y="2025"/>
                  <a:pt x="2380" y="2028"/>
                </a:cubicBezTo>
                <a:cubicBezTo>
                  <a:pt x="2380" y="2030"/>
                  <a:pt x="2380" y="2033"/>
                  <a:pt x="2380" y="2035"/>
                </a:cubicBezTo>
                <a:cubicBezTo>
                  <a:pt x="2380" y="2037"/>
                  <a:pt x="2380" y="2041"/>
                  <a:pt x="2374" y="2041"/>
                </a:cubicBezTo>
                <a:close/>
                <a:moveTo>
                  <a:pt x="2428" y="2049"/>
                </a:moveTo>
                <a:cubicBezTo>
                  <a:pt x="2428" y="2049"/>
                  <a:pt x="2428" y="2049"/>
                  <a:pt x="2428" y="2049"/>
                </a:cubicBezTo>
                <a:cubicBezTo>
                  <a:pt x="2428" y="2041"/>
                  <a:pt x="2428" y="2041"/>
                  <a:pt x="2428" y="2041"/>
                </a:cubicBezTo>
                <a:cubicBezTo>
                  <a:pt x="2422" y="2041"/>
                  <a:pt x="2422" y="2037"/>
                  <a:pt x="2422" y="2035"/>
                </a:cubicBezTo>
                <a:cubicBezTo>
                  <a:pt x="2422" y="2033"/>
                  <a:pt x="2422" y="2030"/>
                  <a:pt x="2422" y="2028"/>
                </a:cubicBezTo>
                <a:cubicBezTo>
                  <a:pt x="2422" y="2025"/>
                  <a:pt x="2422" y="2023"/>
                  <a:pt x="2422" y="2020"/>
                </a:cubicBezTo>
                <a:cubicBezTo>
                  <a:pt x="2422" y="2012"/>
                  <a:pt x="2417" y="2008"/>
                  <a:pt x="2408" y="2008"/>
                </a:cubicBezTo>
                <a:cubicBezTo>
                  <a:pt x="2408" y="2008"/>
                  <a:pt x="2408" y="2008"/>
                  <a:pt x="2404" y="2008"/>
                </a:cubicBezTo>
                <a:cubicBezTo>
                  <a:pt x="2404" y="2008"/>
                  <a:pt x="2404" y="2008"/>
                  <a:pt x="2404" y="2017"/>
                </a:cubicBezTo>
                <a:cubicBezTo>
                  <a:pt x="2404" y="2017"/>
                  <a:pt x="2404" y="2017"/>
                  <a:pt x="2406" y="2017"/>
                </a:cubicBezTo>
                <a:cubicBezTo>
                  <a:pt x="2409" y="2017"/>
                  <a:pt x="2411" y="2019"/>
                  <a:pt x="2411" y="2023"/>
                </a:cubicBezTo>
                <a:cubicBezTo>
                  <a:pt x="2411" y="2024"/>
                  <a:pt x="2410" y="2026"/>
                  <a:pt x="2410" y="2028"/>
                </a:cubicBezTo>
                <a:cubicBezTo>
                  <a:pt x="2410" y="2029"/>
                  <a:pt x="2410" y="2031"/>
                  <a:pt x="2410" y="2034"/>
                </a:cubicBezTo>
                <a:cubicBezTo>
                  <a:pt x="2410" y="2041"/>
                  <a:pt x="2413" y="2044"/>
                  <a:pt x="2419" y="2045"/>
                </a:cubicBezTo>
                <a:cubicBezTo>
                  <a:pt x="2419" y="2045"/>
                  <a:pt x="2419" y="2045"/>
                  <a:pt x="2419" y="2045"/>
                </a:cubicBezTo>
                <a:cubicBezTo>
                  <a:pt x="2413" y="2046"/>
                  <a:pt x="2410" y="2049"/>
                  <a:pt x="2410" y="2056"/>
                </a:cubicBezTo>
                <a:cubicBezTo>
                  <a:pt x="2410" y="2059"/>
                  <a:pt x="2410" y="2061"/>
                  <a:pt x="2410" y="2062"/>
                </a:cubicBezTo>
                <a:cubicBezTo>
                  <a:pt x="2410" y="2064"/>
                  <a:pt x="2411" y="2066"/>
                  <a:pt x="2411" y="2067"/>
                </a:cubicBezTo>
                <a:cubicBezTo>
                  <a:pt x="2411" y="2071"/>
                  <a:pt x="2410" y="2073"/>
                  <a:pt x="2406" y="2073"/>
                </a:cubicBezTo>
                <a:cubicBezTo>
                  <a:pt x="2406" y="2073"/>
                  <a:pt x="2406" y="2073"/>
                  <a:pt x="2404" y="2073"/>
                </a:cubicBezTo>
                <a:cubicBezTo>
                  <a:pt x="2404" y="2073"/>
                  <a:pt x="2404" y="2073"/>
                  <a:pt x="2404" y="2082"/>
                </a:cubicBezTo>
                <a:cubicBezTo>
                  <a:pt x="2404" y="2082"/>
                  <a:pt x="2404" y="2082"/>
                  <a:pt x="2408" y="2082"/>
                </a:cubicBezTo>
                <a:cubicBezTo>
                  <a:pt x="2417" y="2082"/>
                  <a:pt x="2422" y="2079"/>
                  <a:pt x="2422" y="2069"/>
                </a:cubicBezTo>
                <a:cubicBezTo>
                  <a:pt x="2422" y="2067"/>
                  <a:pt x="2422" y="2065"/>
                  <a:pt x="2422" y="2062"/>
                </a:cubicBezTo>
                <a:cubicBezTo>
                  <a:pt x="2422" y="2060"/>
                  <a:pt x="2422" y="2057"/>
                  <a:pt x="2422" y="2055"/>
                </a:cubicBezTo>
                <a:cubicBezTo>
                  <a:pt x="2422" y="2053"/>
                  <a:pt x="2422" y="2050"/>
                  <a:pt x="2428" y="2049"/>
                </a:cubicBezTo>
                <a:close/>
                <a:moveTo>
                  <a:pt x="2475" y="2009"/>
                </a:moveTo>
                <a:cubicBezTo>
                  <a:pt x="2475" y="2009"/>
                  <a:pt x="2475" y="2009"/>
                  <a:pt x="2475" y="2009"/>
                </a:cubicBezTo>
                <a:cubicBezTo>
                  <a:pt x="2470" y="2009"/>
                  <a:pt x="2470" y="2009"/>
                  <a:pt x="2470" y="2009"/>
                </a:cubicBezTo>
                <a:cubicBezTo>
                  <a:pt x="2468" y="2010"/>
                  <a:pt x="2466" y="2012"/>
                  <a:pt x="2464" y="2012"/>
                </a:cubicBezTo>
                <a:cubicBezTo>
                  <a:pt x="2463" y="2014"/>
                  <a:pt x="2461" y="2014"/>
                  <a:pt x="2459" y="2015"/>
                </a:cubicBezTo>
                <a:cubicBezTo>
                  <a:pt x="2457" y="2016"/>
                  <a:pt x="2456" y="2017"/>
                  <a:pt x="2454" y="2017"/>
                </a:cubicBezTo>
                <a:cubicBezTo>
                  <a:pt x="2452" y="2018"/>
                  <a:pt x="2451" y="2019"/>
                  <a:pt x="2448" y="2020"/>
                </a:cubicBezTo>
                <a:cubicBezTo>
                  <a:pt x="2448" y="2020"/>
                  <a:pt x="2448" y="2020"/>
                  <a:pt x="2448" y="2030"/>
                </a:cubicBezTo>
                <a:cubicBezTo>
                  <a:pt x="2451" y="2029"/>
                  <a:pt x="2454" y="2028"/>
                  <a:pt x="2456" y="2027"/>
                </a:cubicBezTo>
                <a:cubicBezTo>
                  <a:pt x="2459" y="2026"/>
                  <a:pt x="2461" y="2025"/>
                  <a:pt x="2464" y="2023"/>
                </a:cubicBezTo>
                <a:cubicBezTo>
                  <a:pt x="2464" y="2023"/>
                  <a:pt x="2464" y="2023"/>
                  <a:pt x="2464" y="2082"/>
                </a:cubicBezTo>
                <a:cubicBezTo>
                  <a:pt x="2464" y="2082"/>
                  <a:pt x="2464" y="2082"/>
                  <a:pt x="2475" y="2082"/>
                </a:cubicBezTo>
                <a:cubicBezTo>
                  <a:pt x="2475" y="2082"/>
                  <a:pt x="2475" y="2082"/>
                  <a:pt x="2475" y="2009"/>
                </a:cubicBezTo>
                <a:close/>
                <a:moveTo>
                  <a:pt x="2521" y="2009"/>
                </a:moveTo>
                <a:cubicBezTo>
                  <a:pt x="2521" y="2009"/>
                  <a:pt x="2521" y="2009"/>
                  <a:pt x="2521" y="2009"/>
                </a:cubicBezTo>
                <a:cubicBezTo>
                  <a:pt x="2516" y="2009"/>
                  <a:pt x="2516" y="2009"/>
                  <a:pt x="2516" y="2009"/>
                </a:cubicBezTo>
                <a:cubicBezTo>
                  <a:pt x="2514" y="2010"/>
                  <a:pt x="2513" y="2012"/>
                  <a:pt x="2511" y="2012"/>
                </a:cubicBezTo>
                <a:cubicBezTo>
                  <a:pt x="2509" y="2014"/>
                  <a:pt x="2507" y="2014"/>
                  <a:pt x="2506" y="2015"/>
                </a:cubicBezTo>
                <a:cubicBezTo>
                  <a:pt x="2504" y="2017"/>
                  <a:pt x="2502" y="2017"/>
                  <a:pt x="2501" y="2018"/>
                </a:cubicBezTo>
                <a:cubicBezTo>
                  <a:pt x="2498" y="2019"/>
                  <a:pt x="2497" y="2020"/>
                  <a:pt x="2495" y="2020"/>
                </a:cubicBezTo>
                <a:cubicBezTo>
                  <a:pt x="2495" y="2020"/>
                  <a:pt x="2495" y="2020"/>
                  <a:pt x="2495" y="2030"/>
                </a:cubicBezTo>
                <a:cubicBezTo>
                  <a:pt x="2498" y="2029"/>
                  <a:pt x="2501" y="2028"/>
                  <a:pt x="2503" y="2027"/>
                </a:cubicBezTo>
                <a:cubicBezTo>
                  <a:pt x="2506" y="2026"/>
                  <a:pt x="2508" y="2025"/>
                  <a:pt x="2510" y="2023"/>
                </a:cubicBezTo>
                <a:cubicBezTo>
                  <a:pt x="2510" y="2023"/>
                  <a:pt x="2510" y="2023"/>
                  <a:pt x="2510" y="2082"/>
                </a:cubicBezTo>
                <a:cubicBezTo>
                  <a:pt x="2510" y="2082"/>
                  <a:pt x="2510" y="2082"/>
                  <a:pt x="2521" y="2082"/>
                </a:cubicBezTo>
                <a:cubicBezTo>
                  <a:pt x="2521" y="2082"/>
                  <a:pt x="2521" y="2082"/>
                  <a:pt x="2521" y="2009"/>
                </a:cubicBezTo>
                <a:close/>
                <a:moveTo>
                  <a:pt x="2567" y="2009"/>
                </a:moveTo>
                <a:cubicBezTo>
                  <a:pt x="2567" y="2009"/>
                  <a:pt x="2567" y="2009"/>
                  <a:pt x="2567" y="2009"/>
                </a:cubicBezTo>
                <a:cubicBezTo>
                  <a:pt x="2563" y="2009"/>
                  <a:pt x="2563" y="2009"/>
                  <a:pt x="2563" y="2009"/>
                </a:cubicBezTo>
                <a:cubicBezTo>
                  <a:pt x="2561" y="2010"/>
                  <a:pt x="2559" y="2012"/>
                  <a:pt x="2557" y="2012"/>
                </a:cubicBezTo>
                <a:cubicBezTo>
                  <a:pt x="2556" y="2014"/>
                  <a:pt x="2554" y="2014"/>
                  <a:pt x="2552" y="2015"/>
                </a:cubicBezTo>
                <a:cubicBezTo>
                  <a:pt x="2550" y="2017"/>
                  <a:pt x="2549" y="2017"/>
                  <a:pt x="2546" y="2018"/>
                </a:cubicBezTo>
                <a:cubicBezTo>
                  <a:pt x="2545" y="2019"/>
                  <a:pt x="2543" y="2020"/>
                  <a:pt x="2541" y="2020"/>
                </a:cubicBezTo>
                <a:cubicBezTo>
                  <a:pt x="2541" y="2020"/>
                  <a:pt x="2541" y="2020"/>
                  <a:pt x="2541" y="2030"/>
                </a:cubicBezTo>
                <a:cubicBezTo>
                  <a:pt x="2544" y="2029"/>
                  <a:pt x="2547" y="2028"/>
                  <a:pt x="2549" y="2027"/>
                </a:cubicBezTo>
                <a:cubicBezTo>
                  <a:pt x="2552" y="2026"/>
                  <a:pt x="2554" y="2025"/>
                  <a:pt x="2556" y="2023"/>
                </a:cubicBezTo>
                <a:cubicBezTo>
                  <a:pt x="2556" y="2023"/>
                  <a:pt x="2556" y="2023"/>
                  <a:pt x="2556" y="2082"/>
                </a:cubicBezTo>
                <a:cubicBezTo>
                  <a:pt x="2556" y="2082"/>
                  <a:pt x="2556" y="2082"/>
                  <a:pt x="2567" y="2082"/>
                </a:cubicBezTo>
                <a:cubicBezTo>
                  <a:pt x="2567" y="2082"/>
                  <a:pt x="2567" y="2082"/>
                  <a:pt x="2567" y="2009"/>
                </a:cubicBezTo>
                <a:close/>
                <a:moveTo>
                  <a:pt x="2317" y="2056"/>
                </a:moveTo>
                <a:cubicBezTo>
                  <a:pt x="2318" y="2058"/>
                  <a:pt x="2318" y="2059"/>
                  <a:pt x="2319" y="2060"/>
                </a:cubicBezTo>
                <a:cubicBezTo>
                  <a:pt x="2319" y="2062"/>
                  <a:pt x="2319" y="2064"/>
                  <a:pt x="2320" y="2065"/>
                </a:cubicBezTo>
                <a:cubicBezTo>
                  <a:pt x="2320" y="2067"/>
                  <a:pt x="2320" y="2069"/>
                  <a:pt x="2320" y="2070"/>
                </a:cubicBezTo>
                <a:cubicBezTo>
                  <a:pt x="2321" y="2073"/>
                  <a:pt x="2320" y="2075"/>
                  <a:pt x="2317" y="2075"/>
                </a:cubicBezTo>
                <a:cubicBezTo>
                  <a:pt x="2314" y="2075"/>
                  <a:pt x="2311" y="2075"/>
                  <a:pt x="2308" y="2075"/>
                </a:cubicBezTo>
                <a:cubicBezTo>
                  <a:pt x="2308" y="2075"/>
                  <a:pt x="2307" y="2075"/>
                  <a:pt x="2307" y="2075"/>
                </a:cubicBezTo>
                <a:cubicBezTo>
                  <a:pt x="2305" y="2077"/>
                  <a:pt x="2304" y="2078"/>
                  <a:pt x="2303" y="2079"/>
                </a:cubicBezTo>
                <a:cubicBezTo>
                  <a:pt x="2301" y="2082"/>
                  <a:pt x="2297" y="2082"/>
                  <a:pt x="2295" y="2080"/>
                </a:cubicBezTo>
                <a:cubicBezTo>
                  <a:pt x="2293" y="2078"/>
                  <a:pt x="2292" y="2075"/>
                  <a:pt x="2290" y="2073"/>
                </a:cubicBezTo>
                <a:cubicBezTo>
                  <a:pt x="2290" y="2071"/>
                  <a:pt x="2290" y="2069"/>
                  <a:pt x="2292" y="2068"/>
                </a:cubicBezTo>
                <a:cubicBezTo>
                  <a:pt x="2290" y="2068"/>
                  <a:pt x="2288" y="2068"/>
                  <a:pt x="2286" y="2068"/>
                </a:cubicBezTo>
                <a:cubicBezTo>
                  <a:pt x="2286" y="2070"/>
                  <a:pt x="2284" y="2072"/>
                  <a:pt x="2284" y="2074"/>
                </a:cubicBezTo>
                <a:cubicBezTo>
                  <a:pt x="2284" y="2075"/>
                  <a:pt x="2283" y="2075"/>
                  <a:pt x="2283" y="2076"/>
                </a:cubicBezTo>
                <a:cubicBezTo>
                  <a:pt x="2283" y="2079"/>
                  <a:pt x="2282" y="2081"/>
                  <a:pt x="2279" y="2080"/>
                </a:cubicBezTo>
                <a:cubicBezTo>
                  <a:pt x="2276" y="2080"/>
                  <a:pt x="2273" y="2079"/>
                  <a:pt x="2270" y="2078"/>
                </a:cubicBezTo>
                <a:cubicBezTo>
                  <a:pt x="2268" y="2077"/>
                  <a:pt x="2267" y="2076"/>
                  <a:pt x="2268" y="2074"/>
                </a:cubicBezTo>
                <a:cubicBezTo>
                  <a:pt x="2268" y="2073"/>
                  <a:pt x="2268" y="2072"/>
                  <a:pt x="2269" y="2072"/>
                </a:cubicBezTo>
                <a:cubicBezTo>
                  <a:pt x="2266" y="2071"/>
                  <a:pt x="2264" y="2070"/>
                  <a:pt x="2262" y="2069"/>
                </a:cubicBezTo>
                <a:cubicBezTo>
                  <a:pt x="2261" y="2068"/>
                  <a:pt x="2260" y="2066"/>
                  <a:pt x="2259" y="2064"/>
                </a:cubicBezTo>
                <a:cubicBezTo>
                  <a:pt x="2258" y="2062"/>
                  <a:pt x="2258" y="2061"/>
                  <a:pt x="2260" y="2059"/>
                </a:cubicBezTo>
                <a:cubicBezTo>
                  <a:pt x="2263" y="2057"/>
                  <a:pt x="2264" y="2054"/>
                  <a:pt x="2263" y="2050"/>
                </a:cubicBezTo>
                <a:cubicBezTo>
                  <a:pt x="2263" y="2048"/>
                  <a:pt x="2263" y="2046"/>
                  <a:pt x="2263" y="2044"/>
                </a:cubicBezTo>
                <a:cubicBezTo>
                  <a:pt x="2262" y="2043"/>
                  <a:pt x="2260" y="2043"/>
                  <a:pt x="2259" y="2042"/>
                </a:cubicBezTo>
                <a:cubicBezTo>
                  <a:pt x="2258" y="2040"/>
                  <a:pt x="2257" y="2038"/>
                  <a:pt x="2257" y="2036"/>
                </a:cubicBezTo>
                <a:cubicBezTo>
                  <a:pt x="2257" y="2033"/>
                  <a:pt x="2260" y="2031"/>
                  <a:pt x="2263" y="2030"/>
                </a:cubicBezTo>
                <a:cubicBezTo>
                  <a:pt x="2264" y="2031"/>
                  <a:pt x="2264" y="2031"/>
                  <a:pt x="2264" y="2032"/>
                </a:cubicBezTo>
                <a:cubicBezTo>
                  <a:pt x="2264" y="2033"/>
                  <a:pt x="2264" y="2034"/>
                  <a:pt x="2264" y="2035"/>
                </a:cubicBezTo>
                <a:cubicBezTo>
                  <a:pt x="2264" y="2035"/>
                  <a:pt x="2263" y="2035"/>
                  <a:pt x="2263" y="2035"/>
                </a:cubicBezTo>
                <a:cubicBezTo>
                  <a:pt x="2262" y="2036"/>
                  <a:pt x="2262" y="2037"/>
                  <a:pt x="2261" y="2039"/>
                </a:cubicBezTo>
                <a:cubicBezTo>
                  <a:pt x="2262" y="2039"/>
                  <a:pt x="2263" y="2039"/>
                  <a:pt x="2264" y="2039"/>
                </a:cubicBezTo>
                <a:cubicBezTo>
                  <a:pt x="2265" y="2037"/>
                  <a:pt x="2265" y="2037"/>
                  <a:pt x="2266" y="2035"/>
                </a:cubicBezTo>
                <a:cubicBezTo>
                  <a:pt x="2271" y="2029"/>
                  <a:pt x="2277" y="2025"/>
                  <a:pt x="2284" y="2023"/>
                </a:cubicBezTo>
                <a:cubicBezTo>
                  <a:pt x="2288" y="2023"/>
                  <a:pt x="2291" y="2022"/>
                  <a:pt x="2293" y="2019"/>
                </a:cubicBezTo>
                <a:cubicBezTo>
                  <a:pt x="2293" y="2018"/>
                  <a:pt x="2294" y="2018"/>
                  <a:pt x="2294" y="2018"/>
                </a:cubicBezTo>
                <a:cubicBezTo>
                  <a:pt x="2297" y="2018"/>
                  <a:pt x="2299" y="2015"/>
                  <a:pt x="2301" y="2013"/>
                </a:cubicBezTo>
                <a:cubicBezTo>
                  <a:pt x="2308" y="2006"/>
                  <a:pt x="2320" y="2005"/>
                  <a:pt x="2328" y="2012"/>
                </a:cubicBezTo>
                <a:cubicBezTo>
                  <a:pt x="2330" y="2014"/>
                  <a:pt x="2333" y="2016"/>
                  <a:pt x="2335" y="2018"/>
                </a:cubicBezTo>
                <a:cubicBezTo>
                  <a:pt x="2337" y="2019"/>
                  <a:pt x="2338" y="2021"/>
                  <a:pt x="2339" y="2023"/>
                </a:cubicBezTo>
                <a:cubicBezTo>
                  <a:pt x="2340" y="2024"/>
                  <a:pt x="2341" y="2024"/>
                  <a:pt x="2342" y="2023"/>
                </a:cubicBezTo>
                <a:cubicBezTo>
                  <a:pt x="2343" y="2023"/>
                  <a:pt x="2344" y="2022"/>
                  <a:pt x="2344" y="2021"/>
                </a:cubicBezTo>
                <a:cubicBezTo>
                  <a:pt x="2346" y="2018"/>
                  <a:pt x="2349" y="2018"/>
                  <a:pt x="2351" y="2022"/>
                </a:cubicBezTo>
                <a:cubicBezTo>
                  <a:pt x="2352" y="2025"/>
                  <a:pt x="2353" y="2027"/>
                  <a:pt x="2353" y="2031"/>
                </a:cubicBezTo>
                <a:cubicBezTo>
                  <a:pt x="2354" y="2035"/>
                  <a:pt x="2353" y="2039"/>
                  <a:pt x="2352" y="2044"/>
                </a:cubicBezTo>
                <a:cubicBezTo>
                  <a:pt x="2349" y="2050"/>
                  <a:pt x="2345" y="2054"/>
                  <a:pt x="2338" y="2054"/>
                </a:cubicBezTo>
                <a:cubicBezTo>
                  <a:pt x="2337" y="2054"/>
                  <a:pt x="2337" y="2054"/>
                  <a:pt x="2336" y="2054"/>
                </a:cubicBezTo>
                <a:cubicBezTo>
                  <a:pt x="2334" y="2053"/>
                  <a:pt x="2332" y="2054"/>
                  <a:pt x="2332" y="2056"/>
                </a:cubicBezTo>
                <a:cubicBezTo>
                  <a:pt x="2330" y="2060"/>
                  <a:pt x="2325" y="2062"/>
                  <a:pt x="2321" y="2059"/>
                </a:cubicBezTo>
                <a:cubicBezTo>
                  <a:pt x="2320" y="2058"/>
                  <a:pt x="2319" y="2057"/>
                  <a:pt x="2318" y="2056"/>
                </a:cubicBezTo>
                <a:cubicBezTo>
                  <a:pt x="2318" y="2056"/>
                  <a:pt x="2318" y="2056"/>
                  <a:pt x="2317" y="2056"/>
                </a:cubicBezTo>
                <a:close/>
                <a:moveTo>
                  <a:pt x="2312" y="2052"/>
                </a:moveTo>
                <a:cubicBezTo>
                  <a:pt x="2315" y="2053"/>
                  <a:pt x="2319" y="2054"/>
                  <a:pt x="2321" y="2057"/>
                </a:cubicBezTo>
                <a:cubicBezTo>
                  <a:pt x="2323" y="2059"/>
                  <a:pt x="2325" y="2060"/>
                  <a:pt x="2327" y="2059"/>
                </a:cubicBezTo>
                <a:cubicBezTo>
                  <a:pt x="2330" y="2058"/>
                  <a:pt x="2331" y="2056"/>
                  <a:pt x="2331" y="2053"/>
                </a:cubicBezTo>
                <a:cubicBezTo>
                  <a:pt x="2331" y="2053"/>
                  <a:pt x="2330" y="2053"/>
                  <a:pt x="2330" y="2054"/>
                </a:cubicBezTo>
                <a:cubicBezTo>
                  <a:pt x="2330" y="2055"/>
                  <a:pt x="2329" y="2056"/>
                  <a:pt x="2328" y="2057"/>
                </a:cubicBezTo>
                <a:cubicBezTo>
                  <a:pt x="2327" y="2058"/>
                  <a:pt x="2325" y="2058"/>
                  <a:pt x="2325" y="2058"/>
                </a:cubicBezTo>
                <a:cubicBezTo>
                  <a:pt x="2324" y="2058"/>
                  <a:pt x="2323" y="2056"/>
                  <a:pt x="2323" y="2056"/>
                </a:cubicBezTo>
                <a:cubicBezTo>
                  <a:pt x="2323" y="2053"/>
                  <a:pt x="2324" y="2051"/>
                  <a:pt x="2324" y="2049"/>
                </a:cubicBezTo>
                <a:cubicBezTo>
                  <a:pt x="2327" y="2050"/>
                  <a:pt x="2331" y="2051"/>
                  <a:pt x="2334" y="2052"/>
                </a:cubicBezTo>
                <a:cubicBezTo>
                  <a:pt x="2342" y="2053"/>
                  <a:pt x="2347" y="2051"/>
                  <a:pt x="2351" y="2043"/>
                </a:cubicBezTo>
                <a:cubicBezTo>
                  <a:pt x="2352" y="2038"/>
                  <a:pt x="2352" y="2033"/>
                  <a:pt x="2351" y="2028"/>
                </a:cubicBezTo>
                <a:cubicBezTo>
                  <a:pt x="2351" y="2026"/>
                  <a:pt x="2350" y="2024"/>
                  <a:pt x="2349" y="2022"/>
                </a:cubicBezTo>
                <a:cubicBezTo>
                  <a:pt x="2348" y="2021"/>
                  <a:pt x="2347" y="2020"/>
                  <a:pt x="2346" y="2022"/>
                </a:cubicBezTo>
                <a:cubicBezTo>
                  <a:pt x="2344" y="2024"/>
                  <a:pt x="2343" y="2025"/>
                  <a:pt x="2341" y="2026"/>
                </a:cubicBezTo>
                <a:cubicBezTo>
                  <a:pt x="2340" y="2026"/>
                  <a:pt x="2339" y="2027"/>
                  <a:pt x="2340" y="2028"/>
                </a:cubicBezTo>
                <a:cubicBezTo>
                  <a:pt x="2340" y="2031"/>
                  <a:pt x="2340" y="2035"/>
                  <a:pt x="2338" y="2038"/>
                </a:cubicBezTo>
                <a:cubicBezTo>
                  <a:pt x="2338" y="2036"/>
                  <a:pt x="2339" y="2034"/>
                  <a:pt x="2339" y="2032"/>
                </a:cubicBezTo>
                <a:cubicBezTo>
                  <a:pt x="2339" y="2031"/>
                  <a:pt x="2338" y="2031"/>
                  <a:pt x="2338" y="2031"/>
                </a:cubicBezTo>
                <a:cubicBezTo>
                  <a:pt x="2338" y="2031"/>
                  <a:pt x="2337" y="2031"/>
                  <a:pt x="2337" y="2031"/>
                </a:cubicBezTo>
                <a:cubicBezTo>
                  <a:pt x="2336" y="2033"/>
                  <a:pt x="2335" y="2034"/>
                  <a:pt x="2334" y="2035"/>
                </a:cubicBezTo>
                <a:cubicBezTo>
                  <a:pt x="2334" y="2035"/>
                  <a:pt x="2334" y="2035"/>
                  <a:pt x="2334" y="2035"/>
                </a:cubicBezTo>
                <a:cubicBezTo>
                  <a:pt x="2334" y="2034"/>
                  <a:pt x="2335" y="2032"/>
                  <a:pt x="2335" y="2030"/>
                </a:cubicBezTo>
                <a:cubicBezTo>
                  <a:pt x="2334" y="2031"/>
                  <a:pt x="2334" y="2031"/>
                  <a:pt x="2333" y="2032"/>
                </a:cubicBezTo>
                <a:cubicBezTo>
                  <a:pt x="2332" y="2032"/>
                  <a:pt x="2332" y="2033"/>
                  <a:pt x="2332" y="2034"/>
                </a:cubicBezTo>
                <a:cubicBezTo>
                  <a:pt x="2332" y="2030"/>
                  <a:pt x="2332" y="2030"/>
                  <a:pt x="2338" y="2029"/>
                </a:cubicBezTo>
                <a:cubicBezTo>
                  <a:pt x="2338" y="2029"/>
                  <a:pt x="2337" y="2028"/>
                  <a:pt x="2337" y="2028"/>
                </a:cubicBezTo>
                <a:cubicBezTo>
                  <a:pt x="2334" y="2029"/>
                  <a:pt x="2334" y="2027"/>
                  <a:pt x="2333" y="2025"/>
                </a:cubicBezTo>
                <a:cubicBezTo>
                  <a:pt x="2335" y="2024"/>
                  <a:pt x="2336" y="2024"/>
                  <a:pt x="2338" y="2024"/>
                </a:cubicBezTo>
                <a:cubicBezTo>
                  <a:pt x="2336" y="2021"/>
                  <a:pt x="2335" y="2018"/>
                  <a:pt x="2332" y="2018"/>
                </a:cubicBezTo>
                <a:cubicBezTo>
                  <a:pt x="2331" y="2018"/>
                  <a:pt x="2331" y="2018"/>
                  <a:pt x="2331" y="2017"/>
                </a:cubicBezTo>
                <a:cubicBezTo>
                  <a:pt x="2329" y="2015"/>
                  <a:pt x="2326" y="2013"/>
                  <a:pt x="2323" y="2011"/>
                </a:cubicBezTo>
                <a:cubicBezTo>
                  <a:pt x="2321" y="2010"/>
                  <a:pt x="2318" y="2009"/>
                  <a:pt x="2316" y="2009"/>
                </a:cubicBezTo>
                <a:cubicBezTo>
                  <a:pt x="2313" y="2009"/>
                  <a:pt x="2310" y="2010"/>
                  <a:pt x="2306" y="2011"/>
                </a:cubicBezTo>
                <a:cubicBezTo>
                  <a:pt x="2304" y="2012"/>
                  <a:pt x="2301" y="2014"/>
                  <a:pt x="2299" y="2017"/>
                </a:cubicBezTo>
                <a:cubicBezTo>
                  <a:pt x="2301" y="2017"/>
                  <a:pt x="2302" y="2017"/>
                  <a:pt x="2303" y="2017"/>
                </a:cubicBezTo>
                <a:cubicBezTo>
                  <a:pt x="2303" y="2018"/>
                  <a:pt x="2302" y="2018"/>
                  <a:pt x="2301" y="2018"/>
                </a:cubicBezTo>
                <a:cubicBezTo>
                  <a:pt x="2299" y="2019"/>
                  <a:pt x="2296" y="2018"/>
                  <a:pt x="2294" y="2020"/>
                </a:cubicBezTo>
                <a:cubicBezTo>
                  <a:pt x="2291" y="2024"/>
                  <a:pt x="2287" y="2028"/>
                  <a:pt x="2283" y="2032"/>
                </a:cubicBezTo>
                <a:cubicBezTo>
                  <a:pt x="2282" y="2034"/>
                  <a:pt x="2281" y="2037"/>
                  <a:pt x="2280" y="2039"/>
                </a:cubicBezTo>
                <a:cubicBezTo>
                  <a:pt x="2280" y="2039"/>
                  <a:pt x="2280" y="2040"/>
                  <a:pt x="2280" y="2041"/>
                </a:cubicBezTo>
                <a:cubicBezTo>
                  <a:pt x="2281" y="2043"/>
                  <a:pt x="2282" y="2045"/>
                  <a:pt x="2284" y="2046"/>
                </a:cubicBezTo>
                <a:cubicBezTo>
                  <a:pt x="2285" y="2045"/>
                  <a:pt x="2286" y="2043"/>
                  <a:pt x="2288" y="2042"/>
                </a:cubicBezTo>
                <a:cubicBezTo>
                  <a:pt x="2287" y="2043"/>
                  <a:pt x="2287" y="2045"/>
                  <a:pt x="2286" y="2046"/>
                </a:cubicBezTo>
                <a:cubicBezTo>
                  <a:pt x="2285" y="2047"/>
                  <a:pt x="2284" y="2048"/>
                  <a:pt x="2284" y="2050"/>
                </a:cubicBezTo>
                <a:cubicBezTo>
                  <a:pt x="2284" y="2051"/>
                  <a:pt x="2284" y="2052"/>
                  <a:pt x="2284" y="2053"/>
                </a:cubicBezTo>
                <a:cubicBezTo>
                  <a:pt x="2287" y="2056"/>
                  <a:pt x="2290" y="2056"/>
                  <a:pt x="2294" y="2054"/>
                </a:cubicBezTo>
                <a:cubicBezTo>
                  <a:pt x="2296" y="2053"/>
                  <a:pt x="2299" y="2052"/>
                  <a:pt x="2302" y="2051"/>
                </a:cubicBezTo>
                <a:cubicBezTo>
                  <a:pt x="2303" y="2050"/>
                  <a:pt x="2305" y="2050"/>
                  <a:pt x="2305" y="2048"/>
                </a:cubicBezTo>
                <a:cubicBezTo>
                  <a:pt x="2305" y="2045"/>
                  <a:pt x="2305" y="2041"/>
                  <a:pt x="2305" y="2038"/>
                </a:cubicBezTo>
                <a:cubicBezTo>
                  <a:pt x="2305" y="2035"/>
                  <a:pt x="2305" y="2032"/>
                  <a:pt x="2305" y="2029"/>
                </a:cubicBezTo>
                <a:cubicBezTo>
                  <a:pt x="2305" y="2032"/>
                  <a:pt x="2306" y="2035"/>
                  <a:pt x="2306" y="2037"/>
                </a:cubicBezTo>
                <a:cubicBezTo>
                  <a:pt x="2307" y="2042"/>
                  <a:pt x="2307" y="2046"/>
                  <a:pt x="2306" y="2050"/>
                </a:cubicBezTo>
                <a:cubicBezTo>
                  <a:pt x="2305" y="2051"/>
                  <a:pt x="2305" y="2052"/>
                  <a:pt x="2304" y="2052"/>
                </a:cubicBezTo>
                <a:cubicBezTo>
                  <a:pt x="2301" y="2052"/>
                  <a:pt x="2297" y="2054"/>
                  <a:pt x="2294" y="2056"/>
                </a:cubicBezTo>
                <a:cubicBezTo>
                  <a:pt x="2289" y="2059"/>
                  <a:pt x="2286" y="2057"/>
                  <a:pt x="2282" y="2053"/>
                </a:cubicBezTo>
                <a:cubicBezTo>
                  <a:pt x="2282" y="2053"/>
                  <a:pt x="2282" y="2052"/>
                  <a:pt x="2282" y="2051"/>
                </a:cubicBezTo>
                <a:cubicBezTo>
                  <a:pt x="2283" y="2049"/>
                  <a:pt x="2282" y="2047"/>
                  <a:pt x="2280" y="2045"/>
                </a:cubicBezTo>
                <a:cubicBezTo>
                  <a:pt x="2279" y="2043"/>
                  <a:pt x="2277" y="2041"/>
                  <a:pt x="2278" y="2038"/>
                </a:cubicBezTo>
                <a:cubicBezTo>
                  <a:pt x="2279" y="2036"/>
                  <a:pt x="2280" y="2034"/>
                  <a:pt x="2281" y="2033"/>
                </a:cubicBezTo>
                <a:cubicBezTo>
                  <a:pt x="2283" y="2030"/>
                  <a:pt x="2285" y="2027"/>
                  <a:pt x="2287" y="2025"/>
                </a:cubicBezTo>
                <a:cubicBezTo>
                  <a:pt x="2287" y="2025"/>
                  <a:pt x="2286" y="2025"/>
                  <a:pt x="2286" y="2025"/>
                </a:cubicBezTo>
                <a:cubicBezTo>
                  <a:pt x="2281" y="2026"/>
                  <a:pt x="2277" y="2027"/>
                  <a:pt x="2273" y="2031"/>
                </a:cubicBezTo>
                <a:cubicBezTo>
                  <a:pt x="2268" y="2035"/>
                  <a:pt x="2265" y="2040"/>
                  <a:pt x="2265" y="2047"/>
                </a:cubicBezTo>
                <a:cubicBezTo>
                  <a:pt x="2264" y="2054"/>
                  <a:pt x="2267" y="2060"/>
                  <a:pt x="2270" y="2065"/>
                </a:cubicBezTo>
                <a:cubicBezTo>
                  <a:pt x="2271" y="2066"/>
                  <a:pt x="2271" y="2068"/>
                  <a:pt x="2271" y="2069"/>
                </a:cubicBezTo>
                <a:cubicBezTo>
                  <a:pt x="2271" y="2071"/>
                  <a:pt x="2271" y="2072"/>
                  <a:pt x="2270" y="2073"/>
                </a:cubicBezTo>
                <a:cubicBezTo>
                  <a:pt x="2269" y="2075"/>
                  <a:pt x="2270" y="2076"/>
                  <a:pt x="2271" y="2077"/>
                </a:cubicBezTo>
                <a:cubicBezTo>
                  <a:pt x="2274" y="2077"/>
                  <a:pt x="2277" y="2078"/>
                  <a:pt x="2280" y="2078"/>
                </a:cubicBezTo>
                <a:cubicBezTo>
                  <a:pt x="2280" y="2078"/>
                  <a:pt x="2281" y="2077"/>
                  <a:pt x="2281" y="2077"/>
                </a:cubicBezTo>
                <a:cubicBezTo>
                  <a:pt x="2282" y="2076"/>
                  <a:pt x="2282" y="2074"/>
                  <a:pt x="2282" y="2073"/>
                </a:cubicBezTo>
                <a:cubicBezTo>
                  <a:pt x="2284" y="2071"/>
                  <a:pt x="2284" y="2068"/>
                  <a:pt x="2284" y="2065"/>
                </a:cubicBezTo>
                <a:cubicBezTo>
                  <a:pt x="2284" y="2065"/>
                  <a:pt x="2284" y="2065"/>
                  <a:pt x="2284" y="2064"/>
                </a:cubicBezTo>
                <a:cubicBezTo>
                  <a:pt x="2284" y="2064"/>
                  <a:pt x="2284" y="2064"/>
                  <a:pt x="2284" y="2064"/>
                </a:cubicBezTo>
                <a:cubicBezTo>
                  <a:pt x="2285" y="2066"/>
                  <a:pt x="2286" y="2066"/>
                  <a:pt x="2288" y="2066"/>
                </a:cubicBezTo>
                <a:cubicBezTo>
                  <a:pt x="2289" y="2066"/>
                  <a:pt x="2290" y="2066"/>
                  <a:pt x="2291" y="2066"/>
                </a:cubicBezTo>
                <a:cubicBezTo>
                  <a:pt x="2293" y="2066"/>
                  <a:pt x="2297" y="2067"/>
                  <a:pt x="2297" y="2063"/>
                </a:cubicBezTo>
                <a:cubicBezTo>
                  <a:pt x="2297" y="2065"/>
                  <a:pt x="2297" y="2067"/>
                  <a:pt x="2297" y="2067"/>
                </a:cubicBezTo>
                <a:cubicBezTo>
                  <a:pt x="2296" y="2068"/>
                  <a:pt x="2295" y="2069"/>
                  <a:pt x="2293" y="2069"/>
                </a:cubicBezTo>
                <a:cubicBezTo>
                  <a:pt x="2292" y="2070"/>
                  <a:pt x="2291" y="2072"/>
                  <a:pt x="2292" y="2073"/>
                </a:cubicBezTo>
                <a:cubicBezTo>
                  <a:pt x="2293" y="2075"/>
                  <a:pt x="2295" y="2077"/>
                  <a:pt x="2296" y="2079"/>
                </a:cubicBezTo>
                <a:cubicBezTo>
                  <a:pt x="2298" y="2080"/>
                  <a:pt x="2300" y="2080"/>
                  <a:pt x="2301" y="2078"/>
                </a:cubicBezTo>
                <a:cubicBezTo>
                  <a:pt x="2302" y="2077"/>
                  <a:pt x="2303" y="2077"/>
                  <a:pt x="2303" y="2076"/>
                </a:cubicBezTo>
                <a:cubicBezTo>
                  <a:pt x="2305" y="2075"/>
                  <a:pt x="2306" y="2073"/>
                  <a:pt x="2308" y="2072"/>
                </a:cubicBezTo>
                <a:cubicBezTo>
                  <a:pt x="2312" y="2068"/>
                  <a:pt x="2314" y="2062"/>
                  <a:pt x="2316" y="2056"/>
                </a:cubicBezTo>
                <a:cubicBezTo>
                  <a:pt x="2316" y="2056"/>
                  <a:pt x="2315" y="2055"/>
                  <a:pt x="2315" y="2054"/>
                </a:cubicBezTo>
                <a:cubicBezTo>
                  <a:pt x="2314" y="2053"/>
                  <a:pt x="2313" y="2052"/>
                  <a:pt x="2312" y="2052"/>
                </a:cubicBezTo>
                <a:close/>
                <a:moveTo>
                  <a:pt x="2264" y="2058"/>
                </a:moveTo>
                <a:cubicBezTo>
                  <a:pt x="2264" y="2059"/>
                  <a:pt x="2262" y="2060"/>
                  <a:pt x="2261" y="2061"/>
                </a:cubicBezTo>
                <a:cubicBezTo>
                  <a:pt x="2260" y="2061"/>
                  <a:pt x="2260" y="2062"/>
                  <a:pt x="2260" y="2063"/>
                </a:cubicBezTo>
                <a:cubicBezTo>
                  <a:pt x="2260" y="2065"/>
                  <a:pt x="2264" y="2070"/>
                  <a:pt x="2267" y="2069"/>
                </a:cubicBezTo>
                <a:cubicBezTo>
                  <a:pt x="2269" y="2069"/>
                  <a:pt x="2270" y="2068"/>
                  <a:pt x="2269" y="2067"/>
                </a:cubicBezTo>
                <a:cubicBezTo>
                  <a:pt x="2267" y="2064"/>
                  <a:pt x="2266" y="2061"/>
                  <a:pt x="2264" y="2058"/>
                </a:cubicBezTo>
                <a:close/>
                <a:moveTo>
                  <a:pt x="2317" y="2060"/>
                </a:moveTo>
                <a:cubicBezTo>
                  <a:pt x="2315" y="2065"/>
                  <a:pt x="2312" y="2069"/>
                  <a:pt x="2310" y="2073"/>
                </a:cubicBezTo>
                <a:cubicBezTo>
                  <a:pt x="2313" y="2073"/>
                  <a:pt x="2315" y="2074"/>
                  <a:pt x="2318" y="2073"/>
                </a:cubicBezTo>
                <a:cubicBezTo>
                  <a:pt x="2318" y="2073"/>
                  <a:pt x="2319" y="2072"/>
                  <a:pt x="2319" y="2072"/>
                </a:cubicBezTo>
                <a:cubicBezTo>
                  <a:pt x="2319" y="2069"/>
                  <a:pt x="2319" y="2067"/>
                  <a:pt x="2318" y="2064"/>
                </a:cubicBezTo>
                <a:cubicBezTo>
                  <a:pt x="2318" y="2063"/>
                  <a:pt x="2318" y="2062"/>
                  <a:pt x="2317" y="2060"/>
                </a:cubicBezTo>
                <a:close/>
                <a:moveTo>
                  <a:pt x="2264" y="2040"/>
                </a:moveTo>
                <a:cubicBezTo>
                  <a:pt x="2264" y="2040"/>
                  <a:pt x="2263" y="2041"/>
                  <a:pt x="2262" y="2041"/>
                </a:cubicBezTo>
                <a:cubicBezTo>
                  <a:pt x="2262" y="2041"/>
                  <a:pt x="2261" y="2041"/>
                  <a:pt x="2261" y="2040"/>
                </a:cubicBezTo>
                <a:cubicBezTo>
                  <a:pt x="2260" y="2040"/>
                  <a:pt x="2260" y="2039"/>
                  <a:pt x="2260" y="2038"/>
                </a:cubicBezTo>
                <a:cubicBezTo>
                  <a:pt x="2261" y="2036"/>
                  <a:pt x="2261" y="2034"/>
                  <a:pt x="2262" y="2032"/>
                </a:cubicBezTo>
                <a:cubicBezTo>
                  <a:pt x="2262" y="2032"/>
                  <a:pt x="2262" y="2032"/>
                  <a:pt x="2261" y="2032"/>
                </a:cubicBezTo>
                <a:cubicBezTo>
                  <a:pt x="2260" y="2033"/>
                  <a:pt x="2259" y="2034"/>
                  <a:pt x="2258" y="2035"/>
                </a:cubicBezTo>
                <a:cubicBezTo>
                  <a:pt x="2258" y="2036"/>
                  <a:pt x="2259" y="2041"/>
                  <a:pt x="2261" y="2042"/>
                </a:cubicBezTo>
                <a:cubicBezTo>
                  <a:pt x="2262" y="2043"/>
                  <a:pt x="2264" y="2042"/>
                  <a:pt x="2264" y="2040"/>
                </a:cubicBezTo>
                <a:close/>
                <a:moveTo>
                  <a:pt x="2264" y="2058"/>
                </a:moveTo>
                <a:cubicBezTo>
                  <a:pt x="2264" y="2058"/>
                  <a:pt x="2262" y="2059"/>
                  <a:pt x="2261" y="2060"/>
                </a:cubicBezTo>
                <a:cubicBezTo>
                  <a:pt x="2261" y="2061"/>
                  <a:pt x="2260" y="2062"/>
                  <a:pt x="2260" y="2062"/>
                </a:cubicBezTo>
                <a:cubicBezTo>
                  <a:pt x="2260" y="2065"/>
                  <a:pt x="2264" y="2070"/>
                  <a:pt x="2267" y="2069"/>
                </a:cubicBezTo>
                <a:cubicBezTo>
                  <a:pt x="2269" y="2069"/>
                  <a:pt x="2270" y="2068"/>
                  <a:pt x="2269" y="2066"/>
                </a:cubicBezTo>
                <a:cubicBezTo>
                  <a:pt x="2267" y="2063"/>
                  <a:pt x="2266" y="2060"/>
                  <a:pt x="2264" y="2058"/>
                </a:cubicBezTo>
                <a:close/>
                <a:moveTo>
                  <a:pt x="2317" y="2060"/>
                </a:moveTo>
                <a:cubicBezTo>
                  <a:pt x="2315" y="2064"/>
                  <a:pt x="2312" y="2069"/>
                  <a:pt x="2310" y="2073"/>
                </a:cubicBezTo>
                <a:cubicBezTo>
                  <a:pt x="2313" y="2073"/>
                  <a:pt x="2315" y="2073"/>
                  <a:pt x="2318" y="2073"/>
                </a:cubicBezTo>
                <a:cubicBezTo>
                  <a:pt x="2318" y="2073"/>
                  <a:pt x="2319" y="2072"/>
                  <a:pt x="2319" y="2071"/>
                </a:cubicBezTo>
                <a:cubicBezTo>
                  <a:pt x="2319" y="2069"/>
                  <a:pt x="2319" y="2066"/>
                  <a:pt x="2318" y="2064"/>
                </a:cubicBezTo>
                <a:cubicBezTo>
                  <a:pt x="2318" y="2062"/>
                  <a:pt x="2318" y="2061"/>
                  <a:pt x="2317" y="2060"/>
                </a:cubicBezTo>
                <a:close/>
                <a:moveTo>
                  <a:pt x="2264" y="2040"/>
                </a:moveTo>
                <a:cubicBezTo>
                  <a:pt x="2264" y="2040"/>
                  <a:pt x="2263" y="2040"/>
                  <a:pt x="2263" y="2040"/>
                </a:cubicBezTo>
                <a:cubicBezTo>
                  <a:pt x="2262" y="2040"/>
                  <a:pt x="2261" y="2040"/>
                  <a:pt x="2261" y="2040"/>
                </a:cubicBezTo>
                <a:cubicBezTo>
                  <a:pt x="2261" y="2040"/>
                  <a:pt x="2260" y="2039"/>
                  <a:pt x="2260" y="2038"/>
                </a:cubicBezTo>
                <a:cubicBezTo>
                  <a:pt x="2261" y="2036"/>
                  <a:pt x="2261" y="2034"/>
                  <a:pt x="2262" y="2032"/>
                </a:cubicBezTo>
                <a:cubicBezTo>
                  <a:pt x="2262" y="2032"/>
                  <a:pt x="2262" y="2032"/>
                  <a:pt x="2261" y="2032"/>
                </a:cubicBezTo>
                <a:cubicBezTo>
                  <a:pt x="2261" y="2033"/>
                  <a:pt x="2259" y="2034"/>
                  <a:pt x="2259" y="2035"/>
                </a:cubicBezTo>
                <a:cubicBezTo>
                  <a:pt x="2258" y="2036"/>
                  <a:pt x="2259" y="2041"/>
                  <a:pt x="2261" y="2042"/>
                </a:cubicBezTo>
                <a:cubicBezTo>
                  <a:pt x="2263" y="2043"/>
                  <a:pt x="2264" y="2042"/>
                  <a:pt x="2264" y="2040"/>
                </a:cubicBezTo>
                <a:close/>
                <a:moveTo>
                  <a:pt x="2317" y="2031"/>
                </a:moveTo>
                <a:cubicBezTo>
                  <a:pt x="2320" y="2028"/>
                  <a:pt x="2320" y="2028"/>
                  <a:pt x="2324" y="2026"/>
                </a:cubicBezTo>
                <a:cubicBezTo>
                  <a:pt x="2324" y="2028"/>
                  <a:pt x="2325" y="2030"/>
                  <a:pt x="2326" y="2030"/>
                </a:cubicBezTo>
                <a:cubicBezTo>
                  <a:pt x="2324" y="2031"/>
                  <a:pt x="2322" y="2032"/>
                  <a:pt x="2320" y="2034"/>
                </a:cubicBezTo>
                <a:cubicBezTo>
                  <a:pt x="2320" y="2033"/>
                  <a:pt x="2319" y="2032"/>
                  <a:pt x="2318" y="2031"/>
                </a:cubicBezTo>
                <a:cubicBezTo>
                  <a:pt x="2318" y="2031"/>
                  <a:pt x="2318" y="2031"/>
                  <a:pt x="2317" y="2031"/>
                </a:cubicBezTo>
                <a:close/>
                <a:moveTo>
                  <a:pt x="2323" y="2031"/>
                </a:moveTo>
                <a:cubicBezTo>
                  <a:pt x="2322" y="2030"/>
                  <a:pt x="2321" y="2030"/>
                  <a:pt x="2321" y="2030"/>
                </a:cubicBezTo>
                <a:cubicBezTo>
                  <a:pt x="2320" y="2030"/>
                  <a:pt x="2320" y="2031"/>
                  <a:pt x="2320" y="2031"/>
                </a:cubicBezTo>
                <a:cubicBezTo>
                  <a:pt x="2320" y="2032"/>
                  <a:pt x="2320" y="2032"/>
                  <a:pt x="2320" y="2032"/>
                </a:cubicBezTo>
                <a:cubicBezTo>
                  <a:pt x="2321" y="2032"/>
                  <a:pt x="2321" y="2032"/>
                  <a:pt x="2323" y="2031"/>
                </a:cubicBezTo>
                <a:close/>
                <a:moveTo>
                  <a:pt x="2304" y="2021"/>
                </a:moveTo>
                <a:cubicBezTo>
                  <a:pt x="2297" y="2021"/>
                  <a:pt x="2294" y="2023"/>
                  <a:pt x="2293" y="2031"/>
                </a:cubicBezTo>
                <a:cubicBezTo>
                  <a:pt x="2294" y="2029"/>
                  <a:pt x="2296" y="2026"/>
                  <a:pt x="2297" y="2024"/>
                </a:cubicBezTo>
                <a:cubicBezTo>
                  <a:pt x="2297" y="2024"/>
                  <a:pt x="2297" y="2024"/>
                  <a:pt x="2297" y="2024"/>
                </a:cubicBezTo>
                <a:cubicBezTo>
                  <a:pt x="2297" y="2025"/>
                  <a:pt x="2298" y="2026"/>
                  <a:pt x="2298" y="2027"/>
                </a:cubicBezTo>
                <a:cubicBezTo>
                  <a:pt x="2299" y="2024"/>
                  <a:pt x="2300" y="2022"/>
                  <a:pt x="2304" y="2021"/>
                </a:cubicBezTo>
                <a:close/>
                <a:moveTo>
                  <a:pt x="2348" y="2023"/>
                </a:moveTo>
                <a:cubicBezTo>
                  <a:pt x="2345" y="2024"/>
                  <a:pt x="2343" y="2026"/>
                  <a:pt x="2342" y="2027"/>
                </a:cubicBezTo>
                <a:cubicBezTo>
                  <a:pt x="2344" y="2027"/>
                  <a:pt x="2346" y="2026"/>
                  <a:pt x="2348" y="2023"/>
                </a:cubicBezTo>
                <a:close/>
                <a:moveTo>
                  <a:pt x="2314" y="2025"/>
                </a:moveTo>
                <a:cubicBezTo>
                  <a:pt x="2315" y="2024"/>
                  <a:pt x="2316" y="2022"/>
                  <a:pt x="2317" y="2021"/>
                </a:cubicBezTo>
                <a:cubicBezTo>
                  <a:pt x="2314" y="2022"/>
                  <a:pt x="2313" y="2023"/>
                  <a:pt x="2314" y="2025"/>
                </a:cubicBezTo>
                <a:close/>
                <a:moveTo>
                  <a:pt x="2324" y="2046"/>
                </a:moveTo>
                <a:cubicBezTo>
                  <a:pt x="2322" y="2047"/>
                  <a:pt x="2321" y="2048"/>
                  <a:pt x="2321" y="2049"/>
                </a:cubicBezTo>
                <a:cubicBezTo>
                  <a:pt x="2322" y="2048"/>
                  <a:pt x="2323" y="2047"/>
                  <a:pt x="2324" y="2046"/>
                </a:cubicBezTo>
                <a:close/>
                <a:moveTo>
                  <a:pt x="2323" y="2031"/>
                </a:moveTo>
                <a:cubicBezTo>
                  <a:pt x="2322" y="2031"/>
                  <a:pt x="2321" y="2030"/>
                  <a:pt x="2321" y="2030"/>
                </a:cubicBezTo>
                <a:cubicBezTo>
                  <a:pt x="2320" y="2030"/>
                  <a:pt x="2320" y="2031"/>
                  <a:pt x="2320" y="2031"/>
                </a:cubicBezTo>
                <a:cubicBezTo>
                  <a:pt x="2320" y="2032"/>
                  <a:pt x="2320" y="2032"/>
                  <a:pt x="2320" y="2033"/>
                </a:cubicBezTo>
                <a:cubicBezTo>
                  <a:pt x="2321" y="2032"/>
                  <a:pt x="2321" y="2032"/>
                  <a:pt x="2323" y="2031"/>
                </a:cubicBezTo>
                <a:close/>
                <a:moveTo>
                  <a:pt x="2613" y="2009"/>
                </a:moveTo>
                <a:cubicBezTo>
                  <a:pt x="2613" y="2009"/>
                  <a:pt x="2613" y="2009"/>
                  <a:pt x="2613" y="2009"/>
                </a:cubicBezTo>
                <a:cubicBezTo>
                  <a:pt x="2609" y="2009"/>
                  <a:pt x="2609" y="2009"/>
                  <a:pt x="2609" y="2009"/>
                </a:cubicBezTo>
                <a:cubicBezTo>
                  <a:pt x="2606" y="2010"/>
                  <a:pt x="2605" y="2012"/>
                  <a:pt x="2603" y="2012"/>
                </a:cubicBezTo>
                <a:cubicBezTo>
                  <a:pt x="2601" y="2014"/>
                  <a:pt x="2599" y="2014"/>
                  <a:pt x="2598" y="2015"/>
                </a:cubicBezTo>
                <a:cubicBezTo>
                  <a:pt x="2596" y="2017"/>
                  <a:pt x="2594" y="2017"/>
                  <a:pt x="2592" y="2018"/>
                </a:cubicBezTo>
                <a:cubicBezTo>
                  <a:pt x="2591" y="2019"/>
                  <a:pt x="2588" y="2020"/>
                  <a:pt x="2587" y="2020"/>
                </a:cubicBezTo>
                <a:cubicBezTo>
                  <a:pt x="2587" y="2020"/>
                  <a:pt x="2587" y="2020"/>
                  <a:pt x="2587" y="2030"/>
                </a:cubicBezTo>
                <a:cubicBezTo>
                  <a:pt x="2590" y="2029"/>
                  <a:pt x="2593" y="2028"/>
                  <a:pt x="2595" y="2027"/>
                </a:cubicBezTo>
                <a:cubicBezTo>
                  <a:pt x="2597" y="2026"/>
                  <a:pt x="2600" y="2025"/>
                  <a:pt x="2601" y="2023"/>
                </a:cubicBezTo>
                <a:cubicBezTo>
                  <a:pt x="2601" y="2023"/>
                  <a:pt x="2601" y="2023"/>
                  <a:pt x="2601" y="2082"/>
                </a:cubicBezTo>
                <a:cubicBezTo>
                  <a:pt x="2601" y="2082"/>
                  <a:pt x="2601" y="2082"/>
                  <a:pt x="2613" y="2082"/>
                </a:cubicBezTo>
                <a:cubicBezTo>
                  <a:pt x="2613" y="2082"/>
                  <a:pt x="2613" y="2082"/>
                  <a:pt x="2613" y="2009"/>
                </a:cubicBezTo>
                <a:close/>
                <a:moveTo>
                  <a:pt x="2734" y="2009"/>
                </a:moveTo>
                <a:cubicBezTo>
                  <a:pt x="2734" y="2009"/>
                  <a:pt x="2734" y="2009"/>
                  <a:pt x="2734" y="2009"/>
                </a:cubicBezTo>
                <a:cubicBezTo>
                  <a:pt x="2729" y="2009"/>
                  <a:pt x="2729" y="2009"/>
                  <a:pt x="2729" y="2009"/>
                </a:cubicBezTo>
                <a:cubicBezTo>
                  <a:pt x="2727" y="2010"/>
                  <a:pt x="2726" y="2012"/>
                  <a:pt x="2724" y="2012"/>
                </a:cubicBezTo>
                <a:cubicBezTo>
                  <a:pt x="2722" y="2014"/>
                  <a:pt x="2721" y="2014"/>
                  <a:pt x="2718" y="2015"/>
                </a:cubicBezTo>
                <a:cubicBezTo>
                  <a:pt x="2717" y="2017"/>
                  <a:pt x="2715" y="2017"/>
                  <a:pt x="2713" y="2018"/>
                </a:cubicBezTo>
                <a:cubicBezTo>
                  <a:pt x="2711" y="2019"/>
                  <a:pt x="2710" y="2020"/>
                  <a:pt x="2708" y="2020"/>
                </a:cubicBezTo>
                <a:cubicBezTo>
                  <a:pt x="2708" y="2020"/>
                  <a:pt x="2708" y="2020"/>
                  <a:pt x="2708" y="2030"/>
                </a:cubicBezTo>
                <a:cubicBezTo>
                  <a:pt x="2710" y="2029"/>
                  <a:pt x="2713" y="2028"/>
                  <a:pt x="2716" y="2027"/>
                </a:cubicBezTo>
                <a:cubicBezTo>
                  <a:pt x="2718" y="2026"/>
                  <a:pt x="2721" y="2025"/>
                  <a:pt x="2723" y="2023"/>
                </a:cubicBezTo>
                <a:cubicBezTo>
                  <a:pt x="2723" y="2023"/>
                  <a:pt x="2723" y="2023"/>
                  <a:pt x="2723" y="2082"/>
                </a:cubicBezTo>
                <a:cubicBezTo>
                  <a:pt x="2723" y="2082"/>
                  <a:pt x="2723" y="2082"/>
                  <a:pt x="2734" y="2082"/>
                </a:cubicBezTo>
                <a:cubicBezTo>
                  <a:pt x="2734" y="2082"/>
                  <a:pt x="2734" y="2082"/>
                  <a:pt x="2734" y="2009"/>
                </a:cubicBezTo>
                <a:close/>
                <a:moveTo>
                  <a:pt x="2781" y="2009"/>
                </a:moveTo>
                <a:cubicBezTo>
                  <a:pt x="2781" y="2009"/>
                  <a:pt x="2781" y="2009"/>
                  <a:pt x="2781" y="2009"/>
                </a:cubicBezTo>
                <a:cubicBezTo>
                  <a:pt x="2776" y="2009"/>
                  <a:pt x="2776" y="2009"/>
                  <a:pt x="2776" y="2009"/>
                </a:cubicBezTo>
                <a:cubicBezTo>
                  <a:pt x="2774" y="2010"/>
                  <a:pt x="2773" y="2012"/>
                  <a:pt x="2771" y="2012"/>
                </a:cubicBezTo>
                <a:cubicBezTo>
                  <a:pt x="2769" y="2014"/>
                  <a:pt x="2767" y="2014"/>
                  <a:pt x="2765" y="2015"/>
                </a:cubicBezTo>
                <a:cubicBezTo>
                  <a:pt x="2764" y="2017"/>
                  <a:pt x="2762" y="2017"/>
                  <a:pt x="2760" y="2018"/>
                </a:cubicBezTo>
                <a:cubicBezTo>
                  <a:pt x="2758" y="2019"/>
                  <a:pt x="2757" y="2020"/>
                  <a:pt x="2755" y="2020"/>
                </a:cubicBezTo>
                <a:cubicBezTo>
                  <a:pt x="2755" y="2020"/>
                  <a:pt x="2755" y="2020"/>
                  <a:pt x="2755" y="2030"/>
                </a:cubicBezTo>
                <a:cubicBezTo>
                  <a:pt x="2757" y="2029"/>
                  <a:pt x="2760" y="2028"/>
                  <a:pt x="2763" y="2027"/>
                </a:cubicBezTo>
                <a:cubicBezTo>
                  <a:pt x="2765" y="2026"/>
                  <a:pt x="2768" y="2025"/>
                  <a:pt x="2770" y="2023"/>
                </a:cubicBezTo>
                <a:cubicBezTo>
                  <a:pt x="2770" y="2023"/>
                  <a:pt x="2770" y="2023"/>
                  <a:pt x="2770" y="2082"/>
                </a:cubicBezTo>
                <a:cubicBezTo>
                  <a:pt x="2770" y="2082"/>
                  <a:pt x="2770" y="2082"/>
                  <a:pt x="2781" y="2082"/>
                </a:cubicBezTo>
                <a:cubicBezTo>
                  <a:pt x="2781" y="2082"/>
                  <a:pt x="2781" y="2082"/>
                  <a:pt x="2781" y="2009"/>
                </a:cubicBezTo>
                <a:close/>
                <a:moveTo>
                  <a:pt x="2827" y="2009"/>
                </a:moveTo>
                <a:cubicBezTo>
                  <a:pt x="2827" y="2009"/>
                  <a:pt x="2827" y="2009"/>
                  <a:pt x="2827" y="2009"/>
                </a:cubicBezTo>
                <a:cubicBezTo>
                  <a:pt x="2823" y="2009"/>
                  <a:pt x="2823" y="2009"/>
                  <a:pt x="2823" y="2009"/>
                </a:cubicBezTo>
                <a:cubicBezTo>
                  <a:pt x="2821" y="2010"/>
                  <a:pt x="2819" y="2012"/>
                  <a:pt x="2817" y="2012"/>
                </a:cubicBezTo>
                <a:cubicBezTo>
                  <a:pt x="2816" y="2014"/>
                  <a:pt x="2813" y="2014"/>
                  <a:pt x="2812" y="2015"/>
                </a:cubicBezTo>
                <a:cubicBezTo>
                  <a:pt x="2810" y="2016"/>
                  <a:pt x="2808" y="2017"/>
                  <a:pt x="2806" y="2017"/>
                </a:cubicBezTo>
                <a:cubicBezTo>
                  <a:pt x="2805" y="2018"/>
                  <a:pt x="2803" y="2019"/>
                  <a:pt x="2801" y="2020"/>
                </a:cubicBezTo>
                <a:cubicBezTo>
                  <a:pt x="2801" y="2020"/>
                  <a:pt x="2801" y="2020"/>
                  <a:pt x="2801" y="2030"/>
                </a:cubicBezTo>
                <a:cubicBezTo>
                  <a:pt x="2804" y="2029"/>
                  <a:pt x="2807" y="2028"/>
                  <a:pt x="2809" y="2027"/>
                </a:cubicBezTo>
                <a:cubicBezTo>
                  <a:pt x="2811" y="2026"/>
                  <a:pt x="2814" y="2025"/>
                  <a:pt x="2816" y="2023"/>
                </a:cubicBezTo>
                <a:cubicBezTo>
                  <a:pt x="2816" y="2023"/>
                  <a:pt x="2816" y="2023"/>
                  <a:pt x="2816" y="2082"/>
                </a:cubicBezTo>
                <a:cubicBezTo>
                  <a:pt x="2816" y="2082"/>
                  <a:pt x="2816" y="2082"/>
                  <a:pt x="2827" y="2082"/>
                </a:cubicBezTo>
                <a:cubicBezTo>
                  <a:pt x="2827" y="2082"/>
                  <a:pt x="2827" y="2082"/>
                  <a:pt x="2827" y="2009"/>
                </a:cubicBezTo>
                <a:close/>
                <a:moveTo>
                  <a:pt x="2633" y="2041"/>
                </a:moveTo>
                <a:cubicBezTo>
                  <a:pt x="2633" y="2041"/>
                  <a:pt x="2633" y="2041"/>
                  <a:pt x="2633" y="2041"/>
                </a:cubicBezTo>
                <a:cubicBezTo>
                  <a:pt x="2633" y="2049"/>
                  <a:pt x="2633" y="2049"/>
                  <a:pt x="2633" y="2049"/>
                </a:cubicBezTo>
                <a:cubicBezTo>
                  <a:pt x="2639" y="2050"/>
                  <a:pt x="2640" y="2053"/>
                  <a:pt x="2640" y="2055"/>
                </a:cubicBezTo>
                <a:cubicBezTo>
                  <a:pt x="2640" y="2057"/>
                  <a:pt x="2639" y="2060"/>
                  <a:pt x="2639" y="2062"/>
                </a:cubicBezTo>
                <a:cubicBezTo>
                  <a:pt x="2639" y="2065"/>
                  <a:pt x="2639" y="2067"/>
                  <a:pt x="2639" y="2069"/>
                </a:cubicBezTo>
                <a:cubicBezTo>
                  <a:pt x="2639" y="2079"/>
                  <a:pt x="2645" y="2082"/>
                  <a:pt x="2653" y="2082"/>
                </a:cubicBezTo>
                <a:cubicBezTo>
                  <a:pt x="2653" y="2082"/>
                  <a:pt x="2653" y="2082"/>
                  <a:pt x="2657" y="2082"/>
                </a:cubicBezTo>
                <a:cubicBezTo>
                  <a:pt x="2657" y="2082"/>
                  <a:pt x="2657" y="2082"/>
                  <a:pt x="2657" y="2073"/>
                </a:cubicBezTo>
                <a:cubicBezTo>
                  <a:pt x="2657" y="2073"/>
                  <a:pt x="2657" y="2073"/>
                  <a:pt x="2656" y="2073"/>
                </a:cubicBezTo>
                <a:cubicBezTo>
                  <a:pt x="2652" y="2073"/>
                  <a:pt x="2651" y="2071"/>
                  <a:pt x="2651" y="2067"/>
                </a:cubicBezTo>
                <a:cubicBezTo>
                  <a:pt x="2651" y="2066"/>
                  <a:pt x="2651" y="2064"/>
                  <a:pt x="2651" y="2062"/>
                </a:cubicBezTo>
                <a:cubicBezTo>
                  <a:pt x="2651" y="2061"/>
                  <a:pt x="2651" y="2059"/>
                  <a:pt x="2651" y="2056"/>
                </a:cubicBezTo>
                <a:cubicBezTo>
                  <a:pt x="2651" y="2049"/>
                  <a:pt x="2648" y="2046"/>
                  <a:pt x="2643" y="2045"/>
                </a:cubicBezTo>
                <a:cubicBezTo>
                  <a:pt x="2643" y="2045"/>
                  <a:pt x="2643" y="2045"/>
                  <a:pt x="2643" y="2045"/>
                </a:cubicBezTo>
                <a:cubicBezTo>
                  <a:pt x="2648" y="2044"/>
                  <a:pt x="2651" y="2041"/>
                  <a:pt x="2651" y="2034"/>
                </a:cubicBezTo>
                <a:cubicBezTo>
                  <a:pt x="2651" y="2031"/>
                  <a:pt x="2651" y="2029"/>
                  <a:pt x="2651" y="2028"/>
                </a:cubicBezTo>
                <a:cubicBezTo>
                  <a:pt x="2651" y="2026"/>
                  <a:pt x="2651" y="2024"/>
                  <a:pt x="2651" y="2023"/>
                </a:cubicBezTo>
                <a:cubicBezTo>
                  <a:pt x="2651" y="2019"/>
                  <a:pt x="2652" y="2017"/>
                  <a:pt x="2656" y="2017"/>
                </a:cubicBezTo>
                <a:cubicBezTo>
                  <a:pt x="2656" y="2017"/>
                  <a:pt x="2656" y="2017"/>
                  <a:pt x="2657" y="2017"/>
                </a:cubicBezTo>
                <a:cubicBezTo>
                  <a:pt x="2657" y="2017"/>
                  <a:pt x="2657" y="2017"/>
                  <a:pt x="2657" y="2008"/>
                </a:cubicBezTo>
                <a:cubicBezTo>
                  <a:pt x="2657" y="2008"/>
                  <a:pt x="2657" y="2008"/>
                  <a:pt x="2653" y="2008"/>
                </a:cubicBezTo>
                <a:cubicBezTo>
                  <a:pt x="2644" y="2008"/>
                  <a:pt x="2639" y="2012"/>
                  <a:pt x="2639" y="2020"/>
                </a:cubicBezTo>
                <a:cubicBezTo>
                  <a:pt x="2639" y="2023"/>
                  <a:pt x="2639" y="2025"/>
                  <a:pt x="2639" y="2028"/>
                </a:cubicBezTo>
                <a:cubicBezTo>
                  <a:pt x="2639" y="2030"/>
                  <a:pt x="2640" y="2033"/>
                  <a:pt x="2640" y="2035"/>
                </a:cubicBezTo>
                <a:cubicBezTo>
                  <a:pt x="2640" y="2037"/>
                  <a:pt x="2639" y="2041"/>
                  <a:pt x="2633" y="2041"/>
                </a:cubicBezTo>
                <a:close/>
                <a:moveTo>
                  <a:pt x="2688" y="2049"/>
                </a:moveTo>
                <a:cubicBezTo>
                  <a:pt x="2688" y="2049"/>
                  <a:pt x="2688" y="2049"/>
                  <a:pt x="2688" y="2049"/>
                </a:cubicBezTo>
                <a:cubicBezTo>
                  <a:pt x="2688" y="2041"/>
                  <a:pt x="2688" y="2041"/>
                  <a:pt x="2688" y="2041"/>
                </a:cubicBezTo>
                <a:cubicBezTo>
                  <a:pt x="2682" y="2041"/>
                  <a:pt x="2681" y="2037"/>
                  <a:pt x="2681" y="2035"/>
                </a:cubicBezTo>
                <a:cubicBezTo>
                  <a:pt x="2681" y="2033"/>
                  <a:pt x="2681" y="2030"/>
                  <a:pt x="2682" y="2028"/>
                </a:cubicBezTo>
                <a:cubicBezTo>
                  <a:pt x="2682" y="2025"/>
                  <a:pt x="2682" y="2023"/>
                  <a:pt x="2682" y="2020"/>
                </a:cubicBezTo>
                <a:cubicBezTo>
                  <a:pt x="2682" y="2012"/>
                  <a:pt x="2677" y="2008"/>
                  <a:pt x="2668" y="2008"/>
                </a:cubicBezTo>
                <a:cubicBezTo>
                  <a:pt x="2668" y="2008"/>
                  <a:pt x="2668" y="2008"/>
                  <a:pt x="2664" y="2008"/>
                </a:cubicBezTo>
                <a:cubicBezTo>
                  <a:pt x="2664" y="2008"/>
                  <a:pt x="2664" y="2008"/>
                  <a:pt x="2664" y="2017"/>
                </a:cubicBezTo>
                <a:cubicBezTo>
                  <a:pt x="2664" y="2017"/>
                  <a:pt x="2664" y="2017"/>
                  <a:pt x="2665" y="2017"/>
                </a:cubicBezTo>
                <a:cubicBezTo>
                  <a:pt x="2669" y="2017"/>
                  <a:pt x="2670" y="2019"/>
                  <a:pt x="2670" y="2023"/>
                </a:cubicBezTo>
                <a:cubicBezTo>
                  <a:pt x="2670" y="2024"/>
                  <a:pt x="2670" y="2026"/>
                  <a:pt x="2670" y="2028"/>
                </a:cubicBezTo>
                <a:cubicBezTo>
                  <a:pt x="2670" y="2029"/>
                  <a:pt x="2670" y="2031"/>
                  <a:pt x="2670" y="2034"/>
                </a:cubicBezTo>
                <a:cubicBezTo>
                  <a:pt x="2670" y="2041"/>
                  <a:pt x="2672" y="2044"/>
                  <a:pt x="2678" y="2045"/>
                </a:cubicBezTo>
                <a:cubicBezTo>
                  <a:pt x="2678" y="2045"/>
                  <a:pt x="2678" y="2045"/>
                  <a:pt x="2678" y="2045"/>
                </a:cubicBezTo>
                <a:cubicBezTo>
                  <a:pt x="2672" y="2046"/>
                  <a:pt x="2670" y="2049"/>
                  <a:pt x="2670" y="2056"/>
                </a:cubicBezTo>
                <a:cubicBezTo>
                  <a:pt x="2670" y="2059"/>
                  <a:pt x="2670" y="2061"/>
                  <a:pt x="2670" y="2062"/>
                </a:cubicBezTo>
                <a:cubicBezTo>
                  <a:pt x="2670" y="2064"/>
                  <a:pt x="2670" y="2066"/>
                  <a:pt x="2670" y="2067"/>
                </a:cubicBezTo>
                <a:cubicBezTo>
                  <a:pt x="2670" y="2071"/>
                  <a:pt x="2669" y="2073"/>
                  <a:pt x="2665" y="2073"/>
                </a:cubicBezTo>
                <a:cubicBezTo>
                  <a:pt x="2665" y="2073"/>
                  <a:pt x="2665" y="2073"/>
                  <a:pt x="2664" y="2073"/>
                </a:cubicBezTo>
                <a:cubicBezTo>
                  <a:pt x="2664" y="2073"/>
                  <a:pt x="2664" y="2073"/>
                  <a:pt x="2664" y="2082"/>
                </a:cubicBezTo>
                <a:cubicBezTo>
                  <a:pt x="2664" y="2082"/>
                  <a:pt x="2664" y="2082"/>
                  <a:pt x="2668" y="2082"/>
                </a:cubicBezTo>
                <a:cubicBezTo>
                  <a:pt x="2676" y="2082"/>
                  <a:pt x="2682" y="2079"/>
                  <a:pt x="2682" y="2069"/>
                </a:cubicBezTo>
                <a:cubicBezTo>
                  <a:pt x="2682" y="2067"/>
                  <a:pt x="2682" y="2065"/>
                  <a:pt x="2682" y="2062"/>
                </a:cubicBezTo>
                <a:cubicBezTo>
                  <a:pt x="2681" y="2060"/>
                  <a:pt x="2681" y="2057"/>
                  <a:pt x="2681" y="2055"/>
                </a:cubicBezTo>
                <a:cubicBezTo>
                  <a:pt x="2681" y="2053"/>
                  <a:pt x="2682" y="2050"/>
                  <a:pt x="2688" y="2049"/>
                </a:cubicBezTo>
                <a:close/>
                <a:moveTo>
                  <a:pt x="2871" y="2082"/>
                </a:moveTo>
                <a:cubicBezTo>
                  <a:pt x="2864" y="2082"/>
                  <a:pt x="2857" y="2079"/>
                  <a:pt x="2853" y="2073"/>
                </a:cubicBezTo>
                <a:cubicBezTo>
                  <a:pt x="2849" y="2067"/>
                  <a:pt x="2847" y="2058"/>
                  <a:pt x="2847" y="2045"/>
                </a:cubicBezTo>
                <a:cubicBezTo>
                  <a:pt x="2847" y="2032"/>
                  <a:pt x="2849" y="2023"/>
                  <a:pt x="2853" y="2016"/>
                </a:cubicBezTo>
                <a:cubicBezTo>
                  <a:pt x="2858" y="2009"/>
                  <a:pt x="2864" y="2006"/>
                  <a:pt x="2873" y="2006"/>
                </a:cubicBezTo>
                <a:cubicBezTo>
                  <a:pt x="2890" y="2006"/>
                  <a:pt x="2898" y="2018"/>
                  <a:pt x="2898" y="2044"/>
                </a:cubicBezTo>
                <a:cubicBezTo>
                  <a:pt x="2898" y="2056"/>
                  <a:pt x="2895" y="2066"/>
                  <a:pt x="2890" y="2073"/>
                </a:cubicBezTo>
                <a:cubicBezTo>
                  <a:pt x="2886" y="2079"/>
                  <a:pt x="2879" y="2082"/>
                  <a:pt x="2871" y="2082"/>
                </a:cubicBezTo>
                <a:close/>
                <a:moveTo>
                  <a:pt x="2873" y="2015"/>
                </a:moveTo>
                <a:cubicBezTo>
                  <a:pt x="2863" y="2015"/>
                  <a:pt x="2859" y="2026"/>
                  <a:pt x="2859" y="2045"/>
                </a:cubicBezTo>
                <a:cubicBezTo>
                  <a:pt x="2859" y="2064"/>
                  <a:pt x="2863" y="2073"/>
                  <a:pt x="2872" y="2073"/>
                </a:cubicBezTo>
                <a:cubicBezTo>
                  <a:pt x="2881" y="2073"/>
                  <a:pt x="2885" y="2064"/>
                  <a:pt x="2885" y="2045"/>
                </a:cubicBezTo>
                <a:cubicBezTo>
                  <a:pt x="2885" y="2025"/>
                  <a:pt x="2881" y="2015"/>
                  <a:pt x="2873" y="2015"/>
                </a:cubicBezTo>
                <a:close/>
                <a:moveTo>
                  <a:pt x="2941" y="2082"/>
                </a:moveTo>
                <a:cubicBezTo>
                  <a:pt x="2934" y="2082"/>
                  <a:pt x="2928" y="2079"/>
                  <a:pt x="2924" y="2073"/>
                </a:cubicBezTo>
                <a:cubicBezTo>
                  <a:pt x="2919" y="2067"/>
                  <a:pt x="2917" y="2058"/>
                  <a:pt x="2917" y="2045"/>
                </a:cubicBezTo>
                <a:cubicBezTo>
                  <a:pt x="2917" y="2032"/>
                  <a:pt x="2919" y="2023"/>
                  <a:pt x="2924" y="2016"/>
                </a:cubicBezTo>
                <a:cubicBezTo>
                  <a:pt x="2928" y="2009"/>
                  <a:pt x="2935" y="2006"/>
                  <a:pt x="2944" y="2006"/>
                </a:cubicBezTo>
                <a:cubicBezTo>
                  <a:pt x="2960" y="2006"/>
                  <a:pt x="2968" y="2018"/>
                  <a:pt x="2968" y="2044"/>
                </a:cubicBezTo>
                <a:cubicBezTo>
                  <a:pt x="2968" y="2056"/>
                  <a:pt x="2966" y="2066"/>
                  <a:pt x="2961" y="2073"/>
                </a:cubicBezTo>
                <a:cubicBezTo>
                  <a:pt x="2956" y="2079"/>
                  <a:pt x="2950" y="2082"/>
                  <a:pt x="2941" y="2082"/>
                </a:cubicBezTo>
                <a:close/>
                <a:moveTo>
                  <a:pt x="2943" y="2015"/>
                </a:moveTo>
                <a:cubicBezTo>
                  <a:pt x="2934" y="2015"/>
                  <a:pt x="2929" y="2026"/>
                  <a:pt x="2929" y="2045"/>
                </a:cubicBezTo>
                <a:cubicBezTo>
                  <a:pt x="2929" y="2064"/>
                  <a:pt x="2933" y="2073"/>
                  <a:pt x="2942" y="2073"/>
                </a:cubicBezTo>
                <a:cubicBezTo>
                  <a:pt x="2951" y="2073"/>
                  <a:pt x="2955" y="2064"/>
                  <a:pt x="2955" y="2045"/>
                </a:cubicBezTo>
                <a:cubicBezTo>
                  <a:pt x="2955" y="2025"/>
                  <a:pt x="2951" y="2015"/>
                  <a:pt x="2943" y="2015"/>
                </a:cubicBezTo>
                <a:close/>
                <a:moveTo>
                  <a:pt x="3015" y="2009"/>
                </a:moveTo>
                <a:cubicBezTo>
                  <a:pt x="3015" y="2009"/>
                  <a:pt x="3015" y="2009"/>
                  <a:pt x="3015" y="2009"/>
                </a:cubicBezTo>
                <a:cubicBezTo>
                  <a:pt x="3010" y="2009"/>
                  <a:pt x="3010" y="2009"/>
                  <a:pt x="3010" y="2009"/>
                </a:cubicBezTo>
                <a:cubicBezTo>
                  <a:pt x="3007" y="2010"/>
                  <a:pt x="3006" y="2012"/>
                  <a:pt x="3004" y="2012"/>
                </a:cubicBezTo>
                <a:cubicBezTo>
                  <a:pt x="3002" y="2014"/>
                  <a:pt x="3001" y="2014"/>
                  <a:pt x="2998" y="2015"/>
                </a:cubicBezTo>
                <a:cubicBezTo>
                  <a:pt x="2997" y="2017"/>
                  <a:pt x="2995" y="2017"/>
                  <a:pt x="2993" y="2018"/>
                </a:cubicBezTo>
                <a:cubicBezTo>
                  <a:pt x="2991" y="2019"/>
                  <a:pt x="2990" y="2020"/>
                  <a:pt x="2987" y="2020"/>
                </a:cubicBezTo>
                <a:cubicBezTo>
                  <a:pt x="2987" y="2020"/>
                  <a:pt x="2987" y="2020"/>
                  <a:pt x="2987" y="2030"/>
                </a:cubicBezTo>
                <a:cubicBezTo>
                  <a:pt x="2990" y="2029"/>
                  <a:pt x="2993" y="2028"/>
                  <a:pt x="2996" y="2027"/>
                </a:cubicBezTo>
                <a:cubicBezTo>
                  <a:pt x="2998" y="2026"/>
                  <a:pt x="3001" y="2025"/>
                  <a:pt x="3003" y="2023"/>
                </a:cubicBezTo>
                <a:cubicBezTo>
                  <a:pt x="3003" y="2023"/>
                  <a:pt x="3003" y="2023"/>
                  <a:pt x="3003" y="2082"/>
                </a:cubicBezTo>
                <a:cubicBezTo>
                  <a:pt x="3003" y="2082"/>
                  <a:pt x="3003" y="2082"/>
                  <a:pt x="3015" y="2082"/>
                </a:cubicBezTo>
                <a:cubicBezTo>
                  <a:pt x="3015" y="2082"/>
                  <a:pt x="3015" y="2082"/>
                  <a:pt x="3015" y="2009"/>
                </a:cubicBezTo>
                <a:close/>
                <a:moveTo>
                  <a:pt x="3061" y="2009"/>
                </a:moveTo>
                <a:cubicBezTo>
                  <a:pt x="3061" y="2009"/>
                  <a:pt x="3061" y="2009"/>
                  <a:pt x="3061" y="2009"/>
                </a:cubicBezTo>
                <a:cubicBezTo>
                  <a:pt x="3056" y="2009"/>
                  <a:pt x="3056" y="2009"/>
                  <a:pt x="3056" y="2009"/>
                </a:cubicBezTo>
                <a:cubicBezTo>
                  <a:pt x="3054" y="2010"/>
                  <a:pt x="3053" y="2012"/>
                  <a:pt x="3050" y="2012"/>
                </a:cubicBezTo>
                <a:cubicBezTo>
                  <a:pt x="3049" y="2014"/>
                  <a:pt x="3047" y="2014"/>
                  <a:pt x="3045" y="2015"/>
                </a:cubicBezTo>
                <a:cubicBezTo>
                  <a:pt x="3044" y="2017"/>
                  <a:pt x="3042" y="2017"/>
                  <a:pt x="3040" y="2018"/>
                </a:cubicBezTo>
                <a:cubicBezTo>
                  <a:pt x="3038" y="2019"/>
                  <a:pt x="3037" y="2020"/>
                  <a:pt x="3034" y="2020"/>
                </a:cubicBezTo>
                <a:cubicBezTo>
                  <a:pt x="3034" y="2020"/>
                  <a:pt x="3034" y="2020"/>
                  <a:pt x="3034" y="2030"/>
                </a:cubicBezTo>
                <a:cubicBezTo>
                  <a:pt x="3037" y="2029"/>
                  <a:pt x="3040" y="2028"/>
                  <a:pt x="3042" y="2027"/>
                </a:cubicBezTo>
                <a:cubicBezTo>
                  <a:pt x="3045" y="2026"/>
                  <a:pt x="3047" y="2025"/>
                  <a:pt x="3050" y="2023"/>
                </a:cubicBezTo>
                <a:cubicBezTo>
                  <a:pt x="3050" y="2023"/>
                  <a:pt x="3050" y="2023"/>
                  <a:pt x="3050" y="2082"/>
                </a:cubicBezTo>
                <a:cubicBezTo>
                  <a:pt x="3050" y="2082"/>
                  <a:pt x="3050" y="2082"/>
                  <a:pt x="3061" y="2082"/>
                </a:cubicBezTo>
                <a:cubicBezTo>
                  <a:pt x="3061" y="2082"/>
                  <a:pt x="3061" y="2082"/>
                  <a:pt x="3061" y="2009"/>
                </a:cubicBezTo>
                <a:close/>
                <a:moveTo>
                  <a:pt x="3107" y="2009"/>
                </a:moveTo>
                <a:cubicBezTo>
                  <a:pt x="3107" y="2009"/>
                  <a:pt x="3107" y="2009"/>
                  <a:pt x="3107" y="2009"/>
                </a:cubicBezTo>
                <a:cubicBezTo>
                  <a:pt x="3103" y="2009"/>
                  <a:pt x="3103" y="2009"/>
                  <a:pt x="3103" y="2009"/>
                </a:cubicBezTo>
                <a:cubicBezTo>
                  <a:pt x="3100" y="2010"/>
                  <a:pt x="3099" y="2012"/>
                  <a:pt x="3097" y="2012"/>
                </a:cubicBezTo>
                <a:cubicBezTo>
                  <a:pt x="3095" y="2014"/>
                  <a:pt x="3093" y="2014"/>
                  <a:pt x="3092" y="2015"/>
                </a:cubicBezTo>
                <a:cubicBezTo>
                  <a:pt x="3090" y="2016"/>
                  <a:pt x="3088" y="2017"/>
                  <a:pt x="3086" y="2017"/>
                </a:cubicBezTo>
                <a:cubicBezTo>
                  <a:pt x="3085" y="2018"/>
                  <a:pt x="3082" y="2019"/>
                  <a:pt x="3081" y="2020"/>
                </a:cubicBezTo>
                <a:cubicBezTo>
                  <a:pt x="3081" y="2020"/>
                  <a:pt x="3081" y="2020"/>
                  <a:pt x="3081" y="2030"/>
                </a:cubicBezTo>
                <a:cubicBezTo>
                  <a:pt x="3084" y="2029"/>
                  <a:pt x="3087" y="2028"/>
                  <a:pt x="3089" y="2027"/>
                </a:cubicBezTo>
                <a:cubicBezTo>
                  <a:pt x="3091" y="2026"/>
                  <a:pt x="3094" y="2025"/>
                  <a:pt x="3095" y="2023"/>
                </a:cubicBezTo>
                <a:cubicBezTo>
                  <a:pt x="3095" y="2023"/>
                  <a:pt x="3095" y="2023"/>
                  <a:pt x="3095" y="2082"/>
                </a:cubicBezTo>
                <a:cubicBezTo>
                  <a:pt x="3095" y="2082"/>
                  <a:pt x="3095" y="2082"/>
                  <a:pt x="3107" y="2082"/>
                </a:cubicBezTo>
                <a:cubicBezTo>
                  <a:pt x="3107" y="2082"/>
                  <a:pt x="3107" y="2082"/>
                  <a:pt x="3107" y="2009"/>
                </a:cubicBezTo>
                <a:close/>
                <a:moveTo>
                  <a:pt x="2916" y="1973"/>
                </a:moveTo>
                <a:cubicBezTo>
                  <a:pt x="2909" y="1973"/>
                  <a:pt x="2902" y="1970"/>
                  <a:pt x="2898" y="1964"/>
                </a:cubicBezTo>
                <a:cubicBezTo>
                  <a:pt x="2894" y="1958"/>
                  <a:pt x="2892" y="1949"/>
                  <a:pt x="2892" y="1937"/>
                </a:cubicBezTo>
                <a:cubicBezTo>
                  <a:pt x="2892" y="1924"/>
                  <a:pt x="2894" y="1914"/>
                  <a:pt x="2898" y="1908"/>
                </a:cubicBezTo>
                <a:cubicBezTo>
                  <a:pt x="2903" y="1901"/>
                  <a:pt x="2909" y="1897"/>
                  <a:pt x="2918" y="1897"/>
                </a:cubicBezTo>
                <a:cubicBezTo>
                  <a:pt x="2934" y="1897"/>
                  <a:pt x="2942" y="1910"/>
                  <a:pt x="2942" y="1935"/>
                </a:cubicBezTo>
                <a:cubicBezTo>
                  <a:pt x="2942" y="1948"/>
                  <a:pt x="2940" y="1957"/>
                  <a:pt x="2935" y="1964"/>
                </a:cubicBezTo>
                <a:cubicBezTo>
                  <a:pt x="2931" y="1970"/>
                  <a:pt x="2924" y="1973"/>
                  <a:pt x="2916" y="1973"/>
                </a:cubicBezTo>
                <a:close/>
                <a:moveTo>
                  <a:pt x="2917" y="1907"/>
                </a:moveTo>
                <a:cubicBezTo>
                  <a:pt x="2908" y="1907"/>
                  <a:pt x="2904" y="1917"/>
                  <a:pt x="2904" y="1937"/>
                </a:cubicBezTo>
                <a:cubicBezTo>
                  <a:pt x="2904" y="1955"/>
                  <a:pt x="2908" y="1964"/>
                  <a:pt x="2917" y="1964"/>
                </a:cubicBezTo>
                <a:cubicBezTo>
                  <a:pt x="2925" y="1964"/>
                  <a:pt x="2930" y="1955"/>
                  <a:pt x="2930" y="1936"/>
                </a:cubicBezTo>
                <a:cubicBezTo>
                  <a:pt x="2930" y="1916"/>
                  <a:pt x="2925" y="1907"/>
                  <a:pt x="2917" y="1907"/>
                </a:cubicBezTo>
                <a:close/>
                <a:moveTo>
                  <a:pt x="2990" y="1900"/>
                </a:moveTo>
                <a:cubicBezTo>
                  <a:pt x="2990" y="1900"/>
                  <a:pt x="2990" y="1900"/>
                  <a:pt x="2990" y="1900"/>
                </a:cubicBezTo>
                <a:cubicBezTo>
                  <a:pt x="2985" y="1900"/>
                  <a:pt x="2985" y="1900"/>
                  <a:pt x="2985" y="1900"/>
                </a:cubicBezTo>
                <a:cubicBezTo>
                  <a:pt x="2983" y="1901"/>
                  <a:pt x="2981" y="1903"/>
                  <a:pt x="2979" y="1903"/>
                </a:cubicBezTo>
                <a:cubicBezTo>
                  <a:pt x="2978" y="1905"/>
                  <a:pt x="2975" y="1906"/>
                  <a:pt x="2974" y="1906"/>
                </a:cubicBezTo>
                <a:cubicBezTo>
                  <a:pt x="2972" y="1907"/>
                  <a:pt x="2970" y="1908"/>
                  <a:pt x="2969" y="1908"/>
                </a:cubicBezTo>
                <a:cubicBezTo>
                  <a:pt x="2967" y="1909"/>
                  <a:pt x="2965" y="1910"/>
                  <a:pt x="2963" y="1911"/>
                </a:cubicBezTo>
                <a:cubicBezTo>
                  <a:pt x="2963" y="1911"/>
                  <a:pt x="2963" y="1911"/>
                  <a:pt x="2963" y="1921"/>
                </a:cubicBezTo>
                <a:cubicBezTo>
                  <a:pt x="2966" y="1920"/>
                  <a:pt x="2969" y="1919"/>
                  <a:pt x="2971" y="1918"/>
                </a:cubicBezTo>
                <a:cubicBezTo>
                  <a:pt x="2974" y="1917"/>
                  <a:pt x="2976" y="1916"/>
                  <a:pt x="2978" y="1914"/>
                </a:cubicBezTo>
                <a:cubicBezTo>
                  <a:pt x="2978" y="1914"/>
                  <a:pt x="2978" y="1914"/>
                  <a:pt x="2978" y="1973"/>
                </a:cubicBezTo>
                <a:cubicBezTo>
                  <a:pt x="2978" y="1973"/>
                  <a:pt x="2978" y="1973"/>
                  <a:pt x="2990" y="1973"/>
                </a:cubicBezTo>
                <a:cubicBezTo>
                  <a:pt x="2990" y="1973"/>
                  <a:pt x="2990" y="1973"/>
                  <a:pt x="2990" y="1900"/>
                </a:cubicBezTo>
                <a:close/>
                <a:moveTo>
                  <a:pt x="3037" y="1900"/>
                </a:moveTo>
                <a:cubicBezTo>
                  <a:pt x="3037" y="1900"/>
                  <a:pt x="3037" y="1900"/>
                  <a:pt x="3037" y="1900"/>
                </a:cubicBezTo>
                <a:cubicBezTo>
                  <a:pt x="3032" y="1900"/>
                  <a:pt x="3032" y="1900"/>
                  <a:pt x="3032" y="1900"/>
                </a:cubicBezTo>
                <a:cubicBezTo>
                  <a:pt x="3030" y="1901"/>
                  <a:pt x="3029" y="1903"/>
                  <a:pt x="3026" y="1903"/>
                </a:cubicBezTo>
                <a:cubicBezTo>
                  <a:pt x="3025" y="1905"/>
                  <a:pt x="3023" y="1906"/>
                  <a:pt x="3021" y="1906"/>
                </a:cubicBezTo>
                <a:cubicBezTo>
                  <a:pt x="3020" y="1908"/>
                  <a:pt x="3018" y="1908"/>
                  <a:pt x="3016" y="1909"/>
                </a:cubicBezTo>
                <a:cubicBezTo>
                  <a:pt x="3014" y="1910"/>
                  <a:pt x="3013" y="1911"/>
                  <a:pt x="3010" y="1911"/>
                </a:cubicBezTo>
                <a:cubicBezTo>
                  <a:pt x="3010" y="1911"/>
                  <a:pt x="3010" y="1911"/>
                  <a:pt x="3010" y="1921"/>
                </a:cubicBezTo>
                <a:cubicBezTo>
                  <a:pt x="3013" y="1920"/>
                  <a:pt x="3016" y="1919"/>
                  <a:pt x="3018" y="1918"/>
                </a:cubicBezTo>
                <a:cubicBezTo>
                  <a:pt x="3021" y="1917"/>
                  <a:pt x="3023" y="1916"/>
                  <a:pt x="3026" y="1914"/>
                </a:cubicBezTo>
                <a:cubicBezTo>
                  <a:pt x="3026" y="1914"/>
                  <a:pt x="3026" y="1914"/>
                  <a:pt x="3026" y="1973"/>
                </a:cubicBezTo>
                <a:cubicBezTo>
                  <a:pt x="3026" y="1973"/>
                  <a:pt x="3026" y="1973"/>
                  <a:pt x="3037" y="1973"/>
                </a:cubicBezTo>
                <a:cubicBezTo>
                  <a:pt x="3037" y="1973"/>
                  <a:pt x="3037" y="1973"/>
                  <a:pt x="3037" y="1900"/>
                </a:cubicBezTo>
                <a:close/>
                <a:moveTo>
                  <a:pt x="3084" y="1900"/>
                </a:moveTo>
                <a:cubicBezTo>
                  <a:pt x="3084" y="1900"/>
                  <a:pt x="3084" y="1900"/>
                  <a:pt x="3084" y="1900"/>
                </a:cubicBezTo>
                <a:cubicBezTo>
                  <a:pt x="3079" y="1900"/>
                  <a:pt x="3079" y="1900"/>
                  <a:pt x="3079" y="1900"/>
                </a:cubicBezTo>
                <a:cubicBezTo>
                  <a:pt x="3077" y="1901"/>
                  <a:pt x="3076" y="1903"/>
                  <a:pt x="3074" y="1903"/>
                </a:cubicBezTo>
                <a:cubicBezTo>
                  <a:pt x="3072" y="1905"/>
                  <a:pt x="3070" y="1906"/>
                  <a:pt x="3068" y="1906"/>
                </a:cubicBezTo>
                <a:cubicBezTo>
                  <a:pt x="3066" y="1908"/>
                  <a:pt x="3065" y="1908"/>
                  <a:pt x="3063" y="1909"/>
                </a:cubicBezTo>
                <a:cubicBezTo>
                  <a:pt x="3061" y="1910"/>
                  <a:pt x="3059" y="1911"/>
                  <a:pt x="3057" y="1911"/>
                </a:cubicBezTo>
                <a:cubicBezTo>
                  <a:pt x="3057" y="1911"/>
                  <a:pt x="3057" y="1911"/>
                  <a:pt x="3057" y="1921"/>
                </a:cubicBezTo>
                <a:cubicBezTo>
                  <a:pt x="3060" y="1920"/>
                  <a:pt x="3063" y="1919"/>
                  <a:pt x="3066" y="1918"/>
                </a:cubicBezTo>
                <a:cubicBezTo>
                  <a:pt x="3068" y="1917"/>
                  <a:pt x="3071" y="1916"/>
                  <a:pt x="3072" y="1914"/>
                </a:cubicBezTo>
                <a:cubicBezTo>
                  <a:pt x="3072" y="1914"/>
                  <a:pt x="3072" y="1914"/>
                  <a:pt x="3072" y="1973"/>
                </a:cubicBezTo>
                <a:cubicBezTo>
                  <a:pt x="3072" y="1973"/>
                  <a:pt x="3072" y="1973"/>
                  <a:pt x="3084" y="1973"/>
                </a:cubicBezTo>
                <a:cubicBezTo>
                  <a:pt x="3084" y="1973"/>
                  <a:pt x="3084" y="1973"/>
                  <a:pt x="3084" y="1900"/>
                </a:cubicBezTo>
                <a:close/>
                <a:moveTo>
                  <a:pt x="3131" y="1900"/>
                </a:moveTo>
                <a:cubicBezTo>
                  <a:pt x="3131" y="1900"/>
                  <a:pt x="3131" y="1900"/>
                  <a:pt x="3131" y="1900"/>
                </a:cubicBezTo>
                <a:cubicBezTo>
                  <a:pt x="3126" y="1900"/>
                  <a:pt x="3126" y="1900"/>
                  <a:pt x="3126" y="1900"/>
                </a:cubicBezTo>
                <a:cubicBezTo>
                  <a:pt x="3124" y="1901"/>
                  <a:pt x="3123" y="1903"/>
                  <a:pt x="3120" y="1903"/>
                </a:cubicBezTo>
                <a:cubicBezTo>
                  <a:pt x="3119" y="1905"/>
                  <a:pt x="3117" y="1906"/>
                  <a:pt x="3115" y="1906"/>
                </a:cubicBezTo>
                <a:cubicBezTo>
                  <a:pt x="3114" y="1908"/>
                  <a:pt x="3111" y="1908"/>
                  <a:pt x="3110" y="1909"/>
                </a:cubicBezTo>
                <a:cubicBezTo>
                  <a:pt x="3108" y="1910"/>
                  <a:pt x="3106" y="1911"/>
                  <a:pt x="3104" y="1911"/>
                </a:cubicBezTo>
                <a:cubicBezTo>
                  <a:pt x="3104" y="1911"/>
                  <a:pt x="3104" y="1911"/>
                  <a:pt x="3104" y="1921"/>
                </a:cubicBezTo>
                <a:cubicBezTo>
                  <a:pt x="3107" y="1920"/>
                  <a:pt x="3110" y="1919"/>
                  <a:pt x="3112" y="1918"/>
                </a:cubicBezTo>
                <a:cubicBezTo>
                  <a:pt x="3115" y="1917"/>
                  <a:pt x="3117" y="1916"/>
                  <a:pt x="3120" y="1914"/>
                </a:cubicBezTo>
                <a:cubicBezTo>
                  <a:pt x="3120" y="1914"/>
                  <a:pt x="3120" y="1914"/>
                  <a:pt x="3120" y="1973"/>
                </a:cubicBezTo>
                <a:cubicBezTo>
                  <a:pt x="3120" y="1973"/>
                  <a:pt x="3120" y="1973"/>
                  <a:pt x="3131" y="1973"/>
                </a:cubicBezTo>
                <a:cubicBezTo>
                  <a:pt x="3131" y="1973"/>
                  <a:pt x="3131" y="1973"/>
                  <a:pt x="3131" y="1900"/>
                </a:cubicBezTo>
                <a:close/>
                <a:moveTo>
                  <a:pt x="3254" y="1900"/>
                </a:moveTo>
                <a:cubicBezTo>
                  <a:pt x="3254" y="1900"/>
                  <a:pt x="3254" y="1900"/>
                  <a:pt x="3254" y="1900"/>
                </a:cubicBezTo>
                <a:cubicBezTo>
                  <a:pt x="3249" y="1900"/>
                  <a:pt x="3249" y="1900"/>
                  <a:pt x="3249" y="1900"/>
                </a:cubicBezTo>
                <a:cubicBezTo>
                  <a:pt x="3247" y="1901"/>
                  <a:pt x="3246" y="1903"/>
                  <a:pt x="3243" y="1903"/>
                </a:cubicBezTo>
                <a:cubicBezTo>
                  <a:pt x="3242" y="1905"/>
                  <a:pt x="3240" y="1906"/>
                  <a:pt x="3238" y="1906"/>
                </a:cubicBezTo>
                <a:cubicBezTo>
                  <a:pt x="3237" y="1908"/>
                  <a:pt x="3235" y="1908"/>
                  <a:pt x="3233" y="1909"/>
                </a:cubicBezTo>
                <a:cubicBezTo>
                  <a:pt x="3231" y="1910"/>
                  <a:pt x="3230" y="1911"/>
                  <a:pt x="3227" y="1911"/>
                </a:cubicBezTo>
                <a:cubicBezTo>
                  <a:pt x="3227" y="1911"/>
                  <a:pt x="3227" y="1911"/>
                  <a:pt x="3227" y="1921"/>
                </a:cubicBezTo>
                <a:cubicBezTo>
                  <a:pt x="3230" y="1920"/>
                  <a:pt x="3233" y="1919"/>
                  <a:pt x="3236" y="1918"/>
                </a:cubicBezTo>
                <a:cubicBezTo>
                  <a:pt x="3238" y="1917"/>
                  <a:pt x="3240" y="1916"/>
                  <a:pt x="3243" y="1914"/>
                </a:cubicBezTo>
                <a:cubicBezTo>
                  <a:pt x="3243" y="1914"/>
                  <a:pt x="3243" y="1914"/>
                  <a:pt x="3243" y="1973"/>
                </a:cubicBezTo>
                <a:cubicBezTo>
                  <a:pt x="3243" y="1973"/>
                  <a:pt x="3243" y="1973"/>
                  <a:pt x="3254" y="1973"/>
                </a:cubicBezTo>
                <a:cubicBezTo>
                  <a:pt x="3254" y="1973"/>
                  <a:pt x="3254" y="1973"/>
                  <a:pt x="3254" y="1900"/>
                </a:cubicBezTo>
                <a:close/>
                <a:moveTo>
                  <a:pt x="3302" y="1900"/>
                </a:moveTo>
                <a:cubicBezTo>
                  <a:pt x="3302" y="1900"/>
                  <a:pt x="3302" y="1900"/>
                  <a:pt x="3302" y="1900"/>
                </a:cubicBezTo>
                <a:cubicBezTo>
                  <a:pt x="3297" y="1900"/>
                  <a:pt x="3297" y="1900"/>
                  <a:pt x="3297" y="1900"/>
                </a:cubicBezTo>
                <a:cubicBezTo>
                  <a:pt x="3295" y="1901"/>
                  <a:pt x="3293" y="1903"/>
                  <a:pt x="3291" y="1903"/>
                </a:cubicBezTo>
                <a:cubicBezTo>
                  <a:pt x="3290" y="1905"/>
                  <a:pt x="3287" y="1906"/>
                  <a:pt x="3286" y="1906"/>
                </a:cubicBezTo>
                <a:cubicBezTo>
                  <a:pt x="3285" y="1908"/>
                  <a:pt x="3282" y="1908"/>
                  <a:pt x="3281" y="1909"/>
                </a:cubicBezTo>
                <a:cubicBezTo>
                  <a:pt x="3279" y="1910"/>
                  <a:pt x="3277" y="1911"/>
                  <a:pt x="3275" y="1911"/>
                </a:cubicBezTo>
                <a:cubicBezTo>
                  <a:pt x="3275" y="1911"/>
                  <a:pt x="3275" y="1911"/>
                  <a:pt x="3275" y="1921"/>
                </a:cubicBezTo>
                <a:cubicBezTo>
                  <a:pt x="3278" y="1920"/>
                  <a:pt x="3281" y="1919"/>
                  <a:pt x="3283" y="1918"/>
                </a:cubicBezTo>
                <a:cubicBezTo>
                  <a:pt x="3286" y="1917"/>
                  <a:pt x="3288" y="1916"/>
                  <a:pt x="3290" y="1914"/>
                </a:cubicBezTo>
                <a:cubicBezTo>
                  <a:pt x="3290" y="1914"/>
                  <a:pt x="3290" y="1914"/>
                  <a:pt x="3290" y="1973"/>
                </a:cubicBezTo>
                <a:cubicBezTo>
                  <a:pt x="3290" y="1973"/>
                  <a:pt x="3290" y="1973"/>
                  <a:pt x="3302" y="1973"/>
                </a:cubicBezTo>
                <a:cubicBezTo>
                  <a:pt x="3302" y="1973"/>
                  <a:pt x="3302" y="1973"/>
                  <a:pt x="3302" y="1900"/>
                </a:cubicBezTo>
                <a:close/>
                <a:moveTo>
                  <a:pt x="3350" y="1900"/>
                </a:moveTo>
                <a:cubicBezTo>
                  <a:pt x="3350" y="1900"/>
                  <a:pt x="3350" y="1900"/>
                  <a:pt x="3350" y="1900"/>
                </a:cubicBezTo>
                <a:cubicBezTo>
                  <a:pt x="3345" y="1900"/>
                  <a:pt x="3345" y="1900"/>
                  <a:pt x="3345" y="1900"/>
                </a:cubicBezTo>
                <a:cubicBezTo>
                  <a:pt x="3343" y="1901"/>
                  <a:pt x="3341" y="1903"/>
                  <a:pt x="3339" y="1903"/>
                </a:cubicBezTo>
                <a:cubicBezTo>
                  <a:pt x="3337" y="1905"/>
                  <a:pt x="3336" y="1906"/>
                  <a:pt x="3334" y="1906"/>
                </a:cubicBezTo>
                <a:cubicBezTo>
                  <a:pt x="3332" y="1908"/>
                  <a:pt x="3330" y="1908"/>
                  <a:pt x="3328" y="1909"/>
                </a:cubicBezTo>
                <a:cubicBezTo>
                  <a:pt x="3326" y="1910"/>
                  <a:pt x="3325" y="1911"/>
                  <a:pt x="3322" y="1911"/>
                </a:cubicBezTo>
                <a:cubicBezTo>
                  <a:pt x="3322" y="1911"/>
                  <a:pt x="3322" y="1911"/>
                  <a:pt x="3322" y="1921"/>
                </a:cubicBezTo>
                <a:cubicBezTo>
                  <a:pt x="3325" y="1920"/>
                  <a:pt x="3328" y="1919"/>
                  <a:pt x="3331" y="1918"/>
                </a:cubicBezTo>
                <a:cubicBezTo>
                  <a:pt x="3334" y="1917"/>
                  <a:pt x="3336" y="1916"/>
                  <a:pt x="3338" y="1914"/>
                </a:cubicBezTo>
                <a:cubicBezTo>
                  <a:pt x="3338" y="1914"/>
                  <a:pt x="3338" y="1914"/>
                  <a:pt x="3338" y="1973"/>
                </a:cubicBezTo>
                <a:cubicBezTo>
                  <a:pt x="3338" y="1973"/>
                  <a:pt x="3338" y="1973"/>
                  <a:pt x="3350" y="1973"/>
                </a:cubicBezTo>
                <a:cubicBezTo>
                  <a:pt x="3350" y="1973"/>
                  <a:pt x="3350" y="1973"/>
                  <a:pt x="3350" y="1900"/>
                </a:cubicBezTo>
                <a:close/>
                <a:moveTo>
                  <a:pt x="3396" y="1900"/>
                </a:moveTo>
                <a:cubicBezTo>
                  <a:pt x="3396" y="1900"/>
                  <a:pt x="3396" y="1900"/>
                  <a:pt x="3396" y="1900"/>
                </a:cubicBezTo>
                <a:cubicBezTo>
                  <a:pt x="3392" y="1900"/>
                  <a:pt x="3392" y="1900"/>
                  <a:pt x="3392" y="1900"/>
                </a:cubicBezTo>
                <a:cubicBezTo>
                  <a:pt x="3390" y="1901"/>
                  <a:pt x="3388" y="1903"/>
                  <a:pt x="3386" y="1903"/>
                </a:cubicBezTo>
                <a:cubicBezTo>
                  <a:pt x="3385" y="1905"/>
                  <a:pt x="3383" y="1906"/>
                  <a:pt x="3381" y="1906"/>
                </a:cubicBezTo>
                <a:cubicBezTo>
                  <a:pt x="3379" y="1907"/>
                  <a:pt x="3378" y="1908"/>
                  <a:pt x="3375" y="1908"/>
                </a:cubicBezTo>
                <a:cubicBezTo>
                  <a:pt x="3374" y="1909"/>
                  <a:pt x="3372" y="1910"/>
                  <a:pt x="3370" y="1911"/>
                </a:cubicBezTo>
                <a:cubicBezTo>
                  <a:pt x="3370" y="1911"/>
                  <a:pt x="3370" y="1911"/>
                  <a:pt x="3370" y="1921"/>
                </a:cubicBezTo>
                <a:cubicBezTo>
                  <a:pt x="3373" y="1920"/>
                  <a:pt x="3376" y="1919"/>
                  <a:pt x="3378" y="1918"/>
                </a:cubicBezTo>
                <a:cubicBezTo>
                  <a:pt x="3380" y="1917"/>
                  <a:pt x="3383" y="1916"/>
                  <a:pt x="3385" y="1914"/>
                </a:cubicBezTo>
                <a:cubicBezTo>
                  <a:pt x="3385" y="1914"/>
                  <a:pt x="3385" y="1914"/>
                  <a:pt x="3385" y="1973"/>
                </a:cubicBezTo>
                <a:cubicBezTo>
                  <a:pt x="3385" y="1973"/>
                  <a:pt x="3385" y="1973"/>
                  <a:pt x="3396" y="1973"/>
                </a:cubicBezTo>
                <a:cubicBezTo>
                  <a:pt x="3396" y="1973"/>
                  <a:pt x="3396" y="1973"/>
                  <a:pt x="3396" y="1900"/>
                </a:cubicBezTo>
                <a:close/>
                <a:moveTo>
                  <a:pt x="3152" y="1932"/>
                </a:moveTo>
                <a:cubicBezTo>
                  <a:pt x="3152" y="1932"/>
                  <a:pt x="3152" y="1932"/>
                  <a:pt x="3152" y="1932"/>
                </a:cubicBezTo>
                <a:cubicBezTo>
                  <a:pt x="3152" y="1940"/>
                  <a:pt x="3152" y="1940"/>
                  <a:pt x="3152" y="1940"/>
                </a:cubicBezTo>
                <a:cubicBezTo>
                  <a:pt x="3158" y="1941"/>
                  <a:pt x="3159" y="1944"/>
                  <a:pt x="3159" y="1946"/>
                </a:cubicBezTo>
                <a:cubicBezTo>
                  <a:pt x="3159" y="1948"/>
                  <a:pt x="3159" y="1951"/>
                  <a:pt x="3159" y="1953"/>
                </a:cubicBezTo>
                <a:cubicBezTo>
                  <a:pt x="3158" y="1956"/>
                  <a:pt x="3158" y="1958"/>
                  <a:pt x="3158" y="1960"/>
                </a:cubicBezTo>
                <a:cubicBezTo>
                  <a:pt x="3158" y="1970"/>
                  <a:pt x="3164" y="1973"/>
                  <a:pt x="3172" y="1973"/>
                </a:cubicBezTo>
                <a:cubicBezTo>
                  <a:pt x="3172" y="1973"/>
                  <a:pt x="3172" y="1973"/>
                  <a:pt x="3176" y="1973"/>
                </a:cubicBezTo>
                <a:cubicBezTo>
                  <a:pt x="3176" y="1973"/>
                  <a:pt x="3176" y="1973"/>
                  <a:pt x="3176" y="1964"/>
                </a:cubicBezTo>
                <a:cubicBezTo>
                  <a:pt x="3176" y="1964"/>
                  <a:pt x="3176" y="1964"/>
                  <a:pt x="3175" y="1964"/>
                </a:cubicBezTo>
                <a:cubicBezTo>
                  <a:pt x="3171" y="1964"/>
                  <a:pt x="3170" y="1962"/>
                  <a:pt x="3170" y="1958"/>
                </a:cubicBezTo>
                <a:cubicBezTo>
                  <a:pt x="3170" y="1957"/>
                  <a:pt x="3170" y="1955"/>
                  <a:pt x="3170" y="1953"/>
                </a:cubicBezTo>
                <a:cubicBezTo>
                  <a:pt x="3170" y="1952"/>
                  <a:pt x="3170" y="1950"/>
                  <a:pt x="3170" y="1947"/>
                </a:cubicBezTo>
                <a:cubicBezTo>
                  <a:pt x="3170" y="1940"/>
                  <a:pt x="3168" y="1937"/>
                  <a:pt x="3162" y="1936"/>
                </a:cubicBezTo>
                <a:cubicBezTo>
                  <a:pt x="3162" y="1936"/>
                  <a:pt x="3162" y="1936"/>
                  <a:pt x="3162" y="1936"/>
                </a:cubicBezTo>
                <a:cubicBezTo>
                  <a:pt x="3168" y="1935"/>
                  <a:pt x="3170" y="1932"/>
                  <a:pt x="3170" y="1925"/>
                </a:cubicBezTo>
                <a:cubicBezTo>
                  <a:pt x="3170" y="1922"/>
                  <a:pt x="3170" y="1920"/>
                  <a:pt x="3170" y="1919"/>
                </a:cubicBezTo>
                <a:cubicBezTo>
                  <a:pt x="3170" y="1917"/>
                  <a:pt x="3170" y="1915"/>
                  <a:pt x="3170" y="1914"/>
                </a:cubicBezTo>
                <a:cubicBezTo>
                  <a:pt x="3170" y="1910"/>
                  <a:pt x="3171" y="1908"/>
                  <a:pt x="3175" y="1908"/>
                </a:cubicBezTo>
                <a:cubicBezTo>
                  <a:pt x="3175" y="1908"/>
                  <a:pt x="3175" y="1908"/>
                  <a:pt x="3176" y="1908"/>
                </a:cubicBezTo>
                <a:cubicBezTo>
                  <a:pt x="3176" y="1908"/>
                  <a:pt x="3176" y="1908"/>
                  <a:pt x="3176" y="1899"/>
                </a:cubicBezTo>
                <a:cubicBezTo>
                  <a:pt x="3176" y="1899"/>
                  <a:pt x="3176" y="1899"/>
                  <a:pt x="3172" y="1899"/>
                </a:cubicBezTo>
                <a:cubicBezTo>
                  <a:pt x="3163" y="1899"/>
                  <a:pt x="3158" y="1903"/>
                  <a:pt x="3158" y="1911"/>
                </a:cubicBezTo>
                <a:cubicBezTo>
                  <a:pt x="3158" y="1914"/>
                  <a:pt x="3158" y="1916"/>
                  <a:pt x="3158" y="1919"/>
                </a:cubicBezTo>
                <a:cubicBezTo>
                  <a:pt x="3159" y="1921"/>
                  <a:pt x="3159" y="1924"/>
                  <a:pt x="3159" y="1926"/>
                </a:cubicBezTo>
                <a:cubicBezTo>
                  <a:pt x="3159" y="1928"/>
                  <a:pt x="3158" y="1932"/>
                  <a:pt x="3152" y="1932"/>
                </a:cubicBezTo>
                <a:close/>
                <a:moveTo>
                  <a:pt x="3207" y="1940"/>
                </a:moveTo>
                <a:cubicBezTo>
                  <a:pt x="3207" y="1940"/>
                  <a:pt x="3207" y="1940"/>
                  <a:pt x="3207" y="1940"/>
                </a:cubicBezTo>
                <a:cubicBezTo>
                  <a:pt x="3207" y="1932"/>
                  <a:pt x="3207" y="1932"/>
                  <a:pt x="3207" y="1932"/>
                </a:cubicBezTo>
                <a:cubicBezTo>
                  <a:pt x="3200" y="1932"/>
                  <a:pt x="3200" y="1928"/>
                  <a:pt x="3200" y="1926"/>
                </a:cubicBezTo>
                <a:cubicBezTo>
                  <a:pt x="3200" y="1924"/>
                  <a:pt x="3200" y="1921"/>
                  <a:pt x="3200" y="1919"/>
                </a:cubicBezTo>
                <a:cubicBezTo>
                  <a:pt x="3201" y="1916"/>
                  <a:pt x="3201" y="1914"/>
                  <a:pt x="3201" y="1911"/>
                </a:cubicBezTo>
                <a:cubicBezTo>
                  <a:pt x="3201" y="1903"/>
                  <a:pt x="3196" y="1899"/>
                  <a:pt x="3186" y="1899"/>
                </a:cubicBezTo>
                <a:cubicBezTo>
                  <a:pt x="3186" y="1899"/>
                  <a:pt x="3186" y="1899"/>
                  <a:pt x="3183" y="1899"/>
                </a:cubicBezTo>
                <a:cubicBezTo>
                  <a:pt x="3183" y="1899"/>
                  <a:pt x="3183" y="1899"/>
                  <a:pt x="3183" y="1908"/>
                </a:cubicBezTo>
                <a:cubicBezTo>
                  <a:pt x="3183" y="1908"/>
                  <a:pt x="3183" y="1908"/>
                  <a:pt x="3184" y="1908"/>
                </a:cubicBezTo>
                <a:cubicBezTo>
                  <a:pt x="3188" y="1908"/>
                  <a:pt x="3189" y="1910"/>
                  <a:pt x="3189" y="1914"/>
                </a:cubicBezTo>
                <a:cubicBezTo>
                  <a:pt x="3189" y="1915"/>
                  <a:pt x="3189" y="1917"/>
                  <a:pt x="3189" y="1919"/>
                </a:cubicBezTo>
                <a:cubicBezTo>
                  <a:pt x="3189" y="1920"/>
                  <a:pt x="3189" y="1922"/>
                  <a:pt x="3189" y="1925"/>
                </a:cubicBezTo>
                <a:cubicBezTo>
                  <a:pt x="3189" y="1932"/>
                  <a:pt x="3191" y="1935"/>
                  <a:pt x="3197" y="1936"/>
                </a:cubicBezTo>
                <a:cubicBezTo>
                  <a:pt x="3197" y="1936"/>
                  <a:pt x="3197" y="1936"/>
                  <a:pt x="3197" y="1936"/>
                </a:cubicBezTo>
                <a:cubicBezTo>
                  <a:pt x="3191" y="1937"/>
                  <a:pt x="3189" y="1940"/>
                  <a:pt x="3189" y="1947"/>
                </a:cubicBezTo>
                <a:cubicBezTo>
                  <a:pt x="3189" y="1950"/>
                  <a:pt x="3189" y="1952"/>
                  <a:pt x="3189" y="1953"/>
                </a:cubicBezTo>
                <a:cubicBezTo>
                  <a:pt x="3189" y="1955"/>
                  <a:pt x="3189" y="1957"/>
                  <a:pt x="3189" y="1958"/>
                </a:cubicBezTo>
                <a:cubicBezTo>
                  <a:pt x="3189" y="1962"/>
                  <a:pt x="3188" y="1964"/>
                  <a:pt x="3184" y="1964"/>
                </a:cubicBezTo>
                <a:cubicBezTo>
                  <a:pt x="3184" y="1964"/>
                  <a:pt x="3184" y="1964"/>
                  <a:pt x="3183" y="1964"/>
                </a:cubicBezTo>
                <a:cubicBezTo>
                  <a:pt x="3183" y="1964"/>
                  <a:pt x="3183" y="1964"/>
                  <a:pt x="3183" y="1973"/>
                </a:cubicBezTo>
                <a:cubicBezTo>
                  <a:pt x="3183" y="1973"/>
                  <a:pt x="3183" y="1973"/>
                  <a:pt x="3186" y="1973"/>
                </a:cubicBezTo>
                <a:cubicBezTo>
                  <a:pt x="3195" y="1973"/>
                  <a:pt x="3201" y="1970"/>
                  <a:pt x="3201" y="1960"/>
                </a:cubicBezTo>
                <a:cubicBezTo>
                  <a:pt x="3201" y="1958"/>
                  <a:pt x="3201" y="1956"/>
                  <a:pt x="3200" y="1953"/>
                </a:cubicBezTo>
                <a:cubicBezTo>
                  <a:pt x="3200" y="1951"/>
                  <a:pt x="3200" y="1948"/>
                  <a:pt x="3200" y="1946"/>
                </a:cubicBezTo>
                <a:cubicBezTo>
                  <a:pt x="3200" y="1944"/>
                  <a:pt x="3200" y="1941"/>
                  <a:pt x="3207" y="1940"/>
                </a:cubicBezTo>
                <a:close/>
                <a:moveTo>
                  <a:pt x="3534" y="1932"/>
                </a:moveTo>
                <a:cubicBezTo>
                  <a:pt x="3534" y="1932"/>
                  <a:pt x="3534" y="1932"/>
                  <a:pt x="3534" y="1932"/>
                </a:cubicBezTo>
                <a:cubicBezTo>
                  <a:pt x="3534" y="1940"/>
                  <a:pt x="3534" y="1940"/>
                  <a:pt x="3534" y="1940"/>
                </a:cubicBezTo>
                <a:cubicBezTo>
                  <a:pt x="3540" y="1941"/>
                  <a:pt x="3541" y="1944"/>
                  <a:pt x="3541" y="1946"/>
                </a:cubicBezTo>
                <a:cubicBezTo>
                  <a:pt x="3541" y="1948"/>
                  <a:pt x="3541" y="1951"/>
                  <a:pt x="3541" y="1953"/>
                </a:cubicBezTo>
                <a:cubicBezTo>
                  <a:pt x="3540" y="1956"/>
                  <a:pt x="3540" y="1958"/>
                  <a:pt x="3540" y="1960"/>
                </a:cubicBezTo>
                <a:cubicBezTo>
                  <a:pt x="3540" y="1970"/>
                  <a:pt x="3546" y="1973"/>
                  <a:pt x="3554" y="1973"/>
                </a:cubicBezTo>
                <a:cubicBezTo>
                  <a:pt x="3554" y="1973"/>
                  <a:pt x="3554" y="1973"/>
                  <a:pt x="3558" y="1973"/>
                </a:cubicBezTo>
                <a:cubicBezTo>
                  <a:pt x="3558" y="1973"/>
                  <a:pt x="3558" y="1973"/>
                  <a:pt x="3558" y="1964"/>
                </a:cubicBezTo>
                <a:cubicBezTo>
                  <a:pt x="3558" y="1964"/>
                  <a:pt x="3558" y="1964"/>
                  <a:pt x="3557" y="1964"/>
                </a:cubicBezTo>
                <a:cubicBezTo>
                  <a:pt x="3553" y="1964"/>
                  <a:pt x="3552" y="1962"/>
                  <a:pt x="3552" y="1958"/>
                </a:cubicBezTo>
                <a:cubicBezTo>
                  <a:pt x="3552" y="1957"/>
                  <a:pt x="3552" y="1955"/>
                  <a:pt x="3552" y="1953"/>
                </a:cubicBezTo>
                <a:cubicBezTo>
                  <a:pt x="3552" y="1952"/>
                  <a:pt x="3553" y="1950"/>
                  <a:pt x="3553" y="1947"/>
                </a:cubicBezTo>
                <a:cubicBezTo>
                  <a:pt x="3553" y="1940"/>
                  <a:pt x="3550" y="1937"/>
                  <a:pt x="3544" y="1936"/>
                </a:cubicBezTo>
                <a:cubicBezTo>
                  <a:pt x="3544" y="1936"/>
                  <a:pt x="3544" y="1936"/>
                  <a:pt x="3544" y="1936"/>
                </a:cubicBezTo>
                <a:cubicBezTo>
                  <a:pt x="3550" y="1935"/>
                  <a:pt x="3553" y="1932"/>
                  <a:pt x="3553" y="1925"/>
                </a:cubicBezTo>
                <a:cubicBezTo>
                  <a:pt x="3553" y="1922"/>
                  <a:pt x="3552" y="1920"/>
                  <a:pt x="3552" y="1919"/>
                </a:cubicBezTo>
                <a:cubicBezTo>
                  <a:pt x="3552" y="1917"/>
                  <a:pt x="3552" y="1915"/>
                  <a:pt x="3552" y="1914"/>
                </a:cubicBezTo>
                <a:cubicBezTo>
                  <a:pt x="3552" y="1910"/>
                  <a:pt x="3553" y="1908"/>
                  <a:pt x="3557" y="1908"/>
                </a:cubicBezTo>
                <a:cubicBezTo>
                  <a:pt x="3557" y="1908"/>
                  <a:pt x="3557" y="1908"/>
                  <a:pt x="3558" y="1908"/>
                </a:cubicBezTo>
                <a:cubicBezTo>
                  <a:pt x="3558" y="1908"/>
                  <a:pt x="3558" y="1908"/>
                  <a:pt x="3558" y="1899"/>
                </a:cubicBezTo>
                <a:cubicBezTo>
                  <a:pt x="3558" y="1899"/>
                  <a:pt x="3558" y="1899"/>
                  <a:pt x="3554" y="1899"/>
                </a:cubicBezTo>
                <a:cubicBezTo>
                  <a:pt x="3546" y="1899"/>
                  <a:pt x="3540" y="1903"/>
                  <a:pt x="3540" y="1911"/>
                </a:cubicBezTo>
                <a:cubicBezTo>
                  <a:pt x="3540" y="1914"/>
                  <a:pt x="3540" y="1916"/>
                  <a:pt x="3540" y="1919"/>
                </a:cubicBezTo>
                <a:cubicBezTo>
                  <a:pt x="3541" y="1921"/>
                  <a:pt x="3541" y="1924"/>
                  <a:pt x="3541" y="1926"/>
                </a:cubicBezTo>
                <a:cubicBezTo>
                  <a:pt x="3541" y="1928"/>
                  <a:pt x="3540" y="1932"/>
                  <a:pt x="3534" y="1932"/>
                </a:cubicBezTo>
                <a:close/>
                <a:moveTo>
                  <a:pt x="3589" y="1940"/>
                </a:moveTo>
                <a:cubicBezTo>
                  <a:pt x="3589" y="1940"/>
                  <a:pt x="3589" y="1940"/>
                  <a:pt x="3589" y="1940"/>
                </a:cubicBezTo>
                <a:cubicBezTo>
                  <a:pt x="3589" y="1932"/>
                  <a:pt x="3589" y="1932"/>
                  <a:pt x="3589" y="1932"/>
                </a:cubicBezTo>
                <a:cubicBezTo>
                  <a:pt x="3583" y="1932"/>
                  <a:pt x="3582" y="1928"/>
                  <a:pt x="3582" y="1926"/>
                </a:cubicBezTo>
                <a:cubicBezTo>
                  <a:pt x="3582" y="1924"/>
                  <a:pt x="3582" y="1921"/>
                  <a:pt x="3583" y="1919"/>
                </a:cubicBezTo>
                <a:cubicBezTo>
                  <a:pt x="3583" y="1916"/>
                  <a:pt x="3583" y="1914"/>
                  <a:pt x="3583" y="1911"/>
                </a:cubicBezTo>
                <a:cubicBezTo>
                  <a:pt x="3583" y="1903"/>
                  <a:pt x="3578" y="1899"/>
                  <a:pt x="3569" y="1899"/>
                </a:cubicBezTo>
                <a:cubicBezTo>
                  <a:pt x="3569" y="1899"/>
                  <a:pt x="3569" y="1899"/>
                  <a:pt x="3565" y="1899"/>
                </a:cubicBezTo>
                <a:cubicBezTo>
                  <a:pt x="3565" y="1899"/>
                  <a:pt x="3565" y="1899"/>
                  <a:pt x="3565" y="1908"/>
                </a:cubicBezTo>
                <a:cubicBezTo>
                  <a:pt x="3565" y="1908"/>
                  <a:pt x="3565" y="1908"/>
                  <a:pt x="3566" y="1908"/>
                </a:cubicBezTo>
                <a:cubicBezTo>
                  <a:pt x="3570" y="1908"/>
                  <a:pt x="3571" y="1910"/>
                  <a:pt x="3571" y="1914"/>
                </a:cubicBezTo>
                <a:cubicBezTo>
                  <a:pt x="3571" y="1915"/>
                  <a:pt x="3571" y="1917"/>
                  <a:pt x="3571" y="1919"/>
                </a:cubicBezTo>
                <a:cubicBezTo>
                  <a:pt x="3571" y="1920"/>
                  <a:pt x="3571" y="1922"/>
                  <a:pt x="3571" y="1925"/>
                </a:cubicBezTo>
                <a:cubicBezTo>
                  <a:pt x="3571" y="1932"/>
                  <a:pt x="3573" y="1935"/>
                  <a:pt x="3579" y="1936"/>
                </a:cubicBezTo>
                <a:cubicBezTo>
                  <a:pt x="3579" y="1936"/>
                  <a:pt x="3579" y="1936"/>
                  <a:pt x="3579" y="1936"/>
                </a:cubicBezTo>
                <a:cubicBezTo>
                  <a:pt x="3573" y="1937"/>
                  <a:pt x="3571" y="1940"/>
                  <a:pt x="3571" y="1947"/>
                </a:cubicBezTo>
                <a:cubicBezTo>
                  <a:pt x="3571" y="1950"/>
                  <a:pt x="3571" y="1952"/>
                  <a:pt x="3571" y="1953"/>
                </a:cubicBezTo>
                <a:cubicBezTo>
                  <a:pt x="3571" y="1955"/>
                  <a:pt x="3571" y="1957"/>
                  <a:pt x="3571" y="1958"/>
                </a:cubicBezTo>
                <a:cubicBezTo>
                  <a:pt x="3571" y="1962"/>
                  <a:pt x="3570" y="1964"/>
                  <a:pt x="3566" y="1964"/>
                </a:cubicBezTo>
                <a:cubicBezTo>
                  <a:pt x="3566" y="1964"/>
                  <a:pt x="3566" y="1964"/>
                  <a:pt x="3565" y="1964"/>
                </a:cubicBezTo>
                <a:cubicBezTo>
                  <a:pt x="3565" y="1964"/>
                  <a:pt x="3565" y="1964"/>
                  <a:pt x="3565" y="1973"/>
                </a:cubicBezTo>
                <a:cubicBezTo>
                  <a:pt x="3565" y="1973"/>
                  <a:pt x="3565" y="1973"/>
                  <a:pt x="3569" y="1973"/>
                </a:cubicBezTo>
                <a:cubicBezTo>
                  <a:pt x="3577" y="1973"/>
                  <a:pt x="3583" y="1970"/>
                  <a:pt x="3583" y="1960"/>
                </a:cubicBezTo>
                <a:cubicBezTo>
                  <a:pt x="3583" y="1958"/>
                  <a:pt x="3583" y="1956"/>
                  <a:pt x="3583" y="1953"/>
                </a:cubicBezTo>
                <a:cubicBezTo>
                  <a:pt x="3582" y="1951"/>
                  <a:pt x="3582" y="1948"/>
                  <a:pt x="3582" y="1946"/>
                </a:cubicBezTo>
                <a:cubicBezTo>
                  <a:pt x="3582" y="1944"/>
                  <a:pt x="3583" y="1941"/>
                  <a:pt x="3589" y="1940"/>
                </a:cubicBezTo>
                <a:close/>
                <a:moveTo>
                  <a:pt x="3637" y="1900"/>
                </a:moveTo>
                <a:cubicBezTo>
                  <a:pt x="3637" y="1900"/>
                  <a:pt x="3637" y="1900"/>
                  <a:pt x="3637" y="1900"/>
                </a:cubicBezTo>
                <a:cubicBezTo>
                  <a:pt x="3632" y="1900"/>
                  <a:pt x="3632" y="1900"/>
                  <a:pt x="3632" y="1900"/>
                </a:cubicBezTo>
                <a:cubicBezTo>
                  <a:pt x="3629" y="1901"/>
                  <a:pt x="3628" y="1903"/>
                  <a:pt x="3626" y="1903"/>
                </a:cubicBezTo>
                <a:cubicBezTo>
                  <a:pt x="3624" y="1905"/>
                  <a:pt x="3622" y="1906"/>
                  <a:pt x="3621" y="1906"/>
                </a:cubicBezTo>
                <a:cubicBezTo>
                  <a:pt x="3618" y="1907"/>
                  <a:pt x="3617" y="1908"/>
                  <a:pt x="3615" y="1908"/>
                </a:cubicBezTo>
                <a:cubicBezTo>
                  <a:pt x="3613" y="1909"/>
                  <a:pt x="3612" y="1910"/>
                  <a:pt x="3609" y="1911"/>
                </a:cubicBezTo>
                <a:cubicBezTo>
                  <a:pt x="3609" y="1911"/>
                  <a:pt x="3609" y="1911"/>
                  <a:pt x="3609" y="1921"/>
                </a:cubicBezTo>
                <a:cubicBezTo>
                  <a:pt x="3612" y="1920"/>
                  <a:pt x="3615" y="1919"/>
                  <a:pt x="3618" y="1918"/>
                </a:cubicBezTo>
                <a:cubicBezTo>
                  <a:pt x="3621" y="1917"/>
                  <a:pt x="3623" y="1916"/>
                  <a:pt x="3625" y="1914"/>
                </a:cubicBezTo>
                <a:cubicBezTo>
                  <a:pt x="3625" y="1914"/>
                  <a:pt x="3625" y="1914"/>
                  <a:pt x="3625" y="1973"/>
                </a:cubicBezTo>
                <a:cubicBezTo>
                  <a:pt x="3625" y="1973"/>
                  <a:pt x="3625" y="1973"/>
                  <a:pt x="3637" y="1973"/>
                </a:cubicBezTo>
                <a:cubicBezTo>
                  <a:pt x="3637" y="1973"/>
                  <a:pt x="3637" y="1973"/>
                  <a:pt x="3637" y="1900"/>
                </a:cubicBezTo>
                <a:close/>
                <a:moveTo>
                  <a:pt x="3684" y="1900"/>
                </a:moveTo>
                <a:cubicBezTo>
                  <a:pt x="3684" y="1900"/>
                  <a:pt x="3684" y="1900"/>
                  <a:pt x="3684" y="1900"/>
                </a:cubicBezTo>
                <a:cubicBezTo>
                  <a:pt x="3679" y="1900"/>
                  <a:pt x="3679" y="1900"/>
                  <a:pt x="3679" y="1900"/>
                </a:cubicBezTo>
                <a:cubicBezTo>
                  <a:pt x="3677" y="1901"/>
                  <a:pt x="3675" y="1903"/>
                  <a:pt x="3673" y="1903"/>
                </a:cubicBezTo>
                <a:cubicBezTo>
                  <a:pt x="3672" y="1905"/>
                  <a:pt x="3669" y="1906"/>
                  <a:pt x="3668" y="1906"/>
                </a:cubicBezTo>
                <a:cubicBezTo>
                  <a:pt x="3666" y="1908"/>
                  <a:pt x="3664" y="1908"/>
                  <a:pt x="3663" y="1909"/>
                </a:cubicBezTo>
                <a:cubicBezTo>
                  <a:pt x="3661" y="1910"/>
                  <a:pt x="3659" y="1911"/>
                  <a:pt x="3657" y="1911"/>
                </a:cubicBezTo>
                <a:cubicBezTo>
                  <a:pt x="3657" y="1911"/>
                  <a:pt x="3657" y="1911"/>
                  <a:pt x="3657" y="1921"/>
                </a:cubicBezTo>
                <a:cubicBezTo>
                  <a:pt x="3660" y="1920"/>
                  <a:pt x="3663" y="1919"/>
                  <a:pt x="3665" y="1918"/>
                </a:cubicBezTo>
                <a:cubicBezTo>
                  <a:pt x="3668" y="1917"/>
                  <a:pt x="3670" y="1916"/>
                  <a:pt x="3672" y="1914"/>
                </a:cubicBezTo>
                <a:cubicBezTo>
                  <a:pt x="3672" y="1914"/>
                  <a:pt x="3672" y="1914"/>
                  <a:pt x="3672" y="1973"/>
                </a:cubicBezTo>
                <a:cubicBezTo>
                  <a:pt x="3672" y="1973"/>
                  <a:pt x="3672" y="1973"/>
                  <a:pt x="3684" y="1973"/>
                </a:cubicBezTo>
                <a:cubicBezTo>
                  <a:pt x="3684" y="1973"/>
                  <a:pt x="3684" y="1973"/>
                  <a:pt x="3684" y="1900"/>
                </a:cubicBezTo>
                <a:close/>
                <a:moveTo>
                  <a:pt x="3730" y="1900"/>
                </a:moveTo>
                <a:cubicBezTo>
                  <a:pt x="3730" y="1900"/>
                  <a:pt x="3730" y="1900"/>
                  <a:pt x="3730" y="1900"/>
                </a:cubicBezTo>
                <a:cubicBezTo>
                  <a:pt x="3726" y="1900"/>
                  <a:pt x="3726" y="1900"/>
                  <a:pt x="3726" y="1900"/>
                </a:cubicBezTo>
                <a:cubicBezTo>
                  <a:pt x="3724" y="1901"/>
                  <a:pt x="3722" y="1903"/>
                  <a:pt x="3720" y="1903"/>
                </a:cubicBezTo>
                <a:cubicBezTo>
                  <a:pt x="3719" y="1905"/>
                  <a:pt x="3716" y="1906"/>
                  <a:pt x="3715" y="1906"/>
                </a:cubicBezTo>
                <a:cubicBezTo>
                  <a:pt x="3713" y="1908"/>
                  <a:pt x="3711" y="1908"/>
                  <a:pt x="3709" y="1909"/>
                </a:cubicBezTo>
                <a:cubicBezTo>
                  <a:pt x="3708" y="1910"/>
                  <a:pt x="3705" y="1911"/>
                  <a:pt x="3704" y="1911"/>
                </a:cubicBezTo>
                <a:cubicBezTo>
                  <a:pt x="3704" y="1911"/>
                  <a:pt x="3704" y="1911"/>
                  <a:pt x="3704" y="1921"/>
                </a:cubicBezTo>
                <a:cubicBezTo>
                  <a:pt x="3707" y="1920"/>
                  <a:pt x="3710" y="1919"/>
                  <a:pt x="3712" y="1918"/>
                </a:cubicBezTo>
                <a:cubicBezTo>
                  <a:pt x="3714" y="1917"/>
                  <a:pt x="3717" y="1916"/>
                  <a:pt x="3719" y="1914"/>
                </a:cubicBezTo>
                <a:cubicBezTo>
                  <a:pt x="3719" y="1914"/>
                  <a:pt x="3719" y="1914"/>
                  <a:pt x="3719" y="1973"/>
                </a:cubicBezTo>
                <a:cubicBezTo>
                  <a:pt x="3719" y="1973"/>
                  <a:pt x="3719" y="1973"/>
                  <a:pt x="3730" y="1973"/>
                </a:cubicBezTo>
                <a:cubicBezTo>
                  <a:pt x="3730" y="1973"/>
                  <a:pt x="3730" y="1973"/>
                  <a:pt x="3730" y="1900"/>
                </a:cubicBezTo>
                <a:close/>
                <a:moveTo>
                  <a:pt x="3853" y="1900"/>
                </a:moveTo>
                <a:cubicBezTo>
                  <a:pt x="3853" y="1900"/>
                  <a:pt x="3853" y="1900"/>
                  <a:pt x="3853" y="1900"/>
                </a:cubicBezTo>
                <a:cubicBezTo>
                  <a:pt x="3848" y="1900"/>
                  <a:pt x="3848" y="1900"/>
                  <a:pt x="3848" y="1900"/>
                </a:cubicBezTo>
                <a:cubicBezTo>
                  <a:pt x="3846" y="1901"/>
                  <a:pt x="3845" y="1903"/>
                  <a:pt x="3842" y="1903"/>
                </a:cubicBezTo>
                <a:cubicBezTo>
                  <a:pt x="3841" y="1905"/>
                  <a:pt x="3839" y="1906"/>
                  <a:pt x="3837" y="1906"/>
                </a:cubicBezTo>
                <a:cubicBezTo>
                  <a:pt x="3836" y="1908"/>
                  <a:pt x="3834" y="1908"/>
                  <a:pt x="3832" y="1909"/>
                </a:cubicBezTo>
                <a:cubicBezTo>
                  <a:pt x="3830" y="1910"/>
                  <a:pt x="3829" y="1911"/>
                  <a:pt x="3826" y="1911"/>
                </a:cubicBezTo>
                <a:cubicBezTo>
                  <a:pt x="3826" y="1911"/>
                  <a:pt x="3826" y="1911"/>
                  <a:pt x="3826" y="1921"/>
                </a:cubicBezTo>
                <a:cubicBezTo>
                  <a:pt x="3829" y="1920"/>
                  <a:pt x="3832" y="1919"/>
                  <a:pt x="3835" y="1918"/>
                </a:cubicBezTo>
                <a:cubicBezTo>
                  <a:pt x="3837" y="1917"/>
                  <a:pt x="3839" y="1916"/>
                  <a:pt x="3842" y="1914"/>
                </a:cubicBezTo>
                <a:cubicBezTo>
                  <a:pt x="3842" y="1914"/>
                  <a:pt x="3842" y="1914"/>
                  <a:pt x="3842" y="1973"/>
                </a:cubicBezTo>
                <a:cubicBezTo>
                  <a:pt x="3842" y="1973"/>
                  <a:pt x="3842" y="1973"/>
                  <a:pt x="3853" y="1973"/>
                </a:cubicBezTo>
                <a:cubicBezTo>
                  <a:pt x="3853" y="1973"/>
                  <a:pt x="3853" y="1973"/>
                  <a:pt x="3853" y="1900"/>
                </a:cubicBezTo>
                <a:close/>
                <a:moveTo>
                  <a:pt x="3751" y="1932"/>
                </a:moveTo>
                <a:cubicBezTo>
                  <a:pt x="3751" y="1932"/>
                  <a:pt x="3751" y="1932"/>
                  <a:pt x="3751" y="1932"/>
                </a:cubicBezTo>
                <a:cubicBezTo>
                  <a:pt x="3751" y="1940"/>
                  <a:pt x="3751" y="1940"/>
                  <a:pt x="3751" y="1940"/>
                </a:cubicBezTo>
                <a:cubicBezTo>
                  <a:pt x="3757" y="1941"/>
                  <a:pt x="3758" y="1944"/>
                  <a:pt x="3758" y="1946"/>
                </a:cubicBezTo>
                <a:cubicBezTo>
                  <a:pt x="3758" y="1948"/>
                  <a:pt x="3757" y="1951"/>
                  <a:pt x="3757" y="1953"/>
                </a:cubicBezTo>
                <a:cubicBezTo>
                  <a:pt x="3757" y="1956"/>
                  <a:pt x="3757" y="1958"/>
                  <a:pt x="3757" y="1960"/>
                </a:cubicBezTo>
                <a:cubicBezTo>
                  <a:pt x="3757" y="1970"/>
                  <a:pt x="3763" y="1973"/>
                  <a:pt x="3771" y="1973"/>
                </a:cubicBezTo>
                <a:cubicBezTo>
                  <a:pt x="3771" y="1973"/>
                  <a:pt x="3771" y="1973"/>
                  <a:pt x="3775" y="1973"/>
                </a:cubicBezTo>
                <a:cubicBezTo>
                  <a:pt x="3775" y="1973"/>
                  <a:pt x="3775" y="1973"/>
                  <a:pt x="3775" y="1964"/>
                </a:cubicBezTo>
                <a:cubicBezTo>
                  <a:pt x="3775" y="1964"/>
                  <a:pt x="3775" y="1964"/>
                  <a:pt x="3774" y="1964"/>
                </a:cubicBezTo>
                <a:cubicBezTo>
                  <a:pt x="3770" y="1964"/>
                  <a:pt x="3769" y="1962"/>
                  <a:pt x="3769" y="1958"/>
                </a:cubicBezTo>
                <a:cubicBezTo>
                  <a:pt x="3769" y="1957"/>
                  <a:pt x="3769" y="1955"/>
                  <a:pt x="3769" y="1953"/>
                </a:cubicBezTo>
                <a:cubicBezTo>
                  <a:pt x="3769" y="1952"/>
                  <a:pt x="3769" y="1950"/>
                  <a:pt x="3769" y="1947"/>
                </a:cubicBezTo>
                <a:cubicBezTo>
                  <a:pt x="3769" y="1940"/>
                  <a:pt x="3766" y="1937"/>
                  <a:pt x="3761" y="1936"/>
                </a:cubicBezTo>
                <a:cubicBezTo>
                  <a:pt x="3761" y="1936"/>
                  <a:pt x="3761" y="1936"/>
                  <a:pt x="3761" y="1936"/>
                </a:cubicBezTo>
                <a:cubicBezTo>
                  <a:pt x="3766" y="1935"/>
                  <a:pt x="3769" y="1932"/>
                  <a:pt x="3769" y="1925"/>
                </a:cubicBezTo>
                <a:cubicBezTo>
                  <a:pt x="3769" y="1922"/>
                  <a:pt x="3769" y="1920"/>
                  <a:pt x="3769" y="1919"/>
                </a:cubicBezTo>
                <a:cubicBezTo>
                  <a:pt x="3769" y="1917"/>
                  <a:pt x="3769" y="1915"/>
                  <a:pt x="3769" y="1914"/>
                </a:cubicBezTo>
                <a:cubicBezTo>
                  <a:pt x="3769" y="1910"/>
                  <a:pt x="3770" y="1908"/>
                  <a:pt x="3774" y="1908"/>
                </a:cubicBezTo>
                <a:cubicBezTo>
                  <a:pt x="3774" y="1908"/>
                  <a:pt x="3774" y="1908"/>
                  <a:pt x="3775" y="1908"/>
                </a:cubicBezTo>
                <a:cubicBezTo>
                  <a:pt x="3775" y="1908"/>
                  <a:pt x="3775" y="1908"/>
                  <a:pt x="3775" y="1899"/>
                </a:cubicBezTo>
                <a:cubicBezTo>
                  <a:pt x="3775" y="1899"/>
                  <a:pt x="3775" y="1899"/>
                  <a:pt x="3771" y="1899"/>
                </a:cubicBezTo>
                <a:cubicBezTo>
                  <a:pt x="3762" y="1899"/>
                  <a:pt x="3757" y="1903"/>
                  <a:pt x="3757" y="1911"/>
                </a:cubicBezTo>
                <a:cubicBezTo>
                  <a:pt x="3757" y="1914"/>
                  <a:pt x="3757" y="1916"/>
                  <a:pt x="3757" y="1919"/>
                </a:cubicBezTo>
                <a:cubicBezTo>
                  <a:pt x="3757" y="1921"/>
                  <a:pt x="3758" y="1924"/>
                  <a:pt x="3758" y="1926"/>
                </a:cubicBezTo>
                <a:cubicBezTo>
                  <a:pt x="3758" y="1928"/>
                  <a:pt x="3757" y="1932"/>
                  <a:pt x="3751" y="1932"/>
                </a:cubicBezTo>
                <a:close/>
                <a:moveTo>
                  <a:pt x="3806" y="1940"/>
                </a:moveTo>
                <a:cubicBezTo>
                  <a:pt x="3806" y="1940"/>
                  <a:pt x="3806" y="1940"/>
                  <a:pt x="3806" y="1940"/>
                </a:cubicBezTo>
                <a:cubicBezTo>
                  <a:pt x="3806" y="1932"/>
                  <a:pt x="3806" y="1932"/>
                  <a:pt x="3806" y="1932"/>
                </a:cubicBezTo>
                <a:cubicBezTo>
                  <a:pt x="3799" y="1932"/>
                  <a:pt x="3799" y="1928"/>
                  <a:pt x="3799" y="1926"/>
                </a:cubicBezTo>
                <a:cubicBezTo>
                  <a:pt x="3799" y="1924"/>
                  <a:pt x="3799" y="1921"/>
                  <a:pt x="3799" y="1919"/>
                </a:cubicBezTo>
                <a:cubicBezTo>
                  <a:pt x="3800" y="1916"/>
                  <a:pt x="3800" y="1914"/>
                  <a:pt x="3800" y="1911"/>
                </a:cubicBezTo>
                <a:cubicBezTo>
                  <a:pt x="3800" y="1903"/>
                  <a:pt x="3795" y="1899"/>
                  <a:pt x="3785" y="1899"/>
                </a:cubicBezTo>
                <a:cubicBezTo>
                  <a:pt x="3785" y="1899"/>
                  <a:pt x="3785" y="1899"/>
                  <a:pt x="3782" y="1899"/>
                </a:cubicBezTo>
                <a:cubicBezTo>
                  <a:pt x="3782" y="1899"/>
                  <a:pt x="3782" y="1899"/>
                  <a:pt x="3782" y="1908"/>
                </a:cubicBezTo>
                <a:cubicBezTo>
                  <a:pt x="3782" y="1908"/>
                  <a:pt x="3782" y="1908"/>
                  <a:pt x="3783" y="1908"/>
                </a:cubicBezTo>
                <a:cubicBezTo>
                  <a:pt x="3787" y="1908"/>
                  <a:pt x="3788" y="1910"/>
                  <a:pt x="3788" y="1914"/>
                </a:cubicBezTo>
                <a:cubicBezTo>
                  <a:pt x="3788" y="1915"/>
                  <a:pt x="3788" y="1917"/>
                  <a:pt x="3788" y="1919"/>
                </a:cubicBezTo>
                <a:cubicBezTo>
                  <a:pt x="3788" y="1920"/>
                  <a:pt x="3788" y="1922"/>
                  <a:pt x="3788" y="1925"/>
                </a:cubicBezTo>
                <a:cubicBezTo>
                  <a:pt x="3788" y="1932"/>
                  <a:pt x="3790" y="1935"/>
                  <a:pt x="3796" y="1936"/>
                </a:cubicBezTo>
                <a:cubicBezTo>
                  <a:pt x="3796" y="1936"/>
                  <a:pt x="3796" y="1936"/>
                  <a:pt x="3796" y="1936"/>
                </a:cubicBezTo>
                <a:cubicBezTo>
                  <a:pt x="3790" y="1937"/>
                  <a:pt x="3788" y="1940"/>
                  <a:pt x="3788" y="1947"/>
                </a:cubicBezTo>
                <a:cubicBezTo>
                  <a:pt x="3788" y="1950"/>
                  <a:pt x="3788" y="1952"/>
                  <a:pt x="3788" y="1953"/>
                </a:cubicBezTo>
                <a:cubicBezTo>
                  <a:pt x="3788" y="1955"/>
                  <a:pt x="3788" y="1957"/>
                  <a:pt x="3788" y="1958"/>
                </a:cubicBezTo>
                <a:cubicBezTo>
                  <a:pt x="3788" y="1962"/>
                  <a:pt x="3787" y="1964"/>
                  <a:pt x="3783" y="1964"/>
                </a:cubicBezTo>
                <a:cubicBezTo>
                  <a:pt x="3783" y="1964"/>
                  <a:pt x="3783" y="1964"/>
                  <a:pt x="3782" y="1964"/>
                </a:cubicBezTo>
                <a:cubicBezTo>
                  <a:pt x="3782" y="1964"/>
                  <a:pt x="3782" y="1964"/>
                  <a:pt x="3782" y="1973"/>
                </a:cubicBezTo>
                <a:cubicBezTo>
                  <a:pt x="3782" y="1973"/>
                  <a:pt x="3782" y="1973"/>
                  <a:pt x="3785" y="1973"/>
                </a:cubicBezTo>
                <a:cubicBezTo>
                  <a:pt x="3794" y="1973"/>
                  <a:pt x="3800" y="1970"/>
                  <a:pt x="3800" y="1960"/>
                </a:cubicBezTo>
                <a:cubicBezTo>
                  <a:pt x="3800" y="1958"/>
                  <a:pt x="3800" y="1956"/>
                  <a:pt x="3799" y="1953"/>
                </a:cubicBezTo>
                <a:cubicBezTo>
                  <a:pt x="3799" y="1951"/>
                  <a:pt x="3799" y="1948"/>
                  <a:pt x="3799" y="1946"/>
                </a:cubicBezTo>
                <a:cubicBezTo>
                  <a:pt x="3799" y="1944"/>
                  <a:pt x="3799" y="1941"/>
                  <a:pt x="3806" y="1940"/>
                </a:cubicBezTo>
                <a:close/>
                <a:moveTo>
                  <a:pt x="2947" y="1851"/>
                </a:moveTo>
                <a:cubicBezTo>
                  <a:pt x="2947" y="1853"/>
                  <a:pt x="2948" y="1854"/>
                  <a:pt x="2949" y="1856"/>
                </a:cubicBezTo>
                <a:cubicBezTo>
                  <a:pt x="2949" y="1857"/>
                  <a:pt x="2949" y="1859"/>
                  <a:pt x="2950" y="1861"/>
                </a:cubicBezTo>
                <a:cubicBezTo>
                  <a:pt x="2950" y="1862"/>
                  <a:pt x="2950" y="1864"/>
                  <a:pt x="2950" y="1865"/>
                </a:cubicBezTo>
                <a:cubicBezTo>
                  <a:pt x="2951" y="1869"/>
                  <a:pt x="2950" y="1870"/>
                  <a:pt x="2947" y="1870"/>
                </a:cubicBezTo>
                <a:cubicBezTo>
                  <a:pt x="2944" y="1870"/>
                  <a:pt x="2941" y="1870"/>
                  <a:pt x="2938" y="1870"/>
                </a:cubicBezTo>
                <a:cubicBezTo>
                  <a:pt x="2938" y="1870"/>
                  <a:pt x="2937" y="1870"/>
                  <a:pt x="2937" y="1870"/>
                </a:cubicBezTo>
                <a:cubicBezTo>
                  <a:pt x="2935" y="1872"/>
                  <a:pt x="2934" y="1873"/>
                  <a:pt x="2933" y="1874"/>
                </a:cubicBezTo>
                <a:cubicBezTo>
                  <a:pt x="2931" y="1877"/>
                  <a:pt x="2927" y="1877"/>
                  <a:pt x="2925" y="1875"/>
                </a:cubicBezTo>
                <a:cubicBezTo>
                  <a:pt x="2923" y="1873"/>
                  <a:pt x="2922" y="1870"/>
                  <a:pt x="2920" y="1868"/>
                </a:cubicBezTo>
                <a:cubicBezTo>
                  <a:pt x="2920" y="1866"/>
                  <a:pt x="2920" y="1865"/>
                  <a:pt x="2922" y="1863"/>
                </a:cubicBezTo>
                <a:cubicBezTo>
                  <a:pt x="2920" y="1863"/>
                  <a:pt x="2918" y="1863"/>
                  <a:pt x="2916" y="1863"/>
                </a:cubicBezTo>
                <a:cubicBezTo>
                  <a:pt x="2916" y="1865"/>
                  <a:pt x="2915" y="1867"/>
                  <a:pt x="2914" y="1869"/>
                </a:cubicBezTo>
                <a:cubicBezTo>
                  <a:pt x="2914" y="1870"/>
                  <a:pt x="2913" y="1870"/>
                  <a:pt x="2913" y="1871"/>
                </a:cubicBezTo>
                <a:cubicBezTo>
                  <a:pt x="2913" y="1874"/>
                  <a:pt x="2912" y="1876"/>
                  <a:pt x="2909" y="1875"/>
                </a:cubicBezTo>
                <a:cubicBezTo>
                  <a:pt x="2906" y="1875"/>
                  <a:pt x="2903" y="1874"/>
                  <a:pt x="2900" y="1873"/>
                </a:cubicBezTo>
                <a:cubicBezTo>
                  <a:pt x="2898" y="1872"/>
                  <a:pt x="2898" y="1871"/>
                  <a:pt x="2898" y="1869"/>
                </a:cubicBezTo>
                <a:cubicBezTo>
                  <a:pt x="2898" y="1868"/>
                  <a:pt x="2898" y="1867"/>
                  <a:pt x="2899" y="1867"/>
                </a:cubicBezTo>
                <a:cubicBezTo>
                  <a:pt x="2896" y="1866"/>
                  <a:pt x="2894" y="1865"/>
                  <a:pt x="2892" y="1864"/>
                </a:cubicBezTo>
                <a:cubicBezTo>
                  <a:pt x="2891" y="1863"/>
                  <a:pt x="2890" y="1861"/>
                  <a:pt x="2889" y="1859"/>
                </a:cubicBezTo>
                <a:cubicBezTo>
                  <a:pt x="2888" y="1857"/>
                  <a:pt x="2888" y="1856"/>
                  <a:pt x="2890" y="1854"/>
                </a:cubicBezTo>
                <a:cubicBezTo>
                  <a:pt x="2893" y="1852"/>
                  <a:pt x="2894" y="1849"/>
                  <a:pt x="2893" y="1845"/>
                </a:cubicBezTo>
                <a:cubicBezTo>
                  <a:pt x="2893" y="1843"/>
                  <a:pt x="2893" y="1841"/>
                  <a:pt x="2893" y="1839"/>
                </a:cubicBezTo>
                <a:cubicBezTo>
                  <a:pt x="2892" y="1839"/>
                  <a:pt x="2890" y="1838"/>
                  <a:pt x="2889" y="1837"/>
                </a:cubicBezTo>
                <a:cubicBezTo>
                  <a:pt x="2888" y="1835"/>
                  <a:pt x="2887" y="1833"/>
                  <a:pt x="2887" y="1832"/>
                </a:cubicBezTo>
                <a:cubicBezTo>
                  <a:pt x="2887" y="1829"/>
                  <a:pt x="2891" y="1826"/>
                  <a:pt x="2893" y="1825"/>
                </a:cubicBezTo>
                <a:cubicBezTo>
                  <a:pt x="2894" y="1826"/>
                  <a:pt x="2894" y="1827"/>
                  <a:pt x="2894" y="1828"/>
                </a:cubicBezTo>
                <a:cubicBezTo>
                  <a:pt x="2894" y="1829"/>
                  <a:pt x="2894" y="1830"/>
                  <a:pt x="2895" y="1831"/>
                </a:cubicBezTo>
                <a:cubicBezTo>
                  <a:pt x="2894" y="1830"/>
                  <a:pt x="2893" y="1830"/>
                  <a:pt x="2893" y="1830"/>
                </a:cubicBezTo>
                <a:cubicBezTo>
                  <a:pt x="2893" y="1832"/>
                  <a:pt x="2892" y="1833"/>
                  <a:pt x="2891" y="1835"/>
                </a:cubicBezTo>
                <a:cubicBezTo>
                  <a:pt x="2893" y="1834"/>
                  <a:pt x="2893" y="1834"/>
                  <a:pt x="2894" y="1834"/>
                </a:cubicBezTo>
                <a:cubicBezTo>
                  <a:pt x="2895" y="1833"/>
                  <a:pt x="2896" y="1832"/>
                  <a:pt x="2896" y="1831"/>
                </a:cubicBezTo>
                <a:cubicBezTo>
                  <a:pt x="2901" y="1824"/>
                  <a:pt x="2907" y="1820"/>
                  <a:pt x="2915" y="1819"/>
                </a:cubicBezTo>
                <a:cubicBezTo>
                  <a:pt x="2918" y="1818"/>
                  <a:pt x="2921" y="1817"/>
                  <a:pt x="2923" y="1814"/>
                </a:cubicBezTo>
                <a:cubicBezTo>
                  <a:pt x="2923" y="1814"/>
                  <a:pt x="2924" y="1813"/>
                  <a:pt x="2924" y="1813"/>
                </a:cubicBezTo>
                <a:cubicBezTo>
                  <a:pt x="2927" y="1813"/>
                  <a:pt x="2929" y="1811"/>
                  <a:pt x="2931" y="1809"/>
                </a:cubicBezTo>
                <a:cubicBezTo>
                  <a:pt x="2938" y="1801"/>
                  <a:pt x="2950" y="1801"/>
                  <a:pt x="2958" y="1808"/>
                </a:cubicBezTo>
                <a:cubicBezTo>
                  <a:pt x="2960" y="1809"/>
                  <a:pt x="2963" y="1811"/>
                  <a:pt x="2965" y="1813"/>
                </a:cubicBezTo>
                <a:cubicBezTo>
                  <a:pt x="2967" y="1815"/>
                  <a:pt x="2968" y="1816"/>
                  <a:pt x="2969" y="1818"/>
                </a:cubicBezTo>
                <a:cubicBezTo>
                  <a:pt x="2970" y="1820"/>
                  <a:pt x="2971" y="1820"/>
                  <a:pt x="2972" y="1819"/>
                </a:cubicBezTo>
                <a:cubicBezTo>
                  <a:pt x="2973" y="1818"/>
                  <a:pt x="2973" y="1817"/>
                  <a:pt x="2974" y="1817"/>
                </a:cubicBezTo>
                <a:cubicBezTo>
                  <a:pt x="2976" y="1814"/>
                  <a:pt x="2979" y="1814"/>
                  <a:pt x="2980" y="1817"/>
                </a:cubicBezTo>
                <a:cubicBezTo>
                  <a:pt x="2982" y="1820"/>
                  <a:pt x="2982" y="1823"/>
                  <a:pt x="2983" y="1826"/>
                </a:cubicBezTo>
                <a:cubicBezTo>
                  <a:pt x="2984" y="1830"/>
                  <a:pt x="2983" y="1835"/>
                  <a:pt x="2982" y="1839"/>
                </a:cubicBezTo>
                <a:cubicBezTo>
                  <a:pt x="2979" y="1845"/>
                  <a:pt x="2975" y="1849"/>
                  <a:pt x="2968" y="1849"/>
                </a:cubicBezTo>
                <a:cubicBezTo>
                  <a:pt x="2967" y="1849"/>
                  <a:pt x="2967" y="1849"/>
                  <a:pt x="2966" y="1849"/>
                </a:cubicBezTo>
                <a:cubicBezTo>
                  <a:pt x="2964" y="1848"/>
                  <a:pt x="2962" y="1849"/>
                  <a:pt x="2962" y="1851"/>
                </a:cubicBezTo>
                <a:cubicBezTo>
                  <a:pt x="2960" y="1856"/>
                  <a:pt x="2955" y="1857"/>
                  <a:pt x="2951" y="1854"/>
                </a:cubicBezTo>
                <a:cubicBezTo>
                  <a:pt x="2950" y="1853"/>
                  <a:pt x="2949" y="1852"/>
                  <a:pt x="2948" y="1851"/>
                </a:cubicBezTo>
                <a:cubicBezTo>
                  <a:pt x="2947" y="1851"/>
                  <a:pt x="2947" y="1851"/>
                  <a:pt x="2947" y="1851"/>
                </a:cubicBezTo>
                <a:close/>
                <a:moveTo>
                  <a:pt x="2942" y="1847"/>
                </a:moveTo>
                <a:cubicBezTo>
                  <a:pt x="2945" y="1848"/>
                  <a:pt x="2949" y="1850"/>
                  <a:pt x="2951" y="1852"/>
                </a:cubicBezTo>
                <a:cubicBezTo>
                  <a:pt x="2953" y="1854"/>
                  <a:pt x="2955" y="1855"/>
                  <a:pt x="2957" y="1854"/>
                </a:cubicBezTo>
                <a:cubicBezTo>
                  <a:pt x="2960" y="1853"/>
                  <a:pt x="2961" y="1851"/>
                  <a:pt x="2961" y="1848"/>
                </a:cubicBezTo>
                <a:cubicBezTo>
                  <a:pt x="2961" y="1848"/>
                  <a:pt x="2960" y="1848"/>
                  <a:pt x="2960" y="1849"/>
                </a:cubicBezTo>
                <a:cubicBezTo>
                  <a:pt x="2960" y="1850"/>
                  <a:pt x="2958" y="1851"/>
                  <a:pt x="2958" y="1852"/>
                </a:cubicBezTo>
                <a:cubicBezTo>
                  <a:pt x="2956" y="1854"/>
                  <a:pt x="2955" y="1853"/>
                  <a:pt x="2955" y="1853"/>
                </a:cubicBezTo>
                <a:cubicBezTo>
                  <a:pt x="2954" y="1853"/>
                  <a:pt x="2953" y="1852"/>
                  <a:pt x="2953" y="1851"/>
                </a:cubicBezTo>
                <a:cubicBezTo>
                  <a:pt x="2953" y="1848"/>
                  <a:pt x="2954" y="1846"/>
                  <a:pt x="2954" y="1845"/>
                </a:cubicBezTo>
                <a:cubicBezTo>
                  <a:pt x="2957" y="1845"/>
                  <a:pt x="2960" y="1846"/>
                  <a:pt x="2964" y="1847"/>
                </a:cubicBezTo>
                <a:cubicBezTo>
                  <a:pt x="2971" y="1848"/>
                  <a:pt x="2977" y="1846"/>
                  <a:pt x="2980" y="1838"/>
                </a:cubicBezTo>
                <a:cubicBezTo>
                  <a:pt x="2982" y="1833"/>
                  <a:pt x="2982" y="1828"/>
                  <a:pt x="2981" y="1823"/>
                </a:cubicBezTo>
                <a:cubicBezTo>
                  <a:pt x="2980" y="1821"/>
                  <a:pt x="2980" y="1820"/>
                  <a:pt x="2979" y="1818"/>
                </a:cubicBezTo>
                <a:cubicBezTo>
                  <a:pt x="2978" y="1816"/>
                  <a:pt x="2977" y="1816"/>
                  <a:pt x="2976" y="1817"/>
                </a:cubicBezTo>
                <a:cubicBezTo>
                  <a:pt x="2974" y="1819"/>
                  <a:pt x="2973" y="1821"/>
                  <a:pt x="2971" y="1821"/>
                </a:cubicBezTo>
                <a:cubicBezTo>
                  <a:pt x="2970" y="1822"/>
                  <a:pt x="2969" y="1822"/>
                  <a:pt x="2969" y="1824"/>
                </a:cubicBezTo>
                <a:cubicBezTo>
                  <a:pt x="2970" y="1827"/>
                  <a:pt x="2969" y="1830"/>
                  <a:pt x="2968" y="1833"/>
                </a:cubicBezTo>
                <a:cubicBezTo>
                  <a:pt x="2968" y="1831"/>
                  <a:pt x="2969" y="1829"/>
                  <a:pt x="2969" y="1828"/>
                </a:cubicBezTo>
                <a:cubicBezTo>
                  <a:pt x="2969" y="1827"/>
                  <a:pt x="2968" y="1826"/>
                  <a:pt x="2968" y="1826"/>
                </a:cubicBezTo>
                <a:cubicBezTo>
                  <a:pt x="2967" y="1826"/>
                  <a:pt x="2967" y="1826"/>
                  <a:pt x="2967" y="1827"/>
                </a:cubicBezTo>
                <a:cubicBezTo>
                  <a:pt x="2966" y="1828"/>
                  <a:pt x="2965" y="1830"/>
                  <a:pt x="2964" y="1831"/>
                </a:cubicBezTo>
                <a:cubicBezTo>
                  <a:pt x="2964" y="1831"/>
                  <a:pt x="2964" y="1831"/>
                  <a:pt x="2964" y="1831"/>
                </a:cubicBezTo>
                <a:cubicBezTo>
                  <a:pt x="2964" y="1829"/>
                  <a:pt x="2965" y="1828"/>
                  <a:pt x="2965" y="1825"/>
                </a:cubicBezTo>
                <a:cubicBezTo>
                  <a:pt x="2964" y="1826"/>
                  <a:pt x="2964" y="1826"/>
                  <a:pt x="2963" y="1827"/>
                </a:cubicBezTo>
                <a:cubicBezTo>
                  <a:pt x="2962" y="1828"/>
                  <a:pt x="2962" y="1828"/>
                  <a:pt x="2962" y="1829"/>
                </a:cubicBezTo>
                <a:cubicBezTo>
                  <a:pt x="2962" y="1826"/>
                  <a:pt x="2962" y="1826"/>
                  <a:pt x="2968" y="1824"/>
                </a:cubicBezTo>
                <a:cubicBezTo>
                  <a:pt x="2968" y="1824"/>
                  <a:pt x="2967" y="1823"/>
                  <a:pt x="2967" y="1823"/>
                </a:cubicBezTo>
                <a:cubicBezTo>
                  <a:pt x="2964" y="1824"/>
                  <a:pt x="2964" y="1822"/>
                  <a:pt x="2963" y="1820"/>
                </a:cubicBezTo>
                <a:cubicBezTo>
                  <a:pt x="2965" y="1820"/>
                  <a:pt x="2966" y="1819"/>
                  <a:pt x="2968" y="1819"/>
                </a:cubicBezTo>
                <a:cubicBezTo>
                  <a:pt x="2966" y="1817"/>
                  <a:pt x="2965" y="1814"/>
                  <a:pt x="2962" y="1813"/>
                </a:cubicBezTo>
                <a:cubicBezTo>
                  <a:pt x="2961" y="1813"/>
                  <a:pt x="2961" y="1813"/>
                  <a:pt x="2961" y="1813"/>
                </a:cubicBezTo>
                <a:cubicBezTo>
                  <a:pt x="2958" y="1811"/>
                  <a:pt x="2956" y="1808"/>
                  <a:pt x="2953" y="1806"/>
                </a:cubicBezTo>
                <a:cubicBezTo>
                  <a:pt x="2951" y="1805"/>
                  <a:pt x="2948" y="1804"/>
                  <a:pt x="2946" y="1804"/>
                </a:cubicBezTo>
                <a:cubicBezTo>
                  <a:pt x="2943" y="1805"/>
                  <a:pt x="2940" y="1806"/>
                  <a:pt x="2936" y="1807"/>
                </a:cubicBezTo>
                <a:cubicBezTo>
                  <a:pt x="2934" y="1808"/>
                  <a:pt x="2931" y="1809"/>
                  <a:pt x="2929" y="1813"/>
                </a:cubicBezTo>
                <a:cubicBezTo>
                  <a:pt x="2931" y="1813"/>
                  <a:pt x="2932" y="1813"/>
                  <a:pt x="2933" y="1813"/>
                </a:cubicBezTo>
                <a:cubicBezTo>
                  <a:pt x="2933" y="1813"/>
                  <a:pt x="2932" y="1813"/>
                  <a:pt x="2931" y="1813"/>
                </a:cubicBezTo>
                <a:cubicBezTo>
                  <a:pt x="2929" y="1814"/>
                  <a:pt x="2926" y="1813"/>
                  <a:pt x="2924" y="1816"/>
                </a:cubicBezTo>
                <a:cubicBezTo>
                  <a:pt x="2921" y="1820"/>
                  <a:pt x="2917" y="1823"/>
                  <a:pt x="2913" y="1828"/>
                </a:cubicBezTo>
                <a:cubicBezTo>
                  <a:pt x="2912" y="1830"/>
                  <a:pt x="2911" y="1832"/>
                  <a:pt x="2910" y="1834"/>
                </a:cubicBezTo>
                <a:cubicBezTo>
                  <a:pt x="2910" y="1835"/>
                  <a:pt x="2910" y="1835"/>
                  <a:pt x="2910" y="1836"/>
                </a:cubicBezTo>
                <a:cubicBezTo>
                  <a:pt x="2911" y="1838"/>
                  <a:pt x="2913" y="1840"/>
                  <a:pt x="2914" y="1842"/>
                </a:cubicBezTo>
                <a:cubicBezTo>
                  <a:pt x="2915" y="1840"/>
                  <a:pt x="2916" y="1839"/>
                  <a:pt x="2918" y="1837"/>
                </a:cubicBezTo>
                <a:cubicBezTo>
                  <a:pt x="2917" y="1839"/>
                  <a:pt x="2917" y="1840"/>
                  <a:pt x="2916" y="1841"/>
                </a:cubicBezTo>
                <a:cubicBezTo>
                  <a:pt x="2915" y="1843"/>
                  <a:pt x="2915" y="1844"/>
                  <a:pt x="2914" y="1845"/>
                </a:cubicBezTo>
                <a:cubicBezTo>
                  <a:pt x="2914" y="1846"/>
                  <a:pt x="2914" y="1847"/>
                  <a:pt x="2915" y="1848"/>
                </a:cubicBezTo>
                <a:cubicBezTo>
                  <a:pt x="2917" y="1852"/>
                  <a:pt x="2920" y="1852"/>
                  <a:pt x="2924" y="1850"/>
                </a:cubicBezTo>
                <a:cubicBezTo>
                  <a:pt x="2926" y="1848"/>
                  <a:pt x="2929" y="1847"/>
                  <a:pt x="2932" y="1846"/>
                </a:cubicBezTo>
                <a:cubicBezTo>
                  <a:pt x="2933" y="1846"/>
                  <a:pt x="2935" y="1845"/>
                  <a:pt x="2935" y="1843"/>
                </a:cubicBezTo>
                <a:cubicBezTo>
                  <a:pt x="2935" y="1840"/>
                  <a:pt x="2935" y="1837"/>
                  <a:pt x="2935" y="1833"/>
                </a:cubicBezTo>
                <a:cubicBezTo>
                  <a:pt x="2935" y="1830"/>
                  <a:pt x="2935" y="1828"/>
                  <a:pt x="2935" y="1824"/>
                </a:cubicBezTo>
                <a:cubicBezTo>
                  <a:pt x="2935" y="1827"/>
                  <a:pt x="2936" y="1830"/>
                  <a:pt x="2936" y="1832"/>
                </a:cubicBezTo>
                <a:cubicBezTo>
                  <a:pt x="2937" y="1837"/>
                  <a:pt x="2937" y="1841"/>
                  <a:pt x="2936" y="1846"/>
                </a:cubicBezTo>
                <a:cubicBezTo>
                  <a:pt x="2935" y="1846"/>
                  <a:pt x="2935" y="1847"/>
                  <a:pt x="2934" y="1847"/>
                </a:cubicBezTo>
                <a:cubicBezTo>
                  <a:pt x="2931" y="1848"/>
                  <a:pt x="2927" y="1850"/>
                  <a:pt x="2924" y="1851"/>
                </a:cubicBezTo>
                <a:cubicBezTo>
                  <a:pt x="2919" y="1854"/>
                  <a:pt x="2916" y="1852"/>
                  <a:pt x="2912" y="1848"/>
                </a:cubicBezTo>
                <a:cubicBezTo>
                  <a:pt x="2912" y="1848"/>
                  <a:pt x="2912" y="1847"/>
                  <a:pt x="2912" y="1846"/>
                </a:cubicBezTo>
                <a:cubicBezTo>
                  <a:pt x="2913" y="1844"/>
                  <a:pt x="2912" y="1842"/>
                  <a:pt x="2911" y="1840"/>
                </a:cubicBezTo>
                <a:cubicBezTo>
                  <a:pt x="2909" y="1838"/>
                  <a:pt x="2907" y="1836"/>
                  <a:pt x="2909" y="1833"/>
                </a:cubicBezTo>
                <a:cubicBezTo>
                  <a:pt x="2909" y="1831"/>
                  <a:pt x="2910" y="1830"/>
                  <a:pt x="2911" y="1828"/>
                </a:cubicBezTo>
                <a:cubicBezTo>
                  <a:pt x="2913" y="1825"/>
                  <a:pt x="2915" y="1823"/>
                  <a:pt x="2917" y="1820"/>
                </a:cubicBezTo>
                <a:cubicBezTo>
                  <a:pt x="2917" y="1820"/>
                  <a:pt x="2916" y="1820"/>
                  <a:pt x="2916" y="1820"/>
                </a:cubicBezTo>
                <a:cubicBezTo>
                  <a:pt x="2911" y="1821"/>
                  <a:pt x="2907" y="1823"/>
                  <a:pt x="2903" y="1826"/>
                </a:cubicBezTo>
                <a:cubicBezTo>
                  <a:pt x="2898" y="1830"/>
                  <a:pt x="2895" y="1835"/>
                  <a:pt x="2895" y="1842"/>
                </a:cubicBezTo>
                <a:cubicBezTo>
                  <a:pt x="2895" y="1849"/>
                  <a:pt x="2897" y="1855"/>
                  <a:pt x="2900" y="1861"/>
                </a:cubicBezTo>
                <a:cubicBezTo>
                  <a:pt x="2901" y="1861"/>
                  <a:pt x="2902" y="1863"/>
                  <a:pt x="2901" y="1864"/>
                </a:cubicBezTo>
                <a:cubicBezTo>
                  <a:pt x="2901" y="1866"/>
                  <a:pt x="2901" y="1867"/>
                  <a:pt x="2900" y="1869"/>
                </a:cubicBezTo>
                <a:cubicBezTo>
                  <a:pt x="2900" y="1870"/>
                  <a:pt x="2900" y="1871"/>
                  <a:pt x="2901" y="1872"/>
                </a:cubicBezTo>
                <a:cubicBezTo>
                  <a:pt x="2904" y="1872"/>
                  <a:pt x="2907" y="1873"/>
                  <a:pt x="2910" y="1873"/>
                </a:cubicBezTo>
                <a:cubicBezTo>
                  <a:pt x="2911" y="1873"/>
                  <a:pt x="2911" y="1872"/>
                  <a:pt x="2911" y="1872"/>
                </a:cubicBezTo>
                <a:cubicBezTo>
                  <a:pt x="2912" y="1871"/>
                  <a:pt x="2912" y="1869"/>
                  <a:pt x="2913" y="1869"/>
                </a:cubicBezTo>
                <a:cubicBezTo>
                  <a:pt x="2915" y="1866"/>
                  <a:pt x="2915" y="1863"/>
                  <a:pt x="2915" y="1861"/>
                </a:cubicBezTo>
                <a:cubicBezTo>
                  <a:pt x="2915" y="1860"/>
                  <a:pt x="2915" y="1860"/>
                  <a:pt x="2915" y="1859"/>
                </a:cubicBezTo>
                <a:cubicBezTo>
                  <a:pt x="2915" y="1859"/>
                  <a:pt x="2915" y="1859"/>
                  <a:pt x="2915" y="1859"/>
                </a:cubicBezTo>
                <a:cubicBezTo>
                  <a:pt x="2915" y="1861"/>
                  <a:pt x="2916" y="1861"/>
                  <a:pt x="2918" y="1861"/>
                </a:cubicBezTo>
                <a:cubicBezTo>
                  <a:pt x="2919" y="1861"/>
                  <a:pt x="2920" y="1861"/>
                  <a:pt x="2921" y="1861"/>
                </a:cubicBezTo>
                <a:cubicBezTo>
                  <a:pt x="2924" y="1861"/>
                  <a:pt x="2927" y="1862"/>
                  <a:pt x="2927" y="1858"/>
                </a:cubicBezTo>
                <a:cubicBezTo>
                  <a:pt x="2927" y="1860"/>
                  <a:pt x="2927" y="1862"/>
                  <a:pt x="2927" y="1863"/>
                </a:cubicBezTo>
                <a:cubicBezTo>
                  <a:pt x="2926" y="1863"/>
                  <a:pt x="2925" y="1864"/>
                  <a:pt x="2924" y="1865"/>
                </a:cubicBezTo>
                <a:cubicBezTo>
                  <a:pt x="2922" y="1865"/>
                  <a:pt x="2922" y="1867"/>
                  <a:pt x="2922" y="1868"/>
                </a:cubicBezTo>
                <a:cubicBezTo>
                  <a:pt x="2924" y="1870"/>
                  <a:pt x="2925" y="1872"/>
                  <a:pt x="2926" y="1874"/>
                </a:cubicBezTo>
                <a:cubicBezTo>
                  <a:pt x="2928" y="1875"/>
                  <a:pt x="2930" y="1875"/>
                  <a:pt x="2931" y="1873"/>
                </a:cubicBezTo>
                <a:cubicBezTo>
                  <a:pt x="2932" y="1872"/>
                  <a:pt x="2933" y="1872"/>
                  <a:pt x="2933" y="1871"/>
                </a:cubicBezTo>
                <a:cubicBezTo>
                  <a:pt x="2935" y="1870"/>
                  <a:pt x="2936" y="1869"/>
                  <a:pt x="2938" y="1867"/>
                </a:cubicBezTo>
                <a:cubicBezTo>
                  <a:pt x="2942" y="1863"/>
                  <a:pt x="2944" y="1857"/>
                  <a:pt x="2946" y="1851"/>
                </a:cubicBezTo>
                <a:cubicBezTo>
                  <a:pt x="2946" y="1851"/>
                  <a:pt x="2945" y="1850"/>
                  <a:pt x="2945" y="1850"/>
                </a:cubicBezTo>
                <a:cubicBezTo>
                  <a:pt x="2944" y="1848"/>
                  <a:pt x="2943" y="1848"/>
                  <a:pt x="2942" y="1847"/>
                </a:cubicBezTo>
                <a:close/>
                <a:moveTo>
                  <a:pt x="2895" y="1853"/>
                </a:moveTo>
                <a:cubicBezTo>
                  <a:pt x="2894" y="1854"/>
                  <a:pt x="2892" y="1855"/>
                  <a:pt x="2891" y="1856"/>
                </a:cubicBezTo>
                <a:cubicBezTo>
                  <a:pt x="2891" y="1856"/>
                  <a:pt x="2890" y="1857"/>
                  <a:pt x="2890" y="1858"/>
                </a:cubicBezTo>
                <a:cubicBezTo>
                  <a:pt x="2890" y="1861"/>
                  <a:pt x="2895" y="1865"/>
                  <a:pt x="2898" y="1865"/>
                </a:cubicBezTo>
                <a:cubicBezTo>
                  <a:pt x="2899" y="1865"/>
                  <a:pt x="2900" y="1863"/>
                  <a:pt x="2899" y="1862"/>
                </a:cubicBezTo>
                <a:cubicBezTo>
                  <a:pt x="2898" y="1859"/>
                  <a:pt x="2896" y="1856"/>
                  <a:pt x="2895" y="1853"/>
                </a:cubicBezTo>
                <a:close/>
                <a:moveTo>
                  <a:pt x="2947" y="1855"/>
                </a:moveTo>
                <a:cubicBezTo>
                  <a:pt x="2945" y="1860"/>
                  <a:pt x="2942" y="1864"/>
                  <a:pt x="2940" y="1869"/>
                </a:cubicBezTo>
                <a:cubicBezTo>
                  <a:pt x="2943" y="1869"/>
                  <a:pt x="2945" y="1869"/>
                  <a:pt x="2948" y="1869"/>
                </a:cubicBezTo>
                <a:cubicBezTo>
                  <a:pt x="2948" y="1869"/>
                  <a:pt x="2949" y="1867"/>
                  <a:pt x="2949" y="1867"/>
                </a:cubicBezTo>
                <a:cubicBezTo>
                  <a:pt x="2949" y="1864"/>
                  <a:pt x="2949" y="1862"/>
                  <a:pt x="2948" y="1859"/>
                </a:cubicBezTo>
                <a:cubicBezTo>
                  <a:pt x="2948" y="1858"/>
                  <a:pt x="2947" y="1857"/>
                  <a:pt x="2947" y="1855"/>
                </a:cubicBezTo>
                <a:close/>
                <a:moveTo>
                  <a:pt x="2895" y="1835"/>
                </a:moveTo>
                <a:cubicBezTo>
                  <a:pt x="2894" y="1835"/>
                  <a:pt x="2893" y="1836"/>
                  <a:pt x="2893" y="1836"/>
                </a:cubicBezTo>
                <a:cubicBezTo>
                  <a:pt x="2892" y="1836"/>
                  <a:pt x="2891" y="1836"/>
                  <a:pt x="2891" y="1835"/>
                </a:cubicBezTo>
                <a:cubicBezTo>
                  <a:pt x="2891" y="1835"/>
                  <a:pt x="2890" y="1834"/>
                  <a:pt x="2890" y="1833"/>
                </a:cubicBezTo>
                <a:cubicBezTo>
                  <a:pt x="2891" y="1832"/>
                  <a:pt x="2891" y="1830"/>
                  <a:pt x="2892" y="1828"/>
                </a:cubicBezTo>
                <a:cubicBezTo>
                  <a:pt x="2892" y="1828"/>
                  <a:pt x="2892" y="1828"/>
                  <a:pt x="2891" y="1828"/>
                </a:cubicBezTo>
                <a:cubicBezTo>
                  <a:pt x="2891" y="1828"/>
                  <a:pt x="2889" y="1829"/>
                  <a:pt x="2889" y="1830"/>
                </a:cubicBezTo>
                <a:cubicBezTo>
                  <a:pt x="2888" y="1832"/>
                  <a:pt x="2889" y="1837"/>
                  <a:pt x="2891" y="1837"/>
                </a:cubicBezTo>
                <a:cubicBezTo>
                  <a:pt x="2893" y="1838"/>
                  <a:pt x="2895" y="1837"/>
                  <a:pt x="2895" y="1835"/>
                </a:cubicBezTo>
                <a:close/>
                <a:moveTo>
                  <a:pt x="2894" y="1853"/>
                </a:moveTo>
                <a:cubicBezTo>
                  <a:pt x="2893" y="1854"/>
                  <a:pt x="2892" y="1855"/>
                  <a:pt x="2891" y="1856"/>
                </a:cubicBezTo>
                <a:cubicBezTo>
                  <a:pt x="2890" y="1856"/>
                  <a:pt x="2890" y="1857"/>
                  <a:pt x="2890" y="1858"/>
                </a:cubicBezTo>
                <a:cubicBezTo>
                  <a:pt x="2890" y="1861"/>
                  <a:pt x="2894" y="1865"/>
                  <a:pt x="2897" y="1865"/>
                </a:cubicBezTo>
                <a:cubicBezTo>
                  <a:pt x="2899" y="1865"/>
                  <a:pt x="2900" y="1864"/>
                  <a:pt x="2899" y="1862"/>
                </a:cubicBezTo>
                <a:cubicBezTo>
                  <a:pt x="2897" y="1859"/>
                  <a:pt x="2896" y="1856"/>
                  <a:pt x="2894" y="1853"/>
                </a:cubicBezTo>
                <a:close/>
                <a:moveTo>
                  <a:pt x="2947" y="1855"/>
                </a:moveTo>
                <a:cubicBezTo>
                  <a:pt x="2945" y="1860"/>
                  <a:pt x="2942" y="1864"/>
                  <a:pt x="2940" y="1869"/>
                </a:cubicBezTo>
                <a:cubicBezTo>
                  <a:pt x="2943" y="1869"/>
                  <a:pt x="2945" y="1869"/>
                  <a:pt x="2948" y="1869"/>
                </a:cubicBezTo>
                <a:cubicBezTo>
                  <a:pt x="2948" y="1869"/>
                  <a:pt x="2948" y="1867"/>
                  <a:pt x="2948" y="1867"/>
                </a:cubicBezTo>
                <a:cubicBezTo>
                  <a:pt x="2948" y="1864"/>
                  <a:pt x="2948" y="1862"/>
                  <a:pt x="2948" y="1859"/>
                </a:cubicBezTo>
                <a:cubicBezTo>
                  <a:pt x="2948" y="1858"/>
                  <a:pt x="2947" y="1857"/>
                  <a:pt x="2947" y="1855"/>
                </a:cubicBezTo>
                <a:close/>
                <a:moveTo>
                  <a:pt x="2894" y="1835"/>
                </a:moveTo>
                <a:cubicBezTo>
                  <a:pt x="2893" y="1835"/>
                  <a:pt x="2893" y="1836"/>
                  <a:pt x="2892" y="1836"/>
                </a:cubicBezTo>
                <a:cubicBezTo>
                  <a:pt x="2891" y="1836"/>
                  <a:pt x="2891" y="1836"/>
                  <a:pt x="2891" y="1835"/>
                </a:cubicBezTo>
                <a:cubicBezTo>
                  <a:pt x="2890" y="1835"/>
                  <a:pt x="2890" y="1834"/>
                  <a:pt x="2890" y="1833"/>
                </a:cubicBezTo>
                <a:cubicBezTo>
                  <a:pt x="2891" y="1831"/>
                  <a:pt x="2891" y="1829"/>
                  <a:pt x="2892" y="1827"/>
                </a:cubicBezTo>
                <a:cubicBezTo>
                  <a:pt x="2891" y="1827"/>
                  <a:pt x="2891" y="1827"/>
                  <a:pt x="2891" y="1827"/>
                </a:cubicBezTo>
                <a:cubicBezTo>
                  <a:pt x="2890" y="1828"/>
                  <a:pt x="2889" y="1829"/>
                  <a:pt x="2888" y="1830"/>
                </a:cubicBezTo>
                <a:cubicBezTo>
                  <a:pt x="2888" y="1831"/>
                  <a:pt x="2889" y="1837"/>
                  <a:pt x="2891" y="1837"/>
                </a:cubicBezTo>
                <a:cubicBezTo>
                  <a:pt x="2892" y="1838"/>
                  <a:pt x="2894" y="1837"/>
                  <a:pt x="2894" y="1835"/>
                </a:cubicBezTo>
                <a:close/>
                <a:moveTo>
                  <a:pt x="2947" y="1827"/>
                </a:moveTo>
                <a:cubicBezTo>
                  <a:pt x="2950" y="1823"/>
                  <a:pt x="2950" y="1823"/>
                  <a:pt x="2953" y="1822"/>
                </a:cubicBezTo>
                <a:cubicBezTo>
                  <a:pt x="2953" y="1824"/>
                  <a:pt x="2955" y="1825"/>
                  <a:pt x="2956" y="1825"/>
                </a:cubicBezTo>
                <a:cubicBezTo>
                  <a:pt x="2954" y="1826"/>
                  <a:pt x="2952" y="1828"/>
                  <a:pt x="2950" y="1829"/>
                </a:cubicBezTo>
                <a:cubicBezTo>
                  <a:pt x="2949" y="1828"/>
                  <a:pt x="2949" y="1828"/>
                  <a:pt x="2948" y="1826"/>
                </a:cubicBezTo>
                <a:cubicBezTo>
                  <a:pt x="2948" y="1826"/>
                  <a:pt x="2947" y="1826"/>
                  <a:pt x="2947" y="1827"/>
                </a:cubicBezTo>
                <a:close/>
                <a:moveTo>
                  <a:pt x="2952" y="1826"/>
                </a:moveTo>
                <a:cubicBezTo>
                  <a:pt x="2952" y="1826"/>
                  <a:pt x="2951" y="1826"/>
                  <a:pt x="2950" y="1826"/>
                </a:cubicBezTo>
                <a:cubicBezTo>
                  <a:pt x="2950" y="1826"/>
                  <a:pt x="2949" y="1826"/>
                  <a:pt x="2949" y="1827"/>
                </a:cubicBezTo>
                <a:cubicBezTo>
                  <a:pt x="2949" y="1827"/>
                  <a:pt x="2950" y="1828"/>
                  <a:pt x="2950" y="1828"/>
                </a:cubicBezTo>
                <a:cubicBezTo>
                  <a:pt x="2951" y="1828"/>
                  <a:pt x="2951" y="1827"/>
                  <a:pt x="2952" y="1826"/>
                </a:cubicBezTo>
                <a:close/>
                <a:moveTo>
                  <a:pt x="2934" y="1817"/>
                </a:moveTo>
                <a:cubicBezTo>
                  <a:pt x="2927" y="1816"/>
                  <a:pt x="2924" y="1819"/>
                  <a:pt x="2923" y="1826"/>
                </a:cubicBezTo>
                <a:cubicBezTo>
                  <a:pt x="2924" y="1824"/>
                  <a:pt x="2925" y="1822"/>
                  <a:pt x="2927" y="1820"/>
                </a:cubicBezTo>
                <a:cubicBezTo>
                  <a:pt x="2927" y="1820"/>
                  <a:pt x="2927" y="1820"/>
                  <a:pt x="2927" y="1820"/>
                </a:cubicBezTo>
                <a:cubicBezTo>
                  <a:pt x="2927" y="1821"/>
                  <a:pt x="2927" y="1822"/>
                  <a:pt x="2927" y="1822"/>
                </a:cubicBezTo>
                <a:cubicBezTo>
                  <a:pt x="2929" y="1819"/>
                  <a:pt x="2930" y="1817"/>
                  <a:pt x="2934" y="1817"/>
                </a:cubicBezTo>
                <a:close/>
                <a:moveTo>
                  <a:pt x="2977" y="1818"/>
                </a:moveTo>
                <a:cubicBezTo>
                  <a:pt x="2975" y="1819"/>
                  <a:pt x="2973" y="1821"/>
                  <a:pt x="2972" y="1822"/>
                </a:cubicBezTo>
                <a:cubicBezTo>
                  <a:pt x="2974" y="1823"/>
                  <a:pt x="2976" y="1821"/>
                  <a:pt x="2977" y="1818"/>
                </a:cubicBezTo>
                <a:close/>
                <a:moveTo>
                  <a:pt x="2944" y="1821"/>
                </a:moveTo>
                <a:cubicBezTo>
                  <a:pt x="2945" y="1819"/>
                  <a:pt x="2946" y="1818"/>
                  <a:pt x="2948" y="1817"/>
                </a:cubicBezTo>
                <a:cubicBezTo>
                  <a:pt x="2944" y="1818"/>
                  <a:pt x="2943" y="1819"/>
                  <a:pt x="2944" y="1821"/>
                </a:cubicBezTo>
                <a:close/>
                <a:moveTo>
                  <a:pt x="2954" y="1842"/>
                </a:moveTo>
                <a:cubicBezTo>
                  <a:pt x="2952" y="1842"/>
                  <a:pt x="2951" y="1843"/>
                  <a:pt x="2951" y="1844"/>
                </a:cubicBezTo>
                <a:cubicBezTo>
                  <a:pt x="2952" y="1843"/>
                  <a:pt x="2953" y="1842"/>
                  <a:pt x="2954" y="1842"/>
                </a:cubicBezTo>
                <a:close/>
                <a:moveTo>
                  <a:pt x="2952" y="1826"/>
                </a:moveTo>
                <a:cubicBezTo>
                  <a:pt x="2952" y="1826"/>
                  <a:pt x="2951" y="1825"/>
                  <a:pt x="2951" y="1825"/>
                </a:cubicBezTo>
                <a:cubicBezTo>
                  <a:pt x="2950" y="1825"/>
                  <a:pt x="2949" y="1826"/>
                  <a:pt x="2949" y="1827"/>
                </a:cubicBezTo>
                <a:cubicBezTo>
                  <a:pt x="2949" y="1827"/>
                  <a:pt x="2950" y="1828"/>
                  <a:pt x="2950" y="1828"/>
                </a:cubicBezTo>
                <a:cubicBezTo>
                  <a:pt x="2951" y="1828"/>
                  <a:pt x="2951" y="1827"/>
                  <a:pt x="2952" y="1826"/>
                </a:cubicBezTo>
                <a:close/>
                <a:moveTo>
                  <a:pt x="3477" y="1947"/>
                </a:moveTo>
                <a:cubicBezTo>
                  <a:pt x="3477" y="1949"/>
                  <a:pt x="3478" y="1950"/>
                  <a:pt x="3479" y="1951"/>
                </a:cubicBezTo>
                <a:cubicBezTo>
                  <a:pt x="3479" y="1953"/>
                  <a:pt x="3479" y="1955"/>
                  <a:pt x="3480" y="1957"/>
                </a:cubicBezTo>
                <a:cubicBezTo>
                  <a:pt x="3480" y="1958"/>
                  <a:pt x="3480" y="1960"/>
                  <a:pt x="3480" y="1961"/>
                </a:cubicBezTo>
                <a:cubicBezTo>
                  <a:pt x="3481" y="1964"/>
                  <a:pt x="3480" y="1966"/>
                  <a:pt x="3477" y="1966"/>
                </a:cubicBezTo>
                <a:cubicBezTo>
                  <a:pt x="3474" y="1966"/>
                  <a:pt x="3471" y="1966"/>
                  <a:pt x="3468" y="1966"/>
                </a:cubicBezTo>
                <a:cubicBezTo>
                  <a:pt x="3468" y="1966"/>
                  <a:pt x="3467" y="1966"/>
                  <a:pt x="3467" y="1966"/>
                </a:cubicBezTo>
                <a:cubicBezTo>
                  <a:pt x="3465" y="1968"/>
                  <a:pt x="3464" y="1969"/>
                  <a:pt x="3462" y="1970"/>
                </a:cubicBezTo>
                <a:cubicBezTo>
                  <a:pt x="3461" y="1973"/>
                  <a:pt x="3457" y="1973"/>
                  <a:pt x="3455" y="1971"/>
                </a:cubicBezTo>
                <a:cubicBezTo>
                  <a:pt x="3453" y="1969"/>
                  <a:pt x="3452" y="1966"/>
                  <a:pt x="3450" y="1964"/>
                </a:cubicBezTo>
                <a:cubicBezTo>
                  <a:pt x="3450" y="1962"/>
                  <a:pt x="3450" y="1960"/>
                  <a:pt x="3452" y="1959"/>
                </a:cubicBezTo>
                <a:cubicBezTo>
                  <a:pt x="3450" y="1959"/>
                  <a:pt x="3448" y="1959"/>
                  <a:pt x="3446" y="1959"/>
                </a:cubicBezTo>
                <a:cubicBezTo>
                  <a:pt x="3446" y="1961"/>
                  <a:pt x="3444" y="1963"/>
                  <a:pt x="3444" y="1965"/>
                </a:cubicBezTo>
                <a:cubicBezTo>
                  <a:pt x="3444" y="1966"/>
                  <a:pt x="3443" y="1966"/>
                  <a:pt x="3443" y="1967"/>
                </a:cubicBezTo>
                <a:cubicBezTo>
                  <a:pt x="3443" y="1970"/>
                  <a:pt x="3442" y="1972"/>
                  <a:pt x="3439" y="1971"/>
                </a:cubicBezTo>
                <a:cubicBezTo>
                  <a:pt x="3436" y="1971"/>
                  <a:pt x="3433" y="1970"/>
                  <a:pt x="3430" y="1969"/>
                </a:cubicBezTo>
                <a:cubicBezTo>
                  <a:pt x="3428" y="1968"/>
                  <a:pt x="3428" y="1967"/>
                  <a:pt x="3428" y="1965"/>
                </a:cubicBezTo>
                <a:cubicBezTo>
                  <a:pt x="3428" y="1964"/>
                  <a:pt x="3428" y="1963"/>
                  <a:pt x="3429" y="1963"/>
                </a:cubicBezTo>
                <a:cubicBezTo>
                  <a:pt x="3426" y="1962"/>
                  <a:pt x="3424" y="1961"/>
                  <a:pt x="3422" y="1960"/>
                </a:cubicBezTo>
                <a:cubicBezTo>
                  <a:pt x="3421" y="1959"/>
                  <a:pt x="3420" y="1957"/>
                  <a:pt x="3419" y="1955"/>
                </a:cubicBezTo>
                <a:cubicBezTo>
                  <a:pt x="3418" y="1953"/>
                  <a:pt x="3418" y="1952"/>
                  <a:pt x="3420" y="1950"/>
                </a:cubicBezTo>
                <a:cubicBezTo>
                  <a:pt x="3423" y="1948"/>
                  <a:pt x="3424" y="1945"/>
                  <a:pt x="3423" y="1941"/>
                </a:cubicBezTo>
                <a:cubicBezTo>
                  <a:pt x="3423" y="1939"/>
                  <a:pt x="3423" y="1937"/>
                  <a:pt x="3423" y="1935"/>
                </a:cubicBezTo>
                <a:cubicBezTo>
                  <a:pt x="3422" y="1934"/>
                  <a:pt x="3420" y="1934"/>
                  <a:pt x="3419" y="1933"/>
                </a:cubicBezTo>
                <a:cubicBezTo>
                  <a:pt x="3418" y="1931"/>
                  <a:pt x="3417" y="1929"/>
                  <a:pt x="3417" y="1927"/>
                </a:cubicBezTo>
                <a:cubicBezTo>
                  <a:pt x="3417" y="1924"/>
                  <a:pt x="3421" y="1922"/>
                  <a:pt x="3423" y="1921"/>
                </a:cubicBezTo>
                <a:cubicBezTo>
                  <a:pt x="3424" y="1922"/>
                  <a:pt x="3424" y="1922"/>
                  <a:pt x="3424" y="1923"/>
                </a:cubicBezTo>
                <a:cubicBezTo>
                  <a:pt x="3424" y="1924"/>
                  <a:pt x="3424" y="1925"/>
                  <a:pt x="3424" y="1926"/>
                </a:cubicBezTo>
                <a:cubicBezTo>
                  <a:pt x="3424" y="1926"/>
                  <a:pt x="3423" y="1926"/>
                  <a:pt x="3423" y="1926"/>
                </a:cubicBezTo>
                <a:cubicBezTo>
                  <a:pt x="3422" y="1927"/>
                  <a:pt x="3422" y="1928"/>
                  <a:pt x="3421" y="1930"/>
                </a:cubicBezTo>
                <a:cubicBezTo>
                  <a:pt x="3422" y="1930"/>
                  <a:pt x="3423" y="1930"/>
                  <a:pt x="3424" y="1930"/>
                </a:cubicBezTo>
                <a:cubicBezTo>
                  <a:pt x="3425" y="1928"/>
                  <a:pt x="3426" y="1928"/>
                  <a:pt x="3426" y="1926"/>
                </a:cubicBezTo>
                <a:cubicBezTo>
                  <a:pt x="3431" y="1920"/>
                  <a:pt x="3437" y="1916"/>
                  <a:pt x="3444" y="1914"/>
                </a:cubicBezTo>
                <a:cubicBezTo>
                  <a:pt x="3448" y="1914"/>
                  <a:pt x="3451" y="1913"/>
                  <a:pt x="3453" y="1910"/>
                </a:cubicBezTo>
                <a:cubicBezTo>
                  <a:pt x="3453" y="1909"/>
                  <a:pt x="3454" y="1909"/>
                  <a:pt x="3454" y="1909"/>
                </a:cubicBezTo>
                <a:cubicBezTo>
                  <a:pt x="3457" y="1909"/>
                  <a:pt x="3459" y="1906"/>
                  <a:pt x="3461" y="1904"/>
                </a:cubicBezTo>
                <a:cubicBezTo>
                  <a:pt x="3468" y="1897"/>
                  <a:pt x="3480" y="1896"/>
                  <a:pt x="3488" y="1903"/>
                </a:cubicBezTo>
                <a:cubicBezTo>
                  <a:pt x="3490" y="1905"/>
                  <a:pt x="3493" y="1907"/>
                  <a:pt x="3495" y="1909"/>
                </a:cubicBezTo>
                <a:cubicBezTo>
                  <a:pt x="3497" y="1910"/>
                  <a:pt x="3498" y="1912"/>
                  <a:pt x="3499" y="1914"/>
                </a:cubicBezTo>
                <a:cubicBezTo>
                  <a:pt x="3500" y="1915"/>
                  <a:pt x="3501" y="1915"/>
                  <a:pt x="3502" y="1914"/>
                </a:cubicBezTo>
                <a:cubicBezTo>
                  <a:pt x="3502" y="1914"/>
                  <a:pt x="3503" y="1913"/>
                  <a:pt x="3504" y="1912"/>
                </a:cubicBezTo>
                <a:cubicBezTo>
                  <a:pt x="3506" y="1909"/>
                  <a:pt x="3509" y="1909"/>
                  <a:pt x="3510" y="1913"/>
                </a:cubicBezTo>
                <a:cubicBezTo>
                  <a:pt x="3511" y="1916"/>
                  <a:pt x="3512" y="1919"/>
                  <a:pt x="3513" y="1922"/>
                </a:cubicBezTo>
                <a:cubicBezTo>
                  <a:pt x="3513" y="1926"/>
                  <a:pt x="3513" y="1930"/>
                  <a:pt x="3511" y="1935"/>
                </a:cubicBezTo>
                <a:cubicBezTo>
                  <a:pt x="3509" y="1941"/>
                  <a:pt x="3504" y="1945"/>
                  <a:pt x="3498" y="1945"/>
                </a:cubicBezTo>
                <a:cubicBezTo>
                  <a:pt x="3497" y="1945"/>
                  <a:pt x="3497" y="1945"/>
                  <a:pt x="3496" y="1945"/>
                </a:cubicBezTo>
                <a:cubicBezTo>
                  <a:pt x="3493" y="1944"/>
                  <a:pt x="3492" y="1945"/>
                  <a:pt x="3491" y="1947"/>
                </a:cubicBezTo>
                <a:cubicBezTo>
                  <a:pt x="3490" y="1951"/>
                  <a:pt x="3484" y="1953"/>
                  <a:pt x="3481" y="1950"/>
                </a:cubicBezTo>
                <a:cubicBezTo>
                  <a:pt x="3480" y="1949"/>
                  <a:pt x="3479" y="1948"/>
                  <a:pt x="3478" y="1947"/>
                </a:cubicBezTo>
                <a:cubicBezTo>
                  <a:pt x="3477" y="1947"/>
                  <a:pt x="3477" y="1947"/>
                  <a:pt x="3477" y="1947"/>
                </a:cubicBezTo>
                <a:close/>
                <a:moveTo>
                  <a:pt x="3471" y="1943"/>
                </a:moveTo>
                <a:cubicBezTo>
                  <a:pt x="3475" y="1944"/>
                  <a:pt x="3479" y="1945"/>
                  <a:pt x="3481" y="1948"/>
                </a:cubicBezTo>
                <a:cubicBezTo>
                  <a:pt x="3483" y="1950"/>
                  <a:pt x="3485" y="1951"/>
                  <a:pt x="3487" y="1950"/>
                </a:cubicBezTo>
                <a:cubicBezTo>
                  <a:pt x="3490" y="1949"/>
                  <a:pt x="3491" y="1947"/>
                  <a:pt x="3491" y="1944"/>
                </a:cubicBezTo>
                <a:cubicBezTo>
                  <a:pt x="3491" y="1944"/>
                  <a:pt x="3490" y="1944"/>
                  <a:pt x="3490" y="1945"/>
                </a:cubicBezTo>
                <a:cubicBezTo>
                  <a:pt x="3490" y="1946"/>
                  <a:pt x="3488" y="1947"/>
                  <a:pt x="3488" y="1948"/>
                </a:cubicBezTo>
                <a:cubicBezTo>
                  <a:pt x="3486" y="1949"/>
                  <a:pt x="3485" y="1949"/>
                  <a:pt x="3484" y="1949"/>
                </a:cubicBezTo>
                <a:cubicBezTo>
                  <a:pt x="3484" y="1949"/>
                  <a:pt x="3483" y="1947"/>
                  <a:pt x="3483" y="1947"/>
                </a:cubicBezTo>
                <a:cubicBezTo>
                  <a:pt x="3483" y="1944"/>
                  <a:pt x="3484" y="1942"/>
                  <a:pt x="3484" y="1940"/>
                </a:cubicBezTo>
                <a:cubicBezTo>
                  <a:pt x="3487" y="1941"/>
                  <a:pt x="3490" y="1942"/>
                  <a:pt x="3494" y="1943"/>
                </a:cubicBezTo>
                <a:cubicBezTo>
                  <a:pt x="3501" y="1944"/>
                  <a:pt x="3507" y="1942"/>
                  <a:pt x="3510" y="1934"/>
                </a:cubicBezTo>
                <a:cubicBezTo>
                  <a:pt x="3512" y="1929"/>
                  <a:pt x="3511" y="1924"/>
                  <a:pt x="3511" y="1919"/>
                </a:cubicBezTo>
                <a:cubicBezTo>
                  <a:pt x="3510" y="1917"/>
                  <a:pt x="3510" y="1915"/>
                  <a:pt x="3509" y="1913"/>
                </a:cubicBezTo>
                <a:cubicBezTo>
                  <a:pt x="3508" y="1912"/>
                  <a:pt x="3507" y="1911"/>
                  <a:pt x="3506" y="1913"/>
                </a:cubicBezTo>
                <a:cubicBezTo>
                  <a:pt x="3504" y="1915"/>
                  <a:pt x="3502" y="1916"/>
                  <a:pt x="3501" y="1917"/>
                </a:cubicBezTo>
                <a:cubicBezTo>
                  <a:pt x="3500" y="1917"/>
                  <a:pt x="3499" y="1918"/>
                  <a:pt x="3499" y="1919"/>
                </a:cubicBezTo>
                <a:cubicBezTo>
                  <a:pt x="3500" y="1922"/>
                  <a:pt x="3499" y="1926"/>
                  <a:pt x="3498" y="1929"/>
                </a:cubicBezTo>
                <a:cubicBezTo>
                  <a:pt x="3498" y="1927"/>
                  <a:pt x="3499" y="1925"/>
                  <a:pt x="3499" y="1923"/>
                </a:cubicBezTo>
                <a:cubicBezTo>
                  <a:pt x="3499" y="1922"/>
                  <a:pt x="3498" y="1922"/>
                  <a:pt x="3498" y="1922"/>
                </a:cubicBezTo>
                <a:cubicBezTo>
                  <a:pt x="3497" y="1922"/>
                  <a:pt x="3497" y="1922"/>
                  <a:pt x="3497" y="1922"/>
                </a:cubicBezTo>
                <a:cubicBezTo>
                  <a:pt x="3496" y="1924"/>
                  <a:pt x="3495" y="1925"/>
                  <a:pt x="3494" y="1926"/>
                </a:cubicBezTo>
                <a:cubicBezTo>
                  <a:pt x="3494" y="1926"/>
                  <a:pt x="3494" y="1926"/>
                  <a:pt x="3494" y="1926"/>
                </a:cubicBezTo>
                <a:cubicBezTo>
                  <a:pt x="3494" y="1925"/>
                  <a:pt x="3495" y="1923"/>
                  <a:pt x="3495" y="1921"/>
                </a:cubicBezTo>
                <a:cubicBezTo>
                  <a:pt x="3494" y="1922"/>
                  <a:pt x="3493" y="1922"/>
                  <a:pt x="3493" y="1923"/>
                </a:cubicBezTo>
                <a:cubicBezTo>
                  <a:pt x="3492" y="1923"/>
                  <a:pt x="3492" y="1924"/>
                  <a:pt x="3491" y="1925"/>
                </a:cubicBezTo>
                <a:cubicBezTo>
                  <a:pt x="3492" y="1921"/>
                  <a:pt x="3492" y="1921"/>
                  <a:pt x="3498" y="1920"/>
                </a:cubicBezTo>
                <a:cubicBezTo>
                  <a:pt x="3498" y="1920"/>
                  <a:pt x="3497" y="1919"/>
                  <a:pt x="3497" y="1919"/>
                </a:cubicBezTo>
                <a:cubicBezTo>
                  <a:pt x="3494" y="1920"/>
                  <a:pt x="3493" y="1918"/>
                  <a:pt x="3493" y="1916"/>
                </a:cubicBezTo>
                <a:cubicBezTo>
                  <a:pt x="3495" y="1915"/>
                  <a:pt x="3496" y="1915"/>
                  <a:pt x="3498" y="1915"/>
                </a:cubicBezTo>
                <a:cubicBezTo>
                  <a:pt x="3496" y="1912"/>
                  <a:pt x="3495" y="1909"/>
                  <a:pt x="3491" y="1909"/>
                </a:cubicBezTo>
                <a:cubicBezTo>
                  <a:pt x="3491" y="1909"/>
                  <a:pt x="3491" y="1909"/>
                  <a:pt x="3491" y="1908"/>
                </a:cubicBezTo>
                <a:cubicBezTo>
                  <a:pt x="3488" y="1906"/>
                  <a:pt x="3486" y="1904"/>
                  <a:pt x="3483" y="1902"/>
                </a:cubicBezTo>
                <a:cubicBezTo>
                  <a:pt x="3481" y="1901"/>
                  <a:pt x="3478" y="1900"/>
                  <a:pt x="3476" y="1900"/>
                </a:cubicBezTo>
                <a:cubicBezTo>
                  <a:pt x="3473" y="1900"/>
                  <a:pt x="3470" y="1902"/>
                  <a:pt x="3466" y="1902"/>
                </a:cubicBezTo>
                <a:cubicBezTo>
                  <a:pt x="3464" y="1903"/>
                  <a:pt x="3461" y="1905"/>
                  <a:pt x="3459" y="1908"/>
                </a:cubicBezTo>
                <a:cubicBezTo>
                  <a:pt x="3461" y="1908"/>
                  <a:pt x="3462" y="1908"/>
                  <a:pt x="3463" y="1908"/>
                </a:cubicBezTo>
                <a:cubicBezTo>
                  <a:pt x="3463" y="1909"/>
                  <a:pt x="3462" y="1909"/>
                  <a:pt x="3461" y="1909"/>
                </a:cubicBezTo>
                <a:cubicBezTo>
                  <a:pt x="3459" y="1910"/>
                  <a:pt x="3456" y="1909"/>
                  <a:pt x="3454" y="1911"/>
                </a:cubicBezTo>
                <a:cubicBezTo>
                  <a:pt x="3451" y="1915"/>
                  <a:pt x="3447" y="1919"/>
                  <a:pt x="3443" y="1923"/>
                </a:cubicBezTo>
                <a:cubicBezTo>
                  <a:pt x="3442" y="1925"/>
                  <a:pt x="3441" y="1928"/>
                  <a:pt x="3440" y="1930"/>
                </a:cubicBezTo>
                <a:cubicBezTo>
                  <a:pt x="3440" y="1930"/>
                  <a:pt x="3440" y="1931"/>
                  <a:pt x="3440" y="1932"/>
                </a:cubicBezTo>
                <a:cubicBezTo>
                  <a:pt x="3441" y="1934"/>
                  <a:pt x="3442" y="1936"/>
                  <a:pt x="3444" y="1938"/>
                </a:cubicBezTo>
                <a:cubicBezTo>
                  <a:pt x="3445" y="1936"/>
                  <a:pt x="3446" y="1934"/>
                  <a:pt x="3448" y="1933"/>
                </a:cubicBezTo>
                <a:cubicBezTo>
                  <a:pt x="3447" y="1934"/>
                  <a:pt x="3447" y="1936"/>
                  <a:pt x="3446" y="1937"/>
                </a:cubicBezTo>
                <a:cubicBezTo>
                  <a:pt x="3445" y="1938"/>
                  <a:pt x="3444" y="1940"/>
                  <a:pt x="3444" y="1941"/>
                </a:cubicBezTo>
                <a:cubicBezTo>
                  <a:pt x="3444" y="1942"/>
                  <a:pt x="3444" y="1943"/>
                  <a:pt x="3444" y="1944"/>
                </a:cubicBezTo>
                <a:cubicBezTo>
                  <a:pt x="3447" y="1947"/>
                  <a:pt x="3450" y="1947"/>
                  <a:pt x="3454" y="1945"/>
                </a:cubicBezTo>
                <a:cubicBezTo>
                  <a:pt x="3456" y="1944"/>
                  <a:pt x="3459" y="1943"/>
                  <a:pt x="3462" y="1942"/>
                </a:cubicBezTo>
                <a:cubicBezTo>
                  <a:pt x="3463" y="1941"/>
                  <a:pt x="3464" y="1941"/>
                  <a:pt x="3464" y="1939"/>
                </a:cubicBezTo>
                <a:cubicBezTo>
                  <a:pt x="3464" y="1936"/>
                  <a:pt x="3464" y="1932"/>
                  <a:pt x="3464" y="1929"/>
                </a:cubicBezTo>
                <a:cubicBezTo>
                  <a:pt x="3464" y="1926"/>
                  <a:pt x="3464" y="1923"/>
                  <a:pt x="3464" y="1920"/>
                </a:cubicBezTo>
                <a:cubicBezTo>
                  <a:pt x="3465" y="1923"/>
                  <a:pt x="3466" y="1926"/>
                  <a:pt x="3466" y="1928"/>
                </a:cubicBezTo>
                <a:cubicBezTo>
                  <a:pt x="3467" y="1933"/>
                  <a:pt x="3467" y="1937"/>
                  <a:pt x="3466" y="1941"/>
                </a:cubicBezTo>
                <a:cubicBezTo>
                  <a:pt x="3465" y="1942"/>
                  <a:pt x="3464" y="1943"/>
                  <a:pt x="3464" y="1943"/>
                </a:cubicBezTo>
                <a:cubicBezTo>
                  <a:pt x="3461" y="1943"/>
                  <a:pt x="3457" y="1945"/>
                  <a:pt x="3454" y="1947"/>
                </a:cubicBezTo>
                <a:cubicBezTo>
                  <a:pt x="3449" y="1950"/>
                  <a:pt x="3446" y="1948"/>
                  <a:pt x="3442" y="1944"/>
                </a:cubicBezTo>
                <a:cubicBezTo>
                  <a:pt x="3442" y="1944"/>
                  <a:pt x="3442" y="1943"/>
                  <a:pt x="3442" y="1942"/>
                </a:cubicBezTo>
                <a:cubicBezTo>
                  <a:pt x="3443" y="1940"/>
                  <a:pt x="3442" y="1938"/>
                  <a:pt x="3441" y="1936"/>
                </a:cubicBezTo>
                <a:cubicBezTo>
                  <a:pt x="3439" y="1934"/>
                  <a:pt x="3437" y="1932"/>
                  <a:pt x="3439" y="1929"/>
                </a:cubicBezTo>
                <a:cubicBezTo>
                  <a:pt x="3439" y="1927"/>
                  <a:pt x="3440" y="1925"/>
                  <a:pt x="3441" y="1924"/>
                </a:cubicBezTo>
                <a:cubicBezTo>
                  <a:pt x="3443" y="1921"/>
                  <a:pt x="3445" y="1919"/>
                  <a:pt x="3447" y="1916"/>
                </a:cubicBezTo>
                <a:cubicBezTo>
                  <a:pt x="3447" y="1916"/>
                  <a:pt x="3446" y="1916"/>
                  <a:pt x="3446" y="1916"/>
                </a:cubicBezTo>
                <a:cubicBezTo>
                  <a:pt x="3441" y="1917"/>
                  <a:pt x="3437" y="1919"/>
                  <a:pt x="3433" y="1922"/>
                </a:cubicBezTo>
                <a:cubicBezTo>
                  <a:pt x="3428" y="1926"/>
                  <a:pt x="3425" y="1931"/>
                  <a:pt x="3425" y="1938"/>
                </a:cubicBezTo>
                <a:cubicBezTo>
                  <a:pt x="3424" y="1945"/>
                  <a:pt x="3427" y="1951"/>
                  <a:pt x="3430" y="1957"/>
                </a:cubicBezTo>
                <a:cubicBezTo>
                  <a:pt x="3431" y="1957"/>
                  <a:pt x="3431" y="1959"/>
                  <a:pt x="3431" y="1960"/>
                </a:cubicBezTo>
                <a:cubicBezTo>
                  <a:pt x="3431" y="1962"/>
                  <a:pt x="3431" y="1963"/>
                  <a:pt x="3430" y="1964"/>
                </a:cubicBezTo>
                <a:cubicBezTo>
                  <a:pt x="3430" y="1966"/>
                  <a:pt x="3430" y="1967"/>
                  <a:pt x="3431" y="1968"/>
                </a:cubicBezTo>
                <a:cubicBezTo>
                  <a:pt x="3434" y="1968"/>
                  <a:pt x="3437" y="1969"/>
                  <a:pt x="3440" y="1969"/>
                </a:cubicBezTo>
                <a:cubicBezTo>
                  <a:pt x="3441" y="1969"/>
                  <a:pt x="3441" y="1968"/>
                  <a:pt x="3441" y="1968"/>
                </a:cubicBezTo>
                <a:cubicBezTo>
                  <a:pt x="3442" y="1967"/>
                  <a:pt x="3442" y="1965"/>
                  <a:pt x="3442" y="1964"/>
                </a:cubicBezTo>
                <a:cubicBezTo>
                  <a:pt x="3444" y="1962"/>
                  <a:pt x="3444" y="1959"/>
                  <a:pt x="3444" y="1957"/>
                </a:cubicBezTo>
                <a:cubicBezTo>
                  <a:pt x="3444" y="1956"/>
                  <a:pt x="3444" y="1956"/>
                  <a:pt x="3444" y="1955"/>
                </a:cubicBezTo>
                <a:cubicBezTo>
                  <a:pt x="3444" y="1955"/>
                  <a:pt x="3444" y="1955"/>
                  <a:pt x="3444" y="1955"/>
                </a:cubicBezTo>
                <a:cubicBezTo>
                  <a:pt x="3445" y="1957"/>
                  <a:pt x="3446" y="1957"/>
                  <a:pt x="3448" y="1957"/>
                </a:cubicBezTo>
                <a:cubicBezTo>
                  <a:pt x="3449" y="1957"/>
                  <a:pt x="3450" y="1957"/>
                  <a:pt x="3451" y="1957"/>
                </a:cubicBezTo>
                <a:cubicBezTo>
                  <a:pt x="3453" y="1957"/>
                  <a:pt x="3457" y="1958"/>
                  <a:pt x="3457" y="1954"/>
                </a:cubicBezTo>
                <a:cubicBezTo>
                  <a:pt x="3457" y="1956"/>
                  <a:pt x="3457" y="1958"/>
                  <a:pt x="3457" y="1959"/>
                </a:cubicBezTo>
                <a:cubicBezTo>
                  <a:pt x="3456" y="1959"/>
                  <a:pt x="3455" y="1960"/>
                  <a:pt x="3453" y="1960"/>
                </a:cubicBezTo>
                <a:cubicBezTo>
                  <a:pt x="3452" y="1961"/>
                  <a:pt x="3451" y="1963"/>
                  <a:pt x="3452" y="1964"/>
                </a:cubicBezTo>
                <a:cubicBezTo>
                  <a:pt x="3453" y="1966"/>
                  <a:pt x="3455" y="1968"/>
                  <a:pt x="3456" y="1970"/>
                </a:cubicBezTo>
                <a:cubicBezTo>
                  <a:pt x="3458" y="1971"/>
                  <a:pt x="3460" y="1971"/>
                  <a:pt x="3461" y="1969"/>
                </a:cubicBezTo>
                <a:cubicBezTo>
                  <a:pt x="3462" y="1968"/>
                  <a:pt x="3462" y="1968"/>
                  <a:pt x="3463" y="1967"/>
                </a:cubicBezTo>
                <a:cubicBezTo>
                  <a:pt x="3465" y="1966"/>
                  <a:pt x="3466" y="1964"/>
                  <a:pt x="3468" y="1963"/>
                </a:cubicBezTo>
                <a:cubicBezTo>
                  <a:pt x="3472" y="1959"/>
                  <a:pt x="3474" y="1953"/>
                  <a:pt x="3476" y="1947"/>
                </a:cubicBezTo>
                <a:cubicBezTo>
                  <a:pt x="3476" y="1947"/>
                  <a:pt x="3475" y="1946"/>
                  <a:pt x="3475" y="1945"/>
                </a:cubicBezTo>
                <a:cubicBezTo>
                  <a:pt x="3474" y="1944"/>
                  <a:pt x="3473" y="1943"/>
                  <a:pt x="3471" y="1943"/>
                </a:cubicBezTo>
                <a:close/>
                <a:moveTo>
                  <a:pt x="3424" y="1949"/>
                </a:moveTo>
                <a:cubicBezTo>
                  <a:pt x="3424" y="1950"/>
                  <a:pt x="3422" y="1951"/>
                  <a:pt x="3421" y="1952"/>
                </a:cubicBezTo>
                <a:cubicBezTo>
                  <a:pt x="3421" y="1952"/>
                  <a:pt x="3420" y="1953"/>
                  <a:pt x="3420" y="1954"/>
                </a:cubicBezTo>
                <a:cubicBezTo>
                  <a:pt x="3420" y="1957"/>
                  <a:pt x="3424" y="1961"/>
                  <a:pt x="3428" y="1960"/>
                </a:cubicBezTo>
                <a:cubicBezTo>
                  <a:pt x="3429" y="1960"/>
                  <a:pt x="3430" y="1959"/>
                  <a:pt x="3429" y="1958"/>
                </a:cubicBezTo>
                <a:cubicBezTo>
                  <a:pt x="3428" y="1955"/>
                  <a:pt x="3426" y="1952"/>
                  <a:pt x="3424" y="1949"/>
                </a:cubicBezTo>
                <a:close/>
                <a:moveTo>
                  <a:pt x="3477" y="1951"/>
                </a:moveTo>
                <a:cubicBezTo>
                  <a:pt x="3475" y="1956"/>
                  <a:pt x="3472" y="1960"/>
                  <a:pt x="3470" y="1964"/>
                </a:cubicBezTo>
                <a:cubicBezTo>
                  <a:pt x="3473" y="1964"/>
                  <a:pt x="3475" y="1965"/>
                  <a:pt x="3478" y="1964"/>
                </a:cubicBezTo>
                <a:cubicBezTo>
                  <a:pt x="3478" y="1964"/>
                  <a:pt x="3479" y="1963"/>
                  <a:pt x="3479" y="1963"/>
                </a:cubicBezTo>
                <a:cubicBezTo>
                  <a:pt x="3479" y="1960"/>
                  <a:pt x="3479" y="1958"/>
                  <a:pt x="3478" y="1955"/>
                </a:cubicBezTo>
                <a:cubicBezTo>
                  <a:pt x="3478" y="1954"/>
                  <a:pt x="3477" y="1953"/>
                  <a:pt x="3477" y="1951"/>
                </a:cubicBezTo>
                <a:close/>
                <a:moveTo>
                  <a:pt x="3424" y="1931"/>
                </a:moveTo>
                <a:cubicBezTo>
                  <a:pt x="3424" y="1931"/>
                  <a:pt x="3423" y="1932"/>
                  <a:pt x="3422" y="1932"/>
                </a:cubicBezTo>
                <a:cubicBezTo>
                  <a:pt x="3422" y="1932"/>
                  <a:pt x="3421" y="1932"/>
                  <a:pt x="3421" y="1931"/>
                </a:cubicBezTo>
                <a:cubicBezTo>
                  <a:pt x="3421" y="1931"/>
                  <a:pt x="3420" y="1930"/>
                  <a:pt x="3420" y="1929"/>
                </a:cubicBezTo>
                <a:cubicBezTo>
                  <a:pt x="3421" y="1927"/>
                  <a:pt x="3421" y="1925"/>
                  <a:pt x="3422" y="1923"/>
                </a:cubicBezTo>
                <a:cubicBezTo>
                  <a:pt x="3422" y="1923"/>
                  <a:pt x="3422" y="1923"/>
                  <a:pt x="3421" y="1923"/>
                </a:cubicBezTo>
                <a:cubicBezTo>
                  <a:pt x="3421" y="1924"/>
                  <a:pt x="3419" y="1925"/>
                  <a:pt x="3419" y="1926"/>
                </a:cubicBezTo>
                <a:cubicBezTo>
                  <a:pt x="3418" y="1927"/>
                  <a:pt x="3419" y="1932"/>
                  <a:pt x="3421" y="1933"/>
                </a:cubicBezTo>
                <a:cubicBezTo>
                  <a:pt x="3422" y="1934"/>
                  <a:pt x="3424" y="1933"/>
                  <a:pt x="3424" y="1931"/>
                </a:cubicBezTo>
                <a:close/>
                <a:moveTo>
                  <a:pt x="3424" y="1949"/>
                </a:moveTo>
                <a:cubicBezTo>
                  <a:pt x="3423" y="1950"/>
                  <a:pt x="3422" y="1951"/>
                  <a:pt x="3421" y="1952"/>
                </a:cubicBezTo>
                <a:cubicBezTo>
                  <a:pt x="3420" y="1952"/>
                  <a:pt x="3420" y="1953"/>
                  <a:pt x="3420" y="1954"/>
                </a:cubicBezTo>
                <a:cubicBezTo>
                  <a:pt x="3420" y="1957"/>
                  <a:pt x="3424" y="1961"/>
                  <a:pt x="3428" y="1961"/>
                </a:cubicBezTo>
                <a:cubicBezTo>
                  <a:pt x="3429" y="1961"/>
                  <a:pt x="3430" y="1960"/>
                  <a:pt x="3429" y="1958"/>
                </a:cubicBezTo>
                <a:cubicBezTo>
                  <a:pt x="3428" y="1955"/>
                  <a:pt x="3426" y="1952"/>
                  <a:pt x="3424" y="1949"/>
                </a:cubicBezTo>
                <a:close/>
                <a:moveTo>
                  <a:pt x="3477" y="1951"/>
                </a:moveTo>
                <a:cubicBezTo>
                  <a:pt x="3474" y="1956"/>
                  <a:pt x="3472" y="1960"/>
                  <a:pt x="3470" y="1965"/>
                </a:cubicBezTo>
                <a:cubicBezTo>
                  <a:pt x="3473" y="1965"/>
                  <a:pt x="3475" y="1965"/>
                  <a:pt x="3478" y="1965"/>
                </a:cubicBezTo>
                <a:cubicBezTo>
                  <a:pt x="3478" y="1965"/>
                  <a:pt x="3478" y="1963"/>
                  <a:pt x="3478" y="1963"/>
                </a:cubicBezTo>
                <a:cubicBezTo>
                  <a:pt x="3478" y="1960"/>
                  <a:pt x="3478" y="1958"/>
                  <a:pt x="3478" y="1955"/>
                </a:cubicBezTo>
                <a:cubicBezTo>
                  <a:pt x="3478" y="1954"/>
                  <a:pt x="3477" y="1953"/>
                  <a:pt x="3477" y="1951"/>
                </a:cubicBezTo>
                <a:close/>
                <a:moveTo>
                  <a:pt x="3424" y="1931"/>
                </a:moveTo>
                <a:cubicBezTo>
                  <a:pt x="3423" y="1931"/>
                  <a:pt x="3423" y="1932"/>
                  <a:pt x="3422" y="1932"/>
                </a:cubicBezTo>
                <a:cubicBezTo>
                  <a:pt x="3421" y="1932"/>
                  <a:pt x="3421" y="1932"/>
                  <a:pt x="3421" y="1931"/>
                </a:cubicBezTo>
                <a:cubicBezTo>
                  <a:pt x="3420" y="1931"/>
                  <a:pt x="3420" y="1930"/>
                  <a:pt x="3420" y="1929"/>
                </a:cubicBezTo>
                <a:cubicBezTo>
                  <a:pt x="3421" y="1927"/>
                  <a:pt x="3421" y="1925"/>
                  <a:pt x="3422" y="1923"/>
                </a:cubicBezTo>
                <a:cubicBezTo>
                  <a:pt x="3421" y="1923"/>
                  <a:pt x="3421" y="1923"/>
                  <a:pt x="3421" y="1923"/>
                </a:cubicBezTo>
                <a:cubicBezTo>
                  <a:pt x="3420" y="1924"/>
                  <a:pt x="3419" y="1925"/>
                  <a:pt x="3418" y="1926"/>
                </a:cubicBezTo>
                <a:cubicBezTo>
                  <a:pt x="3417" y="1927"/>
                  <a:pt x="3419" y="1933"/>
                  <a:pt x="3421" y="1933"/>
                </a:cubicBezTo>
                <a:cubicBezTo>
                  <a:pt x="3422" y="1934"/>
                  <a:pt x="3424" y="1933"/>
                  <a:pt x="3424" y="1931"/>
                </a:cubicBezTo>
                <a:close/>
                <a:moveTo>
                  <a:pt x="3476" y="1923"/>
                </a:moveTo>
                <a:cubicBezTo>
                  <a:pt x="3480" y="1919"/>
                  <a:pt x="3480" y="1919"/>
                  <a:pt x="3483" y="1918"/>
                </a:cubicBezTo>
                <a:cubicBezTo>
                  <a:pt x="3483" y="1920"/>
                  <a:pt x="3485" y="1921"/>
                  <a:pt x="3486" y="1921"/>
                </a:cubicBezTo>
                <a:cubicBezTo>
                  <a:pt x="3484" y="1922"/>
                  <a:pt x="3482" y="1924"/>
                  <a:pt x="3480" y="1925"/>
                </a:cubicBezTo>
                <a:cubicBezTo>
                  <a:pt x="3479" y="1924"/>
                  <a:pt x="3479" y="1924"/>
                  <a:pt x="3478" y="1922"/>
                </a:cubicBezTo>
                <a:cubicBezTo>
                  <a:pt x="3478" y="1922"/>
                  <a:pt x="3477" y="1922"/>
                  <a:pt x="3476" y="1923"/>
                </a:cubicBezTo>
                <a:close/>
                <a:moveTo>
                  <a:pt x="3482" y="1922"/>
                </a:moveTo>
                <a:cubicBezTo>
                  <a:pt x="3481" y="1922"/>
                  <a:pt x="3481" y="1922"/>
                  <a:pt x="3480" y="1922"/>
                </a:cubicBezTo>
                <a:cubicBezTo>
                  <a:pt x="3480" y="1922"/>
                  <a:pt x="3479" y="1922"/>
                  <a:pt x="3479" y="1923"/>
                </a:cubicBezTo>
                <a:cubicBezTo>
                  <a:pt x="3479" y="1923"/>
                  <a:pt x="3480" y="1924"/>
                  <a:pt x="3480" y="1924"/>
                </a:cubicBezTo>
                <a:cubicBezTo>
                  <a:pt x="3481" y="1924"/>
                  <a:pt x="3481" y="1923"/>
                  <a:pt x="3482" y="1922"/>
                </a:cubicBezTo>
                <a:close/>
                <a:moveTo>
                  <a:pt x="3464" y="1913"/>
                </a:moveTo>
                <a:cubicBezTo>
                  <a:pt x="3457" y="1912"/>
                  <a:pt x="3454" y="1915"/>
                  <a:pt x="3453" y="1922"/>
                </a:cubicBezTo>
                <a:cubicBezTo>
                  <a:pt x="3454" y="1920"/>
                  <a:pt x="3455" y="1918"/>
                  <a:pt x="3456" y="1916"/>
                </a:cubicBezTo>
                <a:cubicBezTo>
                  <a:pt x="3457" y="1916"/>
                  <a:pt x="3457" y="1916"/>
                  <a:pt x="3457" y="1916"/>
                </a:cubicBezTo>
                <a:cubicBezTo>
                  <a:pt x="3457" y="1917"/>
                  <a:pt x="3457" y="1918"/>
                  <a:pt x="3457" y="1918"/>
                </a:cubicBezTo>
                <a:cubicBezTo>
                  <a:pt x="3458" y="1915"/>
                  <a:pt x="3460" y="1913"/>
                  <a:pt x="3464" y="1913"/>
                </a:cubicBezTo>
                <a:close/>
                <a:moveTo>
                  <a:pt x="3507" y="1914"/>
                </a:moveTo>
                <a:cubicBezTo>
                  <a:pt x="3505" y="1915"/>
                  <a:pt x="3503" y="1917"/>
                  <a:pt x="3501" y="1918"/>
                </a:cubicBezTo>
                <a:cubicBezTo>
                  <a:pt x="3504" y="1919"/>
                  <a:pt x="3506" y="1917"/>
                  <a:pt x="3507" y="1914"/>
                </a:cubicBezTo>
                <a:close/>
                <a:moveTo>
                  <a:pt x="3474" y="1917"/>
                </a:moveTo>
                <a:cubicBezTo>
                  <a:pt x="3475" y="1915"/>
                  <a:pt x="3476" y="1914"/>
                  <a:pt x="3477" y="1913"/>
                </a:cubicBezTo>
                <a:cubicBezTo>
                  <a:pt x="3474" y="1914"/>
                  <a:pt x="3473" y="1915"/>
                  <a:pt x="3474" y="1917"/>
                </a:cubicBezTo>
                <a:close/>
                <a:moveTo>
                  <a:pt x="3484" y="1938"/>
                </a:moveTo>
                <a:cubicBezTo>
                  <a:pt x="3482" y="1938"/>
                  <a:pt x="3481" y="1939"/>
                  <a:pt x="3481" y="1940"/>
                </a:cubicBezTo>
                <a:cubicBezTo>
                  <a:pt x="3482" y="1939"/>
                  <a:pt x="3483" y="1938"/>
                  <a:pt x="3484" y="1938"/>
                </a:cubicBezTo>
                <a:close/>
                <a:moveTo>
                  <a:pt x="3482" y="1922"/>
                </a:moveTo>
                <a:cubicBezTo>
                  <a:pt x="3482" y="1922"/>
                  <a:pt x="3481" y="1921"/>
                  <a:pt x="3480" y="1921"/>
                </a:cubicBezTo>
                <a:cubicBezTo>
                  <a:pt x="3480" y="1921"/>
                  <a:pt x="3479" y="1922"/>
                  <a:pt x="3479" y="1923"/>
                </a:cubicBezTo>
                <a:cubicBezTo>
                  <a:pt x="3479" y="1923"/>
                  <a:pt x="3480" y="1923"/>
                  <a:pt x="3480" y="1924"/>
                </a:cubicBezTo>
                <a:cubicBezTo>
                  <a:pt x="3481" y="1923"/>
                  <a:pt x="3481" y="1923"/>
                  <a:pt x="3482" y="1922"/>
                </a:cubicBezTo>
                <a:close/>
                <a:moveTo>
                  <a:pt x="3031" y="1804"/>
                </a:moveTo>
                <a:cubicBezTo>
                  <a:pt x="3031" y="1804"/>
                  <a:pt x="3031" y="1804"/>
                  <a:pt x="3031" y="1804"/>
                </a:cubicBezTo>
                <a:cubicBezTo>
                  <a:pt x="3025" y="1804"/>
                  <a:pt x="3025" y="1804"/>
                  <a:pt x="3025" y="1804"/>
                </a:cubicBezTo>
                <a:cubicBezTo>
                  <a:pt x="3023" y="1806"/>
                  <a:pt x="3022" y="1807"/>
                  <a:pt x="3019" y="1808"/>
                </a:cubicBezTo>
                <a:cubicBezTo>
                  <a:pt x="3018" y="1809"/>
                  <a:pt x="3016" y="1810"/>
                  <a:pt x="3014" y="1811"/>
                </a:cubicBezTo>
                <a:cubicBezTo>
                  <a:pt x="3013" y="1812"/>
                  <a:pt x="3011" y="1813"/>
                  <a:pt x="3009" y="1814"/>
                </a:cubicBezTo>
                <a:cubicBezTo>
                  <a:pt x="3007" y="1814"/>
                  <a:pt x="3005" y="1815"/>
                  <a:pt x="3003" y="1815"/>
                </a:cubicBezTo>
                <a:cubicBezTo>
                  <a:pt x="3003" y="1815"/>
                  <a:pt x="3003" y="1815"/>
                  <a:pt x="3003" y="1825"/>
                </a:cubicBezTo>
                <a:cubicBezTo>
                  <a:pt x="3006" y="1824"/>
                  <a:pt x="3009" y="1824"/>
                  <a:pt x="3011" y="1822"/>
                </a:cubicBezTo>
                <a:cubicBezTo>
                  <a:pt x="3014" y="1822"/>
                  <a:pt x="3017" y="1820"/>
                  <a:pt x="3019" y="1819"/>
                </a:cubicBezTo>
                <a:cubicBezTo>
                  <a:pt x="3019" y="1819"/>
                  <a:pt x="3019" y="1819"/>
                  <a:pt x="3019" y="1877"/>
                </a:cubicBezTo>
                <a:cubicBezTo>
                  <a:pt x="3019" y="1877"/>
                  <a:pt x="3019" y="1877"/>
                  <a:pt x="3031" y="1877"/>
                </a:cubicBezTo>
                <a:cubicBezTo>
                  <a:pt x="3031" y="1877"/>
                  <a:pt x="3031" y="1877"/>
                  <a:pt x="3031" y="1804"/>
                </a:cubicBezTo>
                <a:close/>
                <a:moveTo>
                  <a:pt x="3077" y="1804"/>
                </a:moveTo>
                <a:cubicBezTo>
                  <a:pt x="3077" y="1804"/>
                  <a:pt x="3077" y="1804"/>
                  <a:pt x="3077" y="1804"/>
                </a:cubicBezTo>
                <a:cubicBezTo>
                  <a:pt x="3072" y="1804"/>
                  <a:pt x="3072" y="1804"/>
                  <a:pt x="3072" y="1804"/>
                </a:cubicBezTo>
                <a:cubicBezTo>
                  <a:pt x="3071" y="1806"/>
                  <a:pt x="3068" y="1807"/>
                  <a:pt x="3067" y="1808"/>
                </a:cubicBezTo>
                <a:cubicBezTo>
                  <a:pt x="3065" y="1809"/>
                  <a:pt x="3063" y="1810"/>
                  <a:pt x="3061" y="1811"/>
                </a:cubicBezTo>
                <a:cubicBezTo>
                  <a:pt x="3060" y="1812"/>
                  <a:pt x="3058" y="1813"/>
                  <a:pt x="3056" y="1814"/>
                </a:cubicBezTo>
                <a:cubicBezTo>
                  <a:pt x="3054" y="1814"/>
                  <a:pt x="3052" y="1815"/>
                  <a:pt x="3050" y="1815"/>
                </a:cubicBezTo>
                <a:cubicBezTo>
                  <a:pt x="3050" y="1815"/>
                  <a:pt x="3050" y="1815"/>
                  <a:pt x="3050" y="1825"/>
                </a:cubicBezTo>
                <a:cubicBezTo>
                  <a:pt x="3053" y="1824"/>
                  <a:pt x="3056" y="1824"/>
                  <a:pt x="3059" y="1822"/>
                </a:cubicBezTo>
                <a:cubicBezTo>
                  <a:pt x="3061" y="1822"/>
                  <a:pt x="3063" y="1820"/>
                  <a:pt x="3066" y="1819"/>
                </a:cubicBezTo>
                <a:cubicBezTo>
                  <a:pt x="3066" y="1819"/>
                  <a:pt x="3066" y="1819"/>
                  <a:pt x="3066" y="1877"/>
                </a:cubicBezTo>
                <a:cubicBezTo>
                  <a:pt x="3066" y="1877"/>
                  <a:pt x="3066" y="1877"/>
                  <a:pt x="3077" y="1877"/>
                </a:cubicBezTo>
                <a:cubicBezTo>
                  <a:pt x="3077" y="1877"/>
                  <a:pt x="3077" y="1877"/>
                  <a:pt x="3077" y="1804"/>
                </a:cubicBezTo>
                <a:close/>
                <a:moveTo>
                  <a:pt x="3123" y="1804"/>
                </a:moveTo>
                <a:cubicBezTo>
                  <a:pt x="3123" y="1804"/>
                  <a:pt x="3123" y="1804"/>
                  <a:pt x="3123" y="1804"/>
                </a:cubicBezTo>
                <a:cubicBezTo>
                  <a:pt x="3119" y="1804"/>
                  <a:pt x="3119" y="1804"/>
                  <a:pt x="3119" y="1804"/>
                </a:cubicBezTo>
                <a:cubicBezTo>
                  <a:pt x="3117" y="1806"/>
                  <a:pt x="3115" y="1807"/>
                  <a:pt x="3113" y="1808"/>
                </a:cubicBezTo>
                <a:cubicBezTo>
                  <a:pt x="3112" y="1809"/>
                  <a:pt x="3110" y="1810"/>
                  <a:pt x="3108" y="1811"/>
                </a:cubicBezTo>
                <a:cubicBezTo>
                  <a:pt x="3106" y="1811"/>
                  <a:pt x="3104" y="1812"/>
                  <a:pt x="3102" y="1813"/>
                </a:cubicBezTo>
                <a:cubicBezTo>
                  <a:pt x="3101" y="1814"/>
                  <a:pt x="3099" y="1814"/>
                  <a:pt x="3097" y="1815"/>
                </a:cubicBezTo>
                <a:cubicBezTo>
                  <a:pt x="3097" y="1815"/>
                  <a:pt x="3097" y="1815"/>
                  <a:pt x="3097" y="1825"/>
                </a:cubicBezTo>
                <a:cubicBezTo>
                  <a:pt x="3100" y="1824"/>
                  <a:pt x="3103" y="1823"/>
                  <a:pt x="3105" y="1822"/>
                </a:cubicBezTo>
                <a:cubicBezTo>
                  <a:pt x="3107" y="1822"/>
                  <a:pt x="3110" y="1820"/>
                  <a:pt x="3112" y="1819"/>
                </a:cubicBezTo>
                <a:cubicBezTo>
                  <a:pt x="3112" y="1819"/>
                  <a:pt x="3112" y="1819"/>
                  <a:pt x="3112" y="1877"/>
                </a:cubicBezTo>
                <a:cubicBezTo>
                  <a:pt x="3112" y="1877"/>
                  <a:pt x="3112" y="1877"/>
                  <a:pt x="3123" y="1877"/>
                </a:cubicBezTo>
                <a:cubicBezTo>
                  <a:pt x="3123" y="1877"/>
                  <a:pt x="3123" y="1877"/>
                  <a:pt x="3123" y="1804"/>
                </a:cubicBezTo>
                <a:close/>
                <a:moveTo>
                  <a:pt x="3260" y="1836"/>
                </a:moveTo>
                <a:cubicBezTo>
                  <a:pt x="3260" y="1836"/>
                  <a:pt x="3260" y="1836"/>
                  <a:pt x="3260" y="1836"/>
                </a:cubicBezTo>
                <a:cubicBezTo>
                  <a:pt x="3260" y="1844"/>
                  <a:pt x="3260" y="1844"/>
                  <a:pt x="3260" y="1844"/>
                </a:cubicBezTo>
                <a:cubicBezTo>
                  <a:pt x="3266" y="1845"/>
                  <a:pt x="3267" y="1848"/>
                  <a:pt x="3267" y="1850"/>
                </a:cubicBezTo>
                <a:cubicBezTo>
                  <a:pt x="3267" y="1853"/>
                  <a:pt x="3266" y="1855"/>
                  <a:pt x="3266" y="1857"/>
                </a:cubicBezTo>
                <a:cubicBezTo>
                  <a:pt x="3266" y="1860"/>
                  <a:pt x="3265" y="1862"/>
                  <a:pt x="3265" y="1865"/>
                </a:cubicBezTo>
                <a:cubicBezTo>
                  <a:pt x="3265" y="1874"/>
                  <a:pt x="3271" y="1877"/>
                  <a:pt x="3280" y="1877"/>
                </a:cubicBezTo>
                <a:cubicBezTo>
                  <a:pt x="3280" y="1877"/>
                  <a:pt x="3280" y="1877"/>
                  <a:pt x="3284" y="1877"/>
                </a:cubicBezTo>
                <a:cubicBezTo>
                  <a:pt x="3284" y="1877"/>
                  <a:pt x="3284" y="1877"/>
                  <a:pt x="3284" y="1868"/>
                </a:cubicBezTo>
                <a:cubicBezTo>
                  <a:pt x="3284" y="1868"/>
                  <a:pt x="3284" y="1868"/>
                  <a:pt x="3282" y="1868"/>
                </a:cubicBezTo>
                <a:cubicBezTo>
                  <a:pt x="3278" y="1868"/>
                  <a:pt x="3277" y="1866"/>
                  <a:pt x="3277" y="1862"/>
                </a:cubicBezTo>
                <a:cubicBezTo>
                  <a:pt x="3277" y="1861"/>
                  <a:pt x="3277" y="1859"/>
                  <a:pt x="3278" y="1857"/>
                </a:cubicBezTo>
                <a:cubicBezTo>
                  <a:pt x="3278" y="1856"/>
                  <a:pt x="3278" y="1854"/>
                  <a:pt x="3278" y="1852"/>
                </a:cubicBezTo>
                <a:cubicBezTo>
                  <a:pt x="3278" y="1844"/>
                  <a:pt x="3275" y="1842"/>
                  <a:pt x="3270" y="1840"/>
                </a:cubicBezTo>
                <a:cubicBezTo>
                  <a:pt x="3270" y="1840"/>
                  <a:pt x="3270" y="1840"/>
                  <a:pt x="3270" y="1840"/>
                </a:cubicBezTo>
                <a:cubicBezTo>
                  <a:pt x="3275" y="1839"/>
                  <a:pt x="3278" y="1837"/>
                  <a:pt x="3278" y="1829"/>
                </a:cubicBezTo>
                <a:cubicBezTo>
                  <a:pt x="3278" y="1827"/>
                  <a:pt x="3278" y="1825"/>
                  <a:pt x="3278" y="1823"/>
                </a:cubicBezTo>
                <a:cubicBezTo>
                  <a:pt x="3277" y="1821"/>
                  <a:pt x="3277" y="1820"/>
                  <a:pt x="3277" y="1818"/>
                </a:cubicBezTo>
                <a:cubicBezTo>
                  <a:pt x="3277" y="1815"/>
                  <a:pt x="3278" y="1813"/>
                  <a:pt x="3282" y="1813"/>
                </a:cubicBezTo>
                <a:cubicBezTo>
                  <a:pt x="3282" y="1813"/>
                  <a:pt x="3282" y="1813"/>
                  <a:pt x="3284" y="1813"/>
                </a:cubicBezTo>
                <a:cubicBezTo>
                  <a:pt x="3284" y="1813"/>
                  <a:pt x="3284" y="1813"/>
                  <a:pt x="3284" y="1803"/>
                </a:cubicBezTo>
                <a:cubicBezTo>
                  <a:pt x="3284" y="1803"/>
                  <a:pt x="3284" y="1803"/>
                  <a:pt x="3280" y="1803"/>
                </a:cubicBezTo>
                <a:cubicBezTo>
                  <a:pt x="3271" y="1803"/>
                  <a:pt x="3265" y="1807"/>
                  <a:pt x="3265" y="1816"/>
                </a:cubicBezTo>
                <a:cubicBezTo>
                  <a:pt x="3265" y="1818"/>
                  <a:pt x="3266" y="1821"/>
                  <a:pt x="3266" y="1823"/>
                </a:cubicBezTo>
                <a:cubicBezTo>
                  <a:pt x="3266" y="1826"/>
                  <a:pt x="3267" y="1828"/>
                  <a:pt x="3267" y="1830"/>
                </a:cubicBezTo>
                <a:cubicBezTo>
                  <a:pt x="3267" y="1833"/>
                  <a:pt x="3266" y="1836"/>
                  <a:pt x="3260" y="1836"/>
                </a:cubicBezTo>
                <a:close/>
                <a:moveTo>
                  <a:pt x="3315" y="1844"/>
                </a:moveTo>
                <a:cubicBezTo>
                  <a:pt x="3315" y="1844"/>
                  <a:pt x="3315" y="1844"/>
                  <a:pt x="3315" y="1844"/>
                </a:cubicBezTo>
                <a:cubicBezTo>
                  <a:pt x="3315" y="1836"/>
                  <a:pt x="3315" y="1836"/>
                  <a:pt x="3315" y="1836"/>
                </a:cubicBezTo>
                <a:cubicBezTo>
                  <a:pt x="3308" y="1836"/>
                  <a:pt x="3308" y="1833"/>
                  <a:pt x="3308" y="1830"/>
                </a:cubicBezTo>
                <a:cubicBezTo>
                  <a:pt x="3308" y="1828"/>
                  <a:pt x="3308" y="1826"/>
                  <a:pt x="3308" y="1823"/>
                </a:cubicBezTo>
                <a:cubicBezTo>
                  <a:pt x="3309" y="1821"/>
                  <a:pt x="3309" y="1818"/>
                  <a:pt x="3309" y="1816"/>
                </a:cubicBezTo>
                <a:cubicBezTo>
                  <a:pt x="3309" y="1807"/>
                  <a:pt x="3303" y="1803"/>
                  <a:pt x="3294" y="1803"/>
                </a:cubicBezTo>
                <a:cubicBezTo>
                  <a:pt x="3294" y="1803"/>
                  <a:pt x="3294" y="1803"/>
                  <a:pt x="3290" y="1803"/>
                </a:cubicBezTo>
                <a:cubicBezTo>
                  <a:pt x="3290" y="1803"/>
                  <a:pt x="3290" y="1803"/>
                  <a:pt x="3290" y="1813"/>
                </a:cubicBezTo>
                <a:cubicBezTo>
                  <a:pt x="3290" y="1813"/>
                  <a:pt x="3290" y="1813"/>
                  <a:pt x="3292" y="1813"/>
                </a:cubicBezTo>
                <a:cubicBezTo>
                  <a:pt x="3296" y="1813"/>
                  <a:pt x="3297" y="1815"/>
                  <a:pt x="3297" y="1818"/>
                </a:cubicBezTo>
                <a:cubicBezTo>
                  <a:pt x="3297" y="1820"/>
                  <a:pt x="3297" y="1821"/>
                  <a:pt x="3297" y="1823"/>
                </a:cubicBezTo>
                <a:cubicBezTo>
                  <a:pt x="3296" y="1825"/>
                  <a:pt x="3296" y="1827"/>
                  <a:pt x="3296" y="1829"/>
                </a:cubicBezTo>
                <a:cubicBezTo>
                  <a:pt x="3296" y="1837"/>
                  <a:pt x="3299" y="1839"/>
                  <a:pt x="3305" y="1840"/>
                </a:cubicBezTo>
                <a:cubicBezTo>
                  <a:pt x="3305" y="1840"/>
                  <a:pt x="3305" y="1840"/>
                  <a:pt x="3305" y="1840"/>
                </a:cubicBezTo>
                <a:cubicBezTo>
                  <a:pt x="3299" y="1842"/>
                  <a:pt x="3296" y="1844"/>
                  <a:pt x="3296" y="1852"/>
                </a:cubicBezTo>
                <a:cubicBezTo>
                  <a:pt x="3296" y="1854"/>
                  <a:pt x="3296" y="1856"/>
                  <a:pt x="3297" y="1857"/>
                </a:cubicBezTo>
                <a:cubicBezTo>
                  <a:pt x="3297" y="1859"/>
                  <a:pt x="3297" y="1861"/>
                  <a:pt x="3297" y="1862"/>
                </a:cubicBezTo>
                <a:cubicBezTo>
                  <a:pt x="3297" y="1866"/>
                  <a:pt x="3296" y="1868"/>
                  <a:pt x="3292" y="1868"/>
                </a:cubicBezTo>
                <a:cubicBezTo>
                  <a:pt x="3292" y="1868"/>
                  <a:pt x="3292" y="1868"/>
                  <a:pt x="3290" y="1868"/>
                </a:cubicBezTo>
                <a:cubicBezTo>
                  <a:pt x="3290" y="1868"/>
                  <a:pt x="3290" y="1868"/>
                  <a:pt x="3290" y="1877"/>
                </a:cubicBezTo>
                <a:cubicBezTo>
                  <a:pt x="3290" y="1877"/>
                  <a:pt x="3290" y="1877"/>
                  <a:pt x="3294" y="1877"/>
                </a:cubicBezTo>
                <a:cubicBezTo>
                  <a:pt x="3303" y="1877"/>
                  <a:pt x="3309" y="1874"/>
                  <a:pt x="3309" y="1865"/>
                </a:cubicBezTo>
                <a:cubicBezTo>
                  <a:pt x="3309" y="1862"/>
                  <a:pt x="3309" y="1860"/>
                  <a:pt x="3308" y="1857"/>
                </a:cubicBezTo>
                <a:cubicBezTo>
                  <a:pt x="3308" y="1855"/>
                  <a:pt x="3308" y="1853"/>
                  <a:pt x="3308" y="1850"/>
                </a:cubicBezTo>
                <a:cubicBezTo>
                  <a:pt x="3308" y="1848"/>
                  <a:pt x="3308" y="1845"/>
                  <a:pt x="3315" y="1844"/>
                </a:cubicBezTo>
                <a:close/>
                <a:moveTo>
                  <a:pt x="3361" y="1804"/>
                </a:moveTo>
                <a:cubicBezTo>
                  <a:pt x="3361" y="1804"/>
                  <a:pt x="3361" y="1804"/>
                  <a:pt x="3361" y="1804"/>
                </a:cubicBezTo>
                <a:cubicBezTo>
                  <a:pt x="3356" y="1804"/>
                  <a:pt x="3356" y="1804"/>
                  <a:pt x="3356" y="1804"/>
                </a:cubicBezTo>
                <a:cubicBezTo>
                  <a:pt x="3354" y="1806"/>
                  <a:pt x="3353" y="1807"/>
                  <a:pt x="3350" y="1808"/>
                </a:cubicBezTo>
                <a:cubicBezTo>
                  <a:pt x="3349" y="1809"/>
                  <a:pt x="3347" y="1810"/>
                  <a:pt x="3345" y="1811"/>
                </a:cubicBezTo>
                <a:cubicBezTo>
                  <a:pt x="3343" y="1811"/>
                  <a:pt x="3342" y="1812"/>
                  <a:pt x="3340" y="1813"/>
                </a:cubicBezTo>
                <a:cubicBezTo>
                  <a:pt x="3338" y="1814"/>
                  <a:pt x="3337" y="1814"/>
                  <a:pt x="3334" y="1815"/>
                </a:cubicBezTo>
                <a:cubicBezTo>
                  <a:pt x="3334" y="1815"/>
                  <a:pt x="3334" y="1815"/>
                  <a:pt x="3334" y="1825"/>
                </a:cubicBezTo>
                <a:cubicBezTo>
                  <a:pt x="3337" y="1824"/>
                  <a:pt x="3340" y="1823"/>
                  <a:pt x="3342" y="1822"/>
                </a:cubicBezTo>
                <a:cubicBezTo>
                  <a:pt x="3345" y="1822"/>
                  <a:pt x="3347" y="1820"/>
                  <a:pt x="3350" y="1819"/>
                </a:cubicBezTo>
                <a:cubicBezTo>
                  <a:pt x="3350" y="1819"/>
                  <a:pt x="3350" y="1819"/>
                  <a:pt x="3350" y="1877"/>
                </a:cubicBezTo>
                <a:cubicBezTo>
                  <a:pt x="3350" y="1877"/>
                  <a:pt x="3350" y="1877"/>
                  <a:pt x="3361" y="1877"/>
                </a:cubicBezTo>
                <a:cubicBezTo>
                  <a:pt x="3361" y="1877"/>
                  <a:pt x="3361" y="1877"/>
                  <a:pt x="3361" y="1804"/>
                </a:cubicBezTo>
                <a:close/>
                <a:moveTo>
                  <a:pt x="3408" y="1804"/>
                </a:moveTo>
                <a:cubicBezTo>
                  <a:pt x="3408" y="1804"/>
                  <a:pt x="3408" y="1804"/>
                  <a:pt x="3408" y="1804"/>
                </a:cubicBezTo>
                <a:cubicBezTo>
                  <a:pt x="3403" y="1804"/>
                  <a:pt x="3403" y="1804"/>
                  <a:pt x="3403" y="1804"/>
                </a:cubicBezTo>
                <a:cubicBezTo>
                  <a:pt x="3401" y="1806"/>
                  <a:pt x="3399" y="1807"/>
                  <a:pt x="3397" y="1808"/>
                </a:cubicBezTo>
                <a:cubicBezTo>
                  <a:pt x="3396" y="1809"/>
                  <a:pt x="3394" y="1810"/>
                  <a:pt x="3392" y="1811"/>
                </a:cubicBezTo>
                <a:cubicBezTo>
                  <a:pt x="3391" y="1812"/>
                  <a:pt x="3389" y="1813"/>
                  <a:pt x="3387" y="1814"/>
                </a:cubicBezTo>
                <a:cubicBezTo>
                  <a:pt x="3385" y="1814"/>
                  <a:pt x="3384" y="1815"/>
                  <a:pt x="3381" y="1815"/>
                </a:cubicBezTo>
                <a:cubicBezTo>
                  <a:pt x="3381" y="1815"/>
                  <a:pt x="3381" y="1815"/>
                  <a:pt x="3381" y="1825"/>
                </a:cubicBezTo>
                <a:cubicBezTo>
                  <a:pt x="3384" y="1824"/>
                  <a:pt x="3387" y="1824"/>
                  <a:pt x="3389" y="1822"/>
                </a:cubicBezTo>
                <a:cubicBezTo>
                  <a:pt x="3392" y="1822"/>
                  <a:pt x="3394" y="1820"/>
                  <a:pt x="3396" y="1819"/>
                </a:cubicBezTo>
                <a:cubicBezTo>
                  <a:pt x="3396" y="1819"/>
                  <a:pt x="3396" y="1819"/>
                  <a:pt x="3396" y="1877"/>
                </a:cubicBezTo>
                <a:cubicBezTo>
                  <a:pt x="3396" y="1877"/>
                  <a:pt x="3396" y="1877"/>
                  <a:pt x="3408" y="1877"/>
                </a:cubicBezTo>
                <a:cubicBezTo>
                  <a:pt x="3408" y="1877"/>
                  <a:pt x="3408" y="1877"/>
                  <a:pt x="3408" y="1804"/>
                </a:cubicBezTo>
                <a:close/>
                <a:moveTo>
                  <a:pt x="3454" y="1804"/>
                </a:moveTo>
                <a:cubicBezTo>
                  <a:pt x="3454" y="1804"/>
                  <a:pt x="3454" y="1804"/>
                  <a:pt x="3454" y="1804"/>
                </a:cubicBezTo>
                <a:cubicBezTo>
                  <a:pt x="3450" y="1804"/>
                  <a:pt x="3450" y="1804"/>
                  <a:pt x="3450" y="1804"/>
                </a:cubicBezTo>
                <a:cubicBezTo>
                  <a:pt x="3447" y="1806"/>
                  <a:pt x="3446" y="1807"/>
                  <a:pt x="3444" y="1808"/>
                </a:cubicBezTo>
                <a:cubicBezTo>
                  <a:pt x="3442" y="1809"/>
                  <a:pt x="3440" y="1810"/>
                  <a:pt x="3439" y="1811"/>
                </a:cubicBezTo>
                <a:cubicBezTo>
                  <a:pt x="3436" y="1812"/>
                  <a:pt x="3435" y="1813"/>
                  <a:pt x="3433" y="1814"/>
                </a:cubicBezTo>
                <a:cubicBezTo>
                  <a:pt x="3431" y="1814"/>
                  <a:pt x="3429" y="1815"/>
                  <a:pt x="3428" y="1815"/>
                </a:cubicBezTo>
                <a:cubicBezTo>
                  <a:pt x="3428" y="1815"/>
                  <a:pt x="3428" y="1815"/>
                  <a:pt x="3428" y="1825"/>
                </a:cubicBezTo>
                <a:cubicBezTo>
                  <a:pt x="3430" y="1824"/>
                  <a:pt x="3433" y="1824"/>
                  <a:pt x="3436" y="1822"/>
                </a:cubicBezTo>
                <a:cubicBezTo>
                  <a:pt x="3438" y="1822"/>
                  <a:pt x="3441" y="1820"/>
                  <a:pt x="3442" y="1819"/>
                </a:cubicBezTo>
                <a:cubicBezTo>
                  <a:pt x="3442" y="1819"/>
                  <a:pt x="3442" y="1819"/>
                  <a:pt x="3442" y="1877"/>
                </a:cubicBezTo>
                <a:cubicBezTo>
                  <a:pt x="3442" y="1877"/>
                  <a:pt x="3442" y="1877"/>
                  <a:pt x="3454" y="1877"/>
                </a:cubicBezTo>
                <a:cubicBezTo>
                  <a:pt x="3454" y="1877"/>
                  <a:pt x="3454" y="1877"/>
                  <a:pt x="3454" y="1804"/>
                </a:cubicBezTo>
                <a:close/>
                <a:moveTo>
                  <a:pt x="3203" y="1851"/>
                </a:moveTo>
                <a:cubicBezTo>
                  <a:pt x="3204" y="1853"/>
                  <a:pt x="3204" y="1854"/>
                  <a:pt x="3205" y="1856"/>
                </a:cubicBezTo>
                <a:cubicBezTo>
                  <a:pt x="3205" y="1857"/>
                  <a:pt x="3206" y="1859"/>
                  <a:pt x="3206" y="1861"/>
                </a:cubicBezTo>
                <a:cubicBezTo>
                  <a:pt x="3206" y="1862"/>
                  <a:pt x="3206" y="1864"/>
                  <a:pt x="3206" y="1865"/>
                </a:cubicBezTo>
                <a:cubicBezTo>
                  <a:pt x="3207" y="1869"/>
                  <a:pt x="3206" y="1870"/>
                  <a:pt x="3203" y="1870"/>
                </a:cubicBezTo>
                <a:cubicBezTo>
                  <a:pt x="3200" y="1870"/>
                  <a:pt x="3197" y="1870"/>
                  <a:pt x="3195" y="1870"/>
                </a:cubicBezTo>
                <a:cubicBezTo>
                  <a:pt x="3194" y="1870"/>
                  <a:pt x="3193" y="1870"/>
                  <a:pt x="3193" y="1870"/>
                </a:cubicBezTo>
                <a:cubicBezTo>
                  <a:pt x="3191" y="1872"/>
                  <a:pt x="3190" y="1873"/>
                  <a:pt x="3189" y="1874"/>
                </a:cubicBezTo>
                <a:cubicBezTo>
                  <a:pt x="3187" y="1877"/>
                  <a:pt x="3183" y="1877"/>
                  <a:pt x="3181" y="1875"/>
                </a:cubicBezTo>
                <a:cubicBezTo>
                  <a:pt x="3179" y="1873"/>
                  <a:pt x="3178" y="1870"/>
                  <a:pt x="3176" y="1868"/>
                </a:cubicBezTo>
                <a:cubicBezTo>
                  <a:pt x="3176" y="1866"/>
                  <a:pt x="3176" y="1865"/>
                  <a:pt x="3178" y="1863"/>
                </a:cubicBezTo>
                <a:cubicBezTo>
                  <a:pt x="3176" y="1863"/>
                  <a:pt x="3174" y="1863"/>
                  <a:pt x="3172" y="1863"/>
                </a:cubicBezTo>
                <a:cubicBezTo>
                  <a:pt x="3172" y="1865"/>
                  <a:pt x="3170" y="1867"/>
                  <a:pt x="3170" y="1869"/>
                </a:cubicBezTo>
                <a:cubicBezTo>
                  <a:pt x="3170" y="1870"/>
                  <a:pt x="3169" y="1870"/>
                  <a:pt x="3169" y="1871"/>
                </a:cubicBezTo>
                <a:cubicBezTo>
                  <a:pt x="3169" y="1874"/>
                  <a:pt x="3168" y="1876"/>
                  <a:pt x="3165" y="1875"/>
                </a:cubicBezTo>
                <a:cubicBezTo>
                  <a:pt x="3162" y="1875"/>
                  <a:pt x="3159" y="1874"/>
                  <a:pt x="3156" y="1873"/>
                </a:cubicBezTo>
                <a:cubicBezTo>
                  <a:pt x="3154" y="1872"/>
                  <a:pt x="3154" y="1871"/>
                  <a:pt x="3154" y="1869"/>
                </a:cubicBezTo>
                <a:cubicBezTo>
                  <a:pt x="3154" y="1868"/>
                  <a:pt x="3154" y="1867"/>
                  <a:pt x="3155" y="1867"/>
                </a:cubicBezTo>
                <a:cubicBezTo>
                  <a:pt x="3152" y="1866"/>
                  <a:pt x="3150" y="1865"/>
                  <a:pt x="3148" y="1864"/>
                </a:cubicBezTo>
                <a:cubicBezTo>
                  <a:pt x="3147" y="1863"/>
                  <a:pt x="3146" y="1861"/>
                  <a:pt x="3145" y="1859"/>
                </a:cubicBezTo>
                <a:cubicBezTo>
                  <a:pt x="3144" y="1857"/>
                  <a:pt x="3144" y="1856"/>
                  <a:pt x="3146" y="1854"/>
                </a:cubicBezTo>
                <a:cubicBezTo>
                  <a:pt x="3149" y="1852"/>
                  <a:pt x="3150" y="1849"/>
                  <a:pt x="3149" y="1845"/>
                </a:cubicBezTo>
                <a:cubicBezTo>
                  <a:pt x="3149" y="1843"/>
                  <a:pt x="3149" y="1841"/>
                  <a:pt x="3149" y="1839"/>
                </a:cubicBezTo>
                <a:cubicBezTo>
                  <a:pt x="3148" y="1839"/>
                  <a:pt x="3146" y="1838"/>
                  <a:pt x="3145" y="1837"/>
                </a:cubicBezTo>
                <a:cubicBezTo>
                  <a:pt x="3144" y="1835"/>
                  <a:pt x="3143" y="1833"/>
                  <a:pt x="3143" y="1832"/>
                </a:cubicBezTo>
                <a:cubicBezTo>
                  <a:pt x="3143" y="1829"/>
                  <a:pt x="3146" y="1826"/>
                  <a:pt x="3149" y="1825"/>
                </a:cubicBezTo>
                <a:cubicBezTo>
                  <a:pt x="3150" y="1826"/>
                  <a:pt x="3150" y="1827"/>
                  <a:pt x="3150" y="1828"/>
                </a:cubicBezTo>
                <a:cubicBezTo>
                  <a:pt x="3150" y="1829"/>
                  <a:pt x="3150" y="1830"/>
                  <a:pt x="3150" y="1831"/>
                </a:cubicBezTo>
                <a:cubicBezTo>
                  <a:pt x="3150" y="1830"/>
                  <a:pt x="3149" y="1830"/>
                  <a:pt x="3149" y="1830"/>
                </a:cubicBezTo>
                <a:cubicBezTo>
                  <a:pt x="3148" y="1832"/>
                  <a:pt x="3148" y="1833"/>
                  <a:pt x="3147" y="1835"/>
                </a:cubicBezTo>
                <a:cubicBezTo>
                  <a:pt x="3148" y="1834"/>
                  <a:pt x="3149" y="1834"/>
                  <a:pt x="3150" y="1834"/>
                </a:cubicBezTo>
                <a:cubicBezTo>
                  <a:pt x="3151" y="1833"/>
                  <a:pt x="3152" y="1832"/>
                  <a:pt x="3152" y="1831"/>
                </a:cubicBezTo>
                <a:cubicBezTo>
                  <a:pt x="3157" y="1824"/>
                  <a:pt x="3163" y="1820"/>
                  <a:pt x="3170" y="1819"/>
                </a:cubicBezTo>
                <a:cubicBezTo>
                  <a:pt x="3174" y="1818"/>
                  <a:pt x="3177" y="1817"/>
                  <a:pt x="3179" y="1814"/>
                </a:cubicBezTo>
                <a:cubicBezTo>
                  <a:pt x="3179" y="1814"/>
                  <a:pt x="3180" y="1813"/>
                  <a:pt x="3180" y="1813"/>
                </a:cubicBezTo>
                <a:cubicBezTo>
                  <a:pt x="3183" y="1813"/>
                  <a:pt x="3185" y="1811"/>
                  <a:pt x="3187" y="1809"/>
                </a:cubicBezTo>
                <a:cubicBezTo>
                  <a:pt x="3194" y="1801"/>
                  <a:pt x="3206" y="1801"/>
                  <a:pt x="3214" y="1808"/>
                </a:cubicBezTo>
                <a:cubicBezTo>
                  <a:pt x="3216" y="1809"/>
                  <a:pt x="3219" y="1811"/>
                  <a:pt x="3221" y="1813"/>
                </a:cubicBezTo>
                <a:cubicBezTo>
                  <a:pt x="3223" y="1815"/>
                  <a:pt x="3224" y="1816"/>
                  <a:pt x="3225" y="1818"/>
                </a:cubicBezTo>
                <a:cubicBezTo>
                  <a:pt x="3226" y="1820"/>
                  <a:pt x="3227" y="1820"/>
                  <a:pt x="3228" y="1819"/>
                </a:cubicBezTo>
                <a:cubicBezTo>
                  <a:pt x="3229" y="1818"/>
                  <a:pt x="3230" y="1817"/>
                  <a:pt x="3230" y="1817"/>
                </a:cubicBezTo>
                <a:cubicBezTo>
                  <a:pt x="3232" y="1814"/>
                  <a:pt x="3236" y="1814"/>
                  <a:pt x="3237" y="1817"/>
                </a:cubicBezTo>
                <a:cubicBezTo>
                  <a:pt x="3238" y="1820"/>
                  <a:pt x="3239" y="1823"/>
                  <a:pt x="3239" y="1826"/>
                </a:cubicBezTo>
                <a:cubicBezTo>
                  <a:pt x="3240" y="1830"/>
                  <a:pt x="3239" y="1835"/>
                  <a:pt x="3238" y="1839"/>
                </a:cubicBezTo>
                <a:cubicBezTo>
                  <a:pt x="3236" y="1845"/>
                  <a:pt x="3231" y="1849"/>
                  <a:pt x="3224" y="1849"/>
                </a:cubicBezTo>
                <a:cubicBezTo>
                  <a:pt x="3223" y="1849"/>
                  <a:pt x="3223" y="1849"/>
                  <a:pt x="3222" y="1849"/>
                </a:cubicBezTo>
                <a:cubicBezTo>
                  <a:pt x="3220" y="1848"/>
                  <a:pt x="3219" y="1849"/>
                  <a:pt x="3218" y="1851"/>
                </a:cubicBezTo>
                <a:cubicBezTo>
                  <a:pt x="3216" y="1856"/>
                  <a:pt x="3211" y="1857"/>
                  <a:pt x="3207" y="1854"/>
                </a:cubicBezTo>
                <a:cubicBezTo>
                  <a:pt x="3206" y="1853"/>
                  <a:pt x="3205" y="1852"/>
                  <a:pt x="3204" y="1851"/>
                </a:cubicBezTo>
                <a:cubicBezTo>
                  <a:pt x="3204" y="1851"/>
                  <a:pt x="3204" y="1851"/>
                  <a:pt x="3203" y="1851"/>
                </a:cubicBezTo>
                <a:close/>
                <a:moveTo>
                  <a:pt x="3198" y="1847"/>
                </a:moveTo>
                <a:cubicBezTo>
                  <a:pt x="3201" y="1848"/>
                  <a:pt x="3205" y="1850"/>
                  <a:pt x="3208" y="1852"/>
                </a:cubicBezTo>
                <a:cubicBezTo>
                  <a:pt x="3209" y="1854"/>
                  <a:pt x="3211" y="1855"/>
                  <a:pt x="3213" y="1854"/>
                </a:cubicBezTo>
                <a:cubicBezTo>
                  <a:pt x="3216" y="1853"/>
                  <a:pt x="3217" y="1851"/>
                  <a:pt x="3217" y="1848"/>
                </a:cubicBezTo>
                <a:cubicBezTo>
                  <a:pt x="3217" y="1848"/>
                  <a:pt x="3216" y="1848"/>
                  <a:pt x="3216" y="1849"/>
                </a:cubicBezTo>
                <a:cubicBezTo>
                  <a:pt x="3216" y="1850"/>
                  <a:pt x="3215" y="1851"/>
                  <a:pt x="3214" y="1852"/>
                </a:cubicBezTo>
                <a:cubicBezTo>
                  <a:pt x="3213" y="1854"/>
                  <a:pt x="3211" y="1853"/>
                  <a:pt x="3211" y="1853"/>
                </a:cubicBezTo>
                <a:cubicBezTo>
                  <a:pt x="3210" y="1853"/>
                  <a:pt x="3210" y="1852"/>
                  <a:pt x="3210" y="1851"/>
                </a:cubicBezTo>
                <a:cubicBezTo>
                  <a:pt x="3210" y="1848"/>
                  <a:pt x="3210" y="1846"/>
                  <a:pt x="3210" y="1845"/>
                </a:cubicBezTo>
                <a:cubicBezTo>
                  <a:pt x="3213" y="1845"/>
                  <a:pt x="3217" y="1846"/>
                  <a:pt x="3220" y="1847"/>
                </a:cubicBezTo>
                <a:cubicBezTo>
                  <a:pt x="3228" y="1848"/>
                  <a:pt x="3234" y="1846"/>
                  <a:pt x="3237" y="1838"/>
                </a:cubicBezTo>
                <a:cubicBezTo>
                  <a:pt x="3238" y="1833"/>
                  <a:pt x="3238" y="1828"/>
                  <a:pt x="3237" y="1823"/>
                </a:cubicBezTo>
                <a:cubicBezTo>
                  <a:pt x="3237" y="1821"/>
                  <a:pt x="3236" y="1820"/>
                  <a:pt x="3235" y="1818"/>
                </a:cubicBezTo>
                <a:cubicBezTo>
                  <a:pt x="3234" y="1816"/>
                  <a:pt x="3233" y="1816"/>
                  <a:pt x="3232" y="1817"/>
                </a:cubicBezTo>
                <a:cubicBezTo>
                  <a:pt x="3230" y="1819"/>
                  <a:pt x="3229" y="1821"/>
                  <a:pt x="3227" y="1821"/>
                </a:cubicBezTo>
                <a:cubicBezTo>
                  <a:pt x="3226" y="1822"/>
                  <a:pt x="3225" y="1822"/>
                  <a:pt x="3226" y="1824"/>
                </a:cubicBezTo>
                <a:cubicBezTo>
                  <a:pt x="3226" y="1827"/>
                  <a:pt x="3226" y="1830"/>
                  <a:pt x="3224" y="1833"/>
                </a:cubicBezTo>
                <a:cubicBezTo>
                  <a:pt x="3224" y="1831"/>
                  <a:pt x="3225" y="1829"/>
                  <a:pt x="3225" y="1828"/>
                </a:cubicBezTo>
                <a:cubicBezTo>
                  <a:pt x="3225" y="1827"/>
                  <a:pt x="3224" y="1826"/>
                  <a:pt x="3224" y="1826"/>
                </a:cubicBezTo>
                <a:cubicBezTo>
                  <a:pt x="3224" y="1826"/>
                  <a:pt x="3223" y="1826"/>
                  <a:pt x="3223" y="1827"/>
                </a:cubicBezTo>
                <a:cubicBezTo>
                  <a:pt x="3222" y="1828"/>
                  <a:pt x="3221" y="1830"/>
                  <a:pt x="3221" y="1831"/>
                </a:cubicBezTo>
                <a:cubicBezTo>
                  <a:pt x="3220" y="1831"/>
                  <a:pt x="3220" y="1831"/>
                  <a:pt x="3220" y="1831"/>
                </a:cubicBezTo>
                <a:cubicBezTo>
                  <a:pt x="3221" y="1829"/>
                  <a:pt x="3221" y="1828"/>
                  <a:pt x="3221" y="1825"/>
                </a:cubicBezTo>
                <a:cubicBezTo>
                  <a:pt x="3220" y="1826"/>
                  <a:pt x="3220" y="1826"/>
                  <a:pt x="3219" y="1827"/>
                </a:cubicBezTo>
                <a:cubicBezTo>
                  <a:pt x="3219" y="1828"/>
                  <a:pt x="3218" y="1828"/>
                  <a:pt x="3218" y="1829"/>
                </a:cubicBezTo>
                <a:cubicBezTo>
                  <a:pt x="3218" y="1826"/>
                  <a:pt x="3219" y="1826"/>
                  <a:pt x="3224" y="1824"/>
                </a:cubicBezTo>
                <a:cubicBezTo>
                  <a:pt x="3224" y="1824"/>
                  <a:pt x="3223" y="1823"/>
                  <a:pt x="3223" y="1823"/>
                </a:cubicBezTo>
                <a:cubicBezTo>
                  <a:pt x="3221" y="1824"/>
                  <a:pt x="3220" y="1822"/>
                  <a:pt x="3219" y="1820"/>
                </a:cubicBezTo>
                <a:cubicBezTo>
                  <a:pt x="3221" y="1820"/>
                  <a:pt x="3223" y="1819"/>
                  <a:pt x="3224" y="1819"/>
                </a:cubicBezTo>
                <a:cubicBezTo>
                  <a:pt x="3223" y="1817"/>
                  <a:pt x="3221" y="1814"/>
                  <a:pt x="3218" y="1813"/>
                </a:cubicBezTo>
                <a:cubicBezTo>
                  <a:pt x="3217" y="1813"/>
                  <a:pt x="3217" y="1813"/>
                  <a:pt x="3217" y="1813"/>
                </a:cubicBezTo>
                <a:cubicBezTo>
                  <a:pt x="3215" y="1811"/>
                  <a:pt x="3212" y="1808"/>
                  <a:pt x="3210" y="1806"/>
                </a:cubicBezTo>
                <a:cubicBezTo>
                  <a:pt x="3207" y="1805"/>
                  <a:pt x="3204" y="1804"/>
                  <a:pt x="3202" y="1804"/>
                </a:cubicBezTo>
                <a:cubicBezTo>
                  <a:pt x="3199" y="1805"/>
                  <a:pt x="3196" y="1806"/>
                  <a:pt x="3193" y="1807"/>
                </a:cubicBezTo>
                <a:cubicBezTo>
                  <a:pt x="3190" y="1808"/>
                  <a:pt x="3187" y="1809"/>
                  <a:pt x="3185" y="1813"/>
                </a:cubicBezTo>
                <a:cubicBezTo>
                  <a:pt x="3187" y="1813"/>
                  <a:pt x="3188" y="1813"/>
                  <a:pt x="3189" y="1813"/>
                </a:cubicBezTo>
                <a:cubicBezTo>
                  <a:pt x="3189" y="1813"/>
                  <a:pt x="3188" y="1813"/>
                  <a:pt x="3187" y="1813"/>
                </a:cubicBezTo>
                <a:cubicBezTo>
                  <a:pt x="3185" y="1814"/>
                  <a:pt x="3182" y="1813"/>
                  <a:pt x="3180" y="1816"/>
                </a:cubicBezTo>
                <a:cubicBezTo>
                  <a:pt x="3177" y="1820"/>
                  <a:pt x="3173" y="1823"/>
                  <a:pt x="3169" y="1828"/>
                </a:cubicBezTo>
                <a:cubicBezTo>
                  <a:pt x="3168" y="1830"/>
                  <a:pt x="3167" y="1832"/>
                  <a:pt x="3166" y="1834"/>
                </a:cubicBezTo>
                <a:cubicBezTo>
                  <a:pt x="3166" y="1835"/>
                  <a:pt x="3166" y="1835"/>
                  <a:pt x="3166" y="1836"/>
                </a:cubicBezTo>
                <a:cubicBezTo>
                  <a:pt x="3167" y="1838"/>
                  <a:pt x="3169" y="1840"/>
                  <a:pt x="3170" y="1842"/>
                </a:cubicBezTo>
                <a:cubicBezTo>
                  <a:pt x="3171" y="1840"/>
                  <a:pt x="3172" y="1839"/>
                  <a:pt x="3174" y="1837"/>
                </a:cubicBezTo>
                <a:cubicBezTo>
                  <a:pt x="3173" y="1839"/>
                  <a:pt x="3173" y="1840"/>
                  <a:pt x="3172" y="1841"/>
                </a:cubicBezTo>
                <a:cubicBezTo>
                  <a:pt x="3171" y="1843"/>
                  <a:pt x="3170" y="1844"/>
                  <a:pt x="3170" y="1845"/>
                </a:cubicBezTo>
                <a:cubicBezTo>
                  <a:pt x="3170" y="1846"/>
                  <a:pt x="3170" y="1847"/>
                  <a:pt x="3170" y="1848"/>
                </a:cubicBezTo>
                <a:cubicBezTo>
                  <a:pt x="3173" y="1852"/>
                  <a:pt x="3176" y="1852"/>
                  <a:pt x="3180" y="1850"/>
                </a:cubicBezTo>
                <a:cubicBezTo>
                  <a:pt x="3182" y="1848"/>
                  <a:pt x="3185" y="1847"/>
                  <a:pt x="3188" y="1846"/>
                </a:cubicBezTo>
                <a:cubicBezTo>
                  <a:pt x="3189" y="1846"/>
                  <a:pt x="3191" y="1845"/>
                  <a:pt x="3191" y="1843"/>
                </a:cubicBezTo>
                <a:cubicBezTo>
                  <a:pt x="3191" y="1840"/>
                  <a:pt x="3191" y="1837"/>
                  <a:pt x="3191" y="1833"/>
                </a:cubicBezTo>
                <a:cubicBezTo>
                  <a:pt x="3191" y="1830"/>
                  <a:pt x="3191" y="1828"/>
                  <a:pt x="3191" y="1824"/>
                </a:cubicBezTo>
                <a:cubicBezTo>
                  <a:pt x="3191" y="1827"/>
                  <a:pt x="3192" y="1830"/>
                  <a:pt x="3192" y="1832"/>
                </a:cubicBezTo>
                <a:cubicBezTo>
                  <a:pt x="3193" y="1837"/>
                  <a:pt x="3193" y="1841"/>
                  <a:pt x="3192" y="1846"/>
                </a:cubicBezTo>
                <a:cubicBezTo>
                  <a:pt x="3191" y="1846"/>
                  <a:pt x="3191" y="1847"/>
                  <a:pt x="3190" y="1847"/>
                </a:cubicBezTo>
                <a:cubicBezTo>
                  <a:pt x="3187" y="1848"/>
                  <a:pt x="3183" y="1850"/>
                  <a:pt x="3180" y="1851"/>
                </a:cubicBezTo>
                <a:cubicBezTo>
                  <a:pt x="3175" y="1854"/>
                  <a:pt x="3172" y="1852"/>
                  <a:pt x="3168" y="1848"/>
                </a:cubicBezTo>
                <a:cubicBezTo>
                  <a:pt x="3168" y="1848"/>
                  <a:pt x="3168" y="1847"/>
                  <a:pt x="3168" y="1846"/>
                </a:cubicBezTo>
                <a:cubicBezTo>
                  <a:pt x="3169" y="1844"/>
                  <a:pt x="3168" y="1842"/>
                  <a:pt x="3167" y="1840"/>
                </a:cubicBezTo>
                <a:cubicBezTo>
                  <a:pt x="3165" y="1838"/>
                  <a:pt x="3163" y="1836"/>
                  <a:pt x="3165" y="1833"/>
                </a:cubicBezTo>
                <a:cubicBezTo>
                  <a:pt x="3165" y="1831"/>
                  <a:pt x="3166" y="1830"/>
                  <a:pt x="3167" y="1828"/>
                </a:cubicBezTo>
                <a:cubicBezTo>
                  <a:pt x="3169" y="1825"/>
                  <a:pt x="3171" y="1823"/>
                  <a:pt x="3173" y="1820"/>
                </a:cubicBezTo>
                <a:cubicBezTo>
                  <a:pt x="3173" y="1820"/>
                  <a:pt x="3172" y="1820"/>
                  <a:pt x="3172" y="1820"/>
                </a:cubicBezTo>
                <a:cubicBezTo>
                  <a:pt x="3167" y="1821"/>
                  <a:pt x="3163" y="1823"/>
                  <a:pt x="3159" y="1826"/>
                </a:cubicBezTo>
                <a:cubicBezTo>
                  <a:pt x="3154" y="1830"/>
                  <a:pt x="3151" y="1835"/>
                  <a:pt x="3151" y="1842"/>
                </a:cubicBezTo>
                <a:cubicBezTo>
                  <a:pt x="3150" y="1849"/>
                  <a:pt x="3153" y="1855"/>
                  <a:pt x="3156" y="1861"/>
                </a:cubicBezTo>
                <a:cubicBezTo>
                  <a:pt x="3157" y="1861"/>
                  <a:pt x="3157" y="1863"/>
                  <a:pt x="3157" y="1864"/>
                </a:cubicBezTo>
                <a:cubicBezTo>
                  <a:pt x="3157" y="1866"/>
                  <a:pt x="3157" y="1867"/>
                  <a:pt x="3156" y="1869"/>
                </a:cubicBezTo>
                <a:cubicBezTo>
                  <a:pt x="3156" y="1870"/>
                  <a:pt x="3156" y="1871"/>
                  <a:pt x="3157" y="1872"/>
                </a:cubicBezTo>
                <a:cubicBezTo>
                  <a:pt x="3160" y="1872"/>
                  <a:pt x="3163" y="1873"/>
                  <a:pt x="3166" y="1873"/>
                </a:cubicBezTo>
                <a:cubicBezTo>
                  <a:pt x="3167" y="1873"/>
                  <a:pt x="3167" y="1872"/>
                  <a:pt x="3167" y="1872"/>
                </a:cubicBezTo>
                <a:cubicBezTo>
                  <a:pt x="3168" y="1871"/>
                  <a:pt x="3168" y="1869"/>
                  <a:pt x="3169" y="1869"/>
                </a:cubicBezTo>
                <a:cubicBezTo>
                  <a:pt x="3170" y="1866"/>
                  <a:pt x="3170" y="1863"/>
                  <a:pt x="3170" y="1861"/>
                </a:cubicBezTo>
                <a:cubicBezTo>
                  <a:pt x="3170" y="1860"/>
                  <a:pt x="3170" y="1860"/>
                  <a:pt x="3170" y="1859"/>
                </a:cubicBezTo>
                <a:cubicBezTo>
                  <a:pt x="3170" y="1859"/>
                  <a:pt x="3170" y="1859"/>
                  <a:pt x="3170" y="1859"/>
                </a:cubicBezTo>
                <a:cubicBezTo>
                  <a:pt x="3171" y="1861"/>
                  <a:pt x="3172" y="1861"/>
                  <a:pt x="3174" y="1861"/>
                </a:cubicBezTo>
                <a:cubicBezTo>
                  <a:pt x="3175" y="1861"/>
                  <a:pt x="3176" y="1861"/>
                  <a:pt x="3177" y="1861"/>
                </a:cubicBezTo>
                <a:cubicBezTo>
                  <a:pt x="3180" y="1861"/>
                  <a:pt x="3183" y="1862"/>
                  <a:pt x="3183" y="1858"/>
                </a:cubicBezTo>
                <a:cubicBezTo>
                  <a:pt x="3183" y="1860"/>
                  <a:pt x="3183" y="1862"/>
                  <a:pt x="3183" y="1863"/>
                </a:cubicBezTo>
                <a:cubicBezTo>
                  <a:pt x="3182" y="1863"/>
                  <a:pt x="3181" y="1864"/>
                  <a:pt x="3180" y="1865"/>
                </a:cubicBezTo>
                <a:cubicBezTo>
                  <a:pt x="3178" y="1865"/>
                  <a:pt x="3178" y="1867"/>
                  <a:pt x="3178" y="1868"/>
                </a:cubicBezTo>
                <a:cubicBezTo>
                  <a:pt x="3180" y="1870"/>
                  <a:pt x="3181" y="1872"/>
                  <a:pt x="3182" y="1874"/>
                </a:cubicBezTo>
                <a:cubicBezTo>
                  <a:pt x="3184" y="1875"/>
                  <a:pt x="3186" y="1875"/>
                  <a:pt x="3187" y="1873"/>
                </a:cubicBezTo>
                <a:cubicBezTo>
                  <a:pt x="3188" y="1872"/>
                  <a:pt x="3189" y="1872"/>
                  <a:pt x="3189" y="1871"/>
                </a:cubicBezTo>
                <a:cubicBezTo>
                  <a:pt x="3191" y="1870"/>
                  <a:pt x="3193" y="1869"/>
                  <a:pt x="3194" y="1867"/>
                </a:cubicBezTo>
                <a:cubicBezTo>
                  <a:pt x="3198" y="1863"/>
                  <a:pt x="3200" y="1857"/>
                  <a:pt x="3202" y="1851"/>
                </a:cubicBezTo>
                <a:cubicBezTo>
                  <a:pt x="3202" y="1851"/>
                  <a:pt x="3201" y="1850"/>
                  <a:pt x="3201" y="1850"/>
                </a:cubicBezTo>
                <a:cubicBezTo>
                  <a:pt x="3200" y="1848"/>
                  <a:pt x="3199" y="1848"/>
                  <a:pt x="3198" y="1847"/>
                </a:cubicBezTo>
                <a:close/>
                <a:moveTo>
                  <a:pt x="3150" y="1853"/>
                </a:moveTo>
                <a:cubicBezTo>
                  <a:pt x="3150" y="1854"/>
                  <a:pt x="3148" y="1855"/>
                  <a:pt x="3147" y="1856"/>
                </a:cubicBezTo>
                <a:cubicBezTo>
                  <a:pt x="3146" y="1856"/>
                  <a:pt x="3146" y="1857"/>
                  <a:pt x="3146" y="1858"/>
                </a:cubicBezTo>
                <a:cubicBezTo>
                  <a:pt x="3146" y="1861"/>
                  <a:pt x="3150" y="1865"/>
                  <a:pt x="3154" y="1865"/>
                </a:cubicBezTo>
                <a:cubicBezTo>
                  <a:pt x="3155" y="1865"/>
                  <a:pt x="3156" y="1863"/>
                  <a:pt x="3155" y="1862"/>
                </a:cubicBezTo>
                <a:cubicBezTo>
                  <a:pt x="3154" y="1859"/>
                  <a:pt x="3152" y="1856"/>
                  <a:pt x="3150" y="1853"/>
                </a:cubicBezTo>
                <a:close/>
                <a:moveTo>
                  <a:pt x="3203" y="1855"/>
                </a:moveTo>
                <a:cubicBezTo>
                  <a:pt x="3201" y="1860"/>
                  <a:pt x="3198"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0" y="1835"/>
                </a:moveTo>
                <a:cubicBezTo>
                  <a:pt x="3150" y="1835"/>
                  <a:pt x="3149" y="1836"/>
                  <a:pt x="3148" y="1836"/>
                </a:cubicBezTo>
                <a:cubicBezTo>
                  <a:pt x="3148" y="1836"/>
                  <a:pt x="3147" y="1836"/>
                  <a:pt x="3147" y="1835"/>
                </a:cubicBezTo>
                <a:cubicBezTo>
                  <a:pt x="3146" y="1835"/>
                  <a:pt x="3146" y="1834"/>
                  <a:pt x="3146" y="1833"/>
                </a:cubicBezTo>
                <a:cubicBezTo>
                  <a:pt x="3147" y="1832"/>
                  <a:pt x="3147" y="1830"/>
                  <a:pt x="3148" y="1828"/>
                </a:cubicBezTo>
                <a:cubicBezTo>
                  <a:pt x="3148" y="1828"/>
                  <a:pt x="3148" y="1828"/>
                  <a:pt x="3147" y="1828"/>
                </a:cubicBezTo>
                <a:cubicBezTo>
                  <a:pt x="3146" y="1828"/>
                  <a:pt x="3145" y="1829"/>
                  <a:pt x="3144" y="1830"/>
                </a:cubicBezTo>
                <a:cubicBezTo>
                  <a:pt x="3144" y="1832"/>
                  <a:pt x="3145" y="1837"/>
                  <a:pt x="3147" y="1837"/>
                </a:cubicBezTo>
                <a:cubicBezTo>
                  <a:pt x="3148" y="1838"/>
                  <a:pt x="3150" y="1837"/>
                  <a:pt x="3150" y="1835"/>
                </a:cubicBezTo>
                <a:close/>
                <a:moveTo>
                  <a:pt x="3150" y="1853"/>
                </a:moveTo>
                <a:cubicBezTo>
                  <a:pt x="3150" y="1854"/>
                  <a:pt x="3148" y="1855"/>
                  <a:pt x="3147" y="1856"/>
                </a:cubicBezTo>
                <a:cubicBezTo>
                  <a:pt x="3147" y="1856"/>
                  <a:pt x="3146" y="1857"/>
                  <a:pt x="3146" y="1858"/>
                </a:cubicBezTo>
                <a:cubicBezTo>
                  <a:pt x="3146" y="1861"/>
                  <a:pt x="3150" y="1865"/>
                  <a:pt x="3154" y="1865"/>
                </a:cubicBezTo>
                <a:cubicBezTo>
                  <a:pt x="3155" y="1865"/>
                  <a:pt x="3156" y="1864"/>
                  <a:pt x="3155" y="1862"/>
                </a:cubicBezTo>
                <a:cubicBezTo>
                  <a:pt x="3154" y="1859"/>
                  <a:pt x="3152" y="1856"/>
                  <a:pt x="3150" y="1853"/>
                </a:cubicBezTo>
                <a:close/>
                <a:moveTo>
                  <a:pt x="3203" y="1855"/>
                </a:moveTo>
                <a:cubicBezTo>
                  <a:pt x="3201" y="1860"/>
                  <a:pt x="3199"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1" y="1835"/>
                </a:moveTo>
                <a:cubicBezTo>
                  <a:pt x="3150" y="1835"/>
                  <a:pt x="3149" y="1836"/>
                  <a:pt x="3149" y="1836"/>
                </a:cubicBezTo>
                <a:cubicBezTo>
                  <a:pt x="3148" y="1836"/>
                  <a:pt x="3147" y="1836"/>
                  <a:pt x="3147" y="1835"/>
                </a:cubicBezTo>
                <a:cubicBezTo>
                  <a:pt x="3147" y="1835"/>
                  <a:pt x="3146" y="1834"/>
                  <a:pt x="3146" y="1833"/>
                </a:cubicBezTo>
                <a:cubicBezTo>
                  <a:pt x="3147" y="1831"/>
                  <a:pt x="3147" y="1829"/>
                  <a:pt x="3148" y="1827"/>
                </a:cubicBezTo>
                <a:cubicBezTo>
                  <a:pt x="3148" y="1827"/>
                  <a:pt x="3148" y="1827"/>
                  <a:pt x="3147" y="1827"/>
                </a:cubicBezTo>
                <a:cubicBezTo>
                  <a:pt x="3147" y="1828"/>
                  <a:pt x="3145" y="1829"/>
                  <a:pt x="3145" y="1830"/>
                </a:cubicBezTo>
                <a:cubicBezTo>
                  <a:pt x="3144" y="1831"/>
                  <a:pt x="3145" y="1837"/>
                  <a:pt x="3147" y="1837"/>
                </a:cubicBezTo>
                <a:cubicBezTo>
                  <a:pt x="3149" y="1838"/>
                  <a:pt x="3151" y="1837"/>
                  <a:pt x="3151" y="1835"/>
                </a:cubicBezTo>
                <a:close/>
                <a:moveTo>
                  <a:pt x="3203" y="1827"/>
                </a:moveTo>
                <a:cubicBezTo>
                  <a:pt x="3206" y="1823"/>
                  <a:pt x="3206" y="1823"/>
                  <a:pt x="3210" y="1822"/>
                </a:cubicBezTo>
                <a:cubicBezTo>
                  <a:pt x="3210" y="1824"/>
                  <a:pt x="3211" y="1825"/>
                  <a:pt x="3212" y="1825"/>
                </a:cubicBezTo>
                <a:cubicBezTo>
                  <a:pt x="3210" y="1826"/>
                  <a:pt x="3208" y="1828"/>
                  <a:pt x="3206" y="1829"/>
                </a:cubicBezTo>
                <a:cubicBezTo>
                  <a:pt x="3206" y="1828"/>
                  <a:pt x="3205" y="1828"/>
                  <a:pt x="3204" y="1826"/>
                </a:cubicBezTo>
                <a:cubicBezTo>
                  <a:pt x="3204" y="1826"/>
                  <a:pt x="3204" y="1826"/>
                  <a:pt x="3203" y="1827"/>
                </a:cubicBezTo>
                <a:close/>
                <a:moveTo>
                  <a:pt x="3209" y="1826"/>
                </a:moveTo>
                <a:cubicBezTo>
                  <a:pt x="3208" y="1826"/>
                  <a:pt x="3207" y="1826"/>
                  <a:pt x="3207" y="1826"/>
                </a:cubicBezTo>
                <a:cubicBezTo>
                  <a:pt x="3206" y="1826"/>
                  <a:pt x="3206" y="1826"/>
                  <a:pt x="3206" y="1827"/>
                </a:cubicBezTo>
                <a:cubicBezTo>
                  <a:pt x="3206" y="1827"/>
                  <a:pt x="3206" y="1828"/>
                  <a:pt x="3206" y="1828"/>
                </a:cubicBezTo>
                <a:cubicBezTo>
                  <a:pt x="3207" y="1828"/>
                  <a:pt x="3208" y="1827"/>
                  <a:pt x="3209" y="1826"/>
                </a:cubicBezTo>
                <a:close/>
                <a:moveTo>
                  <a:pt x="3190" y="1817"/>
                </a:moveTo>
                <a:cubicBezTo>
                  <a:pt x="3183" y="1816"/>
                  <a:pt x="3181" y="1819"/>
                  <a:pt x="3179" y="1826"/>
                </a:cubicBezTo>
                <a:cubicBezTo>
                  <a:pt x="3181" y="1824"/>
                  <a:pt x="3182" y="1822"/>
                  <a:pt x="3183" y="1820"/>
                </a:cubicBezTo>
                <a:cubicBezTo>
                  <a:pt x="3183" y="1820"/>
                  <a:pt x="3183" y="1820"/>
                  <a:pt x="3183" y="1820"/>
                </a:cubicBezTo>
                <a:cubicBezTo>
                  <a:pt x="3183" y="1821"/>
                  <a:pt x="3184" y="1822"/>
                  <a:pt x="3184" y="1822"/>
                </a:cubicBezTo>
                <a:cubicBezTo>
                  <a:pt x="3185" y="1819"/>
                  <a:pt x="3186" y="1817"/>
                  <a:pt x="3190" y="1817"/>
                </a:cubicBezTo>
                <a:close/>
                <a:moveTo>
                  <a:pt x="3234" y="1818"/>
                </a:moveTo>
                <a:cubicBezTo>
                  <a:pt x="3232" y="1819"/>
                  <a:pt x="3229" y="1821"/>
                  <a:pt x="3228" y="1822"/>
                </a:cubicBezTo>
                <a:cubicBezTo>
                  <a:pt x="3230" y="1823"/>
                  <a:pt x="3232" y="1821"/>
                  <a:pt x="3234" y="1818"/>
                </a:cubicBezTo>
                <a:close/>
                <a:moveTo>
                  <a:pt x="3200" y="1821"/>
                </a:moveTo>
                <a:cubicBezTo>
                  <a:pt x="3201" y="1819"/>
                  <a:pt x="3202" y="1818"/>
                  <a:pt x="3203" y="1817"/>
                </a:cubicBezTo>
                <a:cubicBezTo>
                  <a:pt x="3200" y="1818"/>
                  <a:pt x="3200" y="1819"/>
                  <a:pt x="3200" y="1821"/>
                </a:cubicBezTo>
                <a:close/>
                <a:moveTo>
                  <a:pt x="3210" y="1842"/>
                </a:moveTo>
                <a:cubicBezTo>
                  <a:pt x="3208" y="1842"/>
                  <a:pt x="3207" y="1843"/>
                  <a:pt x="3207" y="1844"/>
                </a:cubicBezTo>
                <a:cubicBezTo>
                  <a:pt x="3208" y="1843"/>
                  <a:pt x="3209" y="1842"/>
                  <a:pt x="3210" y="1842"/>
                </a:cubicBezTo>
                <a:close/>
                <a:moveTo>
                  <a:pt x="3209" y="1826"/>
                </a:moveTo>
                <a:cubicBezTo>
                  <a:pt x="3208" y="1826"/>
                  <a:pt x="3207" y="1825"/>
                  <a:pt x="3207" y="1825"/>
                </a:cubicBezTo>
                <a:cubicBezTo>
                  <a:pt x="3206" y="1825"/>
                  <a:pt x="3206" y="1826"/>
                  <a:pt x="3206" y="1827"/>
                </a:cubicBezTo>
                <a:cubicBezTo>
                  <a:pt x="3206" y="1827"/>
                  <a:pt x="3206" y="1828"/>
                  <a:pt x="3206" y="1828"/>
                </a:cubicBezTo>
                <a:cubicBezTo>
                  <a:pt x="3207" y="1828"/>
                  <a:pt x="3208" y="1827"/>
                  <a:pt x="3209" y="1826"/>
                </a:cubicBezTo>
                <a:close/>
                <a:moveTo>
                  <a:pt x="3500" y="1804"/>
                </a:moveTo>
                <a:cubicBezTo>
                  <a:pt x="3500" y="1804"/>
                  <a:pt x="3500" y="1804"/>
                  <a:pt x="3500" y="1804"/>
                </a:cubicBezTo>
                <a:cubicBezTo>
                  <a:pt x="3495" y="1804"/>
                  <a:pt x="3495" y="1804"/>
                  <a:pt x="3495" y="1804"/>
                </a:cubicBezTo>
                <a:cubicBezTo>
                  <a:pt x="3493" y="1806"/>
                  <a:pt x="3492" y="1807"/>
                  <a:pt x="3489" y="1808"/>
                </a:cubicBezTo>
                <a:cubicBezTo>
                  <a:pt x="3488" y="1809"/>
                  <a:pt x="3486" y="1810"/>
                  <a:pt x="3484" y="1811"/>
                </a:cubicBezTo>
                <a:cubicBezTo>
                  <a:pt x="3482" y="1812"/>
                  <a:pt x="3481" y="1813"/>
                  <a:pt x="3479" y="1814"/>
                </a:cubicBezTo>
                <a:cubicBezTo>
                  <a:pt x="3477" y="1814"/>
                  <a:pt x="3475" y="1815"/>
                  <a:pt x="3474" y="1815"/>
                </a:cubicBezTo>
                <a:cubicBezTo>
                  <a:pt x="3474" y="1815"/>
                  <a:pt x="3474" y="1815"/>
                  <a:pt x="3474" y="1825"/>
                </a:cubicBezTo>
                <a:cubicBezTo>
                  <a:pt x="3476" y="1824"/>
                  <a:pt x="3479" y="1824"/>
                  <a:pt x="3482" y="1822"/>
                </a:cubicBezTo>
                <a:cubicBezTo>
                  <a:pt x="3484" y="1822"/>
                  <a:pt x="3487" y="1820"/>
                  <a:pt x="3488" y="1819"/>
                </a:cubicBezTo>
                <a:cubicBezTo>
                  <a:pt x="3488" y="1819"/>
                  <a:pt x="3488" y="1819"/>
                  <a:pt x="3488" y="1877"/>
                </a:cubicBezTo>
                <a:cubicBezTo>
                  <a:pt x="3488" y="1877"/>
                  <a:pt x="3488" y="1877"/>
                  <a:pt x="3500" y="1877"/>
                </a:cubicBezTo>
                <a:cubicBezTo>
                  <a:pt x="3500" y="1877"/>
                  <a:pt x="3500" y="1877"/>
                  <a:pt x="3500" y="1804"/>
                </a:cubicBezTo>
                <a:close/>
                <a:moveTo>
                  <a:pt x="3621" y="1804"/>
                </a:moveTo>
                <a:cubicBezTo>
                  <a:pt x="3621" y="1804"/>
                  <a:pt x="3621" y="1804"/>
                  <a:pt x="3621" y="1804"/>
                </a:cubicBezTo>
                <a:cubicBezTo>
                  <a:pt x="3616" y="1804"/>
                  <a:pt x="3616" y="1804"/>
                  <a:pt x="3616" y="1804"/>
                </a:cubicBezTo>
                <a:cubicBezTo>
                  <a:pt x="3614" y="1806"/>
                  <a:pt x="3613" y="1807"/>
                  <a:pt x="3611" y="1808"/>
                </a:cubicBezTo>
                <a:cubicBezTo>
                  <a:pt x="3609" y="1809"/>
                  <a:pt x="3608" y="1810"/>
                  <a:pt x="3605" y="1811"/>
                </a:cubicBezTo>
                <a:cubicBezTo>
                  <a:pt x="3604" y="1812"/>
                  <a:pt x="3602" y="1813"/>
                  <a:pt x="3600" y="1814"/>
                </a:cubicBezTo>
                <a:cubicBezTo>
                  <a:pt x="3598" y="1814"/>
                  <a:pt x="3597" y="1815"/>
                  <a:pt x="3595" y="1815"/>
                </a:cubicBezTo>
                <a:cubicBezTo>
                  <a:pt x="3595" y="1815"/>
                  <a:pt x="3595" y="1815"/>
                  <a:pt x="3595" y="1825"/>
                </a:cubicBezTo>
                <a:cubicBezTo>
                  <a:pt x="3597" y="1824"/>
                  <a:pt x="3600" y="1824"/>
                  <a:pt x="3603" y="1822"/>
                </a:cubicBezTo>
                <a:cubicBezTo>
                  <a:pt x="3605" y="1822"/>
                  <a:pt x="3608" y="1820"/>
                  <a:pt x="3610" y="1819"/>
                </a:cubicBezTo>
                <a:cubicBezTo>
                  <a:pt x="3610" y="1819"/>
                  <a:pt x="3610" y="1819"/>
                  <a:pt x="3610" y="1877"/>
                </a:cubicBezTo>
                <a:cubicBezTo>
                  <a:pt x="3610" y="1877"/>
                  <a:pt x="3610" y="1877"/>
                  <a:pt x="3621" y="1877"/>
                </a:cubicBezTo>
                <a:cubicBezTo>
                  <a:pt x="3621" y="1877"/>
                  <a:pt x="3621" y="1877"/>
                  <a:pt x="3621" y="1804"/>
                </a:cubicBezTo>
                <a:close/>
                <a:moveTo>
                  <a:pt x="3668" y="1804"/>
                </a:moveTo>
                <a:cubicBezTo>
                  <a:pt x="3668" y="1804"/>
                  <a:pt x="3668" y="1804"/>
                  <a:pt x="3668" y="1804"/>
                </a:cubicBezTo>
                <a:cubicBezTo>
                  <a:pt x="3663" y="1804"/>
                  <a:pt x="3663" y="1804"/>
                  <a:pt x="3663" y="1804"/>
                </a:cubicBezTo>
                <a:cubicBezTo>
                  <a:pt x="3661" y="1806"/>
                  <a:pt x="3660" y="1807"/>
                  <a:pt x="3657" y="1808"/>
                </a:cubicBezTo>
                <a:cubicBezTo>
                  <a:pt x="3656" y="1809"/>
                  <a:pt x="3654" y="1810"/>
                  <a:pt x="3652" y="1811"/>
                </a:cubicBezTo>
                <a:cubicBezTo>
                  <a:pt x="3651" y="1812"/>
                  <a:pt x="3649" y="1813"/>
                  <a:pt x="3647" y="1814"/>
                </a:cubicBezTo>
                <a:cubicBezTo>
                  <a:pt x="3645" y="1814"/>
                  <a:pt x="3643" y="1815"/>
                  <a:pt x="3641" y="1815"/>
                </a:cubicBezTo>
                <a:cubicBezTo>
                  <a:pt x="3641" y="1815"/>
                  <a:pt x="3641" y="1815"/>
                  <a:pt x="3641" y="1825"/>
                </a:cubicBezTo>
                <a:cubicBezTo>
                  <a:pt x="3644" y="1824"/>
                  <a:pt x="3647" y="1824"/>
                  <a:pt x="3649" y="1822"/>
                </a:cubicBezTo>
                <a:cubicBezTo>
                  <a:pt x="3652" y="1822"/>
                  <a:pt x="3654" y="1820"/>
                  <a:pt x="3657" y="1819"/>
                </a:cubicBezTo>
                <a:cubicBezTo>
                  <a:pt x="3657" y="1819"/>
                  <a:pt x="3657" y="1819"/>
                  <a:pt x="3657" y="1877"/>
                </a:cubicBezTo>
                <a:cubicBezTo>
                  <a:pt x="3657" y="1877"/>
                  <a:pt x="3657" y="1877"/>
                  <a:pt x="3668" y="1877"/>
                </a:cubicBezTo>
                <a:cubicBezTo>
                  <a:pt x="3668" y="1877"/>
                  <a:pt x="3668" y="1877"/>
                  <a:pt x="3668" y="1804"/>
                </a:cubicBezTo>
                <a:close/>
                <a:moveTo>
                  <a:pt x="3714" y="1804"/>
                </a:moveTo>
                <a:cubicBezTo>
                  <a:pt x="3714" y="1804"/>
                  <a:pt x="3714" y="1804"/>
                  <a:pt x="3714" y="1804"/>
                </a:cubicBezTo>
                <a:cubicBezTo>
                  <a:pt x="3710" y="1804"/>
                  <a:pt x="3710" y="1804"/>
                  <a:pt x="3710" y="1804"/>
                </a:cubicBezTo>
                <a:cubicBezTo>
                  <a:pt x="3708" y="1806"/>
                  <a:pt x="3706" y="1807"/>
                  <a:pt x="3704" y="1808"/>
                </a:cubicBezTo>
                <a:cubicBezTo>
                  <a:pt x="3703" y="1809"/>
                  <a:pt x="3700" y="1810"/>
                  <a:pt x="3699" y="1811"/>
                </a:cubicBezTo>
                <a:cubicBezTo>
                  <a:pt x="3697" y="1811"/>
                  <a:pt x="3695" y="1812"/>
                  <a:pt x="3693" y="1813"/>
                </a:cubicBezTo>
                <a:cubicBezTo>
                  <a:pt x="3692" y="1814"/>
                  <a:pt x="3690" y="1814"/>
                  <a:pt x="3688" y="1815"/>
                </a:cubicBezTo>
                <a:cubicBezTo>
                  <a:pt x="3688" y="1815"/>
                  <a:pt x="3688" y="1815"/>
                  <a:pt x="3688" y="1825"/>
                </a:cubicBezTo>
                <a:cubicBezTo>
                  <a:pt x="3691" y="1824"/>
                  <a:pt x="3694" y="1823"/>
                  <a:pt x="3696" y="1822"/>
                </a:cubicBezTo>
                <a:cubicBezTo>
                  <a:pt x="3698" y="1822"/>
                  <a:pt x="3701" y="1820"/>
                  <a:pt x="3703" y="1819"/>
                </a:cubicBezTo>
                <a:cubicBezTo>
                  <a:pt x="3703" y="1819"/>
                  <a:pt x="3703" y="1819"/>
                  <a:pt x="3703" y="1877"/>
                </a:cubicBezTo>
                <a:cubicBezTo>
                  <a:pt x="3703" y="1877"/>
                  <a:pt x="3703" y="1877"/>
                  <a:pt x="3714" y="1877"/>
                </a:cubicBezTo>
                <a:cubicBezTo>
                  <a:pt x="3714" y="1877"/>
                  <a:pt x="3714" y="1877"/>
                  <a:pt x="3714" y="1804"/>
                </a:cubicBezTo>
                <a:close/>
                <a:moveTo>
                  <a:pt x="3520" y="1836"/>
                </a:moveTo>
                <a:cubicBezTo>
                  <a:pt x="3520" y="1836"/>
                  <a:pt x="3520" y="1836"/>
                  <a:pt x="3520" y="1836"/>
                </a:cubicBezTo>
                <a:cubicBezTo>
                  <a:pt x="3520" y="1844"/>
                  <a:pt x="3520" y="1844"/>
                  <a:pt x="3520" y="1844"/>
                </a:cubicBezTo>
                <a:cubicBezTo>
                  <a:pt x="3526" y="1845"/>
                  <a:pt x="3527" y="1848"/>
                  <a:pt x="3527" y="1850"/>
                </a:cubicBezTo>
                <a:cubicBezTo>
                  <a:pt x="3527" y="1853"/>
                  <a:pt x="3526" y="1855"/>
                  <a:pt x="3526" y="1857"/>
                </a:cubicBezTo>
                <a:cubicBezTo>
                  <a:pt x="3526" y="1860"/>
                  <a:pt x="3526" y="1862"/>
                  <a:pt x="3526" y="1865"/>
                </a:cubicBezTo>
                <a:cubicBezTo>
                  <a:pt x="3526" y="1874"/>
                  <a:pt x="3532" y="1877"/>
                  <a:pt x="3540" y="1877"/>
                </a:cubicBezTo>
                <a:cubicBezTo>
                  <a:pt x="3540" y="1877"/>
                  <a:pt x="3540" y="1877"/>
                  <a:pt x="3544" y="1877"/>
                </a:cubicBezTo>
                <a:cubicBezTo>
                  <a:pt x="3544" y="1877"/>
                  <a:pt x="3544" y="1877"/>
                  <a:pt x="3544" y="1868"/>
                </a:cubicBezTo>
                <a:cubicBezTo>
                  <a:pt x="3544" y="1868"/>
                  <a:pt x="3544" y="1868"/>
                  <a:pt x="3542" y="1868"/>
                </a:cubicBezTo>
                <a:cubicBezTo>
                  <a:pt x="3539" y="1868"/>
                  <a:pt x="3537" y="1866"/>
                  <a:pt x="3537" y="1862"/>
                </a:cubicBezTo>
                <a:cubicBezTo>
                  <a:pt x="3537" y="1861"/>
                  <a:pt x="3537" y="1859"/>
                  <a:pt x="3538" y="1857"/>
                </a:cubicBezTo>
                <a:cubicBezTo>
                  <a:pt x="3538" y="1856"/>
                  <a:pt x="3538" y="1854"/>
                  <a:pt x="3538" y="1852"/>
                </a:cubicBezTo>
                <a:cubicBezTo>
                  <a:pt x="3538" y="1844"/>
                  <a:pt x="3535" y="1842"/>
                  <a:pt x="3530" y="1840"/>
                </a:cubicBezTo>
                <a:cubicBezTo>
                  <a:pt x="3530" y="1840"/>
                  <a:pt x="3530" y="1840"/>
                  <a:pt x="3530" y="1840"/>
                </a:cubicBezTo>
                <a:cubicBezTo>
                  <a:pt x="3535" y="1839"/>
                  <a:pt x="3538" y="1837"/>
                  <a:pt x="3538" y="1829"/>
                </a:cubicBezTo>
                <a:cubicBezTo>
                  <a:pt x="3538" y="1827"/>
                  <a:pt x="3538" y="1825"/>
                  <a:pt x="3538" y="1823"/>
                </a:cubicBezTo>
                <a:cubicBezTo>
                  <a:pt x="3537" y="1821"/>
                  <a:pt x="3537" y="1820"/>
                  <a:pt x="3537" y="1818"/>
                </a:cubicBezTo>
                <a:cubicBezTo>
                  <a:pt x="3537" y="1815"/>
                  <a:pt x="3539" y="1813"/>
                  <a:pt x="3542" y="1813"/>
                </a:cubicBezTo>
                <a:cubicBezTo>
                  <a:pt x="3542" y="1813"/>
                  <a:pt x="3542" y="1813"/>
                  <a:pt x="3544" y="1813"/>
                </a:cubicBezTo>
                <a:cubicBezTo>
                  <a:pt x="3544" y="1813"/>
                  <a:pt x="3544" y="1813"/>
                  <a:pt x="3544" y="1803"/>
                </a:cubicBezTo>
                <a:cubicBezTo>
                  <a:pt x="3544" y="1803"/>
                  <a:pt x="3544" y="1803"/>
                  <a:pt x="3540" y="1803"/>
                </a:cubicBezTo>
                <a:cubicBezTo>
                  <a:pt x="3531" y="1803"/>
                  <a:pt x="3526" y="1807"/>
                  <a:pt x="3526" y="1816"/>
                </a:cubicBezTo>
                <a:cubicBezTo>
                  <a:pt x="3526" y="1818"/>
                  <a:pt x="3526" y="1821"/>
                  <a:pt x="3526" y="1823"/>
                </a:cubicBezTo>
                <a:cubicBezTo>
                  <a:pt x="3526" y="1826"/>
                  <a:pt x="3527" y="1828"/>
                  <a:pt x="3527" y="1830"/>
                </a:cubicBezTo>
                <a:cubicBezTo>
                  <a:pt x="3527" y="1833"/>
                  <a:pt x="3526" y="1836"/>
                  <a:pt x="3520" y="1836"/>
                </a:cubicBezTo>
                <a:close/>
                <a:moveTo>
                  <a:pt x="3574" y="1844"/>
                </a:moveTo>
                <a:cubicBezTo>
                  <a:pt x="3574" y="1844"/>
                  <a:pt x="3574" y="1844"/>
                  <a:pt x="3574" y="1844"/>
                </a:cubicBezTo>
                <a:cubicBezTo>
                  <a:pt x="3574" y="1836"/>
                  <a:pt x="3574" y="1836"/>
                  <a:pt x="3574" y="1836"/>
                </a:cubicBezTo>
                <a:cubicBezTo>
                  <a:pt x="3568" y="1836"/>
                  <a:pt x="3568" y="1833"/>
                  <a:pt x="3568" y="1830"/>
                </a:cubicBezTo>
                <a:cubicBezTo>
                  <a:pt x="3568" y="1828"/>
                  <a:pt x="3568" y="1826"/>
                  <a:pt x="3568" y="1823"/>
                </a:cubicBezTo>
                <a:cubicBezTo>
                  <a:pt x="3569" y="1821"/>
                  <a:pt x="3569" y="1818"/>
                  <a:pt x="3569" y="1816"/>
                </a:cubicBezTo>
                <a:cubicBezTo>
                  <a:pt x="3569" y="1807"/>
                  <a:pt x="3563" y="1803"/>
                  <a:pt x="3554" y="1803"/>
                </a:cubicBezTo>
                <a:cubicBezTo>
                  <a:pt x="3554" y="1803"/>
                  <a:pt x="3554" y="1803"/>
                  <a:pt x="3550" y="1803"/>
                </a:cubicBezTo>
                <a:cubicBezTo>
                  <a:pt x="3550" y="1803"/>
                  <a:pt x="3550" y="1803"/>
                  <a:pt x="3550" y="1813"/>
                </a:cubicBezTo>
                <a:cubicBezTo>
                  <a:pt x="3550" y="1813"/>
                  <a:pt x="3550" y="1813"/>
                  <a:pt x="3552" y="1813"/>
                </a:cubicBezTo>
                <a:cubicBezTo>
                  <a:pt x="3556" y="1813"/>
                  <a:pt x="3557" y="1815"/>
                  <a:pt x="3557" y="1818"/>
                </a:cubicBezTo>
                <a:cubicBezTo>
                  <a:pt x="3557" y="1820"/>
                  <a:pt x="3557" y="1821"/>
                  <a:pt x="3557" y="1823"/>
                </a:cubicBezTo>
                <a:cubicBezTo>
                  <a:pt x="3556" y="1825"/>
                  <a:pt x="3556" y="1827"/>
                  <a:pt x="3556" y="1829"/>
                </a:cubicBezTo>
                <a:cubicBezTo>
                  <a:pt x="3556" y="1837"/>
                  <a:pt x="3559" y="1839"/>
                  <a:pt x="3565" y="1840"/>
                </a:cubicBezTo>
                <a:cubicBezTo>
                  <a:pt x="3565" y="1840"/>
                  <a:pt x="3565" y="1840"/>
                  <a:pt x="3565" y="1840"/>
                </a:cubicBezTo>
                <a:cubicBezTo>
                  <a:pt x="3559" y="1842"/>
                  <a:pt x="3556" y="1844"/>
                  <a:pt x="3556" y="1852"/>
                </a:cubicBezTo>
                <a:cubicBezTo>
                  <a:pt x="3556" y="1854"/>
                  <a:pt x="3556" y="1856"/>
                  <a:pt x="3557" y="1857"/>
                </a:cubicBezTo>
                <a:cubicBezTo>
                  <a:pt x="3557" y="1859"/>
                  <a:pt x="3557" y="1861"/>
                  <a:pt x="3557" y="1862"/>
                </a:cubicBezTo>
                <a:cubicBezTo>
                  <a:pt x="3557" y="1866"/>
                  <a:pt x="3556" y="1868"/>
                  <a:pt x="3552" y="1868"/>
                </a:cubicBezTo>
                <a:cubicBezTo>
                  <a:pt x="3552" y="1868"/>
                  <a:pt x="3552" y="1868"/>
                  <a:pt x="3550" y="1868"/>
                </a:cubicBezTo>
                <a:cubicBezTo>
                  <a:pt x="3550" y="1868"/>
                  <a:pt x="3550" y="1868"/>
                  <a:pt x="3550" y="1877"/>
                </a:cubicBezTo>
                <a:cubicBezTo>
                  <a:pt x="3550" y="1877"/>
                  <a:pt x="3550" y="1877"/>
                  <a:pt x="3554" y="1877"/>
                </a:cubicBezTo>
                <a:cubicBezTo>
                  <a:pt x="3563" y="1877"/>
                  <a:pt x="3569" y="1874"/>
                  <a:pt x="3569" y="1865"/>
                </a:cubicBezTo>
                <a:cubicBezTo>
                  <a:pt x="3569" y="1862"/>
                  <a:pt x="3569" y="1860"/>
                  <a:pt x="3568" y="1857"/>
                </a:cubicBezTo>
                <a:cubicBezTo>
                  <a:pt x="3568" y="1855"/>
                  <a:pt x="3568" y="1853"/>
                  <a:pt x="3568" y="1850"/>
                </a:cubicBezTo>
                <a:cubicBezTo>
                  <a:pt x="3568" y="1848"/>
                  <a:pt x="3568" y="1845"/>
                  <a:pt x="3574" y="1844"/>
                </a:cubicBezTo>
                <a:close/>
                <a:moveTo>
                  <a:pt x="3758" y="1877"/>
                </a:moveTo>
                <a:cubicBezTo>
                  <a:pt x="3751" y="1877"/>
                  <a:pt x="3744" y="1874"/>
                  <a:pt x="3740" y="1868"/>
                </a:cubicBezTo>
                <a:cubicBezTo>
                  <a:pt x="3736" y="1862"/>
                  <a:pt x="3734" y="1853"/>
                  <a:pt x="3734" y="1841"/>
                </a:cubicBezTo>
                <a:cubicBezTo>
                  <a:pt x="3734" y="1828"/>
                  <a:pt x="3736" y="1818"/>
                  <a:pt x="3741" y="1812"/>
                </a:cubicBezTo>
                <a:cubicBezTo>
                  <a:pt x="3745" y="1805"/>
                  <a:pt x="3752" y="1801"/>
                  <a:pt x="3761" y="1801"/>
                </a:cubicBezTo>
                <a:cubicBezTo>
                  <a:pt x="3777" y="1801"/>
                  <a:pt x="3785" y="1814"/>
                  <a:pt x="3785" y="1839"/>
                </a:cubicBezTo>
                <a:cubicBezTo>
                  <a:pt x="3785" y="1852"/>
                  <a:pt x="3782" y="1861"/>
                  <a:pt x="3777" y="1868"/>
                </a:cubicBezTo>
                <a:cubicBezTo>
                  <a:pt x="3773" y="1874"/>
                  <a:pt x="3766" y="1877"/>
                  <a:pt x="3758" y="1877"/>
                </a:cubicBezTo>
                <a:close/>
                <a:moveTo>
                  <a:pt x="3760" y="1811"/>
                </a:moveTo>
                <a:cubicBezTo>
                  <a:pt x="3750" y="1811"/>
                  <a:pt x="3746" y="1821"/>
                  <a:pt x="3746" y="1841"/>
                </a:cubicBezTo>
                <a:cubicBezTo>
                  <a:pt x="3746" y="1859"/>
                  <a:pt x="3750" y="1868"/>
                  <a:pt x="3759" y="1868"/>
                </a:cubicBezTo>
                <a:cubicBezTo>
                  <a:pt x="3768" y="1868"/>
                  <a:pt x="3772" y="1859"/>
                  <a:pt x="3772" y="1840"/>
                </a:cubicBezTo>
                <a:cubicBezTo>
                  <a:pt x="3772" y="1820"/>
                  <a:pt x="3768" y="1811"/>
                  <a:pt x="3760" y="1811"/>
                </a:cubicBezTo>
                <a:close/>
                <a:moveTo>
                  <a:pt x="3828" y="1877"/>
                </a:moveTo>
                <a:cubicBezTo>
                  <a:pt x="3821" y="1877"/>
                  <a:pt x="3815" y="1874"/>
                  <a:pt x="3811" y="1868"/>
                </a:cubicBezTo>
                <a:cubicBezTo>
                  <a:pt x="3807" y="1862"/>
                  <a:pt x="3804" y="1853"/>
                  <a:pt x="3804" y="1841"/>
                </a:cubicBezTo>
                <a:cubicBezTo>
                  <a:pt x="3804" y="1828"/>
                  <a:pt x="3807" y="1818"/>
                  <a:pt x="3811" y="1812"/>
                </a:cubicBezTo>
                <a:cubicBezTo>
                  <a:pt x="3815" y="1805"/>
                  <a:pt x="3822" y="1801"/>
                  <a:pt x="3831" y="1801"/>
                </a:cubicBezTo>
                <a:cubicBezTo>
                  <a:pt x="3847" y="1801"/>
                  <a:pt x="3855" y="1814"/>
                  <a:pt x="3855" y="1839"/>
                </a:cubicBezTo>
                <a:cubicBezTo>
                  <a:pt x="3855" y="1852"/>
                  <a:pt x="3853" y="1861"/>
                  <a:pt x="3848" y="1868"/>
                </a:cubicBezTo>
                <a:cubicBezTo>
                  <a:pt x="3843" y="1874"/>
                  <a:pt x="3837" y="1877"/>
                  <a:pt x="3828" y="1877"/>
                </a:cubicBezTo>
                <a:close/>
                <a:moveTo>
                  <a:pt x="3830" y="1811"/>
                </a:moveTo>
                <a:cubicBezTo>
                  <a:pt x="3821" y="1811"/>
                  <a:pt x="3816" y="1821"/>
                  <a:pt x="3816" y="1841"/>
                </a:cubicBezTo>
                <a:cubicBezTo>
                  <a:pt x="3816" y="1859"/>
                  <a:pt x="3820" y="1868"/>
                  <a:pt x="3829" y="1868"/>
                </a:cubicBezTo>
                <a:cubicBezTo>
                  <a:pt x="3838" y="1868"/>
                  <a:pt x="3842" y="1859"/>
                  <a:pt x="3842" y="1840"/>
                </a:cubicBezTo>
                <a:cubicBezTo>
                  <a:pt x="3842" y="1820"/>
                  <a:pt x="3838" y="1811"/>
                  <a:pt x="3830" y="1811"/>
                </a:cubicBezTo>
                <a:close/>
                <a:moveTo>
                  <a:pt x="1974" y="1900"/>
                </a:moveTo>
                <a:cubicBezTo>
                  <a:pt x="1974" y="1900"/>
                  <a:pt x="1974" y="1900"/>
                  <a:pt x="1974" y="1900"/>
                </a:cubicBezTo>
                <a:cubicBezTo>
                  <a:pt x="1969" y="1900"/>
                  <a:pt x="1969" y="1900"/>
                  <a:pt x="1969" y="1900"/>
                </a:cubicBezTo>
                <a:cubicBezTo>
                  <a:pt x="1967" y="1901"/>
                  <a:pt x="1965" y="1903"/>
                  <a:pt x="1963" y="1903"/>
                </a:cubicBezTo>
                <a:cubicBezTo>
                  <a:pt x="1962" y="1905"/>
                  <a:pt x="1960" y="1906"/>
                  <a:pt x="1958" y="1906"/>
                </a:cubicBezTo>
                <a:cubicBezTo>
                  <a:pt x="1956" y="1908"/>
                  <a:pt x="1954" y="1908"/>
                  <a:pt x="1953" y="1909"/>
                </a:cubicBezTo>
                <a:cubicBezTo>
                  <a:pt x="1950" y="1910"/>
                  <a:pt x="1949" y="1911"/>
                  <a:pt x="1947" y="1911"/>
                </a:cubicBezTo>
                <a:cubicBezTo>
                  <a:pt x="1947" y="1911"/>
                  <a:pt x="1947" y="1911"/>
                  <a:pt x="1947" y="1921"/>
                </a:cubicBezTo>
                <a:cubicBezTo>
                  <a:pt x="1950" y="1920"/>
                  <a:pt x="1953" y="1919"/>
                  <a:pt x="1956" y="1918"/>
                </a:cubicBezTo>
                <a:cubicBezTo>
                  <a:pt x="1958" y="1917"/>
                  <a:pt x="1960" y="1916"/>
                  <a:pt x="1962" y="1914"/>
                </a:cubicBezTo>
                <a:cubicBezTo>
                  <a:pt x="1962" y="1914"/>
                  <a:pt x="1962" y="1914"/>
                  <a:pt x="1962" y="1973"/>
                </a:cubicBezTo>
                <a:cubicBezTo>
                  <a:pt x="1962" y="1973"/>
                  <a:pt x="1962" y="1973"/>
                  <a:pt x="1974" y="1973"/>
                </a:cubicBezTo>
                <a:cubicBezTo>
                  <a:pt x="1974" y="1973"/>
                  <a:pt x="1974" y="1973"/>
                  <a:pt x="1974" y="1900"/>
                </a:cubicBezTo>
                <a:close/>
                <a:moveTo>
                  <a:pt x="2022" y="1900"/>
                </a:moveTo>
                <a:cubicBezTo>
                  <a:pt x="2022" y="1900"/>
                  <a:pt x="2022" y="1900"/>
                  <a:pt x="2022" y="1900"/>
                </a:cubicBezTo>
                <a:cubicBezTo>
                  <a:pt x="2016" y="1900"/>
                  <a:pt x="2016" y="1900"/>
                  <a:pt x="2016" y="1900"/>
                </a:cubicBezTo>
                <a:cubicBezTo>
                  <a:pt x="2014" y="1901"/>
                  <a:pt x="2013" y="1903"/>
                  <a:pt x="2011" y="1903"/>
                </a:cubicBezTo>
                <a:cubicBezTo>
                  <a:pt x="2009" y="1905"/>
                  <a:pt x="2007" y="1906"/>
                  <a:pt x="2005" y="1906"/>
                </a:cubicBezTo>
                <a:cubicBezTo>
                  <a:pt x="2004" y="1908"/>
                  <a:pt x="2002" y="1908"/>
                  <a:pt x="2000" y="1909"/>
                </a:cubicBezTo>
                <a:cubicBezTo>
                  <a:pt x="1998" y="1910"/>
                  <a:pt x="1996" y="1911"/>
                  <a:pt x="1994" y="1911"/>
                </a:cubicBezTo>
                <a:cubicBezTo>
                  <a:pt x="1994" y="1911"/>
                  <a:pt x="1994" y="1911"/>
                  <a:pt x="1994" y="1921"/>
                </a:cubicBezTo>
                <a:cubicBezTo>
                  <a:pt x="1997" y="1920"/>
                  <a:pt x="2000" y="1919"/>
                  <a:pt x="2002" y="1918"/>
                </a:cubicBezTo>
                <a:cubicBezTo>
                  <a:pt x="2005" y="1917"/>
                  <a:pt x="2008" y="1916"/>
                  <a:pt x="2010" y="1914"/>
                </a:cubicBezTo>
                <a:cubicBezTo>
                  <a:pt x="2010" y="1914"/>
                  <a:pt x="2010" y="1914"/>
                  <a:pt x="2010" y="1973"/>
                </a:cubicBezTo>
                <a:cubicBezTo>
                  <a:pt x="2010" y="1973"/>
                  <a:pt x="2010" y="1973"/>
                  <a:pt x="2022" y="1973"/>
                </a:cubicBezTo>
                <a:cubicBezTo>
                  <a:pt x="2022" y="1973"/>
                  <a:pt x="2022" y="1973"/>
                  <a:pt x="2022" y="1900"/>
                </a:cubicBezTo>
                <a:close/>
                <a:moveTo>
                  <a:pt x="2068" y="1900"/>
                </a:moveTo>
                <a:cubicBezTo>
                  <a:pt x="2068" y="1900"/>
                  <a:pt x="2068" y="1900"/>
                  <a:pt x="2068" y="1900"/>
                </a:cubicBezTo>
                <a:cubicBezTo>
                  <a:pt x="2064" y="1900"/>
                  <a:pt x="2064" y="1900"/>
                  <a:pt x="2064" y="1900"/>
                </a:cubicBezTo>
                <a:cubicBezTo>
                  <a:pt x="2062" y="1901"/>
                  <a:pt x="2060" y="1903"/>
                  <a:pt x="2058" y="1903"/>
                </a:cubicBezTo>
                <a:cubicBezTo>
                  <a:pt x="2057" y="1905"/>
                  <a:pt x="2054" y="1906"/>
                  <a:pt x="2053" y="1906"/>
                </a:cubicBezTo>
                <a:cubicBezTo>
                  <a:pt x="2051" y="1907"/>
                  <a:pt x="2049" y="1908"/>
                  <a:pt x="2047" y="1908"/>
                </a:cubicBezTo>
                <a:cubicBezTo>
                  <a:pt x="2046" y="1909"/>
                  <a:pt x="2044" y="1910"/>
                  <a:pt x="2042" y="1911"/>
                </a:cubicBezTo>
                <a:cubicBezTo>
                  <a:pt x="2042" y="1911"/>
                  <a:pt x="2042" y="1911"/>
                  <a:pt x="2042" y="1921"/>
                </a:cubicBezTo>
                <a:cubicBezTo>
                  <a:pt x="2045" y="1920"/>
                  <a:pt x="2048" y="1919"/>
                  <a:pt x="2050" y="1918"/>
                </a:cubicBezTo>
                <a:cubicBezTo>
                  <a:pt x="2052" y="1917"/>
                  <a:pt x="2055" y="1916"/>
                  <a:pt x="2057" y="1914"/>
                </a:cubicBezTo>
                <a:cubicBezTo>
                  <a:pt x="2057" y="1914"/>
                  <a:pt x="2057" y="1914"/>
                  <a:pt x="2057" y="1973"/>
                </a:cubicBezTo>
                <a:cubicBezTo>
                  <a:pt x="2057" y="1973"/>
                  <a:pt x="2057" y="1973"/>
                  <a:pt x="2068" y="1973"/>
                </a:cubicBezTo>
                <a:cubicBezTo>
                  <a:pt x="2068" y="1973"/>
                  <a:pt x="2068" y="1973"/>
                  <a:pt x="2068" y="1900"/>
                </a:cubicBezTo>
                <a:close/>
                <a:moveTo>
                  <a:pt x="2113" y="1973"/>
                </a:moveTo>
                <a:cubicBezTo>
                  <a:pt x="2106" y="1973"/>
                  <a:pt x="2099" y="1970"/>
                  <a:pt x="2095" y="1964"/>
                </a:cubicBezTo>
                <a:cubicBezTo>
                  <a:pt x="2091" y="1958"/>
                  <a:pt x="2089" y="1949"/>
                  <a:pt x="2089" y="1937"/>
                </a:cubicBezTo>
                <a:cubicBezTo>
                  <a:pt x="2089" y="1924"/>
                  <a:pt x="2091" y="1914"/>
                  <a:pt x="2095" y="1908"/>
                </a:cubicBezTo>
                <a:cubicBezTo>
                  <a:pt x="2100" y="1901"/>
                  <a:pt x="2106" y="1897"/>
                  <a:pt x="2115" y="1897"/>
                </a:cubicBezTo>
                <a:cubicBezTo>
                  <a:pt x="2131" y="1897"/>
                  <a:pt x="2139" y="1910"/>
                  <a:pt x="2139" y="1935"/>
                </a:cubicBezTo>
                <a:cubicBezTo>
                  <a:pt x="2139" y="1948"/>
                  <a:pt x="2137" y="1957"/>
                  <a:pt x="2132" y="1964"/>
                </a:cubicBezTo>
                <a:cubicBezTo>
                  <a:pt x="2128" y="1970"/>
                  <a:pt x="2121" y="1973"/>
                  <a:pt x="2113" y="1973"/>
                </a:cubicBezTo>
                <a:close/>
                <a:moveTo>
                  <a:pt x="2114" y="1907"/>
                </a:moveTo>
                <a:cubicBezTo>
                  <a:pt x="2105" y="1907"/>
                  <a:pt x="2101" y="1917"/>
                  <a:pt x="2101" y="1937"/>
                </a:cubicBezTo>
                <a:cubicBezTo>
                  <a:pt x="2101" y="1955"/>
                  <a:pt x="2105" y="1964"/>
                  <a:pt x="2114" y="1964"/>
                </a:cubicBezTo>
                <a:cubicBezTo>
                  <a:pt x="2122" y="1964"/>
                  <a:pt x="2127" y="1955"/>
                  <a:pt x="2127" y="1936"/>
                </a:cubicBezTo>
                <a:cubicBezTo>
                  <a:pt x="2127" y="1916"/>
                  <a:pt x="2122" y="1907"/>
                  <a:pt x="2114" y="1907"/>
                </a:cubicBezTo>
                <a:close/>
                <a:moveTo>
                  <a:pt x="2184" y="1973"/>
                </a:moveTo>
                <a:cubicBezTo>
                  <a:pt x="2176" y="1973"/>
                  <a:pt x="2170" y="1970"/>
                  <a:pt x="2166" y="1964"/>
                </a:cubicBezTo>
                <a:cubicBezTo>
                  <a:pt x="2162" y="1958"/>
                  <a:pt x="2159" y="1949"/>
                  <a:pt x="2159" y="1937"/>
                </a:cubicBezTo>
                <a:cubicBezTo>
                  <a:pt x="2159" y="1924"/>
                  <a:pt x="2162" y="1914"/>
                  <a:pt x="2166" y="1908"/>
                </a:cubicBezTo>
                <a:cubicBezTo>
                  <a:pt x="2170" y="1901"/>
                  <a:pt x="2177" y="1897"/>
                  <a:pt x="2186" y="1897"/>
                </a:cubicBezTo>
                <a:cubicBezTo>
                  <a:pt x="2202" y="1897"/>
                  <a:pt x="2210" y="1910"/>
                  <a:pt x="2210" y="1935"/>
                </a:cubicBezTo>
                <a:cubicBezTo>
                  <a:pt x="2210" y="1948"/>
                  <a:pt x="2208" y="1957"/>
                  <a:pt x="2204" y="1964"/>
                </a:cubicBezTo>
                <a:cubicBezTo>
                  <a:pt x="2198" y="1970"/>
                  <a:pt x="2193" y="1973"/>
                  <a:pt x="2184" y="1973"/>
                </a:cubicBezTo>
                <a:close/>
                <a:moveTo>
                  <a:pt x="2185" y="1907"/>
                </a:moveTo>
                <a:cubicBezTo>
                  <a:pt x="2176" y="1907"/>
                  <a:pt x="2171" y="1917"/>
                  <a:pt x="2171" y="1937"/>
                </a:cubicBezTo>
                <a:cubicBezTo>
                  <a:pt x="2171" y="1955"/>
                  <a:pt x="2176" y="1964"/>
                  <a:pt x="2184" y="1964"/>
                </a:cubicBezTo>
                <a:cubicBezTo>
                  <a:pt x="2193" y="1964"/>
                  <a:pt x="2198" y="1955"/>
                  <a:pt x="2198" y="1936"/>
                </a:cubicBezTo>
                <a:cubicBezTo>
                  <a:pt x="2198" y="1916"/>
                  <a:pt x="2193" y="1907"/>
                  <a:pt x="2185" y="1907"/>
                </a:cubicBezTo>
                <a:close/>
                <a:moveTo>
                  <a:pt x="2397" y="1973"/>
                </a:moveTo>
                <a:cubicBezTo>
                  <a:pt x="2389" y="1973"/>
                  <a:pt x="2383" y="1970"/>
                  <a:pt x="2379" y="1964"/>
                </a:cubicBezTo>
                <a:cubicBezTo>
                  <a:pt x="2375" y="1958"/>
                  <a:pt x="2372" y="1948"/>
                  <a:pt x="2372" y="1937"/>
                </a:cubicBezTo>
                <a:cubicBezTo>
                  <a:pt x="2372" y="1924"/>
                  <a:pt x="2375" y="1914"/>
                  <a:pt x="2379" y="1907"/>
                </a:cubicBezTo>
                <a:cubicBezTo>
                  <a:pt x="2383" y="1900"/>
                  <a:pt x="2390" y="1897"/>
                  <a:pt x="2399" y="1897"/>
                </a:cubicBezTo>
                <a:cubicBezTo>
                  <a:pt x="2415" y="1897"/>
                  <a:pt x="2423" y="1910"/>
                  <a:pt x="2423" y="1935"/>
                </a:cubicBezTo>
                <a:cubicBezTo>
                  <a:pt x="2423" y="1948"/>
                  <a:pt x="2421" y="1957"/>
                  <a:pt x="2416" y="1964"/>
                </a:cubicBezTo>
                <a:cubicBezTo>
                  <a:pt x="2411" y="1970"/>
                  <a:pt x="2405" y="1973"/>
                  <a:pt x="2397" y="1973"/>
                </a:cubicBezTo>
                <a:close/>
                <a:moveTo>
                  <a:pt x="2398" y="1907"/>
                </a:moveTo>
                <a:cubicBezTo>
                  <a:pt x="2389" y="1907"/>
                  <a:pt x="2385" y="1916"/>
                  <a:pt x="2385" y="1936"/>
                </a:cubicBezTo>
                <a:cubicBezTo>
                  <a:pt x="2385" y="1954"/>
                  <a:pt x="2389" y="1964"/>
                  <a:pt x="2398" y="1964"/>
                </a:cubicBezTo>
                <a:cubicBezTo>
                  <a:pt x="2406" y="1964"/>
                  <a:pt x="2410" y="1954"/>
                  <a:pt x="2410" y="1936"/>
                </a:cubicBezTo>
                <a:cubicBezTo>
                  <a:pt x="2410" y="1916"/>
                  <a:pt x="2407" y="1907"/>
                  <a:pt x="2398" y="1907"/>
                </a:cubicBezTo>
                <a:close/>
                <a:moveTo>
                  <a:pt x="2515" y="1973"/>
                </a:moveTo>
                <a:cubicBezTo>
                  <a:pt x="2507" y="1973"/>
                  <a:pt x="2502" y="1970"/>
                  <a:pt x="2497" y="1964"/>
                </a:cubicBezTo>
                <a:cubicBezTo>
                  <a:pt x="2493" y="1958"/>
                  <a:pt x="2491" y="1948"/>
                  <a:pt x="2491" y="1937"/>
                </a:cubicBezTo>
                <a:cubicBezTo>
                  <a:pt x="2491" y="1924"/>
                  <a:pt x="2493" y="1914"/>
                  <a:pt x="2497" y="1907"/>
                </a:cubicBezTo>
                <a:cubicBezTo>
                  <a:pt x="2502" y="1900"/>
                  <a:pt x="2508" y="1897"/>
                  <a:pt x="2517" y="1897"/>
                </a:cubicBezTo>
                <a:cubicBezTo>
                  <a:pt x="2533" y="1897"/>
                  <a:pt x="2541" y="1910"/>
                  <a:pt x="2541" y="1935"/>
                </a:cubicBezTo>
                <a:cubicBezTo>
                  <a:pt x="2541" y="1948"/>
                  <a:pt x="2539" y="1957"/>
                  <a:pt x="2534" y="1964"/>
                </a:cubicBezTo>
                <a:cubicBezTo>
                  <a:pt x="2529" y="1970"/>
                  <a:pt x="2523" y="1973"/>
                  <a:pt x="2515" y="1973"/>
                </a:cubicBezTo>
                <a:close/>
                <a:moveTo>
                  <a:pt x="2516" y="1907"/>
                </a:moveTo>
                <a:cubicBezTo>
                  <a:pt x="2507" y="1907"/>
                  <a:pt x="2503" y="1916"/>
                  <a:pt x="2503" y="1936"/>
                </a:cubicBezTo>
                <a:cubicBezTo>
                  <a:pt x="2503" y="1954"/>
                  <a:pt x="2507" y="1964"/>
                  <a:pt x="2516" y="1964"/>
                </a:cubicBezTo>
                <a:cubicBezTo>
                  <a:pt x="2524" y="1964"/>
                  <a:pt x="2529" y="1954"/>
                  <a:pt x="2529" y="1936"/>
                </a:cubicBezTo>
                <a:cubicBezTo>
                  <a:pt x="2529" y="1916"/>
                  <a:pt x="2525" y="1907"/>
                  <a:pt x="2516" y="1907"/>
                </a:cubicBezTo>
                <a:close/>
                <a:moveTo>
                  <a:pt x="2470" y="1900"/>
                </a:moveTo>
                <a:cubicBezTo>
                  <a:pt x="2470" y="1900"/>
                  <a:pt x="2470" y="1900"/>
                  <a:pt x="2470" y="1900"/>
                </a:cubicBezTo>
                <a:cubicBezTo>
                  <a:pt x="2465" y="1900"/>
                  <a:pt x="2465" y="1900"/>
                  <a:pt x="2465" y="1900"/>
                </a:cubicBezTo>
                <a:cubicBezTo>
                  <a:pt x="2463" y="1901"/>
                  <a:pt x="2461" y="1903"/>
                  <a:pt x="2459" y="1903"/>
                </a:cubicBezTo>
                <a:cubicBezTo>
                  <a:pt x="2458" y="1905"/>
                  <a:pt x="2456" y="1906"/>
                  <a:pt x="2454" y="1906"/>
                </a:cubicBezTo>
                <a:cubicBezTo>
                  <a:pt x="2453" y="1907"/>
                  <a:pt x="2451" y="1908"/>
                  <a:pt x="2449" y="1908"/>
                </a:cubicBezTo>
                <a:cubicBezTo>
                  <a:pt x="2447" y="1909"/>
                  <a:pt x="2446" y="1910"/>
                  <a:pt x="2444" y="1911"/>
                </a:cubicBezTo>
                <a:cubicBezTo>
                  <a:pt x="2444" y="1911"/>
                  <a:pt x="2444" y="1911"/>
                  <a:pt x="2444" y="1921"/>
                </a:cubicBezTo>
                <a:cubicBezTo>
                  <a:pt x="2446" y="1920"/>
                  <a:pt x="2449" y="1919"/>
                  <a:pt x="2451" y="1918"/>
                </a:cubicBezTo>
                <a:cubicBezTo>
                  <a:pt x="2454" y="1917"/>
                  <a:pt x="2456" y="1916"/>
                  <a:pt x="2459" y="1914"/>
                </a:cubicBezTo>
                <a:cubicBezTo>
                  <a:pt x="2459" y="1914"/>
                  <a:pt x="2459" y="1914"/>
                  <a:pt x="2459" y="1973"/>
                </a:cubicBezTo>
                <a:cubicBezTo>
                  <a:pt x="2459" y="1973"/>
                  <a:pt x="2459" y="1973"/>
                  <a:pt x="2470" y="1973"/>
                </a:cubicBezTo>
                <a:cubicBezTo>
                  <a:pt x="2470" y="1973"/>
                  <a:pt x="2470" y="1973"/>
                  <a:pt x="2470" y="1900"/>
                </a:cubicBezTo>
                <a:close/>
                <a:moveTo>
                  <a:pt x="2586" y="1973"/>
                </a:moveTo>
                <a:cubicBezTo>
                  <a:pt x="2578" y="1973"/>
                  <a:pt x="2572" y="1970"/>
                  <a:pt x="2568" y="1964"/>
                </a:cubicBezTo>
                <a:cubicBezTo>
                  <a:pt x="2564" y="1958"/>
                  <a:pt x="2562" y="1949"/>
                  <a:pt x="2562" y="1937"/>
                </a:cubicBezTo>
                <a:cubicBezTo>
                  <a:pt x="2562" y="1924"/>
                  <a:pt x="2564" y="1914"/>
                  <a:pt x="2568" y="1908"/>
                </a:cubicBezTo>
                <a:cubicBezTo>
                  <a:pt x="2573" y="1901"/>
                  <a:pt x="2579" y="1897"/>
                  <a:pt x="2588" y="1897"/>
                </a:cubicBezTo>
                <a:cubicBezTo>
                  <a:pt x="2604" y="1897"/>
                  <a:pt x="2612" y="1910"/>
                  <a:pt x="2612" y="1935"/>
                </a:cubicBezTo>
                <a:cubicBezTo>
                  <a:pt x="2612" y="1948"/>
                  <a:pt x="2610" y="1957"/>
                  <a:pt x="2605" y="1964"/>
                </a:cubicBezTo>
                <a:cubicBezTo>
                  <a:pt x="2600" y="1970"/>
                  <a:pt x="2594" y="1973"/>
                  <a:pt x="2586" y="1973"/>
                </a:cubicBezTo>
                <a:close/>
                <a:moveTo>
                  <a:pt x="2587" y="1907"/>
                </a:moveTo>
                <a:cubicBezTo>
                  <a:pt x="2578" y="1907"/>
                  <a:pt x="2573" y="1917"/>
                  <a:pt x="2573" y="1937"/>
                </a:cubicBezTo>
                <a:cubicBezTo>
                  <a:pt x="2573" y="1955"/>
                  <a:pt x="2578" y="1964"/>
                  <a:pt x="2586" y="1964"/>
                </a:cubicBezTo>
                <a:cubicBezTo>
                  <a:pt x="2595" y="1964"/>
                  <a:pt x="2600" y="1955"/>
                  <a:pt x="2600" y="1936"/>
                </a:cubicBezTo>
                <a:cubicBezTo>
                  <a:pt x="2600" y="1916"/>
                  <a:pt x="2595" y="1907"/>
                  <a:pt x="2587" y="1907"/>
                </a:cubicBezTo>
                <a:close/>
                <a:moveTo>
                  <a:pt x="2633" y="1932"/>
                </a:moveTo>
                <a:cubicBezTo>
                  <a:pt x="2633" y="1932"/>
                  <a:pt x="2633" y="1932"/>
                  <a:pt x="2633" y="1932"/>
                </a:cubicBezTo>
                <a:cubicBezTo>
                  <a:pt x="2633" y="1940"/>
                  <a:pt x="2633" y="1940"/>
                  <a:pt x="2633" y="1940"/>
                </a:cubicBezTo>
                <a:cubicBezTo>
                  <a:pt x="2639" y="1941"/>
                  <a:pt x="2640" y="1944"/>
                  <a:pt x="2640" y="1946"/>
                </a:cubicBezTo>
                <a:cubicBezTo>
                  <a:pt x="2640" y="1948"/>
                  <a:pt x="2639" y="1951"/>
                  <a:pt x="2639" y="1953"/>
                </a:cubicBezTo>
                <a:cubicBezTo>
                  <a:pt x="2639" y="1956"/>
                  <a:pt x="2639" y="1958"/>
                  <a:pt x="2639" y="1960"/>
                </a:cubicBezTo>
                <a:cubicBezTo>
                  <a:pt x="2639" y="1970"/>
                  <a:pt x="2644" y="1973"/>
                  <a:pt x="2653" y="1973"/>
                </a:cubicBezTo>
                <a:cubicBezTo>
                  <a:pt x="2653" y="1973"/>
                  <a:pt x="2653" y="1973"/>
                  <a:pt x="2657" y="1973"/>
                </a:cubicBezTo>
                <a:cubicBezTo>
                  <a:pt x="2657" y="1973"/>
                  <a:pt x="2657" y="1973"/>
                  <a:pt x="2657" y="1964"/>
                </a:cubicBezTo>
                <a:cubicBezTo>
                  <a:pt x="2657" y="1964"/>
                  <a:pt x="2657" y="1964"/>
                  <a:pt x="2655" y="1964"/>
                </a:cubicBezTo>
                <a:cubicBezTo>
                  <a:pt x="2651" y="1964"/>
                  <a:pt x="2650" y="1962"/>
                  <a:pt x="2650" y="1958"/>
                </a:cubicBezTo>
                <a:cubicBezTo>
                  <a:pt x="2650" y="1957"/>
                  <a:pt x="2650" y="1955"/>
                  <a:pt x="2651" y="1953"/>
                </a:cubicBezTo>
                <a:cubicBezTo>
                  <a:pt x="2651" y="1952"/>
                  <a:pt x="2651" y="1950"/>
                  <a:pt x="2651" y="1947"/>
                </a:cubicBezTo>
                <a:cubicBezTo>
                  <a:pt x="2651" y="1940"/>
                  <a:pt x="2648" y="1937"/>
                  <a:pt x="2643" y="1936"/>
                </a:cubicBezTo>
                <a:cubicBezTo>
                  <a:pt x="2643" y="1936"/>
                  <a:pt x="2643" y="1936"/>
                  <a:pt x="2643" y="1936"/>
                </a:cubicBezTo>
                <a:cubicBezTo>
                  <a:pt x="2648" y="1935"/>
                  <a:pt x="2651" y="1932"/>
                  <a:pt x="2651" y="1925"/>
                </a:cubicBezTo>
                <a:cubicBezTo>
                  <a:pt x="2651" y="1922"/>
                  <a:pt x="2651" y="1920"/>
                  <a:pt x="2651" y="1919"/>
                </a:cubicBezTo>
                <a:cubicBezTo>
                  <a:pt x="2650" y="1917"/>
                  <a:pt x="2650" y="1915"/>
                  <a:pt x="2650" y="1914"/>
                </a:cubicBezTo>
                <a:cubicBezTo>
                  <a:pt x="2650" y="1910"/>
                  <a:pt x="2651" y="1908"/>
                  <a:pt x="2655" y="1908"/>
                </a:cubicBezTo>
                <a:cubicBezTo>
                  <a:pt x="2655" y="1908"/>
                  <a:pt x="2655" y="1908"/>
                  <a:pt x="2657" y="1908"/>
                </a:cubicBezTo>
                <a:cubicBezTo>
                  <a:pt x="2657" y="1908"/>
                  <a:pt x="2657" y="1908"/>
                  <a:pt x="2657" y="1899"/>
                </a:cubicBezTo>
                <a:cubicBezTo>
                  <a:pt x="2657" y="1899"/>
                  <a:pt x="2657" y="1899"/>
                  <a:pt x="2653" y="1899"/>
                </a:cubicBezTo>
                <a:cubicBezTo>
                  <a:pt x="2644" y="1899"/>
                  <a:pt x="2639" y="1903"/>
                  <a:pt x="2639" y="1911"/>
                </a:cubicBezTo>
                <a:cubicBezTo>
                  <a:pt x="2639" y="1914"/>
                  <a:pt x="2639" y="1916"/>
                  <a:pt x="2639" y="1919"/>
                </a:cubicBezTo>
                <a:cubicBezTo>
                  <a:pt x="2639" y="1921"/>
                  <a:pt x="2640" y="1924"/>
                  <a:pt x="2640" y="1926"/>
                </a:cubicBezTo>
                <a:cubicBezTo>
                  <a:pt x="2640" y="1928"/>
                  <a:pt x="2639" y="1932"/>
                  <a:pt x="2633" y="1932"/>
                </a:cubicBezTo>
                <a:close/>
                <a:moveTo>
                  <a:pt x="2687" y="1940"/>
                </a:moveTo>
                <a:cubicBezTo>
                  <a:pt x="2687" y="1940"/>
                  <a:pt x="2687" y="1940"/>
                  <a:pt x="2687" y="1940"/>
                </a:cubicBezTo>
                <a:cubicBezTo>
                  <a:pt x="2687" y="1932"/>
                  <a:pt x="2687" y="1932"/>
                  <a:pt x="2687" y="1932"/>
                </a:cubicBezTo>
                <a:cubicBezTo>
                  <a:pt x="2681" y="1932"/>
                  <a:pt x="2681" y="1928"/>
                  <a:pt x="2681" y="1926"/>
                </a:cubicBezTo>
                <a:cubicBezTo>
                  <a:pt x="2681" y="1924"/>
                  <a:pt x="2681" y="1921"/>
                  <a:pt x="2681" y="1919"/>
                </a:cubicBezTo>
                <a:cubicBezTo>
                  <a:pt x="2681" y="1916"/>
                  <a:pt x="2681" y="1914"/>
                  <a:pt x="2681" y="1911"/>
                </a:cubicBezTo>
                <a:cubicBezTo>
                  <a:pt x="2681" y="1903"/>
                  <a:pt x="2676" y="1899"/>
                  <a:pt x="2667" y="1899"/>
                </a:cubicBezTo>
                <a:cubicBezTo>
                  <a:pt x="2667" y="1899"/>
                  <a:pt x="2667" y="1899"/>
                  <a:pt x="2663" y="1899"/>
                </a:cubicBezTo>
                <a:cubicBezTo>
                  <a:pt x="2663" y="1899"/>
                  <a:pt x="2663" y="1899"/>
                  <a:pt x="2663" y="1908"/>
                </a:cubicBezTo>
                <a:cubicBezTo>
                  <a:pt x="2663" y="1908"/>
                  <a:pt x="2663" y="1908"/>
                  <a:pt x="2665" y="1908"/>
                </a:cubicBezTo>
                <a:cubicBezTo>
                  <a:pt x="2669" y="1908"/>
                  <a:pt x="2670" y="1910"/>
                  <a:pt x="2670" y="1914"/>
                </a:cubicBezTo>
                <a:cubicBezTo>
                  <a:pt x="2670" y="1915"/>
                  <a:pt x="2670" y="1917"/>
                  <a:pt x="2670" y="1919"/>
                </a:cubicBezTo>
                <a:cubicBezTo>
                  <a:pt x="2669" y="1920"/>
                  <a:pt x="2669" y="1922"/>
                  <a:pt x="2669" y="1925"/>
                </a:cubicBezTo>
                <a:cubicBezTo>
                  <a:pt x="2669" y="1932"/>
                  <a:pt x="2672" y="1935"/>
                  <a:pt x="2678" y="1936"/>
                </a:cubicBezTo>
                <a:cubicBezTo>
                  <a:pt x="2678" y="1936"/>
                  <a:pt x="2678" y="1936"/>
                  <a:pt x="2678" y="1936"/>
                </a:cubicBezTo>
                <a:cubicBezTo>
                  <a:pt x="2672" y="1937"/>
                  <a:pt x="2669" y="1940"/>
                  <a:pt x="2669" y="1947"/>
                </a:cubicBezTo>
                <a:cubicBezTo>
                  <a:pt x="2669" y="1950"/>
                  <a:pt x="2669" y="1952"/>
                  <a:pt x="2670" y="1953"/>
                </a:cubicBezTo>
                <a:cubicBezTo>
                  <a:pt x="2670" y="1955"/>
                  <a:pt x="2670" y="1957"/>
                  <a:pt x="2670" y="1958"/>
                </a:cubicBezTo>
                <a:cubicBezTo>
                  <a:pt x="2670" y="1962"/>
                  <a:pt x="2669" y="1964"/>
                  <a:pt x="2665" y="1964"/>
                </a:cubicBezTo>
                <a:cubicBezTo>
                  <a:pt x="2665" y="1964"/>
                  <a:pt x="2665" y="1964"/>
                  <a:pt x="2663" y="1964"/>
                </a:cubicBezTo>
                <a:cubicBezTo>
                  <a:pt x="2663" y="1964"/>
                  <a:pt x="2663" y="1964"/>
                  <a:pt x="2663" y="1973"/>
                </a:cubicBezTo>
                <a:cubicBezTo>
                  <a:pt x="2663" y="1973"/>
                  <a:pt x="2663" y="1973"/>
                  <a:pt x="2667" y="1973"/>
                </a:cubicBezTo>
                <a:cubicBezTo>
                  <a:pt x="2676" y="1973"/>
                  <a:pt x="2681" y="1970"/>
                  <a:pt x="2681" y="1960"/>
                </a:cubicBezTo>
                <a:cubicBezTo>
                  <a:pt x="2681" y="1958"/>
                  <a:pt x="2681" y="1956"/>
                  <a:pt x="2681" y="1953"/>
                </a:cubicBezTo>
                <a:cubicBezTo>
                  <a:pt x="2681" y="1951"/>
                  <a:pt x="2681" y="1948"/>
                  <a:pt x="2681" y="1946"/>
                </a:cubicBezTo>
                <a:cubicBezTo>
                  <a:pt x="2681" y="1944"/>
                  <a:pt x="2681" y="1941"/>
                  <a:pt x="2687" y="1940"/>
                </a:cubicBezTo>
                <a:close/>
                <a:moveTo>
                  <a:pt x="2808" y="1973"/>
                </a:moveTo>
                <a:cubicBezTo>
                  <a:pt x="2801" y="1973"/>
                  <a:pt x="2794" y="1970"/>
                  <a:pt x="2790" y="1964"/>
                </a:cubicBezTo>
                <a:cubicBezTo>
                  <a:pt x="2786" y="1958"/>
                  <a:pt x="2784" y="1949"/>
                  <a:pt x="2784" y="1937"/>
                </a:cubicBezTo>
                <a:cubicBezTo>
                  <a:pt x="2784" y="1924"/>
                  <a:pt x="2786" y="1914"/>
                  <a:pt x="2790" y="1908"/>
                </a:cubicBezTo>
                <a:cubicBezTo>
                  <a:pt x="2795" y="1901"/>
                  <a:pt x="2801" y="1897"/>
                  <a:pt x="2810" y="1897"/>
                </a:cubicBezTo>
                <a:cubicBezTo>
                  <a:pt x="2826" y="1897"/>
                  <a:pt x="2834" y="1910"/>
                  <a:pt x="2834" y="1935"/>
                </a:cubicBezTo>
                <a:cubicBezTo>
                  <a:pt x="2834" y="1948"/>
                  <a:pt x="2832" y="1957"/>
                  <a:pt x="2827" y="1964"/>
                </a:cubicBezTo>
                <a:cubicBezTo>
                  <a:pt x="2823" y="1970"/>
                  <a:pt x="2816" y="1973"/>
                  <a:pt x="2808" y="1973"/>
                </a:cubicBezTo>
                <a:close/>
                <a:moveTo>
                  <a:pt x="2809" y="1907"/>
                </a:moveTo>
                <a:cubicBezTo>
                  <a:pt x="2800" y="1907"/>
                  <a:pt x="2796" y="1917"/>
                  <a:pt x="2796" y="1937"/>
                </a:cubicBezTo>
                <a:cubicBezTo>
                  <a:pt x="2796" y="1955"/>
                  <a:pt x="2800" y="1964"/>
                  <a:pt x="2809" y="1964"/>
                </a:cubicBezTo>
                <a:cubicBezTo>
                  <a:pt x="2817" y="1964"/>
                  <a:pt x="2822" y="1955"/>
                  <a:pt x="2822" y="1936"/>
                </a:cubicBezTo>
                <a:cubicBezTo>
                  <a:pt x="2822" y="1916"/>
                  <a:pt x="2817" y="1907"/>
                  <a:pt x="2809" y="1907"/>
                </a:cubicBezTo>
                <a:close/>
                <a:moveTo>
                  <a:pt x="2882" y="1900"/>
                </a:moveTo>
                <a:cubicBezTo>
                  <a:pt x="2882" y="1900"/>
                  <a:pt x="2882" y="1900"/>
                  <a:pt x="2882" y="1900"/>
                </a:cubicBezTo>
                <a:cubicBezTo>
                  <a:pt x="2877" y="1900"/>
                  <a:pt x="2877" y="1900"/>
                  <a:pt x="2877" y="1900"/>
                </a:cubicBezTo>
                <a:cubicBezTo>
                  <a:pt x="2875" y="1901"/>
                  <a:pt x="2873" y="1903"/>
                  <a:pt x="2871" y="1903"/>
                </a:cubicBezTo>
                <a:cubicBezTo>
                  <a:pt x="2869" y="1905"/>
                  <a:pt x="2867" y="1906"/>
                  <a:pt x="2866" y="1906"/>
                </a:cubicBezTo>
                <a:cubicBezTo>
                  <a:pt x="2864" y="1907"/>
                  <a:pt x="2862" y="1908"/>
                  <a:pt x="2861" y="1908"/>
                </a:cubicBezTo>
                <a:cubicBezTo>
                  <a:pt x="2859" y="1909"/>
                  <a:pt x="2857" y="1910"/>
                  <a:pt x="2855" y="1911"/>
                </a:cubicBezTo>
                <a:cubicBezTo>
                  <a:pt x="2855" y="1911"/>
                  <a:pt x="2855" y="1911"/>
                  <a:pt x="2855" y="1921"/>
                </a:cubicBezTo>
                <a:cubicBezTo>
                  <a:pt x="2858" y="1920"/>
                  <a:pt x="2861" y="1919"/>
                  <a:pt x="2863" y="1918"/>
                </a:cubicBezTo>
                <a:cubicBezTo>
                  <a:pt x="2866" y="1917"/>
                  <a:pt x="2868" y="1916"/>
                  <a:pt x="2870" y="1914"/>
                </a:cubicBezTo>
                <a:cubicBezTo>
                  <a:pt x="2870" y="1914"/>
                  <a:pt x="2870" y="1914"/>
                  <a:pt x="2870" y="1973"/>
                </a:cubicBezTo>
                <a:cubicBezTo>
                  <a:pt x="2870" y="1973"/>
                  <a:pt x="2870" y="1973"/>
                  <a:pt x="2882" y="1973"/>
                </a:cubicBezTo>
                <a:cubicBezTo>
                  <a:pt x="2882" y="1973"/>
                  <a:pt x="2882" y="1973"/>
                  <a:pt x="2882" y="1900"/>
                </a:cubicBezTo>
                <a:close/>
                <a:moveTo>
                  <a:pt x="2714" y="1973"/>
                </a:moveTo>
                <a:cubicBezTo>
                  <a:pt x="2717" y="1954"/>
                  <a:pt x="2717" y="1954"/>
                  <a:pt x="2717" y="1954"/>
                </a:cubicBezTo>
                <a:cubicBezTo>
                  <a:pt x="2708" y="1954"/>
                  <a:pt x="2708" y="1954"/>
                  <a:pt x="2708" y="1954"/>
                </a:cubicBezTo>
                <a:cubicBezTo>
                  <a:pt x="2708" y="1942"/>
                  <a:pt x="2708" y="1942"/>
                  <a:pt x="2708" y="1942"/>
                </a:cubicBezTo>
                <a:cubicBezTo>
                  <a:pt x="2719" y="1942"/>
                  <a:pt x="2719" y="1942"/>
                  <a:pt x="2719" y="1942"/>
                </a:cubicBezTo>
                <a:cubicBezTo>
                  <a:pt x="2720" y="1931"/>
                  <a:pt x="2720" y="1931"/>
                  <a:pt x="2720" y="1931"/>
                </a:cubicBezTo>
                <a:cubicBezTo>
                  <a:pt x="2711" y="1931"/>
                  <a:pt x="2711" y="1931"/>
                  <a:pt x="2711" y="1931"/>
                </a:cubicBezTo>
                <a:cubicBezTo>
                  <a:pt x="2711" y="1919"/>
                  <a:pt x="2711" y="1919"/>
                  <a:pt x="2711" y="1919"/>
                </a:cubicBezTo>
                <a:cubicBezTo>
                  <a:pt x="2722" y="1919"/>
                  <a:pt x="2722" y="1919"/>
                  <a:pt x="2722" y="1919"/>
                </a:cubicBezTo>
                <a:cubicBezTo>
                  <a:pt x="2725" y="1901"/>
                  <a:pt x="2725" y="1901"/>
                  <a:pt x="2725" y="1901"/>
                </a:cubicBezTo>
                <a:cubicBezTo>
                  <a:pt x="2736" y="1901"/>
                  <a:pt x="2736" y="1901"/>
                  <a:pt x="2736" y="1901"/>
                </a:cubicBezTo>
                <a:cubicBezTo>
                  <a:pt x="2733" y="1919"/>
                  <a:pt x="2733" y="1919"/>
                  <a:pt x="2733" y="1919"/>
                </a:cubicBezTo>
                <a:cubicBezTo>
                  <a:pt x="2743" y="1919"/>
                  <a:pt x="2743" y="1919"/>
                  <a:pt x="2743" y="1919"/>
                </a:cubicBezTo>
                <a:cubicBezTo>
                  <a:pt x="2746" y="1901"/>
                  <a:pt x="2746" y="1901"/>
                  <a:pt x="2746" y="1901"/>
                </a:cubicBezTo>
                <a:cubicBezTo>
                  <a:pt x="2757" y="1901"/>
                  <a:pt x="2757" y="1901"/>
                  <a:pt x="2757" y="1901"/>
                </a:cubicBezTo>
                <a:cubicBezTo>
                  <a:pt x="2754" y="1919"/>
                  <a:pt x="2754" y="1919"/>
                  <a:pt x="2754" y="1919"/>
                </a:cubicBezTo>
                <a:cubicBezTo>
                  <a:pt x="2763" y="1919"/>
                  <a:pt x="2763" y="1919"/>
                  <a:pt x="2763" y="1919"/>
                </a:cubicBezTo>
                <a:cubicBezTo>
                  <a:pt x="2763" y="1931"/>
                  <a:pt x="2763" y="1931"/>
                  <a:pt x="2763" y="1931"/>
                </a:cubicBezTo>
                <a:cubicBezTo>
                  <a:pt x="2753" y="1931"/>
                  <a:pt x="2753" y="1931"/>
                  <a:pt x="2753" y="1931"/>
                </a:cubicBezTo>
                <a:cubicBezTo>
                  <a:pt x="2751" y="1942"/>
                  <a:pt x="2751" y="1942"/>
                  <a:pt x="2751" y="1942"/>
                </a:cubicBezTo>
                <a:cubicBezTo>
                  <a:pt x="2760" y="1942"/>
                  <a:pt x="2760" y="1942"/>
                  <a:pt x="2760" y="1942"/>
                </a:cubicBezTo>
                <a:cubicBezTo>
                  <a:pt x="2760" y="1954"/>
                  <a:pt x="2760" y="1954"/>
                  <a:pt x="2760" y="1954"/>
                </a:cubicBezTo>
                <a:cubicBezTo>
                  <a:pt x="2749" y="1954"/>
                  <a:pt x="2749" y="1954"/>
                  <a:pt x="2749" y="1954"/>
                </a:cubicBezTo>
                <a:cubicBezTo>
                  <a:pt x="2746" y="1973"/>
                  <a:pt x="2746" y="1973"/>
                  <a:pt x="2746" y="1973"/>
                </a:cubicBezTo>
                <a:cubicBezTo>
                  <a:pt x="2735" y="1973"/>
                  <a:pt x="2735" y="1973"/>
                  <a:pt x="2735" y="1973"/>
                </a:cubicBezTo>
                <a:cubicBezTo>
                  <a:pt x="2738" y="1954"/>
                  <a:pt x="2738" y="1954"/>
                  <a:pt x="2738" y="1954"/>
                </a:cubicBezTo>
                <a:cubicBezTo>
                  <a:pt x="2728" y="1954"/>
                  <a:pt x="2728" y="1954"/>
                  <a:pt x="2728" y="1954"/>
                </a:cubicBezTo>
                <a:cubicBezTo>
                  <a:pt x="2725" y="1973"/>
                  <a:pt x="2725" y="1973"/>
                  <a:pt x="2725" y="1973"/>
                </a:cubicBezTo>
                <a:cubicBezTo>
                  <a:pt x="2714" y="1973"/>
                  <a:pt x="2714" y="1973"/>
                  <a:pt x="2714" y="1973"/>
                </a:cubicBezTo>
                <a:cubicBezTo>
                  <a:pt x="2714" y="1973"/>
                  <a:pt x="2714" y="1973"/>
                  <a:pt x="2714" y="1973"/>
                </a:cubicBezTo>
                <a:close/>
                <a:moveTo>
                  <a:pt x="2740" y="1942"/>
                </a:moveTo>
                <a:cubicBezTo>
                  <a:pt x="2741" y="1931"/>
                  <a:pt x="2741" y="1931"/>
                  <a:pt x="2741" y="1931"/>
                </a:cubicBezTo>
                <a:cubicBezTo>
                  <a:pt x="2731" y="1931"/>
                  <a:pt x="2731" y="1931"/>
                  <a:pt x="2731" y="1931"/>
                </a:cubicBezTo>
                <a:cubicBezTo>
                  <a:pt x="2730" y="1942"/>
                  <a:pt x="2730" y="1942"/>
                  <a:pt x="2730" y="1942"/>
                </a:cubicBezTo>
                <a:cubicBezTo>
                  <a:pt x="2740" y="1942"/>
                  <a:pt x="2740" y="1942"/>
                  <a:pt x="2740" y="1942"/>
                </a:cubicBezTo>
                <a:cubicBezTo>
                  <a:pt x="2740" y="1942"/>
                  <a:pt x="2740" y="1942"/>
                  <a:pt x="2740" y="1942"/>
                </a:cubicBezTo>
                <a:close/>
                <a:moveTo>
                  <a:pt x="2258" y="1900"/>
                </a:moveTo>
                <a:cubicBezTo>
                  <a:pt x="2258" y="1900"/>
                  <a:pt x="2258" y="1900"/>
                  <a:pt x="2258" y="1900"/>
                </a:cubicBezTo>
                <a:cubicBezTo>
                  <a:pt x="2253" y="1900"/>
                  <a:pt x="2253" y="1900"/>
                  <a:pt x="2253" y="1900"/>
                </a:cubicBezTo>
                <a:cubicBezTo>
                  <a:pt x="2250" y="1901"/>
                  <a:pt x="2249" y="1903"/>
                  <a:pt x="2247" y="1903"/>
                </a:cubicBezTo>
                <a:cubicBezTo>
                  <a:pt x="2245" y="1905"/>
                  <a:pt x="2244" y="1906"/>
                  <a:pt x="2242" y="1906"/>
                </a:cubicBezTo>
                <a:cubicBezTo>
                  <a:pt x="2240" y="1908"/>
                  <a:pt x="2238" y="1908"/>
                  <a:pt x="2236" y="1909"/>
                </a:cubicBezTo>
                <a:cubicBezTo>
                  <a:pt x="2234" y="1910"/>
                  <a:pt x="2233" y="1911"/>
                  <a:pt x="2230" y="1911"/>
                </a:cubicBezTo>
                <a:cubicBezTo>
                  <a:pt x="2230" y="1911"/>
                  <a:pt x="2230" y="1911"/>
                  <a:pt x="2230" y="1921"/>
                </a:cubicBezTo>
                <a:cubicBezTo>
                  <a:pt x="2233" y="1920"/>
                  <a:pt x="2236" y="1919"/>
                  <a:pt x="2239" y="1918"/>
                </a:cubicBezTo>
                <a:cubicBezTo>
                  <a:pt x="2242" y="1917"/>
                  <a:pt x="2244" y="1916"/>
                  <a:pt x="2246" y="1914"/>
                </a:cubicBezTo>
                <a:cubicBezTo>
                  <a:pt x="2246" y="1914"/>
                  <a:pt x="2246" y="1914"/>
                  <a:pt x="2246" y="1973"/>
                </a:cubicBezTo>
                <a:cubicBezTo>
                  <a:pt x="2246" y="1973"/>
                  <a:pt x="2246" y="1973"/>
                  <a:pt x="2258" y="1973"/>
                </a:cubicBezTo>
                <a:cubicBezTo>
                  <a:pt x="2258" y="1973"/>
                  <a:pt x="2258" y="1973"/>
                  <a:pt x="2258" y="1900"/>
                </a:cubicBezTo>
                <a:close/>
                <a:moveTo>
                  <a:pt x="2305" y="1900"/>
                </a:moveTo>
                <a:cubicBezTo>
                  <a:pt x="2305" y="1900"/>
                  <a:pt x="2305" y="1900"/>
                  <a:pt x="2305" y="1900"/>
                </a:cubicBezTo>
                <a:cubicBezTo>
                  <a:pt x="2300" y="1900"/>
                  <a:pt x="2300" y="1900"/>
                  <a:pt x="2300" y="1900"/>
                </a:cubicBezTo>
                <a:cubicBezTo>
                  <a:pt x="2298" y="1901"/>
                  <a:pt x="2297" y="1903"/>
                  <a:pt x="2294" y="1903"/>
                </a:cubicBezTo>
                <a:cubicBezTo>
                  <a:pt x="2293" y="1905"/>
                  <a:pt x="2291" y="1906"/>
                  <a:pt x="2289" y="1906"/>
                </a:cubicBezTo>
                <a:cubicBezTo>
                  <a:pt x="2288" y="1908"/>
                  <a:pt x="2286" y="1908"/>
                  <a:pt x="2284" y="1909"/>
                </a:cubicBezTo>
                <a:cubicBezTo>
                  <a:pt x="2282" y="1910"/>
                  <a:pt x="2281" y="1911"/>
                  <a:pt x="2278" y="1911"/>
                </a:cubicBezTo>
                <a:cubicBezTo>
                  <a:pt x="2278" y="1911"/>
                  <a:pt x="2278" y="1911"/>
                  <a:pt x="2278" y="1921"/>
                </a:cubicBezTo>
                <a:cubicBezTo>
                  <a:pt x="2281" y="1920"/>
                  <a:pt x="2284" y="1919"/>
                  <a:pt x="2286" y="1918"/>
                </a:cubicBezTo>
                <a:cubicBezTo>
                  <a:pt x="2289" y="1917"/>
                  <a:pt x="2291" y="1916"/>
                  <a:pt x="2294" y="1914"/>
                </a:cubicBezTo>
                <a:cubicBezTo>
                  <a:pt x="2294" y="1914"/>
                  <a:pt x="2294" y="1914"/>
                  <a:pt x="2294" y="1973"/>
                </a:cubicBezTo>
                <a:cubicBezTo>
                  <a:pt x="2294" y="1973"/>
                  <a:pt x="2294" y="1973"/>
                  <a:pt x="2305" y="1973"/>
                </a:cubicBezTo>
                <a:cubicBezTo>
                  <a:pt x="2305" y="1973"/>
                  <a:pt x="2305" y="1973"/>
                  <a:pt x="2305" y="1900"/>
                </a:cubicBezTo>
                <a:close/>
                <a:moveTo>
                  <a:pt x="2352" y="1900"/>
                </a:moveTo>
                <a:cubicBezTo>
                  <a:pt x="2352" y="1900"/>
                  <a:pt x="2352" y="1900"/>
                  <a:pt x="2352" y="1900"/>
                </a:cubicBezTo>
                <a:cubicBezTo>
                  <a:pt x="2348" y="1900"/>
                  <a:pt x="2348" y="1900"/>
                  <a:pt x="2348" y="1900"/>
                </a:cubicBezTo>
                <a:cubicBezTo>
                  <a:pt x="2345" y="1901"/>
                  <a:pt x="2344" y="1903"/>
                  <a:pt x="2342" y="1903"/>
                </a:cubicBezTo>
                <a:cubicBezTo>
                  <a:pt x="2340" y="1905"/>
                  <a:pt x="2338" y="1906"/>
                  <a:pt x="2337" y="1906"/>
                </a:cubicBezTo>
                <a:cubicBezTo>
                  <a:pt x="2335" y="1907"/>
                  <a:pt x="2333" y="1908"/>
                  <a:pt x="2331" y="1908"/>
                </a:cubicBezTo>
                <a:cubicBezTo>
                  <a:pt x="2330" y="1909"/>
                  <a:pt x="2327" y="1910"/>
                  <a:pt x="2326" y="1911"/>
                </a:cubicBezTo>
                <a:cubicBezTo>
                  <a:pt x="2326" y="1911"/>
                  <a:pt x="2326" y="1911"/>
                  <a:pt x="2326" y="1921"/>
                </a:cubicBezTo>
                <a:cubicBezTo>
                  <a:pt x="2329" y="1920"/>
                  <a:pt x="2332" y="1919"/>
                  <a:pt x="2334" y="1918"/>
                </a:cubicBezTo>
                <a:cubicBezTo>
                  <a:pt x="2336" y="1917"/>
                  <a:pt x="2339" y="1916"/>
                  <a:pt x="2340" y="1914"/>
                </a:cubicBezTo>
                <a:cubicBezTo>
                  <a:pt x="2340" y="1914"/>
                  <a:pt x="2340" y="1914"/>
                  <a:pt x="2340" y="1973"/>
                </a:cubicBezTo>
                <a:cubicBezTo>
                  <a:pt x="2340" y="1973"/>
                  <a:pt x="2340" y="1973"/>
                  <a:pt x="2352" y="1973"/>
                </a:cubicBezTo>
                <a:cubicBezTo>
                  <a:pt x="2352" y="1973"/>
                  <a:pt x="2352" y="1973"/>
                  <a:pt x="2352" y="1900"/>
                </a:cubicBezTo>
                <a:close/>
                <a:moveTo>
                  <a:pt x="2559" y="1804"/>
                </a:moveTo>
                <a:cubicBezTo>
                  <a:pt x="2559" y="1804"/>
                  <a:pt x="2559" y="1804"/>
                  <a:pt x="2559" y="1804"/>
                </a:cubicBezTo>
                <a:cubicBezTo>
                  <a:pt x="2554" y="1804"/>
                  <a:pt x="2554" y="1804"/>
                  <a:pt x="2554" y="1804"/>
                </a:cubicBezTo>
                <a:cubicBezTo>
                  <a:pt x="2552" y="1806"/>
                  <a:pt x="2550" y="1807"/>
                  <a:pt x="2548" y="1808"/>
                </a:cubicBezTo>
                <a:cubicBezTo>
                  <a:pt x="2547" y="1809"/>
                  <a:pt x="2544" y="1810"/>
                  <a:pt x="2543" y="1811"/>
                </a:cubicBezTo>
                <a:cubicBezTo>
                  <a:pt x="2541" y="1811"/>
                  <a:pt x="2539" y="1812"/>
                  <a:pt x="2538" y="1813"/>
                </a:cubicBezTo>
                <a:cubicBezTo>
                  <a:pt x="2536" y="1814"/>
                  <a:pt x="2534" y="1814"/>
                  <a:pt x="2532" y="1815"/>
                </a:cubicBezTo>
                <a:cubicBezTo>
                  <a:pt x="2532" y="1815"/>
                  <a:pt x="2532" y="1815"/>
                  <a:pt x="2532" y="1825"/>
                </a:cubicBezTo>
                <a:cubicBezTo>
                  <a:pt x="2535" y="1824"/>
                  <a:pt x="2538" y="1823"/>
                  <a:pt x="2540" y="1822"/>
                </a:cubicBezTo>
                <a:cubicBezTo>
                  <a:pt x="2543" y="1822"/>
                  <a:pt x="2545" y="1820"/>
                  <a:pt x="2547" y="1819"/>
                </a:cubicBezTo>
                <a:cubicBezTo>
                  <a:pt x="2547" y="1819"/>
                  <a:pt x="2547" y="1819"/>
                  <a:pt x="2547" y="1877"/>
                </a:cubicBezTo>
                <a:cubicBezTo>
                  <a:pt x="2547" y="1877"/>
                  <a:pt x="2547" y="1877"/>
                  <a:pt x="2559" y="1877"/>
                </a:cubicBezTo>
                <a:cubicBezTo>
                  <a:pt x="2559" y="1877"/>
                  <a:pt x="2559" y="1877"/>
                  <a:pt x="2559" y="1804"/>
                </a:cubicBezTo>
                <a:close/>
                <a:moveTo>
                  <a:pt x="2605" y="1804"/>
                </a:moveTo>
                <a:cubicBezTo>
                  <a:pt x="2605" y="1804"/>
                  <a:pt x="2605" y="1804"/>
                  <a:pt x="2605" y="1804"/>
                </a:cubicBezTo>
                <a:cubicBezTo>
                  <a:pt x="2600" y="1804"/>
                  <a:pt x="2600" y="1804"/>
                  <a:pt x="2600" y="1804"/>
                </a:cubicBezTo>
                <a:cubicBezTo>
                  <a:pt x="2598" y="1806"/>
                  <a:pt x="2597" y="1807"/>
                  <a:pt x="2595" y="1808"/>
                </a:cubicBezTo>
                <a:cubicBezTo>
                  <a:pt x="2593" y="1809"/>
                  <a:pt x="2591" y="1810"/>
                  <a:pt x="2590" y="1811"/>
                </a:cubicBezTo>
                <a:cubicBezTo>
                  <a:pt x="2588" y="1812"/>
                  <a:pt x="2586" y="1813"/>
                  <a:pt x="2585" y="1814"/>
                </a:cubicBezTo>
                <a:cubicBezTo>
                  <a:pt x="2582" y="1814"/>
                  <a:pt x="2581" y="1815"/>
                  <a:pt x="2579" y="1815"/>
                </a:cubicBezTo>
                <a:cubicBezTo>
                  <a:pt x="2579" y="1815"/>
                  <a:pt x="2579" y="1815"/>
                  <a:pt x="2579" y="1825"/>
                </a:cubicBezTo>
                <a:cubicBezTo>
                  <a:pt x="2582" y="1824"/>
                  <a:pt x="2585" y="1824"/>
                  <a:pt x="2587" y="1822"/>
                </a:cubicBezTo>
                <a:cubicBezTo>
                  <a:pt x="2590" y="1822"/>
                  <a:pt x="2592" y="1820"/>
                  <a:pt x="2594" y="1819"/>
                </a:cubicBezTo>
                <a:cubicBezTo>
                  <a:pt x="2594" y="1819"/>
                  <a:pt x="2594" y="1819"/>
                  <a:pt x="2594" y="1877"/>
                </a:cubicBezTo>
                <a:cubicBezTo>
                  <a:pt x="2594" y="1877"/>
                  <a:pt x="2594" y="1877"/>
                  <a:pt x="2605" y="1877"/>
                </a:cubicBezTo>
                <a:cubicBezTo>
                  <a:pt x="2605" y="1877"/>
                  <a:pt x="2605" y="1877"/>
                  <a:pt x="2605" y="1804"/>
                </a:cubicBezTo>
                <a:close/>
                <a:moveTo>
                  <a:pt x="2651" y="1804"/>
                </a:moveTo>
                <a:cubicBezTo>
                  <a:pt x="2651" y="1804"/>
                  <a:pt x="2651" y="1804"/>
                  <a:pt x="2651" y="1804"/>
                </a:cubicBezTo>
                <a:cubicBezTo>
                  <a:pt x="2647" y="1804"/>
                  <a:pt x="2647" y="1804"/>
                  <a:pt x="2647" y="1804"/>
                </a:cubicBezTo>
                <a:cubicBezTo>
                  <a:pt x="2645" y="1806"/>
                  <a:pt x="2643" y="1807"/>
                  <a:pt x="2641" y="1808"/>
                </a:cubicBezTo>
                <a:cubicBezTo>
                  <a:pt x="2640" y="1809"/>
                  <a:pt x="2638" y="1810"/>
                  <a:pt x="2636" y="1811"/>
                </a:cubicBezTo>
                <a:cubicBezTo>
                  <a:pt x="2634" y="1812"/>
                  <a:pt x="2633" y="1813"/>
                  <a:pt x="2630" y="1814"/>
                </a:cubicBezTo>
                <a:cubicBezTo>
                  <a:pt x="2629" y="1814"/>
                  <a:pt x="2627" y="1815"/>
                  <a:pt x="2625" y="1815"/>
                </a:cubicBezTo>
                <a:cubicBezTo>
                  <a:pt x="2625" y="1815"/>
                  <a:pt x="2625" y="1815"/>
                  <a:pt x="2625" y="1825"/>
                </a:cubicBezTo>
                <a:cubicBezTo>
                  <a:pt x="2628" y="1824"/>
                  <a:pt x="2631" y="1824"/>
                  <a:pt x="2633" y="1822"/>
                </a:cubicBezTo>
                <a:cubicBezTo>
                  <a:pt x="2636" y="1822"/>
                  <a:pt x="2638" y="1820"/>
                  <a:pt x="2640" y="1819"/>
                </a:cubicBezTo>
                <a:cubicBezTo>
                  <a:pt x="2640" y="1819"/>
                  <a:pt x="2640" y="1819"/>
                  <a:pt x="2640" y="1877"/>
                </a:cubicBezTo>
                <a:cubicBezTo>
                  <a:pt x="2640" y="1877"/>
                  <a:pt x="2640" y="1877"/>
                  <a:pt x="2651" y="1877"/>
                </a:cubicBezTo>
                <a:cubicBezTo>
                  <a:pt x="2651" y="1877"/>
                  <a:pt x="2651" y="1877"/>
                  <a:pt x="2651" y="1804"/>
                </a:cubicBezTo>
                <a:close/>
                <a:moveTo>
                  <a:pt x="2698" y="1804"/>
                </a:moveTo>
                <a:cubicBezTo>
                  <a:pt x="2698" y="1804"/>
                  <a:pt x="2698" y="1804"/>
                  <a:pt x="2698" y="1804"/>
                </a:cubicBezTo>
                <a:cubicBezTo>
                  <a:pt x="2693" y="1804"/>
                  <a:pt x="2693" y="1804"/>
                  <a:pt x="2693" y="1804"/>
                </a:cubicBezTo>
                <a:cubicBezTo>
                  <a:pt x="2691" y="1806"/>
                  <a:pt x="2690" y="1807"/>
                  <a:pt x="2687" y="1808"/>
                </a:cubicBezTo>
                <a:cubicBezTo>
                  <a:pt x="2686" y="1809"/>
                  <a:pt x="2684" y="1810"/>
                  <a:pt x="2682" y="1811"/>
                </a:cubicBezTo>
                <a:cubicBezTo>
                  <a:pt x="2681" y="1812"/>
                  <a:pt x="2678" y="1813"/>
                  <a:pt x="2677" y="1814"/>
                </a:cubicBezTo>
                <a:cubicBezTo>
                  <a:pt x="2675" y="1814"/>
                  <a:pt x="2673" y="1815"/>
                  <a:pt x="2671" y="1815"/>
                </a:cubicBezTo>
                <a:cubicBezTo>
                  <a:pt x="2671" y="1815"/>
                  <a:pt x="2671" y="1815"/>
                  <a:pt x="2671" y="1825"/>
                </a:cubicBezTo>
                <a:cubicBezTo>
                  <a:pt x="2674" y="1824"/>
                  <a:pt x="2677" y="1824"/>
                  <a:pt x="2679" y="1822"/>
                </a:cubicBezTo>
                <a:cubicBezTo>
                  <a:pt x="2682" y="1822"/>
                  <a:pt x="2684" y="1820"/>
                  <a:pt x="2687" y="1819"/>
                </a:cubicBezTo>
                <a:cubicBezTo>
                  <a:pt x="2687" y="1819"/>
                  <a:pt x="2687" y="1819"/>
                  <a:pt x="2687" y="1877"/>
                </a:cubicBezTo>
                <a:cubicBezTo>
                  <a:pt x="2687" y="1877"/>
                  <a:pt x="2687" y="1877"/>
                  <a:pt x="2698" y="1877"/>
                </a:cubicBezTo>
                <a:cubicBezTo>
                  <a:pt x="2698" y="1877"/>
                  <a:pt x="2698" y="1877"/>
                  <a:pt x="2698" y="1804"/>
                </a:cubicBezTo>
                <a:close/>
                <a:moveTo>
                  <a:pt x="2820" y="1804"/>
                </a:moveTo>
                <a:cubicBezTo>
                  <a:pt x="2820" y="1804"/>
                  <a:pt x="2820" y="1804"/>
                  <a:pt x="2820" y="1804"/>
                </a:cubicBezTo>
                <a:cubicBezTo>
                  <a:pt x="2815" y="1804"/>
                  <a:pt x="2815" y="1804"/>
                  <a:pt x="2815" y="1804"/>
                </a:cubicBezTo>
                <a:cubicBezTo>
                  <a:pt x="2813" y="1806"/>
                  <a:pt x="2811" y="1807"/>
                  <a:pt x="2809" y="1808"/>
                </a:cubicBezTo>
                <a:cubicBezTo>
                  <a:pt x="2808" y="1809"/>
                  <a:pt x="2806" y="1810"/>
                  <a:pt x="2804" y="1811"/>
                </a:cubicBezTo>
                <a:cubicBezTo>
                  <a:pt x="2802" y="1812"/>
                  <a:pt x="2800" y="1813"/>
                  <a:pt x="2799" y="1814"/>
                </a:cubicBezTo>
                <a:cubicBezTo>
                  <a:pt x="2797" y="1814"/>
                  <a:pt x="2795" y="1815"/>
                  <a:pt x="2793" y="1815"/>
                </a:cubicBezTo>
                <a:cubicBezTo>
                  <a:pt x="2793" y="1815"/>
                  <a:pt x="2793" y="1815"/>
                  <a:pt x="2793" y="1825"/>
                </a:cubicBezTo>
                <a:cubicBezTo>
                  <a:pt x="2796" y="1824"/>
                  <a:pt x="2799" y="1824"/>
                  <a:pt x="2802" y="1822"/>
                </a:cubicBezTo>
                <a:cubicBezTo>
                  <a:pt x="2804" y="1822"/>
                  <a:pt x="2806" y="1820"/>
                  <a:pt x="2808" y="1819"/>
                </a:cubicBezTo>
                <a:cubicBezTo>
                  <a:pt x="2808" y="1819"/>
                  <a:pt x="2808" y="1819"/>
                  <a:pt x="2808" y="1877"/>
                </a:cubicBezTo>
                <a:cubicBezTo>
                  <a:pt x="2808" y="1877"/>
                  <a:pt x="2808" y="1877"/>
                  <a:pt x="2820" y="1877"/>
                </a:cubicBezTo>
                <a:cubicBezTo>
                  <a:pt x="2820" y="1877"/>
                  <a:pt x="2820" y="1877"/>
                  <a:pt x="2820" y="1804"/>
                </a:cubicBezTo>
                <a:close/>
                <a:moveTo>
                  <a:pt x="2867" y="1804"/>
                </a:moveTo>
                <a:cubicBezTo>
                  <a:pt x="2867" y="1804"/>
                  <a:pt x="2867" y="1804"/>
                  <a:pt x="2867" y="1804"/>
                </a:cubicBezTo>
                <a:cubicBezTo>
                  <a:pt x="2862" y="1804"/>
                  <a:pt x="2862" y="1804"/>
                  <a:pt x="2862" y="1804"/>
                </a:cubicBezTo>
                <a:cubicBezTo>
                  <a:pt x="2860" y="1806"/>
                  <a:pt x="2858" y="1807"/>
                  <a:pt x="2856" y="1808"/>
                </a:cubicBezTo>
                <a:cubicBezTo>
                  <a:pt x="2855" y="1809"/>
                  <a:pt x="2852" y="1810"/>
                  <a:pt x="2851" y="1811"/>
                </a:cubicBezTo>
                <a:cubicBezTo>
                  <a:pt x="2849" y="1812"/>
                  <a:pt x="2847" y="1813"/>
                  <a:pt x="2846" y="1814"/>
                </a:cubicBezTo>
                <a:cubicBezTo>
                  <a:pt x="2844" y="1814"/>
                  <a:pt x="2842" y="1815"/>
                  <a:pt x="2840" y="1815"/>
                </a:cubicBezTo>
                <a:cubicBezTo>
                  <a:pt x="2840" y="1815"/>
                  <a:pt x="2840" y="1815"/>
                  <a:pt x="2840" y="1825"/>
                </a:cubicBezTo>
                <a:cubicBezTo>
                  <a:pt x="2843" y="1824"/>
                  <a:pt x="2846" y="1824"/>
                  <a:pt x="2848" y="1822"/>
                </a:cubicBezTo>
                <a:cubicBezTo>
                  <a:pt x="2851" y="1822"/>
                  <a:pt x="2853" y="1820"/>
                  <a:pt x="2855" y="1819"/>
                </a:cubicBezTo>
                <a:cubicBezTo>
                  <a:pt x="2855" y="1819"/>
                  <a:pt x="2855" y="1819"/>
                  <a:pt x="2855" y="1877"/>
                </a:cubicBezTo>
                <a:cubicBezTo>
                  <a:pt x="2855" y="1877"/>
                  <a:pt x="2855" y="1877"/>
                  <a:pt x="2867" y="1877"/>
                </a:cubicBezTo>
                <a:cubicBezTo>
                  <a:pt x="2867" y="1877"/>
                  <a:pt x="2867" y="1877"/>
                  <a:pt x="2867" y="1804"/>
                </a:cubicBezTo>
                <a:close/>
                <a:moveTo>
                  <a:pt x="2718" y="1836"/>
                </a:moveTo>
                <a:cubicBezTo>
                  <a:pt x="2718" y="1836"/>
                  <a:pt x="2718" y="1836"/>
                  <a:pt x="2718" y="1836"/>
                </a:cubicBezTo>
                <a:cubicBezTo>
                  <a:pt x="2718" y="1844"/>
                  <a:pt x="2718" y="1844"/>
                  <a:pt x="2718" y="1844"/>
                </a:cubicBezTo>
                <a:cubicBezTo>
                  <a:pt x="2724" y="1845"/>
                  <a:pt x="2725" y="1848"/>
                  <a:pt x="2725" y="1850"/>
                </a:cubicBezTo>
                <a:cubicBezTo>
                  <a:pt x="2725" y="1853"/>
                  <a:pt x="2725" y="1855"/>
                  <a:pt x="2725" y="1857"/>
                </a:cubicBezTo>
                <a:cubicBezTo>
                  <a:pt x="2724" y="1860"/>
                  <a:pt x="2724" y="1862"/>
                  <a:pt x="2724" y="1865"/>
                </a:cubicBezTo>
                <a:cubicBezTo>
                  <a:pt x="2724" y="1874"/>
                  <a:pt x="2730" y="1877"/>
                  <a:pt x="2738" y="1877"/>
                </a:cubicBezTo>
                <a:cubicBezTo>
                  <a:pt x="2738" y="1877"/>
                  <a:pt x="2738" y="1877"/>
                  <a:pt x="2742" y="1877"/>
                </a:cubicBezTo>
                <a:cubicBezTo>
                  <a:pt x="2742" y="1877"/>
                  <a:pt x="2742" y="1877"/>
                  <a:pt x="2742" y="1868"/>
                </a:cubicBezTo>
                <a:cubicBezTo>
                  <a:pt x="2742" y="1868"/>
                  <a:pt x="2742" y="1868"/>
                  <a:pt x="2741" y="1868"/>
                </a:cubicBezTo>
                <a:cubicBezTo>
                  <a:pt x="2737" y="1868"/>
                  <a:pt x="2736" y="1866"/>
                  <a:pt x="2736" y="1862"/>
                </a:cubicBezTo>
                <a:cubicBezTo>
                  <a:pt x="2736" y="1861"/>
                  <a:pt x="2736" y="1859"/>
                  <a:pt x="2736" y="1857"/>
                </a:cubicBezTo>
                <a:cubicBezTo>
                  <a:pt x="2736" y="1856"/>
                  <a:pt x="2737" y="1854"/>
                  <a:pt x="2737" y="1852"/>
                </a:cubicBezTo>
                <a:cubicBezTo>
                  <a:pt x="2737" y="1844"/>
                  <a:pt x="2734" y="1842"/>
                  <a:pt x="2728" y="1840"/>
                </a:cubicBezTo>
                <a:cubicBezTo>
                  <a:pt x="2728" y="1840"/>
                  <a:pt x="2728" y="1840"/>
                  <a:pt x="2728" y="1840"/>
                </a:cubicBezTo>
                <a:cubicBezTo>
                  <a:pt x="2734" y="1839"/>
                  <a:pt x="2737" y="1837"/>
                  <a:pt x="2737" y="1829"/>
                </a:cubicBezTo>
                <a:cubicBezTo>
                  <a:pt x="2737" y="1827"/>
                  <a:pt x="2736" y="1825"/>
                  <a:pt x="2736" y="1823"/>
                </a:cubicBezTo>
                <a:cubicBezTo>
                  <a:pt x="2736" y="1821"/>
                  <a:pt x="2736" y="1820"/>
                  <a:pt x="2736" y="1818"/>
                </a:cubicBezTo>
                <a:cubicBezTo>
                  <a:pt x="2736" y="1815"/>
                  <a:pt x="2737" y="1813"/>
                  <a:pt x="2741" y="1813"/>
                </a:cubicBezTo>
                <a:cubicBezTo>
                  <a:pt x="2741" y="1813"/>
                  <a:pt x="2741" y="1813"/>
                  <a:pt x="2742" y="1813"/>
                </a:cubicBezTo>
                <a:cubicBezTo>
                  <a:pt x="2742" y="1813"/>
                  <a:pt x="2742" y="1813"/>
                  <a:pt x="2742" y="1803"/>
                </a:cubicBezTo>
                <a:cubicBezTo>
                  <a:pt x="2742" y="1803"/>
                  <a:pt x="2742" y="1803"/>
                  <a:pt x="2738" y="1803"/>
                </a:cubicBezTo>
                <a:cubicBezTo>
                  <a:pt x="2730" y="1803"/>
                  <a:pt x="2724" y="1807"/>
                  <a:pt x="2724" y="1816"/>
                </a:cubicBezTo>
                <a:cubicBezTo>
                  <a:pt x="2724" y="1818"/>
                  <a:pt x="2724" y="1821"/>
                  <a:pt x="2724" y="1823"/>
                </a:cubicBezTo>
                <a:cubicBezTo>
                  <a:pt x="2725" y="1826"/>
                  <a:pt x="2725" y="1828"/>
                  <a:pt x="2725" y="1830"/>
                </a:cubicBezTo>
                <a:cubicBezTo>
                  <a:pt x="2725" y="1833"/>
                  <a:pt x="2724" y="1836"/>
                  <a:pt x="2718" y="1836"/>
                </a:cubicBezTo>
                <a:close/>
                <a:moveTo>
                  <a:pt x="2773" y="1844"/>
                </a:moveTo>
                <a:cubicBezTo>
                  <a:pt x="2773" y="1844"/>
                  <a:pt x="2773" y="1844"/>
                  <a:pt x="2773" y="1844"/>
                </a:cubicBezTo>
                <a:cubicBezTo>
                  <a:pt x="2773" y="1836"/>
                  <a:pt x="2773" y="1836"/>
                  <a:pt x="2773" y="1836"/>
                </a:cubicBezTo>
                <a:cubicBezTo>
                  <a:pt x="2767" y="1836"/>
                  <a:pt x="2767" y="1833"/>
                  <a:pt x="2767" y="1830"/>
                </a:cubicBezTo>
                <a:cubicBezTo>
                  <a:pt x="2767" y="1828"/>
                  <a:pt x="2767" y="1826"/>
                  <a:pt x="2767" y="1823"/>
                </a:cubicBezTo>
                <a:cubicBezTo>
                  <a:pt x="2767" y="1821"/>
                  <a:pt x="2767" y="1818"/>
                  <a:pt x="2767" y="1816"/>
                </a:cubicBezTo>
                <a:cubicBezTo>
                  <a:pt x="2767" y="1807"/>
                  <a:pt x="2762" y="1803"/>
                  <a:pt x="2753" y="1803"/>
                </a:cubicBezTo>
                <a:cubicBezTo>
                  <a:pt x="2753" y="1803"/>
                  <a:pt x="2753" y="1803"/>
                  <a:pt x="2749" y="1803"/>
                </a:cubicBezTo>
                <a:cubicBezTo>
                  <a:pt x="2749" y="1803"/>
                  <a:pt x="2749" y="1803"/>
                  <a:pt x="2749" y="1813"/>
                </a:cubicBezTo>
                <a:cubicBezTo>
                  <a:pt x="2749" y="1813"/>
                  <a:pt x="2749" y="1813"/>
                  <a:pt x="2750" y="1813"/>
                </a:cubicBezTo>
                <a:cubicBezTo>
                  <a:pt x="2754" y="1813"/>
                  <a:pt x="2756" y="1815"/>
                  <a:pt x="2756" y="1818"/>
                </a:cubicBezTo>
                <a:cubicBezTo>
                  <a:pt x="2756" y="1820"/>
                  <a:pt x="2755" y="1821"/>
                  <a:pt x="2755" y="1823"/>
                </a:cubicBezTo>
                <a:cubicBezTo>
                  <a:pt x="2755" y="1825"/>
                  <a:pt x="2755" y="1827"/>
                  <a:pt x="2755" y="1829"/>
                </a:cubicBezTo>
                <a:cubicBezTo>
                  <a:pt x="2755" y="1837"/>
                  <a:pt x="2757" y="1839"/>
                  <a:pt x="2764" y="1840"/>
                </a:cubicBezTo>
                <a:cubicBezTo>
                  <a:pt x="2764" y="1840"/>
                  <a:pt x="2764" y="1840"/>
                  <a:pt x="2764" y="1840"/>
                </a:cubicBezTo>
                <a:cubicBezTo>
                  <a:pt x="2757" y="1842"/>
                  <a:pt x="2755" y="1844"/>
                  <a:pt x="2755" y="1852"/>
                </a:cubicBezTo>
                <a:cubicBezTo>
                  <a:pt x="2755" y="1854"/>
                  <a:pt x="2755" y="1856"/>
                  <a:pt x="2755" y="1857"/>
                </a:cubicBezTo>
                <a:cubicBezTo>
                  <a:pt x="2755" y="1859"/>
                  <a:pt x="2756" y="1861"/>
                  <a:pt x="2756" y="1862"/>
                </a:cubicBezTo>
                <a:cubicBezTo>
                  <a:pt x="2756" y="1866"/>
                  <a:pt x="2754" y="1868"/>
                  <a:pt x="2750" y="1868"/>
                </a:cubicBezTo>
                <a:cubicBezTo>
                  <a:pt x="2750" y="1868"/>
                  <a:pt x="2750" y="1868"/>
                  <a:pt x="2749" y="1868"/>
                </a:cubicBezTo>
                <a:cubicBezTo>
                  <a:pt x="2749" y="1868"/>
                  <a:pt x="2749" y="1868"/>
                  <a:pt x="2749" y="1877"/>
                </a:cubicBezTo>
                <a:cubicBezTo>
                  <a:pt x="2749" y="1877"/>
                  <a:pt x="2749" y="1877"/>
                  <a:pt x="2753" y="1877"/>
                </a:cubicBezTo>
                <a:cubicBezTo>
                  <a:pt x="2762" y="1877"/>
                  <a:pt x="2767" y="1874"/>
                  <a:pt x="2767" y="1865"/>
                </a:cubicBezTo>
                <a:cubicBezTo>
                  <a:pt x="2767" y="1862"/>
                  <a:pt x="2767" y="1860"/>
                  <a:pt x="2767" y="1857"/>
                </a:cubicBezTo>
                <a:cubicBezTo>
                  <a:pt x="2767" y="1855"/>
                  <a:pt x="2767" y="1853"/>
                  <a:pt x="2767" y="1850"/>
                </a:cubicBezTo>
                <a:cubicBezTo>
                  <a:pt x="2767" y="1848"/>
                  <a:pt x="2767" y="1845"/>
                  <a:pt x="2773" y="1844"/>
                </a:cubicBezTo>
                <a:close/>
                <a:moveTo>
                  <a:pt x="2159" y="1877"/>
                </a:moveTo>
                <a:cubicBezTo>
                  <a:pt x="2152" y="1877"/>
                  <a:pt x="2145" y="1874"/>
                  <a:pt x="2141" y="1868"/>
                </a:cubicBezTo>
                <a:cubicBezTo>
                  <a:pt x="2137" y="1862"/>
                  <a:pt x="2135" y="1853"/>
                  <a:pt x="2135" y="1841"/>
                </a:cubicBezTo>
                <a:cubicBezTo>
                  <a:pt x="2135" y="1828"/>
                  <a:pt x="2137" y="1818"/>
                  <a:pt x="2141" y="1812"/>
                </a:cubicBezTo>
                <a:cubicBezTo>
                  <a:pt x="2146" y="1805"/>
                  <a:pt x="2152" y="1801"/>
                  <a:pt x="2161" y="1801"/>
                </a:cubicBezTo>
                <a:cubicBezTo>
                  <a:pt x="2177" y="1801"/>
                  <a:pt x="2185" y="1814"/>
                  <a:pt x="2185" y="1839"/>
                </a:cubicBezTo>
                <a:cubicBezTo>
                  <a:pt x="2185" y="1852"/>
                  <a:pt x="2183" y="1861"/>
                  <a:pt x="2178" y="1868"/>
                </a:cubicBezTo>
                <a:cubicBezTo>
                  <a:pt x="2174" y="1874"/>
                  <a:pt x="2167" y="1877"/>
                  <a:pt x="2159" y="1877"/>
                </a:cubicBezTo>
                <a:close/>
                <a:moveTo>
                  <a:pt x="2160" y="1811"/>
                </a:moveTo>
                <a:cubicBezTo>
                  <a:pt x="2151" y="1811"/>
                  <a:pt x="2147" y="1821"/>
                  <a:pt x="2147" y="1841"/>
                </a:cubicBezTo>
                <a:cubicBezTo>
                  <a:pt x="2147" y="1859"/>
                  <a:pt x="2151" y="1868"/>
                  <a:pt x="2160" y="1868"/>
                </a:cubicBezTo>
                <a:cubicBezTo>
                  <a:pt x="2168" y="1868"/>
                  <a:pt x="2173" y="1859"/>
                  <a:pt x="2173" y="1840"/>
                </a:cubicBezTo>
                <a:cubicBezTo>
                  <a:pt x="2173" y="1820"/>
                  <a:pt x="2168" y="1811"/>
                  <a:pt x="2160" y="1811"/>
                </a:cubicBezTo>
                <a:close/>
                <a:moveTo>
                  <a:pt x="2230" y="1877"/>
                </a:moveTo>
                <a:cubicBezTo>
                  <a:pt x="2222" y="1877"/>
                  <a:pt x="2216" y="1874"/>
                  <a:pt x="2212" y="1868"/>
                </a:cubicBezTo>
                <a:cubicBezTo>
                  <a:pt x="2208" y="1862"/>
                  <a:pt x="2205" y="1853"/>
                  <a:pt x="2205" y="1841"/>
                </a:cubicBezTo>
                <a:cubicBezTo>
                  <a:pt x="2205" y="1828"/>
                  <a:pt x="2208" y="1818"/>
                  <a:pt x="2212" y="1812"/>
                </a:cubicBezTo>
                <a:cubicBezTo>
                  <a:pt x="2216" y="1805"/>
                  <a:pt x="2223" y="1801"/>
                  <a:pt x="2232" y="1801"/>
                </a:cubicBezTo>
                <a:cubicBezTo>
                  <a:pt x="2248" y="1801"/>
                  <a:pt x="2256" y="1814"/>
                  <a:pt x="2256" y="1839"/>
                </a:cubicBezTo>
                <a:cubicBezTo>
                  <a:pt x="2256" y="1852"/>
                  <a:pt x="2254" y="1861"/>
                  <a:pt x="2249" y="1868"/>
                </a:cubicBezTo>
                <a:cubicBezTo>
                  <a:pt x="2244" y="1874"/>
                  <a:pt x="2238" y="1877"/>
                  <a:pt x="2230" y="1877"/>
                </a:cubicBezTo>
                <a:close/>
                <a:moveTo>
                  <a:pt x="2231" y="1811"/>
                </a:moveTo>
                <a:cubicBezTo>
                  <a:pt x="2222" y="1811"/>
                  <a:pt x="2217" y="1821"/>
                  <a:pt x="2217" y="1841"/>
                </a:cubicBezTo>
                <a:cubicBezTo>
                  <a:pt x="2217" y="1859"/>
                  <a:pt x="2222" y="1868"/>
                  <a:pt x="2230" y="1868"/>
                </a:cubicBezTo>
                <a:cubicBezTo>
                  <a:pt x="2239" y="1868"/>
                  <a:pt x="2243" y="1859"/>
                  <a:pt x="2243" y="1840"/>
                </a:cubicBezTo>
                <a:cubicBezTo>
                  <a:pt x="2243" y="1820"/>
                  <a:pt x="2239" y="1811"/>
                  <a:pt x="2231" y="1811"/>
                </a:cubicBezTo>
                <a:close/>
                <a:moveTo>
                  <a:pt x="2439" y="1877"/>
                </a:moveTo>
                <a:cubicBezTo>
                  <a:pt x="2432" y="1877"/>
                  <a:pt x="2426" y="1874"/>
                  <a:pt x="2422" y="1868"/>
                </a:cubicBezTo>
                <a:cubicBezTo>
                  <a:pt x="2417" y="1862"/>
                  <a:pt x="2415" y="1852"/>
                  <a:pt x="2415" y="1841"/>
                </a:cubicBezTo>
                <a:cubicBezTo>
                  <a:pt x="2415" y="1828"/>
                  <a:pt x="2417" y="1818"/>
                  <a:pt x="2422" y="1811"/>
                </a:cubicBezTo>
                <a:cubicBezTo>
                  <a:pt x="2426" y="1804"/>
                  <a:pt x="2433" y="1801"/>
                  <a:pt x="2442" y="1801"/>
                </a:cubicBezTo>
                <a:cubicBezTo>
                  <a:pt x="2458" y="1801"/>
                  <a:pt x="2466" y="1814"/>
                  <a:pt x="2466" y="1839"/>
                </a:cubicBezTo>
                <a:cubicBezTo>
                  <a:pt x="2466" y="1852"/>
                  <a:pt x="2463" y="1861"/>
                  <a:pt x="2459" y="1868"/>
                </a:cubicBezTo>
                <a:cubicBezTo>
                  <a:pt x="2454" y="1874"/>
                  <a:pt x="2448" y="1877"/>
                  <a:pt x="2439" y="1877"/>
                </a:cubicBezTo>
                <a:close/>
                <a:moveTo>
                  <a:pt x="2441" y="1811"/>
                </a:moveTo>
                <a:cubicBezTo>
                  <a:pt x="2432" y="1811"/>
                  <a:pt x="2428" y="1820"/>
                  <a:pt x="2428" y="1840"/>
                </a:cubicBezTo>
                <a:cubicBezTo>
                  <a:pt x="2428" y="1858"/>
                  <a:pt x="2432" y="1868"/>
                  <a:pt x="2441" y="1868"/>
                </a:cubicBezTo>
                <a:cubicBezTo>
                  <a:pt x="2449" y="1868"/>
                  <a:pt x="2453" y="1858"/>
                  <a:pt x="2453" y="1840"/>
                </a:cubicBezTo>
                <a:cubicBezTo>
                  <a:pt x="2453" y="1820"/>
                  <a:pt x="2450" y="1811"/>
                  <a:pt x="2441" y="1811"/>
                </a:cubicBezTo>
                <a:close/>
                <a:moveTo>
                  <a:pt x="2512" y="1804"/>
                </a:moveTo>
                <a:cubicBezTo>
                  <a:pt x="2512" y="1804"/>
                  <a:pt x="2512" y="1804"/>
                  <a:pt x="2512" y="1804"/>
                </a:cubicBezTo>
                <a:cubicBezTo>
                  <a:pt x="2507" y="1804"/>
                  <a:pt x="2507" y="1804"/>
                  <a:pt x="2507" y="1804"/>
                </a:cubicBezTo>
                <a:cubicBezTo>
                  <a:pt x="2505" y="1806"/>
                  <a:pt x="2504" y="1807"/>
                  <a:pt x="2501" y="1808"/>
                </a:cubicBezTo>
                <a:cubicBezTo>
                  <a:pt x="2500" y="1809"/>
                  <a:pt x="2498" y="1810"/>
                  <a:pt x="2496" y="1811"/>
                </a:cubicBezTo>
                <a:cubicBezTo>
                  <a:pt x="2495" y="1811"/>
                  <a:pt x="2493" y="1812"/>
                  <a:pt x="2491" y="1813"/>
                </a:cubicBezTo>
                <a:cubicBezTo>
                  <a:pt x="2489" y="1814"/>
                  <a:pt x="2488" y="1814"/>
                  <a:pt x="2486" y="1815"/>
                </a:cubicBezTo>
                <a:cubicBezTo>
                  <a:pt x="2486" y="1815"/>
                  <a:pt x="2486" y="1815"/>
                  <a:pt x="2486" y="1825"/>
                </a:cubicBezTo>
                <a:cubicBezTo>
                  <a:pt x="2489" y="1824"/>
                  <a:pt x="2491" y="1823"/>
                  <a:pt x="2494" y="1822"/>
                </a:cubicBezTo>
                <a:cubicBezTo>
                  <a:pt x="2496" y="1822"/>
                  <a:pt x="2499" y="1820"/>
                  <a:pt x="2501" y="1819"/>
                </a:cubicBezTo>
                <a:cubicBezTo>
                  <a:pt x="2501" y="1819"/>
                  <a:pt x="2501" y="1819"/>
                  <a:pt x="2501" y="1877"/>
                </a:cubicBezTo>
                <a:cubicBezTo>
                  <a:pt x="2501" y="1877"/>
                  <a:pt x="2501" y="1877"/>
                  <a:pt x="2512" y="1877"/>
                </a:cubicBezTo>
                <a:cubicBezTo>
                  <a:pt x="2512" y="1877"/>
                  <a:pt x="2512" y="1877"/>
                  <a:pt x="2512" y="1804"/>
                </a:cubicBezTo>
                <a:close/>
                <a:moveTo>
                  <a:pt x="2303" y="1804"/>
                </a:moveTo>
                <a:cubicBezTo>
                  <a:pt x="2303" y="1804"/>
                  <a:pt x="2303" y="1804"/>
                  <a:pt x="2303" y="1804"/>
                </a:cubicBezTo>
                <a:cubicBezTo>
                  <a:pt x="2298" y="1804"/>
                  <a:pt x="2298" y="1804"/>
                  <a:pt x="2298" y="1804"/>
                </a:cubicBezTo>
                <a:cubicBezTo>
                  <a:pt x="2295" y="1806"/>
                  <a:pt x="2294" y="1807"/>
                  <a:pt x="2292" y="1808"/>
                </a:cubicBezTo>
                <a:cubicBezTo>
                  <a:pt x="2290" y="1809"/>
                  <a:pt x="2289" y="1810"/>
                  <a:pt x="2287" y="1811"/>
                </a:cubicBezTo>
                <a:cubicBezTo>
                  <a:pt x="2285" y="1812"/>
                  <a:pt x="2283" y="1813"/>
                  <a:pt x="2281" y="1814"/>
                </a:cubicBezTo>
                <a:cubicBezTo>
                  <a:pt x="2279" y="1814"/>
                  <a:pt x="2278" y="1815"/>
                  <a:pt x="2276" y="1815"/>
                </a:cubicBezTo>
                <a:cubicBezTo>
                  <a:pt x="2276" y="1815"/>
                  <a:pt x="2276" y="1815"/>
                  <a:pt x="2276" y="1825"/>
                </a:cubicBezTo>
                <a:cubicBezTo>
                  <a:pt x="2278" y="1824"/>
                  <a:pt x="2281" y="1824"/>
                  <a:pt x="2284" y="1822"/>
                </a:cubicBezTo>
                <a:cubicBezTo>
                  <a:pt x="2287" y="1822"/>
                  <a:pt x="2289" y="1820"/>
                  <a:pt x="2291" y="1819"/>
                </a:cubicBezTo>
                <a:cubicBezTo>
                  <a:pt x="2291" y="1819"/>
                  <a:pt x="2291" y="1819"/>
                  <a:pt x="2291" y="1877"/>
                </a:cubicBezTo>
                <a:cubicBezTo>
                  <a:pt x="2291" y="1877"/>
                  <a:pt x="2291" y="1877"/>
                  <a:pt x="2303" y="1877"/>
                </a:cubicBezTo>
                <a:cubicBezTo>
                  <a:pt x="2303" y="1877"/>
                  <a:pt x="2303" y="1877"/>
                  <a:pt x="2303" y="1804"/>
                </a:cubicBezTo>
                <a:close/>
                <a:moveTo>
                  <a:pt x="2349" y="1804"/>
                </a:moveTo>
                <a:cubicBezTo>
                  <a:pt x="2349" y="1804"/>
                  <a:pt x="2349" y="1804"/>
                  <a:pt x="2349" y="1804"/>
                </a:cubicBezTo>
                <a:cubicBezTo>
                  <a:pt x="2344" y="1804"/>
                  <a:pt x="2344" y="1804"/>
                  <a:pt x="2344" y="1804"/>
                </a:cubicBezTo>
                <a:cubicBezTo>
                  <a:pt x="2342" y="1806"/>
                  <a:pt x="2341" y="1807"/>
                  <a:pt x="2339" y="1808"/>
                </a:cubicBezTo>
                <a:cubicBezTo>
                  <a:pt x="2337" y="1809"/>
                  <a:pt x="2335" y="1810"/>
                  <a:pt x="2333" y="1811"/>
                </a:cubicBezTo>
                <a:cubicBezTo>
                  <a:pt x="2332" y="1812"/>
                  <a:pt x="2330" y="1813"/>
                  <a:pt x="2328" y="1814"/>
                </a:cubicBezTo>
                <a:cubicBezTo>
                  <a:pt x="2326" y="1814"/>
                  <a:pt x="2325" y="1815"/>
                  <a:pt x="2323" y="1815"/>
                </a:cubicBezTo>
                <a:cubicBezTo>
                  <a:pt x="2323" y="1815"/>
                  <a:pt x="2323" y="1815"/>
                  <a:pt x="2323" y="1825"/>
                </a:cubicBezTo>
                <a:cubicBezTo>
                  <a:pt x="2325" y="1824"/>
                  <a:pt x="2328" y="1824"/>
                  <a:pt x="2331" y="1822"/>
                </a:cubicBezTo>
                <a:cubicBezTo>
                  <a:pt x="2333" y="1822"/>
                  <a:pt x="2336" y="1820"/>
                  <a:pt x="2338" y="1819"/>
                </a:cubicBezTo>
                <a:cubicBezTo>
                  <a:pt x="2338" y="1819"/>
                  <a:pt x="2338" y="1819"/>
                  <a:pt x="2338" y="1877"/>
                </a:cubicBezTo>
                <a:cubicBezTo>
                  <a:pt x="2338" y="1877"/>
                  <a:pt x="2338" y="1877"/>
                  <a:pt x="2349" y="1877"/>
                </a:cubicBezTo>
                <a:cubicBezTo>
                  <a:pt x="2349" y="1877"/>
                  <a:pt x="2349" y="1877"/>
                  <a:pt x="2349" y="1804"/>
                </a:cubicBezTo>
                <a:close/>
                <a:moveTo>
                  <a:pt x="2396" y="1804"/>
                </a:moveTo>
                <a:cubicBezTo>
                  <a:pt x="2396" y="1804"/>
                  <a:pt x="2396" y="1804"/>
                  <a:pt x="2396" y="1804"/>
                </a:cubicBezTo>
                <a:cubicBezTo>
                  <a:pt x="2391" y="1804"/>
                  <a:pt x="2391" y="1804"/>
                  <a:pt x="2391" y="1804"/>
                </a:cubicBezTo>
                <a:cubicBezTo>
                  <a:pt x="2389" y="1806"/>
                  <a:pt x="2388" y="1807"/>
                  <a:pt x="2385" y="1808"/>
                </a:cubicBezTo>
                <a:cubicBezTo>
                  <a:pt x="2384" y="1809"/>
                  <a:pt x="2382" y="1810"/>
                  <a:pt x="2380" y="1811"/>
                </a:cubicBezTo>
                <a:cubicBezTo>
                  <a:pt x="2378" y="1811"/>
                  <a:pt x="2377" y="1812"/>
                  <a:pt x="2375" y="1813"/>
                </a:cubicBezTo>
                <a:cubicBezTo>
                  <a:pt x="2373" y="1814"/>
                  <a:pt x="2371" y="1814"/>
                  <a:pt x="2370" y="1815"/>
                </a:cubicBezTo>
                <a:cubicBezTo>
                  <a:pt x="2370" y="1815"/>
                  <a:pt x="2370" y="1815"/>
                  <a:pt x="2370" y="1825"/>
                </a:cubicBezTo>
                <a:cubicBezTo>
                  <a:pt x="2372" y="1824"/>
                  <a:pt x="2375" y="1823"/>
                  <a:pt x="2378" y="1822"/>
                </a:cubicBezTo>
                <a:cubicBezTo>
                  <a:pt x="2380" y="1822"/>
                  <a:pt x="2383" y="1820"/>
                  <a:pt x="2384" y="1819"/>
                </a:cubicBezTo>
                <a:cubicBezTo>
                  <a:pt x="2384" y="1819"/>
                  <a:pt x="2384" y="1819"/>
                  <a:pt x="2384" y="1877"/>
                </a:cubicBezTo>
                <a:cubicBezTo>
                  <a:pt x="2384" y="1877"/>
                  <a:pt x="2384" y="1877"/>
                  <a:pt x="2396" y="1877"/>
                </a:cubicBezTo>
                <a:cubicBezTo>
                  <a:pt x="2396" y="1877"/>
                  <a:pt x="2396" y="1877"/>
                  <a:pt x="2396" y="1804"/>
                </a:cubicBezTo>
                <a:close/>
                <a:moveTo>
                  <a:pt x="1961" y="1877"/>
                </a:moveTo>
                <a:cubicBezTo>
                  <a:pt x="1954" y="1877"/>
                  <a:pt x="1947" y="1874"/>
                  <a:pt x="1944" y="1868"/>
                </a:cubicBezTo>
                <a:cubicBezTo>
                  <a:pt x="1939" y="1862"/>
                  <a:pt x="1937" y="1853"/>
                  <a:pt x="1937" y="1841"/>
                </a:cubicBezTo>
                <a:cubicBezTo>
                  <a:pt x="1937" y="1828"/>
                  <a:pt x="1939" y="1818"/>
                  <a:pt x="1944" y="1812"/>
                </a:cubicBezTo>
                <a:cubicBezTo>
                  <a:pt x="1948" y="1805"/>
                  <a:pt x="1955" y="1801"/>
                  <a:pt x="1963" y="1801"/>
                </a:cubicBezTo>
                <a:cubicBezTo>
                  <a:pt x="1979" y="1801"/>
                  <a:pt x="1988" y="1814"/>
                  <a:pt x="1988" y="1839"/>
                </a:cubicBezTo>
                <a:cubicBezTo>
                  <a:pt x="1988" y="1852"/>
                  <a:pt x="1985" y="1861"/>
                  <a:pt x="1981" y="1868"/>
                </a:cubicBezTo>
                <a:cubicBezTo>
                  <a:pt x="1976" y="1874"/>
                  <a:pt x="1970" y="1877"/>
                  <a:pt x="1961" y="1877"/>
                </a:cubicBezTo>
                <a:close/>
                <a:moveTo>
                  <a:pt x="1963" y="1811"/>
                </a:moveTo>
                <a:cubicBezTo>
                  <a:pt x="1954" y="1811"/>
                  <a:pt x="1949" y="1821"/>
                  <a:pt x="1949" y="1841"/>
                </a:cubicBezTo>
                <a:cubicBezTo>
                  <a:pt x="1949" y="1859"/>
                  <a:pt x="1953" y="1868"/>
                  <a:pt x="1962" y="1868"/>
                </a:cubicBezTo>
                <a:cubicBezTo>
                  <a:pt x="1971" y="1868"/>
                  <a:pt x="1975" y="1859"/>
                  <a:pt x="1975" y="1840"/>
                </a:cubicBezTo>
                <a:cubicBezTo>
                  <a:pt x="1975" y="1820"/>
                  <a:pt x="1971" y="1811"/>
                  <a:pt x="1963" y="1811"/>
                </a:cubicBezTo>
                <a:close/>
                <a:moveTo>
                  <a:pt x="2022" y="1804"/>
                </a:moveTo>
                <a:cubicBezTo>
                  <a:pt x="2022" y="1804"/>
                  <a:pt x="2022" y="1804"/>
                  <a:pt x="2022" y="1804"/>
                </a:cubicBezTo>
                <a:cubicBezTo>
                  <a:pt x="2017" y="1804"/>
                  <a:pt x="2017" y="1804"/>
                  <a:pt x="2017" y="1804"/>
                </a:cubicBezTo>
                <a:cubicBezTo>
                  <a:pt x="2015" y="1806"/>
                  <a:pt x="2013" y="1807"/>
                  <a:pt x="2011" y="1808"/>
                </a:cubicBezTo>
                <a:cubicBezTo>
                  <a:pt x="2010" y="1809"/>
                  <a:pt x="2008" y="1810"/>
                  <a:pt x="2006" y="1811"/>
                </a:cubicBezTo>
                <a:cubicBezTo>
                  <a:pt x="2005" y="1812"/>
                  <a:pt x="2002" y="1813"/>
                  <a:pt x="2001" y="1814"/>
                </a:cubicBezTo>
                <a:cubicBezTo>
                  <a:pt x="1999" y="1814"/>
                  <a:pt x="1997" y="1815"/>
                  <a:pt x="1995" y="1815"/>
                </a:cubicBezTo>
                <a:cubicBezTo>
                  <a:pt x="1995" y="1815"/>
                  <a:pt x="1995" y="1815"/>
                  <a:pt x="1995" y="1825"/>
                </a:cubicBezTo>
                <a:cubicBezTo>
                  <a:pt x="1998" y="1824"/>
                  <a:pt x="2001" y="1824"/>
                  <a:pt x="2004" y="1822"/>
                </a:cubicBezTo>
                <a:cubicBezTo>
                  <a:pt x="2006" y="1822"/>
                  <a:pt x="2008" y="1820"/>
                  <a:pt x="2010" y="1819"/>
                </a:cubicBezTo>
                <a:cubicBezTo>
                  <a:pt x="2010" y="1819"/>
                  <a:pt x="2010" y="1819"/>
                  <a:pt x="2010" y="1877"/>
                </a:cubicBezTo>
                <a:cubicBezTo>
                  <a:pt x="2010" y="1877"/>
                  <a:pt x="2010" y="1877"/>
                  <a:pt x="2022" y="1877"/>
                </a:cubicBezTo>
                <a:cubicBezTo>
                  <a:pt x="2022" y="1877"/>
                  <a:pt x="2022" y="1877"/>
                  <a:pt x="2022" y="1804"/>
                </a:cubicBezTo>
                <a:close/>
                <a:moveTo>
                  <a:pt x="2069" y="1804"/>
                </a:moveTo>
                <a:cubicBezTo>
                  <a:pt x="2069" y="1804"/>
                  <a:pt x="2069" y="1804"/>
                  <a:pt x="2069" y="1804"/>
                </a:cubicBezTo>
                <a:cubicBezTo>
                  <a:pt x="2064" y="1804"/>
                  <a:pt x="2064" y="1804"/>
                  <a:pt x="2064" y="1804"/>
                </a:cubicBezTo>
                <a:cubicBezTo>
                  <a:pt x="2062" y="1806"/>
                  <a:pt x="2060" y="1807"/>
                  <a:pt x="2058" y="1808"/>
                </a:cubicBezTo>
                <a:cubicBezTo>
                  <a:pt x="2057" y="1809"/>
                  <a:pt x="2055" y="1810"/>
                  <a:pt x="2053" y="1811"/>
                </a:cubicBezTo>
                <a:cubicBezTo>
                  <a:pt x="2052" y="1812"/>
                  <a:pt x="2050" y="1813"/>
                  <a:pt x="2048" y="1814"/>
                </a:cubicBezTo>
                <a:cubicBezTo>
                  <a:pt x="2046" y="1814"/>
                  <a:pt x="2044" y="1815"/>
                  <a:pt x="2042" y="1815"/>
                </a:cubicBezTo>
                <a:cubicBezTo>
                  <a:pt x="2042" y="1815"/>
                  <a:pt x="2042" y="1815"/>
                  <a:pt x="2042" y="1825"/>
                </a:cubicBezTo>
                <a:cubicBezTo>
                  <a:pt x="2045" y="1824"/>
                  <a:pt x="2048" y="1824"/>
                  <a:pt x="2050" y="1822"/>
                </a:cubicBezTo>
                <a:cubicBezTo>
                  <a:pt x="2053" y="1822"/>
                  <a:pt x="2055" y="1820"/>
                  <a:pt x="2058" y="1819"/>
                </a:cubicBezTo>
                <a:cubicBezTo>
                  <a:pt x="2058" y="1819"/>
                  <a:pt x="2058" y="1819"/>
                  <a:pt x="2058" y="1877"/>
                </a:cubicBezTo>
                <a:cubicBezTo>
                  <a:pt x="2058" y="1877"/>
                  <a:pt x="2058" y="1877"/>
                  <a:pt x="2069" y="1877"/>
                </a:cubicBezTo>
                <a:cubicBezTo>
                  <a:pt x="2069" y="1877"/>
                  <a:pt x="2069" y="1877"/>
                  <a:pt x="2069" y="1804"/>
                </a:cubicBezTo>
                <a:close/>
                <a:moveTo>
                  <a:pt x="2115" y="1804"/>
                </a:moveTo>
                <a:cubicBezTo>
                  <a:pt x="2115" y="1804"/>
                  <a:pt x="2115" y="1804"/>
                  <a:pt x="2115" y="1804"/>
                </a:cubicBezTo>
                <a:cubicBezTo>
                  <a:pt x="2111" y="1804"/>
                  <a:pt x="2111" y="1804"/>
                  <a:pt x="2111" y="1804"/>
                </a:cubicBezTo>
                <a:cubicBezTo>
                  <a:pt x="2109" y="1806"/>
                  <a:pt x="2107" y="1807"/>
                  <a:pt x="2105" y="1808"/>
                </a:cubicBezTo>
                <a:cubicBezTo>
                  <a:pt x="2103" y="1809"/>
                  <a:pt x="2101" y="1810"/>
                  <a:pt x="2100" y="1811"/>
                </a:cubicBezTo>
                <a:cubicBezTo>
                  <a:pt x="2098" y="1811"/>
                  <a:pt x="2096" y="1812"/>
                  <a:pt x="2094" y="1813"/>
                </a:cubicBezTo>
                <a:cubicBezTo>
                  <a:pt x="2092" y="1814"/>
                  <a:pt x="2090" y="1814"/>
                  <a:pt x="2089" y="1815"/>
                </a:cubicBezTo>
                <a:cubicBezTo>
                  <a:pt x="2089" y="1815"/>
                  <a:pt x="2089" y="1815"/>
                  <a:pt x="2089" y="1825"/>
                </a:cubicBezTo>
                <a:cubicBezTo>
                  <a:pt x="2092" y="1824"/>
                  <a:pt x="2095" y="1823"/>
                  <a:pt x="2097" y="1822"/>
                </a:cubicBezTo>
                <a:cubicBezTo>
                  <a:pt x="2099" y="1822"/>
                  <a:pt x="2102" y="1820"/>
                  <a:pt x="2103" y="1819"/>
                </a:cubicBezTo>
                <a:cubicBezTo>
                  <a:pt x="2103" y="1819"/>
                  <a:pt x="2103" y="1819"/>
                  <a:pt x="2103" y="1877"/>
                </a:cubicBezTo>
                <a:cubicBezTo>
                  <a:pt x="2103" y="1877"/>
                  <a:pt x="2103" y="1877"/>
                  <a:pt x="2115" y="1877"/>
                </a:cubicBezTo>
                <a:cubicBezTo>
                  <a:pt x="2115" y="1877"/>
                  <a:pt x="2115" y="1877"/>
                  <a:pt x="2115" y="1804"/>
                </a:cubicBezTo>
                <a:close/>
                <a:moveTo>
                  <a:pt x="1961" y="2177"/>
                </a:moveTo>
                <a:cubicBezTo>
                  <a:pt x="1954" y="2177"/>
                  <a:pt x="1947" y="2174"/>
                  <a:pt x="1944" y="2168"/>
                </a:cubicBezTo>
                <a:cubicBezTo>
                  <a:pt x="1939" y="2162"/>
                  <a:pt x="1937" y="2153"/>
                  <a:pt x="1937" y="2141"/>
                </a:cubicBezTo>
                <a:cubicBezTo>
                  <a:pt x="1937" y="2128"/>
                  <a:pt x="1939" y="2118"/>
                  <a:pt x="1944" y="2112"/>
                </a:cubicBezTo>
                <a:cubicBezTo>
                  <a:pt x="1948" y="2105"/>
                  <a:pt x="1955" y="2101"/>
                  <a:pt x="1963" y="2101"/>
                </a:cubicBezTo>
                <a:cubicBezTo>
                  <a:pt x="1979" y="2101"/>
                  <a:pt x="1988" y="2114"/>
                  <a:pt x="1988" y="2139"/>
                </a:cubicBezTo>
                <a:cubicBezTo>
                  <a:pt x="1988" y="2152"/>
                  <a:pt x="1985" y="2161"/>
                  <a:pt x="1981" y="2168"/>
                </a:cubicBezTo>
                <a:cubicBezTo>
                  <a:pt x="1976" y="2174"/>
                  <a:pt x="1970" y="2177"/>
                  <a:pt x="1961" y="2177"/>
                </a:cubicBezTo>
                <a:close/>
                <a:moveTo>
                  <a:pt x="1963" y="2111"/>
                </a:moveTo>
                <a:cubicBezTo>
                  <a:pt x="1954" y="2111"/>
                  <a:pt x="1949" y="2121"/>
                  <a:pt x="1949" y="2141"/>
                </a:cubicBezTo>
                <a:cubicBezTo>
                  <a:pt x="1949" y="2159"/>
                  <a:pt x="1953" y="2168"/>
                  <a:pt x="1962" y="2168"/>
                </a:cubicBezTo>
                <a:cubicBezTo>
                  <a:pt x="1971" y="2168"/>
                  <a:pt x="1975" y="2159"/>
                  <a:pt x="1975" y="2140"/>
                </a:cubicBezTo>
                <a:cubicBezTo>
                  <a:pt x="1975" y="2120"/>
                  <a:pt x="1971" y="2111"/>
                  <a:pt x="1963" y="2111"/>
                </a:cubicBezTo>
                <a:close/>
                <a:moveTo>
                  <a:pt x="1963" y="2082"/>
                </a:moveTo>
                <a:cubicBezTo>
                  <a:pt x="1956" y="2082"/>
                  <a:pt x="1949" y="2079"/>
                  <a:pt x="1946" y="2073"/>
                </a:cubicBezTo>
                <a:cubicBezTo>
                  <a:pt x="1941" y="2067"/>
                  <a:pt x="1939" y="2058"/>
                  <a:pt x="1939" y="2045"/>
                </a:cubicBezTo>
                <a:cubicBezTo>
                  <a:pt x="1939" y="2032"/>
                  <a:pt x="1941" y="2023"/>
                  <a:pt x="1946" y="2016"/>
                </a:cubicBezTo>
                <a:cubicBezTo>
                  <a:pt x="1950" y="2009"/>
                  <a:pt x="1957" y="2006"/>
                  <a:pt x="1965" y="2006"/>
                </a:cubicBezTo>
                <a:cubicBezTo>
                  <a:pt x="1981" y="2006"/>
                  <a:pt x="1989" y="2018"/>
                  <a:pt x="1989" y="2044"/>
                </a:cubicBezTo>
                <a:cubicBezTo>
                  <a:pt x="1989" y="2056"/>
                  <a:pt x="1987" y="2066"/>
                  <a:pt x="1983" y="2073"/>
                </a:cubicBezTo>
                <a:cubicBezTo>
                  <a:pt x="1978" y="2079"/>
                  <a:pt x="1972" y="2082"/>
                  <a:pt x="1963" y="2082"/>
                </a:cubicBezTo>
                <a:close/>
                <a:moveTo>
                  <a:pt x="1965" y="2015"/>
                </a:moveTo>
                <a:cubicBezTo>
                  <a:pt x="1956" y="2015"/>
                  <a:pt x="1951" y="2026"/>
                  <a:pt x="1951" y="2045"/>
                </a:cubicBezTo>
                <a:cubicBezTo>
                  <a:pt x="1951" y="2064"/>
                  <a:pt x="1955" y="2073"/>
                  <a:pt x="1964" y="2073"/>
                </a:cubicBezTo>
                <a:cubicBezTo>
                  <a:pt x="1973" y="2073"/>
                  <a:pt x="1977" y="2064"/>
                  <a:pt x="1977" y="2045"/>
                </a:cubicBezTo>
                <a:cubicBezTo>
                  <a:pt x="1977" y="2025"/>
                  <a:pt x="1973" y="2015"/>
                  <a:pt x="1965" y="2015"/>
                </a:cubicBezTo>
                <a:close/>
                <a:moveTo>
                  <a:pt x="2030" y="1770"/>
                </a:moveTo>
                <a:cubicBezTo>
                  <a:pt x="2023" y="1770"/>
                  <a:pt x="2016" y="1767"/>
                  <a:pt x="2012" y="1761"/>
                </a:cubicBezTo>
                <a:cubicBezTo>
                  <a:pt x="2008" y="1755"/>
                  <a:pt x="2006" y="1746"/>
                  <a:pt x="2006" y="1733"/>
                </a:cubicBezTo>
                <a:cubicBezTo>
                  <a:pt x="2006" y="1720"/>
                  <a:pt x="2008" y="1711"/>
                  <a:pt x="2012" y="1704"/>
                </a:cubicBezTo>
                <a:cubicBezTo>
                  <a:pt x="2017" y="1697"/>
                  <a:pt x="2023" y="1694"/>
                  <a:pt x="2032" y="1694"/>
                </a:cubicBezTo>
                <a:cubicBezTo>
                  <a:pt x="2048" y="1694"/>
                  <a:pt x="2056" y="1706"/>
                  <a:pt x="2056" y="1732"/>
                </a:cubicBezTo>
                <a:cubicBezTo>
                  <a:pt x="2056" y="1744"/>
                  <a:pt x="2054" y="1754"/>
                  <a:pt x="2049" y="1761"/>
                </a:cubicBezTo>
                <a:cubicBezTo>
                  <a:pt x="2044" y="1767"/>
                  <a:pt x="2038" y="1770"/>
                  <a:pt x="2030" y="1770"/>
                </a:cubicBezTo>
                <a:close/>
                <a:moveTo>
                  <a:pt x="2031" y="1703"/>
                </a:moveTo>
                <a:cubicBezTo>
                  <a:pt x="2022" y="1703"/>
                  <a:pt x="2017" y="1714"/>
                  <a:pt x="2017" y="1733"/>
                </a:cubicBezTo>
                <a:cubicBezTo>
                  <a:pt x="2017" y="1752"/>
                  <a:pt x="2022" y="1761"/>
                  <a:pt x="2031" y="1761"/>
                </a:cubicBezTo>
                <a:cubicBezTo>
                  <a:pt x="2039" y="1761"/>
                  <a:pt x="2044" y="1752"/>
                  <a:pt x="2044" y="1733"/>
                </a:cubicBezTo>
                <a:cubicBezTo>
                  <a:pt x="2044" y="1713"/>
                  <a:pt x="2039" y="1703"/>
                  <a:pt x="2031" y="1703"/>
                </a:cubicBezTo>
                <a:close/>
                <a:moveTo>
                  <a:pt x="2104" y="1697"/>
                </a:moveTo>
                <a:cubicBezTo>
                  <a:pt x="2104" y="1697"/>
                  <a:pt x="2104" y="1697"/>
                  <a:pt x="2104" y="1697"/>
                </a:cubicBezTo>
                <a:cubicBezTo>
                  <a:pt x="2099" y="1697"/>
                  <a:pt x="2099" y="1697"/>
                  <a:pt x="2099" y="1697"/>
                </a:cubicBezTo>
                <a:cubicBezTo>
                  <a:pt x="2096" y="1698"/>
                  <a:pt x="2095" y="1700"/>
                  <a:pt x="2093" y="1700"/>
                </a:cubicBezTo>
                <a:cubicBezTo>
                  <a:pt x="2091" y="1702"/>
                  <a:pt x="2089" y="1702"/>
                  <a:pt x="2088" y="1703"/>
                </a:cubicBezTo>
                <a:cubicBezTo>
                  <a:pt x="2086" y="1704"/>
                  <a:pt x="2084" y="1705"/>
                  <a:pt x="2083" y="1705"/>
                </a:cubicBezTo>
                <a:cubicBezTo>
                  <a:pt x="2080" y="1706"/>
                  <a:pt x="2079" y="1707"/>
                  <a:pt x="2077" y="1708"/>
                </a:cubicBezTo>
                <a:cubicBezTo>
                  <a:pt x="2077" y="1708"/>
                  <a:pt x="2077" y="1708"/>
                  <a:pt x="2077" y="1718"/>
                </a:cubicBezTo>
                <a:cubicBezTo>
                  <a:pt x="2080" y="1717"/>
                  <a:pt x="2083" y="1716"/>
                  <a:pt x="2085" y="1715"/>
                </a:cubicBezTo>
                <a:cubicBezTo>
                  <a:pt x="2088" y="1714"/>
                  <a:pt x="2090" y="1713"/>
                  <a:pt x="2092" y="1711"/>
                </a:cubicBezTo>
                <a:cubicBezTo>
                  <a:pt x="2092" y="1711"/>
                  <a:pt x="2092" y="1711"/>
                  <a:pt x="2092" y="1770"/>
                </a:cubicBezTo>
                <a:cubicBezTo>
                  <a:pt x="2092" y="1770"/>
                  <a:pt x="2092" y="1770"/>
                  <a:pt x="2104" y="1770"/>
                </a:cubicBezTo>
                <a:cubicBezTo>
                  <a:pt x="2104" y="1770"/>
                  <a:pt x="2104" y="1770"/>
                  <a:pt x="2104" y="1697"/>
                </a:cubicBezTo>
                <a:close/>
                <a:moveTo>
                  <a:pt x="2151" y="1697"/>
                </a:moveTo>
                <a:cubicBezTo>
                  <a:pt x="2151" y="1697"/>
                  <a:pt x="2151" y="1697"/>
                  <a:pt x="2151" y="1697"/>
                </a:cubicBezTo>
                <a:cubicBezTo>
                  <a:pt x="2146" y="1697"/>
                  <a:pt x="2146" y="1697"/>
                  <a:pt x="2146" y="1697"/>
                </a:cubicBezTo>
                <a:cubicBezTo>
                  <a:pt x="2144" y="1698"/>
                  <a:pt x="2142" y="1700"/>
                  <a:pt x="2140" y="1700"/>
                </a:cubicBezTo>
                <a:cubicBezTo>
                  <a:pt x="2139" y="1702"/>
                  <a:pt x="2136" y="1702"/>
                  <a:pt x="2135" y="1703"/>
                </a:cubicBezTo>
                <a:cubicBezTo>
                  <a:pt x="2134" y="1705"/>
                  <a:pt x="2131" y="1705"/>
                  <a:pt x="2130" y="1706"/>
                </a:cubicBezTo>
                <a:cubicBezTo>
                  <a:pt x="2128" y="1707"/>
                  <a:pt x="2126" y="1708"/>
                  <a:pt x="2124" y="1708"/>
                </a:cubicBezTo>
                <a:cubicBezTo>
                  <a:pt x="2124" y="1708"/>
                  <a:pt x="2124" y="1708"/>
                  <a:pt x="2124" y="1718"/>
                </a:cubicBezTo>
                <a:cubicBezTo>
                  <a:pt x="2127" y="1717"/>
                  <a:pt x="2130" y="1716"/>
                  <a:pt x="2132" y="1715"/>
                </a:cubicBezTo>
                <a:cubicBezTo>
                  <a:pt x="2135" y="1714"/>
                  <a:pt x="2137" y="1713"/>
                  <a:pt x="2139" y="1711"/>
                </a:cubicBezTo>
                <a:cubicBezTo>
                  <a:pt x="2139" y="1711"/>
                  <a:pt x="2139" y="1711"/>
                  <a:pt x="2139" y="1770"/>
                </a:cubicBezTo>
                <a:cubicBezTo>
                  <a:pt x="2139" y="1770"/>
                  <a:pt x="2139" y="1770"/>
                  <a:pt x="2151" y="1770"/>
                </a:cubicBezTo>
                <a:cubicBezTo>
                  <a:pt x="2151" y="1770"/>
                  <a:pt x="2151" y="1770"/>
                  <a:pt x="2151" y="1697"/>
                </a:cubicBezTo>
                <a:close/>
                <a:moveTo>
                  <a:pt x="2197" y="1697"/>
                </a:moveTo>
                <a:cubicBezTo>
                  <a:pt x="2197" y="1697"/>
                  <a:pt x="2197" y="1697"/>
                  <a:pt x="2197" y="1697"/>
                </a:cubicBezTo>
                <a:cubicBezTo>
                  <a:pt x="2193" y="1697"/>
                  <a:pt x="2193" y="1697"/>
                  <a:pt x="2193" y="1697"/>
                </a:cubicBezTo>
                <a:cubicBezTo>
                  <a:pt x="2191" y="1698"/>
                  <a:pt x="2189" y="1700"/>
                  <a:pt x="2187" y="1700"/>
                </a:cubicBezTo>
                <a:cubicBezTo>
                  <a:pt x="2186" y="1702"/>
                  <a:pt x="2184" y="1702"/>
                  <a:pt x="2182" y="1703"/>
                </a:cubicBezTo>
                <a:cubicBezTo>
                  <a:pt x="2180" y="1705"/>
                  <a:pt x="2179" y="1705"/>
                  <a:pt x="2176" y="1706"/>
                </a:cubicBezTo>
                <a:cubicBezTo>
                  <a:pt x="2175" y="1707"/>
                  <a:pt x="2173" y="1708"/>
                  <a:pt x="2171" y="1708"/>
                </a:cubicBezTo>
                <a:cubicBezTo>
                  <a:pt x="2171" y="1708"/>
                  <a:pt x="2171" y="1708"/>
                  <a:pt x="2171" y="1718"/>
                </a:cubicBezTo>
                <a:cubicBezTo>
                  <a:pt x="2174" y="1717"/>
                  <a:pt x="2177" y="1716"/>
                  <a:pt x="2179" y="1715"/>
                </a:cubicBezTo>
                <a:cubicBezTo>
                  <a:pt x="2181" y="1714"/>
                  <a:pt x="2184" y="1713"/>
                  <a:pt x="2186" y="1711"/>
                </a:cubicBezTo>
                <a:cubicBezTo>
                  <a:pt x="2186" y="1711"/>
                  <a:pt x="2186" y="1711"/>
                  <a:pt x="2186" y="1770"/>
                </a:cubicBezTo>
                <a:cubicBezTo>
                  <a:pt x="2186" y="1770"/>
                  <a:pt x="2186" y="1770"/>
                  <a:pt x="2197" y="1770"/>
                </a:cubicBezTo>
                <a:cubicBezTo>
                  <a:pt x="2197" y="1770"/>
                  <a:pt x="2197" y="1770"/>
                  <a:pt x="2197" y="1697"/>
                </a:cubicBezTo>
                <a:close/>
                <a:moveTo>
                  <a:pt x="2245" y="1697"/>
                </a:moveTo>
                <a:cubicBezTo>
                  <a:pt x="2245" y="1697"/>
                  <a:pt x="2245" y="1697"/>
                  <a:pt x="2245" y="1697"/>
                </a:cubicBezTo>
                <a:cubicBezTo>
                  <a:pt x="2240" y="1697"/>
                  <a:pt x="2240" y="1697"/>
                  <a:pt x="2240" y="1697"/>
                </a:cubicBezTo>
                <a:cubicBezTo>
                  <a:pt x="2238" y="1698"/>
                  <a:pt x="2236" y="1700"/>
                  <a:pt x="2234" y="1700"/>
                </a:cubicBezTo>
                <a:cubicBezTo>
                  <a:pt x="2232" y="1702"/>
                  <a:pt x="2231" y="1702"/>
                  <a:pt x="2229" y="1703"/>
                </a:cubicBezTo>
                <a:cubicBezTo>
                  <a:pt x="2227" y="1705"/>
                  <a:pt x="2225" y="1705"/>
                  <a:pt x="2224" y="1706"/>
                </a:cubicBezTo>
                <a:cubicBezTo>
                  <a:pt x="2222" y="1707"/>
                  <a:pt x="2220" y="1708"/>
                  <a:pt x="2218" y="1708"/>
                </a:cubicBezTo>
                <a:cubicBezTo>
                  <a:pt x="2218" y="1708"/>
                  <a:pt x="2218" y="1708"/>
                  <a:pt x="2218" y="1718"/>
                </a:cubicBezTo>
                <a:cubicBezTo>
                  <a:pt x="2221" y="1717"/>
                  <a:pt x="2224" y="1716"/>
                  <a:pt x="2226" y="1715"/>
                </a:cubicBezTo>
                <a:cubicBezTo>
                  <a:pt x="2229" y="1714"/>
                  <a:pt x="2231" y="1713"/>
                  <a:pt x="2233" y="1711"/>
                </a:cubicBezTo>
                <a:cubicBezTo>
                  <a:pt x="2233" y="1711"/>
                  <a:pt x="2233" y="1711"/>
                  <a:pt x="2233" y="1770"/>
                </a:cubicBezTo>
                <a:cubicBezTo>
                  <a:pt x="2233" y="1770"/>
                  <a:pt x="2233" y="1770"/>
                  <a:pt x="2245" y="1770"/>
                </a:cubicBezTo>
                <a:cubicBezTo>
                  <a:pt x="2245" y="1770"/>
                  <a:pt x="2245" y="1770"/>
                  <a:pt x="2245" y="1697"/>
                </a:cubicBezTo>
                <a:close/>
                <a:moveTo>
                  <a:pt x="2368" y="1697"/>
                </a:moveTo>
                <a:cubicBezTo>
                  <a:pt x="2368" y="1697"/>
                  <a:pt x="2368" y="1697"/>
                  <a:pt x="2368" y="1697"/>
                </a:cubicBezTo>
                <a:cubicBezTo>
                  <a:pt x="2363" y="1697"/>
                  <a:pt x="2363" y="1697"/>
                  <a:pt x="2363" y="1697"/>
                </a:cubicBezTo>
                <a:cubicBezTo>
                  <a:pt x="2360" y="1698"/>
                  <a:pt x="2359" y="1700"/>
                  <a:pt x="2357" y="1700"/>
                </a:cubicBezTo>
                <a:cubicBezTo>
                  <a:pt x="2355" y="1702"/>
                  <a:pt x="2354" y="1702"/>
                  <a:pt x="2352" y="1703"/>
                </a:cubicBezTo>
                <a:cubicBezTo>
                  <a:pt x="2350" y="1705"/>
                  <a:pt x="2348" y="1705"/>
                  <a:pt x="2347" y="1706"/>
                </a:cubicBezTo>
                <a:cubicBezTo>
                  <a:pt x="2344" y="1707"/>
                  <a:pt x="2343" y="1708"/>
                  <a:pt x="2341" y="1708"/>
                </a:cubicBezTo>
                <a:cubicBezTo>
                  <a:pt x="2341" y="1708"/>
                  <a:pt x="2341" y="1708"/>
                  <a:pt x="2341" y="1718"/>
                </a:cubicBezTo>
                <a:cubicBezTo>
                  <a:pt x="2344" y="1717"/>
                  <a:pt x="2347" y="1716"/>
                  <a:pt x="2350" y="1715"/>
                </a:cubicBezTo>
                <a:cubicBezTo>
                  <a:pt x="2352" y="1714"/>
                  <a:pt x="2354" y="1713"/>
                  <a:pt x="2356" y="1711"/>
                </a:cubicBezTo>
                <a:cubicBezTo>
                  <a:pt x="2356" y="1711"/>
                  <a:pt x="2356" y="1711"/>
                  <a:pt x="2356" y="1770"/>
                </a:cubicBezTo>
                <a:cubicBezTo>
                  <a:pt x="2356" y="1770"/>
                  <a:pt x="2356" y="1770"/>
                  <a:pt x="2368" y="1770"/>
                </a:cubicBezTo>
                <a:cubicBezTo>
                  <a:pt x="2368" y="1770"/>
                  <a:pt x="2368" y="1770"/>
                  <a:pt x="2368" y="1697"/>
                </a:cubicBezTo>
                <a:close/>
                <a:moveTo>
                  <a:pt x="2415" y="1697"/>
                </a:moveTo>
                <a:cubicBezTo>
                  <a:pt x="2415" y="1697"/>
                  <a:pt x="2415" y="1697"/>
                  <a:pt x="2415" y="1697"/>
                </a:cubicBezTo>
                <a:cubicBezTo>
                  <a:pt x="2410" y="1697"/>
                  <a:pt x="2410" y="1697"/>
                  <a:pt x="2410" y="1697"/>
                </a:cubicBezTo>
                <a:cubicBezTo>
                  <a:pt x="2408" y="1698"/>
                  <a:pt x="2406" y="1700"/>
                  <a:pt x="2404" y="1700"/>
                </a:cubicBezTo>
                <a:cubicBezTo>
                  <a:pt x="2403" y="1702"/>
                  <a:pt x="2401" y="1702"/>
                  <a:pt x="2399" y="1703"/>
                </a:cubicBezTo>
                <a:cubicBezTo>
                  <a:pt x="2398" y="1705"/>
                  <a:pt x="2396" y="1705"/>
                  <a:pt x="2394" y="1706"/>
                </a:cubicBezTo>
                <a:cubicBezTo>
                  <a:pt x="2392" y="1707"/>
                  <a:pt x="2391" y="1708"/>
                  <a:pt x="2388" y="1708"/>
                </a:cubicBezTo>
                <a:cubicBezTo>
                  <a:pt x="2388" y="1708"/>
                  <a:pt x="2388" y="1708"/>
                  <a:pt x="2388" y="1718"/>
                </a:cubicBezTo>
                <a:cubicBezTo>
                  <a:pt x="2391" y="1717"/>
                  <a:pt x="2394" y="1716"/>
                  <a:pt x="2396" y="1715"/>
                </a:cubicBezTo>
                <a:cubicBezTo>
                  <a:pt x="2399" y="1714"/>
                  <a:pt x="2401" y="1713"/>
                  <a:pt x="2404" y="1711"/>
                </a:cubicBezTo>
                <a:cubicBezTo>
                  <a:pt x="2404" y="1711"/>
                  <a:pt x="2404" y="1711"/>
                  <a:pt x="2404" y="1770"/>
                </a:cubicBezTo>
                <a:cubicBezTo>
                  <a:pt x="2404" y="1770"/>
                  <a:pt x="2404" y="1770"/>
                  <a:pt x="2415" y="1770"/>
                </a:cubicBezTo>
                <a:cubicBezTo>
                  <a:pt x="2415" y="1770"/>
                  <a:pt x="2415" y="1770"/>
                  <a:pt x="2415" y="1697"/>
                </a:cubicBezTo>
                <a:close/>
                <a:moveTo>
                  <a:pt x="2463" y="1697"/>
                </a:moveTo>
                <a:cubicBezTo>
                  <a:pt x="2463" y="1697"/>
                  <a:pt x="2463" y="1697"/>
                  <a:pt x="2463" y="1697"/>
                </a:cubicBezTo>
                <a:cubicBezTo>
                  <a:pt x="2458" y="1697"/>
                  <a:pt x="2458" y="1697"/>
                  <a:pt x="2458" y="1697"/>
                </a:cubicBezTo>
                <a:cubicBezTo>
                  <a:pt x="2456" y="1698"/>
                  <a:pt x="2454" y="1700"/>
                  <a:pt x="2453" y="1700"/>
                </a:cubicBezTo>
                <a:cubicBezTo>
                  <a:pt x="2450" y="1702"/>
                  <a:pt x="2449" y="1702"/>
                  <a:pt x="2447" y="1703"/>
                </a:cubicBezTo>
                <a:cubicBezTo>
                  <a:pt x="2445" y="1705"/>
                  <a:pt x="2443" y="1705"/>
                  <a:pt x="2442" y="1706"/>
                </a:cubicBezTo>
                <a:cubicBezTo>
                  <a:pt x="2439" y="1707"/>
                  <a:pt x="2438" y="1708"/>
                  <a:pt x="2436" y="1708"/>
                </a:cubicBezTo>
                <a:cubicBezTo>
                  <a:pt x="2436" y="1708"/>
                  <a:pt x="2436" y="1708"/>
                  <a:pt x="2436" y="1718"/>
                </a:cubicBezTo>
                <a:cubicBezTo>
                  <a:pt x="2439" y="1717"/>
                  <a:pt x="2442" y="1716"/>
                  <a:pt x="2445" y="1715"/>
                </a:cubicBezTo>
                <a:cubicBezTo>
                  <a:pt x="2447" y="1714"/>
                  <a:pt x="2449" y="1713"/>
                  <a:pt x="2451" y="1711"/>
                </a:cubicBezTo>
                <a:cubicBezTo>
                  <a:pt x="2451" y="1711"/>
                  <a:pt x="2451" y="1711"/>
                  <a:pt x="2451" y="1770"/>
                </a:cubicBezTo>
                <a:cubicBezTo>
                  <a:pt x="2451" y="1770"/>
                  <a:pt x="2451" y="1770"/>
                  <a:pt x="2463" y="1770"/>
                </a:cubicBezTo>
                <a:cubicBezTo>
                  <a:pt x="2463" y="1770"/>
                  <a:pt x="2463" y="1770"/>
                  <a:pt x="2463" y="1697"/>
                </a:cubicBezTo>
                <a:close/>
                <a:moveTo>
                  <a:pt x="2509" y="1697"/>
                </a:moveTo>
                <a:cubicBezTo>
                  <a:pt x="2509" y="1697"/>
                  <a:pt x="2509" y="1697"/>
                  <a:pt x="2509" y="1697"/>
                </a:cubicBezTo>
                <a:cubicBezTo>
                  <a:pt x="2505" y="1697"/>
                  <a:pt x="2505" y="1697"/>
                  <a:pt x="2505" y="1697"/>
                </a:cubicBezTo>
                <a:cubicBezTo>
                  <a:pt x="2503" y="1698"/>
                  <a:pt x="2501" y="1700"/>
                  <a:pt x="2499" y="1700"/>
                </a:cubicBezTo>
                <a:cubicBezTo>
                  <a:pt x="2498" y="1702"/>
                  <a:pt x="2496" y="1702"/>
                  <a:pt x="2494" y="1703"/>
                </a:cubicBezTo>
                <a:cubicBezTo>
                  <a:pt x="2492" y="1704"/>
                  <a:pt x="2491" y="1705"/>
                  <a:pt x="2488" y="1705"/>
                </a:cubicBezTo>
                <a:cubicBezTo>
                  <a:pt x="2487" y="1706"/>
                  <a:pt x="2485" y="1707"/>
                  <a:pt x="2483" y="1708"/>
                </a:cubicBezTo>
                <a:cubicBezTo>
                  <a:pt x="2483" y="1708"/>
                  <a:pt x="2483" y="1708"/>
                  <a:pt x="2483" y="1718"/>
                </a:cubicBezTo>
                <a:cubicBezTo>
                  <a:pt x="2486" y="1717"/>
                  <a:pt x="2489" y="1716"/>
                  <a:pt x="2491" y="1715"/>
                </a:cubicBezTo>
                <a:cubicBezTo>
                  <a:pt x="2493" y="1714"/>
                  <a:pt x="2496" y="1713"/>
                  <a:pt x="2498" y="1711"/>
                </a:cubicBezTo>
                <a:cubicBezTo>
                  <a:pt x="2498" y="1711"/>
                  <a:pt x="2498" y="1711"/>
                  <a:pt x="2498" y="1770"/>
                </a:cubicBezTo>
                <a:cubicBezTo>
                  <a:pt x="2498" y="1770"/>
                  <a:pt x="2498" y="1770"/>
                  <a:pt x="2509" y="1770"/>
                </a:cubicBezTo>
                <a:cubicBezTo>
                  <a:pt x="2509" y="1770"/>
                  <a:pt x="2509" y="1770"/>
                  <a:pt x="2509" y="1697"/>
                </a:cubicBezTo>
                <a:close/>
                <a:moveTo>
                  <a:pt x="2266" y="1729"/>
                </a:moveTo>
                <a:cubicBezTo>
                  <a:pt x="2266" y="1729"/>
                  <a:pt x="2266" y="1729"/>
                  <a:pt x="2266" y="1729"/>
                </a:cubicBezTo>
                <a:cubicBezTo>
                  <a:pt x="2265" y="1737"/>
                  <a:pt x="2265" y="1737"/>
                  <a:pt x="2265" y="1737"/>
                </a:cubicBezTo>
                <a:cubicBezTo>
                  <a:pt x="2272" y="1738"/>
                  <a:pt x="2272" y="1741"/>
                  <a:pt x="2272" y="1743"/>
                </a:cubicBezTo>
                <a:cubicBezTo>
                  <a:pt x="2272" y="1745"/>
                  <a:pt x="2272" y="1748"/>
                  <a:pt x="2272" y="1750"/>
                </a:cubicBezTo>
                <a:cubicBezTo>
                  <a:pt x="2272" y="1753"/>
                  <a:pt x="2271" y="1755"/>
                  <a:pt x="2271" y="1757"/>
                </a:cubicBezTo>
                <a:cubicBezTo>
                  <a:pt x="2271" y="1767"/>
                  <a:pt x="2277" y="1770"/>
                  <a:pt x="2286" y="1770"/>
                </a:cubicBezTo>
                <a:cubicBezTo>
                  <a:pt x="2286" y="1770"/>
                  <a:pt x="2286" y="1770"/>
                  <a:pt x="2289" y="1770"/>
                </a:cubicBezTo>
                <a:cubicBezTo>
                  <a:pt x="2289" y="1770"/>
                  <a:pt x="2289" y="1770"/>
                  <a:pt x="2289" y="1761"/>
                </a:cubicBezTo>
                <a:cubicBezTo>
                  <a:pt x="2289" y="1761"/>
                  <a:pt x="2289" y="1761"/>
                  <a:pt x="2288" y="1761"/>
                </a:cubicBezTo>
                <a:cubicBezTo>
                  <a:pt x="2284" y="1761"/>
                  <a:pt x="2283" y="1759"/>
                  <a:pt x="2283" y="1755"/>
                </a:cubicBezTo>
                <a:cubicBezTo>
                  <a:pt x="2283" y="1754"/>
                  <a:pt x="2283" y="1752"/>
                  <a:pt x="2284" y="1750"/>
                </a:cubicBezTo>
                <a:cubicBezTo>
                  <a:pt x="2284" y="1749"/>
                  <a:pt x="2284" y="1747"/>
                  <a:pt x="2284" y="1744"/>
                </a:cubicBezTo>
                <a:cubicBezTo>
                  <a:pt x="2284" y="1737"/>
                  <a:pt x="2281" y="1734"/>
                  <a:pt x="2275" y="1733"/>
                </a:cubicBezTo>
                <a:cubicBezTo>
                  <a:pt x="2275" y="1733"/>
                  <a:pt x="2275" y="1733"/>
                  <a:pt x="2275" y="1733"/>
                </a:cubicBezTo>
                <a:cubicBezTo>
                  <a:pt x="2281" y="1732"/>
                  <a:pt x="2284" y="1729"/>
                  <a:pt x="2284" y="1722"/>
                </a:cubicBezTo>
                <a:cubicBezTo>
                  <a:pt x="2284" y="1719"/>
                  <a:pt x="2284" y="1717"/>
                  <a:pt x="2284" y="1716"/>
                </a:cubicBezTo>
                <a:cubicBezTo>
                  <a:pt x="2283" y="1714"/>
                  <a:pt x="2283" y="1712"/>
                  <a:pt x="2283" y="1711"/>
                </a:cubicBezTo>
                <a:cubicBezTo>
                  <a:pt x="2283" y="1707"/>
                  <a:pt x="2284" y="1705"/>
                  <a:pt x="2288" y="1705"/>
                </a:cubicBezTo>
                <a:cubicBezTo>
                  <a:pt x="2288" y="1705"/>
                  <a:pt x="2288" y="1705"/>
                  <a:pt x="2289" y="1705"/>
                </a:cubicBezTo>
                <a:cubicBezTo>
                  <a:pt x="2289" y="1705"/>
                  <a:pt x="2289" y="1705"/>
                  <a:pt x="2289" y="1696"/>
                </a:cubicBezTo>
                <a:cubicBezTo>
                  <a:pt x="2289" y="1696"/>
                  <a:pt x="2289" y="1696"/>
                  <a:pt x="2286" y="1696"/>
                </a:cubicBezTo>
                <a:cubicBezTo>
                  <a:pt x="2277" y="1696"/>
                  <a:pt x="2271" y="1700"/>
                  <a:pt x="2271" y="1708"/>
                </a:cubicBezTo>
                <a:cubicBezTo>
                  <a:pt x="2271" y="1711"/>
                  <a:pt x="2272" y="1713"/>
                  <a:pt x="2272" y="1716"/>
                </a:cubicBezTo>
                <a:cubicBezTo>
                  <a:pt x="2272" y="1718"/>
                  <a:pt x="2272" y="1721"/>
                  <a:pt x="2272" y="1723"/>
                </a:cubicBezTo>
                <a:cubicBezTo>
                  <a:pt x="2272" y="1725"/>
                  <a:pt x="2272" y="1729"/>
                  <a:pt x="2266" y="1729"/>
                </a:cubicBezTo>
                <a:close/>
                <a:moveTo>
                  <a:pt x="2320" y="1737"/>
                </a:moveTo>
                <a:cubicBezTo>
                  <a:pt x="2320" y="1737"/>
                  <a:pt x="2320" y="1737"/>
                  <a:pt x="2320" y="1737"/>
                </a:cubicBezTo>
                <a:cubicBezTo>
                  <a:pt x="2320" y="1729"/>
                  <a:pt x="2320" y="1729"/>
                  <a:pt x="2320" y="1729"/>
                </a:cubicBezTo>
                <a:cubicBezTo>
                  <a:pt x="2314" y="1729"/>
                  <a:pt x="2314" y="1725"/>
                  <a:pt x="2314" y="1723"/>
                </a:cubicBezTo>
                <a:cubicBezTo>
                  <a:pt x="2314" y="1721"/>
                  <a:pt x="2314" y="1718"/>
                  <a:pt x="2314" y="1716"/>
                </a:cubicBezTo>
                <a:cubicBezTo>
                  <a:pt x="2314" y="1713"/>
                  <a:pt x="2314" y="1711"/>
                  <a:pt x="2314" y="1708"/>
                </a:cubicBezTo>
                <a:cubicBezTo>
                  <a:pt x="2314" y="1700"/>
                  <a:pt x="2309" y="1696"/>
                  <a:pt x="2300" y="1696"/>
                </a:cubicBezTo>
                <a:cubicBezTo>
                  <a:pt x="2300" y="1696"/>
                  <a:pt x="2300" y="1696"/>
                  <a:pt x="2296" y="1696"/>
                </a:cubicBezTo>
                <a:cubicBezTo>
                  <a:pt x="2296" y="1696"/>
                  <a:pt x="2296" y="1696"/>
                  <a:pt x="2296" y="1705"/>
                </a:cubicBezTo>
                <a:cubicBezTo>
                  <a:pt x="2296" y="1705"/>
                  <a:pt x="2296" y="1705"/>
                  <a:pt x="2298" y="1705"/>
                </a:cubicBezTo>
                <a:cubicBezTo>
                  <a:pt x="2301" y="1705"/>
                  <a:pt x="2303" y="1707"/>
                  <a:pt x="2303" y="1711"/>
                </a:cubicBezTo>
                <a:cubicBezTo>
                  <a:pt x="2303" y="1712"/>
                  <a:pt x="2302" y="1714"/>
                  <a:pt x="2302" y="1716"/>
                </a:cubicBezTo>
                <a:cubicBezTo>
                  <a:pt x="2302" y="1717"/>
                  <a:pt x="2302" y="1719"/>
                  <a:pt x="2302" y="1722"/>
                </a:cubicBezTo>
                <a:cubicBezTo>
                  <a:pt x="2302" y="1729"/>
                  <a:pt x="2305" y="1732"/>
                  <a:pt x="2311" y="1733"/>
                </a:cubicBezTo>
                <a:cubicBezTo>
                  <a:pt x="2311" y="1733"/>
                  <a:pt x="2311" y="1733"/>
                  <a:pt x="2311" y="1733"/>
                </a:cubicBezTo>
                <a:cubicBezTo>
                  <a:pt x="2305" y="1734"/>
                  <a:pt x="2302" y="1737"/>
                  <a:pt x="2302" y="1744"/>
                </a:cubicBezTo>
                <a:cubicBezTo>
                  <a:pt x="2302" y="1747"/>
                  <a:pt x="2302" y="1749"/>
                  <a:pt x="2302" y="1750"/>
                </a:cubicBezTo>
                <a:cubicBezTo>
                  <a:pt x="2302" y="1752"/>
                  <a:pt x="2303" y="1754"/>
                  <a:pt x="2303" y="1755"/>
                </a:cubicBezTo>
                <a:cubicBezTo>
                  <a:pt x="2303" y="1759"/>
                  <a:pt x="2302" y="1761"/>
                  <a:pt x="2298" y="1761"/>
                </a:cubicBezTo>
                <a:cubicBezTo>
                  <a:pt x="2298" y="1761"/>
                  <a:pt x="2298" y="1761"/>
                  <a:pt x="2296" y="1761"/>
                </a:cubicBezTo>
                <a:cubicBezTo>
                  <a:pt x="2296" y="1761"/>
                  <a:pt x="2296" y="1761"/>
                  <a:pt x="2296" y="1770"/>
                </a:cubicBezTo>
                <a:cubicBezTo>
                  <a:pt x="2296" y="1770"/>
                  <a:pt x="2296" y="1770"/>
                  <a:pt x="2300" y="1770"/>
                </a:cubicBezTo>
                <a:cubicBezTo>
                  <a:pt x="2309" y="1770"/>
                  <a:pt x="2314" y="1767"/>
                  <a:pt x="2314" y="1757"/>
                </a:cubicBezTo>
                <a:cubicBezTo>
                  <a:pt x="2314" y="1755"/>
                  <a:pt x="2314" y="1753"/>
                  <a:pt x="2314" y="1750"/>
                </a:cubicBezTo>
                <a:cubicBezTo>
                  <a:pt x="2314" y="1748"/>
                  <a:pt x="2314" y="1745"/>
                  <a:pt x="2314" y="1743"/>
                </a:cubicBezTo>
                <a:cubicBezTo>
                  <a:pt x="2314" y="1741"/>
                  <a:pt x="2314" y="1738"/>
                  <a:pt x="2320" y="1737"/>
                </a:cubicBezTo>
                <a:close/>
                <a:moveTo>
                  <a:pt x="2647" y="1729"/>
                </a:moveTo>
                <a:cubicBezTo>
                  <a:pt x="2647" y="1729"/>
                  <a:pt x="2647" y="1729"/>
                  <a:pt x="2647" y="1729"/>
                </a:cubicBezTo>
                <a:cubicBezTo>
                  <a:pt x="2647" y="1737"/>
                  <a:pt x="2647" y="1737"/>
                  <a:pt x="2647" y="1737"/>
                </a:cubicBezTo>
                <a:cubicBezTo>
                  <a:pt x="2653" y="1738"/>
                  <a:pt x="2654" y="1741"/>
                  <a:pt x="2654" y="1743"/>
                </a:cubicBezTo>
                <a:cubicBezTo>
                  <a:pt x="2654" y="1745"/>
                  <a:pt x="2654" y="1748"/>
                  <a:pt x="2654" y="1750"/>
                </a:cubicBezTo>
                <a:cubicBezTo>
                  <a:pt x="2653" y="1753"/>
                  <a:pt x="2653" y="1755"/>
                  <a:pt x="2653" y="1757"/>
                </a:cubicBezTo>
                <a:cubicBezTo>
                  <a:pt x="2653" y="1767"/>
                  <a:pt x="2659" y="1770"/>
                  <a:pt x="2667" y="1770"/>
                </a:cubicBezTo>
                <a:cubicBezTo>
                  <a:pt x="2667" y="1770"/>
                  <a:pt x="2667" y="1770"/>
                  <a:pt x="2671" y="1770"/>
                </a:cubicBezTo>
                <a:cubicBezTo>
                  <a:pt x="2671" y="1770"/>
                  <a:pt x="2671" y="1770"/>
                  <a:pt x="2671" y="1761"/>
                </a:cubicBezTo>
                <a:cubicBezTo>
                  <a:pt x="2671" y="1761"/>
                  <a:pt x="2671" y="1761"/>
                  <a:pt x="2670" y="1761"/>
                </a:cubicBezTo>
                <a:cubicBezTo>
                  <a:pt x="2666" y="1761"/>
                  <a:pt x="2665" y="1759"/>
                  <a:pt x="2665" y="1755"/>
                </a:cubicBezTo>
                <a:cubicBezTo>
                  <a:pt x="2665" y="1754"/>
                  <a:pt x="2665" y="1752"/>
                  <a:pt x="2665" y="1750"/>
                </a:cubicBezTo>
                <a:cubicBezTo>
                  <a:pt x="2665" y="1749"/>
                  <a:pt x="2666" y="1747"/>
                  <a:pt x="2666" y="1744"/>
                </a:cubicBezTo>
                <a:cubicBezTo>
                  <a:pt x="2666" y="1737"/>
                  <a:pt x="2663" y="1734"/>
                  <a:pt x="2657" y="1733"/>
                </a:cubicBezTo>
                <a:cubicBezTo>
                  <a:pt x="2657" y="1733"/>
                  <a:pt x="2657" y="1733"/>
                  <a:pt x="2657" y="1733"/>
                </a:cubicBezTo>
                <a:cubicBezTo>
                  <a:pt x="2663" y="1732"/>
                  <a:pt x="2666" y="1729"/>
                  <a:pt x="2666" y="1722"/>
                </a:cubicBezTo>
                <a:cubicBezTo>
                  <a:pt x="2666" y="1719"/>
                  <a:pt x="2665" y="1717"/>
                  <a:pt x="2665" y="1716"/>
                </a:cubicBezTo>
                <a:cubicBezTo>
                  <a:pt x="2665" y="1714"/>
                  <a:pt x="2665" y="1712"/>
                  <a:pt x="2665" y="1711"/>
                </a:cubicBezTo>
                <a:cubicBezTo>
                  <a:pt x="2665" y="1707"/>
                  <a:pt x="2666" y="1705"/>
                  <a:pt x="2670" y="1705"/>
                </a:cubicBezTo>
                <a:cubicBezTo>
                  <a:pt x="2670" y="1705"/>
                  <a:pt x="2670" y="1705"/>
                  <a:pt x="2671" y="1705"/>
                </a:cubicBezTo>
                <a:cubicBezTo>
                  <a:pt x="2671" y="1705"/>
                  <a:pt x="2671" y="1705"/>
                  <a:pt x="2671" y="1696"/>
                </a:cubicBezTo>
                <a:cubicBezTo>
                  <a:pt x="2671" y="1696"/>
                  <a:pt x="2671" y="1696"/>
                  <a:pt x="2667" y="1696"/>
                </a:cubicBezTo>
                <a:cubicBezTo>
                  <a:pt x="2658" y="1696"/>
                  <a:pt x="2653" y="1700"/>
                  <a:pt x="2653" y="1708"/>
                </a:cubicBezTo>
                <a:cubicBezTo>
                  <a:pt x="2653" y="1711"/>
                  <a:pt x="2653" y="1713"/>
                  <a:pt x="2653" y="1716"/>
                </a:cubicBezTo>
                <a:cubicBezTo>
                  <a:pt x="2654" y="1718"/>
                  <a:pt x="2654" y="1721"/>
                  <a:pt x="2654" y="1723"/>
                </a:cubicBezTo>
                <a:cubicBezTo>
                  <a:pt x="2654" y="1725"/>
                  <a:pt x="2653" y="1729"/>
                  <a:pt x="2647" y="1729"/>
                </a:cubicBezTo>
                <a:close/>
                <a:moveTo>
                  <a:pt x="2702" y="1737"/>
                </a:moveTo>
                <a:cubicBezTo>
                  <a:pt x="2702" y="1737"/>
                  <a:pt x="2702" y="1737"/>
                  <a:pt x="2702" y="1737"/>
                </a:cubicBezTo>
                <a:cubicBezTo>
                  <a:pt x="2702" y="1729"/>
                  <a:pt x="2702" y="1729"/>
                  <a:pt x="2702" y="1729"/>
                </a:cubicBezTo>
                <a:cubicBezTo>
                  <a:pt x="2696" y="1729"/>
                  <a:pt x="2695" y="1725"/>
                  <a:pt x="2695" y="1723"/>
                </a:cubicBezTo>
                <a:cubicBezTo>
                  <a:pt x="2695" y="1721"/>
                  <a:pt x="2695" y="1718"/>
                  <a:pt x="2696" y="1716"/>
                </a:cubicBezTo>
                <a:cubicBezTo>
                  <a:pt x="2696" y="1713"/>
                  <a:pt x="2696" y="1711"/>
                  <a:pt x="2696" y="1708"/>
                </a:cubicBezTo>
                <a:cubicBezTo>
                  <a:pt x="2696" y="1700"/>
                  <a:pt x="2691" y="1696"/>
                  <a:pt x="2682" y="1696"/>
                </a:cubicBezTo>
                <a:cubicBezTo>
                  <a:pt x="2682" y="1696"/>
                  <a:pt x="2682" y="1696"/>
                  <a:pt x="2678" y="1696"/>
                </a:cubicBezTo>
                <a:cubicBezTo>
                  <a:pt x="2678" y="1696"/>
                  <a:pt x="2678" y="1696"/>
                  <a:pt x="2678" y="1705"/>
                </a:cubicBezTo>
                <a:cubicBezTo>
                  <a:pt x="2678" y="1705"/>
                  <a:pt x="2678" y="1705"/>
                  <a:pt x="2679" y="1705"/>
                </a:cubicBezTo>
                <a:cubicBezTo>
                  <a:pt x="2683" y="1705"/>
                  <a:pt x="2685" y="1707"/>
                  <a:pt x="2685" y="1711"/>
                </a:cubicBezTo>
                <a:cubicBezTo>
                  <a:pt x="2685" y="1712"/>
                  <a:pt x="2684" y="1714"/>
                  <a:pt x="2684" y="1716"/>
                </a:cubicBezTo>
                <a:cubicBezTo>
                  <a:pt x="2684" y="1717"/>
                  <a:pt x="2684" y="1719"/>
                  <a:pt x="2684" y="1722"/>
                </a:cubicBezTo>
                <a:cubicBezTo>
                  <a:pt x="2684" y="1729"/>
                  <a:pt x="2686" y="1732"/>
                  <a:pt x="2692" y="1733"/>
                </a:cubicBezTo>
                <a:cubicBezTo>
                  <a:pt x="2692" y="1733"/>
                  <a:pt x="2692" y="1733"/>
                  <a:pt x="2692" y="1733"/>
                </a:cubicBezTo>
                <a:cubicBezTo>
                  <a:pt x="2686" y="1734"/>
                  <a:pt x="2684" y="1737"/>
                  <a:pt x="2684" y="1744"/>
                </a:cubicBezTo>
                <a:cubicBezTo>
                  <a:pt x="2684" y="1747"/>
                  <a:pt x="2684" y="1749"/>
                  <a:pt x="2684" y="1750"/>
                </a:cubicBezTo>
                <a:cubicBezTo>
                  <a:pt x="2684" y="1752"/>
                  <a:pt x="2685" y="1754"/>
                  <a:pt x="2685" y="1755"/>
                </a:cubicBezTo>
                <a:cubicBezTo>
                  <a:pt x="2685" y="1759"/>
                  <a:pt x="2683" y="1761"/>
                  <a:pt x="2679" y="1761"/>
                </a:cubicBezTo>
                <a:cubicBezTo>
                  <a:pt x="2679" y="1761"/>
                  <a:pt x="2679" y="1761"/>
                  <a:pt x="2678" y="1761"/>
                </a:cubicBezTo>
                <a:cubicBezTo>
                  <a:pt x="2678" y="1761"/>
                  <a:pt x="2678" y="1761"/>
                  <a:pt x="2678" y="1770"/>
                </a:cubicBezTo>
                <a:cubicBezTo>
                  <a:pt x="2678" y="1770"/>
                  <a:pt x="2678" y="1770"/>
                  <a:pt x="2682" y="1770"/>
                </a:cubicBezTo>
                <a:cubicBezTo>
                  <a:pt x="2691" y="1770"/>
                  <a:pt x="2696" y="1767"/>
                  <a:pt x="2696" y="1757"/>
                </a:cubicBezTo>
                <a:cubicBezTo>
                  <a:pt x="2696" y="1755"/>
                  <a:pt x="2696" y="1753"/>
                  <a:pt x="2696" y="1750"/>
                </a:cubicBezTo>
                <a:cubicBezTo>
                  <a:pt x="2695" y="1748"/>
                  <a:pt x="2695" y="1745"/>
                  <a:pt x="2695" y="1743"/>
                </a:cubicBezTo>
                <a:cubicBezTo>
                  <a:pt x="2695" y="1741"/>
                  <a:pt x="2696" y="1738"/>
                  <a:pt x="2702" y="1737"/>
                </a:cubicBezTo>
                <a:close/>
                <a:moveTo>
                  <a:pt x="2750" y="1697"/>
                </a:moveTo>
                <a:cubicBezTo>
                  <a:pt x="2750" y="1697"/>
                  <a:pt x="2750" y="1697"/>
                  <a:pt x="2750" y="1697"/>
                </a:cubicBezTo>
                <a:cubicBezTo>
                  <a:pt x="2745" y="1697"/>
                  <a:pt x="2745" y="1697"/>
                  <a:pt x="2745" y="1697"/>
                </a:cubicBezTo>
                <a:cubicBezTo>
                  <a:pt x="2742" y="1698"/>
                  <a:pt x="2741" y="1700"/>
                  <a:pt x="2739" y="1700"/>
                </a:cubicBezTo>
                <a:cubicBezTo>
                  <a:pt x="2737" y="1702"/>
                  <a:pt x="2735" y="1702"/>
                  <a:pt x="2734" y="1703"/>
                </a:cubicBezTo>
                <a:cubicBezTo>
                  <a:pt x="2731" y="1704"/>
                  <a:pt x="2730" y="1705"/>
                  <a:pt x="2728" y="1705"/>
                </a:cubicBezTo>
                <a:cubicBezTo>
                  <a:pt x="2726" y="1706"/>
                  <a:pt x="2725" y="1707"/>
                  <a:pt x="2722" y="1708"/>
                </a:cubicBezTo>
                <a:cubicBezTo>
                  <a:pt x="2722" y="1708"/>
                  <a:pt x="2722" y="1708"/>
                  <a:pt x="2722" y="1718"/>
                </a:cubicBezTo>
                <a:cubicBezTo>
                  <a:pt x="2725" y="1717"/>
                  <a:pt x="2728" y="1716"/>
                  <a:pt x="2731" y="1715"/>
                </a:cubicBezTo>
                <a:cubicBezTo>
                  <a:pt x="2734" y="1714"/>
                  <a:pt x="2736" y="1713"/>
                  <a:pt x="2738" y="1711"/>
                </a:cubicBezTo>
                <a:cubicBezTo>
                  <a:pt x="2738" y="1711"/>
                  <a:pt x="2738" y="1711"/>
                  <a:pt x="2738" y="1770"/>
                </a:cubicBezTo>
                <a:cubicBezTo>
                  <a:pt x="2738" y="1770"/>
                  <a:pt x="2738" y="1770"/>
                  <a:pt x="2750" y="1770"/>
                </a:cubicBezTo>
                <a:cubicBezTo>
                  <a:pt x="2750" y="1770"/>
                  <a:pt x="2750" y="1770"/>
                  <a:pt x="2750" y="1697"/>
                </a:cubicBezTo>
                <a:close/>
                <a:moveTo>
                  <a:pt x="2796" y="1697"/>
                </a:moveTo>
                <a:cubicBezTo>
                  <a:pt x="2796" y="1697"/>
                  <a:pt x="2796" y="1697"/>
                  <a:pt x="2796" y="1697"/>
                </a:cubicBezTo>
                <a:cubicBezTo>
                  <a:pt x="2791" y="1697"/>
                  <a:pt x="2791" y="1697"/>
                  <a:pt x="2791" y="1697"/>
                </a:cubicBezTo>
                <a:cubicBezTo>
                  <a:pt x="2789" y="1698"/>
                  <a:pt x="2788" y="1700"/>
                  <a:pt x="2786" y="1700"/>
                </a:cubicBezTo>
                <a:cubicBezTo>
                  <a:pt x="2784" y="1702"/>
                  <a:pt x="2782" y="1702"/>
                  <a:pt x="2781" y="1703"/>
                </a:cubicBezTo>
                <a:cubicBezTo>
                  <a:pt x="2779" y="1705"/>
                  <a:pt x="2777" y="1705"/>
                  <a:pt x="2776" y="1706"/>
                </a:cubicBezTo>
                <a:cubicBezTo>
                  <a:pt x="2774" y="1707"/>
                  <a:pt x="2772" y="1708"/>
                  <a:pt x="2770" y="1708"/>
                </a:cubicBezTo>
                <a:cubicBezTo>
                  <a:pt x="2770" y="1708"/>
                  <a:pt x="2770" y="1708"/>
                  <a:pt x="2770" y="1718"/>
                </a:cubicBezTo>
                <a:cubicBezTo>
                  <a:pt x="2773" y="1717"/>
                  <a:pt x="2776" y="1716"/>
                  <a:pt x="2778" y="1715"/>
                </a:cubicBezTo>
                <a:cubicBezTo>
                  <a:pt x="2781" y="1714"/>
                  <a:pt x="2783" y="1713"/>
                  <a:pt x="2785" y="1711"/>
                </a:cubicBezTo>
                <a:cubicBezTo>
                  <a:pt x="2785" y="1711"/>
                  <a:pt x="2785" y="1711"/>
                  <a:pt x="2785" y="1770"/>
                </a:cubicBezTo>
                <a:cubicBezTo>
                  <a:pt x="2785" y="1770"/>
                  <a:pt x="2785" y="1770"/>
                  <a:pt x="2796" y="1770"/>
                </a:cubicBezTo>
                <a:cubicBezTo>
                  <a:pt x="2796" y="1770"/>
                  <a:pt x="2796" y="1770"/>
                  <a:pt x="2796" y="1697"/>
                </a:cubicBezTo>
                <a:close/>
                <a:moveTo>
                  <a:pt x="2843" y="1697"/>
                </a:moveTo>
                <a:cubicBezTo>
                  <a:pt x="2843" y="1697"/>
                  <a:pt x="2843" y="1697"/>
                  <a:pt x="2843" y="1697"/>
                </a:cubicBezTo>
                <a:cubicBezTo>
                  <a:pt x="2839" y="1697"/>
                  <a:pt x="2839" y="1697"/>
                  <a:pt x="2839" y="1697"/>
                </a:cubicBezTo>
                <a:cubicBezTo>
                  <a:pt x="2836" y="1698"/>
                  <a:pt x="2835" y="1700"/>
                  <a:pt x="2833" y="1700"/>
                </a:cubicBezTo>
                <a:cubicBezTo>
                  <a:pt x="2831" y="1702"/>
                  <a:pt x="2829" y="1702"/>
                  <a:pt x="2828" y="1703"/>
                </a:cubicBezTo>
                <a:cubicBezTo>
                  <a:pt x="2826" y="1705"/>
                  <a:pt x="2824" y="1705"/>
                  <a:pt x="2822" y="1706"/>
                </a:cubicBezTo>
                <a:cubicBezTo>
                  <a:pt x="2821" y="1707"/>
                  <a:pt x="2818" y="1708"/>
                  <a:pt x="2817" y="1708"/>
                </a:cubicBezTo>
                <a:cubicBezTo>
                  <a:pt x="2817" y="1708"/>
                  <a:pt x="2817" y="1708"/>
                  <a:pt x="2817" y="1718"/>
                </a:cubicBezTo>
                <a:cubicBezTo>
                  <a:pt x="2820" y="1717"/>
                  <a:pt x="2823" y="1716"/>
                  <a:pt x="2825" y="1715"/>
                </a:cubicBezTo>
                <a:cubicBezTo>
                  <a:pt x="2827" y="1714"/>
                  <a:pt x="2830" y="1713"/>
                  <a:pt x="2831" y="1711"/>
                </a:cubicBezTo>
                <a:cubicBezTo>
                  <a:pt x="2831" y="1711"/>
                  <a:pt x="2831" y="1711"/>
                  <a:pt x="2831" y="1770"/>
                </a:cubicBezTo>
                <a:cubicBezTo>
                  <a:pt x="2831" y="1770"/>
                  <a:pt x="2831" y="1770"/>
                  <a:pt x="2843" y="1770"/>
                </a:cubicBezTo>
                <a:cubicBezTo>
                  <a:pt x="2843" y="1770"/>
                  <a:pt x="2843" y="1770"/>
                  <a:pt x="2843" y="1697"/>
                </a:cubicBezTo>
                <a:close/>
                <a:moveTo>
                  <a:pt x="2966" y="1697"/>
                </a:moveTo>
                <a:cubicBezTo>
                  <a:pt x="2966" y="1697"/>
                  <a:pt x="2966" y="1697"/>
                  <a:pt x="2966" y="1697"/>
                </a:cubicBezTo>
                <a:cubicBezTo>
                  <a:pt x="2961" y="1697"/>
                  <a:pt x="2961" y="1697"/>
                  <a:pt x="2961" y="1697"/>
                </a:cubicBezTo>
                <a:cubicBezTo>
                  <a:pt x="2959" y="1698"/>
                  <a:pt x="2957" y="1700"/>
                  <a:pt x="2955" y="1700"/>
                </a:cubicBezTo>
                <a:cubicBezTo>
                  <a:pt x="2954" y="1702"/>
                  <a:pt x="2952" y="1702"/>
                  <a:pt x="2950" y="1703"/>
                </a:cubicBezTo>
                <a:cubicBezTo>
                  <a:pt x="2949" y="1705"/>
                  <a:pt x="2946" y="1705"/>
                  <a:pt x="2945" y="1706"/>
                </a:cubicBezTo>
                <a:cubicBezTo>
                  <a:pt x="2943" y="1707"/>
                  <a:pt x="2941" y="1708"/>
                  <a:pt x="2939" y="1708"/>
                </a:cubicBezTo>
                <a:cubicBezTo>
                  <a:pt x="2939" y="1708"/>
                  <a:pt x="2939" y="1708"/>
                  <a:pt x="2939" y="1718"/>
                </a:cubicBezTo>
                <a:cubicBezTo>
                  <a:pt x="2942" y="1717"/>
                  <a:pt x="2945" y="1716"/>
                  <a:pt x="2948" y="1715"/>
                </a:cubicBezTo>
                <a:cubicBezTo>
                  <a:pt x="2950" y="1714"/>
                  <a:pt x="2952" y="1713"/>
                  <a:pt x="2954" y="1711"/>
                </a:cubicBezTo>
                <a:cubicBezTo>
                  <a:pt x="2954" y="1711"/>
                  <a:pt x="2954" y="1711"/>
                  <a:pt x="2954" y="1770"/>
                </a:cubicBezTo>
                <a:cubicBezTo>
                  <a:pt x="2954" y="1770"/>
                  <a:pt x="2954" y="1770"/>
                  <a:pt x="2966" y="1770"/>
                </a:cubicBezTo>
                <a:cubicBezTo>
                  <a:pt x="2966" y="1770"/>
                  <a:pt x="2966" y="1770"/>
                  <a:pt x="2966" y="1697"/>
                </a:cubicBezTo>
                <a:close/>
                <a:moveTo>
                  <a:pt x="3014" y="1697"/>
                </a:moveTo>
                <a:cubicBezTo>
                  <a:pt x="3014" y="1697"/>
                  <a:pt x="3014" y="1697"/>
                  <a:pt x="3014" y="1697"/>
                </a:cubicBezTo>
                <a:cubicBezTo>
                  <a:pt x="3009" y="1697"/>
                  <a:pt x="3009" y="1697"/>
                  <a:pt x="3009" y="1697"/>
                </a:cubicBezTo>
                <a:cubicBezTo>
                  <a:pt x="3006" y="1698"/>
                  <a:pt x="3005" y="1700"/>
                  <a:pt x="3003" y="1700"/>
                </a:cubicBezTo>
                <a:cubicBezTo>
                  <a:pt x="3001" y="1702"/>
                  <a:pt x="2999" y="1702"/>
                  <a:pt x="2998" y="1703"/>
                </a:cubicBezTo>
                <a:cubicBezTo>
                  <a:pt x="2996" y="1705"/>
                  <a:pt x="2994" y="1705"/>
                  <a:pt x="2992" y="1706"/>
                </a:cubicBezTo>
                <a:cubicBezTo>
                  <a:pt x="2990" y="1707"/>
                  <a:pt x="2989" y="1708"/>
                  <a:pt x="2986" y="1708"/>
                </a:cubicBezTo>
                <a:cubicBezTo>
                  <a:pt x="2986" y="1708"/>
                  <a:pt x="2986" y="1708"/>
                  <a:pt x="2986" y="1718"/>
                </a:cubicBezTo>
                <a:cubicBezTo>
                  <a:pt x="2989" y="1717"/>
                  <a:pt x="2992" y="1716"/>
                  <a:pt x="2995" y="1715"/>
                </a:cubicBezTo>
                <a:cubicBezTo>
                  <a:pt x="2998" y="1714"/>
                  <a:pt x="3000" y="1713"/>
                  <a:pt x="3002" y="1711"/>
                </a:cubicBezTo>
                <a:cubicBezTo>
                  <a:pt x="3002" y="1711"/>
                  <a:pt x="3002" y="1711"/>
                  <a:pt x="3002" y="1770"/>
                </a:cubicBezTo>
                <a:cubicBezTo>
                  <a:pt x="3002" y="1770"/>
                  <a:pt x="3002" y="1770"/>
                  <a:pt x="3014" y="1770"/>
                </a:cubicBezTo>
                <a:cubicBezTo>
                  <a:pt x="3014" y="1770"/>
                  <a:pt x="3014" y="1770"/>
                  <a:pt x="3014" y="1697"/>
                </a:cubicBezTo>
                <a:close/>
                <a:moveTo>
                  <a:pt x="3060" y="1697"/>
                </a:moveTo>
                <a:cubicBezTo>
                  <a:pt x="3060" y="1697"/>
                  <a:pt x="3060" y="1697"/>
                  <a:pt x="3060" y="1697"/>
                </a:cubicBezTo>
                <a:cubicBezTo>
                  <a:pt x="3056" y="1697"/>
                  <a:pt x="3056" y="1697"/>
                  <a:pt x="3056" y="1697"/>
                </a:cubicBezTo>
                <a:cubicBezTo>
                  <a:pt x="3053" y="1698"/>
                  <a:pt x="3052" y="1700"/>
                  <a:pt x="3050" y="1700"/>
                </a:cubicBezTo>
                <a:cubicBezTo>
                  <a:pt x="3048" y="1702"/>
                  <a:pt x="3046" y="1702"/>
                  <a:pt x="3045" y="1703"/>
                </a:cubicBezTo>
                <a:cubicBezTo>
                  <a:pt x="3043" y="1704"/>
                  <a:pt x="3041" y="1705"/>
                  <a:pt x="3039" y="1705"/>
                </a:cubicBezTo>
                <a:cubicBezTo>
                  <a:pt x="3038" y="1706"/>
                  <a:pt x="3035" y="1707"/>
                  <a:pt x="3034" y="1708"/>
                </a:cubicBezTo>
                <a:cubicBezTo>
                  <a:pt x="3034" y="1708"/>
                  <a:pt x="3034" y="1708"/>
                  <a:pt x="3034" y="1718"/>
                </a:cubicBezTo>
                <a:cubicBezTo>
                  <a:pt x="3037" y="1717"/>
                  <a:pt x="3040" y="1716"/>
                  <a:pt x="3042" y="1715"/>
                </a:cubicBezTo>
                <a:cubicBezTo>
                  <a:pt x="3044" y="1714"/>
                  <a:pt x="3047" y="1713"/>
                  <a:pt x="3048" y="1711"/>
                </a:cubicBezTo>
                <a:cubicBezTo>
                  <a:pt x="3048" y="1711"/>
                  <a:pt x="3048" y="1711"/>
                  <a:pt x="3048" y="1770"/>
                </a:cubicBezTo>
                <a:cubicBezTo>
                  <a:pt x="3048" y="1770"/>
                  <a:pt x="3048" y="1770"/>
                  <a:pt x="3060" y="1770"/>
                </a:cubicBezTo>
                <a:cubicBezTo>
                  <a:pt x="3060" y="1770"/>
                  <a:pt x="3060" y="1770"/>
                  <a:pt x="3060" y="1697"/>
                </a:cubicBezTo>
                <a:close/>
                <a:moveTo>
                  <a:pt x="3105" y="1770"/>
                </a:moveTo>
                <a:cubicBezTo>
                  <a:pt x="3097" y="1770"/>
                  <a:pt x="3091" y="1767"/>
                  <a:pt x="3086" y="1761"/>
                </a:cubicBezTo>
                <a:cubicBezTo>
                  <a:pt x="3083" y="1755"/>
                  <a:pt x="3080" y="1746"/>
                  <a:pt x="3080" y="1733"/>
                </a:cubicBezTo>
                <a:cubicBezTo>
                  <a:pt x="3080" y="1720"/>
                  <a:pt x="3083" y="1711"/>
                  <a:pt x="3087" y="1704"/>
                </a:cubicBezTo>
                <a:cubicBezTo>
                  <a:pt x="3091" y="1697"/>
                  <a:pt x="3098" y="1694"/>
                  <a:pt x="3107" y="1694"/>
                </a:cubicBezTo>
                <a:cubicBezTo>
                  <a:pt x="3123" y="1694"/>
                  <a:pt x="3131" y="1706"/>
                  <a:pt x="3131" y="1732"/>
                </a:cubicBezTo>
                <a:cubicBezTo>
                  <a:pt x="3131" y="1744"/>
                  <a:pt x="3129" y="1754"/>
                  <a:pt x="3124" y="1761"/>
                </a:cubicBezTo>
                <a:cubicBezTo>
                  <a:pt x="3119" y="1767"/>
                  <a:pt x="3113" y="1770"/>
                  <a:pt x="3105" y="1770"/>
                </a:cubicBezTo>
                <a:close/>
                <a:moveTo>
                  <a:pt x="3106" y="1703"/>
                </a:moveTo>
                <a:cubicBezTo>
                  <a:pt x="3097" y="1703"/>
                  <a:pt x="3092" y="1714"/>
                  <a:pt x="3092" y="1733"/>
                </a:cubicBezTo>
                <a:cubicBezTo>
                  <a:pt x="3092" y="1752"/>
                  <a:pt x="3097" y="1761"/>
                  <a:pt x="3105" y="1761"/>
                </a:cubicBezTo>
                <a:cubicBezTo>
                  <a:pt x="3114" y="1761"/>
                  <a:pt x="3118" y="1752"/>
                  <a:pt x="3118" y="1733"/>
                </a:cubicBezTo>
                <a:cubicBezTo>
                  <a:pt x="3118" y="1713"/>
                  <a:pt x="3114" y="1703"/>
                  <a:pt x="3106" y="1703"/>
                </a:cubicBezTo>
                <a:close/>
                <a:moveTo>
                  <a:pt x="3176" y="1770"/>
                </a:moveTo>
                <a:cubicBezTo>
                  <a:pt x="3168" y="1770"/>
                  <a:pt x="3162" y="1767"/>
                  <a:pt x="3158" y="1761"/>
                </a:cubicBezTo>
                <a:cubicBezTo>
                  <a:pt x="3154" y="1755"/>
                  <a:pt x="3152" y="1746"/>
                  <a:pt x="3152" y="1733"/>
                </a:cubicBezTo>
                <a:cubicBezTo>
                  <a:pt x="3152" y="1720"/>
                  <a:pt x="3154" y="1711"/>
                  <a:pt x="3158" y="1704"/>
                </a:cubicBezTo>
                <a:cubicBezTo>
                  <a:pt x="3162" y="1697"/>
                  <a:pt x="3169" y="1694"/>
                  <a:pt x="3178" y="1694"/>
                </a:cubicBezTo>
                <a:cubicBezTo>
                  <a:pt x="3194" y="1694"/>
                  <a:pt x="3202" y="1706"/>
                  <a:pt x="3202" y="1732"/>
                </a:cubicBezTo>
                <a:cubicBezTo>
                  <a:pt x="3202" y="1744"/>
                  <a:pt x="3200" y="1754"/>
                  <a:pt x="3195" y="1761"/>
                </a:cubicBezTo>
                <a:cubicBezTo>
                  <a:pt x="3190" y="1767"/>
                  <a:pt x="3184" y="1770"/>
                  <a:pt x="3176" y="1770"/>
                </a:cubicBezTo>
                <a:close/>
                <a:moveTo>
                  <a:pt x="3177" y="1703"/>
                </a:moveTo>
                <a:cubicBezTo>
                  <a:pt x="3168" y="1703"/>
                  <a:pt x="3163" y="1714"/>
                  <a:pt x="3163" y="1733"/>
                </a:cubicBezTo>
                <a:cubicBezTo>
                  <a:pt x="3163" y="1752"/>
                  <a:pt x="3168" y="1761"/>
                  <a:pt x="3176" y="1761"/>
                </a:cubicBezTo>
                <a:cubicBezTo>
                  <a:pt x="3185" y="1761"/>
                  <a:pt x="3190" y="1752"/>
                  <a:pt x="3190" y="1733"/>
                </a:cubicBezTo>
                <a:cubicBezTo>
                  <a:pt x="3190" y="1713"/>
                  <a:pt x="3185" y="1703"/>
                  <a:pt x="3177" y="1703"/>
                </a:cubicBezTo>
                <a:close/>
                <a:moveTo>
                  <a:pt x="2864" y="1729"/>
                </a:moveTo>
                <a:cubicBezTo>
                  <a:pt x="2864" y="1729"/>
                  <a:pt x="2864" y="1729"/>
                  <a:pt x="2864" y="1729"/>
                </a:cubicBezTo>
                <a:cubicBezTo>
                  <a:pt x="2864" y="1737"/>
                  <a:pt x="2864" y="1737"/>
                  <a:pt x="2864" y="1737"/>
                </a:cubicBezTo>
                <a:cubicBezTo>
                  <a:pt x="2870" y="1738"/>
                  <a:pt x="2871" y="1741"/>
                  <a:pt x="2871" y="1743"/>
                </a:cubicBezTo>
                <a:cubicBezTo>
                  <a:pt x="2871" y="1745"/>
                  <a:pt x="2870" y="1748"/>
                  <a:pt x="2870" y="1750"/>
                </a:cubicBezTo>
                <a:cubicBezTo>
                  <a:pt x="2870" y="1753"/>
                  <a:pt x="2869" y="1755"/>
                  <a:pt x="2869" y="1757"/>
                </a:cubicBezTo>
                <a:cubicBezTo>
                  <a:pt x="2869" y="1767"/>
                  <a:pt x="2875" y="1770"/>
                  <a:pt x="2884" y="1770"/>
                </a:cubicBezTo>
                <a:cubicBezTo>
                  <a:pt x="2884" y="1770"/>
                  <a:pt x="2884" y="1770"/>
                  <a:pt x="2888" y="1770"/>
                </a:cubicBezTo>
                <a:cubicBezTo>
                  <a:pt x="2888" y="1770"/>
                  <a:pt x="2888" y="1770"/>
                  <a:pt x="2888" y="1761"/>
                </a:cubicBezTo>
                <a:cubicBezTo>
                  <a:pt x="2888" y="1761"/>
                  <a:pt x="2888" y="1761"/>
                  <a:pt x="2886" y="1761"/>
                </a:cubicBezTo>
                <a:cubicBezTo>
                  <a:pt x="2882" y="1761"/>
                  <a:pt x="2881" y="1759"/>
                  <a:pt x="2881" y="1755"/>
                </a:cubicBezTo>
                <a:cubicBezTo>
                  <a:pt x="2881" y="1754"/>
                  <a:pt x="2881" y="1752"/>
                  <a:pt x="2882" y="1750"/>
                </a:cubicBezTo>
                <a:cubicBezTo>
                  <a:pt x="2882" y="1749"/>
                  <a:pt x="2882" y="1747"/>
                  <a:pt x="2882" y="1744"/>
                </a:cubicBezTo>
                <a:cubicBezTo>
                  <a:pt x="2882" y="1737"/>
                  <a:pt x="2879" y="1734"/>
                  <a:pt x="2874" y="1733"/>
                </a:cubicBezTo>
                <a:cubicBezTo>
                  <a:pt x="2874" y="1733"/>
                  <a:pt x="2874" y="1733"/>
                  <a:pt x="2874" y="1733"/>
                </a:cubicBezTo>
                <a:cubicBezTo>
                  <a:pt x="2879" y="1732"/>
                  <a:pt x="2882" y="1729"/>
                  <a:pt x="2882" y="1722"/>
                </a:cubicBezTo>
                <a:cubicBezTo>
                  <a:pt x="2882" y="1719"/>
                  <a:pt x="2882" y="1717"/>
                  <a:pt x="2882" y="1716"/>
                </a:cubicBezTo>
                <a:cubicBezTo>
                  <a:pt x="2881" y="1714"/>
                  <a:pt x="2881" y="1712"/>
                  <a:pt x="2881" y="1711"/>
                </a:cubicBezTo>
                <a:cubicBezTo>
                  <a:pt x="2881" y="1707"/>
                  <a:pt x="2882" y="1705"/>
                  <a:pt x="2886" y="1705"/>
                </a:cubicBezTo>
                <a:cubicBezTo>
                  <a:pt x="2886" y="1705"/>
                  <a:pt x="2886" y="1705"/>
                  <a:pt x="2888" y="1705"/>
                </a:cubicBezTo>
                <a:cubicBezTo>
                  <a:pt x="2888" y="1705"/>
                  <a:pt x="2888" y="1705"/>
                  <a:pt x="2888" y="1696"/>
                </a:cubicBezTo>
                <a:cubicBezTo>
                  <a:pt x="2888" y="1696"/>
                  <a:pt x="2888" y="1696"/>
                  <a:pt x="2884" y="1696"/>
                </a:cubicBezTo>
                <a:cubicBezTo>
                  <a:pt x="2875" y="1696"/>
                  <a:pt x="2869" y="1700"/>
                  <a:pt x="2869" y="1708"/>
                </a:cubicBezTo>
                <a:cubicBezTo>
                  <a:pt x="2869" y="1711"/>
                  <a:pt x="2870" y="1713"/>
                  <a:pt x="2870" y="1716"/>
                </a:cubicBezTo>
                <a:cubicBezTo>
                  <a:pt x="2870" y="1718"/>
                  <a:pt x="2871" y="1721"/>
                  <a:pt x="2871" y="1723"/>
                </a:cubicBezTo>
                <a:cubicBezTo>
                  <a:pt x="2871" y="1725"/>
                  <a:pt x="2870" y="1729"/>
                  <a:pt x="2864" y="1729"/>
                </a:cubicBezTo>
                <a:close/>
                <a:moveTo>
                  <a:pt x="2919" y="1737"/>
                </a:moveTo>
                <a:cubicBezTo>
                  <a:pt x="2919" y="1737"/>
                  <a:pt x="2919" y="1737"/>
                  <a:pt x="2919" y="1737"/>
                </a:cubicBezTo>
                <a:cubicBezTo>
                  <a:pt x="2919" y="1729"/>
                  <a:pt x="2919" y="1729"/>
                  <a:pt x="2919" y="1729"/>
                </a:cubicBezTo>
                <a:cubicBezTo>
                  <a:pt x="2912" y="1729"/>
                  <a:pt x="2912" y="1725"/>
                  <a:pt x="2912" y="1723"/>
                </a:cubicBezTo>
                <a:cubicBezTo>
                  <a:pt x="2912" y="1721"/>
                  <a:pt x="2912" y="1718"/>
                  <a:pt x="2912" y="1716"/>
                </a:cubicBezTo>
                <a:cubicBezTo>
                  <a:pt x="2913" y="1713"/>
                  <a:pt x="2913" y="1711"/>
                  <a:pt x="2913" y="1708"/>
                </a:cubicBezTo>
                <a:cubicBezTo>
                  <a:pt x="2913" y="1700"/>
                  <a:pt x="2907" y="1696"/>
                  <a:pt x="2898" y="1696"/>
                </a:cubicBezTo>
                <a:cubicBezTo>
                  <a:pt x="2898" y="1696"/>
                  <a:pt x="2898" y="1696"/>
                  <a:pt x="2894" y="1696"/>
                </a:cubicBezTo>
                <a:cubicBezTo>
                  <a:pt x="2894" y="1696"/>
                  <a:pt x="2894" y="1696"/>
                  <a:pt x="2894" y="1705"/>
                </a:cubicBezTo>
                <a:cubicBezTo>
                  <a:pt x="2894" y="1705"/>
                  <a:pt x="2894" y="1705"/>
                  <a:pt x="2896" y="1705"/>
                </a:cubicBezTo>
                <a:cubicBezTo>
                  <a:pt x="2900" y="1705"/>
                  <a:pt x="2901" y="1707"/>
                  <a:pt x="2901" y="1711"/>
                </a:cubicBezTo>
                <a:cubicBezTo>
                  <a:pt x="2901" y="1712"/>
                  <a:pt x="2901" y="1714"/>
                  <a:pt x="2901" y="1716"/>
                </a:cubicBezTo>
                <a:cubicBezTo>
                  <a:pt x="2900" y="1717"/>
                  <a:pt x="2900" y="1719"/>
                  <a:pt x="2900" y="1722"/>
                </a:cubicBezTo>
                <a:cubicBezTo>
                  <a:pt x="2900" y="1729"/>
                  <a:pt x="2903" y="1732"/>
                  <a:pt x="2909" y="1733"/>
                </a:cubicBezTo>
                <a:cubicBezTo>
                  <a:pt x="2909" y="1733"/>
                  <a:pt x="2909" y="1733"/>
                  <a:pt x="2909" y="1733"/>
                </a:cubicBezTo>
                <a:cubicBezTo>
                  <a:pt x="2903" y="1734"/>
                  <a:pt x="2900" y="1737"/>
                  <a:pt x="2900" y="1744"/>
                </a:cubicBezTo>
                <a:cubicBezTo>
                  <a:pt x="2900" y="1747"/>
                  <a:pt x="2900" y="1749"/>
                  <a:pt x="2901" y="1750"/>
                </a:cubicBezTo>
                <a:cubicBezTo>
                  <a:pt x="2901" y="1752"/>
                  <a:pt x="2901" y="1754"/>
                  <a:pt x="2901" y="1755"/>
                </a:cubicBezTo>
                <a:cubicBezTo>
                  <a:pt x="2901" y="1759"/>
                  <a:pt x="2900" y="1761"/>
                  <a:pt x="2896" y="1761"/>
                </a:cubicBezTo>
                <a:cubicBezTo>
                  <a:pt x="2896" y="1761"/>
                  <a:pt x="2896" y="1761"/>
                  <a:pt x="2894" y="1761"/>
                </a:cubicBezTo>
                <a:cubicBezTo>
                  <a:pt x="2894" y="1761"/>
                  <a:pt x="2894" y="1761"/>
                  <a:pt x="2894" y="1770"/>
                </a:cubicBezTo>
                <a:cubicBezTo>
                  <a:pt x="2894" y="1770"/>
                  <a:pt x="2894" y="1770"/>
                  <a:pt x="2898" y="1770"/>
                </a:cubicBezTo>
                <a:cubicBezTo>
                  <a:pt x="2907" y="1770"/>
                  <a:pt x="2913" y="1767"/>
                  <a:pt x="2913" y="1757"/>
                </a:cubicBezTo>
                <a:cubicBezTo>
                  <a:pt x="2913" y="1755"/>
                  <a:pt x="2913" y="1753"/>
                  <a:pt x="2912" y="1750"/>
                </a:cubicBezTo>
                <a:cubicBezTo>
                  <a:pt x="2912" y="1748"/>
                  <a:pt x="2912" y="1745"/>
                  <a:pt x="2912" y="1743"/>
                </a:cubicBezTo>
                <a:cubicBezTo>
                  <a:pt x="2912" y="1741"/>
                  <a:pt x="2912" y="1738"/>
                  <a:pt x="2919" y="1737"/>
                </a:cubicBezTo>
                <a:close/>
                <a:moveTo>
                  <a:pt x="3388" y="1770"/>
                </a:moveTo>
                <a:cubicBezTo>
                  <a:pt x="3381" y="1770"/>
                  <a:pt x="3375" y="1767"/>
                  <a:pt x="3370" y="1761"/>
                </a:cubicBezTo>
                <a:cubicBezTo>
                  <a:pt x="3366" y="1755"/>
                  <a:pt x="3364" y="1745"/>
                  <a:pt x="3364" y="1733"/>
                </a:cubicBezTo>
                <a:cubicBezTo>
                  <a:pt x="3364" y="1720"/>
                  <a:pt x="3366" y="1711"/>
                  <a:pt x="3370" y="1703"/>
                </a:cubicBezTo>
                <a:cubicBezTo>
                  <a:pt x="3375" y="1697"/>
                  <a:pt x="3381" y="1694"/>
                  <a:pt x="3390" y="1694"/>
                </a:cubicBezTo>
                <a:cubicBezTo>
                  <a:pt x="3406" y="1694"/>
                  <a:pt x="3415" y="1706"/>
                  <a:pt x="3415" y="1731"/>
                </a:cubicBezTo>
                <a:cubicBezTo>
                  <a:pt x="3415" y="1744"/>
                  <a:pt x="3412" y="1754"/>
                  <a:pt x="3408" y="1761"/>
                </a:cubicBezTo>
                <a:cubicBezTo>
                  <a:pt x="3403" y="1767"/>
                  <a:pt x="3397" y="1770"/>
                  <a:pt x="3388" y="1770"/>
                </a:cubicBezTo>
                <a:close/>
                <a:moveTo>
                  <a:pt x="3390" y="1703"/>
                </a:moveTo>
                <a:cubicBezTo>
                  <a:pt x="3381" y="1703"/>
                  <a:pt x="3376" y="1713"/>
                  <a:pt x="3376" y="1733"/>
                </a:cubicBezTo>
                <a:cubicBezTo>
                  <a:pt x="3376" y="1751"/>
                  <a:pt x="3381" y="1761"/>
                  <a:pt x="3390" y="1761"/>
                </a:cubicBezTo>
                <a:cubicBezTo>
                  <a:pt x="3398" y="1761"/>
                  <a:pt x="3402" y="1751"/>
                  <a:pt x="3402" y="1733"/>
                </a:cubicBezTo>
                <a:cubicBezTo>
                  <a:pt x="3402" y="1713"/>
                  <a:pt x="3398" y="1703"/>
                  <a:pt x="3390" y="1703"/>
                </a:cubicBezTo>
                <a:close/>
                <a:moveTo>
                  <a:pt x="3506" y="1770"/>
                </a:moveTo>
                <a:cubicBezTo>
                  <a:pt x="3499" y="1770"/>
                  <a:pt x="3493" y="1767"/>
                  <a:pt x="3488" y="1761"/>
                </a:cubicBezTo>
                <a:cubicBezTo>
                  <a:pt x="3484" y="1755"/>
                  <a:pt x="3482" y="1745"/>
                  <a:pt x="3482" y="1733"/>
                </a:cubicBezTo>
                <a:cubicBezTo>
                  <a:pt x="3482" y="1720"/>
                  <a:pt x="3484" y="1711"/>
                  <a:pt x="3488" y="1703"/>
                </a:cubicBezTo>
                <a:cubicBezTo>
                  <a:pt x="3493" y="1697"/>
                  <a:pt x="3499" y="1694"/>
                  <a:pt x="3508" y="1694"/>
                </a:cubicBezTo>
                <a:cubicBezTo>
                  <a:pt x="3524" y="1694"/>
                  <a:pt x="3532" y="1706"/>
                  <a:pt x="3532" y="1731"/>
                </a:cubicBezTo>
                <a:cubicBezTo>
                  <a:pt x="3532" y="1744"/>
                  <a:pt x="3530" y="1754"/>
                  <a:pt x="3526" y="1761"/>
                </a:cubicBezTo>
                <a:cubicBezTo>
                  <a:pt x="3520" y="1767"/>
                  <a:pt x="3515" y="1770"/>
                  <a:pt x="3506" y="1770"/>
                </a:cubicBezTo>
                <a:close/>
                <a:moveTo>
                  <a:pt x="3507" y="1703"/>
                </a:moveTo>
                <a:cubicBezTo>
                  <a:pt x="3499" y="1703"/>
                  <a:pt x="3494" y="1713"/>
                  <a:pt x="3494" y="1733"/>
                </a:cubicBezTo>
                <a:cubicBezTo>
                  <a:pt x="3494" y="1751"/>
                  <a:pt x="3499" y="1761"/>
                  <a:pt x="3507" y="1761"/>
                </a:cubicBezTo>
                <a:cubicBezTo>
                  <a:pt x="3515" y="1761"/>
                  <a:pt x="3520" y="1751"/>
                  <a:pt x="3520" y="1733"/>
                </a:cubicBezTo>
                <a:cubicBezTo>
                  <a:pt x="3520" y="1713"/>
                  <a:pt x="3516" y="1703"/>
                  <a:pt x="3507" y="1703"/>
                </a:cubicBezTo>
                <a:close/>
                <a:moveTo>
                  <a:pt x="3462" y="1697"/>
                </a:moveTo>
                <a:cubicBezTo>
                  <a:pt x="3462" y="1697"/>
                  <a:pt x="3462" y="1697"/>
                  <a:pt x="3462" y="1697"/>
                </a:cubicBezTo>
                <a:cubicBezTo>
                  <a:pt x="3457" y="1697"/>
                  <a:pt x="3457" y="1697"/>
                  <a:pt x="3457" y="1697"/>
                </a:cubicBezTo>
                <a:cubicBezTo>
                  <a:pt x="3454" y="1698"/>
                  <a:pt x="3453" y="1700"/>
                  <a:pt x="3451" y="1700"/>
                </a:cubicBezTo>
                <a:cubicBezTo>
                  <a:pt x="3449" y="1702"/>
                  <a:pt x="3447" y="1702"/>
                  <a:pt x="3446" y="1703"/>
                </a:cubicBezTo>
                <a:cubicBezTo>
                  <a:pt x="3444" y="1704"/>
                  <a:pt x="3442" y="1705"/>
                  <a:pt x="3441" y="1705"/>
                </a:cubicBezTo>
                <a:cubicBezTo>
                  <a:pt x="3438" y="1706"/>
                  <a:pt x="3437" y="1707"/>
                  <a:pt x="3435" y="1708"/>
                </a:cubicBezTo>
                <a:cubicBezTo>
                  <a:pt x="3435" y="1708"/>
                  <a:pt x="3435" y="1708"/>
                  <a:pt x="3435" y="1718"/>
                </a:cubicBezTo>
                <a:cubicBezTo>
                  <a:pt x="3438" y="1717"/>
                  <a:pt x="3441" y="1716"/>
                  <a:pt x="3443" y="1715"/>
                </a:cubicBezTo>
                <a:cubicBezTo>
                  <a:pt x="3446" y="1714"/>
                  <a:pt x="3448" y="1713"/>
                  <a:pt x="3450" y="1711"/>
                </a:cubicBezTo>
                <a:cubicBezTo>
                  <a:pt x="3450" y="1711"/>
                  <a:pt x="3450" y="1711"/>
                  <a:pt x="3450" y="1770"/>
                </a:cubicBezTo>
                <a:cubicBezTo>
                  <a:pt x="3450" y="1770"/>
                  <a:pt x="3450" y="1770"/>
                  <a:pt x="3462" y="1770"/>
                </a:cubicBezTo>
                <a:cubicBezTo>
                  <a:pt x="3462" y="1770"/>
                  <a:pt x="3462" y="1770"/>
                  <a:pt x="3462" y="1697"/>
                </a:cubicBezTo>
                <a:close/>
                <a:moveTo>
                  <a:pt x="3577" y="1770"/>
                </a:moveTo>
                <a:cubicBezTo>
                  <a:pt x="3570" y="1770"/>
                  <a:pt x="3563" y="1767"/>
                  <a:pt x="3559" y="1761"/>
                </a:cubicBezTo>
                <a:cubicBezTo>
                  <a:pt x="3555" y="1755"/>
                  <a:pt x="3553" y="1746"/>
                  <a:pt x="3553" y="1733"/>
                </a:cubicBezTo>
                <a:cubicBezTo>
                  <a:pt x="3553" y="1720"/>
                  <a:pt x="3555" y="1711"/>
                  <a:pt x="3559" y="1704"/>
                </a:cubicBezTo>
                <a:cubicBezTo>
                  <a:pt x="3564" y="1697"/>
                  <a:pt x="3570" y="1694"/>
                  <a:pt x="3579" y="1694"/>
                </a:cubicBezTo>
                <a:cubicBezTo>
                  <a:pt x="3595" y="1694"/>
                  <a:pt x="3603" y="1706"/>
                  <a:pt x="3603" y="1732"/>
                </a:cubicBezTo>
                <a:cubicBezTo>
                  <a:pt x="3603" y="1744"/>
                  <a:pt x="3601" y="1754"/>
                  <a:pt x="3597" y="1761"/>
                </a:cubicBezTo>
                <a:cubicBezTo>
                  <a:pt x="3592" y="1767"/>
                  <a:pt x="3586" y="1770"/>
                  <a:pt x="3577" y="1770"/>
                </a:cubicBezTo>
                <a:close/>
                <a:moveTo>
                  <a:pt x="3578" y="1703"/>
                </a:moveTo>
                <a:cubicBezTo>
                  <a:pt x="3570" y="1703"/>
                  <a:pt x="3565" y="1714"/>
                  <a:pt x="3565" y="1733"/>
                </a:cubicBezTo>
                <a:cubicBezTo>
                  <a:pt x="3565" y="1752"/>
                  <a:pt x="3569" y="1761"/>
                  <a:pt x="3578" y="1761"/>
                </a:cubicBezTo>
                <a:cubicBezTo>
                  <a:pt x="3586" y="1761"/>
                  <a:pt x="3591" y="1752"/>
                  <a:pt x="3591" y="1733"/>
                </a:cubicBezTo>
                <a:cubicBezTo>
                  <a:pt x="3591" y="1713"/>
                  <a:pt x="3586" y="1703"/>
                  <a:pt x="3578" y="1703"/>
                </a:cubicBezTo>
                <a:close/>
                <a:moveTo>
                  <a:pt x="3624" y="1729"/>
                </a:moveTo>
                <a:cubicBezTo>
                  <a:pt x="3624" y="1729"/>
                  <a:pt x="3624" y="1729"/>
                  <a:pt x="3624" y="1729"/>
                </a:cubicBezTo>
                <a:cubicBezTo>
                  <a:pt x="3624" y="1737"/>
                  <a:pt x="3624" y="1737"/>
                  <a:pt x="3624" y="1737"/>
                </a:cubicBezTo>
                <a:cubicBezTo>
                  <a:pt x="3630" y="1738"/>
                  <a:pt x="3631" y="1741"/>
                  <a:pt x="3631" y="1743"/>
                </a:cubicBezTo>
                <a:cubicBezTo>
                  <a:pt x="3631" y="1745"/>
                  <a:pt x="3630" y="1748"/>
                  <a:pt x="3630" y="1750"/>
                </a:cubicBezTo>
                <a:cubicBezTo>
                  <a:pt x="3630" y="1753"/>
                  <a:pt x="3630" y="1755"/>
                  <a:pt x="3630" y="1757"/>
                </a:cubicBezTo>
                <a:cubicBezTo>
                  <a:pt x="3630" y="1767"/>
                  <a:pt x="3636" y="1770"/>
                  <a:pt x="3644" y="1770"/>
                </a:cubicBezTo>
                <a:cubicBezTo>
                  <a:pt x="3644" y="1770"/>
                  <a:pt x="3644" y="1770"/>
                  <a:pt x="3648" y="1770"/>
                </a:cubicBezTo>
                <a:cubicBezTo>
                  <a:pt x="3648" y="1770"/>
                  <a:pt x="3648" y="1770"/>
                  <a:pt x="3648" y="1761"/>
                </a:cubicBezTo>
                <a:cubicBezTo>
                  <a:pt x="3648" y="1761"/>
                  <a:pt x="3648" y="1761"/>
                  <a:pt x="3646" y="1761"/>
                </a:cubicBezTo>
                <a:cubicBezTo>
                  <a:pt x="3643" y="1761"/>
                  <a:pt x="3642" y="1759"/>
                  <a:pt x="3642" y="1755"/>
                </a:cubicBezTo>
                <a:cubicBezTo>
                  <a:pt x="3642" y="1754"/>
                  <a:pt x="3642" y="1752"/>
                  <a:pt x="3642" y="1750"/>
                </a:cubicBezTo>
                <a:cubicBezTo>
                  <a:pt x="3642" y="1749"/>
                  <a:pt x="3642" y="1747"/>
                  <a:pt x="3642" y="1744"/>
                </a:cubicBezTo>
                <a:cubicBezTo>
                  <a:pt x="3642" y="1737"/>
                  <a:pt x="3639" y="1734"/>
                  <a:pt x="3634" y="1733"/>
                </a:cubicBezTo>
                <a:cubicBezTo>
                  <a:pt x="3634" y="1733"/>
                  <a:pt x="3634" y="1733"/>
                  <a:pt x="3634" y="1733"/>
                </a:cubicBezTo>
                <a:cubicBezTo>
                  <a:pt x="3639" y="1732"/>
                  <a:pt x="3642" y="1729"/>
                  <a:pt x="3642" y="1722"/>
                </a:cubicBezTo>
                <a:cubicBezTo>
                  <a:pt x="3642" y="1719"/>
                  <a:pt x="3642" y="1717"/>
                  <a:pt x="3642" y="1716"/>
                </a:cubicBezTo>
                <a:cubicBezTo>
                  <a:pt x="3642" y="1714"/>
                  <a:pt x="3642" y="1712"/>
                  <a:pt x="3642" y="1711"/>
                </a:cubicBezTo>
                <a:cubicBezTo>
                  <a:pt x="3642" y="1707"/>
                  <a:pt x="3643" y="1705"/>
                  <a:pt x="3646" y="1705"/>
                </a:cubicBezTo>
                <a:cubicBezTo>
                  <a:pt x="3646" y="1705"/>
                  <a:pt x="3646" y="1705"/>
                  <a:pt x="3648" y="1705"/>
                </a:cubicBezTo>
                <a:cubicBezTo>
                  <a:pt x="3648" y="1705"/>
                  <a:pt x="3648" y="1705"/>
                  <a:pt x="3648" y="1696"/>
                </a:cubicBezTo>
                <a:cubicBezTo>
                  <a:pt x="3648" y="1696"/>
                  <a:pt x="3648" y="1696"/>
                  <a:pt x="3644" y="1696"/>
                </a:cubicBezTo>
                <a:cubicBezTo>
                  <a:pt x="3635" y="1696"/>
                  <a:pt x="3630" y="1700"/>
                  <a:pt x="3630" y="1708"/>
                </a:cubicBezTo>
                <a:cubicBezTo>
                  <a:pt x="3630" y="1711"/>
                  <a:pt x="3630" y="1713"/>
                  <a:pt x="3630" y="1716"/>
                </a:cubicBezTo>
                <a:cubicBezTo>
                  <a:pt x="3630" y="1718"/>
                  <a:pt x="3631" y="1721"/>
                  <a:pt x="3631" y="1723"/>
                </a:cubicBezTo>
                <a:cubicBezTo>
                  <a:pt x="3631" y="1725"/>
                  <a:pt x="3630" y="1729"/>
                  <a:pt x="3624" y="1729"/>
                </a:cubicBezTo>
                <a:close/>
                <a:moveTo>
                  <a:pt x="3679" y="1737"/>
                </a:moveTo>
                <a:cubicBezTo>
                  <a:pt x="3679" y="1737"/>
                  <a:pt x="3679" y="1737"/>
                  <a:pt x="3679" y="1737"/>
                </a:cubicBezTo>
                <a:cubicBezTo>
                  <a:pt x="3679" y="1729"/>
                  <a:pt x="3679" y="1729"/>
                  <a:pt x="3679" y="1729"/>
                </a:cubicBezTo>
                <a:cubicBezTo>
                  <a:pt x="3673" y="1729"/>
                  <a:pt x="3672" y="1725"/>
                  <a:pt x="3672" y="1723"/>
                </a:cubicBezTo>
                <a:cubicBezTo>
                  <a:pt x="3672" y="1721"/>
                  <a:pt x="3672" y="1718"/>
                  <a:pt x="3673" y="1716"/>
                </a:cubicBezTo>
                <a:cubicBezTo>
                  <a:pt x="3673" y="1713"/>
                  <a:pt x="3673" y="1711"/>
                  <a:pt x="3673" y="1708"/>
                </a:cubicBezTo>
                <a:cubicBezTo>
                  <a:pt x="3673" y="1700"/>
                  <a:pt x="3668" y="1696"/>
                  <a:pt x="3658" y="1696"/>
                </a:cubicBezTo>
                <a:cubicBezTo>
                  <a:pt x="3658" y="1696"/>
                  <a:pt x="3658" y="1696"/>
                  <a:pt x="3655" y="1696"/>
                </a:cubicBezTo>
                <a:cubicBezTo>
                  <a:pt x="3655" y="1696"/>
                  <a:pt x="3655" y="1696"/>
                  <a:pt x="3655" y="1705"/>
                </a:cubicBezTo>
                <a:cubicBezTo>
                  <a:pt x="3655" y="1705"/>
                  <a:pt x="3655" y="1705"/>
                  <a:pt x="3656" y="1705"/>
                </a:cubicBezTo>
                <a:cubicBezTo>
                  <a:pt x="3660" y="1705"/>
                  <a:pt x="3661" y="1707"/>
                  <a:pt x="3661" y="1711"/>
                </a:cubicBezTo>
                <a:cubicBezTo>
                  <a:pt x="3661" y="1712"/>
                  <a:pt x="3661" y="1714"/>
                  <a:pt x="3661" y="1716"/>
                </a:cubicBezTo>
                <a:cubicBezTo>
                  <a:pt x="3661" y="1717"/>
                  <a:pt x="3661" y="1719"/>
                  <a:pt x="3661" y="1722"/>
                </a:cubicBezTo>
                <a:cubicBezTo>
                  <a:pt x="3661" y="1729"/>
                  <a:pt x="3663" y="1732"/>
                  <a:pt x="3669" y="1733"/>
                </a:cubicBezTo>
                <a:cubicBezTo>
                  <a:pt x="3669" y="1733"/>
                  <a:pt x="3669" y="1733"/>
                  <a:pt x="3669" y="1733"/>
                </a:cubicBezTo>
                <a:cubicBezTo>
                  <a:pt x="3663" y="1734"/>
                  <a:pt x="3661" y="1737"/>
                  <a:pt x="3661" y="1744"/>
                </a:cubicBezTo>
                <a:cubicBezTo>
                  <a:pt x="3661" y="1747"/>
                  <a:pt x="3661" y="1749"/>
                  <a:pt x="3661" y="1750"/>
                </a:cubicBezTo>
                <a:cubicBezTo>
                  <a:pt x="3661" y="1752"/>
                  <a:pt x="3661" y="1754"/>
                  <a:pt x="3661" y="1755"/>
                </a:cubicBezTo>
                <a:cubicBezTo>
                  <a:pt x="3661" y="1759"/>
                  <a:pt x="3660" y="1761"/>
                  <a:pt x="3656" y="1761"/>
                </a:cubicBezTo>
                <a:cubicBezTo>
                  <a:pt x="3656" y="1761"/>
                  <a:pt x="3656" y="1761"/>
                  <a:pt x="3655" y="1761"/>
                </a:cubicBezTo>
                <a:cubicBezTo>
                  <a:pt x="3655" y="1761"/>
                  <a:pt x="3655" y="1761"/>
                  <a:pt x="3655" y="1770"/>
                </a:cubicBezTo>
                <a:cubicBezTo>
                  <a:pt x="3655" y="1770"/>
                  <a:pt x="3655" y="1770"/>
                  <a:pt x="3658" y="1770"/>
                </a:cubicBezTo>
                <a:cubicBezTo>
                  <a:pt x="3667" y="1770"/>
                  <a:pt x="3673" y="1767"/>
                  <a:pt x="3673" y="1757"/>
                </a:cubicBezTo>
                <a:cubicBezTo>
                  <a:pt x="3673" y="1755"/>
                  <a:pt x="3673" y="1753"/>
                  <a:pt x="3673" y="1750"/>
                </a:cubicBezTo>
                <a:cubicBezTo>
                  <a:pt x="3672" y="1748"/>
                  <a:pt x="3672" y="1745"/>
                  <a:pt x="3672" y="1743"/>
                </a:cubicBezTo>
                <a:cubicBezTo>
                  <a:pt x="3672" y="1741"/>
                  <a:pt x="3673" y="1738"/>
                  <a:pt x="3679" y="1737"/>
                </a:cubicBezTo>
                <a:close/>
                <a:moveTo>
                  <a:pt x="3799" y="1770"/>
                </a:moveTo>
                <a:cubicBezTo>
                  <a:pt x="3792" y="1770"/>
                  <a:pt x="3785" y="1767"/>
                  <a:pt x="3781" y="1761"/>
                </a:cubicBezTo>
                <a:cubicBezTo>
                  <a:pt x="3777" y="1755"/>
                  <a:pt x="3775" y="1746"/>
                  <a:pt x="3775" y="1733"/>
                </a:cubicBezTo>
                <a:cubicBezTo>
                  <a:pt x="3775" y="1720"/>
                  <a:pt x="3777" y="1711"/>
                  <a:pt x="3782" y="1704"/>
                </a:cubicBezTo>
                <a:cubicBezTo>
                  <a:pt x="3786" y="1697"/>
                  <a:pt x="3793" y="1694"/>
                  <a:pt x="3801" y="1694"/>
                </a:cubicBezTo>
                <a:cubicBezTo>
                  <a:pt x="3817" y="1694"/>
                  <a:pt x="3825" y="1706"/>
                  <a:pt x="3825" y="1732"/>
                </a:cubicBezTo>
                <a:cubicBezTo>
                  <a:pt x="3825" y="1744"/>
                  <a:pt x="3823" y="1754"/>
                  <a:pt x="3818" y="1761"/>
                </a:cubicBezTo>
                <a:cubicBezTo>
                  <a:pt x="3814" y="1767"/>
                  <a:pt x="3807" y="1770"/>
                  <a:pt x="3799" y="1770"/>
                </a:cubicBezTo>
                <a:close/>
                <a:moveTo>
                  <a:pt x="3801" y="1703"/>
                </a:moveTo>
                <a:cubicBezTo>
                  <a:pt x="3791" y="1703"/>
                  <a:pt x="3787" y="1714"/>
                  <a:pt x="3787" y="1733"/>
                </a:cubicBezTo>
                <a:cubicBezTo>
                  <a:pt x="3787" y="1752"/>
                  <a:pt x="3791" y="1761"/>
                  <a:pt x="3800" y="1761"/>
                </a:cubicBezTo>
                <a:cubicBezTo>
                  <a:pt x="3809" y="1761"/>
                  <a:pt x="3813" y="1752"/>
                  <a:pt x="3813" y="1733"/>
                </a:cubicBezTo>
                <a:cubicBezTo>
                  <a:pt x="3813" y="1713"/>
                  <a:pt x="3809" y="1703"/>
                  <a:pt x="3801" y="1703"/>
                </a:cubicBezTo>
                <a:close/>
                <a:moveTo>
                  <a:pt x="3869" y="1697"/>
                </a:moveTo>
                <a:cubicBezTo>
                  <a:pt x="3869" y="1697"/>
                  <a:pt x="3869" y="1697"/>
                  <a:pt x="3869" y="1697"/>
                </a:cubicBezTo>
                <a:cubicBezTo>
                  <a:pt x="3864" y="1697"/>
                  <a:pt x="3864" y="1697"/>
                  <a:pt x="3864" y="1697"/>
                </a:cubicBezTo>
                <a:cubicBezTo>
                  <a:pt x="3861" y="1698"/>
                  <a:pt x="3860" y="1700"/>
                  <a:pt x="3858" y="1700"/>
                </a:cubicBezTo>
                <a:cubicBezTo>
                  <a:pt x="3856" y="1702"/>
                  <a:pt x="3854" y="1702"/>
                  <a:pt x="3853" y="1703"/>
                </a:cubicBezTo>
                <a:cubicBezTo>
                  <a:pt x="3850" y="1704"/>
                  <a:pt x="3849" y="1705"/>
                  <a:pt x="3848" y="1705"/>
                </a:cubicBezTo>
                <a:cubicBezTo>
                  <a:pt x="3845" y="1706"/>
                  <a:pt x="3844" y="1707"/>
                  <a:pt x="3842" y="1708"/>
                </a:cubicBezTo>
                <a:cubicBezTo>
                  <a:pt x="3842" y="1708"/>
                  <a:pt x="3842" y="1708"/>
                  <a:pt x="3842" y="1718"/>
                </a:cubicBezTo>
                <a:cubicBezTo>
                  <a:pt x="3845" y="1717"/>
                  <a:pt x="3848" y="1716"/>
                  <a:pt x="3850" y="1715"/>
                </a:cubicBezTo>
                <a:cubicBezTo>
                  <a:pt x="3853" y="1714"/>
                  <a:pt x="3855" y="1713"/>
                  <a:pt x="3857" y="1711"/>
                </a:cubicBezTo>
                <a:cubicBezTo>
                  <a:pt x="3857" y="1711"/>
                  <a:pt x="3857" y="1711"/>
                  <a:pt x="3857" y="1770"/>
                </a:cubicBezTo>
                <a:cubicBezTo>
                  <a:pt x="3857" y="1770"/>
                  <a:pt x="3857" y="1770"/>
                  <a:pt x="3869" y="1770"/>
                </a:cubicBezTo>
                <a:cubicBezTo>
                  <a:pt x="3869" y="1770"/>
                  <a:pt x="3869" y="1770"/>
                  <a:pt x="3869" y="1697"/>
                </a:cubicBezTo>
                <a:close/>
                <a:moveTo>
                  <a:pt x="2065" y="1639"/>
                </a:moveTo>
                <a:cubicBezTo>
                  <a:pt x="2066" y="1640"/>
                  <a:pt x="2066" y="1642"/>
                  <a:pt x="2067" y="1643"/>
                </a:cubicBezTo>
                <a:cubicBezTo>
                  <a:pt x="2067" y="1645"/>
                  <a:pt x="2068" y="1647"/>
                  <a:pt x="2068" y="1648"/>
                </a:cubicBezTo>
                <a:cubicBezTo>
                  <a:pt x="2068" y="1650"/>
                  <a:pt x="2068" y="1652"/>
                  <a:pt x="2068" y="1653"/>
                </a:cubicBezTo>
                <a:cubicBezTo>
                  <a:pt x="2069" y="1656"/>
                  <a:pt x="2068" y="1658"/>
                  <a:pt x="2065" y="1658"/>
                </a:cubicBezTo>
                <a:cubicBezTo>
                  <a:pt x="2062" y="1658"/>
                  <a:pt x="2059" y="1657"/>
                  <a:pt x="2057" y="1657"/>
                </a:cubicBezTo>
                <a:cubicBezTo>
                  <a:pt x="2056" y="1657"/>
                  <a:pt x="2055" y="1657"/>
                  <a:pt x="2055" y="1658"/>
                </a:cubicBezTo>
                <a:cubicBezTo>
                  <a:pt x="2054" y="1659"/>
                  <a:pt x="2052" y="1661"/>
                  <a:pt x="2051" y="1662"/>
                </a:cubicBezTo>
                <a:cubicBezTo>
                  <a:pt x="2049" y="1665"/>
                  <a:pt x="2046" y="1665"/>
                  <a:pt x="2043" y="1663"/>
                </a:cubicBezTo>
                <a:cubicBezTo>
                  <a:pt x="2041" y="1661"/>
                  <a:pt x="2040" y="1658"/>
                  <a:pt x="2039" y="1656"/>
                </a:cubicBezTo>
                <a:cubicBezTo>
                  <a:pt x="2038" y="1654"/>
                  <a:pt x="2038" y="1652"/>
                  <a:pt x="2041" y="1651"/>
                </a:cubicBezTo>
                <a:cubicBezTo>
                  <a:pt x="2038" y="1651"/>
                  <a:pt x="2036" y="1651"/>
                  <a:pt x="2035" y="1651"/>
                </a:cubicBezTo>
                <a:cubicBezTo>
                  <a:pt x="2034" y="1653"/>
                  <a:pt x="2033" y="1655"/>
                  <a:pt x="2032" y="1657"/>
                </a:cubicBezTo>
                <a:cubicBezTo>
                  <a:pt x="2032" y="1657"/>
                  <a:pt x="2032" y="1658"/>
                  <a:pt x="2032" y="1659"/>
                </a:cubicBezTo>
                <a:cubicBezTo>
                  <a:pt x="2032" y="1662"/>
                  <a:pt x="2030" y="1663"/>
                  <a:pt x="2027" y="1663"/>
                </a:cubicBezTo>
                <a:cubicBezTo>
                  <a:pt x="2024" y="1663"/>
                  <a:pt x="2021" y="1662"/>
                  <a:pt x="2018" y="1661"/>
                </a:cubicBezTo>
                <a:cubicBezTo>
                  <a:pt x="2016" y="1660"/>
                  <a:pt x="2016" y="1659"/>
                  <a:pt x="2016" y="1657"/>
                </a:cubicBezTo>
                <a:cubicBezTo>
                  <a:pt x="2017" y="1656"/>
                  <a:pt x="2017" y="1655"/>
                  <a:pt x="2017" y="1655"/>
                </a:cubicBezTo>
                <a:cubicBezTo>
                  <a:pt x="2015" y="1654"/>
                  <a:pt x="2012" y="1653"/>
                  <a:pt x="2010" y="1652"/>
                </a:cubicBezTo>
                <a:cubicBezTo>
                  <a:pt x="2009" y="1651"/>
                  <a:pt x="2008" y="1649"/>
                  <a:pt x="2007" y="1647"/>
                </a:cubicBezTo>
                <a:cubicBezTo>
                  <a:pt x="2006" y="1645"/>
                  <a:pt x="2006" y="1644"/>
                  <a:pt x="2008" y="1642"/>
                </a:cubicBezTo>
                <a:cubicBezTo>
                  <a:pt x="2012" y="1640"/>
                  <a:pt x="2012" y="1637"/>
                  <a:pt x="2012" y="1633"/>
                </a:cubicBezTo>
                <a:cubicBezTo>
                  <a:pt x="2012" y="1631"/>
                  <a:pt x="2012" y="1629"/>
                  <a:pt x="2012" y="1627"/>
                </a:cubicBezTo>
                <a:cubicBezTo>
                  <a:pt x="2010" y="1626"/>
                  <a:pt x="2008" y="1626"/>
                  <a:pt x="2008" y="1625"/>
                </a:cubicBezTo>
                <a:cubicBezTo>
                  <a:pt x="2006" y="1623"/>
                  <a:pt x="2006" y="1621"/>
                  <a:pt x="2006" y="1619"/>
                </a:cubicBezTo>
                <a:cubicBezTo>
                  <a:pt x="2005" y="1616"/>
                  <a:pt x="2009" y="1614"/>
                  <a:pt x="2012" y="1613"/>
                </a:cubicBezTo>
                <a:cubicBezTo>
                  <a:pt x="2012" y="1614"/>
                  <a:pt x="2012" y="1614"/>
                  <a:pt x="2012" y="1615"/>
                </a:cubicBezTo>
                <a:cubicBezTo>
                  <a:pt x="2012" y="1616"/>
                  <a:pt x="2012" y="1617"/>
                  <a:pt x="2013" y="1618"/>
                </a:cubicBezTo>
                <a:cubicBezTo>
                  <a:pt x="2012" y="1618"/>
                  <a:pt x="2012" y="1618"/>
                  <a:pt x="2011" y="1618"/>
                </a:cubicBezTo>
                <a:cubicBezTo>
                  <a:pt x="2011" y="1619"/>
                  <a:pt x="2010" y="1620"/>
                  <a:pt x="2010" y="1622"/>
                </a:cubicBezTo>
                <a:cubicBezTo>
                  <a:pt x="2011" y="1622"/>
                  <a:pt x="2012" y="1622"/>
                  <a:pt x="2012" y="1621"/>
                </a:cubicBezTo>
                <a:cubicBezTo>
                  <a:pt x="2013" y="1620"/>
                  <a:pt x="2014" y="1619"/>
                  <a:pt x="2015" y="1618"/>
                </a:cubicBezTo>
                <a:cubicBezTo>
                  <a:pt x="2019" y="1612"/>
                  <a:pt x="2025" y="1608"/>
                  <a:pt x="2033" y="1606"/>
                </a:cubicBezTo>
                <a:cubicBezTo>
                  <a:pt x="2036" y="1606"/>
                  <a:pt x="2039" y="1604"/>
                  <a:pt x="2041" y="1602"/>
                </a:cubicBezTo>
                <a:cubicBezTo>
                  <a:pt x="2041" y="1601"/>
                  <a:pt x="2042" y="1601"/>
                  <a:pt x="2043" y="1601"/>
                </a:cubicBezTo>
                <a:cubicBezTo>
                  <a:pt x="2045" y="1600"/>
                  <a:pt x="2047" y="1598"/>
                  <a:pt x="2049" y="1596"/>
                </a:cubicBezTo>
                <a:cubicBezTo>
                  <a:pt x="2056" y="1589"/>
                  <a:pt x="2068" y="1588"/>
                  <a:pt x="2076" y="1595"/>
                </a:cubicBezTo>
                <a:cubicBezTo>
                  <a:pt x="2078" y="1597"/>
                  <a:pt x="2081" y="1599"/>
                  <a:pt x="2083" y="1601"/>
                </a:cubicBezTo>
                <a:cubicBezTo>
                  <a:pt x="2085" y="1602"/>
                  <a:pt x="2086" y="1604"/>
                  <a:pt x="2087" y="1606"/>
                </a:cubicBezTo>
                <a:cubicBezTo>
                  <a:pt x="2088" y="1607"/>
                  <a:pt x="2089" y="1607"/>
                  <a:pt x="2090" y="1606"/>
                </a:cubicBezTo>
                <a:cubicBezTo>
                  <a:pt x="2091" y="1606"/>
                  <a:pt x="2092" y="1605"/>
                  <a:pt x="2092" y="1604"/>
                </a:cubicBezTo>
                <a:cubicBezTo>
                  <a:pt x="2094" y="1601"/>
                  <a:pt x="2097" y="1601"/>
                  <a:pt x="2099" y="1604"/>
                </a:cubicBezTo>
                <a:cubicBezTo>
                  <a:pt x="2100" y="1608"/>
                  <a:pt x="2101" y="1610"/>
                  <a:pt x="2101" y="1614"/>
                </a:cubicBezTo>
                <a:cubicBezTo>
                  <a:pt x="2102" y="1618"/>
                  <a:pt x="2101" y="1622"/>
                  <a:pt x="2100" y="1627"/>
                </a:cubicBezTo>
                <a:cubicBezTo>
                  <a:pt x="2097" y="1633"/>
                  <a:pt x="2093" y="1636"/>
                  <a:pt x="2086" y="1636"/>
                </a:cubicBezTo>
                <a:cubicBezTo>
                  <a:pt x="2085" y="1636"/>
                  <a:pt x="2085" y="1636"/>
                  <a:pt x="2084" y="1636"/>
                </a:cubicBezTo>
                <a:cubicBezTo>
                  <a:pt x="2082" y="1636"/>
                  <a:pt x="2081" y="1636"/>
                  <a:pt x="2080" y="1639"/>
                </a:cubicBezTo>
                <a:cubicBezTo>
                  <a:pt x="2078" y="1643"/>
                  <a:pt x="2073" y="1645"/>
                  <a:pt x="2069" y="1642"/>
                </a:cubicBezTo>
                <a:cubicBezTo>
                  <a:pt x="2068" y="1640"/>
                  <a:pt x="2067" y="1640"/>
                  <a:pt x="2066" y="1638"/>
                </a:cubicBezTo>
                <a:cubicBezTo>
                  <a:pt x="2066" y="1639"/>
                  <a:pt x="2066" y="1639"/>
                  <a:pt x="2065" y="1639"/>
                </a:cubicBezTo>
                <a:close/>
                <a:moveTo>
                  <a:pt x="2060" y="1635"/>
                </a:moveTo>
                <a:cubicBezTo>
                  <a:pt x="2063" y="1636"/>
                  <a:pt x="2067" y="1637"/>
                  <a:pt x="2070" y="1640"/>
                </a:cubicBezTo>
                <a:cubicBezTo>
                  <a:pt x="2071" y="1642"/>
                  <a:pt x="2073" y="1642"/>
                  <a:pt x="2075" y="1642"/>
                </a:cubicBezTo>
                <a:cubicBezTo>
                  <a:pt x="2078" y="1641"/>
                  <a:pt x="2079" y="1639"/>
                  <a:pt x="2079" y="1636"/>
                </a:cubicBezTo>
                <a:cubicBezTo>
                  <a:pt x="2079" y="1636"/>
                  <a:pt x="2078" y="1636"/>
                  <a:pt x="2078" y="1636"/>
                </a:cubicBezTo>
                <a:cubicBezTo>
                  <a:pt x="2078" y="1638"/>
                  <a:pt x="2077" y="1639"/>
                  <a:pt x="2076" y="1640"/>
                </a:cubicBezTo>
                <a:cubicBezTo>
                  <a:pt x="2075" y="1641"/>
                  <a:pt x="2074" y="1641"/>
                  <a:pt x="2073" y="1640"/>
                </a:cubicBezTo>
                <a:cubicBezTo>
                  <a:pt x="2072" y="1640"/>
                  <a:pt x="2072" y="1639"/>
                  <a:pt x="2072" y="1638"/>
                </a:cubicBezTo>
                <a:cubicBezTo>
                  <a:pt x="2072" y="1636"/>
                  <a:pt x="2072" y="1634"/>
                  <a:pt x="2072" y="1632"/>
                </a:cubicBezTo>
                <a:cubicBezTo>
                  <a:pt x="2075" y="1633"/>
                  <a:pt x="2079" y="1634"/>
                  <a:pt x="2082" y="1635"/>
                </a:cubicBezTo>
                <a:cubicBezTo>
                  <a:pt x="2090" y="1636"/>
                  <a:pt x="2095" y="1634"/>
                  <a:pt x="2099" y="1625"/>
                </a:cubicBezTo>
                <a:cubicBezTo>
                  <a:pt x="2100" y="1621"/>
                  <a:pt x="2100" y="1616"/>
                  <a:pt x="2099" y="1611"/>
                </a:cubicBezTo>
                <a:cubicBezTo>
                  <a:pt x="2099" y="1609"/>
                  <a:pt x="2098" y="1607"/>
                  <a:pt x="2097" y="1605"/>
                </a:cubicBezTo>
                <a:cubicBezTo>
                  <a:pt x="2096" y="1604"/>
                  <a:pt x="2095" y="1603"/>
                  <a:pt x="2094" y="1605"/>
                </a:cubicBezTo>
                <a:cubicBezTo>
                  <a:pt x="2092" y="1606"/>
                  <a:pt x="2091" y="1608"/>
                  <a:pt x="2089" y="1609"/>
                </a:cubicBezTo>
                <a:cubicBezTo>
                  <a:pt x="2088" y="1609"/>
                  <a:pt x="2087" y="1610"/>
                  <a:pt x="2088" y="1611"/>
                </a:cubicBezTo>
                <a:cubicBezTo>
                  <a:pt x="2088" y="1614"/>
                  <a:pt x="2088" y="1617"/>
                  <a:pt x="2086" y="1621"/>
                </a:cubicBezTo>
                <a:cubicBezTo>
                  <a:pt x="2086" y="1619"/>
                  <a:pt x="2087" y="1617"/>
                  <a:pt x="2087" y="1615"/>
                </a:cubicBezTo>
                <a:cubicBezTo>
                  <a:pt x="2087" y="1614"/>
                  <a:pt x="2086" y="1614"/>
                  <a:pt x="2086" y="1614"/>
                </a:cubicBezTo>
                <a:cubicBezTo>
                  <a:pt x="2086" y="1614"/>
                  <a:pt x="2085" y="1614"/>
                  <a:pt x="2085" y="1614"/>
                </a:cubicBezTo>
                <a:cubicBezTo>
                  <a:pt x="2084" y="1616"/>
                  <a:pt x="2083" y="1617"/>
                  <a:pt x="2083" y="1618"/>
                </a:cubicBezTo>
                <a:cubicBezTo>
                  <a:pt x="2082" y="1618"/>
                  <a:pt x="2082" y="1618"/>
                  <a:pt x="2082" y="1618"/>
                </a:cubicBezTo>
                <a:cubicBezTo>
                  <a:pt x="2083" y="1617"/>
                  <a:pt x="2083" y="1615"/>
                  <a:pt x="2083" y="1613"/>
                </a:cubicBezTo>
                <a:cubicBezTo>
                  <a:pt x="2082" y="1614"/>
                  <a:pt x="2082" y="1614"/>
                  <a:pt x="2081" y="1615"/>
                </a:cubicBezTo>
                <a:cubicBezTo>
                  <a:pt x="2081" y="1615"/>
                  <a:pt x="2080" y="1616"/>
                  <a:pt x="2080" y="1617"/>
                </a:cubicBezTo>
                <a:cubicBezTo>
                  <a:pt x="2080" y="1613"/>
                  <a:pt x="2081" y="1613"/>
                  <a:pt x="2086" y="1612"/>
                </a:cubicBezTo>
                <a:cubicBezTo>
                  <a:pt x="2086" y="1612"/>
                  <a:pt x="2085" y="1611"/>
                  <a:pt x="2085" y="1611"/>
                </a:cubicBezTo>
                <a:cubicBezTo>
                  <a:pt x="2083" y="1612"/>
                  <a:pt x="2082" y="1610"/>
                  <a:pt x="2081" y="1608"/>
                </a:cubicBezTo>
                <a:cubicBezTo>
                  <a:pt x="2083" y="1607"/>
                  <a:pt x="2085" y="1607"/>
                  <a:pt x="2086" y="1606"/>
                </a:cubicBezTo>
                <a:cubicBezTo>
                  <a:pt x="2085" y="1604"/>
                  <a:pt x="2083" y="1601"/>
                  <a:pt x="2080" y="1601"/>
                </a:cubicBezTo>
                <a:cubicBezTo>
                  <a:pt x="2079" y="1601"/>
                  <a:pt x="2079" y="1600"/>
                  <a:pt x="2079" y="1600"/>
                </a:cubicBezTo>
                <a:cubicBezTo>
                  <a:pt x="2077" y="1598"/>
                  <a:pt x="2074" y="1596"/>
                  <a:pt x="2072" y="1594"/>
                </a:cubicBezTo>
                <a:cubicBezTo>
                  <a:pt x="2069" y="1593"/>
                  <a:pt x="2066" y="1592"/>
                  <a:pt x="2064" y="1592"/>
                </a:cubicBezTo>
                <a:cubicBezTo>
                  <a:pt x="2061" y="1592"/>
                  <a:pt x="2058" y="1593"/>
                  <a:pt x="2055" y="1594"/>
                </a:cubicBezTo>
                <a:cubicBezTo>
                  <a:pt x="2052" y="1595"/>
                  <a:pt x="2049" y="1597"/>
                  <a:pt x="2048" y="1600"/>
                </a:cubicBezTo>
                <a:cubicBezTo>
                  <a:pt x="2049" y="1600"/>
                  <a:pt x="2050" y="1600"/>
                  <a:pt x="2052" y="1600"/>
                </a:cubicBezTo>
                <a:cubicBezTo>
                  <a:pt x="2051" y="1600"/>
                  <a:pt x="2050" y="1601"/>
                  <a:pt x="2050" y="1601"/>
                </a:cubicBezTo>
                <a:cubicBezTo>
                  <a:pt x="2047" y="1602"/>
                  <a:pt x="2045" y="1601"/>
                  <a:pt x="2043" y="1603"/>
                </a:cubicBezTo>
                <a:cubicBezTo>
                  <a:pt x="2039" y="1607"/>
                  <a:pt x="2035" y="1611"/>
                  <a:pt x="2032" y="1615"/>
                </a:cubicBezTo>
                <a:cubicBezTo>
                  <a:pt x="2030" y="1617"/>
                  <a:pt x="2029" y="1619"/>
                  <a:pt x="2028" y="1622"/>
                </a:cubicBezTo>
                <a:cubicBezTo>
                  <a:pt x="2028" y="1622"/>
                  <a:pt x="2028" y="1623"/>
                  <a:pt x="2028" y="1623"/>
                </a:cubicBezTo>
                <a:cubicBezTo>
                  <a:pt x="2030" y="1625"/>
                  <a:pt x="2031" y="1627"/>
                  <a:pt x="2032" y="1629"/>
                </a:cubicBezTo>
                <a:cubicBezTo>
                  <a:pt x="2034" y="1628"/>
                  <a:pt x="2035" y="1626"/>
                  <a:pt x="2036" y="1625"/>
                </a:cubicBezTo>
                <a:cubicBezTo>
                  <a:pt x="2035" y="1626"/>
                  <a:pt x="2035" y="1627"/>
                  <a:pt x="2034" y="1629"/>
                </a:cubicBezTo>
                <a:cubicBezTo>
                  <a:pt x="2034" y="1630"/>
                  <a:pt x="2033" y="1631"/>
                  <a:pt x="2032" y="1633"/>
                </a:cubicBezTo>
                <a:cubicBezTo>
                  <a:pt x="2032" y="1634"/>
                  <a:pt x="2032" y="1635"/>
                  <a:pt x="2033" y="1636"/>
                </a:cubicBezTo>
                <a:cubicBezTo>
                  <a:pt x="2035" y="1639"/>
                  <a:pt x="2038" y="1639"/>
                  <a:pt x="2042" y="1637"/>
                </a:cubicBezTo>
                <a:cubicBezTo>
                  <a:pt x="2045" y="1636"/>
                  <a:pt x="2047" y="1635"/>
                  <a:pt x="2050" y="1634"/>
                </a:cubicBezTo>
                <a:cubicBezTo>
                  <a:pt x="2052" y="1633"/>
                  <a:pt x="2053" y="1633"/>
                  <a:pt x="2053" y="1631"/>
                </a:cubicBezTo>
                <a:cubicBezTo>
                  <a:pt x="2053" y="1628"/>
                  <a:pt x="2053" y="1624"/>
                  <a:pt x="2053" y="1621"/>
                </a:cubicBezTo>
                <a:cubicBezTo>
                  <a:pt x="2053" y="1618"/>
                  <a:pt x="2053" y="1615"/>
                  <a:pt x="2053" y="1612"/>
                </a:cubicBezTo>
                <a:cubicBezTo>
                  <a:pt x="2054" y="1615"/>
                  <a:pt x="2054" y="1617"/>
                  <a:pt x="2054" y="1620"/>
                </a:cubicBezTo>
                <a:cubicBezTo>
                  <a:pt x="2055" y="1625"/>
                  <a:pt x="2055" y="1629"/>
                  <a:pt x="2054" y="1633"/>
                </a:cubicBezTo>
                <a:cubicBezTo>
                  <a:pt x="2054" y="1634"/>
                  <a:pt x="2053" y="1635"/>
                  <a:pt x="2052" y="1635"/>
                </a:cubicBezTo>
                <a:cubicBezTo>
                  <a:pt x="2049" y="1635"/>
                  <a:pt x="2046" y="1637"/>
                  <a:pt x="2043" y="1639"/>
                </a:cubicBezTo>
                <a:cubicBezTo>
                  <a:pt x="2037" y="1642"/>
                  <a:pt x="2034" y="1640"/>
                  <a:pt x="2030" y="1636"/>
                </a:cubicBezTo>
                <a:cubicBezTo>
                  <a:pt x="2030" y="1636"/>
                  <a:pt x="2030" y="1635"/>
                  <a:pt x="2030" y="1634"/>
                </a:cubicBezTo>
                <a:cubicBezTo>
                  <a:pt x="2032" y="1632"/>
                  <a:pt x="2030" y="1630"/>
                  <a:pt x="2029" y="1628"/>
                </a:cubicBezTo>
                <a:cubicBezTo>
                  <a:pt x="2027" y="1626"/>
                  <a:pt x="2026" y="1623"/>
                  <a:pt x="2027" y="1621"/>
                </a:cubicBezTo>
                <a:cubicBezTo>
                  <a:pt x="2027" y="1619"/>
                  <a:pt x="2028" y="1617"/>
                  <a:pt x="2030" y="1616"/>
                </a:cubicBezTo>
                <a:cubicBezTo>
                  <a:pt x="2031" y="1613"/>
                  <a:pt x="2034" y="1610"/>
                  <a:pt x="2035" y="1608"/>
                </a:cubicBezTo>
                <a:cubicBezTo>
                  <a:pt x="2035" y="1608"/>
                  <a:pt x="2034" y="1608"/>
                  <a:pt x="2034" y="1608"/>
                </a:cubicBezTo>
                <a:cubicBezTo>
                  <a:pt x="2029" y="1609"/>
                  <a:pt x="2025" y="1610"/>
                  <a:pt x="2021" y="1614"/>
                </a:cubicBezTo>
                <a:cubicBezTo>
                  <a:pt x="2016" y="1618"/>
                  <a:pt x="2014" y="1623"/>
                  <a:pt x="2013" y="1630"/>
                </a:cubicBezTo>
                <a:cubicBezTo>
                  <a:pt x="2013" y="1636"/>
                  <a:pt x="2015" y="1642"/>
                  <a:pt x="2019" y="1648"/>
                </a:cubicBezTo>
                <a:cubicBezTo>
                  <a:pt x="2019" y="1649"/>
                  <a:pt x="2020" y="1651"/>
                  <a:pt x="2019" y="1652"/>
                </a:cubicBezTo>
                <a:cubicBezTo>
                  <a:pt x="2019" y="1654"/>
                  <a:pt x="2019" y="1655"/>
                  <a:pt x="2018" y="1656"/>
                </a:cubicBezTo>
                <a:cubicBezTo>
                  <a:pt x="2018" y="1658"/>
                  <a:pt x="2018" y="1659"/>
                  <a:pt x="2019" y="1659"/>
                </a:cubicBezTo>
                <a:cubicBezTo>
                  <a:pt x="2023" y="1660"/>
                  <a:pt x="2025" y="1661"/>
                  <a:pt x="2028" y="1661"/>
                </a:cubicBezTo>
                <a:cubicBezTo>
                  <a:pt x="2029" y="1661"/>
                  <a:pt x="2030" y="1660"/>
                  <a:pt x="2030" y="1660"/>
                </a:cubicBezTo>
                <a:cubicBezTo>
                  <a:pt x="2030" y="1659"/>
                  <a:pt x="2030" y="1657"/>
                  <a:pt x="2031" y="1656"/>
                </a:cubicBezTo>
                <a:cubicBezTo>
                  <a:pt x="2033" y="1654"/>
                  <a:pt x="2033" y="1651"/>
                  <a:pt x="2033" y="1648"/>
                </a:cubicBezTo>
                <a:cubicBezTo>
                  <a:pt x="2033" y="1648"/>
                  <a:pt x="2033" y="1648"/>
                  <a:pt x="2033" y="1647"/>
                </a:cubicBezTo>
                <a:cubicBezTo>
                  <a:pt x="2033" y="1647"/>
                  <a:pt x="2033" y="1647"/>
                  <a:pt x="2033" y="1646"/>
                </a:cubicBezTo>
                <a:cubicBezTo>
                  <a:pt x="2033" y="1649"/>
                  <a:pt x="2035" y="1649"/>
                  <a:pt x="2037" y="1649"/>
                </a:cubicBezTo>
                <a:cubicBezTo>
                  <a:pt x="2037" y="1649"/>
                  <a:pt x="2039" y="1649"/>
                  <a:pt x="2039" y="1649"/>
                </a:cubicBezTo>
                <a:cubicBezTo>
                  <a:pt x="2042" y="1649"/>
                  <a:pt x="2045" y="1650"/>
                  <a:pt x="2046" y="1646"/>
                </a:cubicBezTo>
                <a:cubicBezTo>
                  <a:pt x="2046" y="1648"/>
                  <a:pt x="2046" y="1650"/>
                  <a:pt x="2046" y="1650"/>
                </a:cubicBezTo>
                <a:cubicBezTo>
                  <a:pt x="2044" y="1651"/>
                  <a:pt x="2043" y="1652"/>
                  <a:pt x="2042" y="1652"/>
                </a:cubicBezTo>
                <a:cubicBezTo>
                  <a:pt x="2040" y="1653"/>
                  <a:pt x="2040" y="1655"/>
                  <a:pt x="2041" y="1656"/>
                </a:cubicBezTo>
                <a:cubicBezTo>
                  <a:pt x="2042" y="1658"/>
                  <a:pt x="2043" y="1660"/>
                  <a:pt x="2045" y="1662"/>
                </a:cubicBezTo>
                <a:cubicBezTo>
                  <a:pt x="2046" y="1663"/>
                  <a:pt x="2048" y="1663"/>
                  <a:pt x="2050" y="1661"/>
                </a:cubicBezTo>
                <a:cubicBezTo>
                  <a:pt x="2050" y="1660"/>
                  <a:pt x="2051" y="1659"/>
                  <a:pt x="2052" y="1659"/>
                </a:cubicBezTo>
                <a:cubicBezTo>
                  <a:pt x="2053" y="1657"/>
                  <a:pt x="2055" y="1656"/>
                  <a:pt x="2056" y="1655"/>
                </a:cubicBezTo>
                <a:cubicBezTo>
                  <a:pt x="2061" y="1651"/>
                  <a:pt x="2063" y="1645"/>
                  <a:pt x="2064" y="1639"/>
                </a:cubicBezTo>
                <a:cubicBezTo>
                  <a:pt x="2064" y="1638"/>
                  <a:pt x="2063" y="1638"/>
                  <a:pt x="2063" y="1637"/>
                </a:cubicBezTo>
                <a:cubicBezTo>
                  <a:pt x="2062" y="1636"/>
                  <a:pt x="2061" y="1635"/>
                  <a:pt x="2060" y="1635"/>
                </a:cubicBezTo>
                <a:close/>
                <a:moveTo>
                  <a:pt x="2013" y="1641"/>
                </a:moveTo>
                <a:cubicBezTo>
                  <a:pt x="2012" y="1642"/>
                  <a:pt x="2010" y="1642"/>
                  <a:pt x="2009" y="1644"/>
                </a:cubicBezTo>
                <a:cubicBezTo>
                  <a:pt x="2009" y="1644"/>
                  <a:pt x="2008" y="1645"/>
                  <a:pt x="2008" y="1646"/>
                </a:cubicBezTo>
                <a:cubicBezTo>
                  <a:pt x="2008" y="1648"/>
                  <a:pt x="2013" y="1653"/>
                  <a:pt x="2016" y="1652"/>
                </a:cubicBezTo>
                <a:cubicBezTo>
                  <a:pt x="2017" y="1652"/>
                  <a:pt x="2018" y="1651"/>
                  <a:pt x="2017" y="1650"/>
                </a:cubicBezTo>
                <a:cubicBezTo>
                  <a:pt x="2016" y="1646"/>
                  <a:pt x="2014" y="1644"/>
                  <a:pt x="2013" y="1641"/>
                </a:cubicBezTo>
                <a:close/>
                <a:moveTo>
                  <a:pt x="2065" y="1643"/>
                </a:moveTo>
                <a:cubicBezTo>
                  <a:pt x="2063" y="1648"/>
                  <a:pt x="2061" y="1652"/>
                  <a:pt x="2058" y="1656"/>
                </a:cubicBezTo>
                <a:cubicBezTo>
                  <a:pt x="2061" y="1656"/>
                  <a:pt x="2063" y="1657"/>
                  <a:pt x="2066" y="1656"/>
                </a:cubicBezTo>
                <a:cubicBezTo>
                  <a:pt x="2066" y="1656"/>
                  <a:pt x="2067" y="1655"/>
                  <a:pt x="2067" y="1655"/>
                </a:cubicBezTo>
                <a:cubicBezTo>
                  <a:pt x="2067" y="1652"/>
                  <a:pt x="2067" y="1650"/>
                  <a:pt x="2066" y="1647"/>
                </a:cubicBezTo>
                <a:cubicBezTo>
                  <a:pt x="2066" y="1646"/>
                  <a:pt x="2066" y="1644"/>
                  <a:pt x="2065" y="1643"/>
                </a:cubicBezTo>
                <a:close/>
                <a:moveTo>
                  <a:pt x="2013" y="1623"/>
                </a:moveTo>
                <a:cubicBezTo>
                  <a:pt x="2012" y="1623"/>
                  <a:pt x="2011" y="1623"/>
                  <a:pt x="2011" y="1623"/>
                </a:cubicBezTo>
                <a:cubicBezTo>
                  <a:pt x="2010" y="1623"/>
                  <a:pt x="2009" y="1623"/>
                  <a:pt x="2009" y="1623"/>
                </a:cubicBezTo>
                <a:cubicBezTo>
                  <a:pt x="2009" y="1623"/>
                  <a:pt x="2008" y="1622"/>
                  <a:pt x="2008" y="1621"/>
                </a:cubicBezTo>
                <a:cubicBezTo>
                  <a:pt x="2009" y="1619"/>
                  <a:pt x="2010" y="1617"/>
                  <a:pt x="2010" y="1615"/>
                </a:cubicBezTo>
                <a:cubicBezTo>
                  <a:pt x="2010" y="1615"/>
                  <a:pt x="2010" y="1615"/>
                  <a:pt x="2010" y="1615"/>
                </a:cubicBezTo>
                <a:cubicBezTo>
                  <a:pt x="2009" y="1616"/>
                  <a:pt x="2008" y="1617"/>
                  <a:pt x="2007" y="1618"/>
                </a:cubicBezTo>
                <a:cubicBezTo>
                  <a:pt x="2006" y="1619"/>
                  <a:pt x="2008" y="1624"/>
                  <a:pt x="2009" y="1625"/>
                </a:cubicBezTo>
                <a:cubicBezTo>
                  <a:pt x="2011" y="1626"/>
                  <a:pt x="2013" y="1625"/>
                  <a:pt x="2013" y="1623"/>
                </a:cubicBezTo>
                <a:close/>
                <a:moveTo>
                  <a:pt x="2013" y="1641"/>
                </a:moveTo>
                <a:cubicBezTo>
                  <a:pt x="2012" y="1641"/>
                  <a:pt x="2010" y="1642"/>
                  <a:pt x="2009" y="1643"/>
                </a:cubicBezTo>
                <a:cubicBezTo>
                  <a:pt x="2009" y="1644"/>
                  <a:pt x="2008" y="1645"/>
                  <a:pt x="2008" y="1645"/>
                </a:cubicBezTo>
                <a:cubicBezTo>
                  <a:pt x="2008" y="1648"/>
                  <a:pt x="2013" y="1653"/>
                  <a:pt x="2016" y="1652"/>
                </a:cubicBezTo>
                <a:cubicBezTo>
                  <a:pt x="2017" y="1652"/>
                  <a:pt x="2018" y="1651"/>
                  <a:pt x="2017" y="1649"/>
                </a:cubicBezTo>
                <a:cubicBezTo>
                  <a:pt x="2016" y="1646"/>
                  <a:pt x="2014" y="1643"/>
                  <a:pt x="2013" y="1641"/>
                </a:cubicBezTo>
                <a:close/>
                <a:moveTo>
                  <a:pt x="2065" y="1642"/>
                </a:moveTo>
                <a:cubicBezTo>
                  <a:pt x="2063" y="1647"/>
                  <a:pt x="2060" y="1652"/>
                  <a:pt x="2058" y="1656"/>
                </a:cubicBezTo>
                <a:cubicBezTo>
                  <a:pt x="2061" y="1656"/>
                  <a:pt x="2063" y="1656"/>
                  <a:pt x="2066" y="1656"/>
                </a:cubicBezTo>
                <a:cubicBezTo>
                  <a:pt x="2066" y="1656"/>
                  <a:pt x="2067" y="1655"/>
                  <a:pt x="2067" y="1654"/>
                </a:cubicBezTo>
                <a:cubicBezTo>
                  <a:pt x="2067" y="1652"/>
                  <a:pt x="2067" y="1649"/>
                  <a:pt x="2066" y="1647"/>
                </a:cubicBezTo>
                <a:cubicBezTo>
                  <a:pt x="2066" y="1645"/>
                  <a:pt x="2066" y="1644"/>
                  <a:pt x="2065" y="1642"/>
                </a:cubicBezTo>
                <a:close/>
                <a:moveTo>
                  <a:pt x="2012" y="1623"/>
                </a:moveTo>
                <a:cubicBezTo>
                  <a:pt x="2012" y="1623"/>
                  <a:pt x="2011" y="1623"/>
                  <a:pt x="2011" y="1623"/>
                </a:cubicBezTo>
                <a:cubicBezTo>
                  <a:pt x="2010" y="1623"/>
                  <a:pt x="2009" y="1623"/>
                  <a:pt x="2009" y="1623"/>
                </a:cubicBezTo>
                <a:cubicBezTo>
                  <a:pt x="2009" y="1623"/>
                  <a:pt x="2008" y="1622"/>
                  <a:pt x="2008" y="1621"/>
                </a:cubicBezTo>
                <a:cubicBezTo>
                  <a:pt x="2009" y="1619"/>
                  <a:pt x="2009" y="1617"/>
                  <a:pt x="2010" y="1615"/>
                </a:cubicBezTo>
                <a:cubicBezTo>
                  <a:pt x="2010" y="1615"/>
                  <a:pt x="2010" y="1615"/>
                  <a:pt x="2009" y="1615"/>
                </a:cubicBezTo>
                <a:cubicBezTo>
                  <a:pt x="2009" y="1616"/>
                  <a:pt x="2007" y="1617"/>
                  <a:pt x="2007" y="1618"/>
                </a:cubicBezTo>
                <a:cubicBezTo>
                  <a:pt x="2006" y="1619"/>
                  <a:pt x="2007" y="1624"/>
                  <a:pt x="2009" y="1625"/>
                </a:cubicBezTo>
                <a:cubicBezTo>
                  <a:pt x="2011" y="1626"/>
                  <a:pt x="2012" y="1624"/>
                  <a:pt x="2012" y="1623"/>
                </a:cubicBezTo>
                <a:close/>
                <a:moveTo>
                  <a:pt x="2065" y="1614"/>
                </a:moveTo>
                <a:cubicBezTo>
                  <a:pt x="2068" y="1611"/>
                  <a:pt x="2068" y="1611"/>
                  <a:pt x="2072" y="1609"/>
                </a:cubicBezTo>
                <a:cubicBezTo>
                  <a:pt x="2072" y="1611"/>
                  <a:pt x="2073" y="1613"/>
                  <a:pt x="2074" y="1613"/>
                </a:cubicBezTo>
                <a:cubicBezTo>
                  <a:pt x="2072" y="1614"/>
                  <a:pt x="2070" y="1615"/>
                  <a:pt x="2068" y="1617"/>
                </a:cubicBezTo>
                <a:cubicBezTo>
                  <a:pt x="2068" y="1616"/>
                  <a:pt x="2067" y="1615"/>
                  <a:pt x="2066" y="1614"/>
                </a:cubicBezTo>
                <a:cubicBezTo>
                  <a:pt x="2066" y="1614"/>
                  <a:pt x="2066" y="1614"/>
                  <a:pt x="2065" y="1614"/>
                </a:cubicBezTo>
                <a:close/>
                <a:moveTo>
                  <a:pt x="2071" y="1614"/>
                </a:moveTo>
                <a:cubicBezTo>
                  <a:pt x="2070" y="1613"/>
                  <a:pt x="2069" y="1613"/>
                  <a:pt x="2069" y="1613"/>
                </a:cubicBezTo>
                <a:cubicBezTo>
                  <a:pt x="2068" y="1613"/>
                  <a:pt x="2068" y="1614"/>
                  <a:pt x="2068" y="1614"/>
                </a:cubicBezTo>
                <a:cubicBezTo>
                  <a:pt x="2068" y="1615"/>
                  <a:pt x="2068" y="1615"/>
                  <a:pt x="2068" y="1615"/>
                </a:cubicBezTo>
                <a:cubicBezTo>
                  <a:pt x="2069" y="1615"/>
                  <a:pt x="2069" y="1615"/>
                  <a:pt x="2071" y="1614"/>
                </a:cubicBezTo>
                <a:close/>
                <a:moveTo>
                  <a:pt x="2052" y="1604"/>
                </a:moveTo>
                <a:cubicBezTo>
                  <a:pt x="2045" y="1604"/>
                  <a:pt x="2042" y="1606"/>
                  <a:pt x="2041" y="1614"/>
                </a:cubicBezTo>
                <a:cubicBezTo>
                  <a:pt x="2042" y="1612"/>
                  <a:pt x="2044" y="1609"/>
                  <a:pt x="2045" y="1607"/>
                </a:cubicBezTo>
                <a:cubicBezTo>
                  <a:pt x="2045" y="1607"/>
                  <a:pt x="2045" y="1607"/>
                  <a:pt x="2045" y="1607"/>
                </a:cubicBezTo>
                <a:cubicBezTo>
                  <a:pt x="2045" y="1608"/>
                  <a:pt x="2046" y="1609"/>
                  <a:pt x="2046" y="1610"/>
                </a:cubicBezTo>
                <a:cubicBezTo>
                  <a:pt x="2047" y="1607"/>
                  <a:pt x="2048" y="1605"/>
                  <a:pt x="2052" y="1604"/>
                </a:cubicBezTo>
                <a:close/>
                <a:moveTo>
                  <a:pt x="2096" y="1606"/>
                </a:moveTo>
                <a:cubicBezTo>
                  <a:pt x="2094" y="1607"/>
                  <a:pt x="2092" y="1609"/>
                  <a:pt x="2090" y="1610"/>
                </a:cubicBezTo>
                <a:cubicBezTo>
                  <a:pt x="2092" y="1610"/>
                  <a:pt x="2094" y="1609"/>
                  <a:pt x="2096" y="1606"/>
                </a:cubicBezTo>
                <a:close/>
                <a:moveTo>
                  <a:pt x="2062" y="1608"/>
                </a:moveTo>
                <a:cubicBezTo>
                  <a:pt x="2063" y="1607"/>
                  <a:pt x="2064" y="1605"/>
                  <a:pt x="2066" y="1604"/>
                </a:cubicBezTo>
                <a:cubicBezTo>
                  <a:pt x="2062" y="1605"/>
                  <a:pt x="2061" y="1606"/>
                  <a:pt x="2062" y="1608"/>
                </a:cubicBezTo>
                <a:close/>
                <a:moveTo>
                  <a:pt x="2072" y="1629"/>
                </a:moveTo>
                <a:cubicBezTo>
                  <a:pt x="2070" y="1629"/>
                  <a:pt x="2070" y="1630"/>
                  <a:pt x="2070" y="1631"/>
                </a:cubicBezTo>
                <a:cubicBezTo>
                  <a:pt x="2070" y="1631"/>
                  <a:pt x="2071" y="1630"/>
                  <a:pt x="2072" y="1629"/>
                </a:cubicBezTo>
                <a:close/>
                <a:moveTo>
                  <a:pt x="2071" y="1614"/>
                </a:moveTo>
                <a:cubicBezTo>
                  <a:pt x="2070" y="1613"/>
                  <a:pt x="2069" y="1613"/>
                  <a:pt x="2069" y="1613"/>
                </a:cubicBezTo>
                <a:cubicBezTo>
                  <a:pt x="2068" y="1613"/>
                  <a:pt x="2068" y="1614"/>
                  <a:pt x="2068" y="1614"/>
                </a:cubicBezTo>
                <a:cubicBezTo>
                  <a:pt x="2068" y="1615"/>
                  <a:pt x="2068" y="1615"/>
                  <a:pt x="2068" y="1616"/>
                </a:cubicBezTo>
                <a:cubicBezTo>
                  <a:pt x="2069" y="1615"/>
                  <a:pt x="2069" y="1615"/>
                  <a:pt x="2071" y="1614"/>
                </a:cubicBezTo>
                <a:close/>
                <a:moveTo>
                  <a:pt x="3705" y="1770"/>
                </a:moveTo>
                <a:cubicBezTo>
                  <a:pt x="3708" y="1751"/>
                  <a:pt x="3708" y="1751"/>
                  <a:pt x="3708" y="1751"/>
                </a:cubicBezTo>
                <a:cubicBezTo>
                  <a:pt x="3699" y="1751"/>
                  <a:pt x="3699" y="1751"/>
                  <a:pt x="3699" y="1751"/>
                </a:cubicBezTo>
                <a:cubicBezTo>
                  <a:pt x="3699" y="1739"/>
                  <a:pt x="3699" y="1739"/>
                  <a:pt x="3699" y="1739"/>
                </a:cubicBezTo>
                <a:cubicBezTo>
                  <a:pt x="3710" y="1739"/>
                  <a:pt x="3710" y="1739"/>
                  <a:pt x="3710" y="1739"/>
                </a:cubicBezTo>
                <a:cubicBezTo>
                  <a:pt x="3712" y="1728"/>
                  <a:pt x="3712" y="1728"/>
                  <a:pt x="3712" y="1728"/>
                </a:cubicBezTo>
                <a:cubicBezTo>
                  <a:pt x="3702" y="1728"/>
                  <a:pt x="3702" y="1728"/>
                  <a:pt x="3702" y="1728"/>
                </a:cubicBezTo>
                <a:cubicBezTo>
                  <a:pt x="3702" y="1716"/>
                  <a:pt x="3702" y="1716"/>
                  <a:pt x="3702" y="1716"/>
                </a:cubicBezTo>
                <a:cubicBezTo>
                  <a:pt x="3713" y="1716"/>
                  <a:pt x="3713" y="1716"/>
                  <a:pt x="3713" y="1716"/>
                </a:cubicBezTo>
                <a:cubicBezTo>
                  <a:pt x="3716" y="1698"/>
                  <a:pt x="3716" y="1698"/>
                  <a:pt x="3716" y="1698"/>
                </a:cubicBezTo>
                <a:cubicBezTo>
                  <a:pt x="3728" y="1698"/>
                  <a:pt x="3728" y="1698"/>
                  <a:pt x="3728" y="1698"/>
                </a:cubicBezTo>
                <a:cubicBezTo>
                  <a:pt x="3725" y="1716"/>
                  <a:pt x="3725" y="1716"/>
                  <a:pt x="3725" y="1716"/>
                </a:cubicBezTo>
                <a:cubicBezTo>
                  <a:pt x="3734" y="1716"/>
                  <a:pt x="3734" y="1716"/>
                  <a:pt x="3734" y="1716"/>
                </a:cubicBezTo>
                <a:cubicBezTo>
                  <a:pt x="3737" y="1698"/>
                  <a:pt x="3737" y="1698"/>
                  <a:pt x="3737" y="1698"/>
                </a:cubicBezTo>
                <a:cubicBezTo>
                  <a:pt x="3749" y="1698"/>
                  <a:pt x="3749" y="1698"/>
                  <a:pt x="3749" y="1698"/>
                </a:cubicBezTo>
                <a:cubicBezTo>
                  <a:pt x="3745" y="1716"/>
                  <a:pt x="3745" y="1716"/>
                  <a:pt x="3745" y="1716"/>
                </a:cubicBezTo>
                <a:cubicBezTo>
                  <a:pt x="3754" y="1716"/>
                  <a:pt x="3754" y="1716"/>
                  <a:pt x="3754" y="1716"/>
                </a:cubicBezTo>
                <a:cubicBezTo>
                  <a:pt x="3754" y="1728"/>
                  <a:pt x="3754" y="1728"/>
                  <a:pt x="3754" y="1728"/>
                </a:cubicBezTo>
                <a:cubicBezTo>
                  <a:pt x="3744" y="1728"/>
                  <a:pt x="3744" y="1728"/>
                  <a:pt x="3744" y="1728"/>
                </a:cubicBezTo>
                <a:cubicBezTo>
                  <a:pt x="3742" y="1739"/>
                  <a:pt x="3742" y="1739"/>
                  <a:pt x="3742" y="1739"/>
                </a:cubicBezTo>
                <a:cubicBezTo>
                  <a:pt x="3751" y="1739"/>
                  <a:pt x="3751" y="1739"/>
                  <a:pt x="3751" y="1739"/>
                </a:cubicBezTo>
                <a:cubicBezTo>
                  <a:pt x="3751" y="1751"/>
                  <a:pt x="3751" y="1751"/>
                  <a:pt x="3751" y="1751"/>
                </a:cubicBezTo>
                <a:cubicBezTo>
                  <a:pt x="3740" y="1751"/>
                  <a:pt x="3740" y="1751"/>
                  <a:pt x="3740" y="1751"/>
                </a:cubicBezTo>
                <a:cubicBezTo>
                  <a:pt x="3738" y="1770"/>
                  <a:pt x="3738" y="1770"/>
                  <a:pt x="3738" y="1770"/>
                </a:cubicBezTo>
                <a:cubicBezTo>
                  <a:pt x="3726" y="1770"/>
                  <a:pt x="3726" y="1770"/>
                  <a:pt x="3726" y="1770"/>
                </a:cubicBezTo>
                <a:cubicBezTo>
                  <a:pt x="3729" y="1751"/>
                  <a:pt x="3729" y="1751"/>
                  <a:pt x="3729" y="1751"/>
                </a:cubicBezTo>
                <a:cubicBezTo>
                  <a:pt x="3719" y="1751"/>
                  <a:pt x="3719" y="1751"/>
                  <a:pt x="3719" y="1751"/>
                </a:cubicBezTo>
                <a:cubicBezTo>
                  <a:pt x="3716" y="1770"/>
                  <a:pt x="3716" y="1770"/>
                  <a:pt x="3716" y="1770"/>
                </a:cubicBezTo>
                <a:cubicBezTo>
                  <a:pt x="3705" y="1770"/>
                  <a:pt x="3705" y="1770"/>
                  <a:pt x="3705" y="1770"/>
                </a:cubicBezTo>
                <a:cubicBezTo>
                  <a:pt x="3705" y="1770"/>
                  <a:pt x="3705" y="1770"/>
                  <a:pt x="3705" y="1770"/>
                </a:cubicBezTo>
                <a:close/>
                <a:moveTo>
                  <a:pt x="3731" y="1739"/>
                </a:moveTo>
                <a:cubicBezTo>
                  <a:pt x="3732" y="1728"/>
                  <a:pt x="3732" y="1728"/>
                  <a:pt x="3732" y="1728"/>
                </a:cubicBezTo>
                <a:cubicBezTo>
                  <a:pt x="3723" y="1728"/>
                  <a:pt x="3723" y="1728"/>
                  <a:pt x="3723" y="1728"/>
                </a:cubicBezTo>
                <a:cubicBezTo>
                  <a:pt x="3721" y="1739"/>
                  <a:pt x="3721" y="1739"/>
                  <a:pt x="3721" y="1739"/>
                </a:cubicBezTo>
                <a:cubicBezTo>
                  <a:pt x="3731" y="1739"/>
                  <a:pt x="3731" y="1739"/>
                  <a:pt x="3731" y="1739"/>
                </a:cubicBezTo>
                <a:cubicBezTo>
                  <a:pt x="3731" y="1739"/>
                  <a:pt x="3731" y="1739"/>
                  <a:pt x="3731" y="1739"/>
                </a:cubicBezTo>
                <a:close/>
                <a:moveTo>
                  <a:pt x="2590" y="1744"/>
                </a:moveTo>
                <a:cubicBezTo>
                  <a:pt x="2590" y="1746"/>
                  <a:pt x="2591" y="1747"/>
                  <a:pt x="2592" y="1748"/>
                </a:cubicBezTo>
                <a:cubicBezTo>
                  <a:pt x="2592" y="1750"/>
                  <a:pt x="2592" y="1752"/>
                  <a:pt x="2593" y="1753"/>
                </a:cubicBezTo>
                <a:cubicBezTo>
                  <a:pt x="2593" y="1755"/>
                  <a:pt x="2593" y="1757"/>
                  <a:pt x="2593" y="1758"/>
                </a:cubicBezTo>
                <a:cubicBezTo>
                  <a:pt x="2594" y="1761"/>
                  <a:pt x="2593" y="1763"/>
                  <a:pt x="2590" y="1763"/>
                </a:cubicBezTo>
                <a:cubicBezTo>
                  <a:pt x="2587" y="1763"/>
                  <a:pt x="2584" y="1763"/>
                  <a:pt x="2581" y="1763"/>
                </a:cubicBezTo>
                <a:cubicBezTo>
                  <a:pt x="2581" y="1763"/>
                  <a:pt x="2580" y="1763"/>
                  <a:pt x="2580" y="1763"/>
                </a:cubicBezTo>
                <a:cubicBezTo>
                  <a:pt x="2578" y="1765"/>
                  <a:pt x="2577" y="1766"/>
                  <a:pt x="2575" y="1767"/>
                </a:cubicBezTo>
                <a:cubicBezTo>
                  <a:pt x="2573" y="1770"/>
                  <a:pt x="2570" y="1770"/>
                  <a:pt x="2568" y="1768"/>
                </a:cubicBezTo>
                <a:cubicBezTo>
                  <a:pt x="2566" y="1766"/>
                  <a:pt x="2565" y="1763"/>
                  <a:pt x="2563" y="1761"/>
                </a:cubicBezTo>
                <a:cubicBezTo>
                  <a:pt x="2562" y="1759"/>
                  <a:pt x="2563" y="1757"/>
                  <a:pt x="2565" y="1756"/>
                </a:cubicBezTo>
                <a:cubicBezTo>
                  <a:pt x="2562" y="1756"/>
                  <a:pt x="2561" y="1756"/>
                  <a:pt x="2559" y="1756"/>
                </a:cubicBezTo>
                <a:cubicBezTo>
                  <a:pt x="2559" y="1758"/>
                  <a:pt x="2557" y="1760"/>
                  <a:pt x="2557" y="1762"/>
                </a:cubicBezTo>
                <a:cubicBezTo>
                  <a:pt x="2557" y="1763"/>
                  <a:pt x="2556" y="1763"/>
                  <a:pt x="2556" y="1764"/>
                </a:cubicBezTo>
                <a:cubicBezTo>
                  <a:pt x="2556" y="1767"/>
                  <a:pt x="2555" y="1769"/>
                  <a:pt x="2552" y="1768"/>
                </a:cubicBezTo>
                <a:cubicBezTo>
                  <a:pt x="2549" y="1768"/>
                  <a:pt x="2546" y="1767"/>
                  <a:pt x="2543" y="1766"/>
                </a:cubicBezTo>
                <a:cubicBezTo>
                  <a:pt x="2541" y="1765"/>
                  <a:pt x="2541" y="1764"/>
                  <a:pt x="2541" y="1762"/>
                </a:cubicBezTo>
                <a:cubicBezTo>
                  <a:pt x="2541" y="1761"/>
                  <a:pt x="2541" y="1760"/>
                  <a:pt x="2542" y="1760"/>
                </a:cubicBezTo>
                <a:cubicBezTo>
                  <a:pt x="2539" y="1759"/>
                  <a:pt x="2537" y="1758"/>
                  <a:pt x="2535" y="1757"/>
                </a:cubicBezTo>
                <a:cubicBezTo>
                  <a:pt x="2534" y="1756"/>
                  <a:pt x="2533" y="1754"/>
                  <a:pt x="2532" y="1752"/>
                </a:cubicBezTo>
                <a:cubicBezTo>
                  <a:pt x="2531" y="1750"/>
                  <a:pt x="2531" y="1749"/>
                  <a:pt x="2533" y="1747"/>
                </a:cubicBezTo>
                <a:cubicBezTo>
                  <a:pt x="2536" y="1745"/>
                  <a:pt x="2537" y="1742"/>
                  <a:pt x="2536" y="1738"/>
                </a:cubicBezTo>
                <a:cubicBezTo>
                  <a:pt x="2536" y="1736"/>
                  <a:pt x="2536" y="1734"/>
                  <a:pt x="2536" y="1732"/>
                </a:cubicBezTo>
                <a:cubicBezTo>
                  <a:pt x="2535" y="1731"/>
                  <a:pt x="2533" y="1731"/>
                  <a:pt x="2532" y="1730"/>
                </a:cubicBezTo>
                <a:cubicBezTo>
                  <a:pt x="2531" y="1728"/>
                  <a:pt x="2530" y="1726"/>
                  <a:pt x="2530" y="1724"/>
                </a:cubicBezTo>
                <a:cubicBezTo>
                  <a:pt x="2530" y="1721"/>
                  <a:pt x="2533" y="1719"/>
                  <a:pt x="2536" y="1718"/>
                </a:cubicBezTo>
                <a:cubicBezTo>
                  <a:pt x="2537" y="1719"/>
                  <a:pt x="2537" y="1719"/>
                  <a:pt x="2537" y="1720"/>
                </a:cubicBezTo>
                <a:cubicBezTo>
                  <a:pt x="2537" y="1721"/>
                  <a:pt x="2537" y="1722"/>
                  <a:pt x="2537" y="1723"/>
                </a:cubicBezTo>
                <a:cubicBezTo>
                  <a:pt x="2537" y="1723"/>
                  <a:pt x="2536" y="1723"/>
                  <a:pt x="2536" y="1723"/>
                </a:cubicBezTo>
                <a:cubicBezTo>
                  <a:pt x="2535" y="1724"/>
                  <a:pt x="2535" y="1725"/>
                  <a:pt x="2534" y="1727"/>
                </a:cubicBezTo>
                <a:cubicBezTo>
                  <a:pt x="2535" y="1727"/>
                  <a:pt x="2536" y="1727"/>
                  <a:pt x="2537" y="1727"/>
                </a:cubicBezTo>
                <a:cubicBezTo>
                  <a:pt x="2538" y="1725"/>
                  <a:pt x="2539" y="1725"/>
                  <a:pt x="2539" y="1723"/>
                </a:cubicBezTo>
                <a:cubicBezTo>
                  <a:pt x="2544" y="1717"/>
                  <a:pt x="2550" y="1713"/>
                  <a:pt x="2557" y="1711"/>
                </a:cubicBezTo>
                <a:cubicBezTo>
                  <a:pt x="2561" y="1711"/>
                  <a:pt x="2564" y="1710"/>
                  <a:pt x="2566" y="1707"/>
                </a:cubicBezTo>
                <a:cubicBezTo>
                  <a:pt x="2566" y="1706"/>
                  <a:pt x="2567" y="1706"/>
                  <a:pt x="2567" y="1706"/>
                </a:cubicBezTo>
                <a:cubicBezTo>
                  <a:pt x="2570" y="1706"/>
                  <a:pt x="2572" y="1703"/>
                  <a:pt x="2573" y="1701"/>
                </a:cubicBezTo>
                <a:cubicBezTo>
                  <a:pt x="2581" y="1694"/>
                  <a:pt x="2593" y="1693"/>
                  <a:pt x="2601" y="1700"/>
                </a:cubicBezTo>
                <a:cubicBezTo>
                  <a:pt x="2603" y="1702"/>
                  <a:pt x="2606" y="1704"/>
                  <a:pt x="2608" y="1706"/>
                </a:cubicBezTo>
                <a:cubicBezTo>
                  <a:pt x="2610" y="1707"/>
                  <a:pt x="2611" y="1709"/>
                  <a:pt x="2612" y="1711"/>
                </a:cubicBezTo>
                <a:cubicBezTo>
                  <a:pt x="2613" y="1712"/>
                  <a:pt x="2613" y="1712"/>
                  <a:pt x="2615" y="1711"/>
                </a:cubicBezTo>
                <a:cubicBezTo>
                  <a:pt x="2615" y="1711"/>
                  <a:pt x="2616" y="1710"/>
                  <a:pt x="2617" y="1709"/>
                </a:cubicBezTo>
                <a:cubicBezTo>
                  <a:pt x="2619" y="1706"/>
                  <a:pt x="2622" y="1706"/>
                  <a:pt x="2623" y="1710"/>
                </a:cubicBezTo>
                <a:cubicBezTo>
                  <a:pt x="2624" y="1713"/>
                  <a:pt x="2625" y="1715"/>
                  <a:pt x="2626" y="1719"/>
                </a:cubicBezTo>
                <a:cubicBezTo>
                  <a:pt x="2626" y="1723"/>
                  <a:pt x="2626" y="1727"/>
                  <a:pt x="2624" y="1732"/>
                </a:cubicBezTo>
                <a:cubicBezTo>
                  <a:pt x="2622" y="1738"/>
                  <a:pt x="2617" y="1742"/>
                  <a:pt x="2611" y="1742"/>
                </a:cubicBezTo>
                <a:cubicBezTo>
                  <a:pt x="2610" y="1742"/>
                  <a:pt x="2610" y="1742"/>
                  <a:pt x="2609" y="1742"/>
                </a:cubicBezTo>
                <a:cubicBezTo>
                  <a:pt x="2606" y="1741"/>
                  <a:pt x="2605" y="1742"/>
                  <a:pt x="2604" y="1744"/>
                </a:cubicBezTo>
                <a:cubicBezTo>
                  <a:pt x="2603" y="1748"/>
                  <a:pt x="2597" y="1750"/>
                  <a:pt x="2594" y="1747"/>
                </a:cubicBezTo>
                <a:cubicBezTo>
                  <a:pt x="2593" y="1746"/>
                  <a:pt x="2592" y="1745"/>
                  <a:pt x="2591" y="1744"/>
                </a:cubicBezTo>
                <a:cubicBezTo>
                  <a:pt x="2590" y="1744"/>
                  <a:pt x="2590" y="1744"/>
                  <a:pt x="2590" y="1744"/>
                </a:cubicBezTo>
                <a:close/>
                <a:moveTo>
                  <a:pt x="2584" y="1740"/>
                </a:moveTo>
                <a:cubicBezTo>
                  <a:pt x="2588" y="1741"/>
                  <a:pt x="2592" y="1742"/>
                  <a:pt x="2594" y="1745"/>
                </a:cubicBezTo>
                <a:cubicBezTo>
                  <a:pt x="2596" y="1747"/>
                  <a:pt x="2598" y="1748"/>
                  <a:pt x="2600" y="1747"/>
                </a:cubicBezTo>
                <a:cubicBezTo>
                  <a:pt x="2602" y="1746"/>
                  <a:pt x="2604" y="1744"/>
                  <a:pt x="2604" y="1741"/>
                </a:cubicBezTo>
                <a:cubicBezTo>
                  <a:pt x="2604" y="1741"/>
                  <a:pt x="2603" y="1741"/>
                  <a:pt x="2603" y="1742"/>
                </a:cubicBezTo>
                <a:cubicBezTo>
                  <a:pt x="2602" y="1743"/>
                  <a:pt x="2601" y="1744"/>
                  <a:pt x="2601" y="1745"/>
                </a:cubicBezTo>
                <a:cubicBezTo>
                  <a:pt x="2599" y="1746"/>
                  <a:pt x="2598" y="1746"/>
                  <a:pt x="2597" y="1746"/>
                </a:cubicBezTo>
                <a:cubicBezTo>
                  <a:pt x="2597" y="1746"/>
                  <a:pt x="2596" y="1744"/>
                  <a:pt x="2596" y="1744"/>
                </a:cubicBezTo>
                <a:cubicBezTo>
                  <a:pt x="2596" y="1741"/>
                  <a:pt x="2597" y="1739"/>
                  <a:pt x="2597" y="1737"/>
                </a:cubicBezTo>
                <a:cubicBezTo>
                  <a:pt x="2600" y="1738"/>
                  <a:pt x="2603" y="1739"/>
                  <a:pt x="2607" y="1740"/>
                </a:cubicBezTo>
                <a:cubicBezTo>
                  <a:pt x="2614" y="1741"/>
                  <a:pt x="2620" y="1739"/>
                  <a:pt x="2623" y="1731"/>
                </a:cubicBezTo>
                <a:cubicBezTo>
                  <a:pt x="2625" y="1726"/>
                  <a:pt x="2624" y="1721"/>
                  <a:pt x="2624" y="1716"/>
                </a:cubicBezTo>
                <a:cubicBezTo>
                  <a:pt x="2623" y="1714"/>
                  <a:pt x="2622" y="1712"/>
                  <a:pt x="2622" y="1710"/>
                </a:cubicBezTo>
                <a:cubicBezTo>
                  <a:pt x="2621" y="1709"/>
                  <a:pt x="2620" y="1708"/>
                  <a:pt x="2619" y="1710"/>
                </a:cubicBezTo>
                <a:cubicBezTo>
                  <a:pt x="2617" y="1712"/>
                  <a:pt x="2615" y="1713"/>
                  <a:pt x="2613" y="1714"/>
                </a:cubicBezTo>
                <a:cubicBezTo>
                  <a:pt x="2613" y="1714"/>
                  <a:pt x="2612" y="1715"/>
                  <a:pt x="2612" y="1716"/>
                </a:cubicBezTo>
                <a:cubicBezTo>
                  <a:pt x="2613" y="1719"/>
                  <a:pt x="2612" y="1723"/>
                  <a:pt x="2611" y="1726"/>
                </a:cubicBezTo>
                <a:cubicBezTo>
                  <a:pt x="2611" y="1724"/>
                  <a:pt x="2612" y="1722"/>
                  <a:pt x="2612" y="1720"/>
                </a:cubicBezTo>
                <a:cubicBezTo>
                  <a:pt x="2612" y="1719"/>
                  <a:pt x="2611" y="1719"/>
                  <a:pt x="2611" y="1719"/>
                </a:cubicBezTo>
                <a:cubicBezTo>
                  <a:pt x="2610" y="1719"/>
                  <a:pt x="2610" y="1719"/>
                  <a:pt x="2610" y="1719"/>
                </a:cubicBezTo>
                <a:cubicBezTo>
                  <a:pt x="2609" y="1721"/>
                  <a:pt x="2608" y="1722"/>
                  <a:pt x="2607" y="1723"/>
                </a:cubicBezTo>
                <a:cubicBezTo>
                  <a:pt x="2607" y="1723"/>
                  <a:pt x="2607" y="1723"/>
                  <a:pt x="2607" y="1723"/>
                </a:cubicBezTo>
                <a:cubicBezTo>
                  <a:pt x="2607" y="1722"/>
                  <a:pt x="2608" y="1720"/>
                  <a:pt x="2608" y="1718"/>
                </a:cubicBezTo>
                <a:cubicBezTo>
                  <a:pt x="2607" y="1719"/>
                  <a:pt x="2606" y="1719"/>
                  <a:pt x="2606" y="1720"/>
                </a:cubicBezTo>
                <a:cubicBezTo>
                  <a:pt x="2605" y="1720"/>
                  <a:pt x="2605" y="1721"/>
                  <a:pt x="2604" y="1722"/>
                </a:cubicBezTo>
                <a:cubicBezTo>
                  <a:pt x="2605" y="1718"/>
                  <a:pt x="2605" y="1718"/>
                  <a:pt x="2611" y="1717"/>
                </a:cubicBezTo>
                <a:cubicBezTo>
                  <a:pt x="2611" y="1717"/>
                  <a:pt x="2610" y="1716"/>
                  <a:pt x="2610" y="1716"/>
                </a:cubicBezTo>
                <a:cubicBezTo>
                  <a:pt x="2607" y="1717"/>
                  <a:pt x="2606" y="1715"/>
                  <a:pt x="2606" y="1713"/>
                </a:cubicBezTo>
                <a:cubicBezTo>
                  <a:pt x="2608" y="1712"/>
                  <a:pt x="2609" y="1712"/>
                  <a:pt x="2611" y="1712"/>
                </a:cubicBezTo>
                <a:cubicBezTo>
                  <a:pt x="2609" y="1709"/>
                  <a:pt x="2608" y="1706"/>
                  <a:pt x="2604" y="1706"/>
                </a:cubicBezTo>
                <a:cubicBezTo>
                  <a:pt x="2604" y="1706"/>
                  <a:pt x="2604" y="1706"/>
                  <a:pt x="2604" y="1705"/>
                </a:cubicBezTo>
                <a:cubicBezTo>
                  <a:pt x="2601" y="1703"/>
                  <a:pt x="2599" y="1701"/>
                  <a:pt x="2596" y="1699"/>
                </a:cubicBezTo>
                <a:cubicBezTo>
                  <a:pt x="2594" y="1698"/>
                  <a:pt x="2591" y="1697"/>
                  <a:pt x="2589" y="1697"/>
                </a:cubicBezTo>
                <a:cubicBezTo>
                  <a:pt x="2586" y="1697"/>
                  <a:pt x="2582" y="1698"/>
                  <a:pt x="2579" y="1699"/>
                </a:cubicBezTo>
                <a:cubicBezTo>
                  <a:pt x="2577" y="1700"/>
                  <a:pt x="2574" y="1702"/>
                  <a:pt x="2572" y="1705"/>
                </a:cubicBezTo>
                <a:cubicBezTo>
                  <a:pt x="2574" y="1705"/>
                  <a:pt x="2575" y="1705"/>
                  <a:pt x="2576" y="1705"/>
                </a:cubicBezTo>
                <a:cubicBezTo>
                  <a:pt x="2576" y="1706"/>
                  <a:pt x="2575" y="1706"/>
                  <a:pt x="2574" y="1706"/>
                </a:cubicBezTo>
                <a:cubicBezTo>
                  <a:pt x="2572" y="1707"/>
                  <a:pt x="2569" y="1706"/>
                  <a:pt x="2567" y="1708"/>
                </a:cubicBezTo>
                <a:cubicBezTo>
                  <a:pt x="2564" y="1712"/>
                  <a:pt x="2560" y="1716"/>
                  <a:pt x="2556" y="1720"/>
                </a:cubicBezTo>
                <a:cubicBezTo>
                  <a:pt x="2555" y="1722"/>
                  <a:pt x="2554" y="1725"/>
                  <a:pt x="2553" y="1727"/>
                </a:cubicBezTo>
                <a:cubicBezTo>
                  <a:pt x="2553" y="1727"/>
                  <a:pt x="2553" y="1728"/>
                  <a:pt x="2553" y="1729"/>
                </a:cubicBezTo>
                <a:cubicBezTo>
                  <a:pt x="2554" y="1731"/>
                  <a:pt x="2555" y="1733"/>
                  <a:pt x="2557" y="1734"/>
                </a:cubicBezTo>
                <a:cubicBezTo>
                  <a:pt x="2558" y="1733"/>
                  <a:pt x="2559" y="1731"/>
                  <a:pt x="2561" y="1730"/>
                </a:cubicBezTo>
                <a:cubicBezTo>
                  <a:pt x="2560" y="1731"/>
                  <a:pt x="2560" y="1733"/>
                  <a:pt x="2559" y="1734"/>
                </a:cubicBezTo>
                <a:cubicBezTo>
                  <a:pt x="2558" y="1735"/>
                  <a:pt x="2557" y="1736"/>
                  <a:pt x="2557" y="1738"/>
                </a:cubicBezTo>
                <a:cubicBezTo>
                  <a:pt x="2557" y="1739"/>
                  <a:pt x="2557" y="1740"/>
                  <a:pt x="2557" y="1741"/>
                </a:cubicBezTo>
                <a:cubicBezTo>
                  <a:pt x="2560" y="1744"/>
                  <a:pt x="2563" y="1744"/>
                  <a:pt x="2567" y="1742"/>
                </a:cubicBezTo>
                <a:cubicBezTo>
                  <a:pt x="2569" y="1741"/>
                  <a:pt x="2572" y="1740"/>
                  <a:pt x="2575" y="1739"/>
                </a:cubicBezTo>
                <a:cubicBezTo>
                  <a:pt x="2576" y="1738"/>
                  <a:pt x="2577" y="1738"/>
                  <a:pt x="2577" y="1736"/>
                </a:cubicBezTo>
                <a:cubicBezTo>
                  <a:pt x="2577" y="1733"/>
                  <a:pt x="2577" y="1729"/>
                  <a:pt x="2577" y="1726"/>
                </a:cubicBezTo>
                <a:cubicBezTo>
                  <a:pt x="2577" y="1723"/>
                  <a:pt x="2577" y="1720"/>
                  <a:pt x="2577" y="1717"/>
                </a:cubicBezTo>
                <a:cubicBezTo>
                  <a:pt x="2578" y="1720"/>
                  <a:pt x="2579" y="1723"/>
                  <a:pt x="2579" y="1725"/>
                </a:cubicBezTo>
                <a:cubicBezTo>
                  <a:pt x="2580" y="1730"/>
                  <a:pt x="2580" y="1734"/>
                  <a:pt x="2579" y="1738"/>
                </a:cubicBezTo>
                <a:cubicBezTo>
                  <a:pt x="2578" y="1739"/>
                  <a:pt x="2577" y="1740"/>
                  <a:pt x="2577" y="1740"/>
                </a:cubicBezTo>
                <a:cubicBezTo>
                  <a:pt x="2573" y="1740"/>
                  <a:pt x="2570" y="1742"/>
                  <a:pt x="2567" y="1744"/>
                </a:cubicBezTo>
                <a:cubicBezTo>
                  <a:pt x="2562" y="1747"/>
                  <a:pt x="2559" y="1745"/>
                  <a:pt x="2555" y="1741"/>
                </a:cubicBezTo>
                <a:cubicBezTo>
                  <a:pt x="2555" y="1741"/>
                  <a:pt x="2555" y="1740"/>
                  <a:pt x="2555" y="1739"/>
                </a:cubicBezTo>
                <a:cubicBezTo>
                  <a:pt x="2556" y="1737"/>
                  <a:pt x="2555" y="1735"/>
                  <a:pt x="2553" y="1733"/>
                </a:cubicBezTo>
                <a:cubicBezTo>
                  <a:pt x="2552" y="1731"/>
                  <a:pt x="2550" y="1729"/>
                  <a:pt x="2552" y="1726"/>
                </a:cubicBezTo>
                <a:cubicBezTo>
                  <a:pt x="2552" y="1724"/>
                  <a:pt x="2553" y="1722"/>
                  <a:pt x="2554" y="1721"/>
                </a:cubicBezTo>
                <a:cubicBezTo>
                  <a:pt x="2556" y="1718"/>
                  <a:pt x="2558" y="1715"/>
                  <a:pt x="2560" y="1713"/>
                </a:cubicBezTo>
                <a:cubicBezTo>
                  <a:pt x="2560" y="1713"/>
                  <a:pt x="2559" y="1713"/>
                  <a:pt x="2559" y="1713"/>
                </a:cubicBezTo>
                <a:cubicBezTo>
                  <a:pt x="2554" y="1714"/>
                  <a:pt x="2550" y="1715"/>
                  <a:pt x="2546" y="1719"/>
                </a:cubicBezTo>
                <a:cubicBezTo>
                  <a:pt x="2541" y="1723"/>
                  <a:pt x="2538" y="1728"/>
                  <a:pt x="2538" y="1735"/>
                </a:cubicBezTo>
                <a:cubicBezTo>
                  <a:pt x="2537" y="1742"/>
                  <a:pt x="2540" y="1748"/>
                  <a:pt x="2543" y="1753"/>
                </a:cubicBezTo>
                <a:cubicBezTo>
                  <a:pt x="2544" y="1754"/>
                  <a:pt x="2544" y="1756"/>
                  <a:pt x="2544" y="1757"/>
                </a:cubicBezTo>
                <a:cubicBezTo>
                  <a:pt x="2544" y="1759"/>
                  <a:pt x="2544" y="1760"/>
                  <a:pt x="2543" y="1761"/>
                </a:cubicBezTo>
                <a:cubicBezTo>
                  <a:pt x="2542" y="1763"/>
                  <a:pt x="2543" y="1764"/>
                  <a:pt x="2544" y="1765"/>
                </a:cubicBezTo>
                <a:cubicBezTo>
                  <a:pt x="2547" y="1765"/>
                  <a:pt x="2550" y="1766"/>
                  <a:pt x="2553" y="1766"/>
                </a:cubicBezTo>
                <a:cubicBezTo>
                  <a:pt x="2553" y="1766"/>
                  <a:pt x="2554" y="1765"/>
                  <a:pt x="2554" y="1765"/>
                </a:cubicBezTo>
                <a:cubicBezTo>
                  <a:pt x="2555" y="1764"/>
                  <a:pt x="2555" y="1762"/>
                  <a:pt x="2555" y="1761"/>
                </a:cubicBezTo>
                <a:cubicBezTo>
                  <a:pt x="2557" y="1759"/>
                  <a:pt x="2557" y="1756"/>
                  <a:pt x="2557" y="1753"/>
                </a:cubicBezTo>
                <a:cubicBezTo>
                  <a:pt x="2557" y="1753"/>
                  <a:pt x="2557" y="1753"/>
                  <a:pt x="2557" y="1752"/>
                </a:cubicBezTo>
                <a:cubicBezTo>
                  <a:pt x="2557" y="1752"/>
                  <a:pt x="2557" y="1752"/>
                  <a:pt x="2557" y="1752"/>
                </a:cubicBezTo>
                <a:cubicBezTo>
                  <a:pt x="2558" y="1754"/>
                  <a:pt x="2559" y="1754"/>
                  <a:pt x="2561" y="1754"/>
                </a:cubicBezTo>
                <a:cubicBezTo>
                  <a:pt x="2562" y="1754"/>
                  <a:pt x="2563" y="1754"/>
                  <a:pt x="2564" y="1754"/>
                </a:cubicBezTo>
                <a:cubicBezTo>
                  <a:pt x="2566" y="1754"/>
                  <a:pt x="2570" y="1755"/>
                  <a:pt x="2570" y="1751"/>
                </a:cubicBezTo>
                <a:cubicBezTo>
                  <a:pt x="2570" y="1753"/>
                  <a:pt x="2570" y="1755"/>
                  <a:pt x="2570" y="1755"/>
                </a:cubicBezTo>
                <a:cubicBezTo>
                  <a:pt x="2569" y="1756"/>
                  <a:pt x="2568" y="1757"/>
                  <a:pt x="2566" y="1757"/>
                </a:cubicBezTo>
                <a:cubicBezTo>
                  <a:pt x="2565" y="1758"/>
                  <a:pt x="2564" y="1760"/>
                  <a:pt x="2565" y="1761"/>
                </a:cubicBezTo>
                <a:cubicBezTo>
                  <a:pt x="2566" y="1763"/>
                  <a:pt x="2568" y="1765"/>
                  <a:pt x="2569" y="1767"/>
                </a:cubicBezTo>
                <a:cubicBezTo>
                  <a:pt x="2571" y="1768"/>
                  <a:pt x="2573" y="1768"/>
                  <a:pt x="2574" y="1766"/>
                </a:cubicBezTo>
                <a:cubicBezTo>
                  <a:pt x="2575" y="1765"/>
                  <a:pt x="2575" y="1765"/>
                  <a:pt x="2576" y="1764"/>
                </a:cubicBezTo>
                <a:cubicBezTo>
                  <a:pt x="2578" y="1763"/>
                  <a:pt x="2579" y="1761"/>
                  <a:pt x="2581" y="1760"/>
                </a:cubicBezTo>
                <a:cubicBezTo>
                  <a:pt x="2585" y="1756"/>
                  <a:pt x="2587" y="1750"/>
                  <a:pt x="2589" y="1744"/>
                </a:cubicBezTo>
                <a:cubicBezTo>
                  <a:pt x="2589" y="1744"/>
                  <a:pt x="2588" y="1743"/>
                  <a:pt x="2588" y="1742"/>
                </a:cubicBezTo>
                <a:cubicBezTo>
                  <a:pt x="2587" y="1741"/>
                  <a:pt x="2586" y="1740"/>
                  <a:pt x="2584" y="1740"/>
                </a:cubicBezTo>
                <a:close/>
                <a:moveTo>
                  <a:pt x="2537" y="1746"/>
                </a:moveTo>
                <a:cubicBezTo>
                  <a:pt x="2537" y="1747"/>
                  <a:pt x="2535" y="1748"/>
                  <a:pt x="2534" y="1749"/>
                </a:cubicBezTo>
                <a:cubicBezTo>
                  <a:pt x="2533" y="1749"/>
                  <a:pt x="2533" y="1750"/>
                  <a:pt x="2533" y="1751"/>
                </a:cubicBezTo>
                <a:cubicBezTo>
                  <a:pt x="2533" y="1753"/>
                  <a:pt x="2537" y="1758"/>
                  <a:pt x="2541" y="1757"/>
                </a:cubicBezTo>
                <a:cubicBezTo>
                  <a:pt x="2542" y="1757"/>
                  <a:pt x="2543" y="1756"/>
                  <a:pt x="2542" y="1755"/>
                </a:cubicBezTo>
                <a:cubicBezTo>
                  <a:pt x="2541" y="1752"/>
                  <a:pt x="2539" y="1749"/>
                  <a:pt x="2537" y="1746"/>
                </a:cubicBezTo>
                <a:close/>
                <a:moveTo>
                  <a:pt x="2590" y="1748"/>
                </a:moveTo>
                <a:cubicBezTo>
                  <a:pt x="2588" y="1753"/>
                  <a:pt x="2585" y="1757"/>
                  <a:pt x="2583" y="1761"/>
                </a:cubicBezTo>
                <a:cubicBezTo>
                  <a:pt x="2586" y="1761"/>
                  <a:pt x="2588" y="1762"/>
                  <a:pt x="2591" y="1761"/>
                </a:cubicBezTo>
                <a:cubicBezTo>
                  <a:pt x="2591" y="1761"/>
                  <a:pt x="2592" y="1760"/>
                  <a:pt x="2592" y="1760"/>
                </a:cubicBezTo>
                <a:cubicBezTo>
                  <a:pt x="2592" y="1757"/>
                  <a:pt x="2592" y="1755"/>
                  <a:pt x="2591" y="1752"/>
                </a:cubicBezTo>
                <a:cubicBezTo>
                  <a:pt x="2591" y="1751"/>
                  <a:pt x="2590" y="1750"/>
                  <a:pt x="2590" y="1748"/>
                </a:cubicBezTo>
                <a:close/>
                <a:moveTo>
                  <a:pt x="2537" y="1728"/>
                </a:moveTo>
                <a:cubicBezTo>
                  <a:pt x="2537" y="1728"/>
                  <a:pt x="2536" y="1729"/>
                  <a:pt x="2535" y="1729"/>
                </a:cubicBezTo>
                <a:cubicBezTo>
                  <a:pt x="2535" y="1729"/>
                  <a:pt x="2534" y="1729"/>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37" y="1746"/>
                </a:moveTo>
                <a:cubicBezTo>
                  <a:pt x="2536" y="1746"/>
                  <a:pt x="2535" y="1747"/>
                  <a:pt x="2534" y="1748"/>
                </a:cubicBezTo>
                <a:cubicBezTo>
                  <a:pt x="2533" y="1749"/>
                  <a:pt x="2533" y="1750"/>
                  <a:pt x="2533" y="1750"/>
                </a:cubicBezTo>
                <a:cubicBezTo>
                  <a:pt x="2533" y="1753"/>
                  <a:pt x="2537" y="1758"/>
                  <a:pt x="2540" y="1757"/>
                </a:cubicBezTo>
                <a:cubicBezTo>
                  <a:pt x="2542" y="1757"/>
                  <a:pt x="2543" y="1756"/>
                  <a:pt x="2542" y="1754"/>
                </a:cubicBezTo>
                <a:cubicBezTo>
                  <a:pt x="2540" y="1751"/>
                  <a:pt x="2539" y="1748"/>
                  <a:pt x="2537" y="1746"/>
                </a:cubicBezTo>
                <a:close/>
                <a:moveTo>
                  <a:pt x="2590" y="1748"/>
                </a:moveTo>
                <a:cubicBezTo>
                  <a:pt x="2587" y="1752"/>
                  <a:pt x="2585" y="1757"/>
                  <a:pt x="2583" y="1761"/>
                </a:cubicBezTo>
                <a:cubicBezTo>
                  <a:pt x="2585" y="1761"/>
                  <a:pt x="2588" y="1761"/>
                  <a:pt x="2591" y="1761"/>
                </a:cubicBezTo>
                <a:cubicBezTo>
                  <a:pt x="2591" y="1761"/>
                  <a:pt x="2591" y="1760"/>
                  <a:pt x="2591" y="1759"/>
                </a:cubicBezTo>
                <a:cubicBezTo>
                  <a:pt x="2591" y="1757"/>
                  <a:pt x="2591" y="1754"/>
                  <a:pt x="2591" y="1752"/>
                </a:cubicBezTo>
                <a:cubicBezTo>
                  <a:pt x="2591" y="1750"/>
                  <a:pt x="2590" y="1749"/>
                  <a:pt x="2590" y="1748"/>
                </a:cubicBezTo>
                <a:close/>
                <a:moveTo>
                  <a:pt x="2537" y="1728"/>
                </a:moveTo>
                <a:cubicBezTo>
                  <a:pt x="2536" y="1728"/>
                  <a:pt x="2536" y="1728"/>
                  <a:pt x="2535" y="1728"/>
                </a:cubicBezTo>
                <a:cubicBezTo>
                  <a:pt x="2535" y="1728"/>
                  <a:pt x="2534" y="1728"/>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89" y="1719"/>
                </a:moveTo>
                <a:cubicBezTo>
                  <a:pt x="2593" y="1716"/>
                  <a:pt x="2593" y="1716"/>
                  <a:pt x="2597" y="1714"/>
                </a:cubicBezTo>
                <a:cubicBezTo>
                  <a:pt x="2597" y="1716"/>
                  <a:pt x="2598" y="1718"/>
                  <a:pt x="2600" y="1718"/>
                </a:cubicBezTo>
                <a:cubicBezTo>
                  <a:pt x="2597" y="1719"/>
                  <a:pt x="2595" y="1720"/>
                  <a:pt x="2593" y="1722"/>
                </a:cubicBezTo>
                <a:cubicBezTo>
                  <a:pt x="2592" y="1721"/>
                  <a:pt x="2592" y="1720"/>
                  <a:pt x="2591" y="1719"/>
                </a:cubicBezTo>
                <a:cubicBezTo>
                  <a:pt x="2591" y="1719"/>
                  <a:pt x="2590" y="1719"/>
                  <a:pt x="2589" y="1719"/>
                </a:cubicBezTo>
                <a:close/>
                <a:moveTo>
                  <a:pt x="2596" y="1719"/>
                </a:moveTo>
                <a:cubicBezTo>
                  <a:pt x="2595" y="1718"/>
                  <a:pt x="2594" y="1718"/>
                  <a:pt x="2593" y="1718"/>
                </a:cubicBezTo>
                <a:cubicBezTo>
                  <a:pt x="2593" y="1718"/>
                  <a:pt x="2592" y="1719"/>
                  <a:pt x="2592" y="1719"/>
                </a:cubicBezTo>
                <a:cubicBezTo>
                  <a:pt x="2592" y="1720"/>
                  <a:pt x="2593" y="1720"/>
                  <a:pt x="2593" y="1720"/>
                </a:cubicBezTo>
                <a:cubicBezTo>
                  <a:pt x="2594" y="1720"/>
                  <a:pt x="2594" y="1720"/>
                  <a:pt x="2596" y="1719"/>
                </a:cubicBezTo>
                <a:close/>
                <a:moveTo>
                  <a:pt x="2576" y="1709"/>
                </a:moveTo>
                <a:cubicBezTo>
                  <a:pt x="2570" y="1709"/>
                  <a:pt x="2567" y="1711"/>
                  <a:pt x="2566" y="1719"/>
                </a:cubicBezTo>
                <a:cubicBezTo>
                  <a:pt x="2567" y="1717"/>
                  <a:pt x="2568" y="1714"/>
                  <a:pt x="2569" y="1712"/>
                </a:cubicBezTo>
                <a:cubicBezTo>
                  <a:pt x="2570" y="1712"/>
                  <a:pt x="2570" y="1712"/>
                  <a:pt x="2570" y="1712"/>
                </a:cubicBezTo>
                <a:cubicBezTo>
                  <a:pt x="2570" y="1713"/>
                  <a:pt x="2570" y="1714"/>
                  <a:pt x="2570" y="1715"/>
                </a:cubicBezTo>
                <a:cubicBezTo>
                  <a:pt x="2571" y="1712"/>
                  <a:pt x="2573" y="1710"/>
                  <a:pt x="2576" y="1709"/>
                </a:cubicBezTo>
                <a:close/>
                <a:moveTo>
                  <a:pt x="2620" y="1711"/>
                </a:moveTo>
                <a:cubicBezTo>
                  <a:pt x="2618" y="1712"/>
                  <a:pt x="2616" y="1714"/>
                  <a:pt x="2615" y="1715"/>
                </a:cubicBezTo>
                <a:cubicBezTo>
                  <a:pt x="2617" y="1715"/>
                  <a:pt x="2619" y="1714"/>
                  <a:pt x="2620" y="1711"/>
                </a:cubicBezTo>
                <a:close/>
                <a:moveTo>
                  <a:pt x="2587" y="1713"/>
                </a:moveTo>
                <a:cubicBezTo>
                  <a:pt x="2588" y="1712"/>
                  <a:pt x="2589" y="1710"/>
                  <a:pt x="2590" y="1709"/>
                </a:cubicBezTo>
                <a:cubicBezTo>
                  <a:pt x="2587" y="1710"/>
                  <a:pt x="2587" y="1711"/>
                  <a:pt x="2587" y="1713"/>
                </a:cubicBezTo>
                <a:close/>
                <a:moveTo>
                  <a:pt x="2597" y="1734"/>
                </a:moveTo>
                <a:cubicBezTo>
                  <a:pt x="2595" y="1735"/>
                  <a:pt x="2594" y="1736"/>
                  <a:pt x="2594" y="1737"/>
                </a:cubicBezTo>
                <a:cubicBezTo>
                  <a:pt x="2595" y="1736"/>
                  <a:pt x="2596" y="1735"/>
                  <a:pt x="2597" y="1734"/>
                </a:cubicBezTo>
                <a:close/>
                <a:moveTo>
                  <a:pt x="2596" y="1719"/>
                </a:moveTo>
                <a:cubicBezTo>
                  <a:pt x="2595" y="1719"/>
                  <a:pt x="2594" y="1718"/>
                  <a:pt x="2594" y="1718"/>
                </a:cubicBezTo>
                <a:cubicBezTo>
                  <a:pt x="2593" y="1718"/>
                  <a:pt x="2592" y="1719"/>
                  <a:pt x="2592" y="1719"/>
                </a:cubicBezTo>
                <a:cubicBezTo>
                  <a:pt x="2592" y="1720"/>
                  <a:pt x="2593" y="1720"/>
                  <a:pt x="2593" y="1721"/>
                </a:cubicBezTo>
                <a:cubicBezTo>
                  <a:pt x="2594" y="1720"/>
                  <a:pt x="2594" y="1720"/>
                  <a:pt x="2596" y="1719"/>
                </a:cubicBezTo>
                <a:close/>
                <a:moveTo>
                  <a:pt x="3249" y="1697"/>
                </a:moveTo>
                <a:cubicBezTo>
                  <a:pt x="3249" y="1697"/>
                  <a:pt x="3249" y="1697"/>
                  <a:pt x="3249" y="1697"/>
                </a:cubicBezTo>
                <a:cubicBezTo>
                  <a:pt x="3244" y="1697"/>
                  <a:pt x="3244" y="1697"/>
                  <a:pt x="3244" y="1697"/>
                </a:cubicBezTo>
                <a:cubicBezTo>
                  <a:pt x="3242" y="1698"/>
                  <a:pt x="3241" y="1700"/>
                  <a:pt x="3239" y="1700"/>
                </a:cubicBezTo>
                <a:cubicBezTo>
                  <a:pt x="3237" y="1702"/>
                  <a:pt x="3236" y="1702"/>
                  <a:pt x="3233" y="1703"/>
                </a:cubicBezTo>
                <a:cubicBezTo>
                  <a:pt x="3232" y="1705"/>
                  <a:pt x="3230" y="1705"/>
                  <a:pt x="3228" y="1706"/>
                </a:cubicBezTo>
                <a:cubicBezTo>
                  <a:pt x="3226" y="1707"/>
                  <a:pt x="3225" y="1708"/>
                  <a:pt x="3223" y="1708"/>
                </a:cubicBezTo>
                <a:cubicBezTo>
                  <a:pt x="3223" y="1708"/>
                  <a:pt x="3223" y="1708"/>
                  <a:pt x="3223" y="1718"/>
                </a:cubicBezTo>
                <a:cubicBezTo>
                  <a:pt x="3225" y="1717"/>
                  <a:pt x="3228" y="1716"/>
                  <a:pt x="3231" y="1715"/>
                </a:cubicBezTo>
                <a:cubicBezTo>
                  <a:pt x="3233" y="1714"/>
                  <a:pt x="3236" y="1713"/>
                  <a:pt x="3238" y="1711"/>
                </a:cubicBezTo>
                <a:cubicBezTo>
                  <a:pt x="3238" y="1711"/>
                  <a:pt x="3238" y="1711"/>
                  <a:pt x="3238" y="1770"/>
                </a:cubicBezTo>
                <a:cubicBezTo>
                  <a:pt x="3238" y="1770"/>
                  <a:pt x="3238" y="1770"/>
                  <a:pt x="3249" y="1770"/>
                </a:cubicBezTo>
                <a:cubicBezTo>
                  <a:pt x="3249" y="1770"/>
                  <a:pt x="3249" y="1770"/>
                  <a:pt x="3249" y="1697"/>
                </a:cubicBezTo>
                <a:close/>
                <a:moveTo>
                  <a:pt x="3297" y="1697"/>
                </a:moveTo>
                <a:cubicBezTo>
                  <a:pt x="3297" y="1697"/>
                  <a:pt x="3297" y="1697"/>
                  <a:pt x="3297" y="1697"/>
                </a:cubicBezTo>
                <a:cubicBezTo>
                  <a:pt x="3292" y="1697"/>
                  <a:pt x="3292" y="1697"/>
                  <a:pt x="3292" y="1697"/>
                </a:cubicBezTo>
                <a:cubicBezTo>
                  <a:pt x="3290" y="1698"/>
                  <a:pt x="3288" y="1700"/>
                  <a:pt x="3286" y="1700"/>
                </a:cubicBezTo>
                <a:cubicBezTo>
                  <a:pt x="3285" y="1702"/>
                  <a:pt x="3282" y="1702"/>
                  <a:pt x="3281" y="1703"/>
                </a:cubicBezTo>
                <a:cubicBezTo>
                  <a:pt x="3280" y="1705"/>
                  <a:pt x="3277" y="1705"/>
                  <a:pt x="3276" y="1706"/>
                </a:cubicBezTo>
                <a:cubicBezTo>
                  <a:pt x="3274" y="1707"/>
                  <a:pt x="3272" y="1708"/>
                  <a:pt x="3270" y="1708"/>
                </a:cubicBezTo>
                <a:cubicBezTo>
                  <a:pt x="3270" y="1708"/>
                  <a:pt x="3270" y="1708"/>
                  <a:pt x="3270" y="1718"/>
                </a:cubicBezTo>
                <a:cubicBezTo>
                  <a:pt x="3273" y="1717"/>
                  <a:pt x="3276" y="1716"/>
                  <a:pt x="3278" y="1715"/>
                </a:cubicBezTo>
                <a:cubicBezTo>
                  <a:pt x="3281" y="1714"/>
                  <a:pt x="3283" y="1713"/>
                  <a:pt x="3285" y="1711"/>
                </a:cubicBezTo>
                <a:cubicBezTo>
                  <a:pt x="3285" y="1711"/>
                  <a:pt x="3285" y="1711"/>
                  <a:pt x="3285" y="1770"/>
                </a:cubicBezTo>
                <a:cubicBezTo>
                  <a:pt x="3285" y="1770"/>
                  <a:pt x="3285" y="1770"/>
                  <a:pt x="3297" y="1770"/>
                </a:cubicBezTo>
                <a:cubicBezTo>
                  <a:pt x="3297" y="1770"/>
                  <a:pt x="3297" y="1770"/>
                  <a:pt x="3297" y="1697"/>
                </a:cubicBezTo>
                <a:close/>
                <a:moveTo>
                  <a:pt x="3344" y="1697"/>
                </a:moveTo>
                <a:cubicBezTo>
                  <a:pt x="3344" y="1697"/>
                  <a:pt x="3344" y="1697"/>
                  <a:pt x="3344" y="1697"/>
                </a:cubicBezTo>
                <a:cubicBezTo>
                  <a:pt x="3339" y="1697"/>
                  <a:pt x="3339" y="1697"/>
                  <a:pt x="3339" y="1697"/>
                </a:cubicBezTo>
                <a:cubicBezTo>
                  <a:pt x="3337" y="1698"/>
                  <a:pt x="3336" y="1700"/>
                  <a:pt x="3333" y="1700"/>
                </a:cubicBezTo>
                <a:cubicBezTo>
                  <a:pt x="3332" y="1702"/>
                  <a:pt x="3330" y="1702"/>
                  <a:pt x="3328" y="1703"/>
                </a:cubicBezTo>
                <a:cubicBezTo>
                  <a:pt x="3326" y="1704"/>
                  <a:pt x="3325" y="1705"/>
                  <a:pt x="3323" y="1705"/>
                </a:cubicBezTo>
                <a:cubicBezTo>
                  <a:pt x="3321" y="1706"/>
                  <a:pt x="3319" y="1707"/>
                  <a:pt x="3318" y="1708"/>
                </a:cubicBezTo>
                <a:cubicBezTo>
                  <a:pt x="3318" y="1708"/>
                  <a:pt x="3318" y="1708"/>
                  <a:pt x="3318" y="1718"/>
                </a:cubicBezTo>
                <a:cubicBezTo>
                  <a:pt x="3320" y="1717"/>
                  <a:pt x="3323" y="1716"/>
                  <a:pt x="3326" y="1715"/>
                </a:cubicBezTo>
                <a:cubicBezTo>
                  <a:pt x="3328" y="1714"/>
                  <a:pt x="3331" y="1713"/>
                  <a:pt x="3332" y="1711"/>
                </a:cubicBezTo>
                <a:cubicBezTo>
                  <a:pt x="3332" y="1711"/>
                  <a:pt x="3332" y="1711"/>
                  <a:pt x="3332" y="1770"/>
                </a:cubicBezTo>
                <a:cubicBezTo>
                  <a:pt x="3332" y="1770"/>
                  <a:pt x="3332" y="1770"/>
                  <a:pt x="3344" y="1770"/>
                </a:cubicBezTo>
                <a:cubicBezTo>
                  <a:pt x="3344" y="1770"/>
                  <a:pt x="3344" y="1770"/>
                  <a:pt x="3344" y="1697"/>
                </a:cubicBezTo>
                <a:close/>
                <a:moveTo>
                  <a:pt x="3554" y="1592"/>
                </a:moveTo>
                <a:cubicBezTo>
                  <a:pt x="3554" y="1592"/>
                  <a:pt x="3554" y="1592"/>
                  <a:pt x="3554" y="1592"/>
                </a:cubicBezTo>
                <a:cubicBezTo>
                  <a:pt x="3549" y="1592"/>
                  <a:pt x="3549" y="1592"/>
                  <a:pt x="3549" y="1592"/>
                </a:cubicBezTo>
                <a:cubicBezTo>
                  <a:pt x="3547" y="1593"/>
                  <a:pt x="3546" y="1594"/>
                  <a:pt x="3543" y="1595"/>
                </a:cubicBezTo>
                <a:cubicBezTo>
                  <a:pt x="3542" y="1597"/>
                  <a:pt x="3540" y="1597"/>
                  <a:pt x="3538" y="1598"/>
                </a:cubicBezTo>
                <a:cubicBezTo>
                  <a:pt x="3536" y="1599"/>
                  <a:pt x="3535" y="1600"/>
                  <a:pt x="3533" y="1600"/>
                </a:cubicBezTo>
                <a:cubicBezTo>
                  <a:pt x="3531" y="1601"/>
                  <a:pt x="3530" y="1602"/>
                  <a:pt x="3527" y="1602"/>
                </a:cubicBezTo>
                <a:cubicBezTo>
                  <a:pt x="3527" y="1602"/>
                  <a:pt x="3527" y="1602"/>
                  <a:pt x="3527" y="1613"/>
                </a:cubicBezTo>
                <a:cubicBezTo>
                  <a:pt x="3530" y="1612"/>
                  <a:pt x="3533" y="1610"/>
                  <a:pt x="3535" y="1610"/>
                </a:cubicBezTo>
                <a:cubicBezTo>
                  <a:pt x="3538" y="1609"/>
                  <a:pt x="3540" y="1608"/>
                  <a:pt x="3543" y="1606"/>
                </a:cubicBezTo>
                <a:cubicBezTo>
                  <a:pt x="3543" y="1606"/>
                  <a:pt x="3543" y="1606"/>
                  <a:pt x="3543" y="1665"/>
                </a:cubicBezTo>
                <a:cubicBezTo>
                  <a:pt x="3543" y="1665"/>
                  <a:pt x="3543" y="1665"/>
                  <a:pt x="3554" y="1665"/>
                </a:cubicBezTo>
                <a:cubicBezTo>
                  <a:pt x="3554" y="1665"/>
                  <a:pt x="3554" y="1665"/>
                  <a:pt x="3554" y="1592"/>
                </a:cubicBezTo>
                <a:close/>
                <a:moveTo>
                  <a:pt x="3601" y="1592"/>
                </a:moveTo>
                <a:cubicBezTo>
                  <a:pt x="3601" y="1592"/>
                  <a:pt x="3601" y="1592"/>
                  <a:pt x="3601" y="1592"/>
                </a:cubicBezTo>
                <a:cubicBezTo>
                  <a:pt x="3596" y="1592"/>
                  <a:pt x="3596" y="1592"/>
                  <a:pt x="3596" y="1592"/>
                </a:cubicBezTo>
                <a:cubicBezTo>
                  <a:pt x="3594" y="1593"/>
                  <a:pt x="3592" y="1594"/>
                  <a:pt x="3590" y="1595"/>
                </a:cubicBezTo>
                <a:cubicBezTo>
                  <a:pt x="3588" y="1597"/>
                  <a:pt x="3586" y="1597"/>
                  <a:pt x="3585" y="1598"/>
                </a:cubicBezTo>
                <a:cubicBezTo>
                  <a:pt x="3583" y="1600"/>
                  <a:pt x="3581" y="1600"/>
                  <a:pt x="3580" y="1601"/>
                </a:cubicBezTo>
                <a:cubicBezTo>
                  <a:pt x="3578" y="1602"/>
                  <a:pt x="3576" y="1602"/>
                  <a:pt x="3574" y="1602"/>
                </a:cubicBezTo>
                <a:cubicBezTo>
                  <a:pt x="3574" y="1602"/>
                  <a:pt x="3574" y="1602"/>
                  <a:pt x="3574" y="1613"/>
                </a:cubicBezTo>
                <a:cubicBezTo>
                  <a:pt x="3577" y="1612"/>
                  <a:pt x="3580" y="1611"/>
                  <a:pt x="3582" y="1610"/>
                </a:cubicBezTo>
                <a:cubicBezTo>
                  <a:pt x="3585" y="1609"/>
                  <a:pt x="3587" y="1608"/>
                  <a:pt x="3589" y="1606"/>
                </a:cubicBezTo>
                <a:cubicBezTo>
                  <a:pt x="3589" y="1606"/>
                  <a:pt x="3589" y="1606"/>
                  <a:pt x="3589" y="1665"/>
                </a:cubicBezTo>
                <a:cubicBezTo>
                  <a:pt x="3589" y="1665"/>
                  <a:pt x="3589" y="1665"/>
                  <a:pt x="3601" y="1665"/>
                </a:cubicBezTo>
                <a:cubicBezTo>
                  <a:pt x="3601" y="1665"/>
                  <a:pt x="3601" y="1665"/>
                  <a:pt x="3601" y="1592"/>
                </a:cubicBezTo>
                <a:close/>
                <a:moveTo>
                  <a:pt x="3646" y="1592"/>
                </a:moveTo>
                <a:cubicBezTo>
                  <a:pt x="3646" y="1592"/>
                  <a:pt x="3646" y="1592"/>
                  <a:pt x="3646" y="1592"/>
                </a:cubicBezTo>
                <a:cubicBezTo>
                  <a:pt x="3642" y="1592"/>
                  <a:pt x="3642" y="1592"/>
                  <a:pt x="3642" y="1592"/>
                </a:cubicBezTo>
                <a:cubicBezTo>
                  <a:pt x="3640" y="1593"/>
                  <a:pt x="3638" y="1594"/>
                  <a:pt x="3636" y="1595"/>
                </a:cubicBezTo>
                <a:cubicBezTo>
                  <a:pt x="3635" y="1597"/>
                  <a:pt x="3633" y="1597"/>
                  <a:pt x="3631" y="1598"/>
                </a:cubicBezTo>
                <a:cubicBezTo>
                  <a:pt x="3629" y="1600"/>
                  <a:pt x="3628" y="1600"/>
                  <a:pt x="3626" y="1601"/>
                </a:cubicBezTo>
                <a:cubicBezTo>
                  <a:pt x="3624" y="1602"/>
                  <a:pt x="3622" y="1602"/>
                  <a:pt x="3620" y="1602"/>
                </a:cubicBezTo>
                <a:cubicBezTo>
                  <a:pt x="3620" y="1602"/>
                  <a:pt x="3620" y="1602"/>
                  <a:pt x="3620" y="1613"/>
                </a:cubicBezTo>
                <a:cubicBezTo>
                  <a:pt x="3623" y="1612"/>
                  <a:pt x="3626" y="1611"/>
                  <a:pt x="3628" y="1610"/>
                </a:cubicBezTo>
                <a:cubicBezTo>
                  <a:pt x="3631" y="1609"/>
                  <a:pt x="3633" y="1608"/>
                  <a:pt x="3635" y="1606"/>
                </a:cubicBezTo>
                <a:cubicBezTo>
                  <a:pt x="3635" y="1606"/>
                  <a:pt x="3635" y="1606"/>
                  <a:pt x="3635" y="1665"/>
                </a:cubicBezTo>
                <a:cubicBezTo>
                  <a:pt x="3635" y="1665"/>
                  <a:pt x="3635" y="1665"/>
                  <a:pt x="3646" y="1665"/>
                </a:cubicBezTo>
                <a:cubicBezTo>
                  <a:pt x="3646" y="1665"/>
                  <a:pt x="3646" y="1665"/>
                  <a:pt x="3646" y="1592"/>
                </a:cubicBezTo>
                <a:close/>
                <a:moveTo>
                  <a:pt x="3693" y="1592"/>
                </a:moveTo>
                <a:cubicBezTo>
                  <a:pt x="3693" y="1592"/>
                  <a:pt x="3693" y="1592"/>
                  <a:pt x="3693" y="1592"/>
                </a:cubicBezTo>
                <a:cubicBezTo>
                  <a:pt x="3688" y="1592"/>
                  <a:pt x="3688" y="1592"/>
                  <a:pt x="3688" y="1592"/>
                </a:cubicBezTo>
                <a:cubicBezTo>
                  <a:pt x="3686" y="1593"/>
                  <a:pt x="3685" y="1594"/>
                  <a:pt x="3682" y="1595"/>
                </a:cubicBezTo>
                <a:cubicBezTo>
                  <a:pt x="3681" y="1597"/>
                  <a:pt x="3679" y="1597"/>
                  <a:pt x="3677" y="1598"/>
                </a:cubicBezTo>
                <a:cubicBezTo>
                  <a:pt x="3676" y="1600"/>
                  <a:pt x="3673" y="1600"/>
                  <a:pt x="3672" y="1601"/>
                </a:cubicBezTo>
                <a:cubicBezTo>
                  <a:pt x="3670" y="1602"/>
                  <a:pt x="3668" y="1602"/>
                  <a:pt x="3666" y="1602"/>
                </a:cubicBezTo>
                <a:cubicBezTo>
                  <a:pt x="3666" y="1602"/>
                  <a:pt x="3666" y="1602"/>
                  <a:pt x="3666" y="1613"/>
                </a:cubicBezTo>
                <a:cubicBezTo>
                  <a:pt x="3669" y="1612"/>
                  <a:pt x="3672" y="1611"/>
                  <a:pt x="3674" y="1610"/>
                </a:cubicBezTo>
                <a:cubicBezTo>
                  <a:pt x="3677" y="1609"/>
                  <a:pt x="3679" y="1608"/>
                  <a:pt x="3682" y="1606"/>
                </a:cubicBezTo>
                <a:cubicBezTo>
                  <a:pt x="3682" y="1606"/>
                  <a:pt x="3682" y="1606"/>
                  <a:pt x="3682" y="1665"/>
                </a:cubicBezTo>
                <a:cubicBezTo>
                  <a:pt x="3682" y="1665"/>
                  <a:pt x="3682" y="1665"/>
                  <a:pt x="3693" y="1665"/>
                </a:cubicBezTo>
                <a:cubicBezTo>
                  <a:pt x="3693" y="1665"/>
                  <a:pt x="3693" y="1665"/>
                  <a:pt x="3693" y="1592"/>
                </a:cubicBezTo>
                <a:close/>
                <a:moveTo>
                  <a:pt x="3815" y="1592"/>
                </a:moveTo>
                <a:cubicBezTo>
                  <a:pt x="3815" y="1592"/>
                  <a:pt x="3815" y="1592"/>
                  <a:pt x="3815" y="1592"/>
                </a:cubicBezTo>
                <a:cubicBezTo>
                  <a:pt x="3810" y="1592"/>
                  <a:pt x="3810" y="1592"/>
                  <a:pt x="3810" y="1592"/>
                </a:cubicBezTo>
                <a:cubicBezTo>
                  <a:pt x="3808" y="1593"/>
                  <a:pt x="3806" y="1594"/>
                  <a:pt x="3804" y="1595"/>
                </a:cubicBezTo>
                <a:cubicBezTo>
                  <a:pt x="3803" y="1597"/>
                  <a:pt x="3801" y="1597"/>
                  <a:pt x="3799" y="1598"/>
                </a:cubicBezTo>
                <a:cubicBezTo>
                  <a:pt x="3797" y="1600"/>
                  <a:pt x="3795" y="1600"/>
                  <a:pt x="3794" y="1601"/>
                </a:cubicBezTo>
                <a:cubicBezTo>
                  <a:pt x="3792" y="1602"/>
                  <a:pt x="3790" y="1602"/>
                  <a:pt x="3788" y="1602"/>
                </a:cubicBezTo>
                <a:cubicBezTo>
                  <a:pt x="3788" y="1602"/>
                  <a:pt x="3788" y="1602"/>
                  <a:pt x="3788" y="1613"/>
                </a:cubicBezTo>
                <a:cubicBezTo>
                  <a:pt x="3791" y="1612"/>
                  <a:pt x="3794" y="1611"/>
                  <a:pt x="3797" y="1610"/>
                </a:cubicBezTo>
                <a:cubicBezTo>
                  <a:pt x="3799" y="1609"/>
                  <a:pt x="3801" y="1608"/>
                  <a:pt x="3803" y="1606"/>
                </a:cubicBezTo>
                <a:cubicBezTo>
                  <a:pt x="3803" y="1606"/>
                  <a:pt x="3803" y="1606"/>
                  <a:pt x="3803" y="1665"/>
                </a:cubicBezTo>
                <a:cubicBezTo>
                  <a:pt x="3803" y="1665"/>
                  <a:pt x="3803" y="1665"/>
                  <a:pt x="3815" y="1665"/>
                </a:cubicBezTo>
                <a:cubicBezTo>
                  <a:pt x="3815" y="1665"/>
                  <a:pt x="3815" y="1665"/>
                  <a:pt x="3815" y="1592"/>
                </a:cubicBezTo>
                <a:close/>
                <a:moveTo>
                  <a:pt x="3861" y="1592"/>
                </a:moveTo>
                <a:cubicBezTo>
                  <a:pt x="3861" y="1592"/>
                  <a:pt x="3861" y="1592"/>
                  <a:pt x="3861" y="1592"/>
                </a:cubicBezTo>
                <a:cubicBezTo>
                  <a:pt x="3856" y="1592"/>
                  <a:pt x="3856" y="1592"/>
                  <a:pt x="3856" y="1592"/>
                </a:cubicBezTo>
                <a:cubicBezTo>
                  <a:pt x="3854" y="1593"/>
                  <a:pt x="3853" y="1594"/>
                  <a:pt x="3851" y="1595"/>
                </a:cubicBezTo>
                <a:cubicBezTo>
                  <a:pt x="3849" y="1597"/>
                  <a:pt x="3847" y="1597"/>
                  <a:pt x="3845" y="1598"/>
                </a:cubicBezTo>
                <a:cubicBezTo>
                  <a:pt x="3844" y="1600"/>
                  <a:pt x="3842" y="1600"/>
                  <a:pt x="3840" y="1601"/>
                </a:cubicBezTo>
                <a:cubicBezTo>
                  <a:pt x="3838" y="1602"/>
                  <a:pt x="3837" y="1602"/>
                  <a:pt x="3835" y="1602"/>
                </a:cubicBezTo>
                <a:cubicBezTo>
                  <a:pt x="3835" y="1602"/>
                  <a:pt x="3835" y="1602"/>
                  <a:pt x="3835" y="1613"/>
                </a:cubicBezTo>
                <a:cubicBezTo>
                  <a:pt x="3837" y="1612"/>
                  <a:pt x="3840" y="1611"/>
                  <a:pt x="3843" y="1610"/>
                </a:cubicBezTo>
                <a:cubicBezTo>
                  <a:pt x="3845" y="1609"/>
                  <a:pt x="3848" y="1608"/>
                  <a:pt x="3850" y="1606"/>
                </a:cubicBezTo>
                <a:cubicBezTo>
                  <a:pt x="3850" y="1606"/>
                  <a:pt x="3850" y="1606"/>
                  <a:pt x="3850" y="1665"/>
                </a:cubicBezTo>
                <a:cubicBezTo>
                  <a:pt x="3850" y="1665"/>
                  <a:pt x="3850" y="1665"/>
                  <a:pt x="3861" y="1665"/>
                </a:cubicBezTo>
                <a:cubicBezTo>
                  <a:pt x="3861" y="1665"/>
                  <a:pt x="3861" y="1665"/>
                  <a:pt x="3861" y="1592"/>
                </a:cubicBezTo>
                <a:close/>
                <a:moveTo>
                  <a:pt x="3714" y="1624"/>
                </a:moveTo>
                <a:cubicBezTo>
                  <a:pt x="3714" y="1624"/>
                  <a:pt x="3714" y="1624"/>
                  <a:pt x="3714" y="1624"/>
                </a:cubicBezTo>
                <a:cubicBezTo>
                  <a:pt x="3713" y="1632"/>
                  <a:pt x="3713" y="1632"/>
                  <a:pt x="3713" y="1632"/>
                </a:cubicBezTo>
                <a:cubicBezTo>
                  <a:pt x="3719" y="1632"/>
                  <a:pt x="3720" y="1635"/>
                  <a:pt x="3720" y="1638"/>
                </a:cubicBezTo>
                <a:cubicBezTo>
                  <a:pt x="3720" y="1640"/>
                  <a:pt x="3720" y="1643"/>
                  <a:pt x="3720" y="1645"/>
                </a:cubicBezTo>
                <a:cubicBezTo>
                  <a:pt x="3719" y="1648"/>
                  <a:pt x="3719" y="1650"/>
                  <a:pt x="3719" y="1652"/>
                </a:cubicBezTo>
                <a:cubicBezTo>
                  <a:pt x="3719" y="1662"/>
                  <a:pt x="3725" y="1665"/>
                  <a:pt x="3733" y="1665"/>
                </a:cubicBezTo>
                <a:cubicBezTo>
                  <a:pt x="3733" y="1665"/>
                  <a:pt x="3733" y="1665"/>
                  <a:pt x="3737" y="1665"/>
                </a:cubicBezTo>
                <a:cubicBezTo>
                  <a:pt x="3737" y="1665"/>
                  <a:pt x="3737" y="1665"/>
                  <a:pt x="3737" y="1656"/>
                </a:cubicBezTo>
                <a:cubicBezTo>
                  <a:pt x="3737" y="1656"/>
                  <a:pt x="3737" y="1656"/>
                  <a:pt x="3736" y="1656"/>
                </a:cubicBezTo>
                <a:cubicBezTo>
                  <a:pt x="3732" y="1656"/>
                  <a:pt x="3731" y="1653"/>
                  <a:pt x="3731" y="1650"/>
                </a:cubicBezTo>
                <a:cubicBezTo>
                  <a:pt x="3731" y="1649"/>
                  <a:pt x="3731" y="1647"/>
                  <a:pt x="3731" y="1645"/>
                </a:cubicBezTo>
                <a:cubicBezTo>
                  <a:pt x="3731" y="1644"/>
                  <a:pt x="3732" y="1641"/>
                  <a:pt x="3732" y="1639"/>
                </a:cubicBezTo>
                <a:cubicBezTo>
                  <a:pt x="3732" y="1632"/>
                  <a:pt x="3729" y="1629"/>
                  <a:pt x="3723" y="1628"/>
                </a:cubicBezTo>
                <a:cubicBezTo>
                  <a:pt x="3723" y="1628"/>
                  <a:pt x="3723" y="1628"/>
                  <a:pt x="3723" y="1628"/>
                </a:cubicBezTo>
                <a:cubicBezTo>
                  <a:pt x="3729" y="1626"/>
                  <a:pt x="3732" y="1624"/>
                  <a:pt x="3732" y="1617"/>
                </a:cubicBezTo>
                <a:cubicBezTo>
                  <a:pt x="3732" y="1614"/>
                  <a:pt x="3731" y="1612"/>
                  <a:pt x="3731" y="1610"/>
                </a:cubicBezTo>
                <a:cubicBezTo>
                  <a:pt x="3731" y="1609"/>
                  <a:pt x="3731" y="1607"/>
                  <a:pt x="3731" y="1606"/>
                </a:cubicBezTo>
                <a:cubicBezTo>
                  <a:pt x="3731" y="1602"/>
                  <a:pt x="3732" y="1600"/>
                  <a:pt x="3736" y="1600"/>
                </a:cubicBezTo>
                <a:cubicBezTo>
                  <a:pt x="3736" y="1600"/>
                  <a:pt x="3736" y="1600"/>
                  <a:pt x="3737" y="1600"/>
                </a:cubicBezTo>
                <a:cubicBezTo>
                  <a:pt x="3737" y="1600"/>
                  <a:pt x="3737" y="1600"/>
                  <a:pt x="3737" y="1591"/>
                </a:cubicBezTo>
                <a:cubicBezTo>
                  <a:pt x="3737" y="1591"/>
                  <a:pt x="3737" y="1591"/>
                  <a:pt x="3733" y="1591"/>
                </a:cubicBezTo>
                <a:cubicBezTo>
                  <a:pt x="3725" y="1591"/>
                  <a:pt x="3719" y="1595"/>
                  <a:pt x="3719" y="1603"/>
                </a:cubicBezTo>
                <a:cubicBezTo>
                  <a:pt x="3719" y="1606"/>
                  <a:pt x="3719" y="1608"/>
                  <a:pt x="3719" y="1611"/>
                </a:cubicBezTo>
                <a:cubicBezTo>
                  <a:pt x="3720" y="1613"/>
                  <a:pt x="3720" y="1616"/>
                  <a:pt x="3720" y="1618"/>
                </a:cubicBezTo>
                <a:cubicBezTo>
                  <a:pt x="3720" y="1620"/>
                  <a:pt x="3719" y="1624"/>
                  <a:pt x="3714" y="1624"/>
                </a:cubicBezTo>
                <a:close/>
                <a:moveTo>
                  <a:pt x="3768" y="1632"/>
                </a:moveTo>
                <a:cubicBezTo>
                  <a:pt x="3768" y="1632"/>
                  <a:pt x="3768" y="1632"/>
                  <a:pt x="3768" y="1632"/>
                </a:cubicBezTo>
                <a:cubicBezTo>
                  <a:pt x="3768" y="1624"/>
                  <a:pt x="3768" y="1624"/>
                  <a:pt x="3768" y="1624"/>
                </a:cubicBezTo>
                <a:cubicBezTo>
                  <a:pt x="3762" y="1624"/>
                  <a:pt x="3761" y="1620"/>
                  <a:pt x="3761" y="1618"/>
                </a:cubicBezTo>
                <a:cubicBezTo>
                  <a:pt x="3761" y="1616"/>
                  <a:pt x="3761" y="1613"/>
                  <a:pt x="3762" y="1611"/>
                </a:cubicBezTo>
                <a:cubicBezTo>
                  <a:pt x="3762" y="1608"/>
                  <a:pt x="3762" y="1606"/>
                  <a:pt x="3762" y="1603"/>
                </a:cubicBezTo>
                <a:cubicBezTo>
                  <a:pt x="3762" y="1595"/>
                  <a:pt x="3757" y="1591"/>
                  <a:pt x="3748" y="1591"/>
                </a:cubicBezTo>
                <a:cubicBezTo>
                  <a:pt x="3748" y="1591"/>
                  <a:pt x="3748" y="1591"/>
                  <a:pt x="3744" y="1591"/>
                </a:cubicBezTo>
                <a:cubicBezTo>
                  <a:pt x="3744" y="1591"/>
                  <a:pt x="3744" y="1591"/>
                  <a:pt x="3744" y="1600"/>
                </a:cubicBezTo>
                <a:cubicBezTo>
                  <a:pt x="3744" y="1600"/>
                  <a:pt x="3744" y="1600"/>
                  <a:pt x="3745" y="1600"/>
                </a:cubicBezTo>
                <a:cubicBezTo>
                  <a:pt x="3749" y="1600"/>
                  <a:pt x="3750" y="1602"/>
                  <a:pt x="3750" y="1606"/>
                </a:cubicBezTo>
                <a:cubicBezTo>
                  <a:pt x="3750" y="1607"/>
                  <a:pt x="3750" y="1609"/>
                  <a:pt x="3750" y="1610"/>
                </a:cubicBezTo>
                <a:cubicBezTo>
                  <a:pt x="3750" y="1612"/>
                  <a:pt x="3750" y="1614"/>
                  <a:pt x="3750" y="1617"/>
                </a:cubicBezTo>
                <a:cubicBezTo>
                  <a:pt x="3750" y="1624"/>
                  <a:pt x="3752" y="1626"/>
                  <a:pt x="3758" y="1628"/>
                </a:cubicBezTo>
                <a:cubicBezTo>
                  <a:pt x="3758" y="1628"/>
                  <a:pt x="3758" y="1628"/>
                  <a:pt x="3758" y="1628"/>
                </a:cubicBezTo>
                <a:cubicBezTo>
                  <a:pt x="3752" y="1629"/>
                  <a:pt x="3750" y="1632"/>
                  <a:pt x="3750" y="1639"/>
                </a:cubicBezTo>
                <a:cubicBezTo>
                  <a:pt x="3750" y="1641"/>
                  <a:pt x="3750" y="1644"/>
                  <a:pt x="3750" y="1645"/>
                </a:cubicBezTo>
                <a:cubicBezTo>
                  <a:pt x="3750" y="1647"/>
                  <a:pt x="3750" y="1649"/>
                  <a:pt x="3750" y="1650"/>
                </a:cubicBezTo>
                <a:cubicBezTo>
                  <a:pt x="3750" y="1653"/>
                  <a:pt x="3749" y="1656"/>
                  <a:pt x="3745" y="1656"/>
                </a:cubicBezTo>
                <a:cubicBezTo>
                  <a:pt x="3745" y="1656"/>
                  <a:pt x="3745" y="1656"/>
                  <a:pt x="3744" y="1656"/>
                </a:cubicBezTo>
                <a:cubicBezTo>
                  <a:pt x="3744" y="1656"/>
                  <a:pt x="3744" y="1656"/>
                  <a:pt x="3744" y="1665"/>
                </a:cubicBezTo>
                <a:cubicBezTo>
                  <a:pt x="3744" y="1665"/>
                  <a:pt x="3744" y="1665"/>
                  <a:pt x="3748" y="1665"/>
                </a:cubicBezTo>
                <a:cubicBezTo>
                  <a:pt x="3756" y="1665"/>
                  <a:pt x="3762" y="1662"/>
                  <a:pt x="3762" y="1652"/>
                </a:cubicBezTo>
                <a:cubicBezTo>
                  <a:pt x="3762" y="1650"/>
                  <a:pt x="3762" y="1648"/>
                  <a:pt x="3762" y="1645"/>
                </a:cubicBezTo>
                <a:cubicBezTo>
                  <a:pt x="3761" y="1643"/>
                  <a:pt x="3761" y="1640"/>
                  <a:pt x="3761" y="1638"/>
                </a:cubicBezTo>
                <a:cubicBezTo>
                  <a:pt x="3761" y="1635"/>
                  <a:pt x="3762" y="1632"/>
                  <a:pt x="3768" y="1632"/>
                </a:cubicBezTo>
                <a:close/>
                <a:moveTo>
                  <a:pt x="3155" y="1665"/>
                </a:moveTo>
                <a:cubicBezTo>
                  <a:pt x="3148" y="1665"/>
                  <a:pt x="3141" y="1662"/>
                  <a:pt x="3137" y="1656"/>
                </a:cubicBezTo>
                <a:cubicBezTo>
                  <a:pt x="3133" y="1650"/>
                  <a:pt x="3131" y="1641"/>
                  <a:pt x="3131" y="1628"/>
                </a:cubicBezTo>
                <a:cubicBezTo>
                  <a:pt x="3131" y="1615"/>
                  <a:pt x="3133" y="1606"/>
                  <a:pt x="3137" y="1599"/>
                </a:cubicBezTo>
                <a:cubicBezTo>
                  <a:pt x="3142" y="1592"/>
                  <a:pt x="3148" y="1589"/>
                  <a:pt x="3157" y="1589"/>
                </a:cubicBezTo>
                <a:cubicBezTo>
                  <a:pt x="3173" y="1589"/>
                  <a:pt x="3181" y="1601"/>
                  <a:pt x="3181" y="1627"/>
                </a:cubicBezTo>
                <a:cubicBezTo>
                  <a:pt x="3181" y="1639"/>
                  <a:pt x="3179" y="1649"/>
                  <a:pt x="3174" y="1655"/>
                </a:cubicBezTo>
                <a:cubicBezTo>
                  <a:pt x="3170" y="1662"/>
                  <a:pt x="3163" y="1665"/>
                  <a:pt x="3155" y="1665"/>
                </a:cubicBezTo>
                <a:close/>
                <a:moveTo>
                  <a:pt x="3156" y="1598"/>
                </a:moveTo>
                <a:cubicBezTo>
                  <a:pt x="3147" y="1598"/>
                  <a:pt x="3143" y="1608"/>
                  <a:pt x="3143" y="1628"/>
                </a:cubicBezTo>
                <a:cubicBezTo>
                  <a:pt x="3143" y="1647"/>
                  <a:pt x="3147" y="1655"/>
                  <a:pt x="3156" y="1655"/>
                </a:cubicBezTo>
                <a:cubicBezTo>
                  <a:pt x="3164" y="1655"/>
                  <a:pt x="3169" y="1647"/>
                  <a:pt x="3169" y="1628"/>
                </a:cubicBezTo>
                <a:cubicBezTo>
                  <a:pt x="3169" y="1608"/>
                  <a:pt x="3164" y="1598"/>
                  <a:pt x="3156" y="1598"/>
                </a:cubicBezTo>
                <a:close/>
                <a:moveTo>
                  <a:pt x="3225" y="1665"/>
                </a:moveTo>
                <a:cubicBezTo>
                  <a:pt x="3218" y="1665"/>
                  <a:pt x="3211" y="1662"/>
                  <a:pt x="3208" y="1656"/>
                </a:cubicBezTo>
                <a:cubicBezTo>
                  <a:pt x="3203" y="1650"/>
                  <a:pt x="3201" y="1641"/>
                  <a:pt x="3201" y="1628"/>
                </a:cubicBezTo>
                <a:cubicBezTo>
                  <a:pt x="3201" y="1615"/>
                  <a:pt x="3203" y="1606"/>
                  <a:pt x="3208" y="1599"/>
                </a:cubicBezTo>
                <a:cubicBezTo>
                  <a:pt x="3212" y="1592"/>
                  <a:pt x="3219" y="1589"/>
                  <a:pt x="3228" y="1589"/>
                </a:cubicBezTo>
                <a:cubicBezTo>
                  <a:pt x="3244" y="1589"/>
                  <a:pt x="3252" y="1601"/>
                  <a:pt x="3252" y="1627"/>
                </a:cubicBezTo>
                <a:cubicBezTo>
                  <a:pt x="3252" y="1639"/>
                  <a:pt x="3250" y="1649"/>
                  <a:pt x="3245" y="1655"/>
                </a:cubicBezTo>
                <a:cubicBezTo>
                  <a:pt x="3240" y="1662"/>
                  <a:pt x="3234" y="1665"/>
                  <a:pt x="3225" y="1665"/>
                </a:cubicBezTo>
                <a:close/>
                <a:moveTo>
                  <a:pt x="3227" y="1598"/>
                </a:moveTo>
                <a:cubicBezTo>
                  <a:pt x="3218" y="1598"/>
                  <a:pt x="3213" y="1608"/>
                  <a:pt x="3213" y="1628"/>
                </a:cubicBezTo>
                <a:cubicBezTo>
                  <a:pt x="3213" y="1647"/>
                  <a:pt x="3217" y="1655"/>
                  <a:pt x="3226" y="1655"/>
                </a:cubicBezTo>
                <a:cubicBezTo>
                  <a:pt x="3235" y="1655"/>
                  <a:pt x="3239" y="1647"/>
                  <a:pt x="3239" y="1628"/>
                </a:cubicBezTo>
                <a:cubicBezTo>
                  <a:pt x="3239" y="1608"/>
                  <a:pt x="3235" y="1598"/>
                  <a:pt x="3227" y="1598"/>
                </a:cubicBezTo>
                <a:close/>
                <a:moveTo>
                  <a:pt x="3435" y="1675"/>
                </a:moveTo>
                <a:cubicBezTo>
                  <a:pt x="3428" y="1675"/>
                  <a:pt x="3422" y="1672"/>
                  <a:pt x="3417" y="1665"/>
                </a:cubicBezTo>
                <a:cubicBezTo>
                  <a:pt x="3413" y="1659"/>
                  <a:pt x="3411" y="1650"/>
                  <a:pt x="3411" y="1638"/>
                </a:cubicBezTo>
                <a:cubicBezTo>
                  <a:pt x="3411" y="1625"/>
                  <a:pt x="3413" y="1616"/>
                  <a:pt x="3417" y="1608"/>
                </a:cubicBezTo>
                <a:cubicBezTo>
                  <a:pt x="3422" y="1602"/>
                  <a:pt x="3428" y="1599"/>
                  <a:pt x="3437" y="1599"/>
                </a:cubicBezTo>
                <a:cubicBezTo>
                  <a:pt x="3453" y="1599"/>
                  <a:pt x="3461" y="1611"/>
                  <a:pt x="3461" y="1636"/>
                </a:cubicBezTo>
                <a:cubicBezTo>
                  <a:pt x="3461" y="1649"/>
                  <a:pt x="3459" y="1659"/>
                  <a:pt x="3455" y="1665"/>
                </a:cubicBezTo>
                <a:cubicBezTo>
                  <a:pt x="3449" y="1672"/>
                  <a:pt x="3444" y="1675"/>
                  <a:pt x="3435" y="1675"/>
                </a:cubicBezTo>
                <a:close/>
                <a:moveTo>
                  <a:pt x="3436" y="1608"/>
                </a:moveTo>
                <a:cubicBezTo>
                  <a:pt x="3428" y="1608"/>
                  <a:pt x="3423" y="1618"/>
                  <a:pt x="3423" y="1637"/>
                </a:cubicBezTo>
                <a:cubicBezTo>
                  <a:pt x="3423" y="1656"/>
                  <a:pt x="3428" y="1665"/>
                  <a:pt x="3436" y="1665"/>
                </a:cubicBezTo>
                <a:cubicBezTo>
                  <a:pt x="3444" y="1665"/>
                  <a:pt x="3449" y="1656"/>
                  <a:pt x="3449" y="1637"/>
                </a:cubicBezTo>
                <a:cubicBezTo>
                  <a:pt x="3449" y="1618"/>
                  <a:pt x="3445" y="1608"/>
                  <a:pt x="3436" y="1608"/>
                </a:cubicBezTo>
                <a:close/>
                <a:moveTo>
                  <a:pt x="3508" y="1592"/>
                </a:moveTo>
                <a:cubicBezTo>
                  <a:pt x="3508" y="1592"/>
                  <a:pt x="3508" y="1592"/>
                  <a:pt x="3508" y="1592"/>
                </a:cubicBezTo>
                <a:cubicBezTo>
                  <a:pt x="3503" y="1592"/>
                  <a:pt x="3503" y="1592"/>
                  <a:pt x="3503" y="1592"/>
                </a:cubicBezTo>
                <a:cubicBezTo>
                  <a:pt x="3500" y="1593"/>
                  <a:pt x="3499" y="1594"/>
                  <a:pt x="3497" y="1595"/>
                </a:cubicBezTo>
                <a:cubicBezTo>
                  <a:pt x="3495" y="1597"/>
                  <a:pt x="3493" y="1597"/>
                  <a:pt x="3492" y="1598"/>
                </a:cubicBezTo>
                <a:cubicBezTo>
                  <a:pt x="3490" y="1599"/>
                  <a:pt x="3488" y="1600"/>
                  <a:pt x="3487" y="1600"/>
                </a:cubicBezTo>
                <a:cubicBezTo>
                  <a:pt x="3484" y="1601"/>
                  <a:pt x="3483" y="1602"/>
                  <a:pt x="3481" y="1602"/>
                </a:cubicBezTo>
                <a:cubicBezTo>
                  <a:pt x="3481" y="1602"/>
                  <a:pt x="3481" y="1602"/>
                  <a:pt x="3481" y="1613"/>
                </a:cubicBezTo>
                <a:cubicBezTo>
                  <a:pt x="3484" y="1612"/>
                  <a:pt x="3487" y="1610"/>
                  <a:pt x="3489" y="1610"/>
                </a:cubicBezTo>
                <a:cubicBezTo>
                  <a:pt x="3492" y="1609"/>
                  <a:pt x="3494" y="1608"/>
                  <a:pt x="3496" y="1606"/>
                </a:cubicBezTo>
                <a:cubicBezTo>
                  <a:pt x="3496" y="1606"/>
                  <a:pt x="3496" y="1606"/>
                  <a:pt x="3496" y="1665"/>
                </a:cubicBezTo>
                <a:cubicBezTo>
                  <a:pt x="3496" y="1665"/>
                  <a:pt x="3496" y="1665"/>
                  <a:pt x="3508" y="1665"/>
                </a:cubicBezTo>
                <a:cubicBezTo>
                  <a:pt x="3508" y="1665"/>
                  <a:pt x="3508" y="1665"/>
                  <a:pt x="3508" y="1592"/>
                </a:cubicBezTo>
                <a:close/>
                <a:moveTo>
                  <a:pt x="3298" y="1592"/>
                </a:moveTo>
                <a:cubicBezTo>
                  <a:pt x="3298" y="1592"/>
                  <a:pt x="3298" y="1592"/>
                  <a:pt x="3298" y="1592"/>
                </a:cubicBezTo>
                <a:cubicBezTo>
                  <a:pt x="3293" y="1592"/>
                  <a:pt x="3293" y="1592"/>
                  <a:pt x="3293" y="1592"/>
                </a:cubicBezTo>
                <a:cubicBezTo>
                  <a:pt x="3291" y="1593"/>
                  <a:pt x="3290" y="1594"/>
                  <a:pt x="3288" y="1595"/>
                </a:cubicBezTo>
                <a:cubicBezTo>
                  <a:pt x="3286" y="1597"/>
                  <a:pt x="3285" y="1597"/>
                  <a:pt x="3282" y="1598"/>
                </a:cubicBezTo>
                <a:cubicBezTo>
                  <a:pt x="3281" y="1600"/>
                  <a:pt x="3279" y="1600"/>
                  <a:pt x="3277" y="1601"/>
                </a:cubicBezTo>
                <a:cubicBezTo>
                  <a:pt x="3275" y="1602"/>
                  <a:pt x="3274" y="1602"/>
                  <a:pt x="3272" y="1602"/>
                </a:cubicBezTo>
                <a:cubicBezTo>
                  <a:pt x="3272" y="1602"/>
                  <a:pt x="3272" y="1602"/>
                  <a:pt x="3272" y="1613"/>
                </a:cubicBezTo>
                <a:cubicBezTo>
                  <a:pt x="3274" y="1612"/>
                  <a:pt x="3277" y="1611"/>
                  <a:pt x="3280" y="1610"/>
                </a:cubicBezTo>
                <a:cubicBezTo>
                  <a:pt x="3282" y="1609"/>
                  <a:pt x="3285" y="1608"/>
                  <a:pt x="3287" y="1606"/>
                </a:cubicBezTo>
                <a:cubicBezTo>
                  <a:pt x="3287" y="1606"/>
                  <a:pt x="3287" y="1606"/>
                  <a:pt x="3287" y="1665"/>
                </a:cubicBezTo>
                <a:cubicBezTo>
                  <a:pt x="3287" y="1665"/>
                  <a:pt x="3287" y="1665"/>
                  <a:pt x="3298" y="1665"/>
                </a:cubicBezTo>
                <a:cubicBezTo>
                  <a:pt x="3298" y="1665"/>
                  <a:pt x="3298" y="1665"/>
                  <a:pt x="3298" y="1592"/>
                </a:cubicBezTo>
                <a:close/>
                <a:moveTo>
                  <a:pt x="3345" y="1592"/>
                </a:moveTo>
                <a:cubicBezTo>
                  <a:pt x="3345" y="1592"/>
                  <a:pt x="3345" y="1592"/>
                  <a:pt x="3345" y="1592"/>
                </a:cubicBezTo>
                <a:cubicBezTo>
                  <a:pt x="3340" y="1592"/>
                  <a:pt x="3340" y="1592"/>
                  <a:pt x="3340" y="1592"/>
                </a:cubicBezTo>
                <a:cubicBezTo>
                  <a:pt x="3338" y="1593"/>
                  <a:pt x="3337" y="1594"/>
                  <a:pt x="3334" y="1595"/>
                </a:cubicBezTo>
                <a:cubicBezTo>
                  <a:pt x="3333" y="1597"/>
                  <a:pt x="3331" y="1597"/>
                  <a:pt x="3329" y="1598"/>
                </a:cubicBezTo>
                <a:cubicBezTo>
                  <a:pt x="3328" y="1600"/>
                  <a:pt x="3325" y="1600"/>
                  <a:pt x="3324" y="1601"/>
                </a:cubicBezTo>
                <a:cubicBezTo>
                  <a:pt x="3322" y="1602"/>
                  <a:pt x="3320" y="1602"/>
                  <a:pt x="3318" y="1602"/>
                </a:cubicBezTo>
                <a:cubicBezTo>
                  <a:pt x="3318" y="1602"/>
                  <a:pt x="3318" y="1602"/>
                  <a:pt x="3318" y="1613"/>
                </a:cubicBezTo>
                <a:cubicBezTo>
                  <a:pt x="3321" y="1612"/>
                  <a:pt x="3324" y="1611"/>
                  <a:pt x="3326" y="1610"/>
                </a:cubicBezTo>
                <a:cubicBezTo>
                  <a:pt x="3329" y="1609"/>
                  <a:pt x="3331" y="1608"/>
                  <a:pt x="3334" y="1606"/>
                </a:cubicBezTo>
                <a:cubicBezTo>
                  <a:pt x="3334" y="1606"/>
                  <a:pt x="3334" y="1606"/>
                  <a:pt x="3334" y="1665"/>
                </a:cubicBezTo>
                <a:cubicBezTo>
                  <a:pt x="3334" y="1665"/>
                  <a:pt x="3334" y="1665"/>
                  <a:pt x="3345" y="1665"/>
                </a:cubicBezTo>
                <a:cubicBezTo>
                  <a:pt x="3345" y="1665"/>
                  <a:pt x="3345" y="1665"/>
                  <a:pt x="3345" y="1592"/>
                </a:cubicBezTo>
                <a:close/>
                <a:moveTo>
                  <a:pt x="3391" y="1592"/>
                </a:moveTo>
                <a:cubicBezTo>
                  <a:pt x="3391" y="1592"/>
                  <a:pt x="3391" y="1592"/>
                  <a:pt x="3391" y="1592"/>
                </a:cubicBezTo>
                <a:cubicBezTo>
                  <a:pt x="3387" y="1592"/>
                  <a:pt x="3387" y="1592"/>
                  <a:pt x="3387" y="1592"/>
                </a:cubicBezTo>
                <a:cubicBezTo>
                  <a:pt x="3385" y="1593"/>
                  <a:pt x="3383" y="1594"/>
                  <a:pt x="3381" y="1595"/>
                </a:cubicBezTo>
                <a:cubicBezTo>
                  <a:pt x="3380" y="1597"/>
                  <a:pt x="3377" y="1597"/>
                  <a:pt x="3376" y="1598"/>
                </a:cubicBezTo>
                <a:cubicBezTo>
                  <a:pt x="3374" y="1599"/>
                  <a:pt x="3372" y="1600"/>
                  <a:pt x="3370" y="1600"/>
                </a:cubicBezTo>
                <a:cubicBezTo>
                  <a:pt x="3369" y="1601"/>
                  <a:pt x="3367" y="1602"/>
                  <a:pt x="3365" y="1602"/>
                </a:cubicBezTo>
                <a:cubicBezTo>
                  <a:pt x="3365" y="1602"/>
                  <a:pt x="3365" y="1602"/>
                  <a:pt x="3365" y="1613"/>
                </a:cubicBezTo>
                <a:cubicBezTo>
                  <a:pt x="3368" y="1612"/>
                  <a:pt x="3371" y="1610"/>
                  <a:pt x="3373" y="1610"/>
                </a:cubicBezTo>
                <a:cubicBezTo>
                  <a:pt x="3375" y="1609"/>
                  <a:pt x="3378" y="1608"/>
                  <a:pt x="3380" y="1606"/>
                </a:cubicBezTo>
                <a:cubicBezTo>
                  <a:pt x="3380" y="1606"/>
                  <a:pt x="3380" y="1606"/>
                  <a:pt x="3380" y="1665"/>
                </a:cubicBezTo>
                <a:cubicBezTo>
                  <a:pt x="3380" y="1665"/>
                  <a:pt x="3380" y="1665"/>
                  <a:pt x="3391" y="1665"/>
                </a:cubicBezTo>
                <a:cubicBezTo>
                  <a:pt x="3391" y="1665"/>
                  <a:pt x="3391" y="1665"/>
                  <a:pt x="3391" y="1592"/>
                </a:cubicBezTo>
                <a:close/>
                <a:moveTo>
                  <a:pt x="2149" y="1592"/>
                </a:moveTo>
                <a:cubicBezTo>
                  <a:pt x="2149" y="1592"/>
                  <a:pt x="2149" y="1592"/>
                  <a:pt x="2149" y="1592"/>
                </a:cubicBezTo>
                <a:cubicBezTo>
                  <a:pt x="2144" y="1592"/>
                  <a:pt x="2144" y="1592"/>
                  <a:pt x="2144" y="1592"/>
                </a:cubicBezTo>
                <a:cubicBezTo>
                  <a:pt x="2141" y="1593"/>
                  <a:pt x="2140" y="1594"/>
                  <a:pt x="2138" y="1595"/>
                </a:cubicBezTo>
                <a:cubicBezTo>
                  <a:pt x="2136" y="1597"/>
                  <a:pt x="2134" y="1597"/>
                  <a:pt x="2133" y="1598"/>
                </a:cubicBezTo>
                <a:cubicBezTo>
                  <a:pt x="2131" y="1600"/>
                  <a:pt x="2129" y="1600"/>
                  <a:pt x="2127" y="1601"/>
                </a:cubicBezTo>
                <a:cubicBezTo>
                  <a:pt x="2125" y="1602"/>
                  <a:pt x="2124" y="1602"/>
                  <a:pt x="2121" y="1602"/>
                </a:cubicBezTo>
                <a:cubicBezTo>
                  <a:pt x="2121" y="1602"/>
                  <a:pt x="2121" y="1602"/>
                  <a:pt x="2121" y="1613"/>
                </a:cubicBezTo>
                <a:cubicBezTo>
                  <a:pt x="2124" y="1612"/>
                  <a:pt x="2127" y="1611"/>
                  <a:pt x="2130" y="1610"/>
                </a:cubicBezTo>
                <a:cubicBezTo>
                  <a:pt x="2133" y="1609"/>
                  <a:pt x="2135" y="1608"/>
                  <a:pt x="2137" y="1606"/>
                </a:cubicBezTo>
                <a:cubicBezTo>
                  <a:pt x="2137" y="1606"/>
                  <a:pt x="2137" y="1606"/>
                  <a:pt x="2137" y="1665"/>
                </a:cubicBezTo>
                <a:cubicBezTo>
                  <a:pt x="2137" y="1665"/>
                  <a:pt x="2137" y="1665"/>
                  <a:pt x="2149" y="1665"/>
                </a:cubicBezTo>
                <a:cubicBezTo>
                  <a:pt x="2149" y="1665"/>
                  <a:pt x="2149" y="1665"/>
                  <a:pt x="2149" y="1592"/>
                </a:cubicBezTo>
                <a:close/>
                <a:moveTo>
                  <a:pt x="2195" y="1592"/>
                </a:moveTo>
                <a:cubicBezTo>
                  <a:pt x="2195" y="1592"/>
                  <a:pt x="2195" y="1592"/>
                  <a:pt x="2195" y="1592"/>
                </a:cubicBezTo>
                <a:cubicBezTo>
                  <a:pt x="2190" y="1592"/>
                  <a:pt x="2190" y="1592"/>
                  <a:pt x="2190" y="1592"/>
                </a:cubicBezTo>
                <a:cubicBezTo>
                  <a:pt x="2189" y="1593"/>
                  <a:pt x="2187" y="1594"/>
                  <a:pt x="2185" y="1595"/>
                </a:cubicBezTo>
                <a:cubicBezTo>
                  <a:pt x="2183" y="1597"/>
                  <a:pt x="2182" y="1597"/>
                  <a:pt x="2179" y="1598"/>
                </a:cubicBezTo>
                <a:cubicBezTo>
                  <a:pt x="2178" y="1600"/>
                  <a:pt x="2176" y="1600"/>
                  <a:pt x="2174" y="1601"/>
                </a:cubicBezTo>
                <a:cubicBezTo>
                  <a:pt x="2172" y="1602"/>
                  <a:pt x="2171" y="1602"/>
                  <a:pt x="2168" y="1602"/>
                </a:cubicBezTo>
                <a:cubicBezTo>
                  <a:pt x="2168" y="1602"/>
                  <a:pt x="2168" y="1602"/>
                  <a:pt x="2168" y="1613"/>
                </a:cubicBezTo>
                <a:cubicBezTo>
                  <a:pt x="2171" y="1612"/>
                  <a:pt x="2174" y="1611"/>
                  <a:pt x="2177" y="1610"/>
                </a:cubicBezTo>
                <a:cubicBezTo>
                  <a:pt x="2179" y="1609"/>
                  <a:pt x="2182" y="1608"/>
                  <a:pt x="2184" y="1606"/>
                </a:cubicBezTo>
                <a:cubicBezTo>
                  <a:pt x="2184" y="1606"/>
                  <a:pt x="2184" y="1606"/>
                  <a:pt x="2184" y="1665"/>
                </a:cubicBezTo>
                <a:cubicBezTo>
                  <a:pt x="2184" y="1665"/>
                  <a:pt x="2184" y="1665"/>
                  <a:pt x="2195" y="1665"/>
                </a:cubicBezTo>
                <a:cubicBezTo>
                  <a:pt x="2195" y="1665"/>
                  <a:pt x="2195" y="1665"/>
                  <a:pt x="2195" y="1592"/>
                </a:cubicBezTo>
                <a:close/>
                <a:moveTo>
                  <a:pt x="2241" y="1592"/>
                </a:moveTo>
                <a:cubicBezTo>
                  <a:pt x="2241" y="1592"/>
                  <a:pt x="2241" y="1592"/>
                  <a:pt x="2241" y="1592"/>
                </a:cubicBezTo>
                <a:cubicBezTo>
                  <a:pt x="2237" y="1592"/>
                  <a:pt x="2237" y="1592"/>
                  <a:pt x="2237" y="1592"/>
                </a:cubicBezTo>
                <a:cubicBezTo>
                  <a:pt x="2235" y="1593"/>
                  <a:pt x="2233" y="1594"/>
                  <a:pt x="2231" y="1595"/>
                </a:cubicBezTo>
                <a:cubicBezTo>
                  <a:pt x="2230" y="1597"/>
                  <a:pt x="2228" y="1597"/>
                  <a:pt x="2226" y="1598"/>
                </a:cubicBezTo>
                <a:cubicBezTo>
                  <a:pt x="2224" y="1599"/>
                  <a:pt x="2222" y="1600"/>
                  <a:pt x="2220" y="1600"/>
                </a:cubicBezTo>
                <a:cubicBezTo>
                  <a:pt x="2219" y="1601"/>
                  <a:pt x="2217" y="1602"/>
                  <a:pt x="2215" y="1602"/>
                </a:cubicBezTo>
                <a:cubicBezTo>
                  <a:pt x="2215" y="1602"/>
                  <a:pt x="2215" y="1602"/>
                  <a:pt x="2215" y="1613"/>
                </a:cubicBezTo>
                <a:cubicBezTo>
                  <a:pt x="2218" y="1612"/>
                  <a:pt x="2221" y="1610"/>
                  <a:pt x="2223" y="1610"/>
                </a:cubicBezTo>
                <a:cubicBezTo>
                  <a:pt x="2225" y="1609"/>
                  <a:pt x="2228" y="1608"/>
                  <a:pt x="2230" y="1606"/>
                </a:cubicBezTo>
                <a:cubicBezTo>
                  <a:pt x="2230" y="1606"/>
                  <a:pt x="2230" y="1606"/>
                  <a:pt x="2230" y="1665"/>
                </a:cubicBezTo>
                <a:cubicBezTo>
                  <a:pt x="2230" y="1665"/>
                  <a:pt x="2230" y="1665"/>
                  <a:pt x="2241" y="1665"/>
                </a:cubicBezTo>
                <a:cubicBezTo>
                  <a:pt x="2241" y="1665"/>
                  <a:pt x="2241" y="1665"/>
                  <a:pt x="2241" y="1592"/>
                </a:cubicBezTo>
                <a:close/>
                <a:moveTo>
                  <a:pt x="2378" y="1624"/>
                </a:moveTo>
                <a:cubicBezTo>
                  <a:pt x="2378" y="1624"/>
                  <a:pt x="2378" y="1624"/>
                  <a:pt x="2378" y="1624"/>
                </a:cubicBezTo>
                <a:cubicBezTo>
                  <a:pt x="2377" y="1632"/>
                  <a:pt x="2377" y="1632"/>
                  <a:pt x="2377" y="1632"/>
                </a:cubicBezTo>
                <a:cubicBezTo>
                  <a:pt x="2384" y="1632"/>
                  <a:pt x="2384" y="1635"/>
                  <a:pt x="2384" y="1638"/>
                </a:cubicBezTo>
                <a:cubicBezTo>
                  <a:pt x="2384" y="1640"/>
                  <a:pt x="2384" y="1643"/>
                  <a:pt x="2384" y="1645"/>
                </a:cubicBezTo>
                <a:cubicBezTo>
                  <a:pt x="2384" y="1648"/>
                  <a:pt x="2383" y="1650"/>
                  <a:pt x="2383" y="1652"/>
                </a:cubicBezTo>
                <a:cubicBezTo>
                  <a:pt x="2383" y="1662"/>
                  <a:pt x="2389" y="1665"/>
                  <a:pt x="2398" y="1665"/>
                </a:cubicBezTo>
                <a:cubicBezTo>
                  <a:pt x="2398" y="1665"/>
                  <a:pt x="2398" y="1665"/>
                  <a:pt x="2401" y="1665"/>
                </a:cubicBezTo>
                <a:cubicBezTo>
                  <a:pt x="2401" y="1665"/>
                  <a:pt x="2401" y="1665"/>
                  <a:pt x="2401" y="1656"/>
                </a:cubicBezTo>
                <a:cubicBezTo>
                  <a:pt x="2401" y="1656"/>
                  <a:pt x="2401" y="1656"/>
                  <a:pt x="2400" y="1656"/>
                </a:cubicBezTo>
                <a:cubicBezTo>
                  <a:pt x="2396" y="1656"/>
                  <a:pt x="2395" y="1653"/>
                  <a:pt x="2395" y="1650"/>
                </a:cubicBezTo>
                <a:cubicBezTo>
                  <a:pt x="2395" y="1649"/>
                  <a:pt x="2395" y="1647"/>
                  <a:pt x="2395" y="1645"/>
                </a:cubicBezTo>
                <a:cubicBezTo>
                  <a:pt x="2395" y="1644"/>
                  <a:pt x="2396" y="1641"/>
                  <a:pt x="2396" y="1639"/>
                </a:cubicBezTo>
                <a:cubicBezTo>
                  <a:pt x="2396" y="1632"/>
                  <a:pt x="2393" y="1629"/>
                  <a:pt x="2387" y="1628"/>
                </a:cubicBezTo>
                <a:cubicBezTo>
                  <a:pt x="2387" y="1628"/>
                  <a:pt x="2387" y="1628"/>
                  <a:pt x="2387" y="1628"/>
                </a:cubicBezTo>
                <a:cubicBezTo>
                  <a:pt x="2393" y="1626"/>
                  <a:pt x="2396" y="1624"/>
                  <a:pt x="2396" y="1617"/>
                </a:cubicBezTo>
                <a:cubicBezTo>
                  <a:pt x="2396" y="1614"/>
                  <a:pt x="2395" y="1612"/>
                  <a:pt x="2395" y="1610"/>
                </a:cubicBezTo>
                <a:cubicBezTo>
                  <a:pt x="2395" y="1609"/>
                  <a:pt x="2395" y="1607"/>
                  <a:pt x="2395" y="1606"/>
                </a:cubicBezTo>
                <a:cubicBezTo>
                  <a:pt x="2395" y="1602"/>
                  <a:pt x="2396" y="1600"/>
                  <a:pt x="2400" y="1600"/>
                </a:cubicBezTo>
                <a:cubicBezTo>
                  <a:pt x="2400" y="1600"/>
                  <a:pt x="2400" y="1600"/>
                  <a:pt x="2401" y="1600"/>
                </a:cubicBezTo>
                <a:cubicBezTo>
                  <a:pt x="2401" y="1600"/>
                  <a:pt x="2401" y="1600"/>
                  <a:pt x="2401" y="1591"/>
                </a:cubicBezTo>
                <a:cubicBezTo>
                  <a:pt x="2401" y="1591"/>
                  <a:pt x="2401" y="1591"/>
                  <a:pt x="2398" y="1591"/>
                </a:cubicBezTo>
                <a:cubicBezTo>
                  <a:pt x="2389" y="1591"/>
                  <a:pt x="2383" y="1595"/>
                  <a:pt x="2383" y="1603"/>
                </a:cubicBezTo>
                <a:cubicBezTo>
                  <a:pt x="2383" y="1606"/>
                  <a:pt x="2384" y="1608"/>
                  <a:pt x="2384" y="1611"/>
                </a:cubicBezTo>
                <a:cubicBezTo>
                  <a:pt x="2384" y="1613"/>
                  <a:pt x="2384" y="1616"/>
                  <a:pt x="2384" y="1618"/>
                </a:cubicBezTo>
                <a:cubicBezTo>
                  <a:pt x="2384" y="1620"/>
                  <a:pt x="2384" y="1624"/>
                  <a:pt x="2378" y="1624"/>
                </a:cubicBezTo>
                <a:close/>
                <a:moveTo>
                  <a:pt x="2432" y="1632"/>
                </a:moveTo>
                <a:cubicBezTo>
                  <a:pt x="2432" y="1632"/>
                  <a:pt x="2432" y="1632"/>
                  <a:pt x="2432" y="1632"/>
                </a:cubicBezTo>
                <a:cubicBezTo>
                  <a:pt x="2432" y="1624"/>
                  <a:pt x="2432" y="1624"/>
                  <a:pt x="2432" y="1624"/>
                </a:cubicBezTo>
                <a:cubicBezTo>
                  <a:pt x="2426" y="1624"/>
                  <a:pt x="2426" y="1620"/>
                  <a:pt x="2426" y="1618"/>
                </a:cubicBezTo>
                <a:cubicBezTo>
                  <a:pt x="2426" y="1616"/>
                  <a:pt x="2426" y="1613"/>
                  <a:pt x="2426" y="1611"/>
                </a:cubicBezTo>
                <a:cubicBezTo>
                  <a:pt x="2427" y="1608"/>
                  <a:pt x="2427" y="1606"/>
                  <a:pt x="2427" y="1603"/>
                </a:cubicBezTo>
                <a:cubicBezTo>
                  <a:pt x="2427" y="1595"/>
                  <a:pt x="2421" y="1591"/>
                  <a:pt x="2412" y="1591"/>
                </a:cubicBezTo>
                <a:cubicBezTo>
                  <a:pt x="2412" y="1591"/>
                  <a:pt x="2412" y="1591"/>
                  <a:pt x="2408" y="1591"/>
                </a:cubicBezTo>
                <a:cubicBezTo>
                  <a:pt x="2408" y="1591"/>
                  <a:pt x="2408" y="1591"/>
                  <a:pt x="2408" y="1600"/>
                </a:cubicBezTo>
                <a:cubicBezTo>
                  <a:pt x="2408" y="1600"/>
                  <a:pt x="2408" y="1600"/>
                  <a:pt x="2410" y="1600"/>
                </a:cubicBezTo>
                <a:cubicBezTo>
                  <a:pt x="2414" y="1600"/>
                  <a:pt x="2415" y="1602"/>
                  <a:pt x="2415" y="1606"/>
                </a:cubicBezTo>
                <a:cubicBezTo>
                  <a:pt x="2415" y="1607"/>
                  <a:pt x="2415" y="1609"/>
                  <a:pt x="2415" y="1610"/>
                </a:cubicBezTo>
                <a:cubicBezTo>
                  <a:pt x="2414" y="1612"/>
                  <a:pt x="2414" y="1614"/>
                  <a:pt x="2414" y="1617"/>
                </a:cubicBezTo>
                <a:cubicBezTo>
                  <a:pt x="2414" y="1624"/>
                  <a:pt x="2417" y="1626"/>
                  <a:pt x="2423" y="1628"/>
                </a:cubicBezTo>
                <a:cubicBezTo>
                  <a:pt x="2423" y="1628"/>
                  <a:pt x="2423" y="1628"/>
                  <a:pt x="2423" y="1628"/>
                </a:cubicBezTo>
                <a:cubicBezTo>
                  <a:pt x="2417" y="1629"/>
                  <a:pt x="2414" y="1632"/>
                  <a:pt x="2414" y="1639"/>
                </a:cubicBezTo>
                <a:cubicBezTo>
                  <a:pt x="2414" y="1641"/>
                  <a:pt x="2414" y="1644"/>
                  <a:pt x="2415" y="1645"/>
                </a:cubicBezTo>
                <a:cubicBezTo>
                  <a:pt x="2415" y="1647"/>
                  <a:pt x="2415" y="1649"/>
                  <a:pt x="2415" y="1650"/>
                </a:cubicBezTo>
                <a:cubicBezTo>
                  <a:pt x="2415" y="1653"/>
                  <a:pt x="2414" y="1656"/>
                  <a:pt x="2410" y="1656"/>
                </a:cubicBezTo>
                <a:cubicBezTo>
                  <a:pt x="2410" y="1656"/>
                  <a:pt x="2410" y="1656"/>
                  <a:pt x="2408" y="1656"/>
                </a:cubicBezTo>
                <a:cubicBezTo>
                  <a:pt x="2408" y="1656"/>
                  <a:pt x="2408" y="1656"/>
                  <a:pt x="2408" y="1665"/>
                </a:cubicBezTo>
                <a:cubicBezTo>
                  <a:pt x="2408" y="1665"/>
                  <a:pt x="2408" y="1665"/>
                  <a:pt x="2412" y="1665"/>
                </a:cubicBezTo>
                <a:cubicBezTo>
                  <a:pt x="2421" y="1665"/>
                  <a:pt x="2427" y="1662"/>
                  <a:pt x="2427" y="1652"/>
                </a:cubicBezTo>
                <a:cubicBezTo>
                  <a:pt x="2427" y="1650"/>
                  <a:pt x="2427" y="1648"/>
                  <a:pt x="2426" y="1645"/>
                </a:cubicBezTo>
                <a:cubicBezTo>
                  <a:pt x="2426" y="1643"/>
                  <a:pt x="2426" y="1640"/>
                  <a:pt x="2426" y="1638"/>
                </a:cubicBezTo>
                <a:cubicBezTo>
                  <a:pt x="2426" y="1635"/>
                  <a:pt x="2426" y="1632"/>
                  <a:pt x="2432" y="1632"/>
                </a:cubicBezTo>
                <a:close/>
                <a:moveTo>
                  <a:pt x="2479" y="1592"/>
                </a:moveTo>
                <a:cubicBezTo>
                  <a:pt x="2479" y="1592"/>
                  <a:pt x="2479" y="1592"/>
                  <a:pt x="2479" y="1592"/>
                </a:cubicBezTo>
                <a:cubicBezTo>
                  <a:pt x="2474" y="1592"/>
                  <a:pt x="2474" y="1592"/>
                  <a:pt x="2474" y="1592"/>
                </a:cubicBezTo>
                <a:cubicBezTo>
                  <a:pt x="2472" y="1593"/>
                  <a:pt x="2470" y="1594"/>
                  <a:pt x="2468" y="1595"/>
                </a:cubicBezTo>
                <a:cubicBezTo>
                  <a:pt x="2467" y="1597"/>
                  <a:pt x="2465" y="1597"/>
                  <a:pt x="2463" y="1598"/>
                </a:cubicBezTo>
                <a:cubicBezTo>
                  <a:pt x="2461" y="1599"/>
                  <a:pt x="2459" y="1600"/>
                  <a:pt x="2458" y="1600"/>
                </a:cubicBezTo>
                <a:cubicBezTo>
                  <a:pt x="2456" y="1601"/>
                  <a:pt x="2454" y="1602"/>
                  <a:pt x="2452" y="1602"/>
                </a:cubicBezTo>
                <a:cubicBezTo>
                  <a:pt x="2452" y="1602"/>
                  <a:pt x="2452" y="1602"/>
                  <a:pt x="2452" y="1613"/>
                </a:cubicBezTo>
                <a:cubicBezTo>
                  <a:pt x="2455" y="1612"/>
                  <a:pt x="2458" y="1610"/>
                  <a:pt x="2460" y="1610"/>
                </a:cubicBezTo>
                <a:cubicBezTo>
                  <a:pt x="2463" y="1609"/>
                  <a:pt x="2465" y="1608"/>
                  <a:pt x="2467" y="1606"/>
                </a:cubicBezTo>
                <a:cubicBezTo>
                  <a:pt x="2467" y="1606"/>
                  <a:pt x="2467" y="1606"/>
                  <a:pt x="2467" y="1665"/>
                </a:cubicBezTo>
                <a:cubicBezTo>
                  <a:pt x="2467" y="1665"/>
                  <a:pt x="2467" y="1665"/>
                  <a:pt x="2479" y="1665"/>
                </a:cubicBezTo>
                <a:cubicBezTo>
                  <a:pt x="2479" y="1665"/>
                  <a:pt x="2479" y="1665"/>
                  <a:pt x="2479" y="1592"/>
                </a:cubicBezTo>
                <a:close/>
                <a:moveTo>
                  <a:pt x="2526" y="1592"/>
                </a:moveTo>
                <a:cubicBezTo>
                  <a:pt x="2526" y="1592"/>
                  <a:pt x="2526" y="1592"/>
                  <a:pt x="2526" y="1592"/>
                </a:cubicBezTo>
                <a:cubicBezTo>
                  <a:pt x="2521" y="1592"/>
                  <a:pt x="2521" y="1592"/>
                  <a:pt x="2521" y="1592"/>
                </a:cubicBezTo>
                <a:cubicBezTo>
                  <a:pt x="2518" y="1593"/>
                  <a:pt x="2517" y="1594"/>
                  <a:pt x="2515" y="1595"/>
                </a:cubicBezTo>
                <a:cubicBezTo>
                  <a:pt x="2513" y="1597"/>
                  <a:pt x="2511" y="1597"/>
                  <a:pt x="2510" y="1598"/>
                </a:cubicBezTo>
                <a:cubicBezTo>
                  <a:pt x="2508" y="1600"/>
                  <a:pt x="2506" y="1600"/>
                  <a:pt x="2505" y="1601"/>
                </a:cubicBezTo>
                <a:cubicBezTo>
                  <a:pt x="2502" y="1602"/>
                  <a:pt x="2501" y="1602"/>
                  <a:pt x="2499" y="1602"/>
                </a:cubicBezTo>
                <a:cubicBezTo>
                  <a:pt x="2499" y="1602"/>
                  <a:pt x="2499" y="1602"/>
                  <a:pt x="2499" y="1613"/>
                </a:cubicBezTo>
                <a:cubicBezTo>
                  <a:pt x="2502" y="1612"/>
                  <a:pt x="2505" y="1611"/>
                  <a:pt x="2507" y="1610"/>
                </a:cubicBezTo>
                <a:cubicBezTo>
                  <a:pt x="2510" y="1609"/>
                  <a:pt x="2512" y="1608"/>
                  <a:pt x="2514" y="1606"/>
                </a:cubicBezTo>
                <a:cubicBezTo>
                  <a:pt x="2514" y="1606"/>
                  <a:pt x="2514" y="1606"/>
                  <a:pt x="2514" y="1665"/>
                </a:cubicBezTo>
                <a:cubicBezTo>
                  <a:pt x="2514" y="1665"/>
                  <a:pt x="2514" y="1665"/>
                  <a:pt x="2526" y="1665"/>
                </a:cubicBezTo>
                <a:cubicBezTo>
                  <a:pt x="2526" y="1665"/>
                  <a:pt x="2526" y="1665"/>
                  <a:pt x="2526" y="1592"/>
                </a:cubicBezTo>
                <a:close/>
                <a:moveTo>
                  <a:pt x="2571" y="1592"/>
                </a:moveTo>
                <a:cubicBezTo>
                  <a:pt x="2571" y="1592"/>
                  <a:pt x="2571" y="1592"/>
                  <a:pt x="2571" y="1592"/>
                </a:cubicBezTo>
                <a:cubicBezTo>
                  <a:pt x="2567" y="1592"/>
                  <a:pt x="2567" y="1592"/>
                  <a:pt x="2567" y="1592"/>
                </a:cubicBezTo>
                <a:cubicBezTo>
                  <a:pt x="2565" y="1593"/>
                  <a:pt x="2563" y="1594"/>
                  <a:pt x="2561" y="1595"/>
                </a:cubicBezTo>
                <a:cubicBezTo>
                  <a:pt x="2560" y="1597"/>
                  <a:pt x="2558" y="1597"/>
                  <a:pt x="2556" y="1598"/>
                </a:cubicBezTo>
                <a:cubicBezTo>
                  <a:pt x="2554" y="1600"/>
                  <a:pt x="2552" y="1600"/>
                  <a:pt x="2550" y="1601"/>
                </a:cubicBezTo>
                <a:cubicBezTo>
                  <a:pt x="2549" y="1602"/>
                  <a:pt x="2547" y="1602"/>
                  <a:pt x="2545" y="1602"/>
                </a:cubicBezTo>
                <a:cubicBezTo>
                  <a:pt x="2545" y="1602"/>
                  <a:pt x="2545" y="1602"/>
                  <a:pt x="2545" y="1613"/>
                </a:cubicBezTo>
                <a:cubicBezTo>
                  <a:pt x="2548" y="1612"/>
                  <a:pt x="2551" y="1611"/>
                  <a:pt x="2553" y="1610"/>
                </a:cubicBezTo>
                <a:cubicBezTo>
                  <a:pt x="2555" y="1609"/>
                  <a:pt x="2558" y="1608"/>
                  <a:pt x="2560" y="1606"/>
                </a:cubicBezTo>
                <a:cubicBezTo>
                  <a:pt x="2560" y="1606"/>
                  <a:pt x="2560" y="1606"/>
                  <a:pt x="2560" y="1665"/>
                </a:cubicBezTo>
                <a:cubicBezTo>
                  <a:pt x="2560" y="1665"/>
                  <a:pt x="2560" y="1665"/>
                  <a:pt x="2571" y="1665"/>
                </a:cubicBezTo>
                <a:cubicBezTo>
                  <a:pt x="2571" y="1665"/>
                  <a:pt x="2571" y="1665"/>
                  <a:pt x="2571" y="1592"/>
                </a:cubicBezTo>
                <a:close/>
                <a:moveTo>
                  <a:pt x="2321" y="1639"/>
                </a:moveTo>
                <a:cubicBezTo>
                  <a:pt x="2322" y="1640"/>
                  <a:pt x="2322" y="1642"/>
                  <a:pt x="2323" y="1643"/>
                </a:cubicBezTo>
                <a:cubicBezTo>
                  <a:pt x="2323" y="1645"/>
                  <a:pt x="2323" y="1647"/>
                  <a:pt x="2324" y="1648"/>
                </a:cubicBezTo>
                <a:cubicBezTo>
                  <a:pt x="2324" y="1650"/>
                  <a:pt x="2324" y="1652"/>
                  <a:pt x="2324" y="1653"/>
                </a:cubicBezTo>
                <a:cubicBezTo>
                  <a:pt x="2325" y="1656"/>
                  <a:pt x="2324" y="1658"/>
                  <a:pt x="2321" y="1658"/>
                </a:cubicBezTo>
                <a:cubicBezTo>
                  <a:pt x="2318" y="1658"/>
                  <a:pt x="2315" y="1657"/>
                  <a:pt x="2313" y="1657"/>
                </a:cubicBezTo>
                <a:cubicBezTo>
                  <a:pt x="2312" y="1657"/>
                  <a:pt x="2311" y="1657"/>
                  <a:pt x="2311" y="1658"/>
                </a:cubicBezTo>
                <a:cubicBezTo>
                  <a:pt x="2309" y="1659"/>
                  <a:pt x="2308" y="1661"/>
                  <a:pt x="2307" y="1662"/>
                </a:cubicBezTo>
                <a:cubicBezTo>
                  <a:pt x="2305" y="1665"/>
                  <a:pt x="2302" y="1665"/>
                  <a:pt x="2299" y="1663"/>
                </a:cubicBezTo>
                <a:cubicBezTo>
                  <a:pt x="2297" y="1661"/>
                  <a:pt x="2296" y="1658"/>
                  <a:pt x="2294" y="1656"/>
                </a:cubicBezTo>
                <a:cubicBezTo>
                  <a:pt x="2294" y="1654"/>
                  <a:pt x="2294" y="1652"/>
                  <a:pt x="2296" y="1651"/>
                </a:cubicBezTo>
                <a:cubicBezTo>
                  <a:pt x="2294" y="1651"/>
                  <a:pt x="2292" y="1651"/>
                  <a:pt x="2291" y="1651"/>
                </a:cubicBezTo>
                <a:cubicBezTo>
                  <a:pt x="2290" y="1653"/>
                  <a:pt x="2289" y="1655"/>
                  <a:pt x="2288" y="1657"/>
                </a:cubicBezTo>
                <a:cubicBezTo>
                  <a:pt x="2288" y="1657"/>
                  <a:pt x="2287" y="1658"/>
                  <a:pt x="2287" y="1659"/>
                </a:cubicBezTo>
                <a:cubicBezTo>
                  <a:pt x="2287" y="1662"/>
                  <a:pt x="2286" y="1663"/>
                  <a:pt x="2283" y="1663"/>
                </a:cubicBezTo>
                <a:cubicBezTo>
                  <a:pt x="2280" y="1663"/>
                  <a:pt x="2277" y="1662"/>
                  <a:pt x="2274" y="1661"/>
                </a:cubicBezTo>
                <a:cubicBezTo>
                  <a:pt x="2272" y="1660"/>
                  <a:pt x="2272" y="1659"/>
                  <a:pt x="2272" y="1657"/>
                </a:cubicBezTo>
                <a:cubicBezTo>
                  <a:pt x="2273" y="1656"/>
                  <a:pt x="2273" y="1655"/>
                  <a:pt x="2273" y="1655"/>
                </a:cubicBezTo>
                <a:cubicBezTo>
                  <a:pt x="2271" y="1654"/>
                  <a:pt x="2268" y="1653"/>
                  <a:pt x="2266" y="1652"/>
                </a:cubicBezTo>
                <a:cubicBezTo>
                  <a:pt x="2265" y="1651"/>
                  <a:pt x="2264" y="1649"/>
                  <a:pt x="2263" y="1647"/>
                </a:cubicBezTo>
                <a:cubicBezTo>
                  <a:pt x="2262" y="1645"/>
                  <a:pt x="2262" y="1644"/>
                  <a:pt x="2264" y="1642"/>
                </a:cubicBezTo>
                <a:cubicBezTo>
                  <a:pt x="2267" y="1640"/>
                  <a:pt x="2268" y="1637"/>
                  <a:pt x="2267" y="1633"/>
                </a:cubicBezTo>
                <a:cubicBezTo>
                  <a:pt x="2267" y="1631"/>
                  <a:pt x="2267" y="1629"/>
                  <a:pt x="2267" y="1627"/>
                </a:cubicBezTo>
                <a:cubicBezTo>
                  <a:pt x="2266" y="1626"/>
                  <a:pt x="2264" y="1626"/>
                  <a:pt x="2263" y="1625"/>
                </a:cubicBezTo>
                <a:cubicBezTo>
                  <a:pt x="2262" y="1623"/>
                  <a:pt x="2262" y="1621"/>
                  <a:pt x="2262" y="1619"/>
                </a:cubicBezTo>
                <a:cubicBezTo>
                  <a:pt x="2261" y="1616"/>
                  <a:pt x="2265" y="1614"/>
                  <a:pt x="2267" y="1613"/>
                </a:cubicBezTo>
                <a:cubicBezTo>
                  <a:pt x="2268" y="1614"/>
                  <a:pt x="2268" y="1614"/>
                  <a:pt x="2268" y="1615"/>
                </a:cubicBezTo>
                <a:cubicBezTo>
                  <a:pt x="2268" y="1616"/>
                  <a:pt x="2268" y="1617"/>
                  <a:pt x="2269" y="1618"/>
                </a:cubicBezTo>
                <a:cubicBezTo>
                  <a:pt x="2268" y="1618"/>
                  <a:pt x="2267" y="1618"/>
                  <a:pt x="2267" y="1618"/>
                </a:cubicBezTo>
                <a:cubicBezTo>
                  <a:pt x="2267" y="1619"/>
                  <a:pt x="2266" y="1620"/>
                  <a:pt x="2265" y="1622"/>
                </a:cubicBezTo>
                <a:cubicBezTo>
                  <a:pt x="2267" y="1622"/>
                  <a:pt x="2267" y="1622"/>
                  <a:pt x="2268" y="1621"/>
                </a:cubicBezTo>
                <a:cubicBezTo>
                  <a:pt x="2269" y="1620"/>
                  <a:pt x="2270" y="1619"/>
                  <a:pt x="2271" y="1618"/>
                </a:cubicBezTo>
                <a:cubicBezTo>
                  <a:pt x="2275" y="1612"/>
                  <a:pt x="2281" y="1608"/>
                  <a:pt x="2289" y="1606"/>
                </a:cubicBezTo>
                <a:cubicBezTo>
                  <a:pt x="2292" y="1606"/>
                  <a:pt x="2295" y="1604"/>
                  <a:pt x="2297" y="1602"/>
                </a:cubicBezTo>
                <a:cubicBezTo>
                  <a:pt x="2297" y="1601"/>
                  <a:pt x="2298" y="1601"/>
                  <a:pt x="2298" y="1601"/>
                </a:cubicBezTo>
                <a:cubicBezTo>
                  <a:pt x="2301" y="1600"/>
                  <a:pt x="2303" y="1598"/>
                  <a:pt x="2305" y="1596"/>
                </a:cubicBezTo>
                <a:cubicBezTo>
                  <a:pt x="2312" y="1589"/>
                  <a:pt x="2324" y="1588"/>
                  <a:pt x="2332" y="1595"/>
                </a:cubicBezTo>
                <a:cubicBezTo>
                  <a:pt x="2334" y="1597"/>
                  <a:pt x="2337" y="1599"/>
                  <a:pt x="2339" y="1601"/>
                </a:cubicBezTo>
                <a:cubicBezTo>
                  <a:pt x="2341" y="1602"/>
                  <a:pt x="2342" y="1604"/>
                  <a:pt x="2343" y="1606"/>
                </a:cubicBezTo>
                <a:cubicBezTo>
                  <a:pt x="2344" y="1607"/>
                  <a:pt x="2345" y="1607"/>
                  <a:pt x="2346" y="1606"/>
                </a:cubicBezTo>
                <a:cubicBezTo>
                  <a:pt x="2347" y="1606"/>
                  <a:pt x="2347" y="1605"/>
                  <a:pt x="2348" y="1604"/>
                </a:cubicBezTo>
                <a:cubicBezTo>
                  <a:pt x="2350" y="1601"/>
                  <a:pt x="2353" y="1601"/>
                  <a:pt x="2354" y="1604"/>
                </a:cubicBezTo>
                <a:cubicBezTo>
                  <a:pt x="2356" y="1608"/>
                  <a:pt x="2356" y="1610"/>
                  <a:pt x="2357" y="1614"/>
                </a:cubicBezTo>
                <a:cubicBezTo>
                  <a:pt x="2358" y="1618"/>
                  <a:pt x="2357" y="1622"/>
                  <a:pt x="2356" y="1627"/>
                </a:cubicBezTo>
                <a:cubicBezTo>
                  <a:pt x="2353" y="1633"/>
                  <a:pt x="2349" y="1636"/>
                  <a:pt x="2342" y="1636"/>
                </a:cubicBezTo>
                <a:cubicBezTo>
                  <a:pt x="2341" y="1636"/>
                  <a:pt x="2341" y="1636"/>
                  <a:pt x="2340" y="1636"/>
                </a:cubicBezTo>
                <a:cubicBezTo>
                  <a:pt x="2338" y="1636"/>
                  <a:pt x="2336" y="1636"/>
                  <a:pt x="2336" y="1639"/>
                </a:cubicBezTo>
                <a:cubicBezTo>
                  <a:pt x="2334" y="1643"/>
                  <a:pt x="2329" y="1645"/>
                  <a:pt x="2325" y="1642"/>
                </a:cubicBezTo>
                <a:cubicBezTo>
                  <a:pt x="2324" y="1640"/>
                  <a:pt x="2323" y="1640"/>
                  <a:pt x="2322" y="1638"/>
                </a:cubicBezTo>
                <a:cubicBezTo>
                  <a:pt x="2322" y="1639"/>
                  <a:pt x="2322" y="1639"/>
                  <a:pt x="2321" y="1639"/>
                </a:cubicBezTo>
                <a:close/>
                <a:moveTo>
                  <a:pt x="2316" y="1635"/>
                </a:moveTo>
                <a:cubicBezTo>
                  <a:pt x="2319" y="1636"/>
                  <a:pt x="2323" y="1637"/>
                  <a:pt x="2325" y="1640"/>
                </a:cubicBezTo>
                <a:cubicBezTo>
                  <a:pt x="2327" y="1642"/>
                  <a:pt x="2329" y="1642"/>
                  <a:pt x="2331" y="1642"/>
                </a:cubicBezTo>
                <a:cubicBezTo>
                  <a:pt x="2334" y="1641"/>
                  <a:pt x="2335" y="1639"/>
                  <a:pt x="2335" y="1636"/>
                </a:cubicBezTo>
                <a:cubicBezTo>
                  <a:pt x="2335" y="1636"/>
                  <a:pt x="2334" y="1636"/>
                  <a:pt x="2334" y="1636"/>
                </a:cubicBezTo>
                <a:cubicBezTo>
                  <a:pt x="2334" y="1638"/>
                  <a:pt x="2333" y="1639"/>
                  <a:pt x="2332" y="1640"/>
                </a:cubicBezTo>
                <a:cubicBezTo>
                  <a:pt x="2331" y="1641"/>
                  <a:pt x="2329" y="1641"/>
                  <a:pt x="2329" y="1640"/>
                </a:cubicBezTo>
                <a:cubicBezTo>
                  <a:pt x="2328" y="1640"/>
                  <a:pt x="2327" y="1639"/>
                  <a:pt x="2327" y="1638"/>
                </a:cubicBezTo>
                <a:cubicBezTo>
                  <a:pt x="2327" y="1636"/>
                  <a:pt x="2328" y="1634"/>
                  <a:pt x="2328" y="1632"/>
                </a:cubicBezTo>
                <a:cubicBezTo>
                  <a:pt x="2331" y="1633"/>
                  <a:pt x="2334" y="1634"/>
                  <a:pt x="2338" y="1635"/>
                </a:cubicBezTo>
                <a:cubicBezTo>
                  <a:pt x="2345" y="1636"/>
                  <a:pt x="2351" y="1634"/>
                  <a:pt x="2354" y="1625"/>
                </a:cubicBezTo>
                <a:cubicBezTo>
                  <a:pt x="2356" y="1621"/>
                  <a:pt x="2356" y="1616"/>
                  <a:pt x="2355" y="1611"/>
                </a:cubicBezTo>
                <a:cubicBezTo>
                  <a:pt x="2354" y="1609"/>
                  <a:pt x="2354" y="1607"/>
                  <a:pt x="2353" y="1605"/>
                </a:cubicBezTo>
                <a:cubicBezTo>
                  <a:pt x="2352" y="1604"/>
                  <a:pt x="2351" y="1603"/>
                  <a:pt x="2350" y="1605"/>
                </a:cubicBezTo>
                <a:cubicBezTo>
                  <a:pt x="2348" y="1606"/>
                  <a:pt x="2347" y="1608"/>
                  <a:pt x="2345" y="1609"/>
                </a:cubicBezTo>
                <a:cubicBezTo>
                  <a:pt x="2344" y="1609"/>
                  <a:pt x="2343" y="1610"/>
                  <a:pt x="2343" y="1611"/>
                </a:cubicBezTo>
                <a:cubicBezTo>
                  <a:pt x="2344" y="1614"/>
                  <a:pt x="2343" y="1617"/>
                  <a:pt x="2342" y="1621"/>
                </a:cubicBezTo>
                <a:cubicBezTo>
                  <a:pt x="2342" y="1619"/>
                  <a:pt x="2343" y="1617"/>
                  <a:pt x="2343" y="1615"/>
                </a:cubicBezTo>
                <a:cubicBezTo>
                  <a:pt x="2343" y="1614"/>
                  <a:pt x="2342" y="1614"/>
                  <a:pt x="2342" y="1614"/>
                </a:cubicBezTo>
                <a:cubicBezTo>
                  <a:pt x="2342" y="1614"/>
                  <a:pt x="2341" y="1614"/>
                  <a:pt x="2341" y="1614"/>
                </a:cubicBezTo>
                <a:cubicBezTo>
                  <a:pt x="2340" y="1616"/>
                  <a:pt x="2339" y="1617"/>
                  <a:pt x="2338" y="1618"/>
                </a:cubicBezTo>
                <a:cubicBezTo>
                  <a:pt x="2338" y="1618"/>
                  <a:pt x="2338" y="1618"/>
                  <a:pt x="2338" y="1618"/>
                </a:cubicBezTo>
                <a:cubicBezTo>
                  <a:pt x="2338" y="1617"/>
                  <a:pt x="2339" y="1615"/>
                  <a:pt x="2339" y="1613"/>
                </a:cubicBezTo>
                <a:cubicBezTo>
                  <a:pt x="2338" y="1614"/>
                  <a:pt x="2338" y="1614"/>
                  <a:pt x="2337" y="1615"/>
                </a:cubicBezTo>
                <a:cubicBezTo>
                  <a:pt x="2336" y="1615"/>
                  <a:pt x="2336" y="1616"/>
                  <a:pt x="2336" y="1617"/>
                </a:cubicBezTo>
                <a:cubicBezTo>
                  <a:pt x="2336" y="1613"/>
                  <a:pt x="2336" y="1613"/>
                  <a:pt x="2342" y="1612"/>
                </a:cubicBezTo>
                <a:cubicBezTo>
                  <a:pt x="2342" y="1612"/>
                  <a:pt x="2341" y="1611"/>
                  <a:pt x="2341" y="1611"/>
                </a:cubicBezTo>
                <a:cubicBezTo>
                  <a:pt x="2338" y="1612"/>
                  <a:pt x="2338" y="1610"/>
                  <a:pt x="2337" y="1608"/>
                </a:cubicBezTo>
                <a:cubicBezTo>
                  <a:pt x="2339" y="1607"/>
                  <a:pt x="2340" y="1607"/>
                  <a:pt x="2342" y="1606"/>
                </a:cubicBezTo>
                <a:cubicBezTo>
                  <a:pt x="2340" y="1604"/>
                  <a:pt x="2339" y="1601"/>
                  <a:pt x="2336" y="1601"/>
                </a:cubicBezTo>
                <a:cubicBezTo>
                  <a:pt x="2335" y="1601"/>
                  <a:pt x="2335" y="1600"/>
                  <a:pt x="2335" y="1600"/>
                </a:cubicBezTo>
                <a:cubicBezTo>
                  <a:pt x="2333" y="1598"/>
                  <a:pt x="2330" y="1596"/>
                  <a:pt x="2327" y="1594"/>
                </a:cubicBezTo>
                <a:cubicBezTo>
                  <a:pt x="2325" y="1593"/>
                  <a:pt x="2322" y="1592"/>
                  <a:pt x="2320" y="1592"/>
                </a:cubicBezTo>
                <a:cubicBezTo>
                  <a:pt x="2317" y="1592"/>
                  <a:pt x="2314" y="1593"/>
                  <a:pt x="2311" y="1594"/>
                </a:cubicBezTo>
                <a:cubicBezTo>
                  <a:pt x="2308" y="1595"/>
                  <a:pt x="2305" y="1597"/>
                  <a:pt x="2303" y="1600"/>
                </a:cubicBezTo>
                <a:cubicBezTo>
                  <a:pt x="2305" y="1600"/>
                  <a:pt x="2306" y="1600"/>
                  <a:pt x="2307" y="1600"/>
                </a:cubicBezTo>
                <a:cubicBezTo>
                  <a:pt x="2307" y="1600"/>
                  <a:pt x="2306" y="1601"/>
                  <a:pt x="2305" y="1601"/>
                </a:cubicBezTo>
                <a:cubicBezTo>
                  <a:pt x="2303" y="1602"/>
                  <a:pt x="2300" y="1601"/>
                  <a:pt x="2298" y="1603"/>
                </a:cubicBezTo>
                <a:cubicBezTo>
                  <a:pt x="2295" y="1607"/>
                  <a:pt x="2291" y="1611"/>
                  <a:pt x="2287" y="1615"/>
                </a:cubicBezTo>
                <a:cubicBezTo>
                  <a:pt x="2286" y="1617"/>
                  <a:pt x="2285" y="1619"/>
                  <a:pt x="2284" y="1622"/>
                </a:cubicBezTo>
                <a:cubicBezTo>
                  <a:pt x="2284" y="1622"/>
                  <a:pt x="2284" y="1623"/>
                  <a:pt x="2284" y="1623"/>
                </a:cubicBezTo>
                <a:cubicBezTo>
                  <a:pt x="2285" y="1625"/>
                  <a:pt x="2287" y="1627"/>
                  <a:pt x="2288" y="1629"/>
                </a:cubicBezTo>
                <a:cubicBezTo>
                  <a:pt x="2289" y="1628"/>
                  <a:pt x="2291" y="1626"/>
                  <a:pt x="2292" y="1625"/>
                </a:cubicBezTo>
                <a:cubicBezTo>
                  <a:pt x="2291" y="1626"/>
                  <a:pt x="2291" y="1627"/>
                  <a:pt x="2290" y="1629"/>
                </a:cubicBezTo>
                <a:cubicBezTo>
                  <a:pt x="2289" y="1630"/>
                  <a:pt x="2289" y="1631"/>
                  <a:pt x="2288" y="1633"/>
                </a:cubicBezTo>
                <a:cubicBezTo>
                  <a:pt x="2288" y="1634"/>
                  <a:pt x="2288" y="1635"/>
                  <a:pt x="2289" y="1636"/>
                </a:cubicBezTo>
                <a:cubicBezTo>
                  <a:pt x="2291" y="1639"/>
                  <a:pt x="2294" y="1639"/>
                  <a:pt x="2298" y="1637"/>
                </a:cubicBezTo>
                <a:cubicBezTo>
                  <a:pt x="2300" y="1636"/>
                  <a:pt x="2303" y="1635"/>
                  <a:pt x="2306" y="1634"/>
                </a:cubicBezTo>
                <a:cubicBezTo>
                  <a:pt x="2307" y="1633"/>
                  <a:pt x="2309" y="1633"/>
                  <a:pt x="2309" y="1631"/>
                </a:cubicBezTo>
                <a:cubicBezTo>
                  <a:pt x="2309" y="1628"/>
                  <a:pt x="2309" y="1624"/>
                  <a:pt x="2309" y="1621"/>
                </a:cubicBezTo>
                <a:cubicBezTo>
                  <a:pt x="2309" y="1618"/>
                  <a:pt x="2309" y="1615"/>
                  <a:pt x="2309" y="1612"/>
                </a:cubicBezTo>
                <a:cubicBezTo>
                  <a:pt x="2309" y="1615"/>
                  <a:pt x="2310" y="1617"/>
                  <a:pt x="2310" y="1620"/>
                </a:cubicBezTo>
                <a:cubicBezTo>
                  <a:pt x="2311" y="1625"/>
                  <a:pt x="2311" y="1629"/>
                  <a:pt x="2310" y="1633"/>
                </a:cubicBezTo>
                <a:cubicBezTo>
                  <a:pt x="2309" y="1634"/>
                  <a:pt x="2309" y="1635"/>
                  <a:pt x="2308" y="1635"/>
                </a:cubicBezTo>
                <a:cubicBezTo>
                  <a:pt x="2305" y="1635"/>
                  <a:pt x="2302" y="1637"/>
                  <a:pt x="2298" y="1639"/>
                </a:cubicBezTo>
                <a:cubicBezTo>
                  <a:pt x="2293" y="1642"/>
                  <a:pt x="2290" y="1640"/>
                  <a:pt x="2286" y="1636"/>
                </a:cubicBezTo>
                <a:cubicBezTo>
                  <a:pt x="2286" y="1636"/>
                  <a:pt x="2286" y="1635"/>
                  <a:pt x="2286" y="1634"/>
                </a:cubicBezTo>
                <a:cubicBezTo>
                  <a:pt x="2287" y="1632"/>
                  <a:pt x="2286" y="1630"/>
                  <a:pt x="2285" y="1628"/>
                </a:cubicBezTo>
                <a:cubicBezTo>
                  <a:pt x="2283" y="1626"/>
                  <a:pt x="2282" y="1623"/>
                  <a:pt x="2283" y="1621"/>
                </a:cubicBezTo>
                <a:cubicBezTo>
                  <a:pt x="2283" y="1619"/>
                  <a:pt x="2284" y="1617"/>
                  <a:pt x="2285" y="1616"/>
                </a:cubicBezTo>
                <a:cubicBezTo>
                  <a:pt x="2287" y="1613"/>
                  <a:pt x="2289" y="1610"/>
                  <a:pt x="2291" y="1608"/>
                </a:cubicBezTo>
                <a:cubicBezTo>
                  <a:pt x="2291" y="1608"/>
                  <a:pt x="2290" y="1608"/>
                  <a:pt x="2290" y="1608"/>
                </a:cubicBezTo>
                <a:cubicBezTo>
                  <a:pt x="2285" y="1609"/>
                  <a:pt x="2281" y="1610"/>
                  <a:pt x="2277" y="1614"/>
                </a:cubicBezTo>
                <a:cubicBezTo>
                  <a:pt x="2272" y="1618"/>
                  <a:pt x="2269" y="1623"/>
                  <a:pt x="2269" y="1630"/>
                </a:cubicBezTo>
                <a:cubicBezTo>
                  <a:pt x="2269" y="1636"/>
                  <a:pt x="2271" y="1642"/>
                  <a:pt x="2274" y="1648"/>
                </a:cubicBezTo>
                <a:cubicBezTo>
                  <a:pt x="2275" y="1649"/>
                  <a:pt x="2276" y="1651"/>
                  <a:pt x="2275" y="1652"/>
                </a:cubicBezTo>
                <a:cubicBezTo>
                  <a:pt x="2275" y="1654"/>
                  <a:pt x="2275" y="1655"/>
                  <a:pt x="2274" y="1656"/>
                </a:cubicBezTo>
                <a:cubicBezTo>
                  <a:pt x="2274" y="1658"/>
                  <a:pt x="2274" y="1659"/>
                  <a:pt x="2275" y="1659"/>
                </a:cubicBezTo>
                <a:cubicBezTo>
                  <a:pt x="2278" y="1660"/>
                  <a:pt x="2281" y="1661"/>
                  <a:pt x="2284" y="1661"/>
                </a:cubicBezTo>
                <a:cubicBezTo>
                  <a:pt x="2285" y="1661"/>
                  <a:pt x="2285" y="1660"/>
                  <a:pt x="2285" y="1660"/>
                </a:cubicBezTo>
                <a:cubicBezTo>
                  <a:pt x="2286" y="1659"/>
                  <a:pt x="2286" y="1657"/>
                  <a:pt x="2287" y="1656"/>
                </a:cubicBezTo>
                <a:cubicBezTo>
                  <a:pt x="2289" y="1654"/>
                  <a:pt x="2289" y="1651"/>
                  <a:pt x="2289" y="1648"/>
                </a:cubicBezTo>
                <a:cubicBezTo>
                  <a:pt x="2289" y="1648"/>
                  <a:pt x="2289" y="1648"/>
                  <a:pt x="2289" y="1647"/>
                </a:cubicBezTo>
                <a:cubicBezTo>
                  <a:pt x="2289" y="1647"/>
                  <a:pt x="2289" y="1647"/>
                  <a:pt x="2289" y="1646"/>
                </a:cubicBezTo>
                <a:cubicBezTo>
                  <a:pt x="2289" y="1649"/>
                  <a:pt x="2291" y="1649"/>
                  <a:pt x="2293" y="1649"/>
                </a:cubicBezTo>
                <a:cubicBezTo>
                  <a:pt x="2293" y="1649"/>
                  <a:pt x="2294" y="1649"/>
                  <a:pt x="2295" y="1649"/>
                </a:cubicBezTo>
                <a:cubicBezTo>
                  <a:pt x="2298" y="1649"/>
                  <a:pt x="2301" y="1650"/>
                  <a:pt x="2302" y="1646"/>
                </a:cubicBezTo>
                <a:cubicBezTo>
                  <a:pt x="2302" y="1648"/>
                  <a:pt x="2302" y="1650"/>
                  <a:pt x="2302" y="1650"/>
                </a:cubicBezTo>
                <a:cubicBezTo>
                  <a:pt x="2300" y="1651"/>
                  <a:pt x="2299" y="1652"/>
                  <a:pt x="2298" y="1652"/>
                </a:cubicBezTo>
                <a:cubicBezTo>
                  <a:pt x="2296" y="1653"/>
                  <a:pt x="2296" y="1655"/>
                  <a:pt x="2296" y="1656"/>
                </a:cubicBezTo>
                <a:cubicBezTo>
                  <a:pt x="2298" y="1658"/>
                  <a:pt x="2299" y="1660"/>
                  <a:pt x="2300" y="1662"/>
                </a:cubicBezTo>
                <a:cubicBezTo>
                  <a:pt x="2302" y="1663"/>
                  <a:pt x="2304" y="1663"/>
                  <a:pt x="2305" y="1661"/>
                </a:cubicBezTo>
                <a:cubicBezTo>
                  <a:pt x="2306" y="1660"/>
                  <a:pt x="2307" y="1659"/>
                  <a:pt x="2307" y="1659"/>
                </a:cubicBezTo>
                <a:cubicBezTo>
                  <a:pt x="2309" y="1657"/>
                  <a:pt x="2311" y="1656"/>
                  <a:pt x="2312" y="1655"/>
                </a:cubicBezTo>
                <a:cubicBezTo>
                  <a:pt x="2316" y="1651"/>
                  <a:pt x="2318" y="1645"/>
                  <a:pt x="2320" y="1639"/>
                </a:cubicBezTo>
                <a:cubicBezTo>
                  <a:pt x="2320" y="1638"/>
                  <a:pt x="2319" y="1638"/>
                  <a:pt x="2319" y="1637"/>
                </a:cubicBezTo>
                <a:cubicBezTo>
                  <a:pt x="2318" y="1636"/>
                  <a:pt x="2317" y="1635"/>
                  <a:pt x="2316" y="1635"/>
                </a:cubicBezTo>
                <a:close/>
                <a:moveTo>
                  <a:pt x="2269" y="1641"/>
                </a:moveTo>
                <a:cubicBezTo>
                  <a:pt x="2268" y="1642"/>
                  <a:pt x="2266" y="1642"/>
                  <a:pt x="2265" y="1644"/>
                </a:cubicBezTo>
                <a:cubicBezTo>
                  <a:pt x="2265" y="1644"/>
                  <a:pt x="2264" y="1645"/>
                  <a:pt x="2264" y="1646"/>
                </a:cubicBezTo>
                <a:cubicBezTo>
                  <a:pt x="2264" y="1648"/>
                  <a:pt x="2269" y="1653"/>
                  <a:pt x="2272" y="1652"/>
                </a:cubicBezTo>
                <a:cubicBezTo>
                  <a:pt x="2273" y="1652"/>
                  <a:pt x="2274" y="1651"/>
                  <a:pt x="2273" y="1650"/>
                </a:cubicBezTo>
                <a:cubicBezTo>
                  <a:pt x="2272" y="1646"/>
                  <a:pt x="2270" y="1644"/>
                  <a:pt x="2269" y="1641"/>
                </a:cubicBezTo>
                <a:close/>
                <a:moveTo>
                  <a:pt x="2321" y="1643"/>
                </a:moveTo>
                <a:cubicBezTo>
                  <a:pt x="2319" y="1648"/>
                  <a:pt x="2316" y="1652"/>
                  <a:pt x="2314" y="1656"/>
                </a:cubicBezTo>
                <a:cubicBezTo>
                  <a:pt x="2317" y="1656"/>
                  <a:pt x="2319" y="1657"/>
                  <a:pt x="2322" y="1656"/>
                </a:cubicBezTo>
                <a:cubicBezTo>
                  <a:pt x="2322" y="1656"/>
                  <a:pt x="2323" y="1655"/>
                  <a:pt x="2323" y="1655"/>
                </a:cubicBezTo>
                <a:cubicBezTo>
                  <a:pt x="2323" y="1652"/>
                  <a:pt x="2323" y="1650"/>
                  <a:pt x="2322" y="1647"/>
                </a:cubicBezTo>
                <a:cubicBezTo>
                  <a:pt x="2322" y="1646"/>
                  <a:pt x="2322" y="1644"/>
                  <a:pt x="2321" y="1643"/>
                </a:cubicBezTo>
                <a:close/>
                <a:moveTo>
                  <a:pt x="2269" y="1623"/>
                </a:moveTo>
                <a:cubicBezTo>
                  <a:pt x="2268" y="1623"/>
                  <a:pt x="2267" y="1623"/>
                  <a:pt x="2267" y="1623"/>
                </a:cubicBezTo>
                <a:cubicBezTo>
                  <a:pt x="2266" y="1623"/>
                  <a:pt x="2265" y="1623"/>
                  <a:pt x="2265" y="1623"/>
                </a:cubicBezTo>
                <a:cubicBezTo>
                  <a:pt x="2265" y="1623"/>
                  <a:pt x="2264" y="1622"/>
                  <a:pt x="2264" y="1621"/>
                </a:cubicBezTo>
                <a:cubicBezTo>
                  <a:pt x="2265" y="1619"/>
                  <a:pt x="2265" y="1617"/>
                  <a:pt x="2266" y="1615"/>
                </a:cubicBezTo>
                <a:cubicBezTo>
                  <a:pt x="2266" y="1615"/>
                  <a:pt x="2266" y="1615"/>
                  <a:pt x="2265" y="1615"/>
                </a:cubicBezTo>
                <a:cubicBezTo>
                  <a:pt x="2265" y="1616"/>
                  <a:pt x="2263" y="1617"/>
                  <a:pt x="2263" y="1618"/>
                </a:cubicBezTo>
                <a:cubicBezTo>
                  <a:pt x="2262" y="1619"/>
                  <a:pt x="2263" y="1624"/>
                  <a:pt x="2265" y="1625"/>
                </a:cubicBezTo>
                <a:cubicBezTo>
                  <a:pt x="2267" y="1626"/>
                  <a:pt x="2269" y="1625"/>
                  <a:pt x="2269" y="1623"/>
                </a:cubicBezTo>
                <a:close/>
                <a:moveTo>
                  <a:pt x="2268" y="1641"/>
                </a:moveTo>
                <a:cubicBezTo>
                  <a:pt x="2268" y="1641"/>
                  <a:pt x="2266" y="1642"/>
                  <a:pt x="2265" y="1643"/>
                </a:cubicBezTo>
                <a:cubicBezTo>
                  <a:pt x="2264" y="1644"/>
                  <a:pt x="2264" y="1645"/>
                  <a:pt x="2264" y="1645"/>
                </a:cubicBezTo>
                <a:cubicBezTo>
                  <a:pt x="2264" y="1648"/>
                  <a:pt x="2268" y="1653"/>
                  <a:pt x="2272" y="1652"/>
                </a:cubicBezTo>
                <a:cubicBezTo>
                  <a:pt x="2273" y="1652"/>
                  <a:pt x="2274" y="1651"/>
                  <a:pt x="2273" y="1649"/>
                </a:cubicBezTo>
                <a:cubicBezTo>
                  <a:pt x="2272" y="1646"/>
                  <a:pt x="2270" y="1643"/>
                  <a:pt x="2268" y="1641"/>
                </a:cubicBezTo>
                <a:close/>
                <a:moveTo>
                  <a:pt x="2321" y="1642"/>
                </a:moveTo>
                <a:cubicBezTo>
                  <a:pt x="2319" y="1647"/>
                  <a:pt x="2316" y="1652"/>
                  <a:pt x="2314" y="1656"/>
                </a:cubicBezTo>
                <a:cubicBezTo>
                  <a:pt x="2317" y="1656"/>
                  <a:pt x="2319" y="1656"/>
                  <a:pt x="2322" y="1656"/>
                </a:cubicBezTo>
                <a:cubicBezTo>
                  <a:pt x="2322" y="1656"/>
                  <a:pt x="2323" y="1655"/>
                  <a:pt x="2323" y="1654"/>
                </a:cubicBezTo>
                <a:cubicBezTo>
                  <a:pt x="2323" y="1652"/>
                  <a:pt x="2323" y="1649"/>
                  <a:pt x="2322" y="1647"/>
                </a:cubicBezTo>
                <a:cubicBezTo>
                  <a:pt x="2322" y="1645"/>
                  <a:pt x="2321" y="1644"/>
                  <a:pt x="2321" y="1642"/>
                </a:cubicBezTo>
                <a:close/>
                <a:moveTo>
                  <a:pt x="2268" y="1623"/>
                </a:moveTo>
                <a:cubicBezTo>
                  <a:pt x="2268" y="1623"/>
                  <a:pt x="2267" y="1623"/>
                  <a:pt x="2266" y="1623"/>
                </a:cubicBezTo>
                <a:cubicBezTo>
                  <a:pt x="2266" y="1623"/>
                  <a:pt x="2265" y="1623"/>
                  <a:pt x="2265" y="1623"/>
                </a:cubicBezTo>
                <a:cubicBezTo>
                  <a:pt x="2264" y="1623"/>
                  <a:pt x="2264" y="1622"/>
                  <a:pt x="2264" y="1621"/>
                </a:cubicBezTo>
                <a:cubicBezTo>
                  <a:pt x="2265" y="1619"/>
                  <a:pt x="2265" y="1617"/>
                  <a:pt x="2266" y="1615"/>
                </a:cubicBezTo>
                <a:cubicBezTo>
                  <a:pt x="2266" y="1615"/>
                  <a:pt x="2266" y="1615"/>
                  <a:pt x="2265" y="1615"/>
                </a:cubicBezTo>
                <a:cubicBezTo>
                  <a:pt x="2264" y="1616"/>
                  <a:pt x="2263" y="1617"/>
                  <a:pt x="2262" y="1618"/>
                </a:cubicBezTo>
                <a:cubicBezTo>
                  <a:pt x="2262" y="1619"/>
                  <a:pt x="2263" y="1624"/>
                  <a:pt x="2265" y="1625"/>
                </a:cubicBezTo>
                <a:cubicBezTo>
                  <a:pt x="2266" y="1626"/>
                  <a:pt x="2268" y="1624"/>
                  <a:pt x="2268" y="1623"/>
                </a:cubicBezTo>
                <a:close/>
                <a:moveTo>
                  <a:pt x="2321" y="1614"/>
                </a:moveTo>
                <a:cubicBezTo>
                  <a:pt x="2324" y="1611"/>
                  <a:pt x="2324" y="1611"/>
                  <a:pt x="2328" y="1609"/>
                </a:cubicBezTo>
                <a:cubicBezTo>
                  <a:pt x="2328" y="1611"/>
                  <a:pt x="2329" y="1613"/>
                  <a:pt x="2330" y="1613"/>
                </a:cubicBezTo>
                <a:cubicBezTo>
                  <a:pt x="2328" y="1614"/>
                  <a:pt x="2326" y="1615"/>
                  <a:pt x="2324" y="1617"/>
                </a:cubicBezTo>
                <a:cubicBezTo>
                  <a:pt x="2323" y="1616"/>
                  <a:pt x="2323" y="1615"/>
                  <a:pt x="2322" y="1614"/>
                </a:cubicBezTo>
                <a:cubicBezTo>
                  <a:pt x="2322" y="1614"/>
                  <a:pt x="2321" y="1614"/>
                  <a:pt x="2321" y="1614"/>
                </a:cubicBezTo>
                <a:close/>
                <a:moveTo>
                  <a:pt x="2326" y="1614"/>
                </a:moveTo>
                <a:cubicBezTo>
                  <a:pt x="2326" y="1613"/>
                  <a:pt x="2325" y="1613"/>
                  <a:pt x="2324" y="1613"/>
                </a:cubicBezTo>
                <a:cubicBezTo>
                  <a:pt x="2324" y="1613"/>
                  <a:pt x="2323" y="1614"/>
                  <a:pt x="2323" y="1614"/>
                </a:cubicBezTo>
                <a:cubicBezTo>
                  <a:pt x="2323" y="1615"/>
                  <a:pt x="2324" y="1615"/>
                  <a:pt x="2324" y="1615"/>
                </a:cubicBezTo>
                <a:cubicBezTo>
                  <a:pt x="2325" y="1615"/>
                  <a:pt x="2325" y="1615"/>
                  <a:pt x="2326" y="1614"/>
                </a:cubicBezTo>
                <a:close/>
                <a:moveTo>
                  <a:pt x="2308" y="1604"/>
                </a:moveTo>
                <a:cubicBezTo>
                  <a:pt x="2301" y="1604"/>
                  <a:pt x="2298" y="1606"/>
                  <a:pt x="2297" y="1614"/>
                </a:cubicBezTo>
                <a:cubicBezTo>
                  <a:pt x="2298" y="1612"/>
                  <a:pt x="2299" y="1609"/>
                  <a:pt x="2301" y="1607"/>
                </a:cubicBezTo>
                <a:cubicBezTo>
                  <a:pt x="2301" y="1607"/>
                  <a:pt x="2301" y="1607"/>
                  <a:pt x="2301" y="1607"/>
                </a:cubicBezTo>
                <a:cubicBezTo>
                  <a:pt x="2301" y="1608"/>
                  <a:pt x="2301" y="1609"/>
                  <a:pt x="2301" y="1610"/>
                </a:cubicBezTo>
                <a:cubicBezTo>
                  <a:pt x="2303" y="1607"/>
                  <a:pt x="2304" y="1605"/>
                  <a:pt x="2308" y="1604"/>
                </a:cubicBezTo>
                <a:close/>
                <a:moveTo>
                  <a:pt x="2351" y="1606"/>
                </a:moveTo>
                <a:cubicBezTo>
                  <a:pt x="2349" y="1607"/>
                  <a:pt x="2347" y="1609"/>
                  <a:pt x="2346" y="1610"/>
                </a:cubicBezTo>
                <a:cubicBezTo>
                  <a:pt x="2348" y="1610"/>
                  <a:pt x="2350" y="1609"/>
                  <a:pt x="2351" y="1606"/>
                </a:cubicBezTo>
                <a:close/>
                <a:moveTo>
                  <a:pt x="2318" y="1608"/>
                </a:moveTo>
                <a:cubicBezTo>
                  <a:pt x="2319" y="1607"/>
                  <a:pt x="2320" y="1605"/>
                  <a:pt x="2322" y="1604"/>
                </a:cubicBezTo>
                <a:cubicBezTo>
                  <a:pt x="2318" y="1605"/>
                  <a:pt x="2317" y="1606"/>
                  <a:pt x="2318" y="1608"/>
                </a:cubicBezTo>
                <a:close/>
                <a:moveTo>
                  <a:pt x="2328" y="1629"/>
                </a:moveTo>
                <a:cubicBezTo>
                  <a:pt x="2326" y="1629"/>
                  <a:pt x="2325" y="1630"/>
                  <a:pt x="2325" y="1631"/>
                </a:cubicBezTo>
                <a:cubicBezTo>
                  <a:pt x="2326" y="1631"/>
                  <a:pt x="2327" y="1630"/>
                  <a:pt x="2328" y="1629"/>
                </a:cubicBezTo>
                <a:close/>
                <a:moveTo>
                  <a:pt x="2326" y="1614"/>
                </a:moveTo>
                <a:cubicBezTo>
                  <a:pt x="2326" y="1613"/>
                  <a:pt x="2325" y="1613"/>
                  <a:pt x="2325" y="1613"/>
                </a:cubicBezTo>
                <a:cubicBezTo>
                  <a:pt x="2324" y="1613"/>
                  <a:pt x="2324" y="1614"/>
                  <a:pt x="2324" y="1614"/>
                </a:cubicBezTo>
                <a:cubicBezTo>
                  <a:pt x="2324" y="1615"/>
                  <a:pt x="2324" y="1615"/>
                  <a:pt x="2324" y="1616"/>
                </a:cubicBezTo>
                <a:cubicBezTo>
                  <a:pt x="2325" y="1615"/>
                  <a:pt x="2325" y="1615"/>
                  <a:pt x="2326" y="1614"/>
                </a:cubicBezTo>
                <a:close/>
                <a:moveTo>
                  <a:pt x="2617" y="1592"/>
                </a:moveTo>
                <a:cubicBezTo>
                  <a:pt x="2617" y="1592"/>
                  <a:pt x="2617" y="1592"/>
                  <a:pt x="2617" y="1592"/>
                </a:cubicBezTo>
                <a:cubicBezTo>
                  <a:pt x="2613" y="1592"/>
                  <a:pt x="2613" y="1592"/>
                  <a:pt x="2613" y="1592"/>
                </a:cubicBezTo>
                <a:cubicBezTo>
                  <a:pt x="2611" y="1593"/>
                  <a:pt x="2609" y="1594"/>
                  <a:pt x="2607" y="1595"/>
                </a:cubicBezTo>
                <a:cubicBezTo>
                  <a:pt x="2606" y="1597"/>
                  <a:pt x="2603" y="1597"/>
                  <a:pt x="2602" y="1598"/>
                </a:cubicBezTo>
                <a:cubicBezTo>
                  <a:pt x="2600" y="1600"/>
                  <a:pt x="2598" y="1600"/>
                  <a:pt x="2596" y="1601"/>
                </a:cubicBezTo>
                <a:cubicBezTo>
                  <a:pt x="2595" y="1602"/>
                  <a:pt x="2592" y="1602"/>
                  <a:pt x="2591" y="1602"/>
                </a:cubicBezTo>
                <a:cubicBezTo>
                  <a:pt x="2591" y="1602"/>
                  <a:pt x="2591" y="1602"/>
                  <a:pt x="2591" y="1613"/>
                </a:cubicBezTo>
                <a:cubicBezTo>
                  <a:pt x="2594" y="1612"/>
                  <a:pt x="2597" y="1611"/>
                  <a:pt x="2599" y="1610"/>
                </a:cubicBezTo>
                <a:cubicBezTo>
                  <a:pt x="2601" y="1609"/>
                  <a:pt x="2604" y="1608"/>
                  <a:pt x="2606" y="1606"/>
                </a:cubicBezTo>
                <a:cubicBezTo>
                  <a:pt x="2606" y="1606"/>
                  <a:pt x="2606" y="1606"/>
                  <a:pt x="2606" y="1665"/>
                </a:cubicBezTo>
                <a:cubicBezTo>
                  <a:pt x="2606" y="1665"/>
                  <a:pt x="2606" y="1665"/>
                  <a:pt x="2617" y="1665"/>
                </a:cubicBezTo>
                <a:cubicBezTo>
                  <a:pt x="2617" y="1665"/>
                  <a:pt x="2617" y="1665"/>
                  <a:pt x="2617" y="1592"/>
                </a:cubicBezTo>
                <a:close/>
                <a:moveTo>
                  <a:pt x="2739" y="1592"/>
                </a:moveTo>
                <a:cubicBezTo>
                  <a:pt x="2739" y="1592"/>
                  <a:pt x="2739" y="1592"/>
                  <a:pt x="2739" y="1592"/>
                </a:cubicBezTo>
                <a:cubicBezTo>
                  <a:pt x="2734" y="1592"/>
                  <a:pt x="2734" y="1592"/>
                  <a:pt x="2734" y="1592"/>
                </a:cubicBezTo>
                <a:cubicBezTo>
                  <a:pt x="2731" y="1593"/>
                  <a:pt x="2730" y="1594"/>
                  <a:pt x="2728" y="1595"/>
                </a:cubicBezTo>
                <a:cubicBezTo>
                  <a:pt x="2726" y="1597"/>
                  <a:pt x="2725" y="1597"/>
                  <a:pt x="2722" y="1598"/>
                </a:cubicBezTo>
                <a:cubicBezTo>
                  <a:pt x="2721" y="1600"/>
                  <a:pt x="2719" y="1600"/>
                  <a:pt x="2717" y="1601"/>
                </a:cubicBezTo>
                <a:cubicBezTo>
                  <a:pt x="2715" y="1602"/>
                  <a:pt x="2714" y="1602"/>
                  <a:pt x="2711" y="1602"/>
                </a:cubicBezTo>
                <a:cubicBezTo>
                  <a:pt x="2711" y="1602"/>
                  <a:pt x="2711" y="1602"/>
                  <a:pt x="2711" y="1613"/>
                </a:cubicBezTo>
                <a:cubicBezTo>
                  <a:pt x="2714" y="1612"/>
                  <a:pt x="2717" y="1611"/>
                  <a:pt x="2720" y="1610"/>
                </a:cubicBezTo>
                <a:cubicBezTo>
                  <a:pt x="2722" y="1609"/>
                  <a:pt x="2725" y="1608"/>
                  <a:pt x="2727" y="1606"/>
                </a:cubicBezTo>
                <a:cubicBezTo>
                  <a:pt x="2727" y="1606"/>
                  <a:pt x="2727" y="1606"/>
                  <a:pt x="2727" y="1665"/>
                </a:cubicBezTo>
                <a:cubicBezTo>
                  <a:pt x="2727" y="1665"/>
                  <a:pt x="2727" y="1665"/>
                  <a:pt x="2739" y="1665"/>
                </a:cubicBezTo>
                <a:cubicBezTo>
                  <a:pt x="2739" y="1665"/>
                  <a:pt x="2739" y="1665"/>
                  <a:pt x="2739" y="1592"/>
                </a:cubicBezTo>
                <a:close/>
                <a:moveTo>
                  <a:pt x="2785" y="1592"/>
                </a:moveTo>
                <a:cubicBezTo>
                  <a:pt x="2785" y="1592"/>
                  <a:pt x="2785" y="1592"/>
                  <a:pt x="2785" y="1592"/>
                </a:cubicBezTo>
                <a:cubicBezTo>
                  <a:pt x="2780" y="1592"/>
                  <a:pt x="2780" y="1592"/>
                  <a:pt x="2780" y="1592"/>
                </a:cubicBezTo>
                <a:cubicBezTo>
                  <a:pt x="2778" y="1593"/>
                  <a:pt x="2777" y="1594"/>
                  <a:pt x="2774" y="1595"/>
                </a:cubicBezTo>
                <a:cubicBezTo>
                  <a:pt x="2773" y="1597"/>
                  <a:pt x="2771" y="1597"/>
                  <a:pt x="2769" y="1598"/>
                </a:cubicBezTo>
                <a:cubicBezTo>
                  <a:pt x="2768" y="1600"/>
                  <a:pt x="2766" y="1600"/>
                  <a:pt x="2764" y="1601"/>
                </a:cubicBezTo>
                <a:cubicBezTo>
                  <a:pt x="2762" y="1602"/>
                  <a:pt x="2761" y="1602"/>
                  <a:pt x="2758" y="1602"/>
                </a:cubicBezTo>
                <a:cubicBezTo>
                  <a:pt x="2758" y="1602"/>
                  <a:pt x="2758" y="1602"/>
                  <a:pt x="2758" y="1613"/>
                </a:cubicBezTo>
                <a:cubicBezTo>
                  <a:pt x="2761" y="1612"/>
                  <a:pt x="2764" y="1611"/>
                  <a:pt x="2766" y="1610"/>
                </a:cubicBezTo>
                <a:cubicBezTo>
                  <a:pt x="2769" y="1609"/>
                  <a:pt x="2771" y="1608"/>
                  <a:pt x="2774" y="1606"/>
                </a:cubicBezTo>
                <a:cubicBezTo>
                  <a:pt x="2774" y="1606"/>
                  <a:pt x="2774" y="1606"/>
                  <a:pt x="2774" y="1665"/>
                </a:cubicBezTo>
                <a:cubicBezTo>
                  <a:pt x="2774" y="1665"/>
                  <a:pt x="2774" y="1665"/>
                  <a:pt x="2785" y="1665"/>
                </a:cubicBezTo>
                <a:cubicBezTo>
                  <a:pt x="2785" y="1665"/>
                  <a:pt x="2785" y="1665"/>
                  <a:pt x="2785" y="1592"/>
                </a:cubicBezTo>
                <a:close/>
                <a:moveTo>
                  <a:pt x="2831" y="1592"/>
                </a:moveTo>
                <a:cubicBezTo>
                  <a:pt x="2831" y="1592"/>
                  <a:pt x="2831" y="1592"/>
                  <a:pt x="2831" y="1592"/>
                </a:cubicBezTo>
                <a:cubicBezTo>
                  <a:pt x="2827" y="1592"/>
                  <a:pt x="2827" y="1592"/>
                  <a:pt x="2827" y="1592"/>
                </a:cubicBezTo>
                <a:cubicBezTo>
                  <a:pt x="2825" y="1593"/>
                  <a:pt x="2823" y="1594"/>
                  <a:pt x="2821" y="1595"/>
                </a:cubicBezTo>
                <a:cubicBezTo>
                  <a:pt x="2820" y="1597"/>
                  <a:pt x="2817" y="1597"/>
                  <a:pt x="2816" y="1598"/>
                </a:cubicBezTo>
                <a:cubicBezTo>
                  <a:pt x="2814" y="1599"/>
                  <a:pt x="2812" y="1600"/>
                  <a:pt x="2810" y="1600"/>
                </a:cubicBezTo>
                <a:cubicBezTo>
                  <a:pt x="2809" y="1601"/>
                  <a:pt x="2806" y="1602"/>
                  <a:pt x="2805" y="1602"/>
                </a:cubicBezTo>
                <a:cubicBezTo>
                  <a:pt x="2805" y="1602"/>
                  <a:pt x="2805" y="1602"/>
                  <a:pt x="2805" y="1613"/>
                </a:cubicBezTo>
                <a:cubicBezTo>
                  <a:pt x="2808" y="1612"/>
                  <a:pt x="2811" y="1610"/>
                  <a:pt x="2813" y="1610"/>
                </a:cubicBezTo>
                <a:cubicBezTo>
                  <a:pt x="2815" y="1609"/>
                  <a:pt x="2818" y="1608"/>
                  <a:pt x="2820" y="1606"/>
                </a:cubicBezTo>
                <a:cubicBezTo>
                  <a:pt x="2820" y="1606"/>
                  <a:pt x="2820" y="1606"/>
                  <a:pt x="2820" y="1665"/>
                </a:cubicBezTo>
                <a:cubicBezTo>
                  <a:pt x="2820" y="1665"/>
                  <a:pt x="2820" y="1665"/>
                  <a:pt x="2831" y="1665"/>
                </a:cubicBezTo>
                <a:cubicBezTo>
                  <a:pt x="2831" y="1665"/>
                  <a:pt x="2831" y="1665"/>
                  <a:pt x="2831" y="1592"/>
                </a:cubicBezTo>
                <a:close/>
                <a:moveTo>
                  <a:pt x="2637" y="1624"/>
                </a:moveTo>
                <a:cubicBezTo>
                  <a:pt x="2637" y="1624"/>
                  <a:pt x="2637" y="1624"/>
                  <a:pt x="2637" y="1624"/>
                </a:cubicBezTo>
                <a:cubicBezTo>
                  <a:pt x="2637" y="1632"/>
                  <a:pt x="2637" y="1632"/>
                  <a:pt x="2637" y="1632"/>
                </a:cubicBezTo>
                <a:cubicBezTo>
                  <a:pt x="2643" y="1632"/>
                  <a:pt x="2644" y="1635"/>
                  <a:pt x="2644" y="1638"/>
                </a:cubicBezTo>
                <a:cubicBezTo>
                  <a:pt x="2644" y="1640"/>
                  <a:pt x="2644" y="1643"/>
                  <a:pt x="2644" y="1645"/>
                </a:cubicBezTo>
                <a:cubicBezTo>
                  <a:pt x="2643" y="1648"/>
                  <a:pt x="2643" y="1650"/>
                  <a:pt x="2643" y="1652"/>
                </a:cubicBezTo>
                <a:cubicBezTo>
                  <a:pt x="2643" y="1662"/>
                  <a:pt x="2649" y="1665"/>
                  <a:pt x="2657" y="1665"/>
                </a:cubicBezTo>
                <a:cubicBezTo>
                  <a:pt x="2657" y="1665"/>
                  <a:pt x="2657" y="1665"/>
                  <a:pt x="2661" y="1665"/>
                </a:cubicBezTo>
                <a:cubicBezTo>
                  <a:pt x="2661" y="1665"/>
                  <a:pt x="2661" y="1665"/>
                  <a:pt x="2661" y="1656"/>
                </a:cubicBezTo>
                <a:cubicBezTo>
                  <a:pt x="2661" y="1656"/>
                  <a:pt x="2661" y="1656"/>
                  <a:pt x="2659" y="1656"/>
                </a:cubicBezTo>
                <a:cubicBezTo>
                  <a:pt x="2656" y="1656"/>
                  <a:pt x="2655" y="1653"/>
                  <a:pt x="2655" y="1650"/>
                </a:cubicBezTo>
                <a:cubicBezTo>
                  <a:pt x="2655" y="1649"/>
                  <a:pt x="2655" y="1647"/>
                  <a:pt x="2655" y="1645"/>
                </a:cubicBezTo>
                <a:cubicBezTo>
                  <a:pt x="2655" y="1644"/>
                  <a:pt x="2655" y="1641"/>
                  <a:pt x="2655" y="1639"/>
                </a:cubicBezTo>
                <a:cubicBezTo>
                  <a:pt x="2655" y="1632"/>
                  <a:pt x="2652" y="1629"/>
                  <a:pt x="2647" y="1628"/>
                </a:cubicBezTo>
                <a:cubicBezTo>
                  <a:pt x="2647" y="1628"/>
                  <a:pt x="2647" y="1628"/>
                  <a:pt x="2647" y="1628"/>
                </a:cubicBezTo>
                <a:cubicBezTo>
                  <a:pt x="2652" y="1626"/>
                  <a:pt x="2655" y="1624"/>
                  <a:pt x="2655" y="1617"/>
                </a:cubicBezTo>
                <a:cubicBezTo>
                  <a:pt x="2655" y="1614"/>
                  <a:pt x="2655" y="1612"/>
                  <a:pt x="2655" y="1610"/>
                </a:cubicBezTo>
                <a:cubicBezTo>
                  <a:pt x="2655" y="1609"/>
                  <a:pt x="2655" y="1607"/>
                  <a:pt x="2655" y="1606"/>
                </a:cubicBezTo>
                <a:cubicBezTo>
                  <a:pt x="2655" y="1602"/>
                  <a:pt x="2656" y="1600"/>
                  <a:pt x="2659" y="1600"/>
                </a:cubicBezTo>
                <a:cubicBezTo>
                  <a:pt x="2659" y="1600"/>
                  <a:pt x="2659" y="1600"/>
                  <a:pt x="2661" y="1600"/>
                </a:cubicBezTo>
                <a:cubicBezTo>
                  <a:pt x="2661" y="1600"/>
                  <a:pt x="2661" y="1600"/>
                  <a:pt x="2661" y="1591"/>
                </a:cubicBezTo>
                <a:cubicBezTo>
                  <a:pt x="2661" y="1591"/>
                  <a:pt x="2661" y="1591"/>
                  <a:pt x="2657" y="1591"/>
                </a:cubicBezTo>
                <a:cubicBezTo>
                  <a:pt x="2648" y="1591"/>
                  <a:pt x="2643" y="1595"/>
                  <a:pt x="2643" y="1603"/>
                </a:cubicBezTo>
                <a:cubicBezTo>
                  <a:pt x="2643" y="1606"/>
                  <a:pt x="2643" y="1608"/>
                  <a:pt x="2643" y="1611"/>
                </a:cubicBezTo>
                <a:cubicBezTo>
                  <a:pt x="2644" y="1613"/>
                  <a:pt x="2644" y="1616"/>
                  <a:pt x="2644" y="1618"/>
                </a:cubicBezTo>
                <a:cubicBezTo>
                  <a:pt x="2644" y="1620"/>
                  <a:pt x="2643" y="1624"/>
                  <a:pt x="2637" y="1624"/>
                </a:cubicBezTo>
                <a:close/>
                <a:moveTo>
                  <a:pt x="2692" y="1632"/>
                </a:moveTo>
                <a:cubicBezTo>
                  <a:pt x="2692" y="1632"/>
                  <a:pt x="2692" y="1632"/>
                  <a:pt x="2692" y="1632"/>
                </a:cubicBezTo>
                <a:cubicBezTo>
                  <a:pt x="2692" y="1624"/>
                  <a:pt x="2692" y="1624"/>
                  <a:pt x="2692" y="1624"/>
                </a:cubicBezTo>
                <a:cubicBezTo>
                  <a:pt x="2685" y="1624"/>
                  <a:pt x="2685" y="1620"/>
                  <a:pt x="2685" y="1618"/>
                </a:cubicBezTo>
                <a:cubicBezTo>
                  <a:pt x="2685" y="1616"/>
                  <a:pt x="2685" y="1613"/>
                  <a:pt x="2685" y="1611"/>
                </a:cubicBezTo>
                <a:cubicBezTo>
                  <a:pt x="2686" y="1608"/>
                  <a:pt x="2686" y="1606"/>
                  <a:pt x="2686" y="1603"/>
                </a:cubicBezTo>
                <a:cubicBezTo>
                  <a:pt x="2686" y="1595"/>
                  <a:pt x="2681" y="1591"/>
                  <a:pt x="2671" y="1591"/>
                </a:cubicBezTo>
                <a:cubicBezTo>
                  <a:pt x="2671" y="1591"/>
                  <a:pt x="2671" y="1591"/>
                  <a:pt x="2668" y="1591"/>
                </a:cubicBezTo>
                <a:cubicBezTo>
                  <a:pt x="2668" y="1591"/>
                  <a:pt x="2668" y="1591"/>
                  <a:pt x="2668" y="1600"/>
                </a:cubicBezTo>
                <a:cubicBezTo>
                  <a:pt x="2668" y="1600"/>
                  <a:pt x="2668" y="1600"/>
                  <a:pt x="2669" y="1600"/>
                </a:cubicBezTo>
                <a:cubicBezTo>
                  <a:pt x="2673" y="1600"/>
                  <a:pt x="2674" y="1602"/>
                  <a:pt x="2674" y="1606"/>
                </a:cubicBezTo>
                <a:cubicBezTo>
                  <a:pt x="2674" y="1607"/>
                  <a:pt x="2674" y="1609"/>
                  <a:pt x="2674" y="1610"/>
                </a:cubicBezTo>
                <a:cubicBezTo>
                  <a:pt x="2674" y="1612"/>
                  <a:pt x="2674" y="1614"/>
                  <a:pt x="2674" y="1617"/>
                </a:cubicBezTo>
                <a:cubicBezTo>
                  <a:pt x="2674" y="1624"/>
                  <a:pt x="2676" y="1626"/>
                  <a:pt x="2682" y="1628"/>
                </a:cubicBezTo>
                <a:cubicBezTo>
                  <a:pt x="2682" y="1628"/>
                  <a:pt x="2682" y="1628"/>
                  <a:pt x="2682" y="1628"/>
                </a:cubicBezTo>
                <a:cubicBezTo>
                  <a:pt x="2676" y="1629"/>
                  <a:pt x="2674" y="1632"/>
                  <a:pt x="2674" y="1639"/>
                </a:cubicBezTo>
                <a:cubicBezTo>
                  <a:pt x="2674" y="1641"/>
                  <a:pt x="2674" y="1644"/>
                  <a:pt x="2674" y="1645"/>
                </a:cubicBezTo>
                <a:cubicBezTo>
                  <a:pt x="2674" y="1647"/>
                  <a:pt x="2674" y="1649"/>
                  <a:pt x="2674" y="1650"/>
                </a:cubicBezTo>
                <a:cubicBezTo>
                  <a:pt x="2674" y="1653"/>
                  <a:pt x="2673" y="1656"/>
                  <a:pt x="2669" y="1656"/>
                </a:cubicBezTo>
                <a:cubicBezTo>
                  <a:pt x="2669" y="1656"/>
                  <a:pt x="2669" y="1656"/>
                  <a:pt x="2668" y="1656"/>
                </a:cubicBezTo>
                <a:cubicBezTo>
                  <a:pt x="2668" y="1656"/>
                  <a:pt x="2668" y="1656"/>
                  <a:pt x="2668" y="1665"/>
                </a:cubicBezTo>
                <a:cubicBezTo>
                  <a:pt x="2668" y="1665"/>
                  <a:pt x="2668" y="1665"/>
                  <a:pt x="2671" y="1665"/>
                </a:cubicBezTo>
                <a:cubicBezTo>
                  <a:pt x="2680" y="1665"/>
                  <a:pt x="2686" y="1662"/>
                  <a:pt x="2686" y="1652"/>
                </a:cubicBezTo>
                <a:cubicBezTo>
                  <a:pt x="2686" y="1650"/>
                  <a:pt x="2686" y="1648"/>
                  <a:pt x="2685" y="1645"/>
                </a:cubicBezTo>
                <a:cubicBezTo>
                  <a:pt x="2685" y="1643"/>
                  <a:pt x="2685" y="1640"/>
                  <a:pt x="2685" y="1638"/>
                </a:cubicBezTo>
                <a:cubicBezTo>
                  <a:pt x="2685" y="1635"/>
                  <a:pt x="2685" y="1632"/>
                  <a:pt x="2692" y="1632"/>
                </a:cubicBezTo>
                <a:close/>
                <a:moveTo>
                  <a:pt x="2875" y="1665"/>
                </a:moveTo>
                <a:cubicBezTo>
                  <a:pt x="2868" y="1665"/>
                  <a:pt x="2861" y="1662"/>
                  <a:pt x="2857" y="1656"/>
                </a:cubicBezTo>
                <a:cubicBezTo>
                  <a:pt x="2853" y="1650"/>
                  <a:pt x="2851" y="1641"/>
                  <a:pt x="2851" y="1628"/>
                </a:cubicBezTo>
                <a:cubicBezTo>
                  <a:pt x="2851" y="1615"/>
                  <a:pt x="2853" y="1606"/>
                  <a:pt x="2858" y="1599"/>
                </a:cubicBezTo>
                <a:cubicBezTo>
                  <a:pt x="2862" y="1592"/>
                  <a:pt x="2869" y="1589"/>
                  <a:pt x="2877" y="1589"/>
                </a:cubicBezTo>
                <a:cubicBezTo>
                  <a:pt x="2893" y="1589"/>
                  <a:pt x="2901" y="1601"/>
                  <a:pt x="2901" y="1627"/>
                </a:cubicBezTo>
                <a:cubicBezTo>
                  <a:pt x="2901" y="1639"/>
                  <a:pt x="2899" y="1649"/>
                  <a:pt x="2894" y="1655"/>
                </a:cubicBezTo>
                <a:cubicBezTo>
                  <a:pt x="2890" y="1662"/>
                  <a:pt x="2883" y="1665"/>
                  <a:pt x="2875" y="1665"/>
                </a:cubicBezTo>
                <a:close/>
                <a:moveTo>
                  <a:pt x="2877" y="1598"/>
                </a:moveTo>
                <a:cubicBezTo>
                  <a:pt x="2867" y="1598"/>
                  <a:pt x="2863" y="1608"/>
                  <a:pt x="2863" y="1628"/>
                </a:cubicBezTo>
                <a:cubicBezTo>
                  <a:pt x="2863" y="1647"/>
                  <a:pt x="2867" y="1655"/>
                  <a:pt x="2876" y="1655"/>
                </a:cubicBezTo>
                <a:cubicBezTo>
                  <a:pt x="2885" y="1655"/>
                  <a:pt x="2889" y="1647"/>
                  <a:pt x="2889" y="1628"/>
                </a:cubicBezTo>
                <a:cubicBezTo>
                  <a:pt x="2889" y="1608"/>
                  <a:pt x="2885" y="1598"/>
                  <a:pt x="2877" y="1598"/>
                </a:cubicBezTo>
                <a:close/>
                <a:moveTo>
                  <a:pt x="2945" y="1665"/>
                </a:moveTo>
                <a:cubicBezTo>
                  <a:pt x="2938" y="1665"/>
                  <a:pt x="2931" y="1662"/>
                  <a:pt x="2928" y="1656"/>
                </a:cubicBezTo>
                <a:cubicBezTo>
                  <a:pt x="2923" y="1650"/>
                  <a:pt x="2921" y="1641"/>
                  <a:pt x="2921" y="1628"/>
                </a:cubicBezTo>
                <a:cubicBezTo>
                  <a:pt x="2921" y="1615"/>
                  <a:pt x="2923" y="1606"/>
                  <a:pt x="2928" y="1599"/>
                </a:cubicBezTo>
                <a:cubicBezTo>
                  <a:pt x="2932" y="1592"/>
                  <a:pt x="2939" y="1589"/>
                  <a:pt x="2947" y="1589"/>
                </a:cubicBezTo>
                <a:cubicBezTo>
                  <a:pt x="2963" y="1589"/>
                  <a:pt x="2972" y="1601"/>
                  <a:pt x="2972" y="1627"/>
                </a:cubicBezTo>
                <a:cubicBezTo>
                  <a:pt x="2972" y="1639"/>
                  <a:pt x="2969" y="1649"/>
                  <a:pt x="2965" y="1655"/>
                </a:cubicBezTo>
                <a:cubicBezTo>
                  <a:pt x="2960" y="1662"/>
                  <a:pt x="2954" y="1665"/>
                  <a:pt x="2945" y="1665"/>
                </a:cubicBezTo>
                <a:close/>
                <a:moveTo>
                  <a:pt x="2947" y="1598"/>
                </a:moveTo>
                <a:cubicBezTo>
                  <a:pt x="2938" y="1598"/>
                  <a:pt x="2933" y="1608"/>
                  <a:pt x="2933" y="1628"/>
                </a:cubicBezTo>
                <a:cubicBezTo>
                  <a:pt x="2933" y="1647"/>
                  <a:pt x="2937" y="1655"/>
                  <a:pt x="2946" y="1655"/>
                </a:cubicBezTo>
                <a:cubicBezTo>
                  <a:pt x="2955" y="1655"/>
                  <a:pt x="2959" y="1647"/>
                  <a:pt x="2959" y="1628"/>
                </a:cubicBezTo>
                <a:cubicBezTo>
                  <a:pt x="2959" y="1608"/>
                  <a:pt x="2955" y="1598"/>
                  <a:pt x="2947" y="1598"/>
                </a:cubicBezTo>
                <a:close/>
                <a:moveTo>
                  <a:pt x="3019" y="1592"/>
                </a:moveTo>
                <a:cubicBezTo>
                  <a:pt x="3019" y="1592"/>
                  <a:pt x="3019" y="1592"/>
                  <a:pt x="3019" y="1592"/>
                </a:cubicBezTo>
                <a:cubicBezTo>
                  <a:pt x="3013" y="1592"/>
                  <a:pt x="3013" y="1592"/>
                  <a:pt x="3013" y="1592"/>
                </a:cubicBezTo>
                <a:cubicBezTo>
                  <a:pt x="3011" y="1593"/>
                  <a:pt x="3010" y="1594"/>
                  <a:pt x="3008" y="1595"/>
                </a:cubicBezTo>
                <a:cubicBezTo>
                  <a:pt x="3006" y="1597"/>
                  <a:pt x="3005" y="1597"/>
                  <a:pt x="3003" y="1598"/>
                </a:cubicBezTo>
                <a:cubicBezTo>
                  <a:pt x="3001" y="1600"/>
                  <a:pt x="2999" y="1600"/>
                  <a:pt x="2998" y="1601"/>
                </a:cubicBezTo>
                <a:cubicBezTo>
                  <a:pt x="2995" y="1602"/>
                  <a:pt x="2994" y="1602"/>
                  <a:pt x="2992" y="1602"/>
                </a:cubicBezTo>
                <a:cubicBezTo>
                  <a:pt x="2992" y="1602"/>
                  <a:pt x="2992" y="1602"/>
                  <a:pt x="2992" y="1613"/>
                </a:cubicBezTo>
                <a:cubicBezTo>
                  <a:pt x="2995" y="1612"/>
                  <a:pt x="2998" y="1611"/>
                  <a:pt x="3000" y="1610"/>
                </a:cubicBezTo>
                <a:cubicBezTo>
                  <a:pt x="3003" y="1609"/>
                  <a:pt x="3005" y="1608"/>
                  <a:pt x="3007" y="1606"/>
                </a:cubicBezTo>
                <a:cubicBezTo>
                  <a:pt x="3007" y="1606"/>
                  <a:pt x="3007" y="1606"/>
                  <a:pt x="3007" y="1665"/>
                </a:cubicBezTo>
                <a:cubicBezTo>
                  <a:pt x="3007" y="1665"/>
                  <a:pt x="3007" y="1665"/>
                  <a:pt x="3019" y="1665"/>
                </a:cubicBezTo>
                <a:cubicBezTo>
                  <a:pt x="3019" y="1665"/>
                  <a:pt x="3019" y="1665"/>
                  <a:pt x="3019" y="1592"/>
                </a:cubicBezTo>
                <a:close/>
                <a:moveTo>
                  <a:pt x="3065" y="1592"/>
                </a:moveTo>
                <a:cubicBezTo>
                  <a:pt x="3065" y="1592"/>
                  <a:pt x="3065" y="1592"/>
                  <a:pt x="3065" y="1592"/>
                </a:cubicBezTo>
                <a:cubicBezTo>
                  <a:pt x="3060" y="1592"/>
                  <a:pt x="3060" y="1592"/>
                  <a:pt x="3060" y="1592"/>
                </a:cubicBezTo>
                <a:cubicBezTo>
                  <a:pt x="3058" y="1593"/>
                  <a:pt x="3056" y="1594"/>
                  <a:pt x="3054" y="1595"/>
                </a:cubicBezTo>
                <a:cubicBezTo>
                  <a:pt x="3053" y="1597"/>
                  <a:pt x="3051" y="1597"/>
                  <a:pt x="3049" y="1598"/>
                </a:cubicBezTo>
                <a:cubicBezTo>
                  <a:pt x="3048" y="1600"/>
                  <a:pt x="3046" y="1600"/>
                  <a:pt x="3044" y="1601"/>
                </a:cubicBezTo>
                <a:cubicBezTo>
                  <a:pt x="3042" y="1602"/>
                  <a:pt x="3040" y="1602"/>
                  <a:pt x="3038" y="1602"/>
                </a:cubicBezTo>
                <a:cubicBezTo>
                  <a:pt x="3038" y="1602"/>
                  <a:pt x="3038" y="1602"/>
                  <a:pt x="3038" y="1613"/>
                </a:cubicBezTo>
                <a:cubicBezTo>
                  <a:pt x="3041" y="1612"/>
                  <a:pt x="3044" y="1611"/>
                  <a:pt x="3046" y="1610"/>
                </a:cubicBezTo>
                <a:cubicBezTo>
                  <a:pt x="3049" y="1609"/>
                  <a:pt x="3051" y="1608"/>
                  <a:pt x="3054" y="1606"/>
                </a:cubicBezTo>
                <a:cubicBezTo>
                  <a:pt x="3054" y="1606"/>
                  <a:pt x="3054" y="1606"/>
                  <a:pt x="3054" y="1665"/>
                </a:cubicBezTo>
                <a:cubicBezTo>
                  <a:pt x="3054" y="1665"/>
                  <a:pt x="3054" y="1665"/>
                  <a:pt x="3065" y="1665"/>
                </a:cubicBezTo>
                <a:cubicBezTo>
                  <a:pt x="3065" y="1665"/>
                  <a:pt x="3065" y="1665"/>
                  <a:pt x="3065" y="1592"/>
                </a:cubicBezTo>
                <a:close/>
                <a:moveTo>
                  <a:pt x="3111" y="1592"/>
                </a:moveTo>
                <a:cubicBezTo>
                  <a:pt x="3111" y="1592"/>
                  <a:pt x="3111" y="1592"/>
                  <a:pt x="3111" y="1592"/>
                </a:cubicBezTo>
                <a:cubicBezTo>
                  <a:pt x="3107" y="1592"/>
                  <a:pt x="3107" y="1592"/>
                  <a:pt x="3107" y="1592"/>
                </a:cubicBezTo>
                <a:cubicBezTo>
                  <a:pt x="3105" y="1593"/>
                  <a:pt x="3103" y="1594"/>
                  <a:pt x="3101" y="1595"/>
                </a:cubicBezTo>
                <a:cubicBezTo>
                  <a:pt x="3100" y="1597"/>
                  <a:pt x="3098" y="1597"/>
                  <a:pt x="3096" y="1598"/>
                </a:cubicBezTo>
                <a:cubicBezTo>
                  <a:pt x="3094" y="1599"/>
                  <a:pt x="3092" y="1600"/>
                  <a:pt x="3090" y="1600"/>
                </a:cubicBezTo>
                <a:cubicBezTo>
                  <a:pt x="3089" y="1601"/>
                  <a:pt x="3087" y="1602"/>
                  <a:pt x="3085" y="1602"/>
                </a:cubicBezTo>
                <a:cubicBezTo>
                  <a:pt x="3085" y="1602"/>
                  <a:pt x="3085" y="1602"/>
                  <a:pt x="3085" y="1613"/>
                </a:cubicBezTo>
                <a:cubicBezTo>
                  <a:pt x="3088" y="1612"/>
                  <a:pt x="3091" y="1610"/>
                  <a:pt x="3093" y="1610"/>
                </a:cubicBezTo>
                <a:cubicBezTo>
                  <a:pt x="3095" y="1609"/>
                  <a:pt x="3098" y="1608"/>
                  <a:pt x="3100" y="1606"/>
                </a:cubicBezTo>
                <a:cubicBezTo>
                  <a:pt x="3100" y="1606"/>
                  <a:pt x="3100" y="1606"/>
                  <a:pt x="3100" y="1665"/>
                </a:cubicBezTo>
                <a:cubicBezTo>
                  <a:pt x="3100" y="1665"/>
                  <a:pt x="3100" y="1665"/>
                  <a:pt x="3111" y="1665"/>
                </a:cubicBezTo>
                <a:cubicBezTo>
                  <a:pt x="3111" y="1665"/>
                  <a:pt x="3111" y="1665"/>
                  <a:pt x="3111" y="1592"/>
                </a:cubicBezTo>
                <a:close/>
                <a:moveTo>
                  <a:pt x="2920" y="1566"/>
                </a:moveTo>
                <a:cubicBezTo>
                  <a:pt x="2913" y="1566"/>
                  <a:pt x="2906" y="1563"/>
                  <a:pt x="2902" y="1557"/>
                </a:cubicBezTo>
                <a:cubicBezTo>
                  <a:pt x="2898" y="1551"/>
                  <a:pt x="2896" y="1542"/>
                  <a:pt x="2896" y="1530"/>
                </a:cubicBezTo>
                <a:cubicBezTo>
                  <a:pt x="2896" y="1517"/>
                  <a:pt x="2898" y="1507"/>
                  <a:pt x="2903" y="1500"/>
                </a:cubicBezTo>
                <a:cubicBezTo>
                  <a:pt x="2907" y="1494"/>
                  <a:pt x="2914" y="1490"/>
                  <a:pt x="2922" y="1490"/>
                </a:cubicBezTo>
                <a:cubicBezTo>
                  <a:pt x="2939" y="1490"/>
                  <a:pt x="2947" y="1503"/>
                  <a:pt x="2947" y="1528"/>
                </a:cubicBezTo>
                <a:cubicBezTo>
                  <a:pt x="2947" y="1541"/>
                  <a:pt x="2944" y="1550"/>
                  <a:pt x="2939" y="1557"/>
                </a:cubicBezTo>
                <a:cubicBezTo>
                  <a:pt x="2935" y="1563"/>
                  <a:pt x="2928" y="1566"/>
                  <a:pt x="2920" y="1566"/>
                </a:cubicBezTo>
                <a:close/>
                <a:moveTo>
                  <a:pt x="2922" y="1500"/>
                </a:moveTo>
                <a:cubicBezTo>
                  <a:pt x="2912" y="1500"/>
                  <a:pt x="2908" y="1510"/>
                  <a:pt x="2908" y="1530"/>
                </a:cubicBezTo>
                <a:cubicBezTo>
                  <a:pt x="2908" y="1548"/>
                  <a:pt x="2912" y="1557"/>
                  <a:pt x="2921" y="1557"/>
                </a:cubicBezTo>
                <a:cubicBezTo>
                  <a:pt x="2930" y="1557"/>
                  <a:pt x="2934" y="1548"/>
                  <a:pt x="2934" y="1529"/>
                </a:cubicBezTo>
                <a:cubicBezTo>
                  <a:pt x="2934" y="1509"/>
                  <a:pt x="2930" y="1500"/>
                  <a:pt x="2922" y="1500"/>
                </a:cubicBezTo>
                <a:close/>
                <a:moveTo>
                  <a:pt x="2994" y="1493"/>
                </a:moveTo>
                <a:cubicBezTo>
                  <a:pt x="2994" y="1493"/>
                  <a:pt x="2994" y="1493"/>
                  <a:pt x="2994" y="1493"/>
                </a:cubicBezTo>
                <a:cubicBezTo>
                  <a:pt x="2989" y="1493"/>
                  <a:pt x="2989" y="1493"/>
                  <a:pt x="2989" y="1493"/>
                </a:cubicBezTo>
                <a:cubicBezTo>
                  <a:pt x="2987" y="1494"/>
                  <a:pt x="2985" y="1496"/>
                  <a:pt x="2983" y="1496"/>
                </a:cubicBezTo>
                <a:cubicBezTo>
                  <a:pt x="2982" y="1498"/>
                  <a:pt x="2980" y="1498"/>
                  <a:pt x="2978" y="1499"/>
                </a:cubicBezTo>
                <a:cubicBezTo>
                  <a:pt x="2976" y="1500"/>
                  <a:pt x="2974" y="1501"/>
                  <a:pt x="2973" y="1501"/>
                </a:cubicBezTo>
                <a:cubicBezTo>
                  <a:pt x="2971" y="1502"/>
                  <a:pt x="2969" y="1503"/>
                  <a:pt x="2967" y="1504"/>
                </a:cubicBezTo>
                <a:cubicBezTo>
                  <a:pt x="2967" y="1504"/>
                  <a:pt x="2967" y="1504"/>
                  <a:pt x="2967" y="1514"/>
                </a:cubicBezTo>
                <a:cubicBezTo>
                  <a:pt x="2970" y="1513"/>
                  <a:pt x="2973" y="1512"/>
                  <a:pt x="2975" y="1511"/>
                </a:cubicBezTo>
                <a:cubicBezTo>
                  <a:pt x="2978" y="1510"/>
                  <a:pt x="2980" y="1509"/>
                  <a:pt x="2982" y="1507"/>
                </a:cubicBezTo>
                <a:cubicBezTo>
                  <a:pt x="2982" y="1507"/>
                  <a:pt x="2982" y="1507"/>
                  <a:pt x="2982" y="1566"/>
                </a:cubicBezTo>
                <a:cubicBezTo>
                  <a:pt x="2982" y="1566"/>
                  <a:pt x="2982" y="1566"/>
                  <a:pt x="2994" y="1566"/>
                </a:cubicBezTo>
                <a:cubicBezTo>
                  <a:pt x="2994" y="1566"/>
                  <a:pt x="2994" y="1566"/>
                  <a:pt x="2994" y="1493"/>
                </a:cubicBezTo>
                <a:close/>
                <a:moveTo>
                  <a:pt x="3041" y="1493"/>
                </a:moveTo>
                <a:cubicBezTo>
                  <a:pt x="3041" y="1493"/>
                  <a:pt x="3041" y="1493"/>
                  <a:pt x="3041" y="1493"/>
                </a:cubicBezTo>
                <a:cubicBezTo>
                  <a:pt x="3036" y="1493"/>
                  <a:pt x="3036" y="1493"/>
                  <a:pt x="3036" y="1493"/>
                </a:cubicBezTo>
                <a:cubicBezTo>
                  <a:pt x="3034" y="1494"/>
                  <a:pt x="3033" y="1496"/>
                  <a:pt x="3030" y="1496"/>
                </a:cubicBezTo>
                <a:cubicBezTo>
                  <a:pt x="3029" y="1498"/>
                  <a:pt x="3027" y="1498"/>
                  <a:pt x="3025" y="1499"/>
                </a:cubicBezTo>
                <a:cubicBezTo>
                  <a:pt x="3024" y="1501"/>
                  <a:pt x="3022" y="1501"/>
                  <a:pt x="3020" y="1502"/>
                </a:cubicBezTo>
                <a:cubicBezTo>
                  <a:pt x="3018" y="1503"/>
                  <a:pt x="3017" y="1504"/>
                  <a:pt x="3015" y="1504"/>
                </a:cubicBezTo>
                <a:cubicBezTo>
                  <a:pt x="3015" y="1504"/>
                  <a:pt x="3015" y="1504"/>
                  <a:pt x="3015" y="1514"/>
                </a:cubicBezTo>
                <a:cubicBezTo>
                  <a:pt x="3018" y="1513"/>
                  <a:pt x="3020" y="1512"/>
                  <a:pt x="3023" y="1511"/>
                </a:cubicBezTo>
                <a:cubicBezTo>
                  <a:pt x="3025" y="1510"/>
                  <a:pt x="3028" y="1509"/>
                  <a:pt x="3030" y="1507"/>
                </a:cubicBezTo>
                <a:cubicBezTo>
                  <a:pt x="3030" y="1507"/>
                  <a:pt x="3030" y="1507"/>
                  <a:pt x="3030" y="1566"/>
                </a:cubicBezTo>
                <a:cubicBezTo>
                  <a:pt x="3030" y="1566"/>
                  <a:pt x="3030" y="1566"/>
                  <a:pt x="3041" y="1566"/>
                </a:cubicBezTo>
                <a:cubicBezTo>
                  <a:pt x="3041" y="1566"/>
                  <a:pt x="3041" y="1566"/>
                  <a:pt x="3041" y="1493"/>
                </a:cubicBezTo>
                <a:close/>
                <a:moveTo>
                  <a:pt x="3088" y="1493"/>
                </a:moveTo>
                <a:cubicBezTo>
                  <a:pt x="3088" y="1493"/>
                  <a:pt x="3088" y="1493"/>
                  <a:pt x="3088" y="1493"/>
                </a:cubicBezTo>
                <a:cubicBezTo>
                  <a:pt x="3083" y="1493"/>
                  <a:pt x="3083" y="1493"/>
                  <a:pt x="3083" y="1493"/>
                </a:cubicBezTo>
                <a:cubicBezTo>
                  <a:pt x="3081" y="1494"/>
                  <a:pt x="3080" y="1496"/>
                  <a:pt x="3078" y="1496"/>
                </a:cubicBezTo>
                <a:cubicBezTo>
                  <a:pt x="3076" y="1498"/>
                  <a:pt x="3074" y="1498"/>
                  <a:pt x="3073" y="1499"/>
                </a:cubicBezTo>
                <a:cubicBezTo>
                  <a:pt x="3070" y="1501"/>
                  <a:pt x="3069" y="1501"/>
                  <a:pt x="3067" y="1502"/>
                </a:cubicBezTo>
                <a:cubicBezTo>
                  <a:pt x="3065" y="1503"/>
                  <a:pt x="3063" y="1504"/>
                  <a:pt x="3062" y="1504"/>
                </a:cubicBezTo>
                <a:cubicBezTo>
                  <a:pt x="3062" y="1504"/>
                  <a:pt x="3062" y="1504"/>
                  <a:pt x="3062" y="1514"/>
                </a:cubicBezTo>
                <a:cubicBezTo>
                  <a:pt x="3065" y="1513"/>
                  <a:pt x="3068" y="1512"/>
                  <a:pt x="3070" y="1511"/>
                </a:cubicBezTo>
                <a:cubicBezTo>
                  <a:pt x="3072" y="1510"/>
                  <a:pt x="3075" y="1509"/>
                  <a:pt x="3076" y="1507"/>
                </a:cubicBezTo>
                <a:cubicBezTo>
                  <a:pt x="3076" y="1507"/>
                  <a:pt x="3076" y="1507"/>
                  <a:pt x="3076" y="1566"/>
                </a:cubicBezTo>
                <a:cubicBezTo>
                  <a:pt x="3076" y="1566"/>
                  <a:pt x="3076" y="1566"/>
                  <a:pt x="3088" y="1566"/>
                </a:cubicBezTo>
                <a:cubicBezTo>
                  <a:pt x="3088" y="1566"/>
                  <a:pt x="3088" y="1566"/>
                  <a:pt x="3088" y="1493"/>
                </a:cubicBezTo>
                <a:close/>
                <a:moveTo>
                  <a:pt x="3135" y="1493"/>
                </a:moveTo>
                <a:cubicBezTo>
                  <a:pt x="3135" y="1493"/>
                  <a:pt x="3135" y="1493"/>
                  <a:pt x="3135" y="1493"/>
                </a:cubicBezTo>
                <a:cubicBezTo>
                  <a:pt x="3130" y="1493"/>
                  <a:pt x="3130" y="1493"/>
                  <a:pt x="3130" y="1493"/>
                </a:cubicBezTo>
                <a:cubicBezTo>
                  <a:pt x="3128" y="1494"/>
                  <a:pt x="3126" y="1496"/>
                  <a:pt x="3124" y="1496"/>
                </a:cubicBezTo>
                <a:cubicBezTo>
                  <a:pt x="3123" y="1498"/>
                  <a:pt x="3121" y="1498"/>
                  <a:pt x="3119" y="1499"/>
                </a:cubicBezTo>
                <a:cubicBezTo>
                  <a:pt x="3118" y="1501"/>
                  <a:pt x="3116" y="1501"/>
                  <a:pt x="3114" y="1502"/>
                </a:cubicBezTo>
                <a:cubicBezTo>
                  <a:pt x="3112" y="1503"/>
                  <a:pt x="3111" y="1504"/>
                  <a:pt x="3108" y="1504"/>
                </a:cubicBezTo>
                <a:cubicBezTo>
                  <a:pt x="3108" y="1504"/>
                  <a:pt x="3108" y="1504"/>
                  <a:pt x="3108" y="1514"/>
                </a:cubicBezTo>
                <a:cubicBezTo>
                  <a:pt x="3111" y="1513"/>
                  <a:pt x="3114" y="1512"/>
                  <a:pt x="3116" y="1511"/>
                </a:cubicBezTo>
                <a:cubicBezTo>
                  <a:pt x="3119" y="1510"/>
                  <a:pt x="3121" y="1509"/>
                  <a:pt x="3124" y="1507"/>
                </a:cubicBezTo>
                <a:cubicBezTo>
                  <a:pt x="3124" y="1507"/>
                  <a:pt x="3124" y="1507"/>
                  <a:pt x="3124" y="1566"/>
                </a:cubicBezTo>
                <a:cubicBezTo>
                  <a:pt x="3124" y="1566"/>
                  <a:pt x="3124" y="1566"/>
                  <a:pt x="3135" y="1566"/>
                </a:cubicBezTo>
                <a:cubicBezTo>
                  <a:pt x="3135" y="1566"/>
                  <a:pt x="3135" y="1566"/>
                  <a:pt x="3135" y="1493"/>
                </a:cubicBezTo>
                <a:close/>
                <a:moveTo>
                  <a:pt x="3259" y="1493"/>
                </a:moveTo>
                <a:cubicBezTo>
                  <a:pt x="3259" y="1493"/>
                  <a:pt x="3259" y="1493"/>
                  <a:pt x="3259" y="1493"/>
                </a:cubicBezTo>
                <a:cubicBezTo>
                  <a:pt x="3253" y="1493"/>
                  <a:pt x="3253" y="1493"/>
                  <a:pt x="3253" y="1493"/>
                </a:cubicBezTo>
                <a:cubicBezTo>
                  <a:pt x="3251" y="1494"/>
                  <a:pt x="3250" y="1496"/>
                  <a:pt x="3247" y="1496"/>
                </a:cubicBezTo>
                <a:cubicBezTo>
                  <a:pt x="3246" y="1498"/>
                  <a:pt x="3245" y="1498"/>
                  <a:pt x="3242" y="1499"/>
                </a:cubicBezTo>
                <a:cubicBezTo>
                  <a:pt x="3241" y="1501"/>
                  <a:pt x="3239" y="1501"/>
                  <a:pt x="3237" y="1502"/>
                </a:cubicBezTo>
                <a:cubicBezTo>
                  <a:pt x="3235" y="1503"/>
                  <a:pt x="3233" y="1504"/>
                  <a:pt x="3231" y="1504"/>
                </a:cubicBezTo>
                <a:cubicBezTo>
                  <a:pt x="3231" y="1504"/>
                  <a:pt x="3231" y="1504"/>
                  <a:pt x="3231" y="1514"/>
                </a:cubicBezTo>
                <a:cubicBezTo>
                  <a:pt x="3234" y="1513"/>
                  <a:pt x="3237" y="1512"/>
                  <a:pt x="3240" y="1511"/>
                </a:cubicBezTo>
                <a:cubicBezTo>
                  <a:pt x="3242" y="1510"/>
                  <a:pt x="3245" y="1509"/>
                  <a:pt x="3247" y="1507"/>
                </a:cubicBezTo>
                <a:cubicBezTo>
                  <a:pt x="3247" y="1507"/>
                  <a:pt x="3247" y="1507"/>
                  <a:pt x="3247" y="1566"/>
                </a:cubicBezTo>
                <a:cubicBezTo>
                  <a:pt x="3247" y="1566"/>
                  <a:pt x="3247" y="1566"/>
                  <a:pt x="3259" y="1566"/>
                </a:cubicBezTo>
                <a:cubicBezTo>
                  <a:pt x="3259" y="1566"/>
                  <a:pt x="3259" y="1566"/>
                  <a:pt x="3259" y="1493"/>
                </a:cubicBezTo>
                <a:close/>
                <a:moveTo>
                  <a:pt x="3306" y="1493"/>
                </a:moveTo>
                <a:cubicBezTo>
                  <a:pt x="3306" y="1493"/>
                  <a:pt x="3306" y="1493"/>
                  <a:pt x="3306" y="1493"/>
                </a:cubicBezTo>
                <a:cubicBezTo>
                  <a:pt x="3301" y="1493"/>
                  <a:pt x="3301" y="1493"/>
                  <a:pt x="3301" y="1493"/>
                </a:cubicBezTo>
                <a:cubicBezTo>
                  <a:pt x="3299" y="1494"/>
                  <a:pt x="3297" y="1496"/>
                  <a:pt x="3295" y="1496"/>
                </a:cubicBezTo>
                <a:cubicBezTo>
                  <a:pt x="3294" y="1498"/>
                  <a:pt x="3292" y="1498"/>
                  <a:pt x="3290" y="1499"/>
                </a:cubicBezTo>
                <a:cubicBezTo>
                  <a:pt x="3289" y="1501"/>
                  <a:pt x="3286" y="1501"/>
                  <a:pt x="3285" y="1502"/>
                </a:cubicBezTo>
                <a:cubicBezTo>
                  <a:pt x="3283" y="1503"/>
                  <a:pt x="3281" y="1504"/>
                  <a:pt x="3279" y="1504"/>
                </a:cubicBezTo>
                <a:cubicBezTo>
                  <a:pt x="3279" y="1504"/>
                  <a:pt x="3279" y="1504"/>
                  <a:pt x="3279" y="1514"/>
                </a:cubicBezTo>
                <a:cubicBezTo>
                  <a:pt x="3282" y="1513"/>
                  <a:pt x="3285" y="1512"/>
                  <a:pt x="3287" y="1511"/>
                </a:cubicBezTo>
                <a:cubicBezTo>
                  <a:pt x="3290" y="1510"/>
                  <a:pt x="3292" y="1509"/>
                  <a:pt x="3294" y="1507"/>
                </a:cubicBezTo>
                <a:cubicBezTo>
                  <a:pt x="3294" y="1507"/>
                  <a:pt x="3294" y="1507"/>
                  <a:pt x="3294" y="1566"/>
                </a:cubicBezTo>
                <a:cubicBezTo>
                  <a:pt x="3294" y="1566"/>
                  <a:pt x="3294" y="1566"/>
                  <a:pt x="3306" y="1566"/>
                </a:cubicBezTo>
                <a:cubicBezTo>
                  <a:pt x="3306" y="1566"/>
                  <a:pt x="3306" y="1566"/>
                  <a:pt x="3306" y="1493"/>
                </a:cubicBezTo>
                <a:close/>
                <a:moveTo>
                  <a:pt x="3354" y="1493"/>
                </a:moveTo>
                <a:cubicBezTo>
                  <a:pt x="3354" y="1493"/>
                  <a:pt x="3354" y="1493"/>
                  <a:pt x="3354" y="1493"/>
                </a:cubicBezTo>
                <a:cubicBezTo>
                  <a:pt x="3349" y="1493"/>
                  <a:pt x="3349" y="1493"/>
                  <a:pt x="3349" y="1493"/>
                </a:cubicBezTo>
                <a:cubicBezTo>
                  <a:pt x="3347" y="1494"/>
                  <a:pt x="3345" y="1496"/>
                  <a:pt x="3343" y="1496"/>
                </a:cubicBezTo>
                <a:cubicBezTo>
                  <a:pt x="3341" y="1498"/>
                  <a:pt x="3340" y="1498"/>
                  <a:pt x="3338" y="1499"/>
                </a:cubicBezTo>
                <a:cubicBezTo>
                  <a:pt x="3336" y="1501"/>
                  <a:pt x="3334" y="1501"/>
                  <a:pt x="3333" y="1502"/>
                </a:cubicBezTo>
                <a:cubicBezTo>
                  <a:pt x="3330" y="1503"/>
                  <a:pt x="3329" y="1504"/>
                  <a:pt x="3327" y="1504"/>
                </a:cubicBezTo>
                <a:cubicBezTo>
                  <a:pt x="3327" y="1504"/>
                  <a:pt x="3327" y="1504"/>
                  <a:pt x="3327" y="1514"/>
                </a:cubicBezTo>
                <a:cubicBezTo>
                  <a:pt x="3330" y="1513"/>
                  <a:pt x="3333" y="1512"/>
                  <a:pt x="3335" y="1511"/>
                </a:cubicBezTo>
                <a:cubicBezTo>
                  <a:pt x="3338" y="1510"/>
                  <a:pt x="3340" y="1509"/>
                  <a:pt x="3342" y="1507"/>
                </a:cubicBezTo>
                <a:cubicBezTo>
                  <a:pt x="3342" y="1507"/>
                  <a:pt x="3342" y="1507"/>
                  <a:pt x="3342" y="1566"/>
                </a:cubicBezTo>
                <a:cubicBezTo>
                  <a:pt x="3342" y="1566"/>
                  <a:pt x="3342" y="1566"/>
                  <a:pt x="3354" y="1566"/>
                </a:cubicBezTo>
                <a:cubicBezTo>
                  <a:pt x="3354" y="1566"/>
                  <a:pt x="3354" y="1566"/>
                  <a:pt x="3354" y="1493"/>
                </a:cubicBezTo>
                <a:close/>
                <a:moveTo>
                  <a:pt x="3400" y="1493"/>
                </a:moveTo>
                <a:cubicBezTo>
                  <a:pt x="3400" y="1493"/>
                  <a:pt x="3400" y="1493"/>
                  <a:pt x="3400" y="1493"/>
                </a:cubicBezTo>
                <a:cubicBezTo>
                  <a:pt x="3396" y="1493"/>
                  <a:pt x="3396" y="1493"/>
                  <a:pt x="3396" y="1493"/>
                </a:cubicBezTo>
                <a:cubicBezTo>
                  <a:pt x="3394" y="1494"/>
                  <a:pt x="3392" y="1496"/>
                  <a:pt x="3390" y="1496"/>
                </a:cubicBezTo>
                <a:cubicBezTo>
                  <a:pt x="3389" y="1498"/>
                  <a:pt x="3386" y="1498"/>
                  <a:pt x="3385" y="1499"/>
                </a:cubicBezTo>
                <a:cubicBezTo>
                  <a:pt x="3383" y="1500"/>
                  <a:pt x="3381" y="1501"/>
                  <a:pt x="3379" y="1501"/>
                </a:cubicBezTo>
                <a:cubicBezTo>
                  <a:pt x="3378" y="1502"/>
                  <a:pt x="3376" y="1503"/>
                  <a:pt x="3374" y="1504"/>
                </a:cubicBezTo>
                <a:cubicBezTo>
                  <a:pt x="3374" y="1504"/>
                  <a:pt x="3374" y="1504"/>
                  <a:pt x="3374" y="1514"/>
                </a:cubicBezTo>
                <a:cubicBezTo>
                  <a:pt x="3377" y="1513"/>
                  <a:pt x="3380" y="1512"/>
                  <a:pt x="3382" y="1511"/>
                </a:cubicBezTo>
                <a:cubicBezTo>
                  <a:pt x="3384" y="1510"/>
                  <a:pt x="3387" y="1509"/>
                  <a:pt x="3389" y="1507"/>
                </a:cubicBezTo>
                <a:cubicBezTo>
                  <a:pt x="3389" y="1507"/>
                  <a:pt x="3389" y="1507"/>
                  <a:pt x="3389" y="1566"/>
                </a:cubicBezTo>
                <a:cubicBezTo>
                  <a:pt x="3389" y="1566"/>
                  <a:pt x="3389" y="1566"/>
                  <a:pt x="3400" y="1566"/>
                </a:cubicBezTo>
                <a:cubicBezTo>
                  <a:pt x="3400" y="1566"/>
                  <a:pt x="3400" y="1566"/>
                  <a:pt x="3400" y="1493"/>
                </a:cubicBezTo>
                <a:close/>
                <a:moveTo>
                  <a:pt x="3156" y="1525"/>
                </a:moveTo>
                <a:cubicBezTo>
                  <a:pt x="3156" y="1525"/>
                  <a:pt x="3156" y="1525"/>
                  <a:pt x="3156" y="1525"/>
                </a:cubicBezTo>
                <a:cubicBezTo>
                  <a:pt x="3156" y="1533"/>
                  <a:pt x="3156" y="1533"/>
                  <a:pt x="3156" y="1533"/>
                </a:cubicBezTo>
                <a:cubicBezTo>
                  <a:pt x="3162" y="1534"/>
                  <a:pt x="3163" y="1537"/>
                  <a:pt x="3163" y="1539"/>
                </a:cubicBezTo>
                <a:cubicBezTo>
                  <a:pt x="3163" y="1541"/>
                  <a:pt x="3162" y="1544"/>
                  <a:pt x="3162" y="1546"/>
                </a:cubicBezTo>
                <a:cubicBezTo>
                  <a:pt x="3162" y="1549"/>
                  <a:pt x="3162" y="1551"/>
                  <a:pt x="3162" y="1553"/>
                </a:cubicBezTo>
                <a:cubicBezTo>
                  <a:pt x="3162" y="1563"/>
                  <a:pt x="3168" y="1566"/>
                  <a:pt x="3176" y="1566"/>
                </a:cubicBezTo>
                <a:cubicBezTo>
                  <a:pt x="3176" y="1566"/>
                  <a:pt x="3176" y="1566"/>
                  <a:pt x="3180" y="1566"/>
                </a:cubicBezTo>
                <a:cubicBezTo>
                  <a:pt x="3180" y="1566"/>
                  <a:pt x="3180" y="1566"/>
                  <a:pt x="3180" y="1557"/>
                </a:cubicBezTo>
                <a:cubicBezTo>
                  <a:pt x="3180" y="1557"/>
                  <a:pt x="3180" y="1557"/>
                  <a:pt x="3178" y="1557"/>
                </a:cubicBezTo>
                <a:cubicBezTo>
                  <a:pt x="3175" y="1557"/>
                  <a:pt x="3174" y="1555"/>
                  <a:pt x="3174" y="1551"/>
                </a:cubicBezTo>
                <a:cubicBezTo>
                  <a:pt x="3174" y="1550"/>
                  <a:pt x="3174" y="1548"/>
                  <a:pt x="3174" y="1546"/>
                </a:cubicBezTo>
                <a:cubicBezTo>
                  <a:pt x="3174" y="1545"/>
                  <a:pt x="3174" y="1543"/>
                  <a:pt x="3174" y="1540"/>
                </a:cubicBezTo>
                <a:cubicBezTo>
                  <a:pt x="3174" y="1533"/>
                  <a:pt x="3171" y="1530"/>
                  <a:pt x="3166" y="1529"/>
                </a:cubicBezTo>
                <a:cubicBezTo>
                  <a:pt x="3166" y="1529"/>
                  <a:pt x="3166" y="1529"/>
                  <a:pt x="3166" y="1529"/>
                </a:cubicBezTo>
                <a:cubicBezTo>
                  <a:pt x="3171" y="1528"/>
                  <a:pt x="3174" y="1525"/>
                  <a:pt x="3174" y="1518"/>
                </a:cubicBezTo>
                <a:cubicBezTo>
                  <a:pt x="3174" y="1515"/>
                  <a:pt x="3174" y="1513"/>
                  <a:pt x="3174" y="1512"/>
                </a:cubicBezTo>
                <a:cubicBezTo>
                  <a:pt x="3174" y="1510"/>
                  <a:pt x="3174" y="1508"/>
                  <a:pt x="3174" y="1507"/>
                </a:cubicBezTo>
                <a:cubicBezTo>
                  <a:pt x="3174" y="1503"/>
                  <a:pt x="3175" y="1501"/>
                  <a:pt x="3178" y="1501"/>
                </a:cubicBezTo>
                <a:cubicBezTo>
                  <a:pt x="3178" y="1501"/>
                  <a:pt x="3178" y="1501"/>
                  <a:pt x="3180" y="1501"/>
                </a:cubicBezTo>
                <a:cubicBezTo>
                  <a:pt x="3180" y="1501"/>
                  <a:pt x="3180" y="1501"/>
                  <a:pt x="3180" y="1492"/>
                </a:cubicBezTo>
                <a:cubicBezTo>
                  <a:pt x="3180" y="1492"/>
                  <a:pt x="3180" y="1492"/>
                  <a:pt x="3176" y="1492"/>
                </a:cubicBezTo>
                <a:cubicBezTo>
                  <a:pt x="3167" y="1492"/>
                  <a:pt x="3162" y="1496"/>
                  <a:pt x="3162" y="1504"/>
                </a:cubicBezTo>
                <a:cubicBezTo>
                  <a:pt x="3162" y="1507"/>
                  <a:pt x="3162" y="1509"/>
                  <a:pt x="3162" y="1512"/>
                </a:cubicBezTo>
                <a:cubicBezTo>
                  <a:pt x="3162" y="1514"/>
                  <a:pt x="3163" y="1517"/>
                  <a:pt x="3163" y="1519"/>
                </a:cubicBezTo>
                <a:cubicBezTo>
                  <a:pt x="3163" y="1521"/>
                  <a:pt x="3162" y="1525"/>
                  <a:pt x="3156" y="1525"/>
                </a:cubicBezTo>
                <a:close/>
                <a:moveTo>
                  <a:pt x="3211" y="1533"/>
                </a:moveTo>
                <a:cubicBezTo>
                  <a:pt x="3211" y="1533"/>
                  <a:pt x="3211" y="1533"/>
                  <a:pt x="3211" y="1533"/>
                </a:cubicBezTo>
                <a:cubicBezTo>
                  <a:pt x="3211" y="1525"/>
                  <a:pt x="3211" y="1525"/>
                  <a:pt x="3211" y="1525"/>
                </a:cubicBezTo>
                <a:cubicBezTo>
                  <a:pt x="3205" y="1525"/>
                  <a:pt x="3204" y="1521"/>
                  <a:pt x="3204" y="1519"/>
                </a:cubicBezTo>
                <a:cubicBezTo>
                  <a:pt x="3204" y="1517"/>
                  <a:pt x="3204" y="1514"/>
                  <a:pt x="3205" y="1512"/>
                </a:cubicBezTo>
                <a:cubicBezTo>
                  <a:pt x="3205" y="1509"/>
                  <a:pt x="3205" y="1507"/>
                  <a:pt x="3205" y="1504"/>
                </a:cubicBezTo>
                <a:cubicBezTo>
                  <a:pt x="3205" y="1496"/>
                  <a:pt x="3200" y="1492"/>
                  <a:pt x="3190" y="1492"/>
                </a:cubicBezTo>
                <a:cubicBezTo>
                  <a:pt x="3190" y="1492"/>
                  <a:pt x="3190" y="1492"/>
                  <a:pt x="3187" y="1492"/>
                </a:cubicBezTo>
                <a:cubicBezTo>
                  <a:pt x="3187" y="1492"/>
                  <a:pt x="3187" y="1492"/>
                  <a:pt x="3187" y="1501"/>
                </a:cubicBezTo>
                <a:cubicBezTo>
                  <a:pt x="3187" y="1501"/>
                  <a:pt x="3187" y="1501"/>
                  <a:pt x="3188" y="1501"/>
                </a:cubicBezTo>
                <a:cubicBezTo>
                  <a:pt x="3192" y="1501"/>
                  <a:pt x="3193" y="1503"/>
                  <a:pt x="3193" y="1507"/>
                </a:cubicBezTo>
                <a:cubicBezTo>
                  <a:pt x="3193" y="1508"/>
                  <a:pt x="3193" y="1510"/>
                  <a:pt x="3193" y="1512"/>
                </a:cubicBezTo>
                <a:cubicBezTo>
                  <a:pt x="3193" y="1513"/>
                  <a:pt x="3193" y="1515"/>
                  <a:pt x="3193" y="1518"/>
                </a:cubicBezTo>
                <a:cubicBezTo>
                  <a:pt x="3193" y="1525"/>
                  <a:pt x="3195" y="1528"/>
                  <a:pt x="3201" y="1529"/>
                </a:cubicBezTo>
                <a:cubicBezTo>
                  <a:pt x="3201" y="1529"/>
                  <a:pt x="3201" y="1529"/>
                  <a:pt x="3201" y="1529"/>
                </a:cubicBezTo>
                <a:cubicBezTo>
                  <a:pt x="3195" y="1530"/>
                  <a:pt x="3193" y="1533"/>
                  <a:pt x="3193" y="1540"/>
                </a:cubicBezTo>
                <a:cubicBezTo>
                  <a:pt x="3193" y="1543"/>
                  <a:pt x="3193" y="1545"/>
                  <a:pt x="3193" y="1546"/>
                </a:cubicBezTo>
                <a:cubicBezTo>
                  <a:pt x="3193" y="1548"/>
                  <a:pt x="3193" y="1550"/>
                  <a:pt x="3193" y="1551"/>
                </a:cubicBezTo>
                <a:cubicBezTo>
                  <a:pt x="3193" y="1555"/>
                  <a:pt x="3192" y="1557"/>
                  <a:pt x="3188" y="1557"/>
                </a:cubicBezTo>
                <a:cubicBezTo>
                  <a:pt x="3188" y="1557"/>
                  <a:pt x="3188" y="1557"/>
                  <a:pt x="3187" y="1557"/>
                </a:cubicBezTo>
                <a:cubicBezTo>
                  <a:pt x="3187" y="1557"/>
                  <a:pt x="3187" y="1557"/>
                  <a:pt x="3187" y="1566"/>
                </a:cubicBezTo>
                <a:cubicBezTo>
                  <a:pt x="3187" y="1566"/>
                  <a:pt x="3187" y="1566"/>
                  <a:pt x="3190" y="1566"/>
                </a:cubicBezTo>
                <a:cubicBezTo>
                  <a:pt x="3199" y="1566"/>
                  <a:pt x="3205" y="1563"/>
                  <a:pt x="3205" y="1553"/>
                </a:cubicBezTo>
                <a:cubicBezTo>
                  <a:pt x="3205" y="1551"/>
                  <a:pt x="3205" y="1549"/>
                  <a:pt x="3205" y="1546"/>
                </a:cubicBezTo>
                <a:cubicBezTo>
                  <a:pt x="3204" y="1544"/>
                  <a:pt x="3204" y="1541"/>
                  <a:pt x="3204" y="1539"/>
                </a:cubicBezTo>
                <a:cubicBezTo>
                  <a:pt x="3204" y="1537"/>
                  <a:pt x="3205" y="1534"/>
                  <a:pt x="3211" y="1533"/>
                </a:cubicBezTo>
                <a:close/>
                <a:moveTo>
                  <a:pt x="3538" y="1525"/>
                </a:moveTo>
                <a:cubicBezTo>
                  <a:pt x="3538" y="1525"/>
                  <a:pt x="3538" y="1525"/>
                  <a:pt x="3538" y="1525"/>
                </a:cubicBezTo>
                <a:cubicBezTo>
                  <a:pt x="3538" y="1533"/>
                  <a:pt x="3538" y="1533"/>
                  <a:pt x="3538" y="1533"/>
                </a:cubicBezTo>
                <a:cubicBezTo>
                  <a:pt x="3544" y="1534"/>
                  <a:pt x="3545" y="1537"/>
                  <a:pt x="3545" y="1539"/>
                </a:cubicBezTo>
                <a:cubicBezTo>
                  <a:pt x="3545" y="1541"/>
                  <a:pt x="3545" y="1544"/>
                  <a:pt x="3545" y="1546"/>
                </a:cubicBezTo>
                <a:cubicBezTo>
                  <a:pt x="3544" y="1549"/>
                  <a:pt x="3544" y="1551"/>
                  <a:pt x="3544" y="1553"/>
                </a:cubicBezTo>
                <a:cubicBezTo>
                  <a:pt x="3544" y="1563"/>
                  <a:pt x="3550" y="1566"/>
                  <a:pt x="3558" y="1566"/>
                </a:cubicBezTo>
                <a:cubicBezTo>
                  <a:pt x="3558" y="1566"/>
                  <a:pt x="3558" y="1566"/>
                  <a:pt x="3562" y="1566"/>
                </a:cubicBezTo>
                <a:cubicBezTo>
                  <a:pt x="3562" y="1566"/>
                  <a:pt x="3562" y="1566"/>
                  <a:pt x="3562" y="1557"/>
                </a:cubicBezTo>
                <a:cubicBezTo>
                  <a:pt x="3562" y="1557"/>
                  <a:pt x="3562" y="1557"/>
                  <a:pt x="3560" y="1557"/>
                </a:cubicBezTo>
                <a:cubicBezTo>
                  <a:pt x="3557" y="1557"/>
                  <a:pt x="3556" y="1555"/>
                  <a:pt x="3556" y="1551"/>
                </a:cubicBezTo>
                <a:cubicBezTo>
                  <a:pt x="3556" y="1550"/>
                  <a:pt x="3556" y="1548"/>
                  <a:pt x="3556" y="1546"/>
                </a:cubicBezTo>
                <a:cubicBezTo>
                  <a:pt x="3556" y="1545"/>
                  <a:pt x="3556" y="1543"/>
                  <a:pt x="3556" y="1540"/>
                </a:cubicBezTo>
                <a:cubicBezTo>
                  <a:pt x="3556" y="1533"/>
                  <a:pt x="3553" y="1530"/>
                  <a:pt x="3548" y="1529"/>
                </a:cubicBezTo>
                <a:cubicBezTo>
                  <a:pt x="3548" y="1529"/>
                  <a:pt x="3548" y="1529"/>
                  <a:pt x="3548" y="1529"/>
                </a:cubicBezTo>
                <a:cubicBezTo>
                  <a:pt x="3553" y="1528"/>
                  <a:pt x="3556" y="1525"/>
                  <a:pt x="3556" y="1518"/>
                </a:cubicBezTo>
                <a:cubicBezTo>
                  <a:pt x="3556" y="1515"/>
                  <a:pt x="3556" y="1513"/>
                  <a:pt x="3556" y="1512"/>
                </a:cubicBezTo>
                <a:cubicBezTo>
                  <a:pt x="3556" y="1510"/>
                  <a:pt x="3556" y="1508"/>
                  <a:pt x="3556" y="1507"/>
                </a:cubicBezTo>
                <a:cubicBezTo>
                  <a:pt x="3556" y="1503"/>
                  <a:pt x="3557" y="1501"/>
                  <a:pt x="3560" y="1501"/>
                </a:cubicBezTo>
                <a:cubicBezTo>
                  <a:pt x="3560" y="1501"/>
                  <a:pt x="3560" y="1501"/>
                  <a:pt x="3562" y="1501"/>
                </a:cubicBezTo>
                <a:cubicBezTo>
                  <a:pt x="3562" y="1501"/>
                  <a:pt x="3562" y="1501"/>
                  <a:pt x="3562" y="1492"/>
                </a:cubicBezTo>
                <a:cubicBezTo>
                  <a:pt x="3562" y="1492"/>
                  <a:pt x="3562" y="1492"/>
                  <a:pt x="3558" y="1492"/>
                </a:cubicBezTo>
                <a:cubicBezTo>
                  <a:pt x="3549" y="1492"/>
                  <a:pt x="3544" y="1496"/>
                  <a:pt x="3544" y="1504"/>
                </a:cubicBezTo>
                <a:cubicBezTo>
                  <a:pt x="3544" y="1507"/>
                  <a:pt x="3544" y="1509"/>
                  <a:pt x="3544" y="1512"/>
                </a:cubicBezTo>
                <a:cubicBezTo>
                  <a:pt x="3545" y="1514"/>
                  <a:pt x="3545" y="1517"/>
                  <a:pt x="3545" y="1519"/>
                </a:cubicBezTo>
                <a:cubicBezTo>
                  <a:pt x="3545" y="1521"/>
                  <a:pt x="3544" y="1525"/>
                  <a:pt x="3538" y="1525"/>
                </a:cubicBezTo>
                <a:close/>
                <a:moveTo>
                  <a:pt x="3593" y="1533"/>
                </a:moveTo>
                <a:cubicBezTo>
                  <a:pt x="3593" y="1533"/>
                  <a:pt x="3593" y="1533"/>
                  <a:pt x="3593" y="1533"/>
                </a:cubicBezTo>
                <a:cubicBezTo>
                  <a:pt x="3593" y="1525"/>
                  <a:pt x="3593" y="1525"/>
                  <a:pt x="3593" y="1525"/>
                </a:cubicBezTo>
                <a:cubicBezTo>
                  <a:pt x="3587" y="1525"/>
                  <a:pt x="3586" y="1521"/>
                  <a:pt x="3586" y="1519"/>
                </a:cubicBezTo>
                <a:cubicBezTo>
                  <a:pt x="3586" y="1517"/>
                  <a:pt x="3586" y="1514"/>
                  <a:pt x="3587" y="1512"/>
                </a:cubicBezTo>
                <a:cubicBezTo>
                  <a:pt x="3587" y="1509"/>
                  <a:pt x="3587" y="1507"/>
                  <a:pt x="3587" y="1504"/>
                </a:cubicBezTo>
                <a:cubicBezTo>
                  <a:pt x="3587" y="1496"/>
                  <a:pt x="3582" y="1492"/>
                  <a:pt x="3572" y="1492"/>
                </a:cubicBezTo>
                <a:cubicBezTo>
                  <a:pt x="3572" y="1492"/>
                  <a:pt x="3572" y="1492"/>
                  <a:pt x="3569" y="1492"/>
                </a:cubicBezTo>
                <a:cubicBezTo>
                  <a:pt x="3569" y="1492"/>
                  <a:pt x="3569" y="1492"/>
                  <a:pt x="3569" y="1501"/>
                </a:cubicBezTo>
                <a:cubicBezTo>
                  <a:pt x="3569" y="1501"/>
                  <a:pt x="3569" y="1501"/>
                  <a:pt x="3570" y="1501"/>
                </a:cubicBezTo>
                <a:cubicBezTo>
                  <a:pt x="3574" y="1501"/>
                  <a:pt x="3575" y="1503"/>
                  <a:pt x="3575" y="1507"/>
                </a:cubicBezTo>
                <a:cubicBezTo>
                  <a:pt x="3575" y="1508"/>
                  <a:pt x="3575" y="1510"/>
                  <a:pt x="3575" y="1512"/>
                </a:cubicBezTo>
                <a:cubicBezTo>
                  <a:pt x="3575" y="1513"/>
                  <a:pt x="3575" y="1515"/>
                  <a:pt x="3575" y="1518"/>
                </a:cubicBezTo>
                <a:cubicBezTo>
                  <a:pt x="3575" y="1525"/>
                  <a:pt x="3577" y="1528"/>
                  <a:pt x="3583" y="1529"/>
                </a:cubicBezTo>
                <a:cubicBezTo>
                  <a:pt x="3583" y="1529"/>
                  <a:pt x="3583" y="1529"/>
                  <a:pt x="3583" y="1529"/>
                </a:cubicBezTo>
                <a:cubicBezTo>
                  <a:pt x="3577" y="1530"/>
                  <a:pt x="3575" y="1533"/>
                  <a:pt x="3575" y="1540"/>
                </a:cubicBezTo>
                <a:cubicBezTo>
                  <a:pt x="3575" y="1543"/>
                  <a:pt x="3575" y="1545"/>
                  <a:pt x="3575" y="1546"/>
                </a:cubicBezTo>
                <a:cubicBezTo>
                  <a:pt x="3575" y="1548"/>
                  <a:pt x="3575" y="1550"/>
                  <a:pt x="3575" y="1551"/>
                </a:cubicBezTo>
                <a:cubicBezTo>
                  <a:pt x="3575" y="1555"/>
                  <a:pt x="3574" y="1557"/>
                  <a:pt x="3570" y="1557"/>
                </a:cubicBezTo>
                <a:cubicBezTo>
                  <a:pt x="3570" y="1557"/>
                  <a:pt x="3570" y="1557"/>
                  <a:pt x="3569" y="1557"/>
                </a:cubicBezTo>
                <a:cubicBezTo>
                  <a:pt x="3569" y="1557"/>
                  <a:pt x="3569" y="1557"/>
                  <a:pt x="3569" y="1566"/>
                </a:cubicBezTo>
                <a:cubicBezTo>
                  <a:pt x="3569" y="1566"/>
                  <a:pt x="3569" y="1566"/>
                  <a:pt x="3572" y="1566"/>
                </a:cubicBezTo>
                <a:cubicBezTo>
                  <a:pt x="3581" y="1566"/>
                  <a:pt x="3587" y="1563"/>
                  <a:pt x="3587" y="1553"/>
                </a:cubicBezTo>
                <a:cubicBezTo>
                  <a:pt x="3587" y="1551"/>
                  <a:pt x="3587" y="1549"/>
                  <a:pt x="3587" y="1546"/>
                </a:cubicBezTo>
                <a:cubicBezTo>
                  <a:pt x="3586" y="1544"/>
                  <a:pt x="3586" y="1541"/>
                  <a:pt x="3586" y="1539"/>
                </a:cubicBezTo>
                <a:cubicBezTo>
                  <a:pt x="3586" y="1537"/>
                  <a:pt x="3587" y="1534"/>
                  <a:pt x="3593" y="1533"/>
                </a:cubicBezTo>
                <a:close/>
                <a:moveTo>
                  <a:pt x="3641" y="1493"/>
                </a:moveTo>
                <a:cubicBezTo>
                  <a:pt x="3641" y="1493"/>
                  <a:pt x="3641" y="1493"/>
                  <a:pt x="3641" y="1493"/>
                </a:cubicBezTo>
                <a:cubicBezTo>
                  <a:pt x="3636" y="1493"/>
                  <a:pt x="3636" y="1493"/>
                  <a:pt x="3636" y="1493"/>
                </a:cubicBezTo>
                <a:cubicBezTo>
                  <a:pt x="3633" y="1494"/>
                  <a:pt x="3632" y="1496"/>
                  <a:pt x="3630" y="1496"/>
                </a:cubicBezTo>
                <a:cubicBezTo>
                  <a:pt x="3628" y="1498"/>
                  <a:pt x="3626" y="1498"/>
                  <a:pt x="3625" y="1499"/>
                </a:cubicBezTo>
                <a:cubicBezTo>
                  <a:pt x="3622" y="1500"/>
                  <a:pt x="3621" y="1501"/>
                  <a:pt x="3620" y="1501"/>
                </a:cubicBezTo>
                <a:cubicBezTo>
                  <a:pt x="3617" y="1502"/>
                  <a:pt x="3616" y="1503"/>
                  <a:pt x="3614" y="1504"/>
                </a:cubicBezTo>
                <a:cubicBezTo>
                  <a:pt x="3614" y="1504"/>
                  <a:pt x="3614" y="1504"/>
                  <a:pt x="3614" y="1514"/>
                </a:cubicBezTo>
                <a:cubicBezTo>
                  <a:pt x="3617" y="1513"/>
                  <a:pt x="3620" y="1512"/>
                  <a:pt x="3622" y="1511"/>
                </a:cubicBezTo>
                <a:cubicBezTo>
                  <a:pt x="3625" y="1510"/>
                  <a:pt x="3627" y="1509"/>
                  <a:pt x="3629" y="1507"/>
                </a:cubicBezTo>
                <a:cubicBezTo>
                  <a:pt x="3629" y="1507"/>
                  <a:pt x="3629" y="1507"/>
                  <a:pt x="3629" y="1566"/>
                </a:cubicBezTo>
                <a:cubicBezTo>
                  <a:pt x="3629" y="1566"/>
                  <a:pt x="3629" y="1566"/>
                  <a:pt x="3641" y="1566"/>
                </a:cubicBezTo>
                <a:cubicBezTo>
                  <a:pt x="3641" y="1566"/>
                  <a:pt x="3641" y="1566"/>
                  <a:pt x="3641" y="1493"/>
                </a:cubicBezTo>
                <a:close/>
                <a:moveTo>
                  <a:pt x="3688" y="1493"/>
                </a:moveTo>
                <a:cubicBezTo>
                  <a:pt x="3688" y="1493"/>
                  <a:pt x="3688" y="1493"/>
                  <a:pt x="3688" y="1493"/>
                </a:cubicBezTo>
                <a:cubicBezTo>
                  <a:pt x="3683" y="1493"/>
                  <a:pt x="3683" y="1493"/>
                  <a:pt x="3683" y="1493"/>
                </a:cubicBezTo>
                <a:cubicBezTo>
                  <a:pt x="3681" y="1494"/>
                  <a:pt x="3679" y="1496"/>
                  <a:pt x="3677" y="1496"/>
                </a:cubicBezTo>
                <a:cubicBezTo>
                  <a:pt x="3676" y="1498"/>
                  <a:pt x="3673" y="1498"/>
                  <a:pt x="3672" y="1499"/>
                </a:cubicBezTo>
                <a:cubicBezTo>
                  <a:pt x="3671" y="1501"/>
                  <a:pt x="3668" y="1501"/>
                  <a:pt x="3667" y="1502"/>
                </a:cubicBezTo>
                <a:cubicBezTo>
                  <a:pt x="3665" y="1503"/>
                  <a:pt x="3663" y="1504"/>
                  <a:pt x="3661" y="1504"/>
                </a:cubicBezTo>
                <a:cubicBezTo>
                  <a:pt x="3661" y="1504"/>
                  <a:pt x="3661" y="1504"/>
                  <a:pt x="3661" y="1514"/>
                </a:cubicBezTo>
                <a:cubicBezTo>
                  <a:pt x="3664" y="1513"/>
                  <a:pt x="3667" y="1512"/>
                  <a:pt x="3669" y="1511"/>
                </a:cubicBezTo>
                <a:cubicBezTo>
                  <a:pt x="3672" y="1510"/>
                  <a:pt x="3674" y="1509"/>
                  <a:pt x="3676" y="1507"/>
                </a:cubicBezTo>
                <a:cubicBezTo>
                  <a:pt x="3676" y="1507"/>
                  <a:pt x="3676" y="1507"/>
                  <a:pt x="3676" y="1566"/>
                </a:cubicBezTo>
                <a:cubicBezTo>
                  <a:pt x="3676" y="1566"/>
                  <a:pt x="3676" y="1566"/>
                  <a:pt x="3688" y="1566"/>
                </a:cubicBezTo>
                <a:cubicBezTo>
                  <a:pt x="3688" y="1566"/>
                  <a:pt x="3688" y="1566"/>
                  <a:pt x="3688" y="1493"/>
                </a:cubicBezTo>
                <a:close/>
                <a:moveTo>
                  <a:pt x="3734" y="1493"/>
                </a:moveTo>
                <a:cubicBezTo>
                  <a:pt x="3734" y="1493"/>
                  <a:pt x="3734" y="1493"/>
                  <a:pt x="3734" y="1493"/>
                </a:cubicBezTo>
                <a:cubicBezTo>
                  <a:pt x="3730" y="1493"/>
                  <a:pt x="3730" y="1493"/>
                  <a:pt x="3730" y="1493"/>
                </a:cubicBezTo>
                <a:cubicBezTo>
                  <a:pt x="3728" y="1494"/>
                  <a:pt x="3726" y="1496"/>
                  <a:pt x="3724" y="1496"/>
                </a:cubicBezTo>
                <a:cubicBezTo>
                  <a:pt x="3723" y="1498"/>
                  <a:pt x="3721" y="1498"/>
                  <a:pt x="3719" y="1499"/>
                </a:cubicBezTo>
                <a:cubicBezTo>
                  <a:pt x="3717" y="1501"/>
                  <a:pt x="3716" y="1501"/>
                  <a:pt x="3713" y="1502"/>
                </a:cubicBezTo>
                <a:cubicBezTo>
                  <a:pt x="3712" y="1503"/>
                  <a:pt x="3710" y="1504"/>
                  <a:pt x="3708" y="1504"/>
                </a:cubicBezTo>
                <a:cubicBezTo>
                  <a:pt x="3708" y="1504"/>
                  <a:pt x="3708" y="1504"/>
                  <a:pt x="3708" y="1514"/>
                </a:cubicBezTo>
                <a:cubicBezTo>
                  <a:pt x="3711" y="1513"/>
                  <a:pt x="3714" y="1512"/>
                  <a:pt x="3716" y="1511"/>
                </a:cubicBezTo>
                <a:cubicBezTo>
                  <a:pt x="3718" y="1510"/>
                  <a:pt x="3721" y="1509"/>
                  <a:pt x="3723" y="1507"/>
                </a:cubicBezTo>
                <a:cubicBezTo>
                  <a:pt x="3723" y="1507"/>
                  <a:pt x="3723" y="1507"/>
                  <a:pt x="3723" y="1566"/>
                </a:cubicBezTo>
                <a:cubicBezTo>
                  <a:pt x="3723" y="1566"/>
                  <a:pt x="3723" y="1566"/>
                  <a:pt x="3734" y="1566"/>
                </a:cubicBezTo>
                <a:cubicBezTo>
                  <a:pt x="3734" y="1566"/>
                  <a:pt x="3734" y="1566"/>
                  <a:pt x="3734" y="1493"/>
                </a:cubicBezTo>
                <a:close/>
                <a:moveTo>
                  <a:pt x="3858" y="1493"/>
                </a:moveTo>
                <a:cubicBezTo>
                  <a:pt x="3858" y="1493"/>
                  <a:pt x="3858" y="1493"/>
                  <a:pt x="3858" y="1493"/>
                </a:cubicBezTo>
                <a:cubicBezTo>
                  <a:pt x="3852" y="1493"/>
                  <a:pt x="3852" y="1493"/>
                  <a:pt x="3852" y="1493"/>
                </a:cubicBezTo>
                <a:cubicBezTo>
                  <a:pt x="3850" y="1494"/>
                  <a:pt x="3849" y="1496"/>
                  <a:pt x="3847" y="1496"/>
                </a:cubicBezTo>
                <a:cubicBezTo>
                  <a:pt x="3845" y="1498"/>
                  <a:pt x="3844" y="1498"/>
                  <a:pt x="3841" y="1499"/>
                </a:cubicBezTo>
                <a:cubicBezTo>
                  <a:pt x="3840" y="1501"/>
                  <a:pt x="3838" y="1501"/>
                  <a:pt x="3836" y="1502"/>
                </a:cubicBezTo>
                <a:cubicBezTo>
                  <a:pt x="3834" y="1503"/>
                  <a:pt x="3832" y="1504"/>
                  <a:pt x="3830" y="1504"/>
                </a:cubicBezTo>
                <a:cubicBezTo>
                  <a:pt x="3830" y="1504"/>
                  <a:pt x="3830" y="1504"/>
                  <a:pt x="3830" y="1514"/>
                </a:cubicBezTo>
                <a:cubicBezTo>
                  <a:pt x="3833" y="1513"/>
                  <a:pt x="3836" y="1512"/>
                  <a:pt x="3839" y="1511"/>
                </a:cubicBezTo>
                <a:cubicBezTo>
                  <a:pt x="3841" y="1510"/>
                  <a:pt x="3844" y="1509"/>
                  <a:pt x="3846" y="1507"/>
                </a:cubicBezTo>
                <a:cubicBezTo>
                  <a:pt x="3846" y="1507"/>
                  <a:pt x="3846" y="1507"/>
                  <a:pt x="3846" y="1566"/>
                </a:cubicBezTo>
                <a:cubicBezTo>
                  <a:pt x="3846" y="1566"/>
                  <a:pt x="3846" y="1566"/>
                  <a:pt x="3858" y="1566"/>
                </a:cubicBezTo>
                <a:cubicBezTo>
                  <a:pt x="3858" y="1566"/>
                  <a:pt x="3858" y="1566"/>
                  <a:pt x="3858" y="1493"/>
                </a:cubicBezTo>
                <a:close/>
                <a:moveTo>
                  <a:pt x="3755" y="1525"/>
                </a:moveTo>
                <a:cubicBezTo>
                  <a:pt x="3755" y="1525"/>
                  <a:pt x="3755" y="1525"/>
                  <a:pt x="3755" y="1525"/>
                </a:cubicBezTo>
                <a:cubicBezTo>
                  <a:pt x="3755" y="1533"/>
                  <a:pt x="3755" y="1533"/>
                  <a:pt x="3755" y="1533"/>
                </a:cubicBezTo>
                <a:cubicBezTo>
                  <a:pt x="3761" y="1534"/>
                  <a:pt x="3762" y="1537"/>
                  <a:pt x="3762" y="1539"/>
                </a:cubicBezTo>
                <a:cubicBezTo>
                  <a:pt x="3762" y="1541"/>
                  <a:pt x="3762" y="1544"/>
                  <a:pt x="3762" y="1546"/>
                </a:cubicBezTo>
                <a:cubicBezTo>
                  <a:pt x="3761" y="1549"/>
                  <a:pt x="3761" y="1551"/>
                  <a:pt x="3761" y="1553"/>
                </a:cubicBezTo>
                <a:cubicBezTo>
                  <a:pt x="3761" y="1563"/>
                  <a:pt x="3767" y="1566"/>
                  <a:pt x="3775" y="1566"/>
                </a:cubicBezTo>
                <a:cubicBezTo>
                  <a:pt x="3775" y="1566"/>
                  <a:pt x="3775" y="1566"/>
                  <a:pt x="3779" y="1566"/>
                </a:cubicBezTo>
                <a:cubicBezTo>
                  <a:pt x="3779" y="1566"/>
                  <a:pt x="3779" y="1566"/>
                  <a:pt x="3779" y="1557"/>
                </a:cubicBezTo>
                <a:cubicBezTo>
                  <a:pt x="3779" y="1557"/>
                  <a:pt x="3779" y="1557"/>
                  <a:pt x="3777" y="1557"/>
                </a:cubicBezTo>
                <a:cubicBezTo>
                  <a:pt x="3774" y="1557"/>
                  <a:pt x="3773" y="1555"/>
                  <a:pt x="3773" y="1551"/>
                </a:cubicBezTo>
                <a:cubicBezTo>
                  <a:pt x="3773" y="1550"/>
                  <a:pt x="3773" y="1548"/>
                  <a:pt x="3773" y="1546"/>
                </a:cubicBezTo>
                <a:cubicBezTo>
                  <a:pt x="3773" y="1545"/>
                  <a:pt x="3773" y="1543"/>
                  <a:pt x="3773" y="1540"/>
                </a:cubicBezTo>
                <a:cubicBezTo>
                  <a:pt x="3773" y="1533"/>
                  <a:pt x="3770" y="1530"/>
                  <a:pt x="3765" y="1529"/>
                </a:cubicBezTo>
                <a:cubicBezTo>
                  <a:pt x="3765" y="1529"/>
                  <a:pt x="3765" y="1529"/>
                  <a:pt x="3765" y="1529"/>
                </a:cubicBezTo>
                <a:cubicBezTo>
                  <a:pt x="3770" y="1528"/>
                  <a:pt x="3773" y="1525"/>
                  <a:pt x="3773" y="1518"/>
                </a:cubicBezTo>
                <a:cubicBezTo>
                  <a:pt x="3773" y="1515"/>
                  <a:pt x="3773" y="1513"/>
                  <a:pt x="3773" y="1512"/>
                </a:cubicBezTo>
                <a:cubicBezTo>
                  <a:pt x="3773" y="1510"/>
                  <a:pt x="3773" y="1508"/>
                  <a:pt x="3773" y="1507"/>
                </a:cubicBezTo>
                <a:cubicBezTo>
                  <a:pt x="3773" y="1503"/>
                  <a:pt x="3774" y="1501"/>
                  <a:pt x="3777" y="1501"/>
                </a:cubicBezTo>
                <a:cubicBezTo>
                  <a:pt x="3777" y="1501"/>
                  <a:pt x="3777" y="1501"/>
                  <a:pt x="3779" y="1501"/>
                </a:cubicBezTo>
                <a:cubicBezTo>
                  <a:pt x="3779" y="1501"/>
                  <a:pt x="3779" y="1501"/>
                  <a:pt x="3779" y="1492"/>
                </a:cubicBezTo>
                <a:cubicBezTo>
                  <a:pt x="3779" y="1492"/>
                  <a:pt x="3779" y="1492"/>
                  <a:pt x="3775" y="1492"/>
                </a:cubicBezTo>
                <a:cubicBezTo>
                  <a:pt x="3766" y="1492"/>
                  <a:pt x="3761" y="1496"/>
                  <a:pt x="3761" y="1504"/>
                </a:cubicBezTo>
                <a:cubicBezTo>
                  <a:pt x="3761" y="1507"/>
                  <a:pt x="3761" y="1509"/>
                  <a:pt x="3761" y="1512"/>
                </a:cubicBezTo>
                <a:cubicBezTo>
                  <a:pt x="3762" y="1514"/>
                  <a:pt x="3762" y="1517"/>
                  <a:pt x="3762" y="1519"/>
                </a:cubicBezTo>
                <a:cubicBezTo>
                  <a:pt x="3762" y="1521"/>
                  <a:pt x="3761" y="1525"/>
                  <a:pt x="3755" y="1525"/>
                </a:cubicBezTo>
                <a:close/>
                <a:moveTo>
                  <a:pt x="3810" y="1533"/>
                </a:moveTo>
                <a:cubicBezTo>
                  <a:pt x="3810" y="1533"/>
                  <a:pt x="3810" y="1533"/>
                  <a:pt x="3810" y="1533"/>
                </a:cubicBezTo>
                <a:cubicBezTo>
                  <a:pt x="3810" y="1525"/>
                  <a:pt x="3810" y="1525"/>
                  <a:pt x="3810" y="1525"/>
                </a:cubicBezTo>
                <a:cubicBezTo>
                  <a:pt x="3803" y="1525"/>
                  <a:pt x="3803" y="1521"/>
                  <a:pt x="3803" y="1519"/>
                </a:cubicBezTo>
                <a:cubicBezTo>
                  <a:pt x="3803" y="1517"/>
                  <a:pt x="3803" y="1514"/>
                  <a:pt x="3803" y="1512"/>
                </a:cubicBezTo>
                <a:cubicBezTo>
                  <a:pt x="3804" y="1509"/>
                  <a:pt x="3804" y="1507"/>
                  <a:pt x="3804" y="1504"/>
                </a:cubicBezTo>
                <a:cubicBezTo>
                  <a:pt x="3804" y="1496"/>
                  <a:pt x="3799" y="1492"/>
                  <a:pt x="3789" y="1492"/>
                </a:cubicBezTo>
                <a:cubicBezTo>
                  <a:pt x="3789" y="1492"/>
                  <a:pt x="3789" y="1492"/>
                  <a:pt x="3786" y="1492"/>
                </a:cubicBezTo>
                <a:cubicBezTo>
                  <a:pt x="3786" y="1492"/>
                  <a:pt x="3786" y="1492"/>
                  <a:pt x="3786" y="1501"/>
                </a:cubicBezTo>
                <a:cubicBezTo>
                  <a:pt x="3786" y="1501"/>
                  <a:pt x="3786" y="1501"/>
                  <a:pt x="3787" y="1501"/>
                </a:cubicBezTo>
                <a:cubicBezTo>
                  <a:pt x="3791" y="1501"/>
                  <a:pt x="3792" y="1503"/>
                  <a:pt x="3792" y="1507"/>
                </a:cubicBezTo>
                <a:cubicBezTo>
                  <a:pt x="3792" y="1508"/>
                  <a:pt x="3792" y="1510"/>
                  <a:pt x="3792" y="1512"/>
                </a:cubicBezTo>
                <a:cubicBezTo>
                  <a:pt x="3792" y="1513"/>
                  <a:pt x="3792" y="1515"/>
                  <a:pt x="3792" y="1518"/>
                </a:cubicBezTo>
                <a:cubicBezTo>
                  <a:pt x="3792" y="1525"/>
                  <a:pt x="3794" y="1528"/>
                  <a:pt x="3800" y="1529"/>
                </a:cubicBezTo>
                <a:cubicBezTo>
                  <a:pt x="3800" y="1529"/>
                  <a:pt x="3800" y="1529"/>
                  <a:pt x="3800" y="1529"/>
                </a:cubicBezTo>
                <a:cubicBezTo>
                  <a:pt x="3794" y="1530"/>
                  <a:pt x="3792" y="1533"/>
                  <a:pt x="3792" y="1540"/>
                </a:cubicBezTo>
                <a:cubicBezTo>
                  <a:pt x="3792" y="1543"/>
                  <a:pt x="3792" y="1545"/>
                  <a:pt x="3792" y="1546"/>
                </a:cubicBezTo>
                <a:cubicBezTo>
                  <a:pt x="3792" y="1548"/>
                  <a:pt x="3792" y="1550"/>
                  <a:pt x="3792" y="1551"/>
                </a:cubicBezTo>
                <a:cubicBezTo>
                  <a:pt x="3792" y="1555"/>
                  <a:pt x="3791" y="1557"/>
                  <a:pt x="3787" y="1557"/>
                </a:cubicBezTo>
                <a:cubicBezTo>
                  <a:pt x="3787" y="1557"/>
                  <a:pt x="3787" y="1557"/>
                  <a:pt x="3786" y="1557"/>
                </a:cubicBezTo>
                <a:cubicBezTo>
                  <a:pt x="3786" y="1557"/>
                  <a:pt x="3786" y="1557"/>
                  <a:pt x="3786" y="1566"/>
                </a:cubicBezTo>
                <a:cubicBezTo>
                  <a:pt x="3786" y="1566"/>
                  <a:pt x="3786" y="1566"/>
                  <a:pt x="3789" y="1566"/>
                </a:cubicBezTo>
                <a:cubicBezTo>
                  <a:pt x="3798" y="1566"/>
                  <a:pt x="3804" y="1563"/>
                  <a:pt x="3804" y="1553"/>
                </a:cubicBezTo>
                <a:cubicBezTo>
                  <a:pt x="3804" y="1551"/>
                  <a:pt x="3804" y="1549"/>
                  <a:pt x="3803" y="1546"/>
                </a:cubicBezTo>
                <a:cubicBezTo>
                  <a:pt x="3803" y="1544"/>
                  <a:pt x="3803" y="1541"/>
                  <a:pt x="3803" y="1539"/>
                </a:cubicBezTo>
                <a:cubicBezTo>
                  <a:pt x="3803" y="1537"/>
                  <a:pt x="3803" y="1534"/>
                  <a:pt x="3810" y="1533"/>
                </a:cubicBezTo>
                <a:close/>
                <a:moveTo>
                  <a:pt x="2951" y="1444"/>
                </a:moveTo>
                <a:cubicBezTo>
                  <a:pt x="2951" y="1446"/>
                  <a:pt x="2952" y="1447"/>
                  <a:pt x="2952" y="1448"/>
                </a:cubicBezTo>
                <a:cubicBezTo>
                  <a:pt x="2953" y="1450"/>
                  <a:pt x="2953" y="1452"/>
                  <a:pt x="2954" y="1453"/>
                </a:cubicBezTo>
                <a:cubicBezTo>
                  <a:pt x="2954" y="1455"/>
                  <a:pt x="2954" y="1457"/>
                  <a:pt x="2954" y="1458"/>
                </a:cubicBezTo>
                <a:cubicBezTo>
                  <a:pt x="2955" y="1461"/>
                  <a:pt x="2954" y="1463"/>
                  <a:pt x="2951" y="1463"/>
                </a:cubicBezTo>
                <a:cubicBezTo>
                  <a:pt x="2948" y="1463"/>
                  <a:pt x="2945" y="1463"/>
                  <a:pt x="2942" y="1463"/>
                </a:cubicBezTo>
                <a:cubicBezTo>
                  <a:pt x="2942" y="1463"/>
                  <a:pt x="2941" y="1463"/>
                  <a:pt x="2941" y="1463"/>
                </a:cubicBezTo>
                <a:cubicBezTo>
                  <a:pt x="2939" y="1465"/>
                  <a:pt x="2938" y="1466"/>
                  <a:pt x="2936" y="1467"/>
                </a:cubicBezTo>
                <a:cubicBezTo>
                  <a:pt x="2934" y="1470"/>
                  <a:pt x="2931" y="1470"/>
                  <a:pt x="2929" y="1468"/>
                </a:cubicBezTo>
                <a:cubicBezTo>
                  <a:pt x="2927" y="1466"/>
                  <a:pt x="2926" y="1463"/>
                  <a:pt x="2924" y="1461"/>
                </a:cubicBezTo>
                <a:cubicBezTo>
                  <a:pt x="2923" y="1459"/>
                  <a:pt x="2924" y="1457"/>
                  <a:pt x="2926" y="1456"/>
                </a:cubicBezTo>
                <a:cubicBezTo>
                  <a:pt x="2923" y="1456"/>
                  <a:pt x="2922" y="1456"/>
                  <a:pt x="2920" y="1456"/>
                </a:cubicBezTo>
                <a:cubicBezTo>
                  <a:pt x="2920" y="1458"/>
                  <a:pt x="2918" y="1460"/>
                  <a:pt x="2918" y="1462"/>
                </a:cubicBezTo>
                <a:cubicBezTo>
                  <a:pt x="2918" y="1463"/>
                  <a:pt x="2917" y="1463"/>
                  <a:pt x="2917" y="1464"/>
                </a:cubicBezTo>
                <a:cubicBezTo>
                  <a:pt x="2917" y="1467"/>
                  <a:pt x="2916" y="1469"/>
                  <a:pt x="2913" y="1468"/>
                </a:cubicBezTo>
                <a:cubicBezTo>
                  <a:pt x="2910" y="1468"/>
                  <a:pt x="2907" y="1467"/>
                  <a:pt x="2904" y="1466"/>
                </a:cubicBezTo>
                <a:cubicBezTo>
                  <a:pt x="2902" y="1465"/>
                  <a:pt x="2901" y="1464"/>
                  <a:pt x="2902" y="1462"/>
                </a:cubicBezTo>
                <a:cubicBezTo>
                  <a:pt x="2902" y="1461"/>
                  <a:pt x="2902" y="1460"/>
                  <a:pt x="2903" y="1460"/>
                </a:cubicBezTo>
                <a:cubicBezTo>
                  <a:pt x="2900" y="1459"/>
                  <a:pt x="2898" y="1458"/>
                  <a:pt x="2896" y="1457"/>
                </a:cubicBezTo>
                <a:cubicBezTo>
                  <a:pt x="2895" y="1456"/>
                  <a:pt x="2894" y="1454"/>
                  <a:pt x="2893" y="1452"/>
                </a:cubicBezTo>
                <a:cubicBezTo>
                  <a:pt x="2892" y="1450"/>
                  <a:pt x="2892" y="1449"/>
                  <a:pt x="2894" y="1447"/>
                </a:cubicBezTo>
                <a:cubicBezTo>
                  <a:pt x="2897" y="1445"/>
                  <a:pt x="2898" y="1442"/>
                  <a:pt x="2897" y="1438"/>
                </a:cubicBezTo>
                <a:cubicBezTo>
                  <a:pt x="2897" y="1436"/>
                  <a:pt x="2897" y="1434"/>
                  <a:pt x="2897" y="1432"/>
                </a:cubicBezTo>
                <a:cubicBezTo>
                  <a:pt x="2896" y="1431"/>
                  <a:pt x="2894" y="1431"/>
                  <a:pt x="2893" y="1430"/>
                </a:cubicBezTo>
                <a:cubicBezTo>
                  <a:pt x="2892" y="1428"/>
                  <a:pt x="2891" y="1426"/>
                  <a:pt x="2891" y="1424"/>
                </a:cubicBezTo>
                <a:cubicBezTo>
                  <a:pt x="2891" y="1421"/>
                  <a:pt x="2894" y="1419"/>
                  <a:pt x="2897" y="1418"/>
                </a:cubicBezTo>
                <a:cubicBezTo>
                  <a:pt x="2898" y="1419"/>
                  <a:pt x="2898" y="1419"/>
                  <a:pt x="2898" y="1420"/>
                </a:cubicBezTo>
                <a:cubicBezTo>
                  <a:pt x="2898" y="1421"/>
                  <a:pt x="2898" y="1422"/>
                  <a:pt x="2898" y="1423"/>
                </a:cubicBezTo>
                <a:cubicBezTo>
                  <a:pt x="2898" y="1423"/>
                  <a:pt x="2897" y="1423"/>
                  <a:pt x="2897" y="1423"/>
                </a:cubicBezTo>
                <a:cubicBezTo>
                  <a:pt x="2896" y="1424"/>
                  <a:pt x="2896" y="1425"/>
                  <a:pt x="2895" y="1427"/>
                </a:cubicBezTo>
                <a:cubicBezTo>
                  <a:pt x="2896" y="1427"/>
                  <a:pt x="2897" y="1427"/>
                  <a:pt x="2898" y="1427"/>
                </a:cubicBezTo>
                <a:cubicBezTo>
                  <a:pt x="2899" y="1425"/>
                  <a:pt x="2900" y="1425"/>
                  <a:pt x="2900" y="1423"/>
                </a:cubicBezTo>
                <a:cubicBezTo>
                  <a:pt x="2905" y="1417"/>
                  <a:pt x="2911" y="1413"/>
                  <a:pt x="2918" y="1411"/>
                </a:cubicBezTo>
                <a:cubicBezTo>
                  <a:pt x="2921" y="1411"/>
                  <a:pt x="2925" y="1410"/>
                  <a:pt x="2927" y="1407"/>
                </a:cubicBezTo>
                <a:cubicBezTo>
                  <a:pt x="2927" y="1406"/>
                  <a:pt x="2928" y="1406"/>
                  <a:pt x="2928" y="1406"/>
                </a:cubicBezTo>
                <a:cubicBezTo>
                  <a:pt x="2931" y="1406"/>
                  <a:pt x="2932" y="1403"/>
                  <a:pt x="2934" y="1401"/>
                </a:cubicBezTo>
                <a:cubicBezTo>
                  <a:pt x="2942" y="1394"/>
                  <a:pt x="2954" y="1393"/>
                  <a:pt x="2961" y="1400"/>
                </a:cubicBezTo>
                <a:cubicBezTo>
                  <a:pt x="2964" y="1402"/>
                  <a:pt x="2967" y="1404"/>
                  <a:pt x="2969" y="1406"/>
                </a:cubicBezTo>
                <a:cubicBezTo>
                  <a:pt x="2971" y="1407"/>
                  <a:pt x="2972" y="1409"/>
                  <a:pt x="2973" y="1411"/>
                </a:cubicBezTo>
                <a:cubicBezTo>
                  <a:pt x="2974" y="1412"/>
                  <a:pt x="2974" y="1412"/>
                  <a:pt x="2976" y="1411"/>
                </a:cubicBezTo>
                <a:cubicBezTo>
                  <a:pt x="2976" y="1411"/>
                  <a:pt x="2977" y="1410"/>
                  <a:pt x="2978" y="1409"/>
                </a:cubicBezTo>
                <a:cubicBezTo>
                  <a:pt x="2980" y="1406"/>
                  <a:pt x="2983" y="1406"/>
                  <a:pt x="2984" y="1410"/>
                </a:cubicBezTo>
                <a:cubicBezTo>
                  <a:pt x="2985" y="1413"/>
                  <a:pt x="2986" y="1415"/>
                  <a:pt x="2987" y="1419"/>
                </a:cubicBezTo>
                <a:cubicBezTo>
                  <a:pt x="2987" y="1423"/>
                  <a:pt x="2987" y="1427"/>
                  <a:pt x="2985" y="1432"/>
                </a:cubicBezTo>
                <a:cubicBezTo>
                  <a:pt x="2983" y="1438"/>
                  <a:pt x="2978" y="1442"/>
                  <a:pt x="2972" y="1442"/>
                </a:cubicBezTo>
                <a:cubicBezTo>
                  <a:pt x="2971" y="1442"/>
                  <a:pt x="2971" y="1442"/>
                  <a:pt x="2970" y="1442"/>
                </a:cubicBezTo>
                <a:cubicBezTo>
                  <a:pt x="2967" y="1441"/>
                  <a:pt x="2966" y="1442"/>
                  <a:pt x="2965" y="1444"/>
                </a:cubicBezTo>
                <a:cubicBezTo>
                  <a:pt x="2964" y="1448"/>
                  <a:pt x="2958" y="1450"/>
                  <a:pt x="2955" y="1447"/>
                </a:cubicBezTo>
                <a:cubicBezTo>
                  <a:pt x="2954" y="1446"/>
                  <a:pt x="2953" y="1445"/>
                  <a:pt x="2952" y="1444"/>
                </a:cubicBezTo>
                <a:cubicBezTo>
                  <a:pt x="2951" y="1444"/>
                  <a:pt x="2951" y="1444"/>
                  <a:pt x="2951" y="1444"/>
                </a:cubicBezTo>
                <a:close/>
                <a:moveTo>
                  <a:pt x="2945" y="1440"/>
                </a:moveTo>
                <a:cubicBezTo>
                  <a:pt x="2949" y="1441"/>
                  <a:pt x="2952" y="1442"/>
                  <a:pt x="2955" y="1445"/>
                </a:cubicBezTo>
                <a:cubicBezTo>
                  <a:pt x="2957" y="1447"/>
                  <a:pt x="2959" y="1448"/>
                  <a:pt x="2961" y="1447"/>
                </a:cubicBezTo>
                <a:cubicBezTo>
                  <a:pt x="2963" y="1446"/>
                  <a:pt x="2965" y="1444"/>
                  <a:pt x="2965" y="1441"/>
                </a:cubicBezTo>
                <a:cubicBezTo>
                  <a:pt x="2965" y="1441"/>
                  <a:pt x="2964" y="1441"/>
                  <a:pt x="2964" y="1442"/>
                </a:cubicBezTo>
                <a:cubicBezTo>
                  <a:pt x="2963" y="1443"/>
                  <a:pt x="2962" y="1444"/>
                  <a:pt x="2961" y="1445"/>
                </a:cubicBezTo>
                <a:cubicBezTo>
                  <a:pt x="2960" y="1446"/>
                  <a:pt x="2959" y="1446"/>
                  <a:pt x="2958" y="1446"/>
                </a:cubicBezTo>
                <a:cubicBezTo>
                  <a:pt x="2958" y="1446"/>
                  <a:pt x="2957" y="1444"/>
                  <a:pt x="2957" y="1444"/>
                </a:cubicBezTo>
                <a:cubicBezTo>
                  <a:pt x="2957" y="1441"/>
                  <a:pt x="2958" y="1439"/>
                  <a:pt x="2958" y="1437"/>
                </a:cubicBezTo>
                <a:cubicBezTo>
                  <a:pt x="2961" y="1438"/>
                  <a:pt x="2964" y="1439"/>
                  <a:pt x="2968" y="1440"/>
                </a:cubicBezTo>
                <a:cubicBezTo>
                  <a:pt x="2975" y="1441"/>
                  <a:pt x="2981" y="1439"/>
                  <a:pt x="2984" y="1431"/>
                </a:cubicBezTo>
                <a:cubicBezTo>
                  <a:pt x="2986" y="1426"/>
                  <a:pt x="2985" y="1421"/>
                  <a:pt x="2985" y="1416"/>
                </a:cubicBezTo>
                <a:cubicBezTo>
                  <a:pt x="2984" y="1414"/>
                  <a:pt x="2983" y="1412"/>
                  <a:pt x="2983" y="1410"/>
                </a:cubicBezTo>
                <a:cubicBezTo>
                  <a:pt x="2982" y="1409"/>
                  <a:pt x="2981" y="1408"/>
                  <a:pt x="2980" y="1410"/>
                </a:cubicBezTo>
                <a:cubicBezTo>
                  <a:pt x="2978" y="1412"/>
                  <a:pt x="2976" y="1413"/>
                  <a:pt x="2974" y="1414"/>
                </a:cubicBezTo>
                <a:cubicBezTo>
                  <a:pt x="2974" y="1414"/>
                  <a:pt x="2973" y="1415"/>
                  <a:pt x="2973" y="1416"/>
                </a:cubicBezTo>
                <a:cubicBezTo>
                  <a:pt x="2974" y="1419"/>
                  <a:pt x="2973" y="1423"/>
                  <a:pt x="2972" y="1426"/>
                </a:cubicBezTo>
                <a:cubicBezTo>
                  <a:pt x="2972" y="1424"/>
                  <a:pt x="2972" y="1422"/>
                  <a:pt x="2972" y="1420"/>
                </a:cubicBezTo>
                <a:cubicBezTo>
                  <a:pt x="2972" y="1419"/>
                  <a:pt x="2972" y="1419"/>
                  <a:pt x="2972" y="1419"/>
                </a:cubicBezTo>
                <a:cubicBezTo>
                  <a:pt x="2971" y="1419"/>
                  <a:pt x="2971" y="1419"/>
                  <a:pt x="2971" y="1419"/>
                </a:cubicBezTo>
                <a:cubicBezTo>
                  <a:pt x="2970" y="1421"/>
                  <a:pt x="2969" y="1422"/>
                  <a:pt x="2968" y="1423"/>
                </a:cubicBezTo>
                <a:cubicBezTo>
                  <a:pt x="2968" y="1423"/>
                  <a:pt x="2968" y="1423"/>
                  <a:pt x="2968" y="1423"/>
                </a:cubicBezTo>
                <a:cubicBezTo>
                  <a:pt x="2968" y="1422"/>
                  <a:pt x="2969" y="1420"/>
                  <a:pt x="2969" y="1418"/>
                </a:cubicBezTo>
                <a:cubicBezTo>
                  <a:pt x="2968" y="1419"/>
                  <a:pt x="2967" y="1419"/>
                  <a:pt x="2967" y="1420"/>
                </a:cubicBezTo>
                <a:cubicBezTo>
                  <a:pt x="2966" y="1420"/>
                  <a:pt x="2966" y="1421"/>
                  <a:pt x="2965" y="1422"/>
                </a:cubicBezTo>
                <a:cubicBezTo>
                  <a:pt x="2966" y="1418"/>
                  <a:pt x="2966" y="1418"/>
                  <a:pt x="2972" y="1417"/>
                </a:cubicBezTo>
                <a:cubicBezTo>
                  <a:pt x="2972" y="1417"/>
                  <a:pt x="2971" y="1416"/>
                  <a:pt x="2971" y="1416"/>
                </a:cubicBezTo>
                <a:cubicBezTo>
                  <a:pt x="2968" y="1417"/>
                  <a:pt x="2967" y="1415"/>
                  <a:pt x="2967" y="1413"/>
                </a:cubicBezTo>
                <a:cubicBezTo>
                  <a:pt x="2969" y="1412"/>
                  <a:pt x="2970" y="1412"/>
                  <a:pt x="2972" y="1412"/>
                </a:cubicBezTo>
                <a:cubicBezTo>
                  <a:pt x="2970" y="1409"/>
                  <a:pt x="2969" y="1406"/>
                  <a:pt x="2965" y="1406"/>
                </a:cubicBezTo>
                <a:cubicBezTo>
                  <a:pt x="2965" y="1406"/>
                  <a:pt x="2965" y="1406"/>
                  <a:pt x="2965" y="1405"/>
                </a:cubicBezTo>
                <a:cubicBezTo>
                  <a:pt x="2962" y="1403"/>
                  <a:pt x="2960" y="1401"/>
                  <a:pt x="2957" y="1399"/>
                </a:cubicBezTo>
                <a:cubicBezTo>
                  <a:pt x="2955" y="1398"/>
                  <a:pt x="2952" y="1397"/>
                  <a:pt x="2950" y="1397"/>
                </a:cubicBezTo>
                <a:cubicBezTo>
                  <a:pt x="2947" y="1397"/>
                  <a:pt x="2943" y="1398"/>
                  <a:pt x="2940" y="1399"/>
                </a:cubicBezTo>
                <a:cubicBezTo>
                  <a:pt x="2938" y="1400"/>
                  <a:pt x="2935" y="1402"/>
                  <a:pt x="2933" y="1405"/>
                </a:cubicBezTo>
                <a:cubicBezTo>
                  <a:pt x="2935" y="1405"/>
                  <a:pt x="2936" y="1405"/>
                  <a:pt x="2937" y="1405"/>
                </a:cubicBezTo>
                <a:cubicBezTo>
                  <a:pt x="2937" y="1406"/>
                  <a:pt x="2936" y="1406"/>
                  <a:pt x="2935" y="1406"/>
                </a:cubicBezTo>
                <a:cubicBezTo>
                  <a:pt x="2933" y="1407"/>
                  <a:pt x="2930" y="1406"/>
                  <a:pt x="2928" y="1408"/>
                </a:cubicBezTo>
                <a:cubicBezTo>
                  <a:pt x="2925" y="1412"/>
                  <a:pt x="2921" y="1416"/>
                  <a:pt x="2917" y="1420"/>
                </a:cubicBezTo>
                <a:cubicBezTo>
                  <a:pt x="2916" y="1422"/>
                  <a:pt x="2915" y="1425"/>
                  <a:pt x="2914" y="1427"/>
                </a:cubicBezTo>
                <a:cubicBezTo>
                  <a:pt x="2914" y="1427"/>
                  <a:pt x="2914" y="1428"/>
                  <a:pt x="2914" y="1429"/>
                </a:cubicBezTo>
                <a:cubicBezTo>
                  <a:pt x="2915" y="1431"/>
                  <a:pt x="2916" y="1433"/>
                  <a:pt x="2918" y="1434"/>
                </a:cubicBezTo>
                <a:cubicBezTo>
                  <a:pt x="2919" y="1433"/>
                  <a:pt x="2920" y="1431"/>
                  <a:pt x="2921" y="1430"/>
                </a:cubicBezTo>
                <a:cubicBezTo>
                  <a:pt x="2921" y="1431"/>
                  <a:pt x="2921" y="1433"/>
                  <a:pt x="2920" y="1434"/>
                </a:cubicBezTo>
                <a:cubicBezTo>
                  <a:pt x="2919" y="1435"/>
                  <a:pt x="2918" y="1436"/>
                  <a:pt x="2918" y="1438"/>
                </a:cubicBezTo>
                <a:cubicBezTo>
                  <a:pt x="2918" y="1439"/>
                  <a:pt x="2918" y="1440"/>
                  <a:pt x="2918" y="1441"/>
                </a:cubicBezTo>
                <a:cubicBezTo>
                  <a:pt x="2921" y="1444"/>
                  <a:pt x="2924" y="1444"/>
                  <a:pt x="2928" y="1442"/>
                </a:cubicBezTo>
                <a:cubicBezTo>
                  <a:pt x="2930" y="1441"/>
                  <a:pt x="2933" y="1440"/>
                  <a:pt x="2936" y="1439"/>
                </a:cubicBezTo>
                <a:cubicBezTo>
                  <a:pt x="2937" y="1438"/>
                  <a:pt x="2938" y="1438"/>
                  <a:pt x="2938" y="1436"/>
                </a:cubicBezTo>
                <a:cubicBezTo>
                  <a:pt x="2938" y="1433"/>
                  <a:pt x="2938" y="1429"/>
                  <a:pt x="2938" y="1426"/>
                </a:cubicBezTo>
                <a:cubicBezTo>
                  <a:pt x="2938" y="1423"/>
                  <a:pt x="2938" y="1420"/>
                  <a:pt x="2938" y="1417"/>
                </a:cubicBezTo>
                <a:cubicBezTo>
                  <a:pt x="2939" y="1420"/>
                  <a:pt x="2940" y="1423"/>
                  <a:pt x="2940" y="1425"/>
                </a:cubicBezTo>
                <a:cubicBezTo>
                  <a:pt x="2941" y="1430"/>
                  <a:pt x="2941" y="1434"/>
                  <a:pt x="2940" y="1438"/>
                </a:cubicBezTo>
                <a:cubicBezTo>
                  <a:pt x="2939" y="1439"/>
                  <a:pt x="2938" y="1440"/>
                  <a:pt x="2938" y="1440"/>
                </a:cubicBezTo>
                <a:cubicBezTo>
                  <a:pt x="2934" y="1440"/>
                  <a:pt x="2931" y="1442"/>
                  <a:pt x="2928" y="1444"/>
                </a:cubicBezTo>
                <a:cubicBezTo>
                  <a:pt x="2923" y="1447"/>
                  <a:pt x="2920" y="1445"/>
                  <a:pt x="2916" y="1441"/>
                </a:cubicBezTo>
                <a:cubicBezTo>
                  <a:pt x="2916" y="1441"/>
                  <a:pt x="2916" y="1440"/>
                  <a:pt x="2916" y="1439"/>
                </a:cubicBezTo>
                <a:cubicBezTo>
                  <a:pt x="2917" y="1437"/>
                  <a:pt x="2916" y="1435"/>
                  <a:pt x="2914" y="1433"/>
                </a:cubicBezTo>
                <a:cubicBezTo>
                  <a:pt x="2913" y="1431"/>
                  <a:pt x="2911" y="1429"/>
                  <a:pt x="2912" y="1426"/>
                </a:cubicBezTo>
                <a:cubicBezTo>
                  <a:pt x="2913" y="1424"/>
                  <a:pt x="2914" y="1422"/>
                  <a:pt x="2915" y="1421"/>
                </a:cubicBezTo>
                <a:cubicBezTo>
                  <a:pt x="2917" y="1418"/>
                  <a:pt x="2919" y="1415"/>
                  <a:pt x="2921" y="1413"/>
                </a:cubicBezTo>
                <a:cubicBezTo>
                  <a:pt x="2921" y="1413"/>
                  <a:pt x="2920" y="1413"/>
                  <a:pt x="2920" y="1413"/>
                </a:cubicBezTo>
                <a:cubicBezTo>
                  <a:pt x="2915" y="1414"/>
                  <a:pt x="2911" y="1415"/>
                  <a:pt x="2907" y="1419"/>
                </a:cubicBezTo>
                <a:cubicBezTo>
                  <a:pt x="2902" y="1423"/>
                  <a:pt x="2899" y="1428"/>
                  <a:pt x="2899" y="1435"/>
                </a:cubicBezTo>
                <a:cubicBezTo>
                  <a:pt x="2898" y="1442"/>
                  <a:pt x="2901" y="1448"/>
                  <a:pt x="2904" y="1453"/>
                </a:cubicBezTo>
                <a:cubicBezTo>
                  <a:pt x="2905" y="1454"/>
                  <a:pt x="2905" y="1456"/>
                  <a:pt x="2905" y="1457"/>
                </a:cubicBezTo>
                <a:cubicBezTo>
                  <a:pt x="2905" y="1459"/>
                  <a:pt x="2905" y="1460"/>
                  <a:pt x="2904" y="1461"/>
                </a:cubicBezTo>
                <a:cubicBezTo>
                  <a:pt x="2903" y="1463"/>
                  <a:pt x="2904" y="1464"/>
                  <a:pt x="2905" y="1465"/>
                </a:cubicBezTo>
                <a:cubicBezTo>
                  <a:pt x="2908" y="1465"/>
                  <a:pt x="2911" y="1466"/>
                  <a:pt x="2914" y="1466"/>
                </a:cubicBezTo>
                <a:cubicBezTo>
                  <a:pt x="2914" y="1466"/>
                  <a:pt x="2915" y="1465"/>
                  <a:pt x="2915" y="1465"/>
                </a:cubicBezTo>
                <a:cubicBezTo>
                  <a:pt x="2916" y="1464"/>
                  <a:pt x="2916" y="1462"/>
                  <a:pt x="2916" y="1461"/>
                </a:cubicBezTo>
                <a:cubicBezTo>
                  <a:pt x="2918" y="1459"/>
                  <a:pt x="2918" y="1456"/>
                  <a:pt x="2918" y="1453"/>
                </a:cubicBezTo>
                <a:cubicBezTo>
                  <a:pt x="2918" y="1453"/>
                  <a:pt x="2918" y="1453"/>
                  <a:pt x="2918" y="1452"/>
                </a:cubicBezTo>
                <a:cubicBezTo>
                  <a:pt x="2918" y="1452"/>
                  <a:pt x="2918" y="1452"/>
                  <a:pt x="2918" y="1452"/>
                </a:cubicBezTo>
                <a:cubicBezTo>
                  <a:pt x="2919" y="1454"/>
                  <a:pt x="2920" y="1454"/>
                  <a:pt x="2922" y="1454"/>
                </a:cubicBezTo>
                <a:cubicBezTo>
                  <a:pt x="2923" y="1454"/>
                  <a:pt x="2924" y="1454"/>
                  <a:pt x="2925" y="1454"/>
                </a:cubicBezTo>
                <a:cubicBezTo>
                  <a:pt x="2927" y="1454"/>
                  <a:pt x="2931" y="1455"/>
                  <a:pt x="2931" y="1451"/>
                </a:cubicBezTo>
                <a:cubicBezTo>
                  <a:pt x="2931" y="1453"/>
                  <a:pt x="2931" y="1455"/>
                  <a:pt x="2931" y="1455"/>
                </a:cubicBezTo>
                <a:cubicBezTo>
                  <a:pt x="2930" y="1456"/>
                  <a:pt x="2929" y="1457"/>
                  <a:pt x="2927" y="1457"/>
                </a:cubicBezTo>
                <a:cubicBezTo>
                  <a:pt x="2926" y="1458"/>
                  <a:pt x="2925" y="1460"/>
                  <a:pt x="2926" y="1461"/>
                </a:cubicBezTo>
                <a:cubicBezTo>
                  <a:pt x="2927" y="1463"/>
                  <a:pt x="2929" y="1465"/>
                  <a:pt x="2930" y="1467"/>
                </a:cubicBezTo>
                <a:cubicBezTo>
                  <a:pt x="2932" y="1468"/>
                  <a:pt x="2934" y="1468"/>
                  <a:pt x="2935" y="1466"/>
                </a:cubicBezTo>
                <a:cubicBezTo>
                  <a:pt x="2936" y="1465"/>
                  <a:pt x="2936" y="1465"/>
                  <a:pt x="2937" y="1464"/>
                </a:cubicBezTo>
                <a:cubicBezTo>
                  <a:pt x="2939" y="1463"/>
                  <a:pt x="2940" y="1461"/>
                  <a:pt x="2942" y="1460"/>
                </a:cubicBezTo>
                <a:cubicBezTo>
                  <a:pt x="2946" y="1456"/>
                  <a:pt x="2948" y="1450"/>
                  <a:pt x="2950" y="1444"/>
                </a:cubicBezTo>
                <a:cubicBezTo>
                  <a:pt x="2950" y="1444"/>
                  <a:pt x="2949" y="1443"/>
                  <a:pt x="2949" y="1442"/>
                </a:cubicBezTo>
                <a:cubicBezTo>
                  <a:pt x="2948" y="1441"/>
                  <a:pt x="2947" y="1440"/>
                  <a:pt x="2945" y="1440"/>
                </a:cubicBezTo>
                <a:close/>
                <a:moveTo>
                  <a:pt x="2898" y="1446"/>
                </a:moveTo>
                <a:cubicBezTo>
                  <a:pt x="2898" y="1447"/>
                  <a:pt x="2896" y="1448"/>
                  <a:pt x="2895" y="1449"/>
                </a:cubicBezTo>
                <a:cubicBezTo>
                  <a:pt x="2894" y="1449"/>
                  <a:pt x="2894" y="1450"/>
                  <a:pt x="2894" y="1451"/>
                </a:cubicBezTo>
                <a:cubicBezTo>
                  <a:pt x="2894" y="1453"/>
                  <a:pt x="2898" y="1458"/>
                  <a:pt x="2901" y="1457"/>
                </a:cubicBezTo>
                <a:cubicBezTo>
                  <a:pt x="2903" y="1457"/>
                  <a:pt x="2904" y="1456"/>
                  <a:pt x="2903" y="1455"/>
                </a:cubicBezTo>
                <a:cubicBezTo>
                  <a:pt x="2901" y="1452"/>
                  <a:pt x="2900" y="1449"/>
                  <a:pt x="2898" y="1446"/>
                </a:cubicBezTo>
                <a:close/>
                <a:moveTo>
                  <a:pt x="2951" y="1448"/>
                </a:moveTo>
                <a:cubicBezTo>
                  <a:pt x="2949" y="1453"/>
                  <a:pt x="2946" y="1457"/>
                  <a:pt x="2944" y="1461"/>
                </a:cubicBezTo>
                <a:cubicBezTo>
                  <a:pt x="2947" y="1461"/>
                  <a:pt x="2949" y="1462"/>
                  <a:pt x="2952" y="1461"/>
                </a:cubicBezTo>
                <a:cubicBezTo>
                  <a:pt x="2952" y="1461"/>
                  <a:pt x="2952" y="1460"/>
                  <a:pt x="2952" y="1460"/>
                </a:cubicBezTo>
                <a:cubicBezTo>
                  <a:pt x="2952" y="1457"/>
                  <a:pt x="2952" y="1455"/>
                  <a:pt x="2952" y="1452"/>
                </a:cubicBezTo>
                <a:cubicBezTo>
                  <a:pt x="2952" y="1451"/>
                  <a:pt x="2951" y="1450"/>
                  <a:pt x="2951" y="1448"/>
                </a:cubicBezTo>
                <a:close/>
                <a:moveTo>
                  <a:pt x="2898" y="1428"/>
                </a:moveTo>
                <a:cubicBezTo>
                  <a:pt x="2898"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2" y="1423"/>
                </a:cubicBezTo>
                <a:cubicBezTo>
                  <a:pt x="2892" y="1424"/>
                  <a:pt x="2893" y="1429"/>
                  <a:pt x="2895" y="1430"/>
                </a:cubicBezTo>
                <a:cubicBezTo>
                  <a:pt x="2896" y="1431"/>
                  <a:pt x="2898" y="1430"/>
                  <a:pt x="2898" y="1428"/>
                </a:cubicBezTo>
                <a:close/>
                <a:moveTo>
                  <a:pt x="2898" y="1446"/>
                </a:moveTo>
                <a:cubicBezTo>
                  <a:pt x="2897" y="1447"/>
                  <a:pt x="2896" y="1448"/>
                  <a:pt x="2895" y="1449"/>
                </a:cubicBezTo>
                <a:cubicBezTo>
                  <a:pt x="2894" y="1449"/>
                  <a:pt x="2894" y="1450"/>
                  <a:pt x="2894" y="1451"/>
                </a:cubicBezTo>
                <a:cubicBezTo>
                  <a:pt x="2894" y="1454"/>
                  <a:pt x="2898" y="1458"/>
                  <a:pt x="2901" y="1458"/>
                </a:cubicBezTo>
                <a:cubicBezTo>
                  <a:pt x="2903" y="1458"/>
                  <a:pt x="2904" y="1457"/>
                  <a:pt x="2903" y="1455"/>
                </a:cubicBezTo>
                <a:cubicBezTo>
                  <a:pt x="2901" y="1452"/>
                  <a:pt x="2900" y="1449"/>
                  <a:pt x="2898" y="1446"/>
                </a:cubicBezTo>
                <a:close/>
                <a:moveTo>
                  <a:pt x="2951" y="1448"/>
                </a:moveTo>
                <a:cubicBezTo>
                  <a:pt x="2948" y="1453"/>
                  <a:pt x="2946" y="1457"/>
                  <a:pt x="2944" y="1462"/>
                </a:cubicBezTo>
                <a:cubicBezTo>
                  <a:pt x="2946" y="1462"/>
                  <a:pt x="2949" y="1462"/>
                  <a:pt x="2952" y="1462"/>
                </a:cubicBezTo>
                <a:cubicBezTo>
                  <a:pt x="2952" y="1462"/>
                  <a:pt x="2952" y="1460"/>
                  <a:pt x="2952" y="1460"/>
                </a:cubicBezTo>
                <a:cubicBezTo>
                  <a:pt x="2952" y="1457"/>
                  <a:pt x="2952" y="1455"/>
                  <a:pt x="2952" y="1452"/>
                </a:cubicBezTo>
                <a:cubicBezTo>
                  <a:pt x="2952" y="1451"/>
                  <a:pt x="2951" y="1450"/>
                  <a:pt x="2951" y="1448"/>
                </a:cubicBezTo>
                <a:close/>
                <a:moveTo>
                  <a:pt x="2898" y="1428"/>
                </a:moveTo>
                <a:cubicBezTo>
                  <a:pt x="2897"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3" y="1423"/>
                </a:cubicBezTo>
                <a:cubicBezTo>
                  <a:pt x="2892" y="1424"/>
                  <a:pt x="2893" y="1430"/>
                  <a:pt x="2895" y="1430"/>
                </a:cubicBezTo>
                <a:cubicBezTo>
                  <a:pt x="2896" y="1431"/>
                  <a:pt x="2898" y="1430"/>
                  <a:pt x="2898" y="1428"/>
                </a:cubicBezTo>
                <a:close/>
                <a:moveTo>
                  <a:pt x="2950" y="1420"/>
                </a:moveTo>
                <a:cubicBezTo>
                  <a:pt x="2954" y="1416"/>
                  <a:pt x="2954" y="1416"/>
                  <a:pt x="2958" y="1415"/>
                </a:cubicBezTo>
                <a:cubicBezTo>
                  <a:pt x="2958" y="1417"/>
                  <a:pt x="2959" y="1418"/>
                  <a:pt x="2960" y="1418"/>
                </a:cubicBezTo>
                <a:cubicBezTo>
                  <a:pt x="2958" y="1419"/>
                  <a:pt x="2956" y="1421"/>
                  <a:pt x="2954" y="1422"/>
                </a:cubicBezTo>
                <a:cubicBezTo>
                  <a:pt x="2953" y="1421"/>
                  <a:pt x="2953" y="1421"/>
                  <a:pt x="2952" y="1419"/>
                </a:cubicBezTo>
                <a:cubicBezTo>
                  <a:pt x="2952" y="1419"/>
                  <a:pt x="2951" y="1419"/>
                  <a:pt x="2950" y="1420"/>
                </a:cubicBezTo>
                <a:close/>
                <a:moveTo>
                  <a:pt x="2956" y="1419"/>
                </a:moveTo>
                <a:cubicBezTo>
                  <a:pt x="2956" y="1419"/>
                  <a:pt x="2955" y="1419"/>
                  <a:pt x="2954" y="1419"/>
                </a:cubicBezTo>
                <a:cubicBezTo>
                  <a:pt x="2954" y="1419"/>
                  <a:pt x="2953" y="1419"/>
                  <a:pt x="2953" y="1420"/>
                </a:cubicBezTo>
                <a:cubicBezTo>
                  <a:pt x="2953" y="1420"/>
                  <a:pt x="2954" y="1421"/>
                  <a:pt x="2954" y="1421"/>
                </a:cubicBezTo>
                <a:cubicBezTo>
                  <a:pt x="2955" y="1421"/>
                  <a:pt x="2955" y="1420"/>
                  <a:pt x="2956" y="1419"/>
                </a:cubicBezTo>
                <a:close/>
                <a:moveTo>
                  <a:pt x="2937" y="1409"/>
                </a:moveTo>
                <a:cubicBezTo>
                  <a:pt x="2931" y="1409"/>
                  <a:pt x="2928" y="1411"/>
                  <a:pt x="2927" y="1419"/>
                </a:cubicBezTo>
                <a:cubicBezTo>
                  <a:pt x="2928" y="1417"/>
                  <a:pt x="2929" y="1415"/>
                  <a:pt x="2930" y="1412"/>
                </a:cubicBezTo>
                <a:cubicBezTo>
                  <a:pt x="2931" y="1412"/>
                  <a:pt x="2931" y="1412"/>
                  <a:pt x="2931" y="1412"/>
                </a:cubicBezTo>
                <a:cubicBezTo>
                  <a:pt x="2931" y="1414"/>
                  <a:pt x="2931" y="1414"/>
                  <a:pt x="2931" y="1415"/>
                </a:cubicBezTo>
                <a:cubicBezTo>
                  <a:pt x="2932" y="1412"/>
                  <a:pt x="2934" y="1410"/>
                  <a:pt x="2937" y="1409"/>
                </a:cubicBezTo>
                <a:close/>
                <a:moveTo>
                  <a:pt x="2981" y="1411"/>
                </a:moveTo>
                <a:cubicBezTo>
                  <a:pt x="2979" y="1412"/>
                  <a:pt x="2977" y="1414"/>
                  <a:pt x="2976" y="1415"/>
                </a:cubicBezTo>
                <a:cubicBezTo>
                  <a:pt x="2978" y="1416"/>
                  <a:pt x="2980" y="1414"/>
                  <a:pt x="2981" y="1411"/>
                </a:cubicBezTo>
                <a:close/>
                <a:moveTo>
                  <a:pt x="2948" y="1413"/>
                </a:moveTo>
                <a:cubicBezTo>
                  <a:pt x="2949" y="1412"/>
                  <a:pt x="2950" y="1410"/>
                  <a:pt x="2951" y="1409"/>
                </a:cubicBezTo>
                <a:cubicBezTo>
                  <a:pt x="2948" y="1410"/>
                  <a:pt x="2948" y="1411"/>
                  <a:pt x="2948" y="1413"/>
                </a:cubicBezTo>
                <a:close/>
                <a:moveTo>
                  <a:pt x="2958" y="1435"/>
                </a:moveTo>
                <a:cubicBezTo>
                  <a:pt x="2956" y="1435"/>
                  <a:pt x="2955" y="1436"/>
                  <a:pt x="2955" y="1437"/>
                </a:cubicBezTo>
                <a:cubicBezTo>
                  <a:pt x="2956" y="1436"/>
                  <a:pt x="2957" y="1435"/>
                  <a:pt x="2958" y="1435"/>
                </a:cubicBezTo>
                <a:close/>
                <a:moveTo>
                  <a:pt x="2957" y="1419"/>
                </a:moveTo>
                <a:cubicBezTo>
                  <a:pt x="2956" y="1419"/>
                  <a:pt x="2955" y="1418"/>
                  <a:pt x="2955" y="1418"/>
                </a:cubicBezTo>
                <a:cubicBezTo>
                  <a:pt x="2954" y="1418"/>
                  <a:pt x="2953" y="1419"/>
                  <a:pt x="2953" y="1419"/>
                </a:cubicBezTo>
                <a:cubicBezTo>
                  <a:pt x="2953" y="1420"/>
                  <a:pt x="2954" y="1420"/>
                  <a:pt x="2954" y="1421"/>
                </a:cubicBezTo>
                <a:cubicBezTo>
                  <a:pt x="2955" y="1420"/>
                  <a:pt x="2955" y="1420"/>
                  <a:pt x="2957" y="1419"/>
                </a:cubicBezTo>
                <a:close/>
                <a:moveTo>
                  <a:pt x="3481" y="1540"/>
                </a:moveTo>
                <a:cubicBezTo>
                  <a:pt x="3481" y="1542"/>
                  <a:pt x="3482" y="1543"/>
                  <a:pt x="3482" y="1544"/>
                </a:cubicBezTo>
                <a:cubicBezTo>
                  <a:pt x="3483" y="1546"/>
                  <a:pt x="3483" y="1548"/>
                  <a:pt x="3484" y="1549"/>
                </a:cubicBezTo>
                <a:cubicBezTo>
                  <a:pt x="3484" y="1551"/>
                  <a:pt x="3484" y="1553"/>
                  <a:pt x="3484" y="1554"/>
                </a:cubicBezTo>
                <a:cubicBezTo>
                  <a:pt x="3485" y="1557"/>
                  <a:pt x="3484" y="1559"/>
                  <a:pt x="3480" y="1559"/>
                </a:cubicBezTo>
                <a:cubicBezTo>
                  <a:pt x="3478" y="1559"/>
                  <a:pt x="3475" y="1559"/>
                  <a:pt x="3472" y="1559"/>
                </a:cubicBezTo>
                <a:cubicBezTo>
                  <a:pt x="3472" y="1559"/>
                  <a:pt x="3471" y="1559"/>
                  <a:pt x="3471" y="1559"/>
                </a:cubicBezTo>
                <a:cubicBezTo>
                  <a:pt x="3469" y="1561"/>
                  <a:pt x="3467" y="1562"/>
                  <a:pt x="3466" y="1563"/>
                </a:cubicBezTo>
                <a:cubicBezTo>
                  <a:pt x="3464" y="1566"/>
                  <a:pt x="3461" y="1566"/>
                  <a:pt x="3459" y="1564"/>
                </a:cubicBezTo>
                <a:cubicBezTo>
                  <a:pt x="3457" y="1562"/>
                  <a:pt x="3456" y="1559"/>
                  <a:pt x="3454" y="1557"/>
                </a:cubicBezTo>
                <a:cubicBezTo>
                  <a:pt x="3453" y="1555"/>
                  <a:pt x="3454" y="1553"/>
                  <a:pt x="3456" y="1552"/>
                </a:cubicBezTo>
                <a:cubicBezTo>
                  <a:pt x="3453" y="1552"/>
                  <a:pt x="3452" y="1552"/>
                  <a:pt x="3450" y="1552"/>
                </a:cubicBezTo>
                <a:cubicBezTo>
                  <a:pt x="3449" y="1554"/>
                  <a:pt x="3448" y="1556"/>
                  <a:pt x="3447" y="1558"/>
                </a:cubicBezTo>
                <a:cubicBezTo>
                  <a:pt x="3447" y="1559"/>
                  <a:pt x="3447" y="1559"/>
                  <a:pt x="3447" y="1560"/>
                </a:cubicBezTo>
                <a:cubicBezTo>
                  <a:pt x="3447" y="1563"/>
                  <a:pt x="3446" y="1565"/>
                  <a:pt x="3443" y="1564"/>
                </a:cubicBezTo>
                <a:cubicBezTo>
                  <a:pt x="3440" y="1564"/>
                  <a:pt x="3437" y="1563"/>
                  <a:pt x="3434" y="1562"/>
                </a:cubicBezTo>
                <a:cubicBezTo>
                  <a:pt x="3432" y="1561"/>
                  <a:pt x="3431" y="1560"/>
                  <a:pt x="3432" y="1558"/>
                </a:cubicBezTo>
                <a:cubicBezTo>
                  <a:pt x="3432" y="1557"/>
                  <a:pt x="3432" y="1556"/>
                  <a:pt x="3433" y="1556"/>
                </a:cubicBezTo>
                <a:cubicBezTo>
                  <a:pt x="3430" y="1555"/>
                  <a:pt x="3428" y="1554"/>
                  <a:pt x="3426" y="1553"/>
                </a:cubicBezTo>
                <a:cubicBezTo>
                  <a:pt x="3425" y="1552"/>
                  <a:pt x="3424" y="1550"/>
                  <a:pt x="3423" y="1548"/>
                </a:cubicBezTo>
                <a:cubicBezTo>
                  <a:pt x="3422" y="1546"/>
                  <a:pt x="3422" y="1545"/>
                  <a:pt x="3424" y="1543"/>
                </a:cubicBezTo>
                <a:cubicBezTo>
                  <a:pt x="3427" y="1541"/>
                  <a:pt x="3428" y="1538"/>
                  <a:pt x="3427" y="1534"/>
                </a:cubicBezTo>
                <a:cubicBezTo>
                  <a:pt x="3427" y="1532"/>
                  <a:pt x="3427" y="1530"/>
                  <a:pt x="3427" y="1528"/>
                </a:cubicBezTo>
                <a:cubicBezTo>
                  <a:pt x="3426" y="1527"/>
                  <a:pt x="3424" y="1527"/>
                  <a:pt x="3423" y="1526"/>
                </a:cubicBezTo>
                <a:cubicBezTo>
                  <a:pt x="3422" y="1524"/>
                  <a:pt x="3421" y="1522"/>
                  <a:pt x="3421" y="1520"/>
                </a:cubicBezTo>
                <a:cubicBezTo>
                  <a:pt x="3421" y="1517"/>
                  <a:pt x="3424" y="1515"/>
                  <a:pt x="3427" y="1514"/>
                </a:cubicBezTo>
                <a:cubicBezTo>
                  <a:pt x="3427" y="1515"/>
                  <a:pt x="3427" y="1515"/>
                  <a:pt x="3428" y="1516"/>
                </a:cubicBezTo>
                <a:cubicBezTo>
                  <a:pt x="3428" y="1517"/>
                  <a:pt x="3428" y="1518"/>
                  <a:pt x="3428" y="1519"/>
                </a:cubicBezTo>
                <a:cubicBezTo>
                  <a:pt x="3427" y="1519"/>
                  <a:pt x="3427" y="1519"/>
                  <a:pt x="3427" y="1519"/>
                </a:cubicBezTo>
                <a:cubicBezTo>
                  <a:pt x="3426" y="1520"/>
                  <a:pt x="3426" y="1521"/>
                  <a:pt x="3425" y="1523"/>
                </a:cubicBezTo>
                <a:cubicBezTo>
                  <a:pt x="3426" y="1523"/>
                  <a:pt x="3427" y="1523"/>
                  <a:pt x="3427" y="1523"/>
                </a:cubicBezTo>
                <a:cubicBezTo>
                  <a:pt x="3429" y="1521"/>
                  <a:pt x="3429" y="1521"/>
                  <a:pt x="3430" y="1519"/>
                </a:cubicBezTo>
                <a:cubicBezTo>
                  <a:pt x="3435" y="1513"/>
                  <a:pt x="3440" y="1509"/>
                  <a:pt x="3448" y="1507"/>
                </a:cubicBezTo>
                <a:cubicBezTo>
                  <a:pt x="3451" y="1507"/>
                  <a:pt x="3455" y="1506"/>
                  <a:pt x="3457" y="1503"/>
                </a:cubicBezTo>
                <a:cubicBezTo>
                  <a:pt x="3457" y="1502"/>
                  <a:pt x="3458" y="1502"/>
                  <a:pt x="3458" y="1502"/>
                </a:cubicBezTo>
                <a:cubicBezTo>
                  <a:pt x="3461" y="1502"/>
                  <a:pt x="3462" y="1499"/>
                  <a:pt x="3464" y="1497"/>
                </a:cubicBezTo>
                <a:cubicBezTo>
                  <a:pt x="3472" y="1490"/>
                  <a:pt x="3484" y="1489"/>
                  <a:pt x="3491" y="1496"/>
                </a:cubicBezTo>
                <a:cubicBezTo>
                  <a:pt x="3494" y="1498"/>
                  <a:pt x="3497" y="1500"/>
                  <a:pt x="3499" y="1502"/>
                </a:cubicBezTo>
                <a:cubicBezTo>
                  <a:pt x="3500" y="1503"/>
                  <a:pt x="3502" y="1505"/>
                  <a:pt x="3503" y="1507"/>
                </a:cubicBezTo>
                <a:cubicBezTo>
                  <a:pt x="3504" y="1508"/>
                  <a:pt x="3504" y="1508"/>
                  <a:pt x="3506" y="1507"/>
                </a:cubicBezTo>
                <a:cubicBezTo>
                  <a:pt x="3506" y="1507"/>
                  <a:pt x="3507" y="1506"/>
                  <a:pt x="3508" y="1505"/>
                </a:cubicBezTo>
                <a:cubicBezTo>
                  <a:pt x="3510" y="1502"/>
                  <a:pt x="3513" y="1502"/>
                  <a:pt x="3514" y="1506"/>
                </a:cubicBezTo>
                <a:cubicBezTo>
                  <a:pt x="3515" y="1509"/>
                  <a:pt x="3516" y="1511"/>
                  <a:pt x="3517" y="1515"/>
                </a:cubicBezTo>
                <a:cubicBezTo>
                  <a:pt x="3517" y="1519"/>
                  <a:pt x="3517" y="1523"/>
                  <a:pt x="3515" y="1528"/>
                </a:cubicBezTo>
                <a:cubicBezTo>
                  <a:pt x="3513" y="1534"/>
                  <a:pt x="3508" y="1538"/>
                  <a:pt x="3502" y="1538"/>
                </a:cubicBezTo>
                <a:cubicBezTo>
                  <a:pt x="3501" y="1538"/>
                  <a:pt x="3500" y="1538"/>
                  <a:pt x="3500" y="1538"/>
                </a:cubicBezTo>
                <a:cubicBezTo>
                  <a:pt x="3497" y="1537"/>
                  <a:pt x="3496" y="1538"/>
                  <a:pt x="3495" y="1540"/>
                </a:cubicBezTo>
                <a:cubicBezTo>
                  <a:pt x="3494" y="1544"/>
                  <a:pt x="3488" y="1546"/>
                  <a:pt x="3485" y="1543"/>
                </a:cubicBezTo>
                <a:cubicBezTo>
                  <a:pt x="3484" y="1542"/>
                  <a:pt x="3483" y="1541"/>
                  <a:pt x="3482" y="1540"/>
                </a:cubicBezTo>
                <a:cubicBezTo>
                  <a:pt x="3481" y="1540"/>
                  <a:pt x="3481" y="1540"/>
                  <a:pt x="3481" y="1540"/>
                </a:cubicBezTo>
                <a:close/>
                <a:moveTo>
                  <a:pt x="3475" y="1536"/>
                </a:moveTo>
                <a:cubicBezTo>
                  <a:pt x="3479" y="1537"/>
                  <a:pt x="3482" y="1538"/>
                  <a:pt x="3485" y="1541"/>
                </a:cubicBezTo>
                <a:cubicBezTo>
                  <a:pt x="3487" y="1543"/>
                  <a:pt x="3489" y="1544"/>
                  <a:pt x="3491" y="1543"/>
                </a:cubicBezTo>
                <a:cubicBezTo>
                  <a:pt x="3493" y="1542"/>
                  <a:pt x="3495" y="1540"/>
                  <a:pt x="3495" y="1537"/>
                </a:cubicBezTo>
                <a:cubicBezTo>
                  <a:pt x="3495" y="1537"/>
                  <a:pt x="3494" y="1537"/>
                  <a:pt x="3494" y="1538"/>
                </a:cubicBezTo>
                <a:cubicBezTo>
                  <a:pt x="3493" y="1539"/>
                  <a:pt x="3492" y="1540"/>
                  <a:pt x="3491" y="1541"/>
                </a:cubicBezTo>
                <a:cubicBezTo>
                  <a:pt x="3490" y="1542"/>
                  <a:pt x="3489" y="1542"/>
                  <a:pt x="3488" y="1542"/>
                </a:cubicBezTo>
                <a:cubicBezTo>
                  <a:pt x="3487" y="1542"/>
                  <a:pt x="3487" y="1540"/>
                  <a:pt x="3487" y="1540"/>
                </a:cubicBezTo>
                <a:cubicBezTo>
                  <a:pt x="3487" y="1537"/>
                  <a:pt x="3487" y="1535"/>
                  <a:pt x="3488" y="1533"/>
                </a:cubicBezTo>
                <a:cubicBezTo>
                  <a:pt x="3491" y="1534"/>
                  <a:pt x="3494" y="1535"/>
                  <a:pt x="3498" y="1536"/>
                </a:cubicBezTo>
                <a:cubicBezTo>
                  <a:pt x="3505" y="1537"/>
                  <a:pt x="3511" y="1535"/>
                  <a:pt x="3514" y="1527"/>
                </a:cubicBezTo>
                <a:cubicBezTo>
                  <a:pt x="3516" y="1522"/>
                  <a:pt x="3515" y="1517"/>
                  <a:pt x="3515" y="1512"/>
                </a:cubicBezTo>
                <a:cubicBezTo>
                  <a:pt x="3514" y="1510"/>
                  <a:pt x="3513" y="1508"/>
                  <a:pt x="3513" y="1506"/>
                </a:cubicBezTo>
                <a:cubicBezTo>
                  <a:pt x="3512" y="1505"/>
                  <a:pt x="3511" y="1504"/>
                  <a:pt x="3509" y="1506"/>
                </a:cubicBezTo>
                <a:cubicBezTo>
                  <a:pt x="3508" y="1508"/>
                  <a:pt x="3506" y="1509"/>
                  <a:pt x="3504" y="1510"/>
                </a:cubicBezTo>
                <a:cubicBezTo>
                  <a:pt x="3504" y="1510"/>
                  <a:pt x="3503" y="1511"/>
                  <a:pt x="3503" y="1512"/>
                </a:cubicBezTo>
                <a:cubicBezTo>
                  <a:pt x="3504" y="1515"/>
                  <a:pt x="3503" y="1519"/>
                  <a:pt x="3502" y="1522"/>
                </a:cubicBezTo>
                <a:cubicBezTo>
                  <a:pt x="3502" y="1520"/>
                  <a:pt x="3502" y="1518"/>
                  <a:pt x="3502" y="1516"/>
                </a:cubicBezTo>
                <a:cubicBezTo>
                  <a:pt x="3502" y="1515"/>
                  <a:pt x="3502" y="1515"/>
                  <a:pt x="3502" y="1515"/>
                </a:cubicBezTo>
                <a:cubicBezTo>
                  <a:pt x="3501" y="1515"/>
                  <a:pt x="3500" y="1515"/>
                  <a:pt x="3500" y="1515"/>
                </a:cubicBezTo>
                <a:cubicBezTo>
                  <a:pt x="3500" y="1517"/>
                  <a:pt x="3499" y="1518"/>
                  <a:pt x="3498" y="1519"/>
                </a:cubicBezTo>
                <a:cubicBezTo>
                  <a:pt x="3498" y="1519"/>
                  <a:pt x="3498" y="1519"/>
                  <a:pt x="3498" y="1519"/>
                </a:cubicBezTo>
                <a:cubicBezTo>
                  <a:pt x="3498" y="1518"/>
                  <a:pt x="3498" y="1516"/>
                  <a:pt x="3499" y="1514"/>
                </a:cubicBezTo>
                <a:cubicBezTo>
                  <a:pt x="3498" y="1515"/>
                  <a:pt x="3497" y="1515"/>
                  <a:pt x="3497" y="1516"/>
                </a:cubicBezTo>
                <a:cubicBezTo>
                  <a:pt x="3496" y="1516"/>
                  <a:pt x="3496" y="1517"/>
                  <a:pt x="3495" y="1518"/>
                </a:cubicBezTo>
                <a:cubicBezTo>
                  <a:pt x="3496" y="1514"/>
                  <a:pt x="3496" y="1514"/>
                  <a:pt x="3502" y="1513"/>
                </a:cubicBezTo>
                <a:cubicBezTo>
                  <a:pt x="3502" y="1513"/>
                  <a:pt x="3501" y="1512"/>
                  <a:pt x="3501" y="1512"/>
                </a:cubicBezTo>
                <a:cubicBezTo>
                  <a:pt x="3498" y="1513"/>
                  <a:pt x="3497" y="1511"/>
                  <a:pt x="3497" y="1509"/>
                </a:cubicBezTo>
                <a:cubicBezTo>
                  <a:pt x="3498" y="1508"/>
                  <a:pt x="3500" y="1508"/>
                  <a:pt x="3502" y="1508"/>
                </a:cubicBezTo>
                <a:cubicBezTo>
                  <a:pt x="3500" y="1505"/>
                  <a:pt x="3498" y="1502"/>
                  <a:pt x="3495" y="1502"/>
                </a:cubicBezTo>
                <a:cubicBezTo>
                  <a:pt x="3495" y="1502"/>
                  <a:pt x="3495" y="1502"/>
                  <a:pt x="3495" y="1501"/>
                </a:cubicBezTo>
                <a:cubicBezTo>
                  <a:pt x="3492" y="1499"/>
                  <a:pt x="3490" y="1497"/>
                  <a:pt x="3487" y="1495"/>
                </a:cubicBezTo>
                <a:cubicBezTo>
                  <a:pt x="3485" y="1494"/>
                  <a:pt x="3482" y="1493"/>
                  <a:pt x="3480" y="1493"/>
                </a:cubicBezTo>
                <a:cubicBezTo>
                  <a:pt x="3477" y="1493"/>
                  <a:pt x="3473" y="1494"/>
                  <a:pt x="3470" y="1495"/>
                </a:cubicBezTo>
                <a:cubicBezTo>
                  <a:pt x="3467" y="1496"/>
                  <a:pt x="3465" y="1498"/>
                  <a:pt x="3463" y="1501"/>
                </a:cubicBezTo>
                <a:cubicBezTo>
                  <a:pt x="3465" y="1501"/>
                  <a:pt x="3466" y="1501"/>
                  <a:pt x="3467" y="1501"/>
                </a:cubicBezTo>
                <a:cubicBezTo>
                  <a:pt x="3467" y="1502"/>
                  <a:pt x="3466" y="1502"/>
                  <a:pt x="3465" y="1502"/>
                </a:cubicBezTo>
                <a:cubicBezTo>
                  <a:pt x="3463" y="1503"/>
                  <a:pt x="3460" y="1502"/>
                  <a:pt x="3458" y="1504"/>
                </a:cubicBezTo>
                <a:cubicBezTo>
                  <a:pt x="3455" y="1508"/>
                  <a:pt x="3451" y="1512"/>
                  <a:pt x="3447" y="1516"/>
                </a:cubicBezTo>
                <a:cubicBezTo>
                  <a:pt x="3446" y="1518"/>
                  <a:pt x="3445" y="1521"/>
                  <a:pt x="3444" y="1523"/>
                </a:cubicBezTo>
                <a:cubicBezTo>
                  <a:pt x="3444" y="1523"/>
                  <a:pt x="3444" y="1524"/>
                  <a:pt x="3444" y="1525"/>
                </a:cubicBezTo>
                <a:cubicBezTo>
                  <a:pt x="3445" y="1527"/>
                  <a:pt x="3446" y="1529"/>
                  <a:pt x="3448" y="1530"/>
                </a:cubicBezTo>
                <a:cubicBezTo>
                  <a:pt x="3449" y="1529"/>
                  <a:pt x="3450" y="1527"/>
                  <a:pt x="3451" y="1526"/>
                </a:cubicBezTo>
                <a:cubicBezTo>
                  <a:pt x="3451" y="1527"/>
                  <a:pt x="3451" y="1529"/>
                  <a:pt x="3450" y="1530"/>
                </a:cubicBezTo>
                <a:cubicBezTo>
                  <a:pt x="3449" y="1531"/>
                  <a:pt x="3448" y="1532"/>
                  <a:pt x="3448" y="1534"/>
                </a:cubicBezTo>
                <a:cubicBezTo>
                  <a:pt x="3447" y="1535"/>
                  <a:pt x="3448" y="1536"/>
                  <a:pt x="3448" y="1537"/>
                </a:cubicBezTo>
                <a:cubicBezTo>
                  <a:pt x="3451" y="1540"/>
                  <a:pt x="3454" y="1540"/>
                  <a:pt x="3458" y="1538"/>
                </a:cubicBezTo>
                <a:cubicBezTo>
                  <a:pt x="3460" y="1537"/>
                  <a:pt x="3463" y="1536"/>
                  <a:pt x="3466" y="1535"/>
                </a:cubicBezTo>
                <a:cubicBezTo>
                  <a:pt x="3467" y="1534"/>
                  <a:pt x="3468" y="1534"/>
                  <a:pt x="3468" y="1532"/>
                </a:cubicBezTo>
                <a:cubicBezTo>
                  <a:pt x="3468" y="1529"/>
                  <a:pt x="3468" y="1525"/>
                  <a:pt x="3468" y="1522"/>
                </a:cubicBezTo>
                <a:cubicBezTo>
                  <a:pt x="3468" y="1519"/>
                  <a:pt x="3468" y="1516"/>
                  <a:pt x="3468" y="1513"/>
                </a:cubicBezTo>
                <a:cubicBezTo>
                  <a:pt x="3469" y="1516"/>
                  <a:pt x="3469" y="1519"/>
                  <a:pt x="3470" y="1521"/>
                </a:cubicBezTo>
                <a:cubicBezTo>
                  <a:pt x="3471" y="1526"/>
                  <a:pt x="3471" y="1530"/>
                  <a:pt x="3469" y="1534"/>
                </a:cubicBezTo>
                <a:cubicBezTo>
                  <a:pt x="3469" y="1535"/>
                  <a:pt x="3468" y="1536"/>
                  <a:pt x="3468" y="1536"/>
                </a:cubicBezTo>
                <a:cubicBezTo>
                  <a:pt x="3464" y="1536"/>
                  <a:pt x="3461" y="1538"/>
                  <a:pt x="3458" y="1540"/>
                </a:cubicBezTo>
                <a:cubicBezTo>
                  <a:pt x="3453" y="1543"/>
                  <a:pt x="3449" y="1541"/>
                  <a:pt x="3446" y="1537"/>
                </a:cubicBezTo>
                <a:cubicBezTo>
                  <a:pt x="3446" y="1537"/>
                  <a:pt x="3446" y="1536"/>
                  <a:pt x="3446" y="1535"/>
                </a:cubicBezTo>
                <a:cubicBezTo>
                  <a:pt x="3447" y="1533"/>
                  <a:pt x="3446" y="1531"/>
                  <a:pt x="3444" y="1529"/>
                </a:cubicBezTo>
                <a:cubicBezTo>
                  <a:pt x="3443" y="1527"/>
                  <a:pt x="3441" y="1525"/>
                  <a:pt x="3442" y="1522"/>
                </a:cubicBezTo>
                <a:cubicBezTo>
                  <a:pt x="3443" y="1520"/>
                  <a:pt x="3444" y="1518"/>
                  <a:pt x="3445" y="1517"/>
                </a:cubicBezTo>
                <a:cubicBezTo>
                  <a:pt x="3447" y="1514"/>
                  <a:pt x="3449" y="1511"/>
                  <a:pt x="3451" y="1509"/>
                </a:cubicBezTo>
                <a:cubicBezTo>
                  <a:pt x="3451" y="1509"/>
                  <a:pt x="3450" y="1509"/>
                  <a:pt x="3450" y="1509"/>
                </a:cubicBezTo>
                <a:cubicBezTo>
                  <a:pt x="3445" y="1510"/>
                  <a:pt x="3440" y="1511"/>
                  <a:pt x="3437" y="1515"/>
                </a:cubicBezTo>
                <a:cubicBezTo>
                  <a:pt x="3432" y="1519"/>
                  <a:pt x="3429" y="1524"/>
                  <a:pt x="3429" y="1531"/>
                </a:cubicBezTo>
                <a:cubicBezTo>
                  <a:pt x="3428" y="1538"/>
                  <a:pt x="3431" y="1544"/>
                  <a:pt x="3434" y="1549"/>
                </a:cubicBezTo>
                <a:cubicBezTo>
                  <a:pt x="3435" y="1550"/>
                  <a:pt x="3435" y="1552"/>
                  <a:pt x="3435" y="1553"/>
                </a:cubicBezTo>
                <a:cubicBezTo>
                  <a:pt x="3435" y="1555"/>
                  <a:pt x="3435" y="1556"/>
                  <a:pt x="3434" y="1557"/>
                </a:cubicBezTo>
                <a:cubicBezTo>
                  <a:pt x="3433" y="1559"/>
                  <a:pt x="3434" y="1560"/>
                  <a:pt x="3435" y="1561"/>
                </a:cubicBezTo>
                <a:cubicBezTo>
                  <a:pt x="3438" y="1561"/>
                  <a:pt x="3441" y="1562"/>
                  <a:pt x="3444" y="1562"/>
                </a:cubicBezTo>
                <a:cubicBezTo>
                  <a:pt x="3444" y="1562"/>
                  <a:pt x="3445" y="1561"/>
                  <a:pt x="3445" y="1561"/>
                </a:cubicBezTo>
                <a:cubicBezTo>
                  <a:pt x="3446" y="1560"/>
                  <a:pt x="3446" y="1558"/>
                  <a:pt x="3446" y="1557"/>
                </a:cubicBezTo>
                <a:cubicBezTo>
                  <a:pt x="3448" y="1555"/>
                  <a:pt x="3448" y="1552"/>
                  <a:pt x="3448" y="1549"/>
                </a:cubicBezTo>
                <a:cubicBezTo>
                  <a:pt x="3448" y="1549"/>
                  <a:pt x="3448" y="1549"/>
                  <a:pt x="3448" y="1548"/>
                </a:cubicBezTo>
                <a:cubicBezTo>
                  <a:pt x="3448" y="1548"/>
                  <a:pt x="3448" y="1548"/>
                  <a:pt x="3448" y="1548"/>
                </a:cubicBezTo>
                <a:cubicBezTo>
                  <a:pt x="3449" y="1550"/>
                  <a:pt x="3450" y="1550"/>
                  <a:pt x="3452" y="1550"/>
                </a:cubicBezTo>
                <a:cubicBezTo>
                  <a:pt x="3453" y="1550"/>
                  <a:pt x="3454" y="1550"/>
                  <a:pt x="3455" y="1550"/>
                </a:cubicBezTo>
                <a:cubicBezTo>
                  <a:pt x="3457" y="1550"/>
                  <a:pt x="3460" y="1551"/>
                  <a:pt x="3461" y="1547"/>
                </a:cubicBezTo>
                <a:cubicBezTo>
                  <a:pt x="3461" y="1549"/>
                  <a:pt x="3461" y="1551"/>
                  <a:pt x="3461" y="1551"/>
                </a:cubicBezTo>
                <a:cubicBezTo>
                  <a:pt x="3460" y="1552"/>
                  <a:pt x="3458" y="1553"/>
                  <a:pt x="3457" y="1553"/>
                </a:cubicBezTo>
                <a:cubicBezTo>
                  <a:pt x="3456" y="1554"/>
                  <a:pt x="3455" y="1556"/>
                  <a:pt x="3456" y="1557"/>
                </a:cubicBezTo>
                <a:cubicBezTo>
                  <a:pt x="3457" y="1559"/>
                  <a:pt x="3458" y="1561"/>
                  <a:pt x="3460" y="1563"/>
                </a:cubicBezTo>
                <a:cubicBezTo>
                  <a:pt x="3462" y="1564"/>
                  <a:pt x="3464" y="1564"/>
                  <a:pt x="3465" y="1562"/>
                </a:cubicBezTo>
                <a:cubicBezTo>
                  <a:pt x="3466" y="1561"/>
                  <a:pt x="3466" y="1561"/>
                  <a:pt x="3467" y="1560"/>
                </a:cubicBezTo>
                <a:cubicBezTo>
                  <a:pt x="3469" y="1559"/>
                  <a:pt x="3470" y="1557"/>
                  <a:pt x="3472" y="1556"/>
                </a:cubicBezTo>
                <a:cubicBezTo>
                  <a:pt x="3476" y="1552"/>
                  <a:pt x="3478" y="1546"/>
                  <a:pt x="3480" y="1540"/>
                </a:cubicBezTo>
                <a:cubicBezTo>
                  <a:pt x="3480" y="1540"/>
                  <a:pt x="3479" y="1539"/>
                  <a:pt x="3478" y="1538"/>
                </a:cubicBezTo>
                <a:cubicBezTo>
                  <a:pt x="3478" y="1537"/>
                  <a:pt x="3477" y="1536"/>
                  <a:pt x="3475" y="1536"/>
                </a:cubicBezTo>
                <a:close/>
                <a:moveTo>
                  <a:pt x="3428" y="1542"/>
                </a:moveTo>
                <a:cubicBezTo>
                  <a:pt x="3427" y="1543"/>
                  <a:pt x="3426" y="1544"/>
                  <a:pt x="3425" y="1545"/>
                </a:cubicBezTo>
                <a:cubicBezTo>
                  <a:pt x="3424" y="1545"/>
                  <a:pt x="3424" y="1546"/>
                  <a:pt x="3424" y="1547"/>
                </a:cubicBezTo>
                <a:cubicBezTo>
                  <a:pt x="3424" y="1549"/>
                  <a:pt x="3428" y="1554"/>
                  <a:pt x="3431" y="1553"/>
                </a:cubicBezTo>
                <a:cubicBezTo>
                  <a:pt x="3433" y="1553"/>
                  <a:pt x="3434" y="1552"/>
                  <a:pt x="3433" y="1551"/>
                </a:cubicBezTo>
                <a:cubicBezTo>
                  <a:pt x="3431" y="1548"/>
                  <a:pt x="3430" y="1545"/>
                  <a:pt x="3428" y="1542"/>
                </a:cubicBezTo>
                <a:close/>
                <a:moveTo>
                  <a:pt x="3481" y="1544"/>
                </a:moveTo>
                <a:cubicBezTo>
                  <a:pt x="3478" y="1549"/>
                  <a:pt x="3476" y="1553"/>
                  <a:pt x="3474" y="1557"/>
                </a:cubicBezTo>
                <a:cubicBezTo>
                  <a:pt x="3477" y="1557"/>
                  <a:pt x="3479" y="1558"/>
                  <a:pt x="3482" y="1557"/>
                </a:cubicBezTo>
                <a:cubicBezTo>
                  <a:pt x="3482" y="1557"/>
                  <a:pt x="3482" y="1556"/>
                  <a:pt x="3482" y="1556"/>
                </a:cubicBezTo>
                <a:cubicBezTo>
                  <a:pt x="3482" y="1553"/>
                  <a:pt x="3482" y="1551"/>
                  <a:pt x="3482" y="1548"/>
                </a:cubicBezTo>
                <a:cubicBezTo>
                  <a:pt x="3482" y="1547"/>
                  <a:pt x="3481" y="1546"/>
                  <a:pt x="3481" y="1544"/>
                </a:cubicBezTo>
                <a:close/>
                <a:moveTo>
                  <a:pt x="3428" y="1524"/>
                </a:moveTo>
                <a:cubicBezTo>
                  <a:pt x="3427" y="1524"/>
                  <a:pt x="3427" y="1525"/>
                  <a:pt x="3426" y="1525"/>
                </a:cubicBezTo>
                <a:cubicBezTo>
                  <a:pt x="3426" y="1525"/>
                  <a:pt x="3425" y="1525"/>
                  <a:pt x="3425" y="1524"/>
                </a:cubicBezTo>
                <a:cubicBezTo>
                  <a:pt x="3424" y="1524"/>
                  <a:pt x="3424" y="1523"/>
                  <a:pt x="3424" y="1522"/>
                </a:cubicBezTo>
                <a:cubicBezTo>
                  <a:pt x="3425" y="1520"/>
                  <a:pt x="3425" y="1518"/>
                  <a:pt x="3426" y="1516"/>
                </a:cubicBezTo>
                <a:cubicBezTo>
                  <a:pt x="3426" y="1516"/>
                  <a:pt x="3426" y="1516"/>
                  <a:pt x="3425" y="1516"/>
                </a:cubicBezTo>
                <a:cubicBezTo>
                  <a:pt x="3424" y="1517"/>
                  <a:pt x="3423" y="1518"/>
                  <a:pt x="3422" y="1519"/>
                </a:cubicBezTo>
                <a:cubicBezTo>
                  <a:pt x="3422" y="1520"/>
                  <a:pt x="3423" y="1525"/>
                  <a:pt x="3425" y="1526"/>
                </a:cubicBezTo>
                <a:cubicBezTo>
                  <a:pt x="3426" y="1527"/>
                  <a:pt x="3428" y="1526"/>
                  <a:pt x="3428" y="1524"/>
                </a:cubicBezTo>
                <a:close/>
                <a:moveTo>
                  <a:pt x="3428" y="1542"/>
                </a:moveTo>
                <a:cubicBezTo>
                  <a:pt x="3427" y="1543"/>
                  <a:pt x="3426" y="1544"/>
                  <a:pt x="3424" y="1545"/>
                </a:cubicBezTo>
                <a:cubicBezTo>
                  <a:pt x="3424" y="1545"/>
                  <a:pt x="3424" y="1546"/>
                  <a:pt x="3424" y="1547"/>
                </a:cubicBezTo>
                <a:cubicBezTo>
                  <a:pt x="3424" y="1550"/>
                  <a:pt x="3428" y="1554"/>
                  <a:pt x="3431" y="1554"/>
                </a:cubicBezTo>
                <a:cubicBezTo>
                  <a:pt x="3433" y="1554"/>
                  <a:pt x="3434" y="1553"/>
                  <a:pt x="3433" y="1551"/>
                </a:cubicBezTo>
                <a:cubicBezTo>
                  <a:pt x="3431" y="1548"/>
                  <a:pt x="3430" y="1545"/>
                  <a:pt x="3428" y="1542"/>
                </a:cubicBezTo>
                <a:close/>
                <a:moveTo>
                  <a:pt x="3481" y="1544"/>
                </a:moveTo>
                <a:cubicBezTo>
                  <a:pt x="3478" y="1549"/>
                  <a:pt x="3476" y="1553"/>
                  <a:pt x="3474" y="1558"/>
                </a:cubicBezTo>
                <a:cubicBezTo>
                  <a:pt x="3476" y="1558"/>
                  <a:pt x="3479" y="1558"/>
                  <a:pt x="3481" y="1558"/>
                </a:cubicBezTo>
                <a:cubicBezTo>
                  <a:pt x="3482" y="1558"/>
                  <a:pt x="3482" y="1556"/>
                  <a:pt x="3482" y="1556"/>
                </a:cubicBezTo>
                <a:cubicBezTo>
                  <a:pt x="3482" y="1553"/>
                  <a:pt x="3482" y="1551"/>
                  <a:pt x="3482" y="1548"/>
                </a:cubicBezTo>
                <a:cubicBezTo>
                  <a:pt x="3481" y="1547"/>
                  <a:pt x="3481" y="1546"/>
                  <a:pt x="3481" y="1544"/>
                </a:cubicBezTo>
                <a:close/>
                <a:moveTo>
                  <a:pt x="3428" y="1524"/>
                </a:moveTo>
                <a:cubicBezTo>
                  <a:pt x="3427" y="1524"/>
                  <a:pt x="3427" y="1525"/>
                  <a:pt x="3426" y="1525"/>
                </a:cubicBezTo>
                <a:cubicBezTo>
                  <a:pt x="3425" y="1525"/>
                  <a:pt x="3425" y="1525"/>
                  <a:pt x="3425" y="1524"/>
                </a:cubicBezTo>
                <a:cubicBezTo>
                  <a:pt x="3424" y="1524"/>
                  <a:pt x="3424" y="1523"/>
                  <a:pt x="3424" y="1522"/>
                </a:cubicBezTo>
                <a:cubicBezTo>
                  <a:pt x="3425" y="1520"/>
                  <a:pt x="3425" y="1518"/>
                  <a:pt x="3426" y="1516"/>
                </a:cubicBezTo>
                <a:cubicBezTo>
                  <a:pt x="3425" y="1516"/>
                  <a:pt x="3425" y="1516"/>
                  <a:pt x="3425" y="1516"/>
                </a:cubicBezTo>
                <a:cubicBezTo>
                  <a:pt x="3424" y="1517"/>
                  <a:pt x="3423" y="1518"/>
                  <a:pt x="3423" y="1519"/>
                </a:cubicBezTo>
                <a:cubicBezTo>
                  <a:pt x="3422" y="1520"/>
                  <a:pt x="3423" y="1526"/>
                  <a:pt x="3425" y="1526"/>
                </a:cubicBezTo>
                <a:cubicBezTo>
                  <a:pt x="3426" y="1527"/>
                  <a:pt x="3428" y="1526"/>
                  <a:pt x="3428" y="1524"/>
                </a:cubicBezTo>
                <a:close/>
                <a:moveTo>
                  <a:pt x="3480" y="1516"/>
                </a:moveTo>
                <a:cubicBezTo>
                  <a:pt x="3484" y="1512"/>
                  <a:pt x="3484" y="1512"/>
                  <a:pt x="3488" y="1511"/>
                </a:cubicBezTo>
                <a:cubicBezTo>
                  <a:pt x="3488" y="1513"/>
                  <a:pt x="3489" y="1514"/>
                  <a:pt x="3490" y="1514"/>
                </a:cubicBezTo>
                <a:cubicBezTo>
                  <a:pt x="3488" y="1515"/>
                  <a:pt x="3486" y="1517"/>
                  <a:pt x="3484" y="1518"/>
                </a:cubicBezTo>
                <a:cubicBezTo>
                  <a:pt x="3483" y="1517"/>
                  <a:pt x="3483" y="1517"/>
                  <a:pt x="3482" y="1515"/>
                </a:cubicBezTo>
                <a:cubicBezTo>
                  <a:pt x="3482" y="1515"/>
                  <a:pt x="3481" y="1515"/>
                  <a:pt x="3480" y="1516"/>
                </a:cubicBezTo>
                <a:close/>
                <a:moveTo>
                  <a:pt x="3486" y="1515"/>
                </a:moveTo>
                <a:cubicBezTo>
                  <a:pt x="3486" y="1515"/>
                  <a:pt x="3485" y="1515"/>
                  <a:pt x="3484" y="1515"/>
                </a:cubicBezTo>
                <a:cubicBezTo>
                  <a:pt x="3484" y="1515"/>
                  <a:pt x="3483" y="1515"/>
                  <a:pt x="3483" y="1516"/>
                </a:cubicBezTo>
                <a:cubicBezTo>
                  <a:pt x="3483" y="1516"/>
                  <a:pt x="3484" y="1517"/>
                  <a:pt x="3484" y="1517"/>
                </a:cubicBezTo>
                <a:cubicBezTo>
                  <a:pt x="3485" y="1517"/>
                  <a:pt x="3485" y="1516"/>
                  <a:pt x="3486" y="1515"/>
                </a:cubicBezTo>
                <a:close/>
                <a:moveTo>
                  <a:pt x="3467" y="1505"/>
                </a:moveTo>
                <a:cubicBezTo>
                  <a:pt x="3461" y="1505"/>
                  <a:pt x="3458" y="1507"/>
                  <a:pt x="3457" y="1515"/>
                </a:cubicBezTo>
                <a:cubicBezTo>
                  <a:pt x="3458" y="1513"/>
                  <a:pt x="3459" y="1511"/>
                  <a:pt x="3460" y="1508"/>
                </a:cubicBezTo>
                <a:cubicBezTo>
                  <a:pt x="3461" y="1508"/>
                  <a:pt x="3461" y="1508"/>
                  <a:pt x="3461" y="1508"/>
                </a:cubicBezTo>
                <a:cubicBezTo>
                  <a:pt x="3461" y="1510"/>
                  <a:pt x="3461" y="1510"/>
                  <a:pt x="3461" y="1511"/>
                </a:cubicBezTo>
                <a:cubicBezTo>
                  <a:pt x="3462" y="1508"/>
                  <a:pt x="3464" y="1506"/>
                  <a:pt x="3467" y="1505"/>
                </a:cubicBezTo>
                <a:close/>
                <a:moveTo>
                  <a:pt x="3511" y="1507"/>
                </a:moveTo>
                <a:cubicBezTo>
                  <a:pt x="3509" y="1508"/>
                  <a:pt x="3507" y="1510"/>
                  <a:pt x="3506" y="1511"/>
                </a:cubicBezTo>
                <a:cubicBezTo>
                  <a:pt x="3508" y="1511"/>
                  <a:pt x="3510" y="1510"/>
                  <a:pt x="3511" y="1507"/>
                </a:cubicBezTo>
                <a:close/>
                <a:moveTo>
                  <a:pt x="3478" y="1509"/>
                </a:moveTo>
                <a:cubicBezTo>
                  <a:pt x="3479" y="1508"/>
                  <a:pt x="3480" y="1506"/>
                  <a:pt x="3481" y="1505"/>
                </a:cubicBezTo>
                <a:cubicBezTo>
                  <a:pt x="3478" y="1506"/>
                  <a:pt x="3477" y="1507"/>
                  <a:pt x="3478" y="1509"/>
                </a:cubicBezTo>
                <a:close/>
                <a:moveTo>
                  <a:pt x="3488" y="1531"/>
                </a:moveTo>
                <a:cubicBezTo>
                  <a:pt x="3486" y="1531"/>
                  <a:pt x="3485" y="1532"/>
                  <a:pt x="3485" y="1533"/>
                </a:cubicBezTo>
                <a:cubicBezTo>
                  <a:pt x="3486" y="1532"/>
                  <a:pt x="3487" y="1531"/>
                  <a:pt x="3488" y="1531"/>
                </a:cubicBezTo>
                <a:close/>
                <a:moveTo>
                  <a:pt x="3487" y="1515"/>
                </a:moveTo>
                <a:cubicBezTo>
                  <a:pt x="3486" y="1515"/>
                  <a:pt x="3485" y="1514"/>
                  <a:pt x="3484" y="1514"/>
                </a:cubicBezTo>
                <a:cubicBezTo>
                  <a:pt x="3484" y="1514"/>
                  <a:pt x="3483" y="1515"/>
                  <a:pt x="3483" y="1515"/>
                </a:cubicBezTo>
                <a:cubicBezTo>
                  <a:pt x="3483" y="1516"/>
                  <a:pt x="3484" y="1516"/>
                  <a:pt x="3484" y="1517"/>
                </a:cubicBezTo>
                <a:cubicBezTo>
                  <a:pt x="3485" y="1516"/>
                  <a:pt x="3485" y="1516"/>
                  <a:pt x="3487" y="1515"/>
                </a:cubicBezTo>
                <a:close/>
                <a:moveTo>
                  <a:pt x="3034" y="1397"/>
                </a:moveTo>
                <a:cubicBezTo>
                  <a:pt x="3034" y="1397"/>
                  <a:pt x="3034" y="1397"/>
                  <a:pt x="3034" y="1397"/>
                </a:cubicBezTo>
                <a:cubicBezTo>
                  <a:pt x="3029" y="1397"/>
                  <a:pt x="3029" y="1397"/>
                  <a:pt x="3029" y="1397"/>
                </a:cubicBezTo>
                <a:cubicBezTo>
                  <a:pt x="3027" y="1398"/>
                  <a:pt x="3026" y="1400"/>
                  <a:pt x="3024" y="1400"/>
                </a:cubicBezTo>
                <a:cubicBezTo>
                  <a:pt x="3022" y="1402"/>
                  <a:pt x="3020" y="1402"/>
                  <a:pt x="3018" y="1403"/>
                </a:cubicBezTo>
                <a:cubicBezTo>
                  <a:pt x="3017" y="1405"/>
                  <a:pt x="3015" y="1405"/>
                  <a:pt x="3013" y="1406"/>
                </a:cubicBezTo>
                <a:cubicBezTo>
                  <a:pt x="3011" y="1407"/>
                  <a:pt x="3010" y="1408"/>
                  <a:pt x="3008" y="1408"/>
                </a:cubicBezTo>
                <a:cubicBezTo>
                  <a:pt x="3008" y="1408"/>
                  <a:pt x="3008" y="1408"/>
                  <a:pt x="3008" y="1418"/>
                </a:cubicBezTo>
                <a:cubicBezTo>
                  <a:pt x="3010" y="1417"/>
                  <a:pt x="3013" y="1416"/>
                  <a:pt x="3016" y="1415"/>
                </a:cubicBezTo>
                <a:cubicBezTo>
                  <a:pt x="3018" y="1414"/>
                  <a:pt x="3021" y="1413"/>
                  <a:pt x="3023" y="1411"/>
                </a:cubicBezTo>
                <a:cubicBezTo>
                  <a:pt x="3023" y="1411"/>
                  <a:pt x="3023" y="1411"/>
                  <a:pt x="3023" y="1470"/>
                </a:cubicBezTo>
                <a:cubicBezTo>
                  <a:pt x="3023" y="1470"/>
                  <a:pt x="3023" y="1470"/>
                  <a:pt x="3034" y="1470"/>
                </a:cubicBezTo>
                <a:cubicBezTo>
                  <a:pt x="3034" y="1470"/>
                  <a:pt x="3034" y="1470"/>
                  <a:pt x="3034" y="1397"/>
                </a:cubicBezTo>
                <a:close/>
                <a:moveTo>
                  <a:pt x="3081" y="1397"/>
                </a:moveTo>
                <a:cubicBezTo>
                  <a:pt x="3081" y="1397"/>
                  <a:pt x="3081" y="1397"/>
                  <a:pt x="3081" y="1397"/>
                </a:cubicBezTo>
                <a:cubicBezTo>
                  <a:pt x="3076" y="1397"/>
                  <a:pt x="3076" y="1397"/>
                  <a:pt x="3076" y="1397"/>
                </a:cubicBezTo>
                <a:cubicBezTo>
                  <a:pt x="3075" y="1398"/>
                  <a:pt x="3073" y="1400"/>
                  <a:pt x="3071" y="1400"/>
                </a:cubicBezTo>
                <a:cubicBezTo>
                  <a:pt x="3069" y="1402"/>
                  <a:pt x="3067" y="1402"/>
                  <a:pt x="3065" y="1403"/>
                </a:cubicBezTo>
                <a:cubicBezTo>
                  <a:pt x="3064" y="1405"/>
                  <a:pt x="3061" y="1405"/>
                  <a:pt x="3060" y="1406"/>
                </a:cubicBezTo>
                <a:cubicBezTo>
                  <a:pt x="3058" y="1407"/>
                  <a:pt x="3056" y="1408"/>
                  <a:pt x="3054" y="1408"/>
                </a:cubicBezTo>
                <a:cubicBezTo>
                  <a:pt x="3054" y="1408"/>
                  <a:pt x="3054" y="1408"/>
                  <a:pt x="3054" y="1418"/>
                </a:cubicBezTo>
                <a:cubicBezTo>
                  <a:pt x="3057" y="1417"/>
                  <a:pt x="3060" y="1416"/>
                  <a:pt x="3063" y="1415"/>
                </a:cubicBezTo>
                <a:cubicBezTo>
                  <a:pt x="3065" y="1414"/>
                  <a:pt x="3067" y="1413"/>
                  <a:pt x="3070" y="1411"/>
                </a:cubicBezTo>
                <a:cubicBezTo>
                  <a:pt x="3070" y="1411"/>
                  <a:pt x="3070" y="1411"/>
                  <a:pt x="3070" y="1470"/>
                </a:cubicBezTo>
                <a:cubicBezTo>
                  <a:pt x="3070" y="1470"/>
                  <a:pt x="3070" y="1470"/>
                  <a:pt x="3081" y="1470"/>
                </a:cubicBezTo>
                <a:cubicBezTo>
                  <a:pt x="3081" y="1470"/>
                  <a:pt x="3081" y="1470"/>
                  <a:pt x="3081" y="1397"/>
                </a:cubicBezTo>
                <a:close/>
                <a:moveTo>
                  <a:pt x="3127" y="1397"/>
                </a:moveTo>
                <a:cubicBezTo>
                  <a:pt x="3127" y="1397"/>
                  <a:pt x="3127" y="1397"/>
                  <a:pt x="3127" y="1397"/>
                </a:cubicBezTo>
                <a:cubicBezTo>
                  <a:pt x="3123" y="1397"/>
                  <a:pt x="3123" y="1397"/>
                  <a:pt x="3123" y="1397"/>
                </a:cubicBezTo>
                <a:cubicBezTo>
                  <a:pt x="3121" y="1398"/>
                  <a:pt x="3119" y="1400"/>
                  <a:pt x="3117" y="1400"/>
                </a:cubicBezTo>
                <a:cubicBezTo>
                  <a:pt x="3116" y="1402"/>
                  <a:pt x="3113" y="1402"/>
                  <a:pt x="3112" y="1403"/>
                </a:cubicBezTo>
                <a:cubicBezTo>
                  <a:pt x="3110" y="1404"/>
                  <a:pt x="3108" y="1405"/>
                  <a:pt x="3106" y="1405"/>
                </a:cubicBezTo>
                <a:cubicBezTo>
                  <a:pt x="3105" y="1406"/>
                  <a:pt x="3103" y="1407"/>
                  <a:pt x="3101" y="1408"/>
                </a:cubicBezTo>
                <a:cubicBezTo>
                  <a:pt x="3101" y="1408"/>
                  <a:pt x="3101" y="1408"/>
                  <a:pt x="3101" y="1418"/>
                </a:cubicBezTo>
                <a:cubicBezTo>
                  <a:pt x="3104" y="1417"/>
                  <a:pt x="3107" y="1416"/>
                  <a:pt x="3109" y="1415"/>
                </a:cubicBezTo>
                <a:cubicBezTo>
                  <a:pt x="3111" y="1414"/>
                  <a:pt x="3114" y="1413"/>
                  <a:pt x="3116" y="1411"/>
                </a:cubicBezTo>
                <a:cubicBezTo>
                  <a:pt x="3116" y="1411"/>
                  <a:pt x="3116" y="1411"/>
                  <a:pt x="3116" y="1470"/>
                </a:cubicBezTo>
                <a:cubicBezTo>
                  <a:pt x="3116" y="1470"/>
                  <a:pt x="3116" y="1470"/>
                  <a:pt x="3127" y="1470"/>
                </a:cubicBezTo>
                <a:cubicBezTo>
                  <a:pt x="3127" y="1470"/>
                  <a:pt x="3127" y="1470"/>
                  <a:pt x="3127" y="1397"/>
                </a:cubicBezTo>
                <a:close/>
                <a:moveTo>
                  <a:pt x="3264" y="1429"/>
                </a:moveTo>
                <a:cubicBezTo>
                  <a:pt x="3264" y="1429"/>
                  <a:pt x="3264" y="1429"/>
                  <a:pt x="3264" y="1429"/>
                </a:cubicBezTo>
                <a:cubicBezTo>
                  <a:pt x="3263" y="1437"/>
                  <a:pt x="3263" y="1437"/>
                  <a:pt x="3263" y="1437"/>
                </a:cubicBezTo>
                <a:cubicBezTo>
                  <a:pt x="3270" y="1438"/>
                  <a:pt x="3271" y="1441"/>
                  <a:pt x="3271" y="1443"/>
                </a:cubicBezTo>
                <a:cubicBezTo>
                  <a:pt x="3271" y="1445"/>
                  <a:pt x="3270" y="1448"/>
                  <a:pt x="3270" y="1450"/>
                </a:cubicBezTo>
                <a:cubicBezTo>
                  <a:pt x="3270" y="1453"/>
                  <a:pt x="3269" y="1455"/>
                  <a:pt x="3269" y="1457"/>
                </a:cubicBezTo>
                <a:cubicBezTo>
                  <a:pt x="3269" y="1467"/>
                  <a:pt x="3275" y="1470"/>
                  <a:pt x="3284" y="1470"/>
                </a:cubicBezTo>
                <a:cubicBezTo>
                  <a:pt x="3284" y="1470"/>
                  <a:pt x="3284" y="1470"/>
                  <a:pt x="3288" y="1470"/>
                </a:cubicBezTo>
                <a:cubicBezTo>
                  <a:pt x="3288" y="1470"/>
                  <a:pt x="3288" y="1470"/>
                  <a:pt x="3288" y="1461"/>
                </a:cubicBezTo>
                <a:cubicBezTo>
                  <a:pt x="3288" y="1461"/>
                  <a:pt x="3288" y="1461"/>
                  <a:pt x="3286" y="1461"/>
                </a:cubicBezTo>
                <a:cubicBezTo>
                  <a:pt x="3283" y="1461"/>
                  <a:pt x="3281" y="1459"/>
                  <a:pt x="3281" y="1455"/>
                </a:cubicBezTo>
                <a:cubicBezTo>
                  <a:pt x="3281" y="1454"/>
                  <a:pt x="3281" y="1452"/>
                  <a:pt x="3282" y="1450"/>
                </a:cubicBezTo>
                <a:cubicBezTo>
                  <a:pt x="3282" y="1449"/>
                  <a:pt x="3282" y="1447"/>
                  <a:pt x="3282" y="1444"/>
                </a:cubicBezTo>
                <a:cubicBezTo>
                  <a:pt x="3282" y="1437"/>
                  <a:pt x="3279" y="1434"/>
                  <a:pt x="3274" y="1433"/>
                </a:cubicBezTo>
                <a:cubicBezTo>
                  <a:pt x="3274" y="1433"/>
                  <a:pt x="3274" y="1433"/>
                  <a:pt x="3274" y="1433"/>
                </a:cubicBezTo>
                <a:cubicBezTo>
                  <a:pt x="3279" y="1432"/>
                  <a:pt x="3282" y="1429"/>
                  <a:pt x="3282" y="1422"/>
                </a:cubicBezTo>
                <a:cubicBezTo>
                  <a:pt x="3282" y="1419"/>
                  <a:pt x="3282" y="1417"/>
                  <a:pt x="3282" y="1416"/>
                </a:cubicBezTo>
                <a:cubicBezTo>
                  <a:pt x="3281" y="1414"/>
                  <a:pt x="3281" y="1412"/>
                  <a:pt x="3281" y="1411"/>
                </a:cubicBezTo>
                <a:cubicBezTo>
                  <a:pt x="3281" y="1407"/>
                  <a:pt x="3283" y="1405"/>
                  <a:pt x="3286" y="1405"/>
                </a:cubicBezTo>
                <a:cubicBezTo>
                  <a:pt x="3286" y="1405"/>
                  <a:pt x="3286" y="1405"/>
                  <a:pt x="3288" y="1405"/>
                </a:cubicBezTo>
                <a:cubicBezTo>
                  <a:pt x="3288" y="1405"/>
                  <a:pt x="3288" y="1405"/>
                  <a:pt x="3288" y="1396"/>
                </a:cubicBezTo>
                <a:cubicBezTo>
                  <a:pt x="3288" y="1396"/>
                  <a:pt x="3288" y="1396"/>
                  <a:pt x="3284" y="1396"/>
                </a:cubicBezTo>
                <a:cubicBezTo>
                  <a:pt x="3275" y="1396"/>
                  <a:pt x="3269" y="1400"/>
                  <a:pt x="3269" y="1408"/>
                </a:cubicBezTo>
                <a:cubicBezTo>
                  <a:pt x="3269" y="1411"/>
                  <a:pt x="3270" y="1413"/>
                  <a:pt x="3270" y="1416"/>
                </a:cubicBezTo>
                <a:cubicBezTo>
                  <a:pt x="3270" y="1418"/>
                  <a:pt x="3271" y="1421"/>
                  <a:pt x="3271" y="1423"/>
                </a:cubicBezTo>
                <a:cubicBezTo>
                  <a:pt x="3271" y="1425"/>
                  <a:pt x="3270" y="1429"/>
                  <a:pt x="3264" y="1429"/>
                </a:cubicBezTo>
                <a:close/>
                <a:moveTo>
                  <a:pt x="3319" y="1437"/>
                </a:moveTo>
                <a:cubicBezTo>
                  <a:pt x="3319" y="1437"/>
                  <a:pt x="3319" y="1437"/>
                  <a:pt x="3319" y="1437"/>
                </a:cubicBezTo>
                <a:cubicBezTo>
                  <a:pt x="3319" y="1429"/>
                  <a:pt x="3319" y="1429"/>
                  <a:pt x="3319" y="1429"/>
                </a:cubicBezTo>
                <a:cubicBezTo>
                  <a:pt x="3312" y="1429"/>
                  <a:pt x="3312" y="1425"/>
                  <a:pt x="3312" y="1423"/>
                </a:cubicBezTo>
                <a:cubicBezTo>
                  <a:pt x="3312" y="1421"/>
                  <a:pt x="3312" y="1418"/>
                  <a:pt x="3312" y="1416"/>
                </a:cubicBezTo>
                <a:cubicBezTo>
                  <a:pt x="3313" y="1413"/>
                  <a:pt x="3313" y="1411"/>
                  <a:pt x="3313" y="1408"/>
                </a:cubicBezTo>
                <a:cubicBezTo>
                  <a:pt x="3313" y="1400"/>
                  <a:pt x="3307" y="1396"/>
                  <a:pt x="3298" y="1396"/>
                </a:cubicBezTo>
                <a:cubicBezTo>
                  <a:pt x="3298" y="1396"/>
                  <a:pt x="3298" y="1396"/>
                  <a:pt x="3295" y="1396"/>
                </a:cubicBezTo>
                <a:cubicBezTo>
                  <a:pt x="3295" y="1396"/>
                  <a:pt x="3295" y="1396"/>
                  <a:pt x="3295" y="1405"/>
                </a:cubicBezTo>
                <a:cubicBezTo>
                  <a:pt x="3295" y="1405"/>
                  <a:pt x="3295" y="1405"/>
                  <a:pt x="3296" y="1405"/>
                </a:cubicBezTo>
                <a:cubicBezTo>
                  <a:pt x="3300" y="1405"/>
                  <a:pt x="3301" y="1407"/>
                  <a:pt x="3301" y="1411"/>
                </a:cubicBezTo>
                <a:cubicBezTo>
                  <a:pt x="3301" y="1412"/>
                  <a:pt x="3301" y="1414"/>
                  <a:pt x="3301" y="1416"/>
                </a:cubicBezTo>
                <a:cubicBezTo>
                  <a:pt x="3300" y="1417"/>
                  <a:pt x="3300" y="1419"/>
                  <a:pt x="3300" y="1422"/>
                </a:cubicBezTo>
                <a:cubicBezTo>
                  <a:pt x="3300" y="1429"/>
                  <a:pt x="3303" y="1432"/>
                  <a:pt x="3309" y="1433"/>
                </a:cubicBezTo>
                <a:cubicBezTo>
                  <a:pt x="3309" y="1433"/>
                  <a:pt x="3309" y="1433"/>
                  <a:pt x="3309" y="1433"/>
                </a:cubicBezTo>
                <a:cubicBezTo>
                  <a:pt x="3303" y="1434"/>
                  <a:pt x="3300" y="1437"/>
                  <a:pt x="3300" y="1444"/>
                </a:cubicBezTo>
                <a:cubicBezTo>
                  <a:pt x="3300" y="1447"/>
                  <a:pt x="3300" y="1449"/>
                  <a:pt x="3301" y="1450"/>
                </a:cubicBezTo>
                <a:cubicBezTo>
                  <a:pt x="3301" y="1452"/>
                  <a:pt x="3301" y="1454"/>
                  <a:pt x="3301" y="1455"/>
                </a:cubicBezTo>
                <a:cubicBezTo>
                  <a:pt x="3301" y="1459"/>
                  <a:pt x="3300" y="1461"/>
                  <a:pt x="3296" y="1461"/>
                </a:cubicBezTo>
                <a:cubicBezTo>
                  <a:pt x="3296" y="1461"/>
                  <a:pt x="3296" y="1461"/>
                  <a:pt x="3295" y="1461"/>
                </a:cubicBezTo>
                <a:cubicBezTo>
                  <a:pt x="3295" y="1461"/>
                  <a:pt x="3295" y="1461"/>
                  <a:pt x="3295" y="1470"/>
                </a:cubicBezTo>
                <a:cubicBezTo>
                  <a:pt x="3295" y="1470"/>
                  <a:pt x="3295" y="1470"/>
                  <a:pt x="3298" y="1470"/>
                </a:cubicBezTo>
                <a:cubicBezTo>
                  <a:pt x="3307" y="1470"/>
                  <a:pt x="3313" y="1467"/>
                  <a:pt x="3313" y="1457"/>
                </a:cubicBezTo>
                <a:cubicBezTo>
                  <a:pt x="3313" y="1455"/>
                  <a:pt x="3313" y="1453"/>
                  <a:pt x="3312" y="1450"/>
                </a:cubicBezTo>
                <a:cubicBezTo>
                  <a:pt x="3312" y="1448"/>
                  <a:pt x="3312" y="1445"/>
                  <a:pt x="3312" y="1443"/>
                </a:cubicBezTo>
                <a:cubicBezTo>
                  <a:pt x="3312" y="1441"/>
                  <a:pt x="3312" y="1438"/>
                  <a:pt x="3319" y="1437"/>
                </a:cubicBezTo>
                <a:close/>
                <a:moveTo>
                  <a:pt x="3366" y="1397"/>
                </a:moveTo>
                <a:cubicBezTo>
                  <a:pt x="3366" y="1397"/>
                  <a:pt x="3366" y="1397"/>
                  <a:pt x="3366" y="1397"/>
                </a:cubicBezTo>
                <a:cubicBezTo>
                  <a:pt x="3360" y="1397"/>
                  <a:pt x="3360" y="1397"/>
                  <a:pt x="3360" y="1397"/>
                </a:cubicBezTo>
                <a:cubicBezTo>
                  <a:pt x="3358" y="1398"/>
                  <a:pt x="3357" y="1400"/>
                  <a:pt x="3355" y="1400"/>
                </a:cubicBezTo>
                <a:cubicBezTo>
                  <a:pt x="3353" y="1402"/>
                  <a:pt x="3351" y="1402"/>
                  <a:pt x="3349" y="1403"/>
                </a:cubicBezTo>
                <a:cubicBezTo>
                  <a:pt x="3347" y="1404"/>
                  <a:pt x="3346" y="1405"/>
                  <a:pt x="3344" y="1405"/>
                </a:cubicBezTo>
                <a:cubicBezTo>
                  <a:pt x="3342" y="1406"/>
                  <a:pt x="3340" y="1407"/>
                  <a:pt x="3338" y="1408"/>
                </a:cubicBezTo>
                <a:cubicBezTo>
                  <a:pt x="3338" y="1408"/>
                  <a:pt x="3338" y="1408"/>
                  <a:pt x="3338" y="1418"/>
                </a:cubicBezTo>
                <a:cubicBezTo>
                  <a:pt x="3341" y="1417"/>
                  <a:pt x="3344" y="1416"/>
                  <a:pt x="3346" y="1415"/>
                </a:cubicBezTo>
                <a:cubicBezTo>
                  <a:pt x="3349" y="1414"/>
                  <a:pt x="3352" y="1413"/>
                  <a:pt x="3354" y="1411"/>
                </a:cubicBezTo>
                <a:cubicBezTo>
                  <a:pt x="3354" y="1411"/>
                  <a:pt x="3354" y="1411"/>
                  <a:pt x="3354" y="1470"/>
                </a:cubicBezTo>
                <a:cubicBezTo>
                  <a:pt x="3354" y="1470"/>
                  <a:pt x="3354" y="1470"/>
                  <a:pt x="3366" y="1470"/>
                </a:cubicBezTo>
                <a:cubicBezTo>
                  <a:pt x="3366" y="1470"/>
                  <a:pt x="3366" y="1470"/>
                  <a:pt x="3366" y="1397"/>
                </a:cubicBezTo>
                <a:close/>
                <a:moveTo>
                  <a:pt x="3412" y="1397"/>
                </a:moveTo>
                <a:cubicBezTo>
                  <a:pt x="3412" y="1397"/>
                  <a:pt x="3412" y="1397"/>
                  <a:pt x="3412" y="1397"/>
                </a:cubicBezTo>
                <a:cubicBezTo>
                  <a:pt x="3407" y="1397"/>
                  <a:pt x="3407" y="1397"/>
                  <a:pt x="3407" y="1397"/>
                </a:cubicBezTo>
                <a:cubicBezTo>
                  <a:pt x="3405" y="1398"/>
                  <a:pt x="3403" y="1400"/>
                  <a:pt x="3401" y="1400"/>
                </a:cubicBezTo>
                <a:cubicBezTo>
                  <a:pt x="3400" y="1402"/>
                  <a:pt x="3397" y="1402"/>
                  <a:pt x="3396" y="1403"/>
                </a:cubicBezTo>
                <a:cubicBezTo>
                  <a:pt x="3395" y="1405"/>
                  <a:pt x="3392" y="1405"/>
                  <a:pt x="3391" y="1406"/>
                </a:cubicBezTo>
                <a:cubicBezTo>
                  <a:pt x="3389" y="1407"/>
                  <a:pt x="3387" y="1408"/>
                  <a:pt x="3385" y="1408"/>
                </a:cubicBezTo>
                <a:cubicBezTo>
                  <a:pt x="3385" y="1408"/>
                  <a:pt x="3385" y="1408"/>
                  <a:pt x="3385" y="1418"/>
                </a:cubicBezTo>
                <a:cubicBezTo>
                  <a:pt x="3388" y="1417"/>
                  <a:pt x="3391" y="1416"/>
                  <a:pt x="3393" y="1415"/>
                </a:cubicBezTo>
                <a:cubicBezTo>
                  <a:pt x="3396" y="1414"/>
                  <a:pt x="3398" y="1413"/>
                  <a:pt x="3400" y="1411"/>
                </a:cubicBezTo>
                <a:cubicBezTo>
                  <a:pt x="3400" y="1411"/>
                  <a:pt x="3400" y="1411"/>
                  <a:pt x="3400" y="1470"/>
                </a:cubicBezTo>
                <a:cubicBezTo>
                  <a:pt x="3400" y="1470"/>
                  <a:pt x="3400" y="1470"/>
                  <a:pt x="3412" y="1470"/>
                </a:cubicBezTo>
                <a:cubicBezTo>
                  <a:pt x="3412" y="1470"/>
                  <a:pt x="3412" y="1470"/>
                  <a:pt x="3412" y="1397"/>
                </a:cubicBezTo>
                <a:close/>
                <a:moveTo>
                  <a:pt x="3458" y="1397"/>
                </a:moveTo>
                <a:cubicBezTo>
                  <a:pt x="3458" y="1397"/>
                  <a:pt x="3458" y="1397"/>
                  <a:pt x="3458" y="1397"/>
                </a:cubicBezTo>
                <a:cubicBezTo>
                  <a:pt x="3453" y="1397"/>
                  <a:pt x="3453" y="1397"/>
                  <a:pt x="3453" y="1397"/>
                </a:cubicBezTo>
                <a:cubicBezTo>
                  <a:pt x="3451" y="1398"/>
                  <a:pt x="3450" y="1400"/>
                  <a:pt x="3448" y="1400"/>
                </a:cubicBezTo>
                <a:cubicBezTo>
                  <a:pt x="3446" y="1402"/>
                  <a:pt x="3444" y="1402"/>
                  <a:pt x="3443" y="1403"/>
                </a:cubicBezTo>
                <a:cubicBezTo>
                  <a:pt x="3440" y="1405"/>
                  <a:pt x="3439" y="1405"/>
                  <a:pt x="3437" y="1406"/>
                </a:cubicBezTo>
                <a:cubicBezTo>
                  <a:pt x="3435" y="1407"/>
                  <a:pt x="3433" y="1408"/>
                  <a:pt x="3432" y="1408"/>
                </a:cubicBezTo>
                <a:cubicBezTo>
                  <a:pt x="3432" y="1408"/>
                  <a:pt x="3432" y="1408"/>
                  <a:pt x="3432" y="1418"/>
                </a:cubicBezTo>
                <a:cubicBezTo>
                  <a:pt x="3435" y="1417"/>
                  <a:pt x="3438" y="1416"/>
                  <a:pt x="3440" y="1415"/>
                </a:cubicBezTo>
                <a:cubicBezTo>
                  <a:pt x="3442" y="1414"/>
                  <a:pt x="3445" y="1413"/>
                  <a:pt x="3446" y="1411"/>
                </a:cubicBezTo>
                <a:cubicBezTo>
                  <a:pt x="3446" y="1411"/>
                  <a:pt x="3446" y="1411"/>
                  <a:pt x="3446" y="1470"/>
                </a:cubicBezTo>
                <a:cubicBezTo>
                  <a:pt x="3446" y="1470"/>
                  <a:pt x="3446" y="1470"/>
                  <a:pt x="3458" y="1470"/>
                </a:cubicBezTo>
                <a:cubicBezTo>
                  <a:pt x="3458" y="1470"/>
                  <a:pt x="3458" y="1470"/>
                  <a:pt x="3458" y="1397"/>
                </a:cubicBezTo>
                <a:close/>
                <a:moveTo>
                  <a:pt x="3207" y="1444"/>
                </a:moveTo>
                <a:cubicBezTo>
                  <a:pt x="3208" y="1446"/>
                  <a:pt x="3208" y="1447"/>
                  <a:pt x="3209" y="1448"/>
                </a:cubicBezTo>
                <a:cubicBezTo>
                  <a:pt x="3209" y="1450"/>
                  <a:pt x="3210" y="1452"/>
                  <a:pt x="3210" y="1453"/>
                </a:cubicBezTo>
                <a:cubicBezTo>
                  <a:pt x="3210" y="1455"/>
                  <a:pt x="3210" y="1457"/>
                  <a:pt x="3210" y="1458"/>
                </a:cubicBezTo>
                <a:cubicBezTo>
                  <a:pt x="3211" y="1461"/>
                  <a:pt x="3210" y="1463"/>
                  <a:pt x="3207" y="1463"/>
                </a:cubicBezTo>
                <a:cubicBezTo>
                  <a:pt x="3204" y="1463"/>
                  <a:pt x="3201" y="1463"/>
                  <a:pt x="3199" y="1463"/>
                </a:cubicBezTo>
                <a:cubicBezTo>
                  <a:pt x="3198" y="1463"/>
                  <a:pt x="3197" y="1463"/>
                  <a:pt x="3197" y="1463"/>
                </a:cubicBezTo>
                <a:cubicBezTo>
                  <a:pt x="3195" y="1465"/>
                  <a:pt x="3194" y="1466"/>
                  <a:pt x="3193" y="1467"/>
                </a:cubicBezTo>
                <a:cubicBezTo>
                  <a:pt x="3191" y="1470"/>
                  <a:pt x="3188" y="1470"/>
                  <a:pt x="3185" y="1468"/>
                </a:cubicBezTo>
                <a:cubicBezTo>
                  <a:pt x="3183" y="1466"/>
                  <a:pt x="3182" y="1463"/>
                  <a:pt x="3181" y="1461"/>
                </a:cubicBezTo>
                <a:cubicBezTo>
                  <a:pt x="3180" y="1459"/>
                  <a:pt x="3180" y="1457"/>
                  <a:pt x="3183" y="1456"/>
                </a:cubicBezTo>
                <a:cubicBezTo>
                  <a:pt x="3180" y="1456"/>
                  <a:pt x="3178" y="1456"/>
                  <a:pt x="3177" y="1456"/>
                </a:cubicBezTo>
                <a:cubicBezTo>
                  <a:pt x="3176" y="1458"/>
                  <a:pt x="3175" y="1460"/>
                  <a:pt x="3174" y="1462"/>
                </a:cubicBezTo>
                <a:cubicBezTo>
                  <a:pt x="3174" y="1463"/>
                  <a:pt x="3173" y="1463"/>
                  <a:pt x="3173" y="1464"/>
                </a:cubicBezTo>
                <a:cubicBezTo>
                  <a:pt x="3173" y="1467"/>
                  <a:pt x="3172" y="1469"/>
                  <a:pt x="3169" y="1468"/>
                </a:cubicBezTo>
                <a:cubicBezTo>
                  <a:pt x="3166" y="1468"/>
                  <a:pt x="3163" y="1467"/>
                  <a:pt x="3160" y="1466"/>
                </a:cubicBezTo>
                <a:cubicBezTo>
                  <a:pt x="3158" y="1465"/>
                  <a:pt x="3158" y="1464"/>
                  <a:pt x="3158" y="1462"/>
                </a:cubicBezTo>
                <a:cubicBezTo>
                  <a:pt x="3159" y="1461"/>
                  <a:pt x="3159" y="1460"/>
                  <a:pt x="3159" y="1460"/>
                </a:cubicBezTo>
                <a:cubicBezTo>
                  <a:pt x="3157" y="1459"/>
                  <a:pt x="3154" y="1458"/>
                  <a:pt x="3152" y="1457"/>
                </a:cubicBezTo>
                <a:cubicBezTo>
                  <a:pt x="3151" y="1456"/>
                  <a:pt x="3150" y="1454"/>
                  <a:pt x="3149" y="1452"/>
                </a:cubicBezTo>
                <a:cubicBezTo>
                  <a:pt x="3148" y="1450"/>
                  <a:pt x="3148" y="1449"/>
                  <a:pt x="3150" y="1447"/>
                </a:cubicBezTo>
                <a:cubicBezTo>
                  <a:pt x="3153" y="1445"/>
                  <a:pt x="3154" y="1442"/>
                  <a:pt x="3153" y="1438"/>
                </a:cubicBezTo>
                <a:cubicBezTo>
                  <a:pt x="3153" y="1436"/>
                  <a:pt x="3153" y="1434"/>
                  <a:pt x="3153" y="1432"/>
                </a:cubicBezTo>
                <a:cubicBezTo>
                  <a:pt x="3152" y="1431"/>
                  <a:pt x="3150" y="1431"/>
                  <a:pt x="3150" y="1430"/>
                </a:cubicBezTo>
                <a:cubicBezTo>
                  <a:pt x="3148" y="1428"/>
                  <a:pt x="3148" y="1426"/>
                  <a:pt x="3148" y="1424"/>
                </a:cubicBezTo>
                <a:cubicBezTo>
                  <a:pt x="3147" y="1421"/>
                  <a:pt x="3151" y="1419"/>
                  <a:pt x="3153" y="1418"/>
                </a:cubicBezTo>
                <a:cubicBezTo>
                  <a:pt x="3154" y="1419"/>
                  <a:pt x="3154" y="1419"/>
                  <a:pt x="3154" y="1420"/>
                </a:cubicBezTo>
                <a:cubicBezTo>
                  <a:pt x="3154" y="1421"/>
                  <a:pt x="3154" y="1422"/>
                  <a:pt x="3155" y="1423"/>
                </a:cubicBezTo>
                <a:cubicBezTo>
                  <a:pt x="3154" y="1423"/>
                  <a:pt x="3153" y="1423"/>
                  <a:pt x="3153" y="1423"/>
                </a:cubicBezTo>
                <a:cubicBezTo>
                  <a:pt x="3153" y="1424"/>
                  <a:pt x="3152" y="1425"/>
                  <a:pt x="3152" y="1427"/>
                </a:cubicBezTo>
                <a:cubicBezTo>
                  <a:pt x="3153" y="1427"/>
                  <a:pt x="3153" y="1427"/>
                  <a:pt x="3154" y="1427"/>
                </a:cubicBezTo>
                <a:cubicBezTo>
                  <a:pt x="3155" y="1425"/>
                  <a:pt x="3156" y="1425"/>
                  <a:pt x="3157" y="1423"/>
                </a:cubicBezTo>
                <a:cubicBezTo>
                  <a:pt x="3161" y="1417"/>
                  <a:pt x="3167" y="1413"/>
                  <a:pt x="3175" y="1411"/>
                </a:cubicBezTo>
                <a:cubicBezTo>
                  <a:pt x="3178" y="1411"/>
                  <a:pt x="3181" y="1410"/>
                  <a:pt x="3183" y="1407"/>
                </a:cubicBezTo>
                <a:cubicBezTo>
                  <a:pt x="3183" y="1406"/>
                  <a:pt x="3184" y="1406"/>
                  <a:pt x="3184" y="1406"/>
                </a:cubicBezTo>
                <a:cubicBezTo>
                  <a:pt x="3187" y="1406"/>
                  <a:pt x="3189" y="1403"/>
                  <a:pt x="3191" y="1401"/>
                </a:cubicBezTo>
                <a:cubicBezTo>
                  <a:pt x="3198" y="1394"/>
                  <a:pt x="3210" y="1393"/>
                  <a:pt x="3218" y="1400"/>
                </a:cubicBezTo>
                <a:cubicBezTo>
                  <a:pt x="3220" y="1402"/>
                  <a:pt x="3223" y="1404"/>
                  <a:pt x="3225" y="1406"/>
                </a:cubicBezTo>
                <a:cubicBezTo>
                  <a:pt x="3227" y="1407"/>
                  <a:pt x="3228" y="1409"/>
                  <a:pt x="3229" y="1411"/>
                </a:cubicBezTo>
                <a:cubicBezTo>
                  <a:pt x="3230" y="1412"/>
                  <a:pt x="3231" y="1412"/>
                  <a:pt x="3232" y="1411"/>
                </a:cubicBezTo>
                <a:cubicBezTo>
                  <a:pt x="3233" y="1411"/>
                  <a:pt x="3233" y="1410"/>
                  <a:pt x="3234" y="1409"/>
                </a:cubicBezTo>
                <a:cubicBezTo>
                  <a:pt x="3236" y="1406"/>
                  <a:pt x="3239" y="1406"/>
                  <a:pt x="3241" y="1410"/>
                </a:cubicBezTo>
                <a:cubicBezTo>
                  <a:pt x="3242" y="1413"/>
                  <a:pt x="3243" y="1415"/>
                  <a:pt x="3243" y="1419"/>
                </a:cubicBezTo>
                <a:cubicBezTo>
                  <a:pt x="3244" y="1423"/>
                  <a:pt x="3243" y="1427"/>
                  <a:pt x="3242" y="1432"/>
                </a:cubicBezTo>
                <a:cubicBezTo>
                  <a:pt x="3239" y="1438"/>
                  <a:pt x="3235" y="1442"/>
                  <a:pt x="3228" y="1442"/>
                </a:cubicBezTo>
                <a:cubicBezTo>
                  <a:pt x="3227" y="1442"/>
                  <a:pt x="3227" y="1442"/>
                  <a:pt x="3226" y="1442"/>
                </a:cubicBezTo>
                <a:cubicBezTo>
                  <a:pt x="3224" y="1441"/>
                  <a:pt x="3223" y="1442"/>
                  <a:pt x="3222" y="1444"/>
                </a:cubicBezTo>
                <a:cubicBezTo>
                  <a:pt x="3220" y="1448"/>
                  <a:pt x="3215" y="1450"/>
                  <a:pt x="3211" y="1447"/>
                </a:cubicBezTo>
                <a:cubicBezTo>
                  <a:pt x="3210" y="1446"/>
                  <a:pt x="3209" y="1445"/>
                  <a:pt x="3208" y="1444"/>
                </a:cubicBezTo>
                <a:cubicBezTo>
                  <a:pt x="3208" y="1444"/>
                  <a:pt x="3208" y="1444"/>
                  <a:pt x="3207" y="1444"/>
                </a:cubicBezTo>
                <a:close/>
                <a:moveTo>
                  <a:pt x="3202" y="1440"/>
                </a:moveTo>
                <a:cubicBezTo>
                  <a:pt x="3205" y="1441"/>
                  <a:pt x="3209" y="1442"/>
                  <a:pt x="3212" y="1445"/>
                </a:cubicBezTo>
                <a:cubicBezTo>
                  <a:pt x="3213" y="1447"/>
                  <a:pt x="3215" y="1448"/>
                  <a:pt x="3217" y="1447"/>
                </a:cubicBezTo>
                <a:cubicBezTo>
                  <a:pt x="3220" y="1446"/>
                  <a:pt x="3221" y="1444"/>
                  <a:pt x="3221" y="1441"/>
                </a:cubicBezTo>
                <a:cubicBezTo>
                  <a:pt x="3221" y="1441"/>
                  <a:pt x="3220" y="1441"/>
                  <a:pt x="3220" y="1442"/>
                </a:cubicBezTo>
                <a:cubicBezTo>
                  <a:pt x="3220" y="1443"/>
                  <a:pt x="3219" y="1444"/>
                  <a:pt x="3218" y="1445"/>
                </a:cubicBezTo>
                <a:cubicBezTo>
                  <a:pt x="3217" y="1446"/>
                  <a:pt x="3215" y="1446"/>
                  <a:pt x="3215" y="1446"/>
                </a:cubicBezTo>
                <a:cubicBezTo>
                  <a:pt x="3214" y="1446"/>
                  <a:pt x="3213" y="1444"/>
                  <a:pt x="3213" y="1444"/>
                </a:cubicBezTo>
                <a:cubicBezTo>
                  <a:pt x="3213" y="1441"/>
                  <a:pt x="3214" y="1439"/>
                  <a:pt x="3214" y="1437"/>
                </a:cubicBezTo>
                <a:cubicBezTo>
                  <a:pt x="3217" y="1438"/>
                  <a:pt x="3221" y="1439"/>
                  <a:pt x="3224" y="1440"/>
                </a:cubicBezTo>
                <a:cubicBezTo>
                  <a:pt x="3232" y="1441"/>
                  <a:pt x="3237" y="1439"/>
                  <a:pt x="3241" y="1431"/>
                </a:cubicBezTo>
                <a:cubicBezTo>
                  <a:pt x="3242" y="1426"/>
                  <a:pt x="3242" y="1421"/>
                  <a:pt x="3241" y="1416"/>
                </a:cubicBezTo>
                <a:cubicBezTo>
                  <a:pt x="3241" y="1414"/>
                  <a:pt x="3240" y="1412"/>
                  <a:pt x="3239" y="1410"/>
                </a:cubicBezTo>
                <a:cubicBezTo>
                  <a:pt x="3238" y="1409"/>
                  <a:pt x="3237" y="1408"/>
                  <a:pt x="3236" y="1410"/>
                </a:cubicBezTo>
                <a:cubicBezTo>
                  <a:pt x="3234" y="1412"/>
                  <a:pt x="3233" y="1413"/>
                  <a:pt x="3231" y="1414"/>
                </a:cubicBezTo>
                <a:cubicBezTo>
                  <a:pt x="3230" y="1414"/>
                  <a:pt x="3229" y="1415"/>
                  <a:pt x="3230" y="1416"/>
                </a:cubicBezTo>
                <a:cubicBezTo>
                  <a:pt x="3230" y="1419"/>
                  <a:pt x="3230" y="1423"/>
                  <a:pt x="3228" y="1426"/>
                </a:cubicBezTo>
                <a:cubicBezTo>
                  <a:pt x="3228" y="1424"/>
                  <a:pt x="3229" y="1422"/>
                  <a:pt x="3229" y="1420"/>
                </a:cubicBezTo>
                <a:cubicBezTo>
                  <a:pt x="3229" y="1419"/>
                  <a:pt x="3228" y="1419"/>
                  <a:pt x="3228" y="1419"/>
                </a:cubicBezTo>
                <a:cubicBezTo>
                  <a:pt x="3228" y="1419"/>
                  <a:pt x="3227" y="1419"/>
                  <a:pt x="3227" y="1419"/>
                </a:cubicBezTo>
                <a:cubicBezTo>
                  <a:pt x="3226" y="1421"/>
                  <a:pt x="3225" y="1422"/>
                  <a:pt x="3224" y="1423"/>
                </a:cubicBezTo>
                <a:cubicBezTo>
                  <a:pt x="3224" y="1423"/>
                  <a:pt x="3224" y="1423"/>
                  <a:pt x="3224" y="1423"/>
                </a:cubicBezTo>
                <a:cubicBezTo>
                  <a:pt x="3224" y="1422"/>
                  <a:pt x="3225" y="1420"/>
                  <a:pt x="3225" y="1418"/>
                </a:cubicBezTo>
                <a:cubicBezTo>
                  <a:pt x="3224" y="1419"/>
                  <a:pt x="3224" y="1419"/>
                  <a:pt x="3223" y="1420"/>
                </a:cubicBezTo>
                <a:cubicBezTo>
                  <a:pt x="3223" y="1420"/>
                  <a:pt x="3222" y="1421"/>
                  <a:pt x="3222" y="1422"/>
                </a:cubicBezTo>
                <a:cubicBezTo>
                  <a:pt x="3222" y="1418"/>
                  <a:pt x="3223" y="1418"/>
                  <a:pt x="3228" y="1417"/>
                </a:cubicBezTo>
                <a:cubicBezTo>
                  <a:pt x="3228" y="1417"/>
                  <a:pt x="3227" y="1416"/>
                  <a:pt x="3227" y="1416"/>
                </a:cubicBezTo>
                <a:cubicBezTo>
                  <a:pt x="3224" y="1417"/>
                  <a:pt x="3224" y="1415"/>
                  <a:pt x="3223" y="1413"/>
                </a:cubicBezTo>
                <a:cubicBezTo>
                  <a:pt x="3225" y="1412"/>
                  <a:pt x="3226" y="1412"/>
                  <a:pt x="3228" y="1412"/>
                </a:cubicBezTo>
                <a:cubicBezTo>
                  <a:pt x="3226" y="1409"/>
                  <a:pt x="3225" y="1406"/>
                  <a:pt x="3222" y="1406"/>
                </a:cubicBezTo>
                <a:cubicBezTo>
                  <a:pt x="3221" y="1406"/>
                  <a:pt x="3221" y="1406"/>
                  <a:pt x="3221" y="1405"/>
                </a:cubicBezTo>
                <a:cubicBezTo>
                  <a:pt x="3219" y="1403"/>
                  <a:pt x="3216" y="1401"/>
                  <a:pt x="3213" y="1399"/>
                </a:cubicBezTo>
                <a:cubicBezTo>
                  <a:pt x="3211" y="1398"/>
                  <a:pt x="3208" y="1397"/>
                  <a:pt x="3206" y="1397"/>
                </a:cubicBezTo>
                <a:cubicBezTo>
                  <a:pt x="3203" y="1397"/>
                  <a:pt x="3200" y="1398"/>
                  <a:pt x="3197" y="1399"/>
                </a:cubicBezTo>
                <a:cubicBezTo>
                  <a:pt x="3194" y="1400"/>
                  <a:pt x="3191" y="1402"/>
                  <a:pt x="3190" y="1405"/>
                </a:cubicBezTo>
                <a:cubicBezTo>
                  <a:pt x="3191" y="1405"/>
                  <a:pt x="3192" y="1405"/>
                  <a:pt x="3193" y="1405"/>
                </a:cubicBezTo>
                <a:cubicBezTo>
                  <a:pt x="3193" y="1406"/>
                  <a:pt x="3192" y="1406"/>
                  <a:pt x="3192" y="1406"/>
                </a:cubicBezTo>
                <a:cubicBezTo>
                  <a:pt x="3189" y="1407"/>
                  <a:pt x="3186" y="1406"/>
                  <a:pt x="3184" y="1408"/>
                </a:cubicBezTo>
                <a:cubicBezTo>
                  <a:pt x="3181" y="1412"/>
                  <a:pt x="3177" y="1416"/>
                  <a:pt x="3173" y="1420"/>
                </a:cubicBezTo>
                <a:cubicBezTo>
                  <a:pt x="3172" y="1422"/>
                  <a:pt x="3171" y="1425"/>
                  <a:pt x="3170" y="1427"/>
                </a:cubicBezTo>
                <a:cubicBezTo>
                  <a:pt x="3170" y="1427"/>
                  <a:pt x="3170" y="1428"/>
                  <a:pt x="3170" y="1429"/>
                </a:cubicBezTo>
                <a:cubicBezTo>
                  <a:pt x="3172" y="1431"/>
                  <a:pt x="3173" y="1433"/>
                  <a:pt x="3174" y="1434"/>
                </a:cubicBezTo>
                <a:cubicBezTo>
                  <a:pt x="3175" y="1433"/>
                  <a:pt x="3177" y="1431"/>
                  <a:pt x="3178" y="1430"/>
                </a:cubicBezTo>
                <a:cubicBezTo>
                  <a:pt x="3177" y="1431"/>
                  <a:pt x="3177" y="1433"/>
                  <a:pt x="3176" y="1434"/>
                </a:cubicBezTo>
                <a:cubicBezTo>
                  <a:pt x="3175" y="1435"/>
                  <a:pt x="3175" y="1436"/>
                  <a:pt x="3174" y="1438"/>
                </a:cubicBezTo>
                <a:cubicBezTo>
                  <a:pt x="3174" y="1439"/>
                  <a:pt x="3174" y="1440"/>
                  <a:pt x="3175" y="1441"/>
                </a:cubicBezTo>
                <a:cubicBezTo>
                  <a:pt x="3177" y="1444"/>
                  <a:pt x="3180" y="1444"/>
                  <a:pt x="3184" y="1442"/>
                </a:cubicBezTo>
                <a:cubicBezTo>
                  <a:pt x="3186" y="1441"/>
                  <a:pt x="3189" y="1440"/>
                  <a:pt x="3192" y="1439"/>
                </a:cubicBezTo>
                <a:cubicBezTo>
                  <a:pt x="3193" y="1438"/>
                  <a:pt x="3195" y="1438"/>
                  <a:pt x="3195" y="1436"/>
                </a:cubicBezTo>
                <a:cubicBezTo>
                  <a:pt x="3195" y="1433"/>
                  <a:pt x="3195" y="1429"/>
                  <a:pt x="3195" y="1426"/>
                </a:cubicBezTo>
                <a:cubicBezTo>
                  <a:pt x="3195" y="1423"/>
                  <a:pt x="3195" y="1420"/>
                  <a:pt x="3195" y="1417"/>
                </a:cubicBezTo>
                <a:cubicBezTo>
                  <a:pt x="3195" y="1420"/>
                  <a:pt x="3196" y="1423"/>
                  <a:pt x="3196" y="1425"/>
                </a:cubicBezTo>
                <a:cubicBezTo>
                  <a:pt x="3197" y="1430"/>
                  <a:pt x="3197" y="1434"/>
                  <a:pt x="3196" y="1438"/>
                </a:cubicBezTo>
                <a:cubicBezTo>
                  <a:pt x="3195" y="1439"/>
                  <a:pt x="3195" y="1440"/>
                  <a:pt x="3194" y="1440"/>
                </a:cubicBezTo>
                <a:cubicBezTo>
                  <a:pt x="3191" y="1440"/>
                  <a:pt x="3188" y="1442"/>
                  <a:pt x="3184" y="1444"/>
                </a:cubicBezTo>
                <a:cubicBezTo>
                  <a:pt x="3179" y="1447"/>
                  <a:pt x="3176" y="1445"/>
                  <a:pt x="3172" y="1441"/>
                </a:cubicBezTo>
                <a:cubicBezTo>
                  <a:pt x="3172" y="1441"/>
                  <a:pt x="3172" y="1440"/>
                  <a:pt x="3172" y="1439"/>
                </a:cubicBezTo>
                <a:cubicBezTo>
                  <a:pt x="3173" y="1437"/>
                  <a:pt x="3172" y="1435"/>
                  <a:pt x="3171" y="1433"/>
                </a:cubicBezTo>
                <a:cubicBezTo>
                  <a:pt x="3169" y="1431"/>
                  <a:pt x="3168" y="1429"/>
                  <a:pt x="3169" y="1426"/>
                </a:cubicBezTo>
                <a:cubicBezTo>
                  <a:pt x="3169" y="1424"/>
                  <a:pt x="3170" y="1422"/>
                  <a:pt x="3172" y="1421"/>
                </a:cubicBezTo>
                <a:cubicBezTo>
                  <a:pt x="3173" y="1418"/>
                  <a:pt x="3175" y="1415"/>
                  <a:pt x="3177" y="1413"/>
                </a:cubicBezTo>
                <a:cubicBezTo>
                  <a:pt x="3177" y="1413"/>
                  <a:pt x="3176" y="1413"/>
                  <a:pt x="3176" y="1413"/>
                </a:cubicBezTo>
                <a:cubicBezTo>
                  <a:pt x="3171" y="1414"/>
                  <a:pt x="3167" y="1415"/>
                  <a:pt x="3163" y="1419"/>
                </a:cubicBezTo>
                <a:cubicBezTo>
                  <a:pt x="3158" y="1423"/>
                  <a:pt x="3155" y="1428"/>
                  <a:pt x="3155" y="1435"/>
                </a:cubicBezTo>
                <a:cubicBezTo>
                  <a:pt x="3155" y="1442"/>
                  <a:pt x="3157" y="1448"/>
                  <a:pt x="3161" y="1453"/>
                </a:cubicBezTo>
                <a:cubicBezTo>
                  <a:pt x="3161" y="1454"/>
                  <a:pt x="3162" y="1456"/>
                  <a:pt x="3161" y="1457"/>
                </a:cubicBezTo>
                <a:cubicBezTo>
                  <a:pt x="3161" y="1459"/>
                  <a:pt x="3161" y="1460"/>
                  <a:pt x="3160" y="1461"/>
                </a:cubicBezTo>
                <a:cubicBezTo>
                  <a:pt x="3160" y="1463"/>
                  <a:pt x="3160" y="1464"/>
                  <a:pt x="3161" y="1465"/>
                </a:cubicBezTo>
                <a:cubicBezTo>
                  <a:pt x="3164" y="1465"/>
                  <a:pt x="3167" y="1466"/>
                  <a:pt x="3170" y="1466"/>
                </a:cubicBezTo>
                <a:cubicBezTo>
                  <a:pt x="3171" y="1466"/>
                  <a:pt x="3172" y="1465"/>
                  <a:pt x="3172" y="1465"/>
                </a:cubicBezTo>
                <a:cubicBezTo>
                  <a:pt x="3172" y="1464"/>
                  <a:pt x="3172" y="1462"/>
                  <a:pt x="3173" y="1461"/>
                </a:cubicBezTo>
                <a:cubicBezTo>
                  <a:pt x="3175" y="1459"/>
                  <a:pt x="3175" y="1456"/>
                  <a:pt x="3175" y="1453"/>
                </a:cubicBezTo>
                <a:cubicBezTo>
                  <a:pt x="3175" y="1453"/>
                  <a:pt x="3175" y="1453"/>
                  <a:pt x="3175" y="1452"/>
                </a:cubicBezTo>
                <a:cubicBezTo>
                  <a:pt x="3175" y="1452"/>
                  <a:pt x="3175" y="1452"/>
                  <a:pt x="3175" y="1452"/>
                </a:cubicBezTo>
                <a:cubicBezTo>
                  <a:pt x="3175" y="1454"/>
                  <a:pt x="3177" y="1454"/>
                  <a:pt x="3179" y="1454"/>
                </a:cubicBezTo>
                <a:cubicBezTo>
                  <a:pt x="3179" y="1454"/>
                  <a:pt x="3181" y="1454"/>
                  <a:pt x="3181" y="1454"/>
                </a:cubicBezTo>
                <a:cubicBezTo>
                  <a:pt x="3184" y="1454"/>
                  <a:pt x="3187" y="1455"/>
                  <a:pt x="3188" y="1451"/>
                </a:cubicBezTo>
                <a:cubicBezTo>
                  <a:pt x="3188" y="1453"/>
                  <a:pt x="3188" y="1455"/>
                  <a:pt x="3188" y="1455"/>
                </a:cubicBezTo>
                <a:cubicBezTo>
                  <a:pt x="3186" y="1456"/>
                  <a:pt x="3185" y="1457"/>
                  <a:pt x="3184" y="1457"/>
                </a:cubicBezTo>
                <a:cubicBezTo>
                  <a:pt x="3182" y="1458"/>
                  <a:pt x="3182" y="1460"/>
                  <a:pt x="3183" y="1461"/>
                </a:cubicBezTo>
                <a:cubicBezTo>
                  <a:pt x="3184" y="1463"/>
                  <a:pt x="3185" y="1465"/>
                  <a:pt x="3186" y="1467"/>
                </a:cubicBezTo>
                <a:cubicBezTo>
                  <a:pt x="3188" y="1468"/>
                  <a:pt x="3190" y="1468"/>
                  <a:pt x="3192" y="1466"/>
                </a:cubicBezTo>
                <a:cubicBezTo>
                  <a:pt x="3192" y="1465"/>
                  <a:pt x="3193" y="1465"/>
                  <a:pt x="3193" y="1464"/>
                </a:cubicBezTo>
                <a:cubicBezTo>
                  <a:pt x="3195" y="1463"/>
                  <a:pt x="3197" y="1461"/>
                  <a:pt x="3198" y="1460"/>
                </a:cubicBezTo>
                <a:cubicBezTo>
                  <a:pt x="3203" y="1456"/>
                  <a:pt x="3204" y="1450"/>
                  <a:pt x="3206" y="1444"/>
                </a:cubicBezTo>
                <a:cubicBezTo>
                  <a:pt x="3206" y="1444"/>
                  <a:pt x="3205" y="1443"/>
                  <a:pt x="3205" y="1442"/>
                </a:cubicBezTo>
                <a:cubicBezTo>
                  <a:pt x="3204" y="1441"/>
                  <a:pt x="3203" y="1440"/>
                  <a:pt x="3202" y="1440"/>
                </a:cubicBezTo>
                <a:close/>
                <a:moveTo>
                  <a:pt x="3155" y="1446"/>
                </a:moveTo>
                <a:cubicBezTo>
                  <a:pt x="3154" y="1447"/>
                  <a:pt x="3152" y="1448"/>
                  <a:pt x="3151" y="1449"/>
                </a:cubicBezTo>
                <a:cubicBezTo>
                  <a:pt x="3151" y="1449"/>
                  <a:pt x="3150" y="1450"/>
                  <a:pt x="3150" y="1451"/>
                </a:cubicBezTo>
                <a:cubicBezTo>
                  <a:pt x="3150" y="1453"/>
                  <a:pt x="3155" y="1458"/>
                  <a:pt x="3158" y="1457"/>
                </a:cubicBezTo>
                <a:cubicBezTo>
                  <a:pt x="3159" y="1457"/>
                  <a:pt x="3160" y="1456"/>
                  <a:pt x="3159" y="1455"/>
                </a:cubicBezTo>
                <a:cubicBezTo>
                  <a:pt x="3158" y="1452"/>
                  <a:pt x="3156" y="1449"/>
                  <a:pt x="3155" y="1446"/>
                </a:cubicBezTo>
                <a:close/>
                <a:moveTo>
                  <a:pt x="3207" y="1448"/>
                </a:moveTo>
                <a:cubicBezTo>
                  <a:pt x="3205" y="1453"/>
                  <a:pt x="3203" y="1457"/>
                  <a:pt x="3200" y="1461"/>
                </a:cubicBezTo>
                <a:cubicBezTo>
                  <a:pt x="3203" y="1461"/>
                  <a:pt x="3205" y="1462"/>
                  <a:pt x="3208" y="1461"/>
                </a:cubicBezTo>
                <a:cubicBezTo>
                  <a:pt x="3208" y="1461"/>
                  <a:pt x="3209" y="1460"/>
                  <a:pt x="3209" y="1460"/>
                </a:cubicBezTo>
                <a:cubicBezTo>
                  <a:pt x="3209" y="1457"/>
                  <a:pt x="3209" y="1455"/>
                  <a:pt x="3208" y="1452"/>
                </a:cubicBezTo>
                <a:cubicBezTo>
                  <a:pt x="3208" y="1451"/>
                  <a:pt x="3208" y="1450"/>
                  <a:pt x="3207" y="1448"/>
                </a:cubicBezTo>
                <a:close/>
                <a:moveTo>
                  <a:pt x="3155" y="1428"/>
                </a:moveTo>
                <a:cubicBezTo>
                  <a:pt x="3154" y="1428"/>
                  <a:pt x="3153" y="1429"/>
                  <a:pt x="3153" y="1429"/>
                </a:cubicBezTo>
                <a:cubicBezTo>
                  <a:pt x="3152" y="1429"/>
                  <a:pt x="3151" y="1429"/>
                  <a:pt x="3151" y="1428"/>
                </a:cubicBezTo>
                <a:cubicBezTo>
                  <a:pt x="3151" y="1428"/>
                  <a:pt x="3150" y="1427"/>
                  <a:pt x="3150" y="1426"/>
                </a:cubicBezTo>
                <a:cubicBezTo>
                  <a:pt x="3151" y="1424"/>
                  <a:pt x="3152" y="1422"/>
                  <a:pt x="3152" y="1420"/>
                </a:cubicBezTo>
                <a:cubicBezTo>
                  <a:pt x="3152" y="1420"/>
                  <a:pt x="3152" y="1420"/>
                  <a:pt x="3152" y="1420"/>
                </a:cubicBezTo>
                <a:cubicBezTo>
                  <a:pt x="3151" y="1421"/>
                  <a:pt x="3150" y="1422"/>
                  <a:pt x="3149" y="1423"/>
                </a:cubicBezTo>
                <a:cubicBezTo>
                  <a:pt x="3148" y="1424"/>
                  <a:pt x="3150" y="1429"/>
                  <a:pt x="3151" y="1430"/>
                </a:cubicBezTo>
                <a:cubicBezTo>
                  <a:pt x="3153" y="1431"/>
                  <a:pt x="3155" y="1430"/>
                  <a:pt x="3155" y="1428"/>
                </a:cubicBezTo>
                <a:close/>
                <a:moveTo>
                  <a:pt x="3155" y="1446"/>
                </a:moveTo>
                <a:cubicBezTo>
                  <a:pt x="3154" y="1447"/>
                  <a:pt x="3152" y="1448"/>
                  <a:pt x="3151" y="1449"/>
                </a:cubicBezTo>
                <a:cubicBezTo>
                  <a:pt x="3150" y="1449"/>
                  <a:pt x="3150" y="1450"/>
                  <a:pt x="3150" y="1451"/>
                </a:cubicBezTo>
                <a:cubicBezTo>
                  <a:pt x="3150" y="1454"/>
                  <a:pt x="3155" y="1458"/>
                  <a:pt x="3158" y="1458"/>
                </a:cubicBezTo>
                <a:cubicBezTo>
                  <a:pt x="3159" y="1458"/>
                  <a:pt x="3160" y="1457"/>
                  <a:pt x="3159" y="1455"/>
                </a:cubicBezTo>
                <a:cubicBezTo>
                  <a:pt x="3158" y="1452"/>
                  <a:pt x="3156" y="1449"/>
                  <a:pt x="3155" y="1446"/>
                </a:cubicBezTo>
                <a:close/>
                <a:moveTo>
                  <a:pt x="3207" y="1448"/>
                </a:moveTo>
                <a:cubicBezTo>
                  <a:pt x="3205" y="1453"/>
                  <a:pt x="3202" y="1457"/>
                  <a:pt x="3200" y="1462"/>
                </a:cubicBezTo>
                <a:cubicBezTo>
                  <a:pt x="3203" y="1462"/>
                  <a:pt x="3205" y="1462"/>
                  <a:pt x="3208" y="1462"/>
                </a:cubicBezTo>
                <a:cubicBezTo>
                  <a:pt x="3208" y="1462"/>
                  <a:pt x="3209" y="1460"/>
                  <a:pt x="3209" y="1460"/>
                </a:cubicBezTo>
                <a:cubicBezTo>
                  <a:pt x="3209" y="1457"/>
                  <a:pt x="3209" y="1455"/>
                  <a:pt x="3208" y="1452"/>
                </a:cubicBezTo>
                <a:cubicBezTo>
                  <a:pt x="3208" y="1451"/>
                  <a:pt x="3207" y="1450"/>
                  <a:pt x="3207" y="1448"/>
                </a:cubicBezTo>
                <a:close/>
                <a:moveTo>
                  <a:pt x="3154" y="1428"/>
                </a:moveTo>
                <a:cubicBezTo>
                  <a:pt x="3154" y="1428"/>
                  <a:pt x="3153" y="1429"/>
                  <a:pt x="3152" y="1429"/>
                </a:cubicBezTo>
                <a:cubicBezTo>
                  <a:pt x="3152" y="1429"/>
                  <a:pt x="3151" y="1429"/>
                  <a:pt x="3151" y="1428"/>
                </a:cubicBezTo>
                <a:cubicBezTo>
                  <a:pt x="3150" y="1428"/>
                  <a:pt x="3150" y="1427"/>
                  <a:pt x="3150" y="1426"/>
                </a:cubicBezTo>
                <a:cubicBezTo>
                  <a:pt x="3151" y="1424"/>
                  <a:pt x="3151" y="1422"/>
                  <a:pt x="3152" y="1420"/>
                </a:cubicBezTo>
                <a:cubicBezTo>
                  <a:pt x="3152" y="1420"/>
                  <a:pt x="3152" y="1420"/>
                  <a:pt x="3151" y="1420"/>
                </a:cubicBezTo>
                <a:cubicBezTo>
                  <a:pt x="3150" y="1421"/>
                  <a:pt x="3149" y="1422"/>
                  <a:pt x="3148" y="1423"/>
                </a:cubicBezTo>
                <a:cubicBezTo>
                  <a:pt x="3148" y="1424"/>
                  <a:pt x="3149" y="1430"/>
                  <a:pt x="3151" y="1430"/>
                </a:cubicBezTo>
                <a:cubicBezTo>
                  <a:pt x="3152" y="1431"/>
                  <a:pt x="3154" y="1430"/>
                  <a:pt x="3154" y="1428"/>
                </a:cubicBezTo>
                <a:close/>
                <a:moveTo>
                  <a:pt x="3207" y="1420"/>
                </a:moveTo>
                <a:cubicBezTo>
                  <a:pt x="3210" y="1416"/>
                  <a:pt x="3210" y="1416"/>
                  <a:pt x="3214" y="1415"/>
                </a:cubicBezTo>
                <a:cubicBezTo>
                  <a:pt x="3214" y="1417"/>
                  <a:pt x="3215" y="1418"/>
                  <a:pt x="3216" y="1418"/>
                </a:cubicBezTo>
                <a:cubicBezTo>
                  <a:pt x="3214" y="1419"/>
                  <a:pt x="3212" y="1421"/>
                  <a:pt x="3210" y="1422"/>
                </a:cubicBezTo>
                <a:cubicBezTo>
                  <a:pt x="3209" y="1421"/>
                  <a:pt x="3209" y="1421"/>
                  <a:pt x="3208" y="1419"/>
                </a:cubicBezTo>
                <a:cubicBezTo>
                  <a:pt x="3208" y="1419"/>
                  <a:pt x="3208" y="1419"/>
                  <a:pt x="3207" y="1420"/>
                </a:cubicBezTo>
                <a:close/>
                <a:moveTo>
                  <a:pt x="3212" y="1419"/>
                </a:moveTo>
                <a:cubicBezTo>
                  <a:pt x="3212" y="1419"/>
                  <a:pt x="3211" y="1419"/>
                  <a:pt x="3211" y="1419"/>
                </a:cubicBezTo>
                <a:cubicBezTo>
                  <a:pt x="3210" y="1419"/>
                  <a:pt x="3209" y="1419"/>
                  <a:pt x="3209" y="1420"/>
                </a:cubicBezTo>
                <a:cubicBezTo>
                  <a:pt x="3209" y="1420"/>
                  <a:pt x="3210" y="1421"/>
                  <a:pt x="3210" y="1421"/>
                </a:cubicBezTo>
                <a:cubicBezTo>
                  <a:pt x="3211" y="1421"/>
                  <a:pt x="3211" y="1420"/>
                  <a:pt x="3212" y="1419"/>
                </a:cubicBezTo>
                <a:close/>
                <a:moveTo>
                  <a:pt x="3194" y="1409"/>
                </a:moveTo>
                <a:cubicBezTo>
                  <a:pt x="3187" y="1409"/>
                  <a:pt x="3184" y="1411"/>
                  <a:pt x="3183" y="1419"/>
                </a:cubicBezTo>
                <a:cubicBezTo>
                  <a:pt x="3184" y="1417"/>
                  <a:pt x="3186" y="1415"/>
                  <a:pt x="3187" y="1412"/>
                </a:cubicBezTo>
                <a:cubicBezTo>
                  <a:pt x="3187" y="1412"/>
                  <a:pt x="3187" y="1412"/>
                  <a:pt x="3187" y="1412"/>
                </a:cubicBezTo>
                <a:cubicBezTo>
                  <a:pt x="3187" y="1414"/>
                  <a:pt x="3188" y="1414"/>
                  <a:pt x="3188" y="1415"/>
                </a:cubicBezTo>
                <a:cubicBezTo>
                  <a:pt x="3189" y="1412"/>
                  <a:pt x="3190" y="1410"/>
                  <a:pt x="3194" y="1409"/>
                </a:cubicBezTo>
                <a:close/>
                <a:moveTo>
                  <a:pt x="3237" y="1411"/>
                </a:moveTo>
                <a:cubicBezTo>
                  <a:pt x="3236" y="1412"/>
                  <a:pt x="3234" y="1414"/>
                  <a:pt x="3232" y="1415"/>
                </a:cubicBezTo>
                <a:cubicBezTo>
                  <a:pt x="3234" y="1416"/>
                  <a:pt x="3236" y="1414"/>
                  <a:pt x="3237" y="1411"/>
                </a:cubicBezTo>
                <a:close/>
                <a:moveTo>
                  <a:pt x="3204" y="1413"/>
                </a:moveTo>
                <a:cubicBezTo>
                  <a:pt x="3205" y="1412"/>
                  <a:pt x="3206" y="1410"/>
                  <a:pt x="3208" y="1409"/>
                </a:cubicBezTo>
                <a:cubicBezTo>
                  <a:pt x="3204" y="1410"/>
                  <a:pt x="3203" y="1411"/>
                  <a:pt x="3204" y="1413"/>
                </a:cubicBezTo>
                <a:close/>
                <a:moveTo>
                  <a:pt x="3214" y="1435"/>
                </a:moveTo>
                <a:cubicBezTo>
                  <a:pt x="3212" y="1435"/>
                  <a:pt x="3212" y="1436"/>
                  <a:pt x="3212" y="1437"/>
                </a:cubicBezTo>
                <a:cubicBezTo>
                  <a:pt x="3212" y="1436"/>
                  <a:pt x="3213" y="1435"/>
                  <a:pt x="3214" y="1435"/>
                </a:cubicBezTo>
                <a:close/>
                <a:moveTo>
                  <a:pt x="3212" y="1419"/>
                </a:moveTo>
                <a:cubicBezTo>
                  <a:pt x="3212" y="1419"/>
                  <a:pt x="3211" y="1418"/>
                  <a:pt x="3211" y="1418"/>
                </a:cubicBezTo>
                <a:cubicBezTo>
                  <a:pt x="3210" y="1418"/>
                  <a:pt x="3210" y="1419"/>
                  <a:pt x="3210" y="1419"/>
                </a:cubicBezTo>
                <a:cubicBezTo>
                  <a:pt x="3210" y="1420"/>
                  <a:pt x="3210" y="1420"/>
                  <a:pt x="3210" y="1421"/>
                </a:cubicBezTo>
                <a:cubicBezTo>
                  <a:pt x="3211" y="1420"/>
                  <a:pt x="3211" y="1420"/>
                  <a:pt x="3212" y="1419"/>
                </a:cubicBezTo>
                <a:close/>
                <a:moveTo>
                  <a:pt x="3504" y="1397"/>
                </a:moveTo>
                <a:cubicBezTo>
                  <a:pt x="3504" y="1397"/>
                  <a:pt x="3504" y="1397"/>
                  <a:pt x="3504" y="1397"/>
                </a:cubicBezTo>
                <a:cubicBezTo>
                  <a:pt x="3499" y="1397"/>
                  <a:pt x="3499" y="1397"/>
                  <a:pt x="3499" y="1397"/>
                </a:cubicBezTo>
                <a:cubicBezTo>
                  <a:pt x="3497" y="1398"/>
                  <a:pt x="3496" y="1400"/>
                  <a:pt x="3494" y="1400"/>
                </a:cubicBezTo>
                <a:cubicBezTo>
                  <a:pt x="3492" y="1402"/>
                  <a:pt x="3490" y="1402"/>
                  <a:pt x="3488" y="1403"/>
                </a:cubicBezTo>
                <a:cubicBezTo>
                  <a:pt x="3486" y="1405"/>
                  <a:pt x="3485" y="1405"/>
                  <a:pt x="3483" y="1406"/>
                </a:cubicBezTo>
                <a:cubicBezTo>
                  <a:pt x="3481" y="1407"/>
                  <a:pt x="3479" y="1408"/>
                  <a:pt x="3477" y="1408"/>
                </a:cubicBezTo>
                <a:cubicBezTo>
                  <a:pt x="3477" y="1408"/>
                  <a:pt x="3477" y="1408"/>
                  <a:pt x="3477" y="1418"/>
                </a:cubicBezTo>
                <a:cubicBezTo>
                  <a:pt x="3480" y="1417"/>
                  <a:pt x="3483" y="1416"/>
                  <a:pt x="3486" y="1415"/>
                </a:cubicBezTo>
                <a:cubicBezTo>
                  <a:pt x="3488" y="1414"/>
                  <a:pt x="3491" y="1413"/>
                  <a:pt x="3492" y="1411"/>
                </a:cubicBezTo>
                <a:cubicBezTo>
                  <a:pt x="3492" y="1411"/>
                  <a:pt x="3492" y="1411"/>
                  <a:pt x="3492" y="1470"/>
                </a:cubicBezTo>
                <a:cubicBezTo>
                  <a:pt x="3492" y="1470"/>
                  <a:pt x="3492" y="1470"/>
                  <a:pt x="3504" y="1470"/>
                </a:cubicBezTo>
                <a:cubicBezTo>
                  <a:pt x="3504" y="1470"/>
                  <a:pt x="3504" y="1470"/>
                  <a:pt x="3504" y="1397"/>
                </a:cubicBezTo>
                <a:close/>
                <a:moveTo>
                  <a:pt x="3625" y="1397"/>
                </a:moveTo>
                <a:cubicBezTo>
                  <a:pt x="3625" y="1397"/>
                  <a:pt x="3625" y="1397"/>
                  <a:pt x="3625" y="1397"/>
                </a:cubicBezTo>
                <a:cubicBezTo>
                  <a:pt x="3620" y="1397"/>
                  <a:pt x="3620" y="1397"/>
                  <a:pt x="3620" y="1397"/>
                </a:cubicBezTo>
                <a:cubicBezTo>
                  <a:pt x="3618" y="1398"/>
                  <a:pt x="3617" y="1400"/>
                  <a:pt x="3614" y="1400"/>
                </a:cubicBezTo>
                <a:cubicBezTo>
                  <a:pt x="3613" y="1402"/>
                  <a:pt x="3611" y="1402"/>
                  <a:pt x="3609" y="1403"/>
                </a:cubicBezTo>
                <a:cubicBezTo>
                  <a:pt x="3608" y="1405"/>
                  <a:pt x="3606" y="1405"/>
                  <a:pt x="3604" y="1406"/>
                </a:cubicBezTo>
                <a:cubicBezTo>
                  <a:pt x="3602" y="1407"/>
                  <a:pt x="3601" y="1408"/>
                  <a:pt x="3598" y="1408"/>
                </a:cubicBezTo>
                <a:cubicBezTo>
                  <a:pt x="3598" y="1408"/>
                  <a:pt x="3598" y="1408"/>
                  <a:pt x="3598" y="1418"/>
                </a:cubicBezTo>
                <a:cubicBezTo>
                  <a:pt x="3601" y="1417"/>
                  <a:pt x="3604" y="1416"/>
                  <a:pt x="3607" y="1415"/>
                </a:cubicBezTo>
                <a:cubicBezTo>
                  <a:pt x="3609" y="1414"/>
                  <a:pt x="3611" y="1413"/>
                  <a:pt x="3614" y="1411"/>
                </a:cubicBezTo>
                <a:cubicBezTo>
                  <a:pt x="3614" y="1411"/>
                  <a:pt x="3614" y="1411"/>
                  <a:pt x="3614" y="1470"/>
                </a:cubicBezTo>
                <a:cubicBezTo>
                  <a:pt x="3614" y="1470"/>
                  <a:pt x="3614" y="1470"/>
                  <a:pt x="3625" y="1470"/>
                </a:cubicBezTo>
                <a:cubicBezTo>
                  <a:pt x="3625" y="1470"/>
                  <a:pt x="3625" y="1470"/>
                  <a:pt x="3625" y="1397"/>
                </a:cubicBezTo>
                <a:close/>
                <a:moveTo>
                  <a:pt x="3672" y="1397"/>
                </a:moveTo>
                <a:cubicBezTo>
                  <a:pt x="3672" y="1397"/>
                  <a:pt x="3672" y="1397"/>
                  <a:pt x="3672" y="1397"/>
                </a:cubicBezTo>
                <a:cubicBezTo>
                  <a:pt x="3667" y="1397"/>
                  <a:pt x="3667" y="1397"/>
                  <a:pt x="3667" y="1397"/>
                </a:cubicBezTo>
                <a:cubicBezTo>
                  <a:pt x="3665" y="1398"/>
                  <a:pt x="3664" y="1400"/>
                  <a:pt x="3661" y="1400"/>
                </a:cubicBezTo>
                <a:cubicBezTo>
                  <a:pt x="3660" y="1402"/>
                  <a:pt x="3658" y="1402"/>
                  <a:pt x="3656" y="1403"/>
                </a:cubicBezTo>
                <a:cubicBezTo>
                  <a:pt x="3655" y="1405"/>
                  <a:pt x="3653" y="1405"/>
                  <a:pt x="3651" y="1406"/>
                </a:cubicBezTo>
                <a:cubicBezTo>
                  <a:pt x="3649" y="1407"/>
                  <a:pt x="3648" y="1408"/>
                  <a:pt x="3645" y="1408"/>
                </a:cubicBezTo>
                <a:cubicBezTo>
                  <a:pt x="3645" y="1408"/>
                  <a:pt x="3645" y="1408"/>
                  <a:pt x="3645" y="1418"/>
                </a:cubicBezTo>
                <a:cubicBezTo>
                  <a:pt x="3648" y="1417"/>
                  <a:pt x="3651" y="1416"/>
                  <a:pt x="3653" y="1415"/>
                </a:cubicBezTo>
                <a:cubicBezTo>
                  <a:pt x="3656" y="1414"/>
                  <a:pt x="3659" y="1413"/>
                  <a:pt x="3661" y="1411"/>
                </a:cubicBezTo>
                <a:cubicBezTo>
                  <a:pt x="3661" y="1411"/>
                  <a:pt x="3661" y="1411"/>
                  <a:pt x="3661" y="1470"/>
                </a:cubicBezTo>
                <a:cubicBezTo>
                  <a:pt x="3661" y="1470"/>
                  <a:pt x="3661" y="1470"/>
                  <a:pt x="3672" y="1470"/>
                </a:cubicBezTo>
                <a:cubicBezTo>
                  <a:pt x="3672" y="1470"/>
                  <a:pt x="3672" y="1470"/>
                  <a:pt x="3672" y="1397"/>
                </a:cubicBezTo>
                <a:close/>
                <a:moveTo>
                  <a:pt x="3718" y="1397"/>
                </a:moveTo>
                <a:cubicBezTo>
                  <a:pt x="3718" y="1397"/>
                  <a:pt x="3718" y="1397"/>
                  <a:pt x="3718" y="1397"/>
                </a:cubicBezTo>
                <a:cubicBezTo>
                  <a:pt x="3714" y="1397"/>
                  <a:pt x="3714" y="1397"/>
                  <a:pt x="3714" y="1397"/>
                </a:cubicBezTo>
                <a:cubicBezTo>
                  <a:pt x="3712" y="1398"/>
                  <a:pt x="3710" y="1400"/>
                  <a:pt x="3708" y="1400"/>
                </a:cubicBezTo>
                <a:cubicBezTo>
                  <a:pt x="3707" y="1402"/>
                  <a:pt x="3704" y="1402"/>
                  <a:pt x="3703" y="1403"/>
                </a:cubicBezTo>
                <a:cubicBezTo>
                  <a:pt x="3701" y="1404"/>
                  <a:pt x="3699" y="1405"/>
                  <a:pt x="3697" y="1405"/>
                </a:cubicBezTo>
                <a:cubicBezTo>
                  <a:pt x="3696" y="1406"/>
                  <a:pt x="3693" y="1407"/>
                  <a:pt x="3692" y="1408"/>
                </a:cubicBezTo>
                <a:cubicBezTo>
                  <a:pt x="3692" y="1408"/>
                  <a:pt x="3692" y="1408"/>
                  <a:pt x="3692" y="1418"/>
                </a:cubicBezTo>
                <a:cubicBezTo>
                  <a:pt x="3695" y="1417"/>
                  <a:pt x="3698" y="1416"/>
                  <a:pt x="3700" y="1415"/>
                </a:cubicBezTo>
                <a:cubicBezTo>
                  <a:pt x="3702" y="1414"/>
                  <a:pt x="3705" y="1413"/>
                  <a:pt x="3707" y="1411"/>
                </a:cubicBezTo>
                <a:cubicBezTo>
                  <a:pt x="3707" y="1411"/>
                  <a:pt x="3707" y="1411"/>
                  <a:pt x="3707" y="1470"/>
                </a:cubicBezTo>
                <a:cubicBezTo>
                  <a:pt x="3707" y="1470"/>
                  <a:pt x="3707" y="1470"/>
                  <a:pt x="3718" y="1470"/>
                </a:cubicBezTo>
                <a:cubicBezTo>
                  <a:pt x="3718" y="1470"/>
                  <a:pt x="3718" y="1470"/>
                  <a:pt x="3718" y="1397"/>
                </a:cubicBezTo>
                <a:close/>
                <a:moveTo>
                  <a:pt x="3524" y="1429"/>
                </a:moveTo>
                <a:cubicBezTo>
                  <a:pt x="3524" y="1429"/>
                  <a:pt x="3524" y="1429"/>
                  <a:pt x="3524" y="1429"/>
                </a:cubicBezTo>
                <a:cubicBezTo>
                  <a:pt x="3524" y="1437"/>
                  <a:pt x="3524" y="1437"/>
                  <a:pt x="3524" y="1437"/>
                </a:cubicBezTo>
                <a:cubicBezTo>
                  <a:pt x="3530" y="1438"/>
                  <a:pt x="3531" y="1441"/>
                  <a:pt x="3531" y="1443"/>
                </a:cubicBezTo>
                <a:cubicBezTo>
                  <a:pt x="3531" y="1445"/>
                  <a:pt x="3530" y="1448"/>
                  <a:pt x="3530" y="1450"/>
                </a:cubicBezTo>
                <a:cubicBezTo>
                  <a:pt x="3530" y="1453"/>
                  <a:pt x="3529" y="1455"/>
                  <a:pt x="3529" y="1457"/>
                </a:cubicBezTo>
                <a:cubicBezTo>
                  <a:pt x="3529" y="1467"/>
                  <a:pt x="3535" y="1470"/>
                  <a:pt x="3544" y="1470"/>
                </a:cubicBezTo>
                <a:cubicBezTo>
                  <a:pt x="3544" y="1470"/>
                  <a:pt x="3544" y="1470"/>
                  <a:pt x="3548" y="1470"/>
                </a:cubicBezTo>
                <a:cubicBezTo>
                  <a:pt x="3548" y="1470"/>
                  <a:pt x="3548" y="1470"/>
                  <a:pt x="3548" y="1461"/>
                </a:cubicBezTo>
                <a:cubicBezTo>
                  <a:pt x="3548" y="1461"/>
                  <a:pt x="3548" y="1461"/>
                  <a:pt x="3546" y="1461"/>
                </a:cubicBezTo>
                <a:cubicBezTo>
                  <a:pt x="3542" y="1461"/>
                  <a:pt x="3541" y="1459"/>
                  <a:pt x="3541" y="1455"/>
                </a:cubicBezTo>
                <a:cubicBezTo>
                  <a:pt x="3541" y="1454"/>
                  <a:pt x="3541" y="1452"/>
                  <a:pt x="3542" y="1450"/>
                </a:cubicBezTo>
                <a:cubicBezTo>
                  <a:pt x="3542" y="1449"/>
                  <a:pt x="3542" y="1447"/>
                  <a:pt x="3542" y="1444"/>
                </a:cubicBezTo>
                <a:cubicBezTo>
                  <a:pt x="3542" y="1437"/>
                  <a:pt x="3539" y="1434"/>
                  <a:pt x="3534" y="1433"/>
                </a:cubicBezTo>
                <a:cubicBezTo>
                  <a:pt x="3534" y="1433"/>
                  <a:pt x="3534" y="1433"/>
                  <a:pt x="3534" y="1433"/>
                </a:cubicBezTo>
                <a:cubicBezTo>
                  <a:pt x="3539" y="1432"/>
                  <a:pt x="3542" y="1429"/>
                  <a:pt x="3542" y="1422"/>
                </a:cubicBezTo>
                <a:cubicBezTo>
                  <a:pt x="3542" y="1419"/>
                  <a:pt x="3542" y="1417"/>
                  <a:pt x="3542" y="1416"/>
                </a:cubicBezTo>
                <a:cubicBezTo>
                  <a:pt x="3541" y="1414"/>
                  <a:pt x="3541" y="1412"/>
                  <a:pt x="3541" y="1411"/>
                </a:cubicBezTo>
                <a:cubicBezTo>
                  <a:pt x="3541" y="1407"/>
                  <a:pt x="3542" y="1405"/>
                  <a:pt x="3546" y="1405"/>
                </a:cubicBezTo>
                <a:cubicBezTo>
                  <a:pt x="3546" y="1405"/>
                  <a:pt x="3546" y="1405"/>
                  <a:pt x="3548" y="1405"/>
                </a:cubicBezTo>
                <a:cubicBezTo>
                  <a:pt x="3548" y="1405"/>
                  <a:pt x="3548" y="1405"/>
                  <a:pt x="3548" y="1396"/>
                </a:cubicBezTo>
                <a:cubicBezTo>
                  <a:pt x="3548" y="1396"/>
                  <a:pt x="3548" y="1396"/>
                  <a:pt x="3544" y="1396"/>
                </a:cubicBezTo>
                <a:cubicBezTo>
                  <a:pt x="3535" y="1396"/>
                  <a:pt x="3529" y="1400"/>
                  <a:pt x="3529" y="1408"/>
                </a:cubicBezTo>
                <a:cubicBezTo>
                  <a:pt x="3529" y="1411"/>
                  <a:pt x="3530" y="1413"/>
                  <a:pt x="3530" y="1416"/>
                </a:cubicBezTo>
                <a:cubicBezTo>
                  <a:pt x="3530" y="1418"/>
                  <a:pt x="3531" y="1421"/>
                  <a:pt x="3531" y="1423"/>
                </a:cubicBezTo>
                <a:cubicBezTo>
                  <a:pt x="3531" y="1425"/>
                  <a:pt x="3530" y="1429"/>
                  <a:pt x="3524" y="1429"/>
                </a:cubicBezTo>
                <a:close/>
                <a:moveTo>
                  <a:pt x="3579" y="1437"/>
                </a:moveTo>
                <a:cubicBezTo>
                  <a:pt x="3579" y="1437"/>
                  <a:pt x="3579" y="1437"/>
                  <a:pt x="3579" y="1437"/>
                </a:cubicBezTo>
                <a:cubicBezTo>
                  <a:pt x="3579" y="1429"/>
                  <a:pt x="3579" y="1429"/>
                  <a:pt x="3579" y="1429"/>
                </a:cubicBezTo>
                <a:cubicBezTo>
                  <a:pt x="3572" y="1429"/>
                  <a:pt x="3572" y="1425"/>
                  <a:pt x="3572" y="1423"/>
                </a:cubicBezTo>
                <a:cubicBezTo>
                  <a:pt x="3572" y="1421"/>
                  <a:pt x="3572" y="1418"/>
                  <a:pt x="3572" y="1416"/>
                </a:cubicBezTo>
                <a:cubicBezTo>
                  <a:pt x="3573" y="1413"/>
                  <a:pt x="3573" y="1411"/>
                  <a:pt x="3573" y="1408"/>
                </a:cubicBezTo>
                <a:cubicBezTo>
                  <a:pt x="3573" y="1400"/>
                  <a:pt x="3567" y="1396"/>
                  <a:pt x="3558" y="1396"/>
                </a:cubicBezTo>
                <a:cubicBezTo>
                  <a:pt x="3558" y="1396"/>
                  <a:pt x="3558" y="1396"/>
                  <a:pt x="3554" y="1396"/>
                </a:cubicBezTo>
                <a:cubicBezTo>
                  <a:pt x="3554" y="1396"/>
                  <a:pt x="3554" y="1396"/>
                  <a:pt x="3554" y="1405"/>
                </a:cubicBezTo>
                <a:cubicBezTo>
                  <a:pt x="3554" y="1405"/>
                  <a:pt x="3554" y="1405"/>
                  <a:pt x="3556" y="1405"/>
                </a:cubicBezTo>
                <a:cubicBezTo>
                  <a:pt x="3560" y="1405"/>
                  <a:pt x="3561" y="1407"/>
                  <a:pt x="3561" y="1411"/>
                </a:cubicBezTo>
                <a:cubicBezTo>
                  <a:pt x="3561" y="1412"/>
                  <a:pt x="3561" y="1414"/>
                  <a:pt x="3561" y="1416"/>
                </a:cubicBezTo>
                <a:cubicBezTo>
                  <a:pt x="3560" y="1417"/>
                  <a:pt x="3560" y="1419"/>
                  <a:pt x="3560" y="1422"/>
                </a:cubicBezTo>
                <a:cubicBezTo>
                  <a:pt x="3560" y="1429"/>
                  <a:pt x="3563" y="1432"/>
                  <a:pt x="3569" y="1433"/>
                </a:cubicBezTo>
                <a:cubicBezTo>
                  <a:pt x="3569" y="1433"/>
                  <a:pt x="3569" y="1433"/>
                  <a:pt x="3569" y="1433"/>
                </a:cubicBezTo>
                <a:cubicBezTo>
                  <a:pt x="3563" y="1434"/>
                  <a:pt x="3560" y="1437"/>
                  <a:pt x="3560" y="1444"/>
                </a:cubicBezTo>
                <a:cubicBezTo>
                  <a:pt x="3560" y="1447"/>
                  <a:pt x="3560" y="1449"/>
                  <a:pt x="3561" y="1450"/>
                </a:cubicBezTo>
                <a:cubicBezTo>
                  <a:pt x="3561" y="1452"/>
                  <a:pt x="3561" y="1454"/>
                  <a:pt x="3561" y="1455"/>
                </a:cubicBezTo>
                <a:cubicBezTo>
                  <a:pt x="3561" y="1459"/>
                  <a:pt x="3560" y="1461"/>
                  <a:pt x="3556" y="1461"/>
                </a:cubicBezTo>
                <a:cubicBezTo>
                  <a:pt x="3556" y="1461"/>
                  <a:pt x="3556" y="1461"/>
                  <a:pt x="3554" y="1461"/>
                </a:cubicBezTo>
                <a:cubicBezTo>
                  <a:pt x="3554" y="1461"/>
                  <a:pt x="3554" y="1461"/>
                  <a:pt x="3554" y="1470"/>
                </a:cubicBezTo>
                <a:cubicBezTo>
                  <a:pt x="3554" y="1470"/>
                  <a:pt x="3554" y="1470"/>
                  <a:pt x="3558" y="1470"/>
                </a:cubicBezTo>
                <a:cubicBezTo>
                  <a:pt x="3567" y="1470"/>
                  <a:pt x="3573" y="1467"/>
                  <a:pt x="3573" y="1457"/>
                </a:cubicBezTo>
                <a:cubicBezTo>
                  <a:pt x="3573" y="1455"/>
                  <a:pt x="3573" y="1453"/>
                  <a:pt x="3572" y="1450"/>
                </a:cubicBezTo>
                <a:cubicBezTo>
                  <a:pt x="3572" y="1448"/>
                  <a:pt x="3572" y="1445"/>
                  <a:pt x="3572" y="1443"/>
                </a:cubicBezTo>
                <a:cubicBezTo>
                  <a:pt x="3572" y="1441"/>
                  <a:pt x="3572" y="1438"/>
                  <a:pt x="3579" y="1437"/>
                </a:cubicBezTo>
                <a:close/>
                <a:moveTo>
                  <a:pt x="3762" y="1470"/>
                </a:moveTo>
                <a:cubicBezTo>
                  <a:pt x="3755" y="1470"/>
                  <a:pt x="3748" y="1467"/>
                  <a:pt x="3744" y="1461"/>
                </a:cubicBezTo>
                <a:cubicBezTo>
                  <a:pt x="3740" y="1455"/>
                  <a:pt x="3738" y="1446"/>
                  <a:pt x="3738" y="1434"/>
                </a:cubicBezTo>
                <a:cubicBezTo>
                  <a:pt x="3738" y="1421"/>
                  <a:pt x="3740" y="1411"/>
                  <a:pt x="3745" y="1404"/>
                </a:cubicBezTo>
                <a:cubicBezTo>
                  <a:pt x="3749" y="1398"/>
                  <a:pt x="3756" y="1394"/>
                  <a:pt x="3764" y="1394"/>
                </a:cubicBezTo>
                <a:cubicBezTo>
                  <a:pt x="3780" y="1394"/>
                  <a:pt x="3788" y="1407"/>
                  <a:pt x="3788" y="1432"/>
                </a:cubicBezTo>
                <a:cubicBezTo>
                  <a:pt x="3788" y="1445"/>
                  <a:pt x="3786" y="1454"/>
                  <a:pt x="3781" y="1461"/>
                </a:cubicBezTo>
                <a:cubicBezTo>
                  <a:pt x="3777" y="1467"/>
                  <a:pt x="3770" y="1470"/>
                  <a:pt x="3762" y="1470"/>
                </a:cubicBezTo>
                <a:close/>
                <a:moveTo>
                  <a:pt x="3764" y="1404"/>
                </a:moveTo>
                <a:cubicBezTo>
                  <a:pt x="3754" y="1404"/>
                  <a:pt x="3750" y="1414"/>
                  <a:pt x="3750" y="1434"/>
                </a:cubicBezTo>
                <a:cubicBezTo>
                  <a:pt x="3750" y="1452"/>
                  <a:pt x="3754" y="1461"/>
                  <a:pt x="3763" y="1461"/>
                </a:cubicBezTo>
                <a:cubicBezTo>
                  <a:pt x="3772" y="1461"/>
                  <a:pt x="3776" y="1452"/>
                  <a:pt x="3776" y="1433"/>
                </a:cubicBezTo>
                <a:cubicBezTo>
                  <a:pt x="3776" y="1413"/>
                  <a:pt x="3772" y="1404"/>
                  <a:pt x="3764" y="1404"/>
                </a:cubicBezTo>
                <a:close/>
                <a:moveTo>
                  <a:pt x="3833" y="1470"/>
                </a:moveTo>
                <a:cubicBezTo>
                  <a:pt x="3825" y="1470"/>
                  <a:pt x="3818" y="1467"/>
                  <a:pt x="3815" y="1461"/>
                </a:cubicBezTo>
                <a:cubicBezTo>
                  <a:pt x="3810" y="1455"/>
                  <a:pt x="3808" y="1446"/>
                  <a:pt x="3808" y="1434"/>
                </a:cubicBezTo>
                <a:cubicBezTo>
                  <a:pt x="3808" y="1421"/>
                  <a:pt x="3810" y="1411"/>
                  <a:pt x="3815" y="1404"/>
                </a:cubicBezTo>
                <a:cubicBezTo>
                  <a:pt x="3819" y="1398"/>
                  <a:pt x="3826" y="1394"/>
                  <a:pt x="3835" y="1394"/>
                </a:cubicBezTo>
                <a:cubicBezTo>
                  <a:pt x="3851" y="1394"/>
                  <a:pt x="3859" y="1407"/>
                  <a:pt x="3859" y="1432"/>
                </a:cubicBezTo>
                <a:cubicBezTo>
                  <a:pt x="3859" y="1445"/>
                  <a:pt x="3857" y="1454"/>
                  <a:pt x="3852" y="1461"/>
                </a:cubicBezTo>
                <a:cubicBezTo>
                  <a:pt x="3847" y="1467"/>
                  <a:pt x="3841" y="1470"/>
                  <a:pt x="3833" y="1470"/>
                </a:cubicBezTo>
                <a:close/>
                <a:moveTo>
                  <a:pt x="3834" y="1404"/>
                </a:moveTo>
                <a:cubicBezTo>
                  <a:pt x="3825" y="1404"/>
                  <a:pt x="3820" y="1414"/>
                  <a:pt x="3820" y="1434"/>
                </a:cubicBezTo>
                <a:cubicBezTo>
                  <a:pt x="3820" y="1452"/>
                  <a:pt x="3824" y="1461"/>
                  <a:pt x="3833" y="1461"/>
                </a:cubicBezTo>
                <a:cubicBezTo>
                  <a:pt x="3842" y="1461"/>
                  <a:pt x="3847" y="1452"/>
                  <a:pt x="3847" y="1433"/>
                </a:cubicBezTo>
                <a:cubicBezTo>
                  <a:pt x="3847" y="1413"/>
                  <a:pt x="3842" y="1404"/>
                  <a:pt x="3834" y="1404"/>
                </a:cubicBezTo>
                <a:close/>
                <a:moveTo>
                  <a:pt x="1978" y="1493"/>
                </a:moveTo>
                <a:cubicBezTo>
                  <a:pt x="1978" y="1493"/>
                  <a:pt x="1978" y="1493"/>
                  <a:pt x="1978" y="1493"/>
                </a:cubicBezTo>
                <a:cubicBezTo>
                  <a:pt x="1973" y="1493"/>
                  <a:pt x="1973" y="1493"/>
                  <a:pt x="1973" y="1493"/>
                </a:cubicBezTo>
                <a:cubicBezTo>
                  <a:pt x="1971" y="1494"/>
                  <a:pt x="1969" y="1496"/>
                  <a:pt x="1967" y="1496"/>
                </a:cubicBezTo>
                <a:cubicBezTo>
                  <a:pt x="1966" y="1498"/>
                  <a:pt x="1964" y="1498"/>
                  <a:pt x="1962" y="1499"/>
                </a:cubicBezTo>
                <a:cubicBezTo>
                  <a:pt x="1960" y="1501"/>
                  <a:pt x="1958" y="1501"/>
                  <a:pt x="1957" y="1502"/>
                </a:cubicBezTo>
                <a:cubicBezTo>
                  <a:pt x="1955" y="1503"/>
                  <a:pt x="1953" y="1504"/>
                  <a:pt x="1951" y="1504"/>
                </a:cubicBezTo>
                <a:cubicBezTo>
                  <a:pt x="1951" y="1504"/>
                  <a:pt x="1951" y="1504"/>
                  <a:pt x="1951" y="1514"/>
                </a:cubicBezTo>
                <a:cubicBezTo>
                  <a:pt x="1954" y="1513"/>
                  <a:pt x="1957" y="1512"/>
                  <a:pt x="1960" y="1511"/>
                </a:cubicBezTo>
                <a:cubicBezTo>
                  <a:pt x="1962" y="1510"/>
                  <a:pt x="1964" y="1509"/>
                  <a:pt x="1966" y="1507"/>
                </a:cubicBezTo>
                <a:cubicBezTo>
                  <a:pt x="1966" y="1507"/>
                  <a:pt x="1966" y="1507"/>
                  <a:pt x="1966" y="1566"/>
                </a:cubicBezTo>
                <a:cubicBezTo>
                  <a:pt x="1966" y="1566"/>
                  <a:pt x="1966" y="1566"/>
                  <a:pt x="1978" y="1566"/>
                </a:cubicBezTo>
                <a:cubicBezTo>
                  <a:pt x="1978" y="1566"/>
                  <a:pt x="1978" y="1566"/>
                  <a:pt x="1978" y="1493"/>
                </a:cubicBezTo>
                <a:close/>
                <a:moveTo>
                  <a:pt x="2025" y="1493"/>
                </a:moveTo>
                <a:cubicBezTo>
                  <a:pt x="2025" y="1493"/>
                  <a:pt x="2025" y="1493"/>
                  <a:pt x="2025" y="1493"/>
                </a:cubicBezTo>
                <a:cubicBezTo>
                  <a:pt x="2020" y="1493"/>
                  <a:pt x="2020" y="1493"/>
                  <a:pt x="2020" y="1493"/>
                </a:cubicBezTo>
                <a:cubicBezTo>
                  <a:pt x="2018" y="1494"/>
                  <a:pt x="2017" y="1496"/>
                  <a:pt x="2015" y="1496"/>
                </a:cubicBezTo>
                <a:cubicBezTo>
                  <a:pt x="2013" y="1498"/>
                  <a:pt x="2011" y="1498"/>
                  <a:pt x="2009" y="1499"/>
                </a:cubicBezTo>
                <a:cubicBezTo>
                  <a:pt x="2008" y="1501"/>
                  <a:pt x="2006" y="1501"/>
                  <a:pt x="2004" y="1502"/>
                </a:cubicBezTo>
                <a:cubicBezTo>
                  <a:pt x="2002" y="1503"/>
                  <a:pt x="2001" y="1504"/>
                  <a:pt x="1999" y="1504"/>
                </a:cubicBezTo>
                <a:cubicBezTo>
                  <a:pt x="1999" y="1504"/>
                  <a:pt x="1999" y="1504"/>
                  <a:pt x="1999" y="1514"/>
                </a:cubicBezTo>
                <a:cubicBezTo>
                  <a:pt x="2001" y="1513"/>
                  <a:pt x="2004" y="1512"/>
                  <a:pt x="2007" y="1511"/>
                </a:cubicBezTo>
                <a:cubicBezTo>
                  <a:pt x="2009" y="1510"/>
                  <a:pt x="2012" y="1509"/>
                  <a:pt x="2014" y="1507"/>
                </a:cubicBezTo>
                <a:cubicBezTo>
                  <a:pt x="2014" y="1507"/>
                  <a:pt x="2014" y="1507"/>
                  <a:pt x="2014" y="1566"/>
                </a:cubicBezTo>
                <a:cubicBezTo>
                  <a:pt x="2014" y="1566"/>
                  <a:pt x="2014" y="1566"/>
                  <a:pt x="2025" y="1566"/>
                </a:cubicBezTo>
                <a:cubicBezTo>
                  <a:pt x="2025" y="1566"/>
                  <a:pt x="2025" y="1566"/>
                  <a:pt x="2025" y="1493"/>
                </a:cubicBezTo>
                <a:close/>
                <a:moveTo>
                  <a:pt x="2072" y="1493"/>
                </a:moveTo>
                <a:cubicBezTo>
                  <a:pt x="2072" y="1493"/>
                  <a:pt x="2072" y="1493"/>
                  <a:pt x="2072" y="1493"/>
                </a:cubicBezTo>
                <a:cubicBezTo>
                  <a:pt x="2068" y="1493"/>
                  <a:pt x="2068" y="1493"/>
                  <a:pt x="2068" y="1493"/>
                </a:cubicBezTo>
                <a:cubicBezTo>
                  <a:pt x="2066" y="1494"/>
                  <a:pt x="2064" y="1496"/>
                  <a:pt x="2062" y="1496"/>
                </a:cubicBezTo>
                <a:cubicBezTo>
                  <a:pt x="2060" y="1498"/>
                  <a:pt x="2058" y="1498"/>
                  <a:pt x="2057" y="1499"/>
                </a:cubicBezTo>
                <a:cubicBezTo>
                  <a:pt x="2055" y="1500"/>
                  <a:pt x="2053" y="1501"/>
                  <a:pt x="2051" y="1501"/>
                </a:cubicBezTo>
                <a:cubicBezTo>
                  <a:pt x="2050" y="1502"/>
                  <a:pt x="2048" y="1503"/>
                  <a:pt x="2046" y="1504"/>
                </a:cubicBezTo>
                <a:cubicBezTo>
                  <a:pt x="2046" y="1504"/>
                  <a:pt x="2046" y="1504"/>
                  <a:pt x="2046" y="1514"/>
                </a:cubicBezTo>
                <a:cubicBezTo>
                  <a:pt x="2049" y="1513"/>
                  <a:pt x="2052" y="1512"/>
                  <a:pt x="2054" y="1511"/>
                </a:cubicBezTo>
                <a:cubicBezTo>
                  <a:pt x="2056" y="1510"/>
                  <a:pt x="2059" y="1509"/>
                  <a:pt x="2060" y="1507"/>
                </a:cubicBezTo>
                <a:cubicBezTo>
                  <a:pt x="2060" y="1507"/>
                  <a:pt x="2060" y="1507"/>
                  <a:pt x="2060" y="1566"/>
                </a:cubicBezTo>
                <a:cubicBezTo>
                  <a:pt x="2060" y="1566"/>
                  <a:pt x="2060" y="1566"/>
                  <a:pt x="2072" y="1566"/>
                </a:cubicBezTo>
                <a:cubicBezTo>
                  <a:pt x="2072" y="1566"/>
                  <a:pt x="2072" y="1566"/>
                  <a:pt x="2072" y="1493"/>
                </a:cubicBezTo>
                <a:close/>
                <a:moveTo>
                  <a:pt x="2117" y="1566"/>
                </a:moveTo>
                <a:cubicBezTo>
                  <a:pt x="2109" y="1566"/>
                  <a:pt x="2103" y="1563"/>
                  <a:pt x="2098" y="1557"/>
                </a:cubicBezTo>
                <a:cubicBezTo>
                  <a:pt x="2095" y="1551"/>
                  <a:pt x="2093" y="1542"/>
                  <a:pt x="2093" y="1530"/>
                </a:cubicBezTo>
                <a:cubicBezTo>
                  <a:pt x="2093" y="1517"/>
                  <a:pt x="2095" y="1507"/>
                  <a:pt x="2099" y="1500"/>
                </a:cubicBezTo>
                <a:cubicBezTo>
                  <a:pt x="2104" y="1494"/>
                  <a:pt x="2110" y="1490"/>
                  <a:pt x="2119" y="1490"/>
                </a:cubicBezTo>
                <a:cubicBezTo>
                  <a:pt x="2135" y="1490"/>
                  <a:pt x="2143" y="1503"/>
                  <a:pt x="2143" y="1528"/>
                </a:cubicBezTo>
                <a:cubicBezTo>
                  <a:pt x="2143" y="1541"/>
                  <a:pt x="2141" y="1550"/>
                  <a:pt x="2136" y="1557"/>
                </a:cubicBezTo>
                <a:cubicBezTo>
                  <a:pt x="2131" y="1563"/>
                  <a:pt x="2125" y="1566"/>
                  <a:pt x="2117" y="1566"/>
                </a:cubicBezTo>
                <a:close/>
                <a:moveTo>
                  <a:pt x="2118" y="1500"/>
                </a:moveTo>
                <a:cubicBezTo>
                  <a:pt x="2109" y="1500"/>
                  <a:pt x="2104" y="1510"/>
                  <a:pt x="2104" y="1530"/>
                </a:cubicBezTo>
                <a:cubicBezTo>
                  <a:pt x="2104" y="1548"/>
                  <a:pt x="2109" y="1557"/>
                  <a:pt x="2117" y="1557"/>
                </a:cubicBezTo>
                <a:cubicBezTo>
                  <a:pt x="2126" y="1557"/>
                  <a:pt x="2131" y="1548"/>
                  <a:pt x="2131" y="1529"/>
                </a:cubicBezTo>
                <a:cubicBezTo>
                  <a:pt x="2131" y="1509"/>
                  <a:pt x="2126" y="1500"/>
                  <a:pt x="2118" y="1500"/>
                </a:cubicBezTo>
                <a:close/>
                <a:moveTo>
                  <a:pt x="2188" y="1566"/>
                </a:moveTo>
                <a:cubicBezTo>
                  <a:pt x="2180" y="1566"/>
                  <a:pt x="2174" y="1563"/>
                  <a:pt x="2170" y="1557"/>
                </a:cubicBezTo>
                <a:cubicBezTo>
                  <a:pt x="2166" y="1551"/>
                  <a:pt x="2164" y="1542"/>
                  <a:pt x="2164" y="1530"/>
                </a:cubicBezTo>
                <a:cubicBezTo>
                  <a:pt x="2164" y="1517"/>
                  <a:pt x="2166" y="1507"/>
                  <a:pt x="2170" y="1500"/>
                </a:cubicBezTo>
                <a:cubicBezTo>
                  <a:pt x="2175" y="1494"/>
                  <a:pt x="2181" y="1490"/>
                  <a:pt x="2190" y="1490"/>
                </a:cubicBezTo>
                <a:cubicBezTo>
                  <a:pt x="2206" y="1490"/>
                  <a:pt x="2214" y="1503"/>
                  <a:pt x="2214" y="1528"/>
                </a:cubicBezTo>
                <a:cubicBezTo>
                  <a:pt x="2214" y="1541"/>
                  <a:pt x="2212" y="1550"/>
                  <a:pt x="2208" y="1557"/>
                </a:cubicBezTo>
                <a:cubicBezTo>
                  <a:pt x="2202" y="1563"/>
                  <a:pt x="2197" y="1566"/>
                  <a:pt x="2188" y="1566"/>
                </a:cubicBezTo>
                <a:close/>
                <a:moveTo>
                  <a:pt x="2189" y="1500"/>
                </a:moveTo>
                <a:cubicBezTo>
                  <a:pt x="2180" y="1500"/>
                  <a:pt x="2175" y="1510"/>
                  <a:pt x="2175" y="1530"/>
                </a:cubicBezTo>
                <a:cubicBezTo>
                  <a:pt x="2175" y="1548"/>
                  <a:pt x="2180" y="1557"/>
                  <a:pt x="2189" y="1557"/>
                </a:cubicBezTo>
                <a:cubicBezTo>
                  <a:pt x="2197" y="1557"/>
                  <a:pt x="2202" y="1548"/>
                  <a:pt x="2202" y="1529"/>
                </a:cubicBezTo>
                <a:cubicBezTo>
                  <a:pt x="2202" y="1509"/>
                  <a:pt x="2197" y="1500"/>
                  <a:pt x="2189" y="1500"/>
                </a:cubicBezTo>
                <a:close/>
                <a:moveTo>
                  <a:pt x="2400" y="1566"/>
                </a:moveTo>
                <a:cubicBezTo>
                  <a:pt x="2393" y="1566"/>
                  <a:pt x="2387" y="1563"/>
                  <a:pt x="2383" y="1557"/>
                </a:cubicBezTo>
                <a:cubicBezTo>
                  <a:pt x="2379" y="1551"/>
                  <a:pt x="2376" y="1541"/>
                  <a:pt x="2376" y="1530"/>
                </a:cubicBezTo>
                <a:cubicBezTo>
                  <a:pt x="2376" y="1517"/>
                  <a:pt x="2379" y="1507"/>
                  <a:pt x="2383" y="1500"/>
                </a:cubicBezTo>
                <a:cubicBezTo>
                  <a:pt x="2387" y="1493"/>
                  <a:pt x="2394" y="1490"/>
                  <a:pt x="2403" y="1490"/>
                </a:cubicBezTo>
                <a:cubicBezTo>
                  <a:pt x="2419" y="1490"/>
                  <a:pt x="2427" y="1503"/>
                  <a:pt x="2427" y="1527"/>
                </a:cubicBezTo>
                <a:cubicBezTo>
                  <a:pt x="2427" y="1541"/>
                  <a:pt x="2425" y="1550"/>
                  <a:pt x="2420" y="1557"/>
                </a:cubicBezTo>
                <a:cubicBezTo>
                  <a:pt x="2415" y="1563"/>
                  <a:pt x="2409" y="1566"/>
                  <a:pt x="2400" y="1566"/>
                </a:cubicBezTo>
                <a:close/>
                <a:moveTo>
                  <a:pt x="2402" y="1500"/>
                </a:moveTo>
                <a:cubicBezTo>
                  <a:pt x="2393" y="1500"/>
                  <a:pt x="2389" y="1509"/>
                  <a:pt x="2389" y="1529"/>
                </a:cubicBezTo>
                <a:cubicBezTo>
                  <a:pt x="2389" y="1547"/>
                  <a:pt x="2393" y="1557"/>
                  <a:pt x="2402" y="1557"/>
                </a:cubicBezTo>
                <a:cubicBezTo>
                  <a:pt x="2410" y="1557"/>
                  <a:pt x="2414" y="1547"/>
                  <a:pt x="2414" y="1529"/>
                </a:cubicBezTo>
                <a:cubicBezTo>
                  <a:pt x="2414" y="1509"/>
                  <a:pt x="2411" y="1500"/>
                  <a:pt x="2402" y="1500"/>
                </a:cubicBezTo>
                <a:close/>
                <a:moveTo>
                  <a:pt x="2519" y="1566"/>
                </a:moveTo>
                <a:cubicBezTo>
                  <a:pt x="2511" y="1566"/>
                  <a:pt x="2505" y="1563"/>
                  <a:pt x="2501" y="1557"/>
                </a:cubicBezTo>
                <a:cubicBezTo>
                  <a:pt x="2497" y="1551"/>
                  <a:pt x="2494" y="1541"/>
                  <a:pt x="2494" y="1530"/>
                </a:cubicBezTo>
                <a:cubicBezTo>
                  <a:pt x="2494" y="1517"/>
                  <a:pt x="2497" y="1507"/>
                  <a:pt x="2501" y="1500"/>
                </a:cubicBezTo>
                <a:cubicBezTo>
                  <a:pt x="2505" y="1493"/>
                  <a:pt x="2512" y="1490"/>
                  <a:pt x="2521" y="1490"/>
                </a:cubicBezTo>
                <a:cubicBezTo>
                  <a:pt x="2537" y="1490"/>
                  <a:pt x="2545" y="1503"/>
                  <a:pt x="2545" y="1527"/>
                </a:cubicBezTo>
                <a:cubicBezTo>
                  <a:pt x="2545" y="1541"/>
                  <a:pt x="2543" y="1550"/>
                  <a:pt x="2538" y="1557"/>
                </a:cubicBezTo>
                <a:cubicBezTo>
                  <a:pt x="2533" y="1563"/>
                  <a:pt x="2527" y="1566"/>
                  <a:pt x="2519" y="1566"/>
                </a:cubicBezTo>
                <a:close/>
                <a:moveTo>
                  <a:pt x="2520" y="1500"/>
                </a:moveTo>
                <a:cubicBezTo>
                  <a:pt x="2511" y="1500"/>
                  <a:pt x="2507" y="1509"/>
                  <a:pt x="2507" y="1529"/>
                </a:cubicBezTo>
                <a:cubicBezTo>
                  <a:pt x="2507" y="1547"/>
                  <a:pt x="2511" y="1557"/>
                  <a:pt x="2520" y="1557"/>
                </a:cubicBezTo>
                <a:cubicBezTo>
                  <a:pt x="2528" y="1557"/>
                  <a:pt x="2532" y="1547"/>
                  <a:pt x="2532" y="1529"/>
                </a:cubicBezTo>
                <a:cubicBezTo>
                  <a:pt x="2532" y="1509"/>
                  <a:pt x="2529" y="1500"/>
                  <a:pt x="2520" y="1500"/>
                </a:cubicBezTo>
                <a:close/>
                <a:moveTo>
                  <a:pt x="2474" y="1493"/>
                </a:moveTo>
                <a:cubicBezTo>
                  <a:pt x="2474" y="1493"/>
                  <a:pt x="2474" y="1493"/>
                  <a:pt x="2474" y="1493"/>
                </a:cubicBezTo>
                <a:cubicBezTo>
                  <a:pt x="2469" y="1493"/>
                  <a:pt x="2469" y="1493"/>
                  <a:pt x="2469" y="1493"/>
                </a:cubicBezTo>
                <a:cubicBezTo>
                  <a:pt x="2467" y="1494"/>
                  <a:pt x="2465" y="1496"/>
                  <a:pt x="2463" y="1496"/>
                </a:cubicBezTo>
                <a:cubicBezTo>
                  <a:pt x="2462" y="1498"/>
                  <a:pt x="2460" y="1498"/>
                  <a:pt x="2458" y="1499"/>
                </a:cubicBezTo>
                <a:cubicBezTo>
                  <a:pt x="2457" y="1500"/>
                  <a:pt x="2455" y="1501"/>
                  <a:pt x="2453" y="1501"/>
                </a:cubicBezTo>
                <a:cubicBezTo>
                  <a:pt x="2451" y="1502"/>
                  <a:pt x="2450" y="1503"/>
                  <a:pt x="2447" y="1504"/>
                </a:cubicBezTo>
                <a:cubicBezTo>
                  <a:pt x="2447" y="1504"/>
                  <a:pt x="2447" y="1504"/>
                  <a:pt x="2447" y="1514"/>
                </a:cubicBezTo>
                <a:cubicBezTo>
                  <a:pt x="2450" y="1513"/>
                  <a:pt x="2453" y="1512"/>
                  <a:pt x="2455" y="1511"/>
                </a:cubicBezTo>
                <a:cubicBezTo>
                  <a:pt x="2458" y="1510"/>
                  <a:pt x="2460" y="1509"/>
                  <a:pt x="2462" y="1507"/>
                </a:cubicBezTo>
                <a:cubicBezTo>
                  <a:pt x="2462" y="1507"/>
                  <a:pt x="2462" y="1507"/>
                  <a:pt x="2462" y="1566"/>
                </a:cubicBezTo>
                <a:cubicBezTo>
                  <a:pt x="2462" y="1566"/>
                  <a:pt x="2462" y="1566"/>
                  <a:pt x="2474" y="1566"/>
                </a:cubicBezTo>
                <a:cubicBezTo>
                  <a:pt x="2474" y="1566"/>
                  <a:pt x="2474" y="1566"/>
                  <a:pt x="2474" y="1493"/>
                </a:cubicBezTo>
                <a:close/>
                <a:moveTo>
                  <a:pt x="2590" y="1566"/>
                </a:moveTo>
                <a:cubicBezTo>
                  <a:pt x="2582" y="1566"/>
                  <a:pt x="2576" y="1563"/>
                  <a:pt x="2572" y="1557"/>
                </a:cubicBezTo>
                <a:cubicBezTo>
                  <a:pt x="2568" y="1551"/>
                  <a:pt x="2565" y="1542"/>
                  <a:pt x="2565" y="1530"/>
                </a:cubicBezTo>
                <a:cubicBezTo>
                  <a:pt x="2565" y="1517"/>
                  <a:pt x="2568" y="1507"/>
                  <a:pt x="2572" y="1500"/>
                </a:cubicBezTo>
                <a:cubicBezTo>
                  <a:pt x="2576" y="1494"/>
                  <a:pt x="2583" y="1490"/>
                  <a:pt x="2592" y="1490"/>
                </a:cubicBezTo>
                <a:cubicBezTo>
                  <a:pt x="2608" y="1490"/>
                  <a:pt x="2616" y="1503"/>
                  <a:pt x="2616" y="1528"/>
                </a:cubicBezTo>
                <a:cubicBezTo>
                  <a:pt x="2616" y="1541"/>
                  <a:pt x="2614" y="1550"/>
                  <a:pt x="2609" y="1557"/>
                </a:cubicBezTo>
                <a:cubicBezTo>
                  <a:pt x="2604" y="1563"/>
                  <a:pt x="2598" y="1566"/>
                  <a:pt x="2590" y="1566"/>
                </a:cubicBezTo>
                <a:close/>
                <a:moveTo>
                  <a:pt x="2591" y="1500"/>
                </a:moveTo>
                <a:cubicBezTo>
                  <a:pt x="2582" y="1500"/>
                  <a:pt x="2577" y="1510"/>
                  <a:pt x="2577" y="1530"/>
                </a:cubicBezTo>
                <a:cubicBezTo>
                  <a:pt x="2577" y="1548"/>
                  <a:pt x="2582" y="1557"/>
                  <a:pt x="2590" y="1557"/>
                </a:cubicBezTo>
                <a:cubicBezTo>
                  <a:pt x="2599" y="1557"/>
                  <a:pt x="2603" y="1548"/>
                  <a:pt x="2603" y="1529"/>
                </a:cubicBezTo>
                <a:cubicBezTo>
                  <a:pt x="2603" y="1509"/>
                  <a:pt x="2599" y="1500"/>
                  <a:pt x="2591" y="1500"/>
                </a:cubicBezTo>
                <a:close/>
                <a:moveTo>
                  <a:pt x="2637" y="1525"/>
                </a:moveTo>
                <a:cubicBezTo>
                  <a:pt x="2637" y="1525"/>
                  <a:pt x="2637" y="1525"/>
                  <a:pt x="2637" y="1525"/>
                </a:cubicBezTo>
                <a:cubicBezTo>
                  <a:pt x="2636" y="1533"/>
                  <a:pt x="2636" y="1533"/>
                  <a:pt x="2636" y="1533"/>
                </a:cubicBezTo>
                <a:cubicBezTo>
                  <a:pt x="2643" y="1534"/>
                  <a:pt x="2644" y="1537"/>
                  <a:pt x="2644" y="1539"/>
                </a:cubicBezTo>
                <a:cubicBezTo>
                  <a:pt x="2644" y="1541"/>
                  <a:pt x="2643" y="1544"/>
                  <a:pt x="2643" y="1546"/>
                </a:cubicBezTo>
                <a:cubicBezTo>
                  <a:pt x="2643" y="1549"/>
                  <a:pt x="2642" y="1551"/>
                  <a:pt x="2642" y="1553"/>
                </a:cubicBezTo>
                <a:cubicBezTo>
                  <a:pt x="2642" y="1563"/>
                  <a:pt x="2648" y="1566"/>
                  <a:pt x="2657" y="1566"/>
                </a:cubicBezTo>
                <a:cubicBezTo>
                  <a:pt x="2657" y="1566"/>
                  <a:pt x="2657" y="1566"/>
                  <a:pt x="2660" y="1566"/>
                </a:cubicBezTo>
                <a:cubicBezTo>
                  <a:pt x="2660" y="1566"/>
                  <a:pt x="2660" y="1566"/>
                  <a:pt x="2660" y="1557"/>
                </a:cubicBezTo>
                <a:cubicBezTo>
                  <a:pt x="2660" y="1557"/>
                  <a:pt x="2660" y="1557"/>
                  <a:pt x="2659" y="1557"/>
                </a:cubicBezTo>
                <a:cubicBezTo>
                  <a:pt x="2655" y="1557"/>
                  <a:pt x="2654" y="1555"/>
                  <a:pt x="2654" y="1551"/>
                </a:cubicBezTo>
                <a:cubicBezTo>
                  <a:pt x="2654" y="1550"/>
                  <a:pt x="2654" y="1548"/>
                  <a:pt x="2655" y="1546"/>
                </a:cubicBezTo>
                <a:cubicBezTo>
                  <a:pt x="2655" y="1545"/>
                  <a:pt x="2655" y="1543"/>
                  <a:pt x="2655" y="1540"/>
                </a:cubicBezTo>
                <a:cubicBezTo>
                  <a:pt x="2655" y="1533"/>
                  <a:pt x="2652" y="1530"/>
                  <a:pt x="2646" y="1529"/>
                </a:cubicBezTo>
                <a:cubicBezTo>
                  <a:pt x="2646" y="1529"/>
                  <a:pt x="2646" y="1529"/>
                  <a:pt x="2646" y="1529"/>
                </a:cubicBezTo>
                <a:cubicBezTo>
                  <a:pt x="2652" y="1528"/>
                  <a:pt x="2655" y="1525"/>
                  <a:pt x="2655" y="1518"/>
                </a:cubicBezTo>
                <a:cubicBezTo>
                  <a:pt x="2655" y="1515"/>
                  <a:pt x="2655" y="1513"/>
                  <a:pt x="2655" y="1512"/>
                </a:cubicBezTo>
                <a:cubicBezTo>
                  <a:pt x="2654" y="1510"/>
                  <a:pt x="2654" y="1508"/>
                  <a:pt x="2654" y="1507"/>
                </a:cubicBezTo>
                <a:cubicBezTo>
                  <a:pt x="2654" y="1503"/>
                  <a:pt x="2655" y="1501"/>
                  <a:pt x="2659" y="1501"/>
                </a:cubicBezTo>
                <a:cubicBezTo>
                  <a:pt x="2659" y="1501"/>
                  <a:pt x="2659" y="1501"/>
                  <a:pt x="2660" y="1501"/>
                </a:cubicBezTo>
                <a:cubicBezTo>
                  <a:pt x="2660" y="1501"/>
                  <a:pt x="2660" y="1501"/>
                  <a:pt x="2660" y="1492"/>
                </a:cubicBezTo>
                <a:cubicBezTo>
                  <a:pt x="2660" y="1492"/>
                  <a:pt x="2660" y="1492"/>
                  <a:pt x="2657" y="1492"/>
                </a:cubicBezTo>
                <a:cubicBezTo>
                  <a:pt x="2648" y="1492"/>
                  <a:pt x="2642" y="1496"/>
                  <a:pt x="2642" y="1504"/>
                </a:cubicBezTo>
                <a:cubicBezTo>
                  <a:pt x="2642" y="1507"/>
                  <a:pt x="2643" y="1509"/>
                  <a:pt x="2643" y="1512"/>
                </a:cubicBezTo>
                <a:cubicBezTo>
                  <a:pt x="2643" y="1514"/>
                  <a:pt x="2644" y="1517"/>
                  <a:pt x="2644" y="1519"/>
                </a:cubicBezTo>
                <a:cubicBezTo>
                  <a:pt x="2644" y="1521"/>
                  <a:pt x="2643" y="1525"/>
                  <a:pt x="2637" y="1525"/>
                </a:cubicBezTo>
                <a:close/>
                <a:moveTo>
                  <a:pt x="2692" y="1533"/>
                </a:moveTo>
                <a:cubicBezTo>
                  <a:pt x="2692" y="1533"/>
                  <a:pt x="2692" y="1533"/>
                  <a:pt x="2692" y="1533"/>
                </a:cubicBezTo>
                <a:cubicBezTo>
                  <a:pt x="2692" y="1525"/>
                  <a:pt x="2692" y="1525"/>
                  <a:pt x="2692" y="1525"/>
                </a:cubicBezTo>
                <a:cubicBezTo>
                  <a:pt x="2685" y="1525"/>
                  <a:pt x="2685" y="1521"/>
                  <a:pt x="2685" y="1519"/>
                </a:cubicBezTo>
                <a:cubicBezTo>
                  <a:pt x="2685" y="1517"/>
                  <a:pt x="2685" y="1514"/>
                  <a:pt x="2685" y="1512"/>
                </a:cubicBezTo>
                <a:cubicBezTo>
                  <a:pt x="2686" y="1509"/>
                  <a:pt x="2686" y="1507"/>
                  <a:pt x="2686" y="1504"/>
                </a:cubicBezTo>
                <a:cubicBezTo>
                  <a:pt x="2686" y="1496"/>
                  <a:pt x="2681" y="1492"/>
                  <a:pt x="2671" y="1492"/>
                </a:cubicBezTo>
                <a:cubicBezTo>
                  <a:pt x="2671" y="1492"/>
                  <a:pt x="2671" y="1492"/>
                  <a:pt x="2668" y="1492"/>
                </a:cubicBezTo>
                <a:cubicBezTo>
                  <a:pt x="2668" y="1492"/>
                  <a:pt x="2668" y="1492"/>
                  <a:pt x="2668" y="1501"/>
                </a:cubicBezTo>
                <a:cubicBezTo>
                  <a:pt x="2668" y="1501"/>
                  <a:pt x="2668" y="1501"/>
                  <a:pt x="2669" y="1501"/>
                </a:cubicBezTo>
                <a:cubicBezTo>
                  <a:pt x="2673" y="1501"/>
                  <a:pt x="2674" y="1503"/>
                  <a:pt x="2674" y="1507"/>
                </a:cubicBezTo>
                <a:cubicBezTo>
                  <a:pt x="2674" y="1508"/>
                  <a:pt x="2674" y="1510"/>
                  <a:pt x="2674" y="1512"/>
                </a:cubicBezTo>
                <a:cubicBezTo>
                  <a:pt x="2674" y="1513"/>
                  <a:pt x="2674" y="1515"/>
                  <a:pt x="2674" y="1518"/>
                </a:cubicBezTo>
                <a:cubicBezTo>
                  <a:pt x="2674" y="1525"/>
                  <a:pt x="2676" y="1528"/>
                  <a:pt x="2682" y="1529"/>
                </a:cubicBezTo>
                <a:cubicBezTo>
                  <a:pt x="2682" y="1529"/>
                  <a:pt x="2682" y="1529"/>
                  <a:pt x="2682" y="1529"/>
                </a:cubicBezTo>
                <a:cubicBezTo>
                  <a:pt x="2676" y="1530"/>
                  <a:pt x="2674" y="1533"/>
                  <a:pt x="2674" y="1540"/>
                </a:cubicBezTo>
                <a:cubicBezTo>
                  <a:pt x="2674" y="1543"/>
                  <a:pt x="2674" y="1545"/>
                  <a:pt x="2674" y="1546"/>
                </a:cubicBezTo>
                <a:cubicBezTo>
                  <a:pt x="2674" y="1548"/>
                  <a:pt x="2674" y="1550"/>
                  <a:pt x="2674" y="1551"/>
                </a:cubicBezTo>
                <a:cubicBezTo>
                  <a:pt x="2674" y="1555"/>
                  <a:pt x="2673" y="1557"/>
                  <a:pt x="2669" y="1557"/>
                </a:cubicBezTo>
                <a:cubicBezTo>
                  <a:pt x="2669" y="1557"/>
                  <a:pt x="2669" y="1557"/>
                  <a:pt x="2668" y="1557"/>
                </a:cubicBezTo>
                <a:cubicBezTo>
                  <a:pt x="2668" y="1557"/>
                  <a:pt x="2668" y="1557"/>
                  <a:pt x="2668" y="1566"/>
                </a:cubicBezTo>
                <a:cubicBezTo>
                  <a:pt x="2668" y="1566"/>
                  <a:pt x="2668" y="1566"/>
                  <a:pt x="2671" y="1566"/>
                </a:cubicBezTo>
                <a:cubicBezTo>
                  <a:pt x="2680" y="1566"/>
                  <a:pt x="2686" y="1563"/>
                  <a:pt x="2686" y="1553"/>
                </a:cubicBezTo>
                <a:cubicBezTo>
                  <a:pt x="2686" y="1551"/>
                  <a:pt x="2686" y="1549"/>
                  <a:pt x="2685" y="1546"/>
                </a:cubicBezTo>
                <a:cubicBezTo>
                  <a:pt x="2685" y="1544"/>
                  <a:pt x="2685" y="1541"/>
                  <a:pt x="2685" y="1539"/>
                </a:cubicBezTo>
                <a:cubicBezTo>
                  <a:pt x="2685" y="1537"/>
                  <a:pt x="2685" y="1534"/>
                  <a:pt x="2692" y="1533"/>
                </a:cubicBezTo>
                <a:close/>
                <a:moveTo>
                  <a:pt x="2812" y="1566"/>
                </a:moveTo>
                <a:cubicBezTo>
                  <a:pt x="2804" y="1566"/>
                  <a:pt x="2798" y="1563"/>
                  <a:pt x="2794" y="1557"/>
                </a:cubicBezTo>
                <a:cubicBezTo>
                  <a:pt x="2790" y="1551"/>
                  <a:pt x="2788" y="1542"/>
                  <a:pt x="2788" y="1530"/>
                </a:cubicBezTo>
                <a:cubicBezTo>
                  <a:pt x="2788" y="1517"/>
                  <a:pt x="2790" y="1507"/>
                  <a:pt x="2794" y="1500"/>
                </a:cubicBezTo>
                <a:cubicBezTo>
                  <a:pt x="2799" y="1494"/>
                  <a:pt x="2805" y="1490"/>
                  <a:pt x="2814" y="1490"/>
                </a:cubicBezTo>
                <a:cubicBezTo>
                  <a:pt x="2830" y="1490"/>
                  <a:pt x="2838" y="1503"/>
                  <a:pt x="2838" y="1528"/>
                </a:cubicBezTo>
                <a:cubicBezTo>
                  <a:pt x="2838" y="1541"/>
                  <a:pt x="2836" y="1550"/>
                  <a:pt x="2831" y="1557"/>
                </a:cubicBezTo>
                <a:cubicBezTo>
                  <a:pt x="2826" y="1563"/>
                  <a:pt x="2820" y="1566"/>
                  <a:pt x="2812" y="1566"/>
                </a:cubicBezTo>
                <a:close/>
                <a:moveTo>
                  <a:pt x="2813" y="1500"/>
                </a:moveTo>
                <a:cubicBezTo>
                  <a:pt x="2804" y="1500"/>
                  <a:pt x="2799" y="1510"/>
                  <a:pt x="2799" y="1530"/>
                </a:cubicBezTo>
                <a:cubicBezTo>
                  <a:pt x="2799" y="1548"/>
                  <a:pt x="2804" y="1557"/>
                  <a:pt x="2813" y="1557"/>
                </a:cubicBezTo>
                <a:cubicBezTo>
                  <a:pt x="2821" y="1557"/>
                  <a:pt x="2826" y="1548"/>
                  <a:pt x="2826" y="1529"/>
                </a:cubicBezTo>
                <a:cubicBezTo>
                  <a:pt x="2826" y="1509"/>
                  <a:pt x="2821" y="1500"/>
                  <a:pt x="2813" y="1500"/>
                </a:cubicBezTo>
                <a:close/>
                <a:moveTo>
                  <a:pt x="2886" y="1493"/>
                </a:moveTo>
                <a:cubicBezTo>
                  <a:pt x="2886" y="1493"/>
                  <a:pt x="2886" y="1493"/>
                  <a:pt x="2886" y="1493"/>
                </a:cubicBezTo>
                <a:cubicBezTo>
                  <a:pt x="2881" y="1493"/>
                  <a:pt x="2881" y="1493"/>
                  <a:pt x="2881" y="1493"/>
                </a:cubicBezTo>
                <a:cubicBezTo>
                  <a:pt x="2879" y="1494"/>
                  <a:pt x="2877" y="1496"/>
                  <a:pt x="2875" y="1496"/>
                </a:cubicBezTo>
                <a:cubicBezTo>
                  <a:pt x="2874" y="1498"/>
                  <a:pt x="2871" y="1498"/>
                  <a:pt x="2870" y="1499"/>
                </a:cubicBezTo>
                <a:cubicBezTo>
                  <a:pt x="2868" y="1500"/>
                  <a:pt x="2866" y="1501"/>
                  <a:pt x="2865" y="1501"/>
                </a:cubicBezTo>
                <a:cubicBezTo>
                  <a:pt x="2862" y="1502"/>
                  <a:pt x="2861" y="1503"/>
                  <a:pt x="2859" y="1504"/>
                </a:cubicBezTo>
                <a:cubicBezTo>
                  <a:pt x="2859" y="1504"/>
                  <a:pt x="2859" y="1504"/>
                  <a:pt x="2859" y="1514"/>
                </a:cubicBezTo>
                <a:cubicBezTo>
                  <a:pt x="2862" y="1513"/>
                  <a:pt x="2865" y="1512"/>
                  <a:pt x="2867" y="1511"/>
                </a:cubicBezTo>
                <a:cubicBezTo>
                  <a:pt x="2870" y="1510"/>
                  <a:pt x="2872" y="1509"/>
                  <a:pt x="2874" y="1507"/>
                </a:cubicBezTo>
                <a:cubicBezTo>
                  <a:pt x="2874" y="1507"/>
                  <a:pt x="2874" y="1507"/>
                  <a:pt x="2874" y="1566"/>
                </a:cubicBezTo>
                <a:cubicBezTo>
                  <a:pt x="2874" y="1566"/>
                  <a:pt x="2874" y="1566"/>
                  <a:pt x="2886" y="1566"/>
                </a:cubicBezTo>
                <a:cubicBezTo>
                  <a:pt x="2886" y="1566"/>
                  <a:pt x="2886" y="1566"/>
                  <a:pt x="2886" y="1493"/>
                </a:cubicBezTo>
                <a:close/>
                <a:moveTo>
                  <a:pt x="2718" y="1566"/>
                </a:moveTo>
                <a:cubicBezTo>
                  <a:pt x="2721" y="1547"/>
                  <a:pt x="2721" y="1547"/>
                  <a:pt x="2721" y="1547"/>
                </a:cubicBezTo>
                <a:cubicBezTo>
                  <a:pt x="2712" y="1547"/>
                  <a:pt x="2712" y="1547"/>
                  <a:pt x="2712" y="1547"/>
                </a:cubicBezTo>
                <a:cubicBezTo>
                  <a:pt x="2712" y="1535"/>
                  <a:pt x="2712" y="1535"/>
                  <a:pt x="2712" y="1535"/>
                </a:cubicBezTo>
                <a:cubicBezTo>
                  <a:pt x="2723" y="1535"/>
                  <a:pt x="2723" y="1535"/>
                  <a:pt x="2723" y="1535"/>
                </a:cubicBezTo>
                <a:cubicBezTo>
                  <a:pt x="2725" y="1524"/>
                  <a:pt x="2725" y="1524"/>
                  <a:pt x="2725" y="1524"/>
                </a:cubicBezTo>
                <a:cubicBezTo>
                  <a:pt x="2715" y="1524"/>
                  <a:pt x="2715" y="1524"/>
                  <a:pt x="2715" y="1524"/>
                </a:cubicBezTo>
                <a:cubicBezTo>
                  <a:pt x="2715" y="1512"/>
                  <a:pt x="2715" y="1512"/>
                  <a:pt x="2715" y="1512"/>
                </a:cubicBezTo>
                <a:cubicBezTo>
                  <a:pt x="2726" y="1512"/>
                  <a:pt x="2726" y="1512"/>
                  <a:pt x="2726" y="1512"/>
                </a:cubicBezTo>
                <a:cubicBezTo>
                  <a:pt x="2729" y="1494"/>
                  <a:pt x="2729" y="1494"/>
                  <a:pt x="2729" y="1494"/>
                </a:cubicBezTo>
                <a:cubicBezTo>
                  <a:pt x="2740" y="1494"/>
                  <a:pt x="2740" y="1494"/>
                  <a:pt x="2740" y="1494"/>
                </a:cubicBezTo>
                <a:cubicBezTo>
                  <a:pt x="2737" y="1512"/>
                  <a:pt x="2737" y="1512"/>
                  <a:pt x="2737" y="1512"/>
                </a:cubicBezTo>
                <a:cubicBezTo>
                  <a:pt x="2747" y="1512"/>
                  <a:pt x="2747" y="1512"/>
                  <a:pt x="2747" y="1512"/>
                </a:cubicBezTo>
                <a:cubicBezTo>
                  <a:pt x="2750" y="1494"/>
                  <a:pt x="2750" y="1494"/>
                  <a:pt x="2750" y="1494"/>
                </a:cubicBezTo>
                <a:cubicBezTo>
                  <a:pt x="2761" y="1494"/>
                  <a:pt x="2761" y="1494"/>
                  <a:pt x="2761" y="1494"/>
                </a:cubicBezTo>
                <a:cubicBezTo>
                  <a:pt x="2758" y="1512"/>
                  <a:pt x="2758" y="1512"/>
                  <a:pt x="2758" y="1512"/>
                </a:cubicBezTo>
                <a:cubicBezTo>
                  <a:pt x="2767" y="1512"/>
                  <a:pt x="2767" y="1512"/>
                  <a:pt x="2767" y="1512"/>
                </a:cubicBezTo>
                <a:cubicBezTo>
                  <a:pt x="2767" y="1524"/>
                  <a:pt x="2767" y="1524"/>
                  <a:pt x="2767" y="1524"/>
                </a:cubicBezTo>
                <a:cubicBezTo>
                  <a:pt x="2756" y="1524"/>
                  <a:pt x="2756" y="1524"/>
                  <a:pt x="2756" y="1524"/>
                </a:cubicBezTo>
                <a:cubicBezTo>
                  <a:pt x="2755" y="1535"/>
                  <a:pt x="2755" y="1535"/>
                  <a:pt x="2755" y="1535"/>
                </a:cubicBezTo>
                <a:cubicBezTo>
                  <a:pt x="2764" y="1535"/>
                  <a:pt x="2764" y="1535"/>
                  <a:pt x="2764" y="1535"/>
                </a:cubicBezTo>
                <a:cubicBezTo>
                  <a:pt x="2764" y="1547"/>
                  <a:pt x="2764" y="1547"/>
                  <a:pt x="2764" y="1547"/>
                </a:cubicBezTo>
                <a:cubicBezTo>
                  <a:pt x="2753" y="1547"/>
                  <a:pt x="2753" y="1547"/>
                  <a:pt x="2753" y="1547"/>
                </a:cubicBezTo>
                <a:cubicBezTo>
                  <a:pt x="2750" y="1566"/>
                  <a:pt x="2750" y="1566"/>
                  <a:pt x="2750" y="1566"/>
                </a:cubicBezTo>
                <a:cubicBezTo>
                  <a:pt x="2739" y="1566"/>
                  <a:pt x="2739" y="1566"/>
                  <a:pt x="2739" y="1566"/>
                </a:cubicBezTo>
                <a:cubicBezTo>
                  <a:pt x="2742" y="1547"/>
                  <a:pt x="2742" y="1547"/>
                  <a:pt x="2742" y="1547"/>
                </a:cubicBezTo>
                <a:cubicBezTo>
                  <a:pt x="2732" y="1547"/>
                  <a:pt x="2732" y="1547"/>
                  <a:pt x="2732" y="1547"/>
                </a:cubicBezTo>
                <a:cubicBezTo>
                  <a:pt x="2729" y="1566"/>
                  <a:pt x="2729" y="1566"/>
                  <a:pt x="2729" y="1566"/>
                </a:cubicBezTo>
                <a:cubicBezTo>
                  <a:pt x="2718" y="1566"/>
                  <a:pt x="2718" y="1566"/>
                  <a:pt x="2718" y="1566"/>
                </a:cubicBezTo>
                <a:cubicBezTo>
                  <a:pt x="2718" y="1566"/>
                  <a:pt x="2718" y="1566"/>
                  <a:pt x="2718" y="1566"/>
                </a:cubicBezTo>
                <a:close/>
                <a:moveTo>
                  <a:pt x="2744" y="1535"/>
                </a:moveTo>
                <a:cubicBezTo>
                  <a:pt x="2745" y="1524"/>
                  <a:pt x="2745" y="1524"/>
                  <a:pt x="2745" y="1524"/>
                </a:cubicBezTo>
                <a:cubicBezTo>
                  <a:pt x="2736" y="1524"/>
                  <a:pt x="2736" y="1524"/>
                  <a:pt x="2736" y="1524"/>
                </a:cubicBezTo>
                <a:cubicBezTo>
                  <a:pt x="2734" y="1535"/>
                  <a:pt x="2734" y="1535"/>
                  <a:pt x="2734" y="1535"/>
                </a:cubicBezTo>
                <a:cubicBezTo>
                  <a:pt x="2744" y="1535"/>
                  <a:pt x="2744" y="1535"/>
                  <a:pt x="2744" y="1535"/>
                </a:cubicBezTo>
                <a:cubicBezTo>
                  <a:pt x="2744" y="1535"/>
                  <a:pt x="2744" y="1535"/>
                  <a:pt x="2744" y="1535"/>
                </a:cubicBezTo>
                <a:close/>
                <a:moveTo>
                  <a:pt x="2262" y="1493"/>
                </a:moveTo>
                <a:cubicBezTo>
                  <a:pt x="2262" y="1493"/>
                  <a:pt x="2262" y="1493"/>
                  <a:pt x="2262" y="1493"/>
                </a:cubicBezTo>
                <a:cubicBezTo>
                  <a:pt x="2257" y="1493"/>
                  <a:pt x="2257" y="1493"/>
                  <a:pt x="2257" y="1493"/>
                </a:cubicBezTo>
                <a:cubicBezTo>
                  <a:pt x="2254" y="1494"/>
                  <a:pt x="2253" y="1496"/>
                  <a:pt x="2251" y="1496"/>
                </a:cubicBezTo>
                <a:cubicBezTo>
                  <a:pt x="2249" y="1498"/>
                  <a:pt x="2248" y="1498"/>
                  <a:pt x="2246" y="1499"/>
                </a:cubicBezTo>
                <a:cubicBezTo>
                  <a:pt x="2244" y="1501"/>
                  <a:pt x="2242" y="1501"/>
                  <a:pt x="2241" y="1502"/>
                </a:cubicBezTo>
                <a:cubicBezTo>
                  <a:pt x="2238" y="1503"/>
                  <a:pt x="2237" y="1504"/>
                  <a:pt x="2235" y="1504"/>
                </a:cubicBezTo>
                <a:cubicBezTo>
                  <a:pt x="2235" y="1504"/>
                  <a:pt x="2235" y="1504"/>
                  <a:pt x="2235" y="1514"/>
                </a:cubicBezTo>
                <a:cubicBezTo>
                  <a:pt x="2238" y="1513"/>
                  <a:pt x="2241" y="1512"/>
                  <a:pt x="2243" y="1511"/>
                </a:cubicBezTo>
                <a:cubicBezTo>
                  <a:pt x="2246" y="1510"/>
                  <a:pt x="2248" y="1509"/>
                  <a:pt x="2250" y="1507"/>
                </a:cubicBezTo>
                <a:cubicBezTo>
                  <a:pt x="2250" y="1507"/>
                  <a:pt x="2250" y="1507"/>
                  <a:pt x="2250" y="1566"/>
                </a:cubicBezTo>
                <a:cubicBezTo>
                  <a:pt x="2250" y="1566"/>
                  <a:pt x="2250" y="1566"/>
                  <a:pt x="2262" y="1566"/>
                </a:cubicBezTo>
                <a:cubicBezTo>
                  <a:pt x="2262" y="1566"/>
                  <a:pt x="2262" y="1566"/>
                  <a:pt x="2262" y="1493"/>
                </a:cubicBezTo>
                <a:close/>
                <a:moveTo>
                  <a:pt x="2309" y="1493"/>
                </a:moveTo>
                <a:cubicBezTo>
                  <a:pt x="2309" y="1493"/>
                  <a:pt x="2309" y="1493"/>
                  <a:pt x="2309" y="1493"/>
                </a:cubicBezTo>
                <a:cubicBezTo>
                  <a:pt x="2304" y="1493"/>
                  <a:pt x="2304" y="1493"/>
                  <a:pt x="2304" y="1493"/>
                </a:cubicBezTo>
                <a:cubicBezTo>
                  <a:pt x="2302" y="1494"/>
                  <a:pt x="2300" y="1496"/>
                  <a:pt x="2298" y="1496"/>
                </a:cubicBezTo>
                <a:cubicBezTo>
                  <a:pt x="2297" y="1498"/>
                  <a:pt x="2295" y="1498"/>
                  <a:pt x="2293" y="1499"/>
                </a:cubicBezTo>
                <a:cubicBezTo>
                  <a:pt x="2292" y="1501"/>
                  <a:pt x="2290" y="1501"/>
                  <a:pt x="2288" y="1502"/>
                </a:cubicBezTo>
                <a:cubicBezTo>
                  <a:pt x="2286" y="1503"/>
                  <a:pt x="2284" y="1504"/>
                  <a:pt x="2282" y="1504"/>
                </a:cubicBezTo>
                <a:cubicBezTo>
                  <a:pt x="2282" y="1504"/>
                  <a:pt x="2282" y="1504"/>
                  <a:pt x="2282" y="1514"/>
                </a:cubicBezTo>
                <a:cubicBezTo>
                  <a:pt x="2285" y="1513"/>
                  <a:pt x="2288" y="1512"/>
                  <a:pt x="2290" y="1511"/>
                </a:cubicBezTo>
                <a:cubicBezTo>
                  <a:pt x="2293" y="1510"/>
                  <a:pt x="2295" y="1509"/>
                  <a:pt x="2298" y="1507"/>
                </a:cubicBezTo>
                <a:cubicBezTo>
                  <a:pt x="2298" y="1507"/>
                  <a:pt x="2298" y="1507"/>
                  <a:pt x="2298" y="1566"/>
                </a:cubicBezTo>
                <a:cubicBezTo>
                  <a:pt x="2298" y="1566"/>
                  <a:pt x="2298" y="1566"/>
                  <a:pt x="2309" y="1566"/>
                </a:cubicBezTo>
                <a:cubicBezTo>
                  <a:pt x="2309" y="1566"/>
                  <a:pt x="2309" y="1566"/>
                  <a:pt x="2309" y="1493"/>
                </a:cubicBezTo>
                <a:close/>
                <a:moveTo>
                  <a:pt x="2356" y="1493"/>
                </a:moveTo>
                <a:cubicBezTo>
                  <a:pt x="2356" y="1493"/>
                  <a:pt x="2356" y="1493"/>
                  <a:pt x="2356" y="1493"/>
                </a:cubicBezTo>
                <a:cubicBezTo>
                  <a:pt x="2351" y="1493"/>
                  <a:pt x="2351" y="1493"/>
                  <a:pt x="2351" y="1493"/>
                </a:cubicBezTo>
                <a:cubicBezTo>
                  <a:pt x="2349" y="1494"/>
                  <a:pt x="2348" y="1496"/>
                  <a:pt x="2346" y="1496"/>
                </a:cubicBezTo>
                <a:cubicBezTo>
                  <a:pt x="2344" y="1498"/>
                  <a:pt x="2342" y="1498"/>
                  <a:pt x="2341" y="1499"/>
                </a:cubicBezTo>
                <a:cubicBezTo>
                  <a:pt x="2338" y="1500"/>
                  <a:pt x="2337" y="1501"/>
                  <a:pt x="2335" y="1501"/>
                </a:cubicBezTo>
                <a:cubicBezTo>
                  <a:pt x="2333" y="1502"/>
                  <a:pt x="2331" y="1503"/>
                  <a:pt x="2330" y="1504"/>
                </a:cubicBezTo>
                <a:cubicBezTo>
                  <a:pt x="2330" y="1504"/>
                  <a:pt x="2330" y="1504"/>
                  <a:pt x="2330" y="1514"/>
                </a:cubicBezTo>
                <a:cubicBezTo>
                  <a:pt x="2333" y="1513"/>
                  <a:pt x="2336" y="1512"/>
                  <a:pt x="2338" y="1511"/>
                </a:cubicBezTo>
                <a:cubicBezTo>
                  <a:pt x="2340" y="1510"/>
                  <a:pt x="2343" y="1509"/>
                  <a:pt x="2344" y="1507"/>
                </a:cubicBezTo>
                <a:cubicBezTo>
                  <a:pt x="2344" y="1507"/>
                  <a:pt x="2344" y="1507"/>
                  <a:pt x="2344" y="1566"/>
                </a:cubicBezTo>
                <a:cubicBezTo>
                  <a:pt x="2344" y="1566"/>
                  <a:pt x="2344" y="1566"/>
                  <a:pt x="2356" y="1566"/>
                </a:cubicBezTo>
                <a:cubicBezTo>
                  <a:pt x="2356" y="1566"/>
                  <a:pt x="2356" y="1566"/>
                  <a:pt x="2356" y="1493"/>
                </a:cubicBezTo>
                <a:close/>
                <a:moveTo>
                  <a:pt x="2563" y="1397"/>
                </a:moveTo>
                <a:cubicBezTo>
                  <a:pt x="2563" y="1397"/>
                  <a:pt x="2563" y="1397"/>
                  <a:pt x="2563" y="1397"/>
                </a:cubicBezTo>
                <a:cubicBezTo>
                  <a:pt x="2558" y="1397"/>
                  <a:pt x="2558" y="1397"/>
                  <a:pt x="2558" y="1397"/>
                </a:cubicBezTo>
                <a:cubicBezTo>
                  <a:pt x="2556" y="1398"/>
                  <a:pt x="2554" y="1400"/>
                  <a:pt x="2552" y="1400"/>
                </a:cubicBezTo>
                <a:cubicBezTo>
                  <a:pt x="2551" y="1402"/>
                  <a:pt x="2549" y="1402"/>
                  <a:pt x="2547" y="1403"/>
                </a:cubicBezTo>
                <a:cubicBezTo>
                  <a:pt x="2545" y="1404"/>
                  <a:pt x="2543" y="1405"/>
                  <a:pt x="2542" y="1405"/>
                </a:cubicBezTo>
                <a:cubicBezTo>
                  <a:pt x="2540" y="1406"/>
                  <a:pt x="2538" y="1407"/>
                  <a:pt x="2536" y="1408"/>
                </a:cubicBezTo>
                <a:cubicBezTo>
                  <a:pt x="2536" y="1408"/>
                  <a:pt x="2536" y="1408"/>
                  <a:pt x="2536" y="1418"/>
                </a:cubicBezTo>
                <a:cubicBezTo>
                  <a:pt x="2539" y="1417"/>
                  <a:pt x="2542" y="1416"/>
                  <a:pt x="2544" y="1415"/>
                </a:cubicBezTo>
                <a:cubicBezTo>
                  <a:pt x="2547" y="1414"/>
                  <a:pt x="2549" y="1413"/>
                  <a:pt x="2551" y="1411"/>
                </a:cubicBezTo>
                <a:cubicBezTo>
                  <a:pt x="2551" y="1411"/>
                  <a:pt x="2551" y="1411"/>
                  <a:pt x="2551" y="1470"/>
                </a:cubicBezTo>
                <a:cubicBezTo>
                  <a:pt x="2551" y="1470"/>
                  <a:pt x="2551" y="1470"/>
                  <a:pt x="2563" y="1470"/>
                </a:cubicBezTo>
                <a:cubicBezTo>
                  <a:pt x="2563" y="1470"/>
                  <a:pt x="2563" y="1470"/>
                  <a:pt x="2563" y="1397"/>
                </a:cubicBezTo>
                <a:close/>
                <a:moveTo>
                  <a:pt x="2610" y="1397"/>
                </a:moveTo>
                <a:cubicBezTo>
                  <a:pt x="2610" y="1397"/>
                  <a:pt x="2610" y="1397"/>
                  <a:pt x="2610" y="1397"/>
                </a:cubicBezTo>
                <a:cubicBezTo>
                  <a:pt x="2605" y="1397"/>
                  <a:pt x="2605" y="1397"/>
                  <a:pt x="2605" y="1397"/>
                </a:cubicBezTo>
                <a:cubicBezTo>
                  <a:pt x="2602" y="1398"/>
                  <a:pt x="2601" y="1400"/>
                  <a:pt x="2599" y="1400"/>
                </a:cubicBezTo>
                <a:cubicBezTo>
                  <a:pt x="2597" y="1402"/>
                  <a:pt x="2595" y="1402"/>
                  <a:pt x="2594" y="1403"/>
                </a:cubicBezTo>
                <a:cubicBezTo>
                  <a:pt x="2592" y="1405"/>
                  <a:pt x="2590" y="1405"/>
                  <a:pt x="2589" y="1406"/>
                </a:cubicBezTo>
                <a:cubicBezTo>
                  <a:pt x="2586" y="1407"/>
                  <a:pt x="2585" y="1408"/>
                  <a:pt x="2583" y="1408"/>
                </a:cubicBezTo>
                <a:cubicBezTo>
                  <a:pt x="2583" y="1408"/>
                  <a:pt x="2583" y="1408"/>
                  <a:pt x="2583" y="1418"/>
                </a:cubicBezTo>
                <a:cubicBezTo>
                  <a:pt x="2586" y="1417"/>
                  <a:pt x="2589" y="1416"/>
                  <a:pt x="2591" y="1415"/>
                </a:cubicBezTo>
                <a:cubicBezTo>
                  <a:pt x="2594" y="1414"/>
                  <a:pt x="2596" y="1413"/>
                  <a:pt x="2598" y="1411"/>
                </a:cubicBezTo>
                <a:cubicBezTo>
                  <a:pt x="2598" y="1411"/>
                  <a:pt x="2598" y="1411"/>
                  <a:pt x="2598" y="1470"/>
                </a:cubicBezTo>
                <a:cubicBezTo>
                  <a:pt x="2598" y="1470"/>
                  <a:pt x="2598" y="1470"/>
                  <a:pt x="2610" y="1470"/>
                </a:cubicBezTo>
                <a:cubicBezTo>
                  <a:pt x="2610" y="1470"/>
                  <a:pt x="2610" y="1470"/>
                  <a:pt x="2610" y="1397"/>
                </a:cubicBezTo>
                <a:close/>
                <a:moveTo>
                  <a:pt x="2655" y="1397"/>
                </a:moveTo>
                <a:cubicBezTo>
                  <a:pt x="2655" y="1397"/>
                  <a:pt x="2655" y="1397"/>
                  <a:pt x="2655" y="1397"/>
                </a:cubicBezTo>
                <a:cubicBezTo>
                  <a:pt x="2651" y="1397"/>
                  <a:pt x="2651" y="1397"/>
                  <a:pt x="2651" y="1397"/>
                </a:cubicBezTo>
                <a:cubicBezTo>
                  <a:pt x="2649" y="1398"/>
                  <a:pt x="2647" y="1400"/>
                  <a:pt x="2645" y="1400"/>
                </a:cubicBezTo>
                <a:cubicBezTo>
                  <a:pt x="2644" y="1402"/>
                  <a:pt x="2642" y="1402"/>
                  <a:pt x="2640" y="1403"/>
                </a:cubicBezTo>
                <a:cubicBezTo>
                  <a:pt x="2638" y="1405"/>
                  <a:pt x="2636" y="1405"/>
                  <a:pt x="2634" y="1406"/>
                </a:cubicBezTo>
                <a:cubicBezTo>
                  <a:pt x="2633" y="1407"/>
                  <a:pt x="2631" y="1408"/>
                  <a:pt x="2629" y="1408"/>
                </a:cubicBezTo>
                <a:cubicBezTo>
                  <a:pt x="2629" y="1408"/>
                  <a:pt x="2629" y="1408"/>
                  <a:pt x="2629" y="1418"/>
                </a:cubicBezTo>
                <a:cubicBezTo>
                  <a:pt x="2632" y="1417"/>
                  <a:pt x="2635" y="1416"/>
                  <a:pt x="2637" y="1415"/>
                </a:cubicBezTo>
                <a:cubicBezTo>
                  <a:pt x="2639" y="1414"/>
                  <a:pt x="2642" y="1413"/>
                  <a:pt x="2644" y="1411"/>
                </a:cubicBezTo>
                <a:cubicBezTo>
                  <a:pt x="2644" y="1411"/>
                  <a:pt x="2644" y="1411"/>
                  <a:pt x="2644" y="1470"/>
                </a:cubicBezTo>
                <a:cubicBezTo>
                  <a:pt x="2644" y="1470"/>
                  <a:pt x="2644" y="1470"/>
                  <a:pt x="2655" y="1470"/>
                </a:cubicBezTo>
                <a:cubicBezTo>
                  <a:pt x="2655" y="1470"/>
                  <a:pt x="2655" y="1470"/>
                  <a:pt x="2655" y="1397"/>
                </a:cubicBezTo>
                <a:close/>
                <a:moveTo>
                  <a:pt x="2702" y="1397"/>
                </a:moveTo>
                <a:cubicBezTo>
                  <a:pt x="2702" y="1397"/>
                  <a:pt x="2702" y="1397"/>
                  <a:pt x="2702" y="1397"/>
                </a:cubicBezTo>
                <a:cubicBezTo>
                  <a:pt x="2697" y="1397"/>
                  <a:pt x="2697" y="1397"/>
                  <a:pt x="2697" y="1397"/>
                </a:cubicBezTo>
                <a:cubicBezTo>
                  <a:pt x="2695" y="1398"/>
                  <a:pt x="2694" y="1400"/>
                  <a:pt x="2691" y="1400"/>
                </a:cubicBezTo>
                <a:cubicBezTo>
                  <a:pt x="2690" y="1402"/>
                  <a:pt x="2688" y="1402"/>
                  <a:pt x="2686" y="1403"/>
                </a:cubicBezTo>
                <a:cubicBezTo>
                  <a:pt x="2685" y="1405"/>
                  <a:pt x="2683" y="1405"/>
                  <a:pt x="2681" y="1406"/>
                </a:cubicBezTo>
                <a:cubicBezTo>
                  <a:pt x="2679" y="1407"/>
                  <a:pt x="2678" y="1408"/>
                  <a:pt x="2675" y="1408"/>
                </a:cubicBezTo>
                <a:cubicBezTo>
                  <a:pt x="2675" y="1408"/>
                  <a:pt x="2675" y="1408"/>
                  <a:pt x="2675" y="1418"/>
                </a:cubicBezTo>
                <a:cubicBezTo>
                  <a:pt x="2678" y="1417"/>
                  <a:pt x="2681" y="1416"/>
                  <a:pt x="2683" y="1415"/>
                </a:cubicBezTo>
                <a:cubicBezTo>
                  <a:pt x="2686" y="1414"/>
                  <a:pt x="2688" y="1413"/>
                  <a:pt x="2691" y="1411"/>
                </a:cubicBezTo>
                <a:cubicBezTo>
                  <a:pt x="2691" y="1411"/>
                  <a:pt x="2691" y="1411"/>
                  <a:pt x="2691" y="1470"/>
                </a:cubicBezTo>
                <a:cubicBezTo>
                  <a:pt x="2691" y="1470"/>
                  <a:pt x="2691" y="1470"/>
                  <a:pt x="2702" y="1470"/>
                </a:cubicBezTo>
                <a:cubicBezTo>
                  <a:pt x="2702" y="1470"/>
                  <a:pt x="2702" y="1470"/>
                  <a:pt x="2702" y="1397"/>
                </a:cubicBezTo>
                <a:close/>
                <a:moveTo>
                  <a:pt x="2824" y="1397"/>
                </a:moveTo>
                <a:cubicBezTo>
                  <a:pt x="2824" y="1397"/>
                  <a:pt x="2824" y="1397"/>
                  <a:pt x="2824" y="1397"/>
                </a:cubicBezTo>
                <a:cubicBezTo>
                  <a:pt x="2819" y="1397"/>
                  <a:pt x="2819" y="1397"/>
                  <a:pt x="2819" y="1397"/>
                </a:cubicBezTo>
                <a:cubicBezTo>
                  <a:pt x="2817" y="1398"/>
                  <a:pt x="2815" y="1400"/>
                  <a:pt x="2813" y="1400"/>
                </a:cubicBezTo>
                <a:cubicBezTo>
                  <a:pt x="2812" y="1402"/>
                  <a:pt x="2810" y="1402"/>
                  <a:pt x="2808" y="1403"/>
                </a:cubicBezTo>
                <a:cubicBezTo>
                  <a:pt x="2806" y="1405"/>
                  <a:pt x="2804" y="1405"/>
                  <a:pt x="2803" y="1406"/>
                </a:cubicBezTo>
                <a:cubicBezTo>
                  <a:pt x="2801" y="1407"/>
                  <a:pt x="2799" y="1408"/>
                  <a:pt x="2797" y="1408"/>
                </a:cubicBezTo>
                <a:cubicBezTo>
                  <a:pt x="2797" y="1408"/>
                  <a:pt x="2797" y="1408"/>
                  <a:pt x="2797" y="1418"/>
                </a:cubicBezTo>
                <a:cubicBezTo>
                  <a:pt x="2800" y="1417"/>
                  <a:pt x="2803" y="1416"/>
                  <a:pt x="2806" y="1415"/>
                </a:cubicBezTo>
                <a:cubicBezTo>
                  <a:pt x="2808" y="1414"/>
                  <a:pt x="2810" y="1413"/>
                  <a:pt x="2812" y="1411"/>
                </a:cubicBezTo>
                <a:cubicBezTo>
                  <a:pt x="2812" y="1411"/>
                  <a:pt x="2812" y="1411"/>
                  <a:pt x="2812" y="1470"/>
                </a:cubicBezTo>
                <a:cubicBezTo>
                  <a:pt x="2812" y="1470"/>
                  <a:pt x="2812" y="1470"/>
                  <a:pt x="2824" y="1470"/>
                </a:cubicBezTo>
                <a:cubicBezTo>
                  <a:pt x="2824" y="1470"/>
                  <a:pt x="2824" y="1470"/>
                  <a:pt x="2824" y="1397"/>
                </a:cubicBezTo>
                <a:close/>
                <a:moveTo>
                  <a:pt x="2871" y="1397"/>
                </a:moveTo>
                <a:cubicBezTo>
                  <a:pt x="2871" y="1397"/>
                  <a:pt x="2871" y="1397"/>
                  <a:pt x="2871" y="1397"/>
                </a:cubicBezTo>
                <a:cubicBezTo>
                  <a:pt x="2866" y="1397"/>
                  <a:pt x="2866" y="1397"/>
                  <a:pt x="2866" y="1397"/>
                </a:cubicBezTo>
                <a:cubicBezTo>
                  <a:pt x="2864" y="1398"/>
                  <a:pt x="2862" y="1400"/>
                  <a:pt x="2860" y="1400"/>
                </a:cubicBezTo>
                <a:cubicBezTo>
                  <a:pt x="2859" y="1402"/>
                  <a:pt x="2856" y="1402"/>
                  <a:pt x="2855" y="1403"/>
                </a:cubicBezTo>
                <a:cubicBezTo>
                  <a:pt x="2853" y="1405"/>
                  <a:pt x="2851" y="1405"/>
                  <a:pt x="2850" y="1406"/>
                </a:cubicBezTo>
                <a:cubicBezTo>
                  <a:pt x="2848" y="1407"/>
                  <a:pt x="2846" y="1408"/>
                  <a:pt x="2844" y="1408"/>
                </a:cubicBezTo>
                <a:cubicBezTo>
                  <a:pt x="2844" y="1408"/>
                  <a:pt x="2844" y="1408"/>
                  <a:pt x="2844" y="1418"/>
                </a:cubicBezTo>
                <a:cubicBezTo>
                  <a:pt x="2847" y="1417"/>
                  <a:pt x="2850" y="1416"/>
                  <a:pt x="2852" y="1415"/>
                </a:cubicBezTo>
                <a:cubicBezTo>
                  <a:pt x="2855" y="1414"/>
                  <a:pt x="2857" y="1413"/>
                  <a:pt x="2859" y="1411"/>
                </a:cubicBezTo>
                <a:cubicBezTo>
                  <a:pt x="2859" y="1411"/>
                  <a:pt x="2859" y="1411"/>
                  <a:pt x="2859" y="1470"/>
                </a:cubicBezTo>
                <a:cubicBezTo>
                  <a:pt x="2859" y="1470"/>
                  <a:pt x="2859" y="1470"/>
                  <a:pt x="2871" y="1470"/>
                </a:cubicBezTo>
                <a:cubicBezTo>
                  <a:pt x="2871" y="1470"/>
                  <a:pt x="2871" y="1470"/>
                  <a:pt x="2871" y="1397"/>
                </a:cubicBezTo>
                <a:close/>
                <a:moveTo>
                  <a:pt x="2722" y="1429"/>
                </a:moveTo>
                <a:cubicBezTo>
                  <a:pt x="2722" y="1429"/>
                  <a:pt x="2722" y="1429"/>
                  <a:pt x="2722" y="1429"/>
                </a:cubicBezTo>
                <a:cubicBezTo>
                  <a:pt x="2722" y="1437"/>
                  <a:pt x="2722" y="1437"/>
                  <a:pt x="2722" y="1437"/>
                </a:cubicBezTo>
                <a:cubicBezTo>
                  <a:pt x="2728" y="1438"/>
                  <a:pt x="2729" y="1441"/>
                  <a:pt x="2729" y="1443"/>
                </a:cubicBezTo>
                <a:cubicBezTo>
                  <a:pt x="2729" y="1445"/>
                  <a:pt x="2729" y="1448"/>
                  <a:pt x="2729" y="1450"/>
                </a:cubicBezTo>
                <a:cubicBezTo>
                  <a:pt x="2728" y="1453"/>
                  <a:pt x="2728" y="1455"/>
                  <a:pt x="2728" y="1457"/>
                </a:cubicBezTo>
                <a:cubicBezTo>
                  <a:pt x="2728" y="1467"/>
                  <a:pt x="2734" y="1470"/>
                  <a:pt x="2743" y="1470"/>
                </a:cubicBezTo>
                <a:cubicBezTo>
                  <a:pt x="2743" y="1470"/>
                  <a:pt x="2743" y="1470"/>
                  <a:pt x="2746" y="1470"/>
                </a:cubicBezTo>
                <a:cubicBezTo>
                  <a:pt x="2746" y="1470"/>
                  <a:pt x="2746" y="1470"/>
                  <a:pt x="2746" y="1461"/>
                </a:cubicBezTo>
                <a:cubicBezTo>
                  <a:pt x="2746" y="1461"/>
                  <a:pt x="2746" y="1461"/>
                  <a:pt x="2745" y="1461"/>
                </a:cubicBezTo>
                <a:cubicBezTo>
                  <a:pt x="2741" y="1461"/>
                  <a:pt x="2740" y="1459"/>
                  <a:pt x="2740" y="1455"/>
                </a:cubicBezTo>
                <a:cubicBezTo>
                  <a:pt x="2740" y="1454"/>
                  <a:pt x="2740" y="1452"/>
                  <a:pt x="2740" y="1450"/>
                </a:cubicBezTo>
                <a:cubicBezTo>
                  <a:pt x="2740" y="1449"/>
                  <a:pt x="2741" y="1447"/>
                  <a:pt x="2741" y="1444"/>
                </a:cubicBezTo>
                <a:cubicBezTo>
                  <a:pt x="2741" y="1437"/>
                  <a:pt x="2738" y="1434"/>
                  <a:pt x="2732" y="1433"/>
                </a:cubicBezTo>
                <a:cubicBezTo>
                  <a:pt x="2732" y="1433"/>
                  <a:pt x="2732" y="1433"/>
                  <a:pt x="2732" y="1433"/>
                </a:cubicBezTo>
                <a:cubicBezTo>
                  <a:pt x="2738" y="1432"/>
                  <a:pt x="2741" y="1429"/>
                  <a:pt x="2741" y="1422"/>
                </a:cubicBezTo>
                <a:cubicBezTo>
                  <a:pt x="2741" y="1419"/>
                  <a:pt x="2740" y="1417"/>
                  <a:pt x="2740" y="1416"/>
                </a:cubicBezTo>
                <a:cubicBezTo>
                  <a:pt x="2740" y="1414"/>
                  <a:pt x="2740" y="1412"/>
                  <a:pt x="2740" y="1411"/>
                </a:cubicBezTo>
                <a:cubicBezTo>
                  <a:pt x="2740" y="1407"/>
                  <a:pt x="2741" y="1405"/>
                  <a:pt x="2745" y="1405"/>
                </a:cubicBezTo>
                <a:cubicBezTo>
                  <a:pt x="2745" y="1405"/>
                  <a:pt x="2745" y="1405"/>
                  <a:pt x="2746" y="1405"/>
                </a:cubicBezTo>
                <a:cubicBezTo>
                  <a:pt x="2746" y="1405"/>
                  <a:pt x="2746" y="1405"/>
                  <a:pt x="2746" y="1396"/>
                </a:cubicBezTo>
                <a:cubicBezTo>
                  <a:pt x="2746" y="1396"/>
                  <a:pt x="2746" y="1396"/>
                  <a:pt x="2743" y="1396"/>
                </a:cubicBezTo>
                <a:cubicBezTo>
                  <a:pt x="2734" y="1396"/>
                  <a:pt x="2728" y="1400"/>
                  <a:pt x="2728" y="1408"/>
                </a:cubicBezTo>
                <a:cubicBezTo>
                  <a:pt x="2728" y="1411"/>
                  <a:pt x="2728" y="1413"/>
                  <a:pt x="2728" y="1416"/>
                </a:cubicBezTo>
                <a:cubicBezTo>
                  <a:pt x="2729" y="1418"/>
                  <a:pt x="2729" y="1421"/>
                  <a:pt x="2729" y="1423"/>
                </a:cubicBezTo>
                <a:cubicBezTo>
                  <a:pt x="2729" y="1425"/>
                  <a:pt x="2728" y="1429"/>
                  <a:pt x="2722" y="1429"/>
                </a:cubicBezTo>
                <a:close/>
                <a:moveTo>
                  <a:pt x="2777" y="1437"/>
                </a:moveTo>
                <a:cubicBezTo>
                  <a:pt x="2777" y="1437"/>
                  <a:pt x="2777" y="1437"/>
                  <a:pt x="2777" y="1437"/>
                </a:cubicBezTo>
                <a:cubicBezTo>
                  <a:pt x="2777" y="1429"/>
                  <a:pt x="2777" y="1429"/>
                  <a:pt x="2777" y="1429"/>
                </a:cubicBezTo>
                <a:cubicBezTo>
                  <a:pt x="2771" y="1429"/>
                  <a:pt x="2770" y="1425"/>
                  <a:pt x="2770" y="1423"/>
                </a:cubicBezTo>
                <a:cubicBezTo>
                  <a:pt x="2770" y="1421"/>
                  <a:pt x="2770" y="1418"/>
                  <a:pt x="2771" y="1416"/>
                </a:cubicBezTo>
                <a:cubicBezTo>
                  <a:pt x="2771" y="1413"/>
                  <a:pt x="2771" y="1411"/>
                  <a:pt x="2771" y="1408"/>
                </a:cubicBezTo>
                <a:cubicBezTo>
                  <a:pt x="2771" y="1400"/>
                  <a:pt x="2766" y="1396"/>
                  <a:pt x="2757" y="1396"/>
                </a:cubicBezTo>
                <a:cubicBezTo>
                  <a:pt x="2757" y="1396"/>
                  <a:pt x="2757" y="1396"/>
                  <a:pt x="2753" y="1396"/>
                </a:cubicBezTo>
                <a:cubicBezTo>
                  <a:pt x="2753" y="1396"/>
                  <a:pt x="2753" y="1396"/>
                  <a:pt x="2753" y="1405"/>
                </a:cubicBezTo>
                <a:cubicBezTo>
                  <a:pt x="2753" y="1405"/>
                  <a:pt x="2753" y="1405"/>
                  <a:pt x="2755" y="1405"/>
                </a:cubicBezTo>
                <a:cubicBezTo>
                  <a:pt x="2758" y="1405"/>
                  <a:pt x="2760" y="1407"/>
                  <a:pt x="2760" y="1411"/>
                </a:cubicBezTo>
                <a:cubicBezTo>
                  <a:pt x="2760" y="1412"/>
                  <a:pt x="2759" y="1414"/>
                  <a:pt x="2759" y="1416"/>
                </a:cubicBezTo>
                <a:cubicBezTo>
                  <a:pt x="2759" y="1417"/>
                  <a:pt x="2759" y="1419"/>
                  <a:pt x="2759" y="1422"/>
                </a:cubicBezTo>
                <a:cubicBezTo>
                  <a:pt x="2759" y="1429"/>
                  <a:pt x="2762" y="1432"/>
                  <a:pt x="2768" y="1433"/>
                </a:cubicBezTo>
                <a:cubicBezTo>
                  <a:pt x="2768" y="1433"/>
                  <a:pt x="2768" y="1433"/>
                  <a:pt x="2768" y="1433"/>
                </a:cubicBezTo>
                <a:cubicBezTo>
                  <a:pt x="2762" y="1434"/>
                  <a:pt x="2759" y="1437"/>
                  <a:pt x="2759" y="1444"/>
                </a:cubicBezTo>
                <a:cubicBezTo>
                  <a:pt x="2759" y="1447"/>
                  <a:pt x="2759" y="1449"/>
                  <a:pt x="2759" y="1450"/>
                </a:cubicBezTo>
                <a:cubicBezTo>
                  <a:pt x="2759" y="1452"/>
                  <a:pt x="2760" y="1454"/>
                  <a:pt x="2760" y="1455"/>
                </a:cubicBezTo>
                <a:cubicBezTo>
                  <a:pt x="2760" y="1459"/>
                  <a:pt x="2759" y="1461"/>
                  <a:pt x="2755" y="1461"/>
                </a:cubicBezTo>
                <a:cubicBezTo>
                  <a:pt x="2755" y="1461"/>
                  <a:pt x="2755" y="1461"/>
                  <a:pt x="2753" y="1461"/>
                </a:cubicBezTo>
                <a:cubicBezTo>
                  <a:pt x="2753" y="1461"/>
                  <a:pt x="2753" y="1461"/>
                  <a:pt x="2753" y="1470"/>
                </a:cubicBezTo>
                <a:cubicBezTo>
                  <a:pt x="2753" y="1470"/>
                  <a:pt x="2753" y="1470"/>
                  <a:pt x="2757" y="1470"/>
                </a:cubicBezTo>
                <a:cubicBezTo>
                  <a:pt x="2766" y="1470"/>
                  <a:pt x="2771" y="1467"/>
                  <a:pt x="2771" y="1457"/>
                </a:cubicBezTo>
                <a:cubicBezTo>
                  <a:pt x="2771" y="1455"/>
                  <a:pt x="2771" y="1453"/>
                  <a:pt x="2771" y="1450"/>
                </a:cubicBezTo>
                <a:cubicBezTo>
                  <a:pt x="2770" y="1448"/>
                  <a:pt x="2770" y="1445"/>
                  <a:pt x="2770" y="1443"/>
                </a:cubicBezTo>
                <a:cubicBezTo>
                  <a:pt x="2770" y="1441"/>
                  <a:pt x="2771" y="1438"/>
                  <a:pt x="2777" y="1437"/>
                </a:cubicBezTo>
                <a:close/>
                <a:moveTo>
                  <a:pt x="2163" y="1470"/>
                </a:moveTo>
                <a:cubicBezTo>
                  <a:pt x="2156" y="1470"/>
                  <a:pt x="2149" y="1467"/>
                  <a:pt x="2145" y="1461"/>
                </a:cubicBezTo>
                <a:cubicBezTo>
                  <a:pt x="2141" y="1455"/>
                  <a:pt x="2139" y="1446"/>
                  <a:pt x="2139" y="1434"/>
                </a:cubicBezTo>
                <a:cubicBezTo>
                  <a:pt x="2139" y="1421"/>
                  <a:pt x="2141" y="1411"/>
                  <a:pt x="2145" y="1404"/>
                </a:cubicBezTo>
                <a:cubicBezTo>
                  <a:pt x="2150" y="1398"/>
                  <a:pt x="2156" y="1394"/>
                  <a:pt x="2165" y="1394"/>
                </a:cubicBezTo>
                <a:cubicBezTo>
                  <a:pt x="2182" y="1394"/>
                  <a:pt x="2190" y="1407"/>
                  <a:pt x="2190" y="1432"/>
                </a:cubicBezTo>
                <a:cubicBezTo>
                  <a:pt x="2190" y="1445"/>
                  <a:pt x="2187" y="1454"/>
                  <a:pt x="2182" y="1461"/>
                </a:cubicBezTo>
                <a:cubicBezTo>
                  <a:pt x="2178" y="1467"/>
                  <a:pt x="2171" y="1470"/>
                  <a:pt x="2163" y="1470"/>
                </a:cubicBezTo>
                <a:close/>
                <a:moveTo>
                  <a:pt x="2165" y="1404"/>
                </a:moveTo>
                <a:cubicBezTo>
                  <a:pt x="2155" y="1404"/>
                  <a:pt x="2151" y="1414"/>
                  <a:pt x="2151" y="1434"/>
                </a:cubicBezTo>
                <a:cubicBezTo>
                  <a:pt x="2151" y="1452"/>
                  <a:pt x="2155" y="1461"/>
                  <a:pt x="2164" y="1461"/>
                </a:cubicBezTo>
                <a:cubicBezTo>
                  <a:pt x="2173" y="1461"/>
                  <a:pt x="2177" y="1452"/>
                  <a:pt x="2177" y="1433"/>
                </a:cubicBezTo>
                <a:cubicBezTo>
                  <a:pt x="2177" y="1413"/>
                  <a:pt x="2173" y="1404"/>
                  <a:pt x="2165" y="1404"/>
                </a:cubicBezTo>
                <a:close/>
                <a:moveTo>
                  <a:pt x="2233" y="1470"/>
                </a:moveTo>
                <a:cubicBezTo>
                  <a:pt x="2226" y="1470"/>
                  <a:pt x="2220" y="1467"/>
                  <a:pt x="2216" y="1461"/>
                </a:cubicBezTo>
                <a:cubicBezTo>
                  <a:pt x="2211" y="1455"/>
                  <a:pt x="2209" y="1446"/>
                  <a:pt x="2209" y="1434"/>
                </a:cubicBezTo>
                <a:cubicBezTo>
                  <a:pt x="2209" y="1421"/>
                  <a:pt x="2211" y="1411"/>
                  <a:pt x="2216" y="1404"/>
                </a:cubicBezTo>
                <a:cubicBezTo>
                  <a:pt x="2220" y="1398"/>
                  <a:pt x="2227" y="1394"/>
                  <a:pt x="2236" y="1394"/>
                </a:cubicBezTo>
                <a:cubicBezTo>
                  <a:pt x="2252" y="1394"/>
                  <a:pt x="2260" y="1407"/>
                  <a:pt x="2260" y="1432"/>
                </a:cubicBezTo>
                <a:cubicBezTo>
                  <a:pt x="2260" y="1445"/>
                  <a:pt x="2258" y="1454"/>
                  <a:pt x="2253" y="1461"/>
                </a:cubicBezTo>
                <a:cubicBezTo>
                  <a:pt x="2248" y="1467"/>
                  <a:pt x="2242" y="1470"/>
                  <a:pt x="2233" y="1470"/>
                </a:cubicBezTo>
                <a:close/>
                <a:moveTo>
                  <a:pt x="2235" y="1404"/>
                </a:moveTo>
                <a:cubicBezTo>
                  <a:pt x="2226" y="1404"/>
                  <a:pt x="2221" y="1414"/>
                  <a:pt x="2221" y="1434"/>
                </a:cubicBezTo>
                <a:cubicBezTo>
                  <a:pt x="2221" y="1452"/>
                  <a:pt x="2225" y="1461"/>
                  <a:pt x="2234" y="1461"/>
                </a:cubicBezTo>
                <a:cubicBezTo>
                  <a:pt x="2243" y="1461"/>
                  <a:pt x="2247" y="1452"/>
                  <a:pt x="2247" y="1433"/>
                </a:cubicBezTo>
                <a:cubicBezTo>
                  <a:pt x="2247" y="1413"/>
                  <a:pt x="2243" y="1404"/>
                  <a:pt x="2235" y="1404"/>
                </a:cubicBezTo>
                <a:close/>
                <a:moveTo>
                  <a:pt x="2444" y="1470"/>
                </a:moveTo>
                <a:cubicBezTo>
                  <a:pt x="2436" y="1470"/>
                  <a:pt x="2430" y="1467"/>
                  <a:pt x="2426" y="1461"/>
                </a:cubicBezTo>
                <a:cubicBezTo>
                  <a:pt x="2422" y="1455"/>
                  <a:pt x="2420" y="1445"/>
                  <a:pt x="2420" y="1434"/>
                </a:cubicBezTo>
                <a:cubicBezTo>
                  <a:pt x="2420" y="1421"/>
                  <a:pt x="2422" y="1411"/>
                  <a:pt x="2426" y="1404"/>
                </a:cubicBezTo>
                <a:cubicBezTo>
                  <a:pt x="2430" y="1397"/>
                  <a:pt x="2437" y="1394"/>
                  <a:pt x="2446" y="1394"/>
                </a:cubicBezTo>
                <a:cubicBezTo>
                  <a:pt x="2462" y="1394"/>
                  <a:pt x="2470" y="1407"/>
                  <a:pt x="2470" y="1431"/>
                </a:cubicBezTo>
                <a:cubicBezTo>
                  <a:pt x="2470" y="1445"/>
                  <a:pt x="2468" y="1454"/>
                  <a:pt x="2463" y="1461"/>
                </a:cubicBezTo>
                <a:cubicBezTo>
                  <a:pt x="2458" y="1467"/>
                  <a:pt x="2452" y="1470"/>
                  <a:pt x="2444" y="1470"/>
                </a:cubicBezTo>
                <a:close/>
                <a:moveTo>
                  <a:pt x="2445" y="1404"/>
                </a:moveTo>
                <a:cubicBezTo>
                  <a:pt x="2436" y="1404"/>
                  <a:pt x="2432" y="1413"/>
                  <a:pt x="2432" y="1433"/>
                </a:cubicBezTo>
                <a:cubicBezTo>
                  <a:pt x="2432" y="1451"/>
                  <a:pt x="2436" y="1461"/>
                  <a:pt x="2445" y="1461"/>
                </a:cubicBezTo>
                <a:cubicBezTo>
                  <a:pt x="2453" y="1461"/>
                  <a:pt x="2458" y="1451"/>
                  <a:pt x="2458" y="1433"/>
                </a:cubicBezTo>
                <a:cubicBezTo>
                  <a:pt x="2458" y="1413"/>
                  <a:pt x="2454" y="1404"/>
                  <a:pt x="2445" y="1404"/>
                </a:cubicBezTo>
                <a:close/>
                <a:moveTo>
                  <a:pt x="2516" y="1397"/>
                </a:moveTo>
                <a:cubicBezTo>
                  <a:pt x="2516" y="1397"/>
                  <a:pt x="2516" y="1397"/>
                  <a:pt x="2516" y="1397"/>
                </a:cubicBezTo>
                <a:cubicBezTo>
                  <a:pt x="2511" y="1397"/>
                  <a:pt x="2511" y="1397"/>
                  <a:pt x="2511" y="1397"/>
                </a:cubicBezTo>
                <a:cubicBezTo>
                  <a:pt x="2509" y="1398"/>
                  <a:pt x="2507" y="1400"/>
                  <a:pt x="2505" y="1400"/>
                </a:cubicBezTo>
                <a:cubicBezTo>
                  <a:pt x="2504" y="1402"/>
                  <a:pt x="2502" y="1402"/>
                  <a:pt x="2500" y="1403"/>
                </a:cubicBezTo>
                <a:cubicBezTo>
                  <a:pt x="2499" y="1404"/>
                  <a:pt x="2497" y="1405"/>
                  <a:pt x="2495" y="1405"/>
                </a:cubicBezTo>
                <a:cubicBezTo>
                  <a:pt x="2493" y="1406"/>
                  <a:pt x="2492" y="1407"/>
                  <a:pt x="2490" y="1408"/>
                </a:cubicBezTo>
                <a:cubicBezTo>
                  <a:pt x="2490" y="1408"/>
                  <a:pt x="2490" y="1408"/>
                  <a:pt x="2490" y="1418"/>
                </a:cubicBezTo>
                <a:cubicBezTo>
                  <a:pt x="2492" y="1417"/>
                  <a:pt x="2495" y="1416"/>
                  <a:pt x="2497" y="1415"/>
                </a:cubicBezTo>
                <a:cubicBezTo>
                  <a:pt x="2500" y="1414"/>
                  <a:pt x="2502" y="1413"/>
                  <a:pt x="2505" y="1411"/>
                </a:cubicBezTo>
                <a:cubicBezTo>
                  <a:pt x="2505" y="1411"/>
                  <a:pt x="2505" y="1411"/>
                  <a:pt x="2505" y="1470"/>
                </a:cubicBezTo>
                <a:cubicBezTo>
                  <a:pt x="2505" y="1470"/>
                  <a:pt x="2505" y="1470"/>
                  <a:pt x="2516" y="1470"/>
                </a:cubicBezTo>
                <a:cubicBezTo>
                  <a:pt x="2516" y="1470"/>
                  <a:pt x="2516" y="1470"/>
                  <a:pt x="2516" y="1397"/>
                </a:cubicBezTo>
                <a:close/>
                <a:moveTo>
                  <a:pt x="2307" y="1397"/>
                </a:moveTo>
                <a:cubicBezTo>
                  <a:pt x="2307" y="1397"/>
                  <a:pt x="2307" y="1397"/>
                  <a:pt x="2307" y="1397"/>
                </a:cubicBezTo>
                <a:cubicBezTo>
                  <a:pt x="2302" y="1397"/>
                  <a:pt x="2302" y="1397"/>
                  <a:pt x="2302" y="1397"/>
                </a:cubicBezTo>
                <a:cubicBezTo>
                  <a:pt x="2299" y="1398"/>
                  <a:pt x="2298" y="1400"/>
                  <a:pt x="2296" y="1400"/>
                </a:cubicBezTo>
                <a:cubicBezTo>
                  <a:pt x="2294" y="1402"/>
                  <a:pt x="2293" y="1402"/>
                  <a:pt x="2290" y="1403"/>
                </a:cubicBezTo>
                <a:cubicBezTo>
                  <a:pt x="2289" y="1405"/>
                  <a:pt x="2287" y="1405"/>
                  <a:pt x="2285" y="1406"/>
                </a:cubicBezTo>
                <a:cubicBezTo>
                  <a:pt x="2283" y="1407"/>
                  <a:pt x="2282" y="1408"/>
                  <a:pt x="2279" y="1408"/>
                </a:cubicBezTo>
                <a:cubicBezTo>
                  <a:pt x="2279" y="1408"/>
                  <a:pt x="2279" y="1408"/>
                  <a:pt x="2279" y="1418"/>
                </a:cubicBezTo>
                <a:cubicBezTo>
                  <a:pt x="2282" y="1417"/>
                  <a:pt x="2285" y="1416"/>
                  <a:pt x="2288" y="1415"/>
                </a:cubicBezTo>
                <a:cubicBezTo>
                  <a:pt x="2290" y="1414"/>
                  <a:pt x="2293" y="1413"/>
                  <a:pt x="2295" y="1411"/>
                </a:cubicBezTo>
                <a:cubicBezTo>
                  <a:pt x="2295" y="1411"/>
                  <a:pt x="2295" y="1411"/>
                  <a:pt x="2295" y="1470"/>
                </a:cubicBezTo>
                <a:cubicBezTo>
                  <a:pt x="2295" y="1470"/>
                  <a:pt x="2295" y="1470"/>
                  <a:pt x="2307" y="1470"/>
                </a:cubicBezTo>
                <a:cubicBezTo>
                  <a:pt x="2307" y="1470"/>
                  <a:pt x="2307" y="1470"/>
                  <a:pt x="2307" y="1397"/>
                </a:cubicBezTo>
                <a:close/>
                <a:moveTo>
                  <a:pt x="2354" y="1397"/>
                </a:moveTo>
                <a:cubicBezTo>
                  <a:pt x="2354" y="1397"/>
                  <a:pt x="2354" y="1397"/>
                  <a:pt x="2354" y="1397"/>
                </a:cubicBezTo>
                <a:cubicBezTo>
                  <a:pt x="2349" y="1397"/>
                  <a:pt x="2349" y="1397"/>
                  <a:pt x="2349" y="1397"/>
                </a:cubicBezTo>
                <a:cubicBezTo>
                  <a:pt x="2346" y="1398"/>
                  <a:pt x="2345" y="1400"/>
                  <a:pt x="2343" y="1400"/>
                </a:cubicBezTo>
                <a:cubicBezTo>
                  <a:pt x="2341" y="1402"/>
                  <a:pt x="2339" y="1402"/>
                  <a:pt x="2338" y="1403"/>
                </a:cubicBezTo>
                <a:cubicBezTo>
                  <a:pt x="2336" y="1405"/>
                  <a:pt x="2334" y="1405"/>
                  <a:pt x="2332" y="1406"/>
                </a:cubicBezTo>
                <a:cubicBezTo>
                  <a:pt x="2330" y="1407"/>
                  <a:pt x="2329" y="1408"/>
                  <a:pt x="2326" y="1408"/>
                </a:cubicBezTo>
                <a:cubicBezTo>
                  <a:pt x="2326" y="1408"/>
                  <a:pt x="2326" y="1408"/>
                  <a:pt x="2326" y="1418"/>
                </a:cubicBezTo>
                <a:cubicBezTo>
                  <a:pt x="2329" y="1417"/>
                  <a:pt x="2332" y="1416"/>
                  <a:pt x="2335" y="1415"/>
                </a:cubicBezTo>
                <a:cubicBezTo>
                  <a:pt x="2338" y="1414"/>
                  <a:pt x="2340" y="1413"/>
                  <a:pt x="2342" y="1411"/>
                </a:cubicBezTo>
                <a:cubicBezTo>
                  <a:pt x="2342" y="1411"/>
                  <a:pt x="2342" y="1411"/>
                  <a:pt x="2342" y="1470"/>
                </a:cubicBezTo>
                <a:cubicBezTo>
                  <a:pt x="2342" y="1470"/>
                  <a:pt x="2342" y="1470"/>
                  <a:pt x="2354" y="1470"/>
                </a:cubicBezTo>
                <a:cubicBezTo>
                  <a:pt x="2354" y="1470"/>
                  <a:pt x="2354" y="1470"/>
                  <a:pt x="2354" y="1397"/>
                </a:cubicBezTo>
                <a:close/>
                <a:moveTo>
                  <a:pt x="2399" y="1397"/>
                </a:moveTo>
                <a:cubicBezTo>
                  <a:pt x="2399" y="1397"/>
                  <a:pt x="2399" y="1397"/>
                  <a:pt x="2399" y="1397"/>
                </a:cubicBezTo>
                <a:cubicBezTo>
                  <a:pt x="2395" y="1397"/>
                  <a:pt x="2395" y="1397"/>
                  <a:pt x="2395" y="1397"/>
                </a:cubicBezTo>
                <a:cubicBezTo>
                  <a:pt x="2393" y="1398"/>
                  <a:pt x="2391" y="1400"/>
                  <a:pt x="2389" y="1400"/>
                </a:cubicBezTo>
                <a:cubicBezTo>
                  <a:pt x="2388" y="1402"/>
                  <a:pt x="2386" y="1402"/>
                  <a:pt x="2384" y="1403"/>
                </a:cubicBezTo>
                <a:cubicBezTo>
                  <a:pt x="2382" y="1404"/>
                  <a:pt x="2381" y="1405"/>
                  <a:pt x="2378" y="1405"/>
                </a:cubicBezTo>
                <a:cubicBezTo>
                  <a:pt x="2377" y="1406"/>
                  <a:pt x="2375" y="1407"/>
                  <a:pt x="2373" y="1408"/>
                </a:cubicBezTo>
                <a:cubicBezTo>
                  <a:pt x="2373" y="1408"/>
                  <a:pt x="2373" y="1408"/>
                  <a:pt x="2373" y="1418"/>
                </a:cubicBezTo>
                <a:cubicBezTo>
                  <a:pt x="2376" y="1417"/>
                  <a:pt x="2379" y="1416"/>
                  <a:pt x="2381" y="1415"/>
                </a:cubicBezTo>
                <a:cubicBezTo>
                  <a:pt x="2384" y="1414"/>
                  <a:pt x="2386" y="1413"/>
                  <a:pt x="2388" y="1411"/>
                </a:cubicBezTo>
                <a:cubicBezTo>
                  <a:pt x="2388" y="1411"/>
                  <a:pt x="2388" y="1411"/>
                  <a:pt x="2388" y="1470"/>
                </a:cubicBezTo>
                <a:cubicBezTo>
                  <a:pt x="2388" y="1470"/>
                  <a:pt x="2388" y="1470"/>
                  <a:pt x="2399" y="1470"/>
                </a:cubicBezTo>
                <a:cubicBezTo>
                  <a:pt x="2399" y="1470"/>
                  <a:pt x="2399" y="1470"/>
                  <a:pt x="2399" y="1397"/>
                </a:cubicBezTo>
                <a:close/>
                <a:moveTo>
                  <a:pt x="1965" y="1470"/>
                </a:moveTo>
                <a:cubicBezTo>
                  <a:pt x="1958" y="1470"/>
                  <a:pt x="1951" y="1467"/>
                  <a:pt x="1948" y="1461"/>
                </a:cubicBezTo>
                <a:cubicBezTo>
                  <a:pt x="1943" y="1455"/>
                  <a:pt x="1941" y="1446"/>
                  <a:pt x="1941" y="1434"/>
                </a:cubicBezTo>
                <a:cubicBezTo>
                  <a:pt x="1941" y="1421"/>
                  <a:pt x="1943" y="1411"/>
                  <a:pt x="1948" y="1404"/>
                </a:cubicBezTo>
                <a:cubicBezTo>
                  <a:pt x="1952" y="1398"/>
                  <a:pt x="1959" y="1394"/>
                  <a:pt x="1967" y="1394"/>
                </a:cubicBezTo>
                <a:cubicBezTo>
                  <a:pt x="1983" y="1394"/>
                  <a:pt x="1991" y="1407"/>
                  <a:pt x="1991" y="1432"/>
                </a:cubicBezTo>
                <a:cubicBezTo>
                  <a:pt x="1991" y="1445"/>
                  <a:pt x="1989" y="1454"/>
                  <a:pt x="1985" y="1461"/>
                </a:cubicBezTo>
                <a:cubicBezTo>
                  <a:pt x="1980" y="1467"/>
                  <a:pt x="1974" y="1470"/>
                  <a:pt x="1965" y="1470"/>
                </a:cubicBezTo>
                <a:close/>
                <a:moveTo>
                  <a:pt x="1967" y="1404"/>
                </a:moveTo>
                <a:cubicBezTo>
                  <a:pt x="1958" y="1404"/>
                  <a:pt x="1953" y="1414"/>
                  <a:pt x="1953" y="1434"/>
                </a:cubicBezTo>
                <a:cubicBezTo>
                  <a:pt x="1953" y="1452"/>
                  <a:pt x="1957" y="1461"/>
                  <a:pt x="1966" y="1461"/>
                </a:cubicBezTo>
                <a:cubicBezTo>
                  <a:pt x="1975" y="1461"/>
                  <a:pt x="1979" y="1452"/>
                  <a:pt x="1979" y="1433"/>
                </a:cubicBezTo>
                <a:cubicBezTo>
                  <a:pt x="1979" y="1413"/>
                  <a:pt x="1975" y="1404"/>
                  <a:pt x="1967" y="1404"/>
                </a:cubicBezTo>
                <a:close/>
                <a:moveTo>
                  <a:pt x="2026" y="1397"/>
                </a:moveTo>
                <a:cubicBezTo>
                  <a:pt x="2026" y="1397"/>
                  <a:pt x="2026" y="1397"/>
                  <a:pt x="2026" y="1397"/>
                </a:cubicBezTo>
                <a:cubicBezTo>
                  <a:pt x="2021" y="1397"/>
                  <a:pt x="2021" y="1397"/>
                  <a:pt x="2021" y="1397"/>
                </a:cubicBezTo>
                <a:cubicBezTo>
                  <a:pt x="2019" y="1398"/>
                  <a:pt x="2018" y="1400"/>
                  <a:pt x="2015" y="1400"/>
                </a:cubicBezTo>
                <a:cubicBezTo>
                  <a:pt x="2014" y="1402"/>
                  <a:pt x="2012" y="1402"/>
                  <a:pt x="2010" y="1403"/>
                </a:cubicBezTo>
                <a:cubicBezTo>
                  <a:pt x="2009" y="1405"/>
                  <a:pt x="2006" y="1405"/>
                  <a:pt x="2005" y="1406"/>
                </a:cubicBezTo>
                <a:cubicBezTo>
                  <a:pt x="2003" y="1407"/>
                  <a:pt x="2001" y="1408"/>
                  <a:pt x="1999" y="1408"/>
                </a:cubicBezTo>
                <a:cubicBezTo>
                  <a:pt x="1999" y="1408"/>
                  <a:pt x="1999" y="1408"/>
                  <a:pt x="1999" y="1418"/>
                </a:cubicBezTo>
                <a:cubicBezTo>
                  <a:pt x="2002" y="1417"/>
                  <a:pt x="2005" y="1416"/>
                  <a:pt x="2008" y="1415"/>
                </a:cubicBezTo>
                <a:cubicBezTo>
                  <a:pt x="2010" y="1414"/>
                  <a:pt x="2012" y="1413"/>
                  <a:pt x="2015" y="1411"/>
                </a:cubicBezTo>
                <a:cubicBezTo>
                  <a:pt x="2015" y="1411"/>
                  <a:pt x="2015" y="1411"/>
                  <a:pt x="2015" y="1470"/>
                </a:cubicBezTo>
                <a:cubicBezTo>
                  <a:pt x="2015" y="1470"/>
                  <a:pt x="2015" y="1470"/>
                  <a:pt x="2026" y="1470"/>
                </a:cubicBezTo>
                <a:cubicBezTo>
                  <a:pt x="2026" y="1470"/>
                  <a:pt x="2026" y="1470"/>
                  <a:pt x="2026" y="1397"/>
                </a:cubicBezTo>
                <a:close/>
                <a:moveTo>
                  <a:pt x="2073" y="1397"/>
                </a:moveTo>
                <a:cubicBezTo>
                  <a:pt x="2073" y="1397"/>
                  <a:pt x="2073" y="1397"/>
                  <a:pt x="2073" y="1397"/>
                </a:cubicBezTo>
                <a:cubicBezTo>
                  <a:pt x="2068" y="1397"/>
                  <a:pt x="2068" y="1397"/>
                  <a:pt x="2068" y="1397"/>
                </a:cubicBezTo>
                <a:cubicBezTo>
                  <a:pt x="2066" y="1398"/>
                  <a:pt x="2065" y="1400"/>
                  <a:pt x="2062" y="1400"/>
                </a:cubicBezTo>
                <a:cubicBezTo>
                  <a:pt x="2061" y="1402"/>
                  <a:pt x="2059" y="1402"/>
                  <a:pt x="2057" y="1403"/>
                </a:cubicBezTo>
                <a:cubicBezTo>
                  <a:pt x="2056" y="1405"/>
                  <a:pt x="2053" y="1405"/>
                  <a:pt x="2052" y="1406"/>
                </a:cubicBezTo>
                <a:cubicBezTo>
                  <a:pt x="2050" y="1407"/>
                  <a:pt x="2048" y="1408"/>
                  <a:pt x="2046" y="1408"/>
                </a:cubicBezTo>
                <a:cubicBezTo>
                  <a:pt x="2046" y="1408"/>
                  <a:pt x="2046" y="1408"/>
                  <a:pt x="2046" y="1418"/>
                </a:cubicBezTo>
                <a:cubicBezTo>
                  <a:pt x="2049" y="1417"/>
                  <a:pt x="2052" y="1416"/>
                  <a:pt x="2054" y="1415"/>
                </a:cubicBezTo>
                <a:cubicBezTo>
                  <a:pt x="2057" y="1414"/>
                  <a:pt x="2059" y="1413"/>
                  <a:pt x="2062" y="1411"/>
                </a:cubicBezTo>
                <a:cubicBezTo>
                  <a:pt x="2062" y="1411"/>
                  <a:pt x="2062" y="1411"/>
                  <a:pt x="2062" y="1470"/>
                </a:cubicBezTo>
                <a:cubicBezTo>
                  <a:pt x="2062" y="1470"/>
                  <a:pt x="2062" y="1470"/>
                  <a:pt x="2073" y="1470"/>
                </a:cubicBezTo>
                <a:cubicBezTo>
                  <a:pt x="2073" y="1470"/>
                  <a:pt x="2073" y="1470"/>
                  <a:pt x="2073" y="1397"/>
                </a:cubicBezTo>
                <a:close/>
                <a:moveTo>
                  <a:pt x="2119" y="1397"/>
                </a:moveTo>
                <a:cubicBezTo>
                  <a:pt x="2119" y="1397"/>
                  <a:pt x="2119" y="1397"/>
                  <a:pt x="2119" y="1397"/>
                </a:cubicBezTo>
                <a:cubicBezTo>
                  <a:pt x="2115" y="1397"/>
                  <a:pt x="2115" y="1397"/>
                  <a:pt x="2115" y="1397"/>
                </a:cubicBezTo>
                <a:cubicBezTo>
                  <a:pt x="2113" y="1398"/>
                  <a:pt x="2111" y="1400"/>
                  <a:pt x="2109" y="1400"/>
                </a:cubicBezTo>
                <a:cubicBezTo>
                  <a:pt x="2108" y="1402"/>
                  <a:pt x="2105" y="1402"/>
                  <a:pt x="2104" y="1403"/>
                </a:cubicBezTo>
                <a:cubicBezTo>
                  <a:pt x="2102" y="1404"/>
                  <a:pt x="2100" y="1405"/>
                  <a:pt x="2098" y="1405"/>
                </a:cubicBezTo>
                <a:cubicBezTo>
                  <a:pt x="2097" y="1406"/>
                  <a:pt x="2095" y="1407"/>
                  <a:pt x="2093" y="1408"/>
                </a:cubicBezTo>
                <a:cubicBezTo>
                  <a:pt x="2093" y="1408"/>
                  <a:pt x="2093" y="1408"/>
                  <a:pt x="2093" y="1418"/>
                </a:cubicBezTo>
                <a:cubicBezTo>
                  <a:pt x="2096" y="1417"/>
                  <a:pt x="2099" y="1416"/>
                  <a:pt x="2101" y="1415"/>
                </a:cubicBezTo>
                <a:cubicBezTo>
                  <a:pt x="2103" y="1414"/>
                  <a:pt x="2106" y="1413"/>
                  <a:pt x="2108" y="1411"/>
                </a:cubicBezTo>
                <a:cubicBezTo>
                  <a:pt x="2108" y="1411"/>
                  <a:pt x="2108" y="1411"/>
                  <a:pt x="2108" y="1470"/>
                </a:cubicBezTo>
                <a:cubicBezTo>
                  <a:pt x="2108" y="1470"/>
                  <a:pt x="2108" y="1470"/>
                  <a:pt x="2119" y="1470"/>
                </a:cubicBezTo>
                <a:cubicBezTo>
                  <a:pt x="2119" y="1470"/>
                  <a:pt x="2119" y="1470"/>
                  <a:pt x="2119" y="1397"/>
                </a:cubicBezTo>
                <a:close/>
                <a:moveTo>
                  <a:pt x="1978" y="1696"/>
                </a:moveTo>
                <a:cubicBezTo>
                  <a:pt x="1978" y="1696"/>
                  <a:pt x="1978" y="1696"/>
                  <a:pt x="1978" y="1696"/>
                </a:cubicBezTo>
                <a:cubicBezTo>
                  <a:pt x="1973" y="1696"/>
                  <a:pt x="1973" y="1696"/>
                  <a:pt x="1973" y="1696"/>
                </a:cubicBezTo>
                <a:cubicBezTo>
                  <a:pt x="1971" y="1697"/>
                  <a:pt x="1969" y="1699"/>
                  <a:pt x="1967" y="1699"/>
                </a:cubicBezTo>
                <a:cubicBezTo>
                  <a:pt x="1966" y="1701"/>
                  <a:pt x="1963" y="1702"/>
                  <a:pt x="1962" y="1702"/>
                </a:cubicBezTo>
                <a:cubicBezTo>
                  <a:pt x="1960" y="1704"/>
                  <a:pt x="1958" y="1704"/>
                  <a:pt x="1957" y="1705"/>
                </a:cubicBezTo>
                <a:cubicBezTo>
                  <a:pt x="1955" y="1706"/>
                  <a:pt x="1953" y="1707"/>
                  <a:pt x="1951" y="1707"/>
                </a:cubicBezTo>
                <a:cubicBezTo>
                  <a:pt x="1951" y="1707"/>
                  <a:pt x="1951" y="1707"/>
                  <a:pt x="1951" y="1717"/>
                </a:cubicBezTo>
                <a:cubicBezTo>
                  <a:pt x="1954" y="1716"/>
                  <a:pt x="1957" y="1715"/>
                  <a:pt x="1959" y="1714"/>
                </a:cubicBezTo>
                <a:cubicBezTo>
                  <a:pt x="1962" y="1713"/>
                  <a:pt x="1964" y="1712"/>
                  <a:pt x="1966" y="1710"/>
                </a:cubicBezTo>
                <a:cubicBezTo>
                  <a:pt x="1966" y="1710"/>
                  <a:pt x="1966" y="1710"/>
                  <a:pt x="1966" y="1769"/>
                </a:cubicBezTo>
                <a:cubicBezTo>
                  <a:pt x="1966" y="1769"/>
                  <a:pt x="1966" y="1769"/>
                  <a:pt x="1978" y="1769"/>
                </a:cubicBezTo>
                <a:cubicBezTo>
                  <a:pt x="1978" y="1769"/>
                  <a:pt x="1978" y="1769"/>
                  <a:pt x="1978" y="1696"/>
                </a:cubicBezTo>
                <a:close/>
                <a:moveTo>
                  <a:pt x="1978" y="1592"/>
                </a:moveTo>
                <a:cubicBezTo>
                  <a:pt x="1978" y="1592"/>
                  <a:pt x="1978" y="1592"/>
                  <a:pt x="1978" y="1592"/>
                </a:cubicBezTo>
                <a:cubicBezTo>
                  <a:pt x="1974" y="1592"/>
                  <a:pt x="1974" y="1592"/>
                  <a:pt x="1974" y="1592"/>
                </a:cubicBezTo>
                <a:cubicBezTo>
                  <a:pt x="1972" y="1593"/>
                  <a:pt x="1970" y="1594"/>
                  <a:pt x="1968" y="1595"/>
                </a:cubicBezTo>
                <a:cubicBezTo>
                  <a:pt x="1967" y="1597"/>
                  <a:pt x="1965" y="1597"/>
                  <a:pt x="1963" y="1598"/>
                </a:cubicBezTo>
                <a:cubicBezTo>
                  <a:pt x="1961" y="1599"/>
                  <a:pt x="1960" y="1600"/>
                  <a:pt x="1958" y="1600"/>
                </a:cubicBezTo>
                <a:cubicBezTo>
                  <a:pt x="1956" y="1601"/>
                  <a:pt x="1954" y="1602"/>
                  <a:pt x="1952" y="1602"/>
                </a:cubicBezTo>
                <a:cubicBezTo>
                  <a:pt x="1952" y="1602"/>
                  <a:pt x="1952" y="1602"/>
                  <a:pt x="1952" y="1613"/>
                </a:cubicBezTo>
                <a:cubicBezTo>
                  <a:pt x="1955" y="1612"/>
                  <a:pt x="1958" y="1610"/>
                  <a:pt x="1960" y="1610"/>
                </a:cubicBezTo>
                <a:cubicBezTo>
                  <a:pt x="1963" y="1609"/>
                  <a:pt x="1965" y="1608"/>
                  <a:pt x="1967" y="1606"/>
                </a:cubicBezTo>
                <a:cubicBezTo>
                  <a:pt x="1967" y="1606"/>
                  <a:pt x="1967" y="1606"/>
                  <a:pt x="1967" y="1665"/>
                </a:cubicBezTo>
                <a:cubicBezTo>
                  <a:pt x="1967" y="1665"/>
                  <a:pt x="1967" y="1665"/>
                  <a:pt x="1978" y="1665"/>
                </a:cubicBezTo>
                <a:cubicBezTo>
                  <a:pt x="1978" y="1665"/>
                  <a:pt x="1978" y="1665"/>
                  <a:pt x="1978" y="1592"/>
                </a:cubicBezTo>
                <a:close/>
                <a:moveTo>
                  <a:pt x="2922" y="1380"/>
                </a:moveTo>
                <a:cubicBezTo>
                  <a:pt x="2915" y="1380"/>
                  <a:pt x="2908" y="1377"/>
                  <a:pt x="2904" y="1371"/>
                </a:cubicBezTo>
                <a:cubicBezTo>
                  <a:pt x="2900" y="1364"/>
                  <a:pt x="2898" y="1356"/>
                  <a:pt x="2898" y="1343"/>
                </a:cubicBezTo>
                <a:cubicBezTo>
                  <a:pt x="2898" y="1330"/>
                  <a:pt x="2900" y="1320"/>
                  <a:pt x="2905" y="1314"/>
                </a:cubicBezTo>
                <a:cubicBezTo>
                  <a:pt x="2909" y="1307"/>
                  <a:pt x="2916" y="1304"/>
                  <a:pt x="2924" y="1304"/>
                </a:cubicBezTo>
                <a:cubicBezTo>
                  <a:pt x="2940" y="1304"/>
                  <a:pt x="2948" y="1316"/>
                  <a:pt x="2948" y="1342"/>
                </a:cubicBezTo>
                <a:cubicBezTo>
                  <a:pt x="2948" y="1354"/>
                  <a:pt x="2946" y="1364"/>
                  <a:pt x="2941" y="1370"/>
                </a:cubicBezTo>
                <a:cubicBezTo>
                  <a:pt x="2937" y="1377"/>
                  <a:pt x="2930" y="1380"/>
                  <a:pt x="2922" y="1380"/>
                </a:cubicBezTo>
                <a:close/>
                <a:moveTo>
                  <a:pt x="2924" y="1313"/>
                </a:moveTo>
                <a:cubicBezTo>
                  <a:pt x="2914" y="1313"/>
                  <a:pt x="2910" y="1323"/>
                  <a:pt x="2910" y="1343"/>
                </a:cubicBezTo>
                <a:cubicBezTo>
                  <a:pt x="2910" y="1362"/>
                  <a:pt x="2914" y="1370"/>
                  <a:pt x="2923" y="1370"/>
                </a:cubicBezTo>
                <a:cubicBezTo>
                  <a:pt x="2932" y="1370"/>
                  <a:pt x="2936" y="1362"/>
                  <a:pt x="2936" y="1342"/>
                </a:cubicBezTo>
                <a:cubicBezTo>
                  <a:pt x="2936" y="1323"/>
                  <a:pt x="2932" y="1313"/>
                  <a:pt x="2924" y="1313"/>
                </a:cubicBezTo>
                <a:close/>
                <a:moveTo>
                  <a:pt x="2996" y="1306"/>
                </a:moveTo>
                <a:cubicBezTo>
                  <a:pt x="2996" y="1306"/>
                  <a:pt x="2996" y="1306"/>
                  <a:pt x="2996" y="1306"/>
                </a:cubicBezTo>
                <a:cubicBezTo>
                  <a:pt x="2991" y="1306"/>
                  <a:pt x="2991" y="1306"/>
                  <a:pt x="2991" y="1306"/>
                </a:cubicBezTo>
                <a:cubicBezTo>
                  <a:pt x="2989" y="1308"/>
                  <a:pt x="2987" y="1309"/>
                  <a:pt x="2985" y="1310"/>
                </a:cubicBezTo>
                <a:cubicBezTo>
                  <a:pt x="2984" y="1312"/>
                  <a:pt x="2981" y="1312"/>
                  <a:pt x="2980" y="1313"/>
                </a:cubicBezTo>
                <a:cubicBezTo>
                  <a:pt x="2978" y="1314"/>
                  <a:pt x="2976" y="1314"/>
                  <a:pt x="2975" y="1315"/>
                </a:cubicBezTo>
                <a:cubicBezTo>
                  <a:pt x="2973" y="1316"/>
                  <a:pt x="2971" y="1317"/>
                  <a:pt x="2969" y="1317"/>
                </a:cubicBezTo>
                <a:cubicBezTo>
                  <a:pt x="2969" y="1317"/>
                  <a:pt x="2969" y="1317"/>
                  <a:pt x="2969" y="1328"/>
                </a:cubicBezTo>
                <a:cubicBezTo>
                  <a:pt x="2972" y="1327"/>
                  <a:pt x="2975" y="1325"/>
                  <a:pt x="2977" y="1325"/>
                </a:cubicBezTo>
                <a:cubicBezTo>
                  <a:pt x="2980" y="1324"/>
                  <a:pt x="2982" y="1322"/>
                  <a:pt x="2984" y="1321"/>
                </a:cubicBezTo>
                <a:cubicBezTo>
                  <a:pt x="2984" y="1321"/>
                  <a:pt x="2984" y="1321"/>
                  <a:pt x="2984" y="1380"/>
                </a:cubicBezTo>
                <a:cubicBezTo>
                  <a:pt x="2984" y="1380"/>
                  <a:pt x="2984" y="1380"/>
                  <a:pt x="2996" y="1380"/>
                </a:cubicBezTo>
                <a:cubicBezTo>
                  <a:pt x="2996" y="1380"/>
                  <a:pt x="2996" y="1380"/>
                  <a:pt x="2996" y="1306"/>
                </a:cubicBezTo>
                <a:close/>
                <a:moveTo>
                  <a:pt x="3043" y="1306"/>
                </a:moveTo>
                <a:cubicBezTo>
                  <a:pt x="3043" y="1306"/>
                  <a:pt x="3043" y="1306"/>
                  <a:pt x="3043" y="1306"/>
                </a:cubicBezTo>
                <a:cubicBezTo>
                  <a:pt x="3038" y="1306"/>
                  <a:pt x="3038" y="1306"/>
                  <a:pt x="3038" y="1306"/>
                </a:cubicBezTo>
                <a:cubicBezTo>
                  <a:pt x="3036" y="1308"/>
                  <a:pt x="3034" y="1309"/>
                  <a:pt x="3032" y="1310"/>
                </a:cubicBezTo>
                <a:cubicBezTo>
                  <a:pt x="3031" y="1312"/>
                  <a:pt x="3029" y="1312"/>
                  <a:pt x="3027" y="1313"/>
                </a:cubicBezTo>
                <a:cubicBezTo>
                  <a:pt x="3026" y="1314"/>
                  <a:pt x="3024" y="1315"/>
                  <a:pt x="3022" y="1316"/>
                </a:cubicBezTo>
                <a:cubicBezTo>
                  <a:pt x="3020" y="1317"/>
                  <a:pt x="3019" y="1317"/>
                  <a:pt x="3017" y="1317"/>
                </a:cubicBezTo>
                <a:cubicBezTo>
                  <a:pt x="3017" y="1317"/>
                  <a:pt x="3017" y="1317"/>
                  <a:pt x="3017" y="1328"/>
                </a:cubicBezTo>
                <a:cubicBezTo>
                  <a:pt x="3020" y="1327"/>
                  <a:pt x="3022" y="1326"/>
                  <a:pt x="3025" y="1325"/>
                </a:cubicBezTo>
                <a:cubicBezTo>
                  <a:pt x="3027" y="1324"/>
                  <a:pt x="3029" y="1322"/>
                  <a:pt x="3032" y="1321"/>
                </a:cubicBezTo>
                <a:cubicBezTo>
                  <a:pt x="3032" y="1321"/>
                  <a:pt x="3032" y="1321"/>
                  <a:pt x="3032" y="1380"/>
                </a:cubicBezTo>
                <a:cubicBezTo>
                  <a:pt x="3032" y="1380"/>
                  <a:pt x="3032" y="1380"/>
                  <a:pt x="3043" y="1380"/>
                </a:cubicBezTo>
                <a:cubicBezTo>
                  <a:pt x="3043" y="1380"/>
                  <a:pt x="3043" y="1380"/>
                  <a:pt x="3043" y="1306"/>
                </a:cubicBezTo>
                <a:close/>
                <a:moveTo>
                  <a:pt x="3090" y="1306"/>
                </a:moveTo>
                <a:cubicBezTo>
                  <a:pt x="3090" y="1306"/>
                  <a:pt x="3090" y="1306"/>
                  <a:pt x="3090" y="1306"/>
                </a:cubicBezTo>
                <a:cubicBezTo>
                  <a:pt x="3085" y="1306"/>
                  <a:pt x="3085" y="1306"/>
                  <a:pt x="3085" y="1306"/>
                </a:cubicBezTo>
                <a:cubicBezTo>
                  <a:pt x="3083" y="1308"/>
                  <a:pt x="3082" y="1309"/>
                  <a:pt x="3080" y="1310"/>
                </a:cubicBezTo>
                <a:cubicBezTo>
                  <a:pt x="3078" y="1312"/>
                  <a:pt x="3076" y="1312"/>
                  <a:pt x="3074" y="1313"/>
                </a:cubicBezTo>
                <a:cubicBezTo>
                  <a:pt x="3072" y="1314"/>
                  <a:pt x="3071" y="1315"/>
                  <a:pt x="3069" y="1316"/>
                </a:cubicBezTo>
                <a:cubicBezTo>
                  <a:pt x="3067" y="1317"/>
                  <a:pt x="3065" y="1317"/>
                  <a:pt x="3064" y="1317"/>
                </a:cubicBezTo>
                <a:cubicBezTo>
                  <a:pt x="3064" y="1317"/>
                  <a:pt x="3064" y="1317"/>
                  <a:pt x="3064" y="1328"/>
                </a:cubicBezTo>
                <a:cubicBezTo>
                  <a:pt x="3067" y="1327"/>
                  <a:pt x="3069" y="1326"/>
                  <a:pt x="3072" y="1325"/>
                </a:cubicBezTo>
                <a:cubicBezTo>
                  <a:pt x="3074" y="1324"/>
                  <a:pt x="3077" y="1322"/>
                  <a:pt x="3078" y="1321"/>
                </a:cubicBezTo>
                <a:cubicBezTo>
                  <a:pt x="3078" y="1321"/>
                  <a:pt x="3078" y="1321"/>
                  <a:pt x="3078" y="1380"/>
                </a:cubicBezTo>
                <a:cubicBezTo>
                  <a:pt x="3078" y="1380"/>
                  <a:pt x="3078" y="1380"/>
                  <a:pt x="3090" y="1380"/>
                </a:cubicBezTo>
                <a:cubicBezTo>
                  <a:pt x="3090" y="1380"/>
                  <a:pt x="3090" y="1380"/>
                  <a:pt x="3090" y="1306"/>
                </a:cubicBezTo>
                <a:close/>
                <a:moveTo>
                  <a:pt x="3137" y="1306"/>
                </a:moveTo>
                <a:cubicBezTo>
                  <a:pt x="3137" y="1306"/>
                  <a:pt x="3137" y="1306"/>
                  <a:pt x="3137" y="1306"/>
                </a:cubicBezTo>
                <a:cubicBezTo>
                  <a:pt x="3132" y="1306"/>
                  <a:pt x="3132" y="1306"/>
                  <a:pt x="3132" y="1306"/>
                </a:cubicBezTo>
                <a:cubicBezTo>
                  <a:pt x="3130" y="1308"/>
                  <a:pt x="3128" y="1309"/>
                  <a:pt x="3126" y="1310"/>
                </a:cubicBezTo>
                <a:cubicBezTo>
                  <a:pt x="3125" y="1312"/>
                  <a:pt x="3123" y="1312"/>
                  <a:pt x="3121" y="1313"/>
                </a:cubicBezTo>
                <a:cubicBezTo>
                  <a:pt x="3120" y="1314"/>
                  <a:pt x="3118" y="1315"/>
                  <a:pt x="3116" y="1316"/>
                </a:cubicBezTo>
                <a:cubicBezTo>
                  <a:pt x="3114" y="1317"/>
                  <a:pt x="3112" y="1317"/>
                  <a:pt x="3110" y="1317"/>
                </a:cubicBezTo>
                <a:cubicBezTo>
                  <a:pt x="3110" y="1317"/>
                  <a:pt x="3110" y="1317"/>
                  <a:pt x="3110" y="1328"/>
                </a:cubicBezTo>
                <a:cubicBezTo>
                  <a:pt x="3113" y="1327"/>
                  <a:pt x="3116" y="1326"/>
                  <a:pt x="3118" y="1325"/>
                </a:cubicBezTo>
                <a:cubicBezTo>
                  <a:pt x="3121" y="1324"/>
                  <a:pt x="3123" y="1322"/>
                  <a:pt x="3126" y="1321"/>
                </a:cubicBezTo>
                <a:cubicBezTo>
                  <a:pt x="3126" y="1321"/>
                  <a:pt x="3126" y="1321"/>
                  <a:pt x="3126" y="1380"/>
                </a:cubicBezTo>
                <a:cubicBezTo>
                  <a:pt x="3126" y="1380"/>
                  <a:pt x="3126" y="1380"/>
                  <a:pt x="3137" y="1380"/>
                </a:cubicBezTo>
                <a:cubicBezTo>
                  <a:pt x="3137" y="1380"/>
                  <a:pt x="3137" y="1380"/>
                  <a:pt x="3137" y="1306"/>
                </a:cubicBezTo>
                <a:close/>
                <a:moveTo>
                  <a:pt x="3260" y="1306"/>
                </a:moveTo>
                <a:cubicBezTo>
                  <a:pt x="3260" y="1306"/>
                  <a:pt x="3260" y="1306"/>
                  <a:pt x="3260" y="1306"/>
                </a:cubicBezTo>
                <a:cubicBezTo>
                  <a:pt x="3255" y="1306"/>
                  <a:pt x="3255" y="1306"/>
                  <a:pt x="3255" y="1306"/>
                </a:cubicBezTo>
                <a:cubicBezTo>
                  <a:pt x="3253" y="1308"/>
                  <a:pt x="3252" y="1309"/>
                  <a:pt x="3250" y="1310"/>
                </a:cubicBezTo>
                <a:cubicBezTo>
                  <a:pt x="3248" y="1312"/>
                  <a:pt x="3247" y="1312"/>
                  <a:pt x="3245" y="1313"/>
                </a:cubicBezTo>
                <a:cubicBezTo>
                  <a:pt x="3243" y="1314"/>
                  <a:pt x="3241" y="1315"/>
                  <a:pt x="3239" y="1316"/>
                </a:cubicBezTo>
                <a:cubicBezTo>
                  <a:pt x="3237" y="1317"/>
                  <a:pt x="3236" y="1317"/>
                  <a:pt x="3234" y="1317"/>
                </a:cubicBezTo>
                <a:cubicBezTo>
                  <a:pt x="3234" y="1317"/>
                  <a:pt x="3234" y="1317"/>
                  <a:pt x="3234" y="1328"/>
                </a:cubicBezTo>
                <a:cubicBezTo>
                  <a:pt x="3237" y="1327"/>
                  <a:pt x="3239" y="1326"/>
                  <a:pt x="3242" y="1325"/>
                </a:cubicBezTo>
                <a:cubicBezTo>
                  <a:pt x="3245" y="1324"/>
                  <a:pt x="3247" y="1322"/>
                  <a:pt x="3249" y="1321"/>
                </a:cubicBezTo>
                <a:cubicBezTo>
                  <a:pt x="3249" y="1321"/>
                  <a:pt x="3249" y="1321"/>
                  <a:pt x="3249" y="1380"/>
                </a:cubicBezTo>
                <a:cubicBezTo>
                  <a:pt x="3249" y="1380"/>
                  <a:pt x="3249" y="1380"/>
                  <a:pt x="3260" y="1380"/>
                </a:cubicBezTo>
                <a:cubicBezTo>
                  <a:pt x="3260" y="1380"/>
                  <a:pt x="3260" y="1380"/>
                  <a:pt x="3260" y="1306"/>
                </a:cubicBezTo>
                <a:close/>
                <a:moveTo>
                  <a:pt x="3308" y="1306"/>
                </a:moveTo>
                <a:cubicBezTo>
                  <a:pt x="3308" y="1306"/>
                  <a:pt x="3308" y="1306"/>
                  <a:pt x="3308" y="1306"/>
                </a:cubicBezTo>
                <a:cubicBezTo>
                  <a:pt x="3303" y="1306"/>
                  <a:pt x="3303" y="1306"/>
                  <a:pt x="3303" y="1306"/>
                </a:cubicBezTo>
                <a:cubicBezTo>
                  <a:pt x="3301" y="1308"/>
                  <a:pt x="3299" y="1309"/>
                  <a:pt x="3297" y="1310"/>
                </a:cubicBezTo>
                <a:cubicBezTo>
                  <a:pt x="3296" y="1312"/>
                  <a:pt x="3293" y="1312"/>
                  <a:pt x="3292" y="1313"/>
                </a:cubicBezTo>
                <a:cubicBezTo>
                  <a:pt x="3291" y="1314"/>
                  <a:pt x="3288" y="1315"/>
                  <a:pt x="3287" y="1316"/>
                </a:cubicBezTo>
                <a:cubicBezTo>
                  <a:pt x="3285" y="1317"/>
                  <a:pt x="3283" y="1317"/>
                  <a:pt x="3281" y="1317"/>
                </a:cubicBezTo>
                <a:cubicBezTo>
                  <a:pt x="3281" y="1317"/>
                  <a:pt x="3281" y="1317"/>
                  <a:pt x="3281" y="1328"/>
                </a:cubicBezTo>
                <a:cubicBezTo>
                  <a:pt x="3284" y="1327"/>
                  <a:pt x="3287" y="1326"/>
                  <a:pt x="3289" y="1325"/>
                </a:cubicBezTo>
                <a:cubicBezTo>
                  <a:pt x="3292" y="1324"/>
                  <a:pt x="3294" y="1322"/>
                  <a:pt x="3296" y="1321"/>
                </a:cubicBezTo>
                <a:cubicBezTo>
                  <a:pt x="3296" y="1321"/>
                  <a:pt x="3296" y="1321"/>
                  <a:pt x="3296" y="1380"/>
                </a:cubicBezTo>
                <a:cubicBezTo>
                  <a:pt x="3296" y="1380"/>
                  <a:pt x="3296" y="1380"/>
                  <a:pt x="3308" y="1380"/>
                </a:cubicBezTo>
                <a:cubicBezTo>
                  <a:pt x="3308" y="1380"/>
                  <a:pt x="3308" y="1380"/>
                  <a:pt x="3308" y="1306"/>
                </a:cubicBezTo>
                <a:close/>
                <a:moveTo>
                  <a:pt x="3356" y="1306"/>
                </a:moveTo>
                <a:cubicBezTo>
                  <a:pt x="3356" y="1306"/>
                  <a:pt x="3356" y="1306"/>
                  <a:pt x="3356" y="1306"/>
                </a:cubicBezTo>
                <a:cubicBezTo>
                  <a:pt x="3350" y="1306"/>
                  <a:pt x="3350" y="1306"/>
                  <a:pt x="3350" y="1306"/>
                </a:cubicBezTo>
                <a:cubicBezTo>
                  <a:pt x="3349" y="1308"/>
                  <a:pt x="3347" y="1309"/>
                  <a:pt x="3345" y="1310"/>
                </a:cubicBezTo>
                <a:cubicBezTo>
                  <a:pt x="3343" y="1312"/>
                  <a:pt x="3342" y="1312"/>
                  <a:pt x="3340" y="1313"/>
                </a:cubicBezTo>
                <a:cubicBezTo>
                  <a:pt x="3338" y="1314"/>
                  <a:pt x="3336" y="1315"/>
                  <a:pt x="3334" y="1316"/>
                </a:cubicBezTo>
                <a:cubicBezTo>
                  <a:pt x="3332" y="1317"/>
                  <a:pt x="3331" y="1317"/>
                  <a:pt x="3329" y="1317"/>
                </a:cubicBezTo>
                <a:cubicBezTo>
                  <a:pt x="3329" y="1317"/>
                  <a:pt x="3329" y="1317"/>
                  <a:pt x="3329" y="1328"/>
                </a:cubicBezTo>
                <a:cubicBezTo>
                  <a:pt x="3332" y="1327"/>
                  <a:pt x="3334" y="1326"/>
                  <a:pt x="3337" y="1325"/>
                </a:cubicBezTo>
                <a:cubicBezTo>
                  <a:pt x="3340" y="1324"/>
                  <a:pt x="3342" y="1322"/>
                  <a:pt x="3344" y="1321"/>
                </a:cubicBezTo>
                <a:cubicBezTo>
                  <a:pt x="3344" y="1321"/>
                  <a:pt x="3344" y="1321"/>
                  <a:pt x="3344" y="1380"/>
                </a:cubicBezTo>
                <a:cubicBezTo>
                  <a:pt x="3344" y="1380"/>
                  <a:pt x="3344" y="1380"/>
                  <a:pt x="3356" y="1380"/>
                </a:cubicBezTo>
                <a:cubicBezTo>
                  <a:pt x="3356" y="1380"/>
                  <a:pt x="3356" y="1380"/>
                  <a:pt x="3356" y="1306"/>
                </a:cubicBezTo>
                <a:close/>
                <a:moveTo>
                  <a:pt x="3402" y="1306"/>
                </a:moveTo>
                <a:cubicBezTo>
                  <a:pt x="3402" y="1306"/>
                  <a:pt x="3402" y="1306"/>
                  <a:pt x="3402" y="1306"/>
                </a:cubicBezTo>
                <a:cubicBezTo>
                  <a:pt x="3398" y="1306"/>
                  <a:pt x="3398" y="1306"/>
                  <a:pt x="3398" y="1306"/>
                </a:cubicBezTo>
                <a:cubicBezTo>
                  <a:pt x="3396" y="1308"/>
                  <a:pt x="3394" y="1309"/>
                  <a:pt x="3392" y="1310"/>
                </a:cubicBezTo>
                <a:cubicBezTo>
                  <a:pt x="3391" y="1312"/>
                  <a:pt x="3388" y="1312"/>
                  <a:pt x="3387" y="1313"/>
                </a:cubicBezTo>
                <a:cubicBezTo>
                  <a:pt x="3385" y="1314"/>
                  <a:pt x="3383" y="1314"/>
                  <a:pt x="3381" y="1315"/>
                </a:cubicBezTo>
                <a:cubicBezTo>
                  <a:pt x="3380" y="1316"/>
                  <a:pt x="3378" y="1317"/>
                  <a:pt x="3376" y="1317"/>
                </a:cubicBezTo>
                <a:cubicBezTo>
                  <a:pt x="3376" y="1317"/>
                  <a:pt x="3376" y="1317"/>
                  <a:pt x="3376" y="1328"/>
                </a:cubicBezTo>
                <a:cubicBezTo>
                  <a:pt x="3379" y="1327"/>
                  <a:pt x="3382" y="1325"/>
                  <a:pt x="3384" y="1325"/>
                </a:cubicBezTo>
                <a:cubicBezTo>
                  <a:pt x="3386" y="1324"/>
                  <a:pt x="3389" y="1322"/>
                  <a:pt x="3391" y="1321"/>
                </a:cubicBezTo>
                <a:cubicBezTo>
                  <a:pt x="3391" y="1321"/>
                  <a:pt x="3391" y="1321"/>
                  <a:pt x="3391" y="1380"/>
                </a:cubicBezTo>
                <a:cubicBezTo>
                  <a:pt x="3391" y="1380"/>
                  <a:pt x="3391" y="1380"/>
                  <a:pt x="3402" y="1380"/>
                </a:cubicBezTo>
                <a:cubicBezTo>
                  <a:pt x="3402" y="1380"/>
                  <a:pt x="3402" y="1380"/>
                  <a:pt x="3402" y="1306"/>
                </a:cubicBezTo>
                <a:close/>
                <a:moveTo>
                  <a:pt x="3158" y="1339"/>
                </a:moveTo>
                <a:cubicBezTo>
                  <a:pt x="3158" y="1339"/>
                  <a:pt x="3158" y="1339"/>
                  <a:pt x="3158" y="1339"/>
                </a:cubicBezTo>
                <a:cubicBezTo>
                  <a:pt x="3158" y="1347"/>
                  <a:pt x="3158" y="1347"/>
                  <a:pt x="3158" y="1347"/>
                </a:cubicBezTo>
                <a:cubicBezTo>
                  <a:pt x="3164" y="1347"/>
                  <a:pt x="3165" y="1350"/>
                  <a:pt x="3165" y="1353"/>
                </a:cubicBezTo>
                <a:cubicBezTo>
                  <a:pt x="3165" y="1355"/>
                  <a:pt x="3164" y="1357"/>
                  <a:pt x="3164" y="1360"/>
                </a:cubicBezTo>
                <a:cubicBezTo>
                  <a:pt x="3164" y="1363"/>
                  <a:pt x="3164" y="1365"/>
                  <a:pt x="3164" y="1367"/>
                </a:cubicBezTo>
                <a:cubicBezTo>
                  <a:pt x="3164" y="1377"/>
                  <a:pt x="3170" y="1380"/>
                  <a:pt x="3178" y="1380"/>
                </a:cubicBezTo>
                <a:cubicBezTo>
                  <a:pt x="3178" y="1380"/>
                  <a:pt x="3178" y="1380"/>
                  <a:pt x="3182" y="1380"/>
                </a:cubicBezTo>
                <a:cubicBezTo>
                  <a:pt x="3182" y="1380"/>
                  <a:pt x="3182" y="1380"/>
                  <a:pt x="3182" y="1371"/>
                </a:cubicBezTo>
                <a:cubicBezTo>
                  <a:pt x="3182" y="1371"/>
                  <a:pt x="3182" y="1371"/>
                  <a:pt x="3180" y="1371"/>
                </a:cubicBezTo>
                <a:cubicBezTo>
                  <a:pt x="3177" y="1371"/>
                  <a:pt x="3175" y="1368"/>
                  <a:pt x="3175" y="1365"/>
                </a:cubicBezTo>
                <a:cubicBezTo>
                  <a:pt x="3175" y="1363"/>
                  <a:pt x="3175" y="1362"/>
                  <a:pt x="3176" y="1360"/>
                </a:cubicBezTo>
                <a:cubicBezTo>
                  <a:pt x="3176" y="1359"/>
                  <a:pt x="3176" y="1356"/>
                  <a:pt x="3176" y="1354"/>
                </a:cubicBezTo>
                <a:cubicBezTo>
                  <a:pt x="3176" y="1347"/>
                  <a:pt x="3173" y="1344"/>
                  <a:pt x="3168" y="1343"/>
                </a:cubicBezTo>
                <a:cubicBezTo>
                  <a:pt x="3168" y="1343"/>
                  <a:pt x="3168" y="1343"/>
                  <a:pt x="3168" y="1342"/>
                </a:cubicBezTo>
                <a:cubicBezTo>
                  <a:pt x="3173" y="1341"/>
                  <a:pt x="3176" y="1339"/>
                  <a:pt x="3176" y="1332"/>
                </a:cubicBezTo>
                <a:cubicBezTo>
                  <a:pt x="3176" y="1329"/>
                  <a:pt x="3176" y="1327"/>
                  <a:pt x="3176" y="1325"/>
                </a:cubicBezTo>
                <a:cubicBezTo>
                  <a:pt x="3175" y="1324"/>
                  <a:pt x="3175" y="1322"/>
                  <a:pt x="3175" y="1321"/>
                </a:cubicBezTo>
                <a:cubicBezTo>
                  <a:pt x="3175" y="1317"/>
                  <a:pt x="3177" y="1315"/>
                  <a:pt x="3180" y="1315"/>
                </a:cubicBezTo>
                <a:cubicBezTo>
                  <a:pt x="3180" y="1315"/>
                  <a:pt x="3180" y="1315"/>
                  <a:pt x="3182" y="1315"/>
                </a:cubicBezTo>
                <a:cubicBezTo>
                  <a:pt x="3182" y="1315"/>
                  <a:pt x="3182" y="1315"/>
                  <a:pt x="3182" y="1305"/>
                </a:cubicBezTo>
                <a:cubicBezTo>
                  <a:pt x="3182" y="1305"/>
                  <a:pt x="3182" y="1305"/>
                  <a:pt x="3178" y="1305"/>
                </a:cubicBezTo>
                <a:cubicBezTo>
                  <a:pt x="3169" y="1305"/>
                  <a:pt x="3164" y="1310"/>
                  <a:pt x="3164" y="1318"/>
                </a:cubicBezTo>
                <a:cubicBezTo>
                  <a:pt x="3164" y="1320"/>
                  <a:pt x="3164" y="1323"/>
                  <a:pt x="3164" y="1326"/>
                </a:cubicBezTo>
                <a:cubicBezTo>
                  <a:pt x="3164" y="1328"/>
                  <a:pt x="3165" y="1331"/>
                  <a:pt x="3165" y="1332"/>
                </a:cubicBezTo>
                <a:cubicBezTo>
                  <a:pt x="3165" y="1335"/>
                  <a:pt x="3164" y="1338"/>
                  <a:pt x="3158" y="1339"/>
                </a:cubicBezTo>
                <a:close/>
                <a:moveTo>
                  <a:pt x="3213" y="1347"/>
                </a:moveTo>
                <a:cubicBezTo>
                  <a:pt x="3213" y="1347"/>
                  <a:pt x="3213" y="1347"/>
                  <a:pt x="3213" y="1347"/>
                </a:cubicBezTo>
                <a:cubicBezTo>
                  <a:pt x="3213" y="1339"/>
                  <a:pt x="3213" y="1339"/>
                  <a:pt x="3213" y="1339"/>
                </a:cubicBezTo>
                <a:cubicBezTo>
                  <a:pt x="3207" y="1338"/>
                  <a:pt x="3206" y="1335"/>
                  <a:pt x="3206" y="1332"/>
                </a:cubicBezTo>
                <a:cubicBezTo>
                  <a:pt x="3206" y="1331"/>
                  <a:pt x="3206" y="1328"/>
                  <a:pt x="3207" y="1326"/>
                </a:cubicBezTo>
                <a:cubicBezTo>
                  <a:pt x="3207" y="1323"/>
                  <a:pt x="3207" y="1320"/>
                  <a:pt x="3207" y="1318"/>
                </a:cubicBezTo>
                <a:cubicBezTo>
                  <a:pt x="3207" y="1310"/>
                  <a:pt x="3202" y="1305"/>
                  <a:pt x="3193" y="1305"/>
                </a:cubicBezTo>
                <a:cubicBezTo>
                  <a:pt x="3193" y="1305"/>
                  <a:pt x="3193" y="1305"/>
                  <a:pt x="3189" y="1305"/>
                </a:cubicBezTo>
                <a:cubicBezTo>
                  <a:pt x="3189" y="1305"/>
                  <a:pt x="3189" y="1305"/>
                  <a:pt x="3189" y="1315"/>
                </a:cubicBezTo>
                <a:cubicBezTo>
                  <a:pt x="3189" y="1315"/>
                  <a:pt x="3189" y="1315"/>
                  <a:pt x="3190" y="1315"/>
                </a:cubicBezTo>
                <a:cubicBezTo>
                  <a:pt x="3194" y="1315"/>
                  <a:pt x="3196" y="1317"/>
                  <a:pt x="3196" y="1321"/>
                </a:cubicBezTo>
                <a:cubicBezTo>
                  <a:pt x="3196" y="1322"/>
                  <a:pt x="3195" y="1324"/>
                  <a:pt x="3195" y="1325"/>
                </a:cubicBezTo>
                <a:cubicBezTo>
                  <a:pt x="3195" y="1327"/>
                  <a:pt x="3195" y="1329"/>
                  <a:pt x="3195" y="1332"/>
                </a:cubicBezTo>
                <a:cubicBezTo>
                  <a:pt x="3195" y="1339"/>
                  <a:pt x="3197" y="1341"/>
                  <a:pt x="3203" y="1342"/>
                </a:cubicBezTo>
                <a:cubicBezTo>
                  <a:pt x="3203" y="1342"/>
                  <a:pt x="3203" y="1342"/>
                  <a:pt x="3203" y="1343"/>
                </a:cubicBezTo>
                <a:cubicBezTo>
                  <a:pt x="3197" y="1344"/>
                  <a:pt x="3195" y="1347"/>
                  <a:pt x="3195" y="1354"/>
                </a:cubicBezTo>
                <a:cubicBezTo>
                  <a:pt x="3195" y="1356"/>
                  <a:pt x="3195" y="1359"/>
                  <a:pt x="3195" y="1360"/>
                </a:cubicBezTo>
                <a:cubicBezTo>
                  <a:pt x="3195" y="1362"/>
                  <a:pt x="3196" y="1363"/>
                  <a:pt x="3196" y="1365"/>
                </a:cubicBezTo>
                <a:cubicBezTo>
                  <a:pt x="3196" y="1368"/>
                  <a:pt x="3195" y="1371"/>
                  <a:pt x="3190" y="1371"/>
                </a:cubicBezTo>
                <a:cubicBezTo>
                  <a:pt x="3190" y="1371"/>
                  <a:pt x="3190" y="1371"/>
                  <a:pt x="3189" y="1371"/>
                </a:cubicBezTo>
                <a:cubicBezTo>
                  <a:pt x="3189" y="1371"/>
                  <a:pt x="3189" y="1371"/>
                  <a:pt x="3189" y="1380"/>
                </a:cubicBezTo>
                <a:cubicBezTo>
                  <a:pt x="3189" y="1380"/>
                  <a:pt x="3189" y="1380"/>
                  <a:pt x="3193" y="1380"/>
                </a:cubicBezTo>
                <a:cubicBezTo>
                  <a:pt x="3202" y="1380"/>
                  <a:pt x="3207" y="1377"/>
                  <a:pt x="3207" y="1367"/>
                </a:cubicBezTo>
                <a:cubicBezTo>
                  <a:pt x="3207" y="1365"/>
                  <a:pt x="3207" y="1363"/>
                  <a:pt x="3207" y="1360"/>
                </a:cubicBezTo>
                <a:cubicBezTo>
                  <a:pt x="3206" y="1357"/>
                  <a:pt x="3206" y="1355"/>
                  <a:pt x="3206" y="1353"/>
                </a:cubicBezTo>
                <a:cubicBezTo>
                  <a:pt x="3206" y="1350"/>
                  <a:pt x="3207" y="1347"/>
                  <a:pt x="3213" y="1347"/>
                </a:cubicBezTo>
                <a:close/>
                <a:moveTo>
                  <a:pt x="3540" y="1339"/>
                </a:moveTo>
                <a:cubicBezTo>
                  <a:pt x="3540" y="1339"/>
                  <a:pt x="3540" y="1339"/>
                  <a:pt x="3540" y="1339"/>
                </a:cubicBezTo>
                <a:cubicBezTo>
                  <a:pt x="3540" y="1347"/>
                  <a:pt x="3540" y="1347"/>
                  <a:pt x="3540" y="1347"/>
                </a:cubicBezTo>
                <a:cubicBezTo>
                  <a:pt x="3546" y="1347"/>
                  <a:pt x="3547" y="1350"/>
                  <a:pt x="3547" y="1353"/>
                </a:cubicBezTo>
                <a:cubicBezTo>
                  <a:pt x="3547" y="1355"/>
                  <a:pt x="3547" y="1357"/>
                  <a:pt x="3547" y="1360"/>
                </a:cubicBezTo>
                <a:cubicBezTo>
                  <a:pt x="3546" y="1363"/>
                  <a:pt x="3546" y="1365"/>
                  <a:pt x="3546" y="1367"/>
                </a:cubicBezTo>
                <a:cubicBezTo>
                  <a:pt x="3546" y="1377"/>
                  <a:pt x="3552" y="1380"/>
                  <a:pt x="3561" y="1380"/>
                </a:cubicBezTo>
                <a:cubicBezTo>
                  <a:pt x="3561" y="1380"/>
                  <a:pt x="3561" y="1380"/>
                  <a:pt x="3564" y="1380"/>
                </a:cubicBezTo>
                <a:cubicBezTo>
                  <a:pt x="3564" y="1380"/>
                  <a:pt x="3564" y="1380"/>
                  <a:pt x="3564" y="1371"/>
                </a:cubicBezTo>
                <a:cubicBezTo>
                  <a:pt x="3564" y="1371"/>
                  <a:pt x="3564" y="1371"/>
                  <a:pt x="3563" y="1371"/>
                </a:cubicBezTo>
                <a:cubicBezTo>
                  <a:pt x="3559" y="1371"/>
                  <a:pt x="3558" y="1368"/>
                  <a:pt x="3558" y="1365"/>
                </a:cubicBezTo>
                <a:cubicBezTo>
                  <a:pt x="3558" y="1363"/>
                  <a:pt x="3558" y="1362"/>
                  <a:pt x="3558" y="1360"/>
                </a:cubicBezTo>
                <a:cubicBezTo>
                  <a:pt x="3558" y="1359"/>
                  <a:pt x="3559" y="1356"/>
                  <a:pt x="3559" y="1354"/>
                </a:cubicBezTo>
                <a:cubicBezTo>
                  <a:pt x="3559" y="1347"/>
                  <a:pt x="3556" y="1344"/>
                  <a:pt x="3550" y="1343"/>
                </a:cubicBezTo>
                <a:cubicBezTo>
                  <a:pt x="3550" y="1343"/>
                  <a:pt x="3550" y="1343"/>
                  <a:pt x="3550" y="1342"/>
                </a:cubicBezTo>
                <a:cubicBezTo>
                  <a:pt x="3556" y="1341"/>
                  <a:pt x="3559" y="1339"/>
                  <a:pt x="3559" y="1332"/>
                </a:cubicBezTo>
                <a:cubicBezTo>
                  <a:pt x="3559" y="1329"/>
                  <a:pt x="3558" y="1327"/>
                  <a:pt x="3558" y="1325"/>
                </a:cubicBezTo>
                <a:cubicBezTo>
                  <a:pt x="3558" y="1324"/>
                  <a:pt x="3558" y="1322"/>
                  <a:pt x="3558" y="1321"/>
                </a:cubicBezTo>
                <a:cubicBezTo>
                  <a:pt x="3558" y="1317"/>
                  <a:pt x="3559" y="1315"/>
                  <a:pt x="3563" y="1315"/>
                </a:cubicBezTo>
                <a:cubicBezTo>
                  <a:pt x="3563" y="1315"/>
                  <a:pt x="3563" y="1315"/>
                  <a:pt x="3564" y="1315"/>
                </a:cubicBezTo>
                <a:cubicBezTo>
                  <a:pt x="3564" y="1315"/>
                  <a:pt x="3564" y="1315"/>
                  <a:pt x="3564" y="1305"/>
                </a:cubicBezTo>
                <a:cubicBezTo>
                  <a:pt x="3564" y="1305"/>
                  <a:pt x="3564" y="1305"/>
                  <a:pt x="3561" y="1305"/>
                </a:cubicBezTo>
                <a:cubicBezTo>
                  <a:pt x="3552" y="1305"/>
                  <a:pt x="3546" y="1310"/>
                  <a:pt x="3546" y="1318"/>
                </a:cubicBezTo>
                <a:cubicBezTo>
                  <a:pt x="3546" y="1320"/>
                  <a:pt x="3546" y="1323"/>
                  <a:pt x="3546" y="1326"/>
                </a:cubicBezTo>
                <a:cubicBezTo>
                  <a:pt x="3547" y="1328"/>
                  <a:pt x="3547" y="1331"/>
                  <a:pt x="3547" y="1332"/>
                </a:cubicBezTo>
                <a:cubicBezTo>
                  <a:pt x="3547" y="1335"/>
                  <a:pt x="3546" y="1338"/>
                  <a:pt x="3540" y="1339"/>
                </a:cubicBezTo>
                <a:close/>
                <a:moveTo>
                  <a:pt x="3595" y="1347"/>
                </a:moveTo>
                <a:cubicBezTo>
                  <a:pt x="3595" y="1347"/>
                  <a:pt x="3595" y="1347"/>
                  <a:pt x="3595" y="1347"/>
                </a:cubicBezTo>
                <a:cubicBezTo>
                  <a:pt x="3595" y="1339"/>
                  <a:pt x="3595" y="1339"/>
                  <a:pt x="3595" y="1339"/>
                </a:cubicBezTo>
                <a:cubicBezTo>
                  <a:pt x="3589" y="1338"/>
                  <a:pt x="3588" y="1335"/>
                  <a:pt x="3588" y="1332"/>
                </a:cubicBezTo>
                <a:cubicBezTo>
                  <a:pt x="3588" y="1331"/>
                  <a:pt x="3588" y="1328"/>
                  <a:pt x="3589" y="1326"/>
                </a:cubicBezTo>
                <a:cubicBezTo>
                  <a:pt x="3589" y="1323"/>
                  <a:pt x="3589" y="1320"/>
                  <a:pt x="3589" y="1318"/>
                </a:cubicBezTo>
                <a:cubicBezTo>
                  <a:pt x="3589" y="1310"/>
                  <a:pt x="3584" y="1305"/>
                  <a:pt x="3575" y="1305"/>
                </a:cubicBezTo>
                <a:cubicBezTo>
                  <a:pt x="3575" y="1305"/>
                  <a:pt x="3575" y="1305"/>
                  <a:pt x="3571" y="1305"/>
                </a:cubicBezTo>
                <a:cubicBezTo>
                  <a:pt x="3571" y="1305"/>
                  <a:pt x="3571" y="1305"/>
                  <a:pt x="3571" y="1315"/>
                </a:cubicBezTo>
                <a:cubicBezTo>
                  <a:pt x="3571" y="1315"/>
                  <a:pt x="3571" y="1315"/>
                  <a:pt x="3573" y="1315"/>
                </a:cubicBezTo>
                <a:cubicBezTo>
                  <a:pt x="3576" y="1315"/>
                  <a:pt x="3578" y="1317"/>
                  <a:pt x="3578" y="1321"/>
                </a:cubicBezTo>
                <a:cubicBezTo>
                  <a:pt x="3578" y="1322"/>
                  <a:pt x="3577" y="1324"/>
                  <a:pt x="3577" y="1325"/>
                </a:cubicBezTo>
                <a:cubicBezTo>
                  <a:pt x="3577" y="1327"/>
                  <a:pt x="3577" y="1329"/>
                  <a:pt x="3577" y="1332"/>
                </a:cubicBezTo>
                <a:cubicBezTo>
                  <a:pt x="3577" y="1339"/>
                  <a:pt x="3580" y="1341"/>
                  <a:pt x="3585" y="1342"/>
                </a:cubicBezTo>
                <a:cubicBezTo>
                  <a:pt x="3585" y="1342"/>
                  <a:pt x="3585" y="1342"/>
                  <a:pt x="3585" y="1343"/>
                </a:cubicBezTo>
                <a:cubicBezTo>
                  <a:pt x="3580" y="1344"/>
                  <a:pt x="3577" y="1347"/>
                  <a:pt x="3577" y="1354"/>
                </a:cubicBezTo>
                <a:cubicBezTo>
                  <a:pt x="3577" y="1356"/>
                  <a:pt x="3577" y="1359"/>
                  <a:pt x="3577" y="1360"/>
                </a:cubicBezTo>
                <a:cubicBezTo>
                  <a:pt x="3577" y="1362"/>
                  <a:pt x="3578" y="1363"/>
                  <a:pt x="3578" y="1365"/>
                </a:cubicBezTo>
                <a:cubicBezTo>
                  <a:pt x="3578" y="1368"/>
                  <a:pt x="3577" y="1371"/>
                  <a:pt x="3573" y="1371"/>
                </a:cubicBezTo>
                <a:cubicBezTo>
                  <a:pt x="3573" y="1371"/>
                  <a:pt x="3573" y="1371"/>
                  <a:pt x="3571" y="1371"/>
                </a:cubicBezTo>
                <a:cubicBezTo>
                  <a:pt x="3571" y="1371"/>
                  <a:pt x="3571" y="1371"/>
                  <a:pt x="3571" y="1380"/>
                </a:cubicBezTo>
                <a:cubicBezTo>
                  <a:pt x="3571" y="1380"/>
                  <a:pt x="3571" y="1380"/>
                  <a:pt x="3575" y="1380"/>
                </a:cubicBezTo>
                <a:cubicBezTo>
                  <a:pt x="3584" y="1380"/>
                  <a:pt x="3589" y="1377"/>
                  <a:pt x="3589" y="1367"/>
                </a:cubicBezTo>
                <a:cubicBezTo>
                  <a:pt x="3589" y="1365"/>
                  <a:pt x="3589" y="1363"/>
                  <a:pt x="3589" y="1360"/>
                </a:cubicBezTo>
                <a:cubicBezTo>
                  <a:pt x="3588" y="1357"/>
                  <a:pt x="3588" y="1355"/>
                  <a:pt x="3588" y="1353"/>
                </a:cubicBezTo>
                <a:cubicBezTo>
                  <a:pt x="3588" y="1350"/>
                  <a:pt x="3589" y="1347"/>
                  <a:pt x="3595" y="1347"/>
                </a:cubicBezTo>
                <a:close/>
                <a:moveTo>
                  <a:pt x="3643" y="1306"/>
                </a:moveTo>
                <a:cubicBezTo>
                  <a:pt x="3643" y="1306"/>
                  <a:pt x="3643" y="1306"/>
                  <a:pt x="3643" y="1306"/>
                </a:cubicBezTo>
                <a:cubicBezTo>
                  <a:pt x="3637" y="1306"/>
                  <a:pt x="3637" y="1306"/>
                  <a:pt x="3637" y="1306"/>
                </a:cubicBezTo>
                <a:cubicBezTo>
                  <a:pt x="3635" y="1308"/>
                  <a:pt x="3634" y="1309"/>
                  <a:pt x="3632" y="1310"/>
                </a:cubicBezTo>
                <a:cubicBezTo>
                  <a:pt x="3630" y="1312"/>
                  <a:pt x="3628" y="1312"/>
                  <a:pt x="3627" y="1313"/>
                </a:cubicBezTo>
                <a:cubicBezTo>
                  <a:pt x="3624" y="1314"/>
                  <a:pt x="3623" y="1314"/>
                  <a:pt x="3622" y="1315"/>
                </a:cubicBezTo>
                <a:cubicBezTo>
                  <a:pt x="3619" y="1316"/>
                  <a:pt x="3618" y="1317"/>
                  <a:pt x="3616" y="1317"/>
                </a:cubicBezTo>
                <a:cubicBezTo>
                  <a:pt x="3616" y="1317"/>
                  <a:pt x="3616" y="1317"/>
                  <a:pt x="3616" y="1328"/>
                </a:cubicBezTo>
                <a:cubicBezTo>
                  <a:pt x="3619" y="1327"/>
                  <a:pt x="3622" y="1325"/>
                  <a:pt x="3624" y="1325"/>
                </a:cubicBezTo>
                <a:cubicBezTo>
                  <a:pt x="3627" y="1324"/>
                  <a:pt x="3629" y="1322"/>
                  <a:pt x="3631" y="1321"/>
                </a:cubicBezTo>
                <a:cubicBezTo>
                  <a:pt x="3631" y="1321"/>
                  <a:pt x="3631" y="1321"/>
                  <a:pt x="3631" y="1380"/>
                </a:cubicBezTo>
                <a:cubicBezTo>
                  <a:pt x="3631" y="1380"/>
                  <a:pt x="3631" y="1380"/>
                  <a:pt x="3643" y="1380"/>
                </a:cubicBezTo>
                <a:cubicBezTo>
                  <a:pt x="3643" y="1380"/>
                  <a:pt x="3643" y="1380"/>
                  <a:pt x="3643" y="1306"/>
                </a:cubicBezTo>
                <a:close/>
                <a:moveTo>
                  <a:pt x="3690" y="1306"/>
                </a:moveTo>
                <a:cubicBezTo>
                  <a:pt x="3690" y="1306"/>
                  <a:pt x="3690" y="1306"/>
                  <a:pt x="3690" y="1306"/>
                </a:cubicBezTo>
                <a:cubicBezTo>
                  <a:pt x="3685" y="1306"/>
                  <a:pt x="3685" y="1306"/>
                  <a:pt x="3685" y="1306"/>
                </a:cubicBezTo>
                <a:cubicBezTo>
                  <a:pt x="3682" y="1308"/>
                  <a:pt x="3681" y="1309"/>
                  <a:pt x="3679" y="1310"/>
                </a:cubicBezTo>
                <a:cubicBezTo>
                  <a:pt x="3677" y="1312"/>
                  <a:pt x="3675" y="1312"/>
                  <a:pt x="3674" y="1313"/>
                </a:cubicBezTo>
                <a:cubicBezTo>
                  <a:pt x="3672" y="1314"/>
                  <a:pt x="3670" y="1315"/>
                  <a:pt x="3669" y="1316"/>
                </a:cubicBezTo>
                <a:cubicBezTo>
                  <a:pt x="3667" y="1317"/>
                  <a:pt x="3665" y="1317"/>
                  <a:pt x="3663" y="1317"/>
                </a:cubicBezTo>
                <a:cubicBezTo>
                  <a:pt x="3663" y="1317"/>
                  <a:pt x="3663" y="1317"/>
                  <a:pt x="3663" y="1328"/>
                </a:cubicBezTo>
                <a:cubicBezTo>
                  <a:pt x="3666" y="1327"/>
                  <a:pt x="3669" y="1326"/>
                  <a:pt x="3671" y="1325"/>
                </a:cubicBezTo>
                <a:cubicBezTo>
                  <a:pt x="3674" y="1324"/>
                  <a:pt x="3676" y="1322"/>
                  <a:pt x="3678" y="1321"/>
                </a:cubicBezTo>
                <a:cubicBezTo>
                  <a:pt x="3678" y="1321"/>
                  <a:pt x="3678" y="1321"/>
                  <a:pt x="3678" y="1380"/>
                </a:cubicBezTo>
                <a:cubicBezTo>
                  <a:pt x="3678" y="1380"/>
                  <a:pt x="3678" y="1380"/>
                  <a:pt x="3690" y="1380"/>
                </a:cubicBezTo>
                <a:cubicBezTo>
                  <a:pt x="3690" y="1380"/>
                  <a:pt x="3690" y="1380"/>
                  <a:pt x="3690" y="1306"/>
                </a:cubicBezTo>
                <a:close/>
                <a:moveTo>
                  <a:pt x="3736" y="1306"/>
                </a:moveTo>
                <a:cubicBezTo>
                  <a:pt x="3736" y="1306"/>
                  <a:pt x="3736" y="1306"/>
                  <a:pt x="3736" y="1306"/>
                </a:cubicBezTo>
                <a:cubicBezTo>
                  <a:pt x="3732" y="1306"/>
                  <a:pt x="3732" y="1306"/>
                  <a:pt x="3732" y="1306"/>
                </a:cubicBezTo>
                <a:cubicBezTo>
                  <a:pt x="3730" y="1308"/>
                  <a:pt x="3728" y="1309"/>
                  <a:pt x="3726" y="1310"/>
                </a:cubicBezTo>
                <a:cubicBezTo>
                  <a:pt x="3725" y="1312"/>
                  <a:pt x="3722" y="1312"/>
                  <a:pt x="3721" y="1313"/>
                </a:cubicBezTo>
                <a:cubicBezTo>
                  <a:pt x="3719" y="1314"/>
                  <a:pt x="3717" y="1315"/>
                  <a:pt x="3715" y="1316"/>
                </a:cubicBezTo>
                <a:cubicBezTo>
                  <a:pt x="3714" y="1317"/>
                  <a:pt x="3712" y="1317"/>
                  <a:pt x="3710" y="1317"/>
                </a:cubicBezTo>
                <a:cubicBezTo>
                  <a:pt x="3710" y="1317"/>
                  <a:pt x="3710" y="1317"/>
                  <a:pt x="3710" y="1328"/>
                </a:cubicBezTo>
                <a:cubicBezTo>
                  <a:pt x="3713" y="1327"/>
                  <a:pt x="3716" y="1326"/>
                  <a:pt x="3718" y="1325"/>
                </a:cubicBezTo>
                <a:cubicBezTo>
                  <a:pt x="3720" y="1324"/>
                  <a:pt x="3723" y="1322"/>
                  <a:pt x="3725" y="1321"/>
                </a:cubicBezTo>
                <a:cubicBezTo>
                  <a:pt x="3725" y="1321"/>
                  <a:pt x="3725" y="1321"/>
                  <a:pt x="3725" y="1380"/>
                </a:cubicBezTo>
                <a:cubicBezTo>
                  <a:pt x="3725" y="1380"/>
                  <a:pt x="3725" y="1380"/>
                  <a:pt x="3736" y="1380"/>
                </a:cubicBezTo>
                <a:cubicBezTo>
                  <a:pt x="3736" y="1380"/>
                  <a:pt x="3736" y="1380"/>
                  <a:pt x="3736" y="1306"/>
                </a:cubicBezTo>
                <a:close/>
                <a:moveTo>
                  <a:pt x="3860" y="1306"/>
                </a:moveTo>
                <a:cubicBezTo>
                  <a:pt x="3860" y="1306"/>
                  <a:pt x="3860" y="1306"/>
                  <a:pt x="3860" y="1306"/>
                </a:cubicBezTo>
                <a:cubicBezTo>
                  <a:pt x="3854" y="1306"/>
                  <a:pt x="3854" y="1306"/>
                  <a:pt x="3854" y="1306"/>
                </a:cubicBezTo>
                <a:cubicBezTo>
                  <a:pt x="3852" y="1308"/>
                  <a:pt x="3851" y="1309"/>
                  <a:pt x="3848" y="1310"/>
                </a:cubicBezTo>
                <a:cubicBezTo>
                  <a:pt x="3847" y="1312"/>
                  <a:pt x="3845" y="1312"/>
                  <a:pt x="3843" y="1313"/>
                </a:cubicBezTo>
                <a:cubicBezTo>
                  <a:pt x="3842" y="1314"/>
                  <a:pt x="3840" y="1315"/>
                  <a:pt x="3838" y="1316"/>
                </a:cubicBezTo>
                <a:cubicBezTo>
                  <a:pt x="3836" y="1317"/>
                  <a:pt x="3834" y="1317"/>
                  <a:pt x="3832" y="1317"/>
                </a:cubicBezTo>
                <a:cubicBezTo>
                  <a:pt x="3832" y="1317"/>
                  <a:pt x="3832" y="1317"/>
                  <a:pt x="3832" y="1328"/>
                </a:cubicBezTo>
                <a:cubicBezTo>
                  <a:pt x="3835" y="1327"/>
                  <a:pt x="3838" y="1326"/>
                  <a:pt x="3841" y="1325"/>
                </a:cubicBezTo>
                <a:cubicBezTo>
                  <a:pt x="3843" y="1324"/>
                  <a:pt x="3845" y="1322"/>
                  <a:pt x="3848" y="1321"/>
                </a:cubicBezTo>
                <a:cubicBezTo>
                  <a:pt x="3848" y="1321"/>
                  <a:pt x="3848" y="1321"/>
                  <a:pt x="3848" y="1380"/>
                </a:cubicBezTo>
                <a:cubicBezTo>
                  <a:pt x="3848" y="1380"/>
                  <a:pt x="3848" y="1380"/>
                  <a:pt x="3860" y="1380"/>
                </a:cubicBezTo>
                <a:cubicBezTo>
                  <a:pt x="3860" y="1380"/>
                  <a:pt x="3860" y="1380"/>
                  <a:pt x="3860" y="1306"/>
                </a:cubicBezTo>
                <a:close/>
                <a:moveTo>
                  <a:pt x="3757" y="1339"/>
                </a:moveTo>
                <a:cubicBezTo>
                  <a:pt x="3757" y="1339"/>
                  <a:pt x="3757" y="1339"/>
                  <a:pt x="3757" y="1339"/>
                </a:cubicBezTo>
                <a:cubicBezTo>
                  <a:pt x="3757" y="1347"/>
                  <a:pt x="3757" y="1347"/>
                  <a:pt x="3757" y="1347"/>
                </a:cubicBezTo>
                <a:cubicBezTo>
                  <a:pt x="3763" y="1347"/>
                  <a:pt x="3764" y="1350"/>
                  <a:pt x="3764" y="1353"/>
                </a:cubicBezTo>
                <a:cubicBezTo>
                  <a:pt x="3764" y="1355"/>
                  <a:pt x="3763" y="1357"/>
                  <a:pt x="3763" y="1360"/>
                </a:cubicBezTo>
                <a:cubicBezTo>
                  <a:pt x="3763" y="1363"/>
                  <a:pt x="3763" y="1365"/>
                  <a:pt x="3763" y="1367"/>
                </a:cubicBezTo>
                <a:cubicBezTo>
                  <a:pt x="3763" y="1377"/>
                  <a:pt x="3769" y="1380"/>
                  <a:pt x="3777" y="1380"/>
                </a:cubicBezTo>
                <a:cubicBezTo>
                  <a:pt x="3777" y="1380"/>
                  <a:pt x="3777" y="1380"/>
                  <a:pt x="3781" y="1380"/>
                </a:cubicBezTo>
                <a:cubicBezTo>
                  <a:pt x="3781" y="1380"/>
                  <a:pt x="3781" y="1380"/>
                  <a:pt x="3781" y="1371"/>
                </a:cubicBezTo>
                <a:cubicBezTo>
                  <a:pt x="3781" y="1371"/>
                  <a:pt x="3781" y="1371"/>
                  <a:pt x="3779" y="1371"/>
                </a:cubicBezTo>
                <a:cubicBezTo>
                  <a:pt x="3776" y="1371"/>
                  <a:pt x="3775" y="1368"/>
                  <a:pt x="3775" y="1365"/>
                </a:cubicBezTo>
                <a:cubicBezTo>
                  <a:pt x="3775" y="1363"/>
                  <a:pt x="3775" y="1362"/>
                  <a:pt x="3775" y="1360"/>
                </a:cubicBezTo>
                <a:cubicBezTo>
                  <a:pt x="3775" y="1359"/>
                  <a:pt x="3775" y="1356"/>
                  <a:pt x="3775" y="1354"/>
                </a:cubicBezTo>
                <a:cubicBezTo>
                  <a:pt x="3775" y="1347"/>
                  <a:pt x="3772" y="1344"/>
                  <a:pt x="3767" y="1343"/>
                </a:cubicBezTo>
                <a:cubicBezTo>
                  <a:pt x="3767" y="1343"/>
                  <a:pt x="3767" y="1343"/>
                  <a:pt x="3767" y="1342"/>
                </a:cubicBezTo>
                <a:cubicBezTo>
                  <a:pt x="3772" y="1341"/>
                  <a:pt x="3775" y="1339"/>
                  <a:pt x="3775" y="1332"/>
                </a:cubicBezTo>
                <a:cubicBezTo>
                  <a:pt x="3775" y="1329"/>
                  <a:pt x="3775" y="1327"/>
                  <a:pt x="3775" y="1325"/>
                </a:cubicBezTo>
                <a:cubicBezTo>
                  <a:pt x="3775" y="1324"/>
                  <a:pt x="3775" y="1322"/>
                  <a:pt x="3775" y="1321"/>
                </a:cubicBezTo>
                <a:cubicBezTo>
                  <a:pt x="3775" y="1317"/>
                  <a:pt x="3776" y="1315"/>
                  <a:pt x="3779" y="1315"/>
                </a:cubicBezTo>
                <a:cubicBezTo>
                  <a:pt x="3779" y="1315"/>
                  <a:pt x="3779" y="1315"/>
                  <a:pt x="3781" y="1315"/>
                </a:cubicBezTo>
                <a:cubicBezTo>
                  <a:pt x="3781" y="1315"/>
                  <a:pt x="3781" y="1315"/>
                  <a:pt x="3781" y="1305"/>
                </a:cubicBezTo>
                <a:cubicBezTo>
                  <a:pt x="3781" y="1305"/>
                  <a:pt x="3781" y="1305"/>
                  <a:pt x="3777" y="1305"/>
                </a:cubicBezTo>
                <a:cubicBezTo>
                  <a:pt x="3768" y="1305"/>
                  <a:pt x="3763" y="1310"/>
                  <a:pt x="3763" y="1318"/>
                </a:cubicBezTo>
                <a:cubicBezTo>
                  <a:pt x="3763" y="1320"/>
                  <a:pt x="3763" y="1323"/>
                  <a:pt x="3763" y="1326"/>
                </a:cubicBezTo>
                <a:cubicBezTo>
                  <a:pt x="3763" y="1328"/>
                  <a:pt x="3764" y="1331"/>
                  <a:pt x="3764" y="1332"/>
                </a:cubicBezTo>
                <a:cubicBezTo>
                  <a:pt x="3764" y="1335"/>
                  <a:pt x="3763" y="1338"/>
                  <a:pt x="3757" y="1339"/>
                </a:cubicBezTo>
                <a:close/>
                <a:moveTo>
                  <a:pt x="3812" y="1347"/>
                </a:moveTo>
                <a:cubicBezTo>
                  <a:pt x="3812" y="1347"/>
                  <a:pt x="3812" y="1347"/>
                  <a:pt x="3812" y="1347"/>
                </a:cubicBezTo>
                <a:cubicBezTo>
                  <a:pt x="3812" y="1339"/>
                  <a:pt x="3812" y="1339"/>
                  <a:pt x="3812" y="1339"/>
                </a:cubicBezTo>
                <a:cubicBezTo>
                  <a:pt x="3806" y="1338"/>
                  <a:pt x="3805" y="1335"/>
                  <a:pt x="3805" y="1332"/>
                </a:cubicBezTo>
                <a:cubicBezTo>
                  <a:pt x="3805" y="1331"/>
                  <a:pt x="3805" y="1328"/>
                  <a:pt x="3806" y="1326"/>
                </a:cubicBezTo>
                <a:cubicBezTo>
                  <a:pt x="3806" y="1323"/>
                  <a:pt x="3806" y="1320"/>
                  <a:pt x="3806" y="1318"/>
                </a:cubicBezTo>
                <a:cubicBezTo>
                  <a:pt x="3806" y="1310"/>
                  <a:pt x="3801" y="1305"/>
                  <a:pt x="3791" y="1305"/>
                </a:cubicBezTo>
                <a:cubicBezTo>
                  <a:pt x="3791" y="1305"/>
                  <a:pt x="3791" y="1305"/>
                  <a:pt x="3788" y="1305"/>
                </a:cubicBezTo>
                <a:cubicBezTo>
                  <a:pt x="3788" y="1305"/>
                  <a:pt x="3788" y="1305"/>
                  <a:pt x="3788" y="1315"/>
                </a:cubicBezTo>
                <a:cubicBezTo>
                  <a:pt x="3788" y="1315"/>
                  <a:pt x="3788" y="1315"/>
                  <a:pt x="3789" y="1315"/>
                </a:cubicBezTo>
                <a:cubicBezTo>
                  <a:pt x="3793" y="1315"/>
                  <a:pt x="3794" y="1317"/>
                  <a:pt x="3794" y="1321"/>
                </a:cubicBezTo>
                <a:cubicBezTo>
                  <a:pt x="3794" y="1322"/>
                  <a:pt x="3794" y="1324"/>
                  <a:pt x="3794" y="1325"/>
                </a:cubicBezTo>
                <a:cubicBezTo>
                  <a:pt x="3794" y="1327"/>
                  <a:pt x="3794" y="1329"/>
                  <a:pt x="3794" y="1332"/>
                </a:cubicBezTo>
                <a:cubicBezTo>
                  <a:pt x="3794" y="1339"/>
                  <a:pt x="3796" y="1341"/>
                  <a:pt x="3802" y="1342"/>
                </a:cubicBezTo>
                <a:cubicBezTo>
                  <a:pt x="3802" y="1342"/>
                  <a:pt x="3802" y="1342"/>
                  <a:pt x="3802" y="1343"/>
                </a:cubicBezTo>
                <a:cubicBezTo>
                  <a:pt x="3796" y="1344"/>
                  <a:pt x="3794" y="1347"/>
                  <a:pt x="3794" y="1354"/>
                </a:cubicBezTo>
                <a:cubicBezTo>
                  <a:pt x="3794" y="1356"/>
                  <a:pt x="3794" y="1359"/>
                  <a:pt x="3794" y="1360"/>
                </a:cubicBezTo>
                <a:cubicBezTo>
                  <a:pt x="3794" y="1362"/>
                  <a:pt x="3794" y="1363"/>
                  <a:pt x="3794" y="1365"/>
                </a:cubicBezTo>
                <a:cubicBezTo>
                  <a:pt x="3794" y="1368"/>
                  <a:pt x="3793" y="1371"/>
                  <a:pt x="3789" y="1371"/>
                </a:cubicBezTo>
                <a:cubicBezTo>
                  <a:pt x="3789" y="1371"/>
                  <a:pt x="3789" y="1371"/>
                  <a:pt x="3788" y="1371"/>
                </a:cubicBezTo>
                <a:cubicBezTo>
                  <a:pt x="3788" y="1371"/>
                  <a:pt x="3788" y="1371"/>
                  <a:pt x="3788" y="1380"/>
                </a:cubicBezTo>
                <a:cubicBezTo>
                  <a:pt x="3788" y="1380"/>
                  <a:pt x="3788" y="1380"/>
                  <a:pt x="3791" y="1380"/>
                </a:cubicBezTo>
                <a:cubicBezTo>
                  <a:pt x="3800" y="1380"/>
                  <a:pt x="3806" y="1377"/>
                  <a:pt x="3806" y="1367"/>
                </a:cubicBezTo>
                <a:cubicBezTo>
                  <a:pt x="3806" y="1365"/>
                  <a:pt x="3806" y="1363"/>
                  <a:pt x="3806" y="1360"/>
                </a:cubicBezTo>
                <a:cubicBezTo>
                  <a:pt x="3805" y="1357"/>
                  <a:pt x="3805" y="1355"/>
                  <a:pt x="3805" y="1353"/>
                </a:cubicBezTo>
                <a:cubicBezTo>
                  <a:pt x="3805" y="1350"/>
                  <a:pt x="3806" y="1347"/>
                  <a:pt x="3812" y="1347"/>
                </a:cubicBezTo>
                <a:close/>
                <a:moveTo>
                  <a:pt x="2953" y="1258"/>
                </a:moveTo>
                <a:cubicBezTo>
                  <a:pt x="2953" y="1259"/>
                  <a:pt x="2954" y="1261"/>
                  <a:pt x="2954" y="1262"/>
                </a:cubicBezTo>
                <a:cubicBezTo>
                  <a:pt x="2955" y="1264"/>
                  <a:pt x="2955" y="1266"/>
                  <a:pt x="2956" y="1267"/>
                </a:cubicBezTo>
                <a:cubicBezTo>
                  <a:pt x="2956" y="1269"/>
                  <a:pt x="2956" y="1270"/>
                  <a:pt x="2956" y="1272"/>
                </a:cubicBezTo>
                <a:cubicBezTo>
                  <a:pt x="2957" y="1275"/>
                  <a:pt x="2956" y="1277"/>
                  <a:pt x="2952" y="1277"/>
                </a:cubicBezTo>
                <a:cubicBezTo>
                  <a:pt x="2950" y="1277"/>
                  <a:pt x="2947" y="1276"/>
                  <a:pt x="2944" y="1276"/>
                </a:cubicBezTo>
                <a:cubicBezTo>
                  <a:pt x="2944" y="1276"/>
                  <a:pt x="2943" y="1276"/>
                  <a:pt x="2943" y="1277"/>
                </a:cubicBezTo>
                <a:cubicBezTo>
                  <a:pt x="2941" y="1278"/>
                  <a:pt x="2939" y="1280"/>
                  <a:pt x="2938" y="1281"/>
                </a:cubicBezTo>
                <a:cubicBezTo>
                  <a:pt x="2936" y="1283"/>
                  <a:pt x="2933" y="1284"/>
                  <a:pt x="2931" y="1282"/>
                </a:cubicBezTo>
                <a:cubicBezTo>
                  <a:pt x="2929" y="1280"/>
                  <a:pt x="2928" y="1277"/>
                  <a:pt x="2926" y="1274"/>
                </a:cubicBezTo>
                <a:cubicBezTo>
                  <a:pt x="2925" y="1273"/>
                  <a:pt x="2926" y="1271"/>
                  <a:pt x="2928" y="1270"/>
                </a:cubicBezTo>
                <a:cubicBezTo>
                  <a:pt x="2925" y="1270"/>
                  <a:pt x="2924" y="1270"/>
                  <a:pt x="2922" y="1270"/>
                </a:cubicBezTo>
                <a:cubicBezTo>
                  <a:pt x="2921" y="1272"/>
                  <a:pt x="2920" y="1274"/>
                  <a:pt x="2919" y="1276"/>
                </a:cubicBezTo>
                <a:cubicBezTo>
                  <a:pt x="2919" y="1276"/>
                  <a:pt x="2919" y="1277"/>
                  <a:pt x="2919" y="1278"/>
                </a:cubicBezTo>
                <a:cubicBezTo>
                  <a:pt x="2919" y="1281"/>
                  <a:pt x="2918" y="1282"/>
                  <a:pt x="2915" y="1282"/>
                </a:cubicBezTo>
                <a:cubicBezTo>
                  <a:pt x="2912" y="1282"/>
                  <a:pt x="2909" y="1281"/>
                  <a:pt x="2906" y="1280"/>
                </a:cubicBezTo>
                <a:cubicBezTo>
                  <a:pt x="2904" y="1279"/>
                  <a:pt x="2903" y="1278"/>
                  <a:pt x="2904" y="1276"/>
                </a:cubicBezTo>
                <a:cubicBezTo>
                  <a:pt x="2904" y="1275"/>
                  <a:pt x="2904" y="1274"/>
                  <a:pt x="2905" y="1274"/>
                </a:cubicBezTo>
                <a:cubicBezTo>
                  <a:pt x="2902" y="1273"/>
                  <a:pt x="2900" y="1272"/>
                  <a:pt x="2898" y="1270"/>
                </a:cubicBezTo>
                <a:cubicBezTo>
                  <a:pt x="2897" y="1270"/>
                  <a:pt x="2896" y="1268"/>
                  <a:pt x="2895" y="1266"/>
                </a:cubicBezTo>
                <a:cubicBezTo>
                  <a:pt x="2894" y="1264"/>
                  <a:pt x="2894" y="1263"/>
                  <a:pt x="2896" y="1261"/>
                </a:cubicBezTo>
                <a:cubicBezTo>
                  <a:pt x="2899" y="1259"/>
                  <a:pt x="2900" y="1256"/>
                  <a:pt x="2899" y="1252"/>
                </a:cubicBezTo>
                <a:cubicBezTo>
                  <a:pt x="2899" y="1250"/>
                  <a:pt x="2899" y="1247"/>
                  <a:pt x="2899" y="1246"/>
                </a:cubicBezTo>
                <a:cubicBezTo>
                  <a:pt x="2898" y="1245"/>
                  <a:pt x="2896" y="1245"/>
                  <a:pt x="2895" y="1244"/>
                </a:cubicBezTo>
                <a:cubicBezTo>
                  <a:pt x="2894" y="1242"/>
                  <a:pt x="2893" y="1240"/>
                  <a:pt x="2893" y="1238"/>
                </a:cubicBezTo>
                <a:cubicBezTo>
                  <a:pt x="2893" y="1235"/>
                  <a:pt x="2896" y="1232"/>
                  <a:pt x="2899" y="1232"/>
                </a:cubicBezTo>
                <a:cubicBezTo>
                  <a:pt x="2899" y="1232"/>
                  <a:pt x="2899" y="1233"/>
                  <a:pt x="2900" y="1234"/>
                </a:cubicBezTo>
                <a:cubicBezTo>
                  <a:pt x="2900" y="1235"/>
                  <a:pt x="2900" y="1236"/>
                  <a:pt x="2900" y="1237"/>
                </a:cubicBezTo>
                <a:cubicBezTo>
                  <a:pt x="2899" y="1237"/>
                  <a:pt x="2899" y="1237"/>
                  <a:pt x="2899" y="1237"/>
                </a:cubicBezTo>
                <a:cubicBezTo>
                  <a:pt x="2898" y="1238"/>
                  <a:pt x="2898" y="1239"/>
                  <a:pt x="2897" y="1241"/>
                </a:cubicBezTo>
                <a:cubicBezTo>
                  <a:pt x="2898" y="1241"/>
                  <a:pt x="2899" y="1241"/>
                  <a:pt x="2899" y="1240"/>
                </a:cubicBezTo>
                <a:cubicBezTo>
                  <a:pt x="2901" y="1239"/>
                  <a:pt x="2901" y="1238"/>
                  <a:pt x="2902" y="1237"/>
                </a:cubicBezTo>
                <a:cubicBezTo>
                  <a:pt x="2907" y="1230"/>
                  <a:pt x="2912" y="1226"/>
                  <a:pt x="2920" y="1225"/>
                </a:cubicBezTo>
                <a:cubicBezTo>
                  <a:pt x="2923" y="1224"/>
                  <a:pt x="2927" y="1223"/>
                  <a:pt x="2929" y="1221"/>
                </a:cubicBezTo>
                <a:cubicBezTo>
                  <a:pt x="2929" y="1220"/>
                  <a:pt x="2930" y="1220"/>
                  <a:pt x="2930" y="1220"/>
                </a:cubicBezTo>
                <a:cubicBezTo>
                  <a:pt x="2933" y="1219"/>
                  <a:pt x="2934" y="1217"/>
                  <a:pt x="2936" y="1215"/>
                </a:cubicBezTo>
                <a:cubicBezTo>
                  <a:pt x="2944" y="1207"/>
                  <a:pt x="2956" y="1207"/>
                  <a:pt x="2963" y="1214"/>
                </a:cubicBezTo>
                <a:cubicBezTo>
                  <a:pt x="2966" y="1216"/>
                  <a:pt x="2969" y="1218"/>
                  <a:pt x="2971" y="1220"/>
                </a:cubicBezTo>
                <a:cubicBezTo>
                  <a:pt x="2972" y="1221"/>
                  <a:pt x="2974" y="1223"/>
                  <a:pt x="2975" y="1224"/>
                </a:cubicBezTo>
                <a:cubicBezTo>
                  <a:pt x="2976" y="1226"/>
                  <a:pt x="2976" y="1226"/>
                  <a:pt x="2978" y="1225"/>
                </a:cubicBezTo>
                <a:cubicBezTo>
                  <a:pt x="2978" y="1224"/>
                  <a:pt x="2979" y="1224"/>
                  <a:pt x="2980" y="1223"/>
                </a:cubicBezTo>
                <a:cubicBezTo>
                  <a:pt x="2982" y="1220"/>
                  <a:pt x="2985" y="1220"/>
                  <a:pt x="2986" y="1223"/>
                </a:cubicBezTo>
                <a:cubicBezTo>
                  <a:pt x="2987" y="1226"/>
                  <a:pt x="2988" y="1229"/>
                  <a:pt x="2989" y="1232"/>
                </a:cubicBezTo>
                <a:cubicBezTo>
                  <a:pt x="2989" y="1237"/>
                  <a:pt x="2989" y="1241"/>
                  <a:pt x="2987" y="1245"/>
                </a:cubicBezTo>
                <a:cubicBezTo>
                  <a:pt x="2985" y="1252"/>
                  <a:pt x="2980" y="1255"/>
                  <a:pt x="2974" y="1255"/>
                </a:cubicBezTo>
                <a:cubicBezTo>
                  <a:pt x="2973" y="1255"/>
                  <a:pt x="2972" y="1255"/>
                  <a:pt x="2972" y="1255"/>
                </a:cubicBezTo>
                <a:cubicBezTo>
                  <a:pt x="2969" y="1255"/>
                  <a:pt x="2968" y="1255"/>
                  <a:pt x="2967" y="1258"/>
                </a:cubicBezTo>
                <a:cubicBezTo>
                  <a:pt x="2966" y="1262"/>
                  <a:pt x="2960" y="1264"/>
                  <a:pt x="2957" y="1261"/>
                </a:cubicBezTo>
                <a:cubicBezTo>
                  <a:pt x="2956" y="1259"/>
                  <a:pt x="2955" y="1259"/>
                  <a:pt x="2954" y="1257"/>
                </a:cubicBezTo>
                <a:cubicBezTo>
                  <a:pt x="2953" y="1258"/>
                  <a:pt x="2953" y="1258"/>
                  <a:pt x="2953" y="1258"/>
                </a:cubicBezTo>
                <a:close/>
                <a:moveTo>
                  <a:pt x="2947" y="1253"/>
                </a:moveTo>
                <a:cubicBezTo>
                  <a:pt x="2951" y="1255"/>
                  <a:pt x="2954" y="1256"/>
                  <a:pt x="2957" y="1259"/>
                </a:cubicBezTo>
                <a:cubicBezTo>
                  <a:pt x="2959" y="1261"/>
                  <a:pt x="2961" y="1261"/>
                  <a:pt x="2963" y="1261"/>
                </a:cubicBezTo>
                <a:cubicBezTo>
                  <a:pt x="2965" y="1260"/>
                  <a:pt x="2967" y="1258"/>
                  <a:pt x="2967" y="1255"/>
                </a:cubicBezTo>
                <a:cubicBezTo>
                  <a:pt x="2967" y="1255"/>
                  <a:pt x="2966" y="1255"/>
                  <a:pt x="2966" y="1255"/>
                </a:cubicBezTo>
                <a:cubicBezTo>
                  <a:pt x="2965" y="1257"/>
                  <a:pt x="2964" y="1258"/>
                  <a:pt x="2963" y="1259"/>
                </a:cubicBezTo>
                <a:cubicBezTo>
                  <a:pt x="2962" y="1260"/>
                  <a:pt x="2961" y="1260"/>
                  <a:pt x="2960" y="1259"/>
                </a:cubicBezTo>
                <a:cubicBezTo>
                  <a:pt x="2959" y="1259"/>
                  <a:pt x="2959" y="1258"/>
                  <a:pt x="2959" y="1257"/>
                </a:cubicBezTo>
                <a:cubicBezTo>
                  <a:pt x="2959" y="1255"/>
                  <a:pt x="2959" y="1253"/>
                  <a:pt x="2960" y="1251"/>
                </a:cubicBezTo>
                <a:cubicBezTo>
                  <a:pt x="2963" y="1252"/>
                  <a:pt x="2966" y="1253"/>
                  <a:pt x="2970" y="1253"/>
                </a:cubicBezTo>
                <a:cubicBezTo>
                  <a:pt x="2977" y="1255"/>
                  <a:pt x="2983" y="1253"/>
                  <a:pt x="2986" y="1244"/>
                </a:cubicBezTo>
                <a:cubicBezTo>
                  <a:pt x="2988" y="1240"/>
                  <a:pt x="2987" y="1235"/>
                  <a:pt x="2987" y="1230"/>
                </a:cubicBezTo>
                <a:cubicBezTo>
                  <a:pt x="2986" y="1228"/>
                  <a:pt x="2985" y="1226"/>
                  <a:pt x="2985" y="1224"/>
                </a:cubicBezTo>
                <a:cubicBezTo>
                  <a:pt x="2984" y="1223"/>
                  <a:pt x="2983" y="1222"/>
                  <a:pt x="2981" y="1224"/>
                </a:cubicBezTo>
                <a:cubicBezTo>
                  <a:pt x="2980" y="1225"/>
                  <a:pt x="2978" y="1227"/>
                  <a:pt x="2976" y="1228"/>
                </a:cubicBezTo>
                <a:cubicBezTo>
                  <a:pt x="2976" y="1228"/>
                  <a:pt x="2975" y="1229"/>
                  <a:pt x="2975" y="1230"/>
                </a:cubicBezTo>
                <a:cubicBezTo>
                  <a:pt x="2976" y="1233"/>
                  <a:pt x="2975" y="1236"/>
                  <a:pt x="2974" y="1240"/>
                </a:cubicBezTo>
                <a:cubicBezTo>
                  <a:pt x="2974" y="1238"/>
                  <a:pt x="2974" y="1236"/>
                  <a:pt x="2974" y="1234"/>
                </a:cubicBezTo>
                <a:cubicBezTo>
                  <a:pt x="2974" y="1233"/>
                  <a:pt x="2974" y="1233"/>
                  <a:pt x="2974" y="1232"/>
                </a:cubicBezTo>
                <a:cubicBezTo>
                  <a:pt x="2973" y="1233"/>
                  <a:pt x="2972" y="1233"/>
                  <a:pt x="2972" y="1233"/>
                </a:cubicBezTo>
                <a:cubicBezTo>
                  <a:pt x="2972" y="1234"/>
                  <a:pt x="2971" y="1236"/>
                  <a:pt x="2970" y="1237"/>
                </a:cubicBezTo>
                <a:cubicBezTo>
                  <a:pt x="2970" y="1237"/>
                  <a:pt x="2970" y="1237"/>
                  <a:pt x="2970" y="1237"/>
                </a:cubicBezTo>
                <a:cubicBezTo>
                  <a:pt x="2970" y="1236"/>
                  <a:pt x="2970" y="1234"/>
                  <a:pt x="2971" y="1232"/>
                </a:cubicBezTo>
                <a:cubicBezTo>
                  <a:pt x="2970" y="1232"/>
                  <a:pt x="2969" y="1233"/>
                  <a:pt x="2969" y="1234"/>
                </a:cubicBezTo>
                <a:cubicBezTo>
                  <a:pt x="2968" y="1234"/>
                  <a:pt x="2968" y="1235"/>
                  <a:pt x="2967" y="1236"/>
                </a:cubicBezTo>
                <a:cubicBezTo>
                  <a:pt x="2968" y="1232"/>
                  <a:pt x="2968" y="1232"/>
                  <a:pt x="2974" y="1231"/>
                </a:cubicBezTo>
                <a:cubicBezTo>
                  <a:pt x="2974" y="1230"/>
                  <a:pt x="2973" y="1230"/>
                  <a:pt x="2973" y="1230"/>
                </a:cubicBezTo>
                <a:cubicBezTo>
                  <a:pt x="2970" y="1230"/>
                  <a:pt x="2969" y="1229"/>
                  <a:pt x="2969" y="1226"/>
                </a:cubicBezTo>
                <a:cubicBezTo>
                  <a:pt x="2970" y="1226"/>
                  <a:pt x="2972" y="1226"/>
                  <a:pt x="2974" y="1225"/>
                </a:cubicBezTo>
                <a:cubicBezTo>
                  <a:pt x="2972" y="1223"/>
                  <a:pt x="2970" y="1220"/>
                  <a:pt x="2967" y="1220"/>
                </a:cubicBezTo>
                <a:cubicBezTo>
                  <a:pt x="2967" y="1220"/>
                  <a:pt x="2967" y="1219"/>
                  <a:pt x="2967" y="1219"/>
                </a:cubicBezTo>
                <a:cubicBezTo>
                  <a:pt x="2964" y="1217"/>
                  <a:pt x="2962" y="1215"/>
                  <a:pt x="2959" y="1213"/>
                </a:cubicBezTo>
                <a:cubicBezTo>
                  <a:pt x="2957" y="1211"/>
                  <a:pt x="2954" y="1211"/>
                  <a:pt x="2952" y="1211"/>
                </a:cubicBezTo>
                <a:cubicBezTo>
                  <a:pt x="2949" y="1211"/>
                  <a:pt x="2945" y="1212"/>
                  <a:pt x="2942" y="1213"/>
                </a:cubicBezTo>
                <a:cubicBezTo>
                  <a:pt x="2939" y="1214"/>
                  <a:pt x="2937" y="1216"/>
                  <a:pt x="2935" y="1219"/>
                </a:cubicBezTo>
                <a:cubicBezTo>
                  <a:pt x="2937" y="1219"/>
                  <a:pt x="2938" y="1219"/>
                  <a:pt x="2939" y="1219"/>
                </a:cubicBezTo>
                <a:cubicBezTo>
                  <a:pt x="2939" y="1219"/>
                  <a:pt x="2938" y="1220"/>
                  <a:pt x="2937" y="1220"/>
                </a:cubicBezTo>
                <a:cubicBezTo>
                  <a:pt x="2935" y="1221"/>
                  <a:pt x="2932" y="1220"/>
                  <a:pt x="2930" y="1222"/>
                </a:cubicBezTo>
                <a:cubicBezTo>
                  <a:pt x="2927" y="1226"/>
                  <a:pt x="2923" y="1230"/>
                  <a:pt x="2919" y="1234"/>
                </a:cubicBezTo>
                <a:cubicBezTo>
                  <a:pt x="2918" y="1236"/>
                  <a:pt x="2917" y="1238"/>
                  <a:pt x="2916" y="1241"/>
                </a:cubicBezTo>
                <a:cubicBezTo>
                  <a:pt x="2916" y="1241"/>
                  <a:pt x="2916" y="1242"/>
                  <a:pt x="2916" y="1242"/>
                </a:cubicBezTo>
                <a:cubicBezTo>
                  <a:pt x="2917" y="1244"/>
                  <a:pt x="2918" y="1246"/>
                  <a:pt x="2920" y="1248"/>
                </a:cubicBezTo>
                <a:cubicBezTo>
                  <a:pt x="2921" y="1247"/>
                  <a:pt x="2922" y="1245"/>
                  <a:pt x="2923" y="1244"/>
                </a:cubicBezTo>
                <a:cubicBezTo>
                  <a:pt x="2923" y="1245"/>
                  <a:pt x="2923" y="1246"/>
                  <a:pt x="2922" y="1248"/>
                </a:cubicBezTo>
                <a:cubicBezTo>
                  <a:pt x="2921" y="1249"/>
                  <a:pt x="2920" y="1250"/>
                  <a:pt x="2920" y="1252"/>
                </a:cubicBezTo>
                <a:cubicBezTo>
                  <a:pt x="2919" y="1253"/>
                  <a:pt x="2920" y="1254"/>
                  <a:pt x="2920" y="1255"/>
                </a:cubicBezTo>
                <a:cubicBezTo>
                  <a:pt x="2923" y="1258"/>
                  <a:pt x="2926" y="1258"/>
                  <a:pt x="2930" y="1256"/>
                </a:cubicBezTo>
                <a:cubicBezTo>
                  <a:pt x="2932" y="1255"/>
                  <a:pt x="2935" y="1253"/>
                  <a:pt x="2938" y="1253"/>
                </a:cubicBezTo>
                <a:cubicBezTo>
                  <a:pt x="2939" y="1252"/>
                  <a:pt x="2940" y="1251"/>
                  <a:pt x="2940" y="1250"/>
                </a:cubicBezTo>
                <a:cubicBezTo>
                  <a:pt x="2940" y="1247"/>
                  <a:pt x="2940" y="1243"/>
                  <a:pt x="2940" y="1240"/>
                </a:cubicBezTo>
                <a:cubicBezTo>
                  <a:pt x="2940" y="1237"/>
                  <a:pt x="2940" y="1234"/>
                  <a:pt x="2940" y="1231"/>
                </a:cubicBezTo>
                <a:cubicBezTo>
                  <a:pt x="2941" y="1234"/>
                  <a:pt x="2941" y="1236"/>
                  <a:pt x="2942" y="1239"/>
                </a:cubicBezTo>
                <a:cubicBezTo>
                  <a:pt x="2943" y="1244"/>
                  <a:pt x="2943" y="1248"/>
                  <a:pt x="2941" y="1252"/>
                </a:cubicBezTo>
                <a:cubicBezTo>
                  <a:pt x="2941" y="1253"/>
                  <a:pt x="2940" y="1254"/>
                  <a:pt x="2940" y="1254"/>
                </a:cubicBezTo>
                <a:cubicBezTo>
                  <a:pt x="2936" y="1254"/>
                  <a:pt x="2933" y="1256"/>
                  <a:pt x="2930" y="1258"/>
                </a:cubicBezTo>
                <a:cubicBezTo>
                  <a:pt x="2925" y="1261"/>
                  <a:pt x="2921" y="1259"/>
                  <a:pt x="2918" y="1255"/>
                </a:cubicBezTo>
                <a:cubicBezTo>
                  <a:pt x="2918" y="1255"/>
                  <a:pt x="2918" y="1253"/>
                  <a:pt x="2918" y="1253"/>
                </a:cubicBezTo>
                <a:cubicBezTo>
                  <a:pt x="2919" y="1251"/>
                  <a:pt x="2918" y="1249"/>
                  <a:pt x="2916" y="1247"/>
                </a:cubicBezTo>
                <a:cubicBezTo>
                  <a:pt x="2915" y="1245"/>
                  <a:pt x="2913" y="1242"/>
                  <a:pt x="2914" y="1240"/>
                </a:cubicBezTo>
                <a:cubicBezTo>
                  <a:pt x="2915" y="1238"/>
                  <a:pt x="2916" y="1236"/>
                  <a:pt x="2917" y="1234"/>
                </a:cubicBezTo>
                <a:cubicBezTo>
                  <a:pt x="2919" y="1232"/>
                  <a:pt x="2921" y="1229"/>
                  <a:pt x="2923" y="1226"/>
                </a:cubicBezTo>
                <a:cubicBezTo>
                  <a:pt x="2923" y="1226"/>
                  <a:pt x="2922" y="1226"/>
                  <a:pt x="2922" y="1226"/>
                </a:cubicBezTo>
                <a:cubicBezTo>
                  <a:pt x="2917" y="1228"/>
                  <a:pt x="2912" y="1229"/>
                  <a:pt x="2909" y="1232"/>
                </a:cubicBezTo>
                <a:cubicBezTo>
                  <a:pt x="2904" y="1237"/>
                  <a:pt x="2901" y="1242"/>
                  <a:pt x="2901" y="1249"/>
                </a:cubicBezTo>
                <a:cubicBezTo>
                  <a:pt x="2900" y="1255"/>
                  <a:pt x="2903" y="1261"/>
                  <a:pt x="2906" y="1267"/>
                </a:cubicBezTo>
                <a:cubicBezTo>
                  <a:pt x="2907" y="1268"/>
                  <a:pt x="2907" y="1270"/>
                  <a:pt x="2907" y="1271"/>
                </a:cubicBezTo>
                <a:cubicBezTo>
                  <a:pt x="2907" y="1272"/>
                  <a:pt x="2907" y="1274"/>
                  <a:pt x="2906" y="1275"/>
                </a:cubicBezTo>
                <a:cubicBezTo>
                  <a:pt x="2905" y="1277"/>
                  <a:pt x="2906" y="1278"/>
                  <a:pt x="2907" y="1278"/>
                </a:cubicBezTo>
                <a:cubicBezTo>
                  <a:pt x="2910" y="1279"/>
                  <a:pt x="2913" y="1280"/>
                  <a:pt x="2916" y="1280"/>
                </a:cubicBezTo>
                <a:cubicBezTo>
                  <a:pt x="2916" y="1280"/>
                  <a:pt x="2917" y="1279"/>
                  <a:pt x="2917" y="1279"/>
                </a:cubicBezTo>
                <a:cubicBezTo>
                  <a:pt x="2918" y="1278"/>
                  <a:pt x="2918" y="1276"/>
                  <a:pt x="2918" y="1275"/>
                </a:cubicBezTo>
                <a:cubicBezTo>
                  <a:pt x="2920" y="1273"/>
                  <a:pt x="2920" y="1270"/>
                  <a:pt x="2920" y="1267"/>
                </a:cubicBezTo>
                <a:cubicBezTo>
                  <a:pt x="2920" y="1267"/>
                  <a:pt x="2920" y="1266"/>
                  <a:pt x="2920" y="1266"/>
                </a:cubicBezTo>
                <a:cubicBezTo>
                  <a:pt x="2920" y="1266"/>
                  <a:pt x="2920" y="1266"/>
                  <a:pt x="2920" y="1265"/>
                </a:cubicBezTo>
                <a:cubicBezTo>
                  <a:pt x="2921" y="1268"/>
                  <a:pt x="2922" y="1268"/>
                  <a:pt x="2924" y="1268"/>
                </a:cubicBezTo>
                <a:cubicBezTo>
                  <a:pt x="2925" y="1268"/>
                  <a:pt x="2926" y="1268"/>
                  <a:pt x="2927" y="1268"/>
                </a:cubicBezTo>
                <a:cubicBezTo>
                  <a:pt x="2929" y="1268"/>
                  <a:pt x="2932" y="1269"/>
                  <a:pt x="2933" y="1264"/>
                </a:cubicBezTo>
                <a:cubicBezTo>
                  <a:pt x="2933" y="1267"/>
                  <a:pt x="2933" y="1268"/>
                  <a:pt x="2933" y="1269"/>
                </a:cubicBezTo>
                <a:cubicBezTo>
                  <a:pt x="2932" y="1270"/>
                  <a:pt x="2930" y="1271"/>
                  <a:pt x="2929" y="1271"/>
                </a:cubicBezTo>
                <a:cubicBezTo>
                  <a:pt x="2928" y="1272"/>
                  <a:pt x="2927" y="1274"/>
                  <a:pt x="2928" y="1274"/>
                </a:cubicBezTo>
                <a:cubicBezTo>
                  <a:pt x="2929" y="1277"/>
                  <a:pt x="2930" y="1279"/>
                  <a:pt x="2932" y="1281"/>
                </a:cubicBezTo>
                <a:cubicBezTo>
                  <a:pt x="2934" y="1282"/>
                  <a:pt x="2936" y="1282"/>
                  <a:pt x="2937" y="1280"/>
                </a:cubicBezTo>
                <a:cubicBezTo>
                  <a:pt x="2938" y="1279"/>
                  <a:pt x="2938" y="1278"/>
                  <a:pt x="2939" y="1278"/>
                </a:cubicBezTo>
                <a:cubicBezTo>
                  <a:pt x="2941" y="1276"/>
                  <a:pt x="2942" y="1275"/>
                  <a:pt x="2944" y="1274"/>
                </a:cubicBezTo>
                <a:cubicBezTo>
                  <a:pt x="2948" y="1270"/>
                  <a:pt x="2950" y="1264"/>
                  <a:pt x="2952" y="1258"/>
                </a:cubicBezTo>
                <a:cubicBezTo>
                  <a:pt x="2952" y="1257"/>
                  <a:pt x="2951" y="1257"/>
                  <a:pt x="2950" y="1256"/>
                </a:cubicBezTo>
                <a:cubicBezTo>
                  <a:pt x="2950" y="1255"/>
                  <a:pt x="2949" y="1254"/>
                  <a:pt x="2947" y="1253"/>
                </a:cubicBezTo>
                <a:close/>
                <a:moveTo>
                  <a:pt x="2900" y="1260"/>
                </a:moveTo>
                <a:cubicBezTo>
                  <a:pt x="2899" y="1261"/>
                  <a:pt x="2898" y="1261"/>
                  <a:pt x="2897" y="1263"/>
                </a:cubicBezTo>
                <a:cubicBezTo>
                  <a:pt x="2896" y="1263"/>
                  <a:pt x="2896" y="1264"/>
                  <a:pt x="2896" y="1264"/>
                </a:cubicBezTo>
                <a:cubicBezTo>
                  <a:pt x="2896" y="1267"/>
                  <a:pt x="2900" y="1272"/>
                  <a:pt x="2903" y="1271"/>
                </a:cubicBezTo>
                <a:cubicBezTo>
                  <a:pt x="2905" y="1271"/>
                  <a:pt x="2906" y="1270"/>
                  <a:pt x="2905" y="1268"/>
                </a:cubicBezTo>
                <a:cubicBezTo>
                  <a:pt x="2903" y="1265"/>
                  <a:pt x="2902" y="1263"/>
                  <a:pt x="2900" y="1260"/>
                </a:cubicBezTo>
                <a:close/>
                <a:moveTo>
                  <a:pt x="2953" y="1262"/>
                </a:moveTo>
                <a:cubicBezTo>
                  <a:pt x="2950" y="1266"/>
                  <a:pt x="2948" y="1271"/>
                  <a:pt x="2946" y="1275"/>
                </a:cubicBezTo>
                <a:cubicBezTo>
                  <a:pt x="2949" y="1275"/>
                  <a:pt x="2951" y="1276"/>
                  <a:pt x="2954" y="1275"/>
                </a:cubicBezTo>
                <a:cubicBezTo>
                  <a:pt x="2954" y="1275"/>
                  <a:pt x="2954" y="1274"/>
                  <a:pt x="2954" y="1274"/>
                </a:cubicBezTo>
                <a:cubicBezTo>
                  <a:pt x="2954" y="1271"/>
                  <a:pt x="2954" y="1268"/>
                  <a:pt x="2954" y="1266"/>
                </a:cubicBezTo>
                <a:cubicBezTo>
                  <a:pt x="2954" y="1264"/>
                  <a:pt x="2953" y="1263"/>
                  <a:pt x="2953" y="1262"/>
                </a:cubicBezTo>
                <a:close/>
                <a:moveTo>
                  <a:pt x="2900" y="1242"/>
                </a:moveTo>
                <a:cubicBezTo>
                  <a:pt x="2899" y="1242"/>
                  <a:pt x="2899" y="1242"/>
                  <a:pt x="2898" y="1242"/>
                </a:cubicBezTo>
                <a:cubicBezTo>
                  <a:pt x="2898" y="1242"/>
                  <a:pt x="2897" y="1242"/>
                  <a:pt x="2897" y="1242"/>
                </a:cubicBezTo>
                <a:cubicBezTo>
                  <a:pt x="2896" y="1242"/>
                  <a:pt x="2896" y="1241"/>
                  <a:pt x="2896" y="1240"/>
                </a:cubicBezTo>
                <a:cubicBezTo>
                  <a:pt x="2897" y="1238"/>
                  <a:pt x="2897" y="1236"/>
                  <a:pt x="2898" y="1234"/>
                </a:cubicBezTo>
                <a:cubicBezTo>
                  <a:pt x="2898" y="1234"/>
                  <a:pt x="2898" y="1234"/>
                  <a:pt x="2897" y="1234"/>
                </a:cubicBezTo>
                <a:cubicBezTo>
                  <a:pt x="2896" y="1235"/>
                  <a:pt x="2895" y="1236"/>
                  <a:pt x="2894" y="1237"/>
                </a:cubicBezTo>
                <a:cubicBezTo>
                  <a:pt x="2894" y="1238"/>
                  <a:pt x="2895" y="1243"/>
                  <a:pt x="2897" y="1244"/>
                </a:cubicBezTo>
                <a:cubicBezTo>
                  <a:pt x="2898" y="1245"/>
                  <a:pt x="2900" y="1244"/>
                  <a:pt x="2900" y="1242"/>
                </a:cubicBezTo>
                <a:close/>
                <a:moveTo>
                  <a:pt x="2900" y="1259"/>
                </a:moveTo>
                <a:cubicBezTo>
                  <a:pt x="2900" y="1260"/>
                  <a:pt x="2898" y="1261"/>
                  <a:pt x="2897" y="1262"/>
                </a:cubicBezTo>
                <a:cubicBezTo>
                  <a:pt x="2897" y="1263"/>
                  <a:pt x="2896" y="1263"/>
                  <a:pt x="2896" y="1264"/>
                </a:cubicBezTo>
                <a:cubicBezTo>
                  <a:pt x="2896" y="1267"/>
                  <a:pt x="2900" y="1271"/>
                  <a:pt x="2903" y="1271"/>
                </a:cubicBezTo>
                <a:cubicBezTo>
                  <a:pt x="2905" y="1271"/>
                  <a:pt x="2906" y="1270"/>
                  <a:pt x="2905" y="1268"/>
                </a:cubicBezTo>
                <a:cubicBezTo>
                  <a:pt x="2903" y="1265"/>
                  <a:pt x="2902" y="1262"/>
                  <a:pt x="2900" y="1259"/>
                </a:cubicBezTo>
                <a:close/>
                <a:moveTo>
                  <a:pt x="2953" y="1261"/>
                </a:moveTo>
                <a:cubicBezTo>
                  <a:pt x="2951" y="1266"/>
                  <a:pt x="2948" y="1270"/>
                  <a:pt x="2946" y="1275"/>
                </a:cubicBezTo>
                <a:cubicBezTo>
                  <a:pt x="2949" y="1275"/>
                  <a:pt x="2951" y="1275"/>
                  <a:pt x="2954" y="1275"/>
                </a:cubicBezTo>
                <a:cubicBezTo>
                  <a:pt x="2954" y="1275"/>
                  <a:pt x="2955" y="1274"/>
                  <a:pt x="2955" y="1273"/>
                </a:cubicBezTo>
                <a:cubicBezTo>
                  <a:pt x="2955" y="1270"/>
                  <a:pt x="2955" y="1268"/>
                  <a:pt x="2954" y="1266"/>
                </a:cubicBezTo>
                <a:cubicBezTo>
                  <a:pt x="2954" y="1264"/>
                  <a:pt x="2954" y="1263"/>
                  <a:pt x="2953" y="1261"/>
                </a:cubicBezTo>
                <a:close/>
                <a:moveTo>
                  <a:pt x="2900" y="1241"/>
                </a:moveTo>
                <a:cubicBezTo>
                  <a:pt x="2900" y="1242"/>
                  <a:pt x="2899" y="1242"/>
                  <a:pt x="2899" y="1242"/>
                </a:cubicBezTo>
                <a:cubicBezTo>
                  <a:pt x="2898" y="1242"/>
                  <a:pt x="2897" y="1242"/>
                  <a:pt x="2897" y="1242"/>
                </a:cubicBezTo>
                <a:cubicBezTo>
                  <a:pt x="2897" y="1241"/>
                  <a:pt x="2896" y="1241"/>
                  <a:pt x="2896" y="1240"/>
                </a:cubicBezTo>
                <a:cubicBezTo>
                  <a:pt x="2897" y="1238"/>
                  <a:pt x="2897" y="1236"/>
                  <a:pt x="2898" y="1234"/>
                </a:cubicBezTo>
                <a:cubicBezTo>
                  <a:pt x="2898" y="1234"/>
                  <a:pt x="2898" y="1234"/>
                  <a:pt x="2897" y="1234"/>
                </a:cubicBezTo>
                <a:cubicBezTo>
                  <a:pt x="2897" y="1235"/>
                  <a:pt x="2895" y="1236"/>
                  <a:pt x="2895" y="1237"/>
                </a:cubicBezTo>
                <a:cubicBezTo>
                  <a:pt x="2894" y="1238"/>
                  <a:pt x="2895" y="1243"/>
                  <a:pt x="2897" y="1244"/>
                </a:cubicBezTo>
                <a:cubicBezTo>
                  <a:pt x="2899" y="1245"/>
                  <a:pt x="2900" y="1243"/>
                  <a:pt x="2900" y="1241"/>
                </a:cubicBezTo>
                <a:close/>
                <a:moveTo>
                  <a:pt x="2952" y="1233"/>
                </a:moveTo>
                <a:cubicBezTo>
                  <a:pt x="2956" y="1229"/>
                  <a:pt x="2956" y="1229"/>
                  <a:pt x="2960" y="1228"/>
                </a:cubicBezTo>
                <a:cubicBezTo>
                  <a:pt x="2960" y="1230"/>
                  <a:pt x="2961" y="1231"/>
                  <a:pt x="2962" y="1231"/>
                </a:cubicBezTo>
                <a:cubicBezTo>
                  <a:pt x="2960" y="1233"/>
                  <a:pt x="2958" y="1234"/>
                  <a:pt x="2956" y="1235"/>
                </a:cubicBezTo>
                <a:cubicBezTo>
                  <a:pt x="2955" y="1235"/>
                  <a:pt x="2955" y="1234"/>
                  <a:pt x="2954" y="1233"/>
                </a:cubicBezTo>
                <a:cubicBezTo>
                  <a:pt x="2954" y="1233"/>
                  <a:pt x="2953" y="1233"/>
                  <a:pt x="2952" y="1233"/>
                </a:cubicBezTo>
                <a:close/>
                <a:moveTo>
                  <a:pt x="2958" y="1233"/>
                </a:moveTo>
                <a:cubicBezTo>
                  <a:pt x="2958" y="1232"/>
                  <a:pt x="2957" y="1232"/>
                  <a:pt x="2956" y="1232"/>
                </a:cubicBezTo>
                <a:cubicBezTo>
                  <a:pt x="2956" y="1232"/>
                  <a:pt x="2955" y="1233"/>
                  <a:pt x="2955" y="1233"/>
                </a:cubicBezTo>
                <a:cubicBezTo>
                  <a:pt x="2955" y="1233"/>
                  <a:pt x="2956" y="1234"/>
                  <a:pt x="2956" y="1234"/>
                </a:cubicBezTo>
                <a:cubicBezTo>
                  <a:pt x="2957" y="1234"/>
                  <a:pt x="2957" y="1233"/>
                  <a:pt x="2958" y="1233"/>
                </a:cubicBezTo>
                <a:close/>
                <a:moveTo>
                  <a:pt x="2939" y="1223"/>
                </a:moveTo>
                <a:cubicBezTo>
                  <a:pt x="2933" y="1222"/>
                  <a:pt x="2930" y="1225"/>
                  <a:pt x="2929" y="1233"/>
                </a:cubicBezTo>
                <a:cubicBezTo>
                  <a:pt x="2930" y="1231"/>
                  <a:pt x="2931" y="1228"/>
                  <a:pt x="2932" y="1226"/>
                </a:cubicBezTo>
                <a:cubicBezTo>
                  <a:pt x="2933" y="1226"/>
                  <a:pt x="2933" y="1226"/>
                  <a:pt x="2933" y="1226"/>
                </a:cubicBezTo>
                <a:cubicBezTo>
                  <a:pt x="2933" y="1227"/>
                  <a:pt x="2933" y="1228"/>
                  <a:pt x="2933" y="1229"/>
                </a:cubicBezTo>
                <a:cubicBezTo>
                  <a:pt x="2934" y="1226"/>
                  <a:pt x="2936" y="1224"/>
                  <a:pt x="2939" y="1223"/>
                </a:cubicBezTo>
                <a:close/>
                <a:moveTo>
                  <a:pt x="2983" y="1225"/>
                </a:moveTo>
                <a:cubicBezTo>
                  <a:pt x="2981" y="1226"/>
                  <a:pt x="2979" y="1228"/>
                  <a:pt x="2978" y="1229"/>
                </a:cubicBezTo>
                <a:cubicBezTo>
                  <a:pt x="2980" y="1229"/>
                  <a:pt x="2982" y="1228"/>
                  <a:pt x="2983" y="1225"/>
                </a:cubicBezTo>
                <a:close/>
                <a:moveTo>
                  <a:pt x="2950" y="1227"/>
                </a:moveTo>
                <a:cubicBezTo>
                  <a:pt x="2951" y="1226"/>
                  <a:pt x="2952" y="1224"/>
                  <a:pt x="2953" y="1223"/>
                </a:cubicBezTo>
                <a:cubicBezTo>
                  <a:pt x="2950" y="1224"/>
                  <a:pt x="2949" y="1225"/>
                  <a:pt x="2950" y="1227"/>
                </a:cubicBezTo>
                <a:close/>
                <a:moveTo>
                  <a:pt x="2960" y="1248"/>
                </a:moveTo>
                <a:cubicBezTo>
                  <a:pt x="2958" y="1248"/>
                  <a:pt x="2957" y="1249"/>
                  <a:pt x="2957" y="1250"/>
                </a:cubicBezTo>
                <a:cubicBezTo>
                  <a:pt x="2958" y="1249"/>
                  <a:pt x="2959" y="1249"/>
                  <a:pt x="2960" y="1248"/>
                </a:cubicBezTo>
                <a:close/>
                <a:moveTo>
                  <a:pt x="2959" y="1233"/>
                </a:moveTo>
                <a:cubicBezTo>
                  <a:pt x="2958" y="1232"/>
                  <a:pt x="2957" y="1232"/>
                  <a:pt x="2956" y="1232"/>
                </a:cubicBezTo>
                <a:cubicBezTo>
                  <a:pt x="2956" y="1232"/>
                  <a:pt x="2955" y="1233"/>
                  <a:pt x="2955" y="1233"/>
                </a:cubicBezTo>
                <a:cubicBezTo>
                  <a:pt x="2955" y="1234"/>
                  <a:pt x="2956" y="1234"/>
                  <a:pt x="2956" y="1234"/>
                </a:cubicBezTo>
                <a:cubicBezTo>
                  <a:pt x="2957" y="1234"/>
                  <a:pt x="2957" y="1234"/>
                  <a:pt x="2959" y="1233"/>
                </a:cubicBezTo>
                <a:close/>
                <a:moveTo>
                  <a:pt x="3483" y="1354"/>
                </a:moveTo>
                <a:cubicBezTo>
                  <a:pt x="3483" y="1355"/>
                  <a:pt x="3484" y="1357"/>
                  <a:pt x="3484" y="1358"/>
                </a:cubicBezTo>
                <a:cubicBezTo>
                  <a:pt x="3485" y="1360"/>
                  <a:pt x="3485" y="1362"/>
                  <a:pt x="3485" y="1363"/>
                </a:cubicBezTo>
                <a:cubicBezTo>
                  <a:pt x="3485" y="1365"/>
                  <a:pt x="3486" y="1366"/>
                  <a:pt x="3486" y="1368"/>
                </a:cubicBezTo>
                <a:cubicBezTo>
                  <a:pt x="3487" y="1371"/>
                  <a:pt x="3485" y="1373"/>
                  <a:pt x="3482" y="1373"/>
                </a:cubicBezTo>
                <a:cubicBezTo>
                  <a:pt x="3480" y="1373"/>
                  <a:pt x="3477" y="1372"/>
                  <a:pt x="3474" y="1372"/>
                </a:cubicBezTo>
                <a:cubicBezTo>
                  <a:pt x="3474" y="1372"/>
                  <a:pt x="3473" y="1372"/>
                  <a:pt x="3473" y="1373"/>
                </a:cubicBezTo>
                <a:cubicBezTo>
                  <a:pt x="3471" y="1374"/>
                  <a:pt x="3469" y="1376"/>
                  <a:pt x="3468" y="1377"/>
                </a:cubicBezTo>
                <a:cubicBezTo>
                  <a:pt x="3466" y="1379"/>
                  <a:pt x="3463" y="1380"/>
                  <a:pt x="3461" y="1378"/>
                </a:cubicBezTo>
                <a:cubicBezTo>
                  <a:pt x="3459" y="1376"/>
                  <a:pt x="3458" y="1373"/>
                  <a:pt x="3456" y="1370"/>
                </a:cubicBezTo>
                <a:cubicBezTo>
                  <a:pt x="3455" y="1369"/>
                  <a:pt x="3456" y="1367"/>
                  <a:pt x="3458" y="1366"/>
                </a:cubicBezTo>
                <a:cubicBezTo>
                  <a:pt x="3455" y="1366"/>
                  <a:pt x="3454" y="1366"/>
                  <a:pt x="3452" y="1366"/>
                </a:cubicBezTo>
                <a:cubicBezTo>
                  <a:pt x="3451" y="1368"/>
                  <a:pt x="3450" y="1370"/>
                  <a:pt x="3449" y="1372"/>
                </a:cubicBezTo>
                <a:cubicBezTo>
                  <a:pt x="3449" y="1372"/>
                  <a:pt x="3449" y="1373"/>
                  <a:pt x="3449" y="1374"/>
                </a:cubicBezTo>
                <a:cubicBezTo>
                  <a:pt x="3449" y="1377"/>
                  <a:pt x="3448" y="1378"/>
                  <a:pt x="3445" y="1378"/>
                </a:cubicBezTo>
                <a:cubicBezTo>
                  <a:pt x="3442" y="1378"/>
                  <a:pt x="3439" y="1377"/>
                  <a:pt x="3436" y="1376"/>
                </a:cubicBezTo>
                <a:cubicBezTo>
                  <a:pt x="3434" y="1375"/>
                  <a:pt x="3433" y="1374"/>
                  <a:pt x="3434" y="1372"/>
                </a:cubicBezTo>
                <a:cubicBezTo>
                  <a:pt x="3434" y="1371"/>
                  <a:pt x="3434" y="1370"/>
                  <a:pt x="3434" y="1370"/>
                </a:cubicBezTo>
                <a:cubicBezTo>
                  <a:pt x="3432" y="1369"/>
                  <a:pt x="3430" y="1368"/>
                  <a:pt x="3428" y="1366"/>
                </a:cubicBezTo>
                <a:cubicBezTo>
                  <a:pt x="3427" y="1366"/>
                  <a:pt x="3425" y="1364"/>
                  <a:pt x="3425" y="1362"/>
                </a:cubicBezTo>
                <a:cubicBezTo>
                  <a:pt x="3424" y="1360"/>
                  <a:pt x="3424" y="1359"/>
                  <a:pt x="3426" y="1357"/>
                </a:cubicBezTo>
                <a:cubicBezTo>
                  <a:pt x="3429" y="1355"/>
                  <a:pt x="3430" y="1352"/>
                  <a:pt x="3429" y="1348"/>
                </a:cubicBezTo>
                <a:cubicBezTo>
                  <a:pt x="3429" y="1346"/>
                  <a:pt x="3429" y="1343"/>
                  <a:pt x="3429" y="1342"/>
                </a:cubicBezTo>
                <a:cubicBezTo>
                  <a:pt x="3428" y="1341"/>
                  <a:pt x="3426" y="1341"/>
                  <a:pt x="3425" y="1340"/>
                </a:cubicBezTo>
                <a:cubicBezTo>
                  <a:pt x="3424" y="1338"/>
                  <a:pt x="3423" y="1336"/>
                  <a:pt x="3423" y="1334"/>
                </a:cubicBezTo>
                <a:cubicBezTo>
                  <a:pt x="3423" y="1331"/>
                  <a:pt x="3426" y="1328"/>
                  <a:pt x="3429" y="1328"/>
                </a:cubicBezTo>
                <a:cubicBezTo>
                  <a:pt x="3429" y="1328"/>
                  <a:pt x="3429" y="1329"/>
                  <a:pt x="3430" y="1330"/>
                </a:cubicBezTo>
                <a:cubicBezTo>
                  <a:pt x="3430" y="1331"/>
                  <a:pt x="3430" y="1332"/>
                  <a:pt x="3430" y="1333"/>
                </a:cubicBezTo>
                <a:cubicBezTo>
                  <a:pt x="3429" y="1333"/>
                  <a:pt x="3429" y="1333"/>
                  <a:pt x="3429" y="1333"/>
                </a:cubicBezTo>
                <a:cubicBezTo>
                  <a:pt x="3428" y="1334"/>
                  <a:pt x="3428" y="1335"/>
                  <a:pt x="3427" y="1337"/>
                </a:cubicBezTo>
                <a:cubicBezTo>
                  <a:pt x="3428" y="1337"/>
                  <a:pt x="3429" y="1337"/>
                  <a:pt x="3429" y="1336"/>
                </a:cubicBezTo>
                <a:cubicBezTo>
                  <a:pt x="3431" y="1335"/>
                  <a:pt x="3431" y="1334"/>
                  <a:pt x="3432" y="1333"/>
                </a:cubicBezTo>
                <a:cubicBezTo>
                  <a:pt x="3436" y="1326"/>
                  <a:pt x="3442" y="1322"/>
                  <a:pt x="3450" y="1321"/>
                </a:cubicBezTo>
                <a:cubicBezTo>
                  <a:pt x="3453" y="1320"/>
                  <a:pt x="3456" y="1319"/>
                  <a:pt x="3459" y="1317"/>
                </a:cubicBezTo>
                <a:cubicBezTo>
                  <a:pt x="3459" y="1316"/>
                  <a:pt x="3460" y="1316"/>
                  <a:pt x="3460" y="1316"/>
                </a:cubicBezTo>
                <a:cubicBezTo>
                  <a:pt x="3463" y="1315"/>
                  <a:pt x="3464" y="1313"/>
                  <a:pt x="3466" y="1311"/>
                </a:cubicBezTo>
                <a:cubicBezTo>
                  <a:pt x="3474" y="1303"/>
                  <a:pt x="3485" y="1303"/>
                  <a:pt x="3493" y="1310"/>
                </a:cubicBezTo>
                <a:cubicBezTo>
                  <a:pt x="3496" y="1312"/>
                  <a:pt x="3498" y="1314"/>
                  <a:pt x="3501" y="1316"/>
                </a:cubicBezTo>
                <a:cubicBezTo>
                  <a:pt x="3502" y="1317"/>
                  <a:pt x="3504" y="1319"/>
                  <a:pt x="3505" y="1320"/>
                </a:cubicBezTo>
                <a:cubicBezTo>
                  <a:pt x="3505" y="1322"/>
                  <a:pt x="3506" y="1322"/>
                  <a:pt x="3507" y="1321"/>
                </a:cubicBezTo>
                <a:cubicBezTo>
                  <a:pt x="3508" y="1320"/>
                  <a:pt x="3509" y="1320"/>
                  <a:pt x="3510" y="1319"/>
                </a:cubicBezTo>
                <a:cubicBezTo>
                  <a:pt x="3512" y="1316"/>
                  <a:pt x="3515" y="1316"/>
                  <a:pt x="3516" y="1319"/>
                </a:cubicBezTo>
                <a:cubicBezTo>
                  <a:pt x="3517" y="1322"/>
                  <a:pt x="3518" y="1325"/>
                  <a:pt x="3518" y="1328"/>
                </a:cubicBezTo>
                <a:cubicBezTo>
                  <a:pt x="3519" y="1333"/>
                  <a:pt x="3519" y="1337"/>
                  <a:pt x="3517" y="1341"/>
                </a:cubicBezTo>
                <a:cubicBezTo>
                  <a:pt x="3515" y="1348"/>
                  <a:pt x="3510" y="1351"/>
                  <a:pt x="3504" y="1351"/>
                </a:cubicBezTo>
                <a:cubicBezTo>
                  <a:pt x="3503" y="1351"/>
                  <a:pt x="3502" y="1351"/>
                  <a:pt x="3502" y="1351"/>
                </a:cubicBezTo>
                <a:cubicBezTo>
                  <a:pt x="3499" y="1351"/>
                  <a:pt x="3498" y="1351"/>
                  <a:pt x="3497" y="1354"/>
                </a:cubicBezTo>
                <a:cubicBezTo>
                  <a:pt x="3496" y="1358"/>
                  <a:pt x="3490" y="1360"/>
                  <a:pt x="3487" y="1357"/>
                </a:cubicBezTo>
                <a:cubicBezTo>
                  <a:pt x="3485" y="1355"/>
                  <a:pt x="3485" y="1355"/>
                  <a:pt x="3484" y="1353"/>
                </a:cubicBezTo>
                <a:cubicBezTo>
                  <a:pt x="3483" y="1354"/>
                  <a:pt x="3483" y="1354"/>
                  <a:pt x="3483" y="1354"/>
                </a:cubicBezTo>
                <a:close/>
                <a:moveTo>
                  <a:pt x="3477" y="1349"/>
                </a:moveTo>
                <a:cubicBezTo>
                  <a:pt x="3481" y="1351"/>
                  <a:pt x="3484" y="1352"/>
                  <a:pt x="3487" y="1355"/>
                </a:cubicBezTo>
                <a:cubicBezTo>
                  <a:pt x="3489" y="1357"/>
                  <a:pt x="3491" y="1357"/>
                  <a:pt x="3493" y="1357"/>
                </a:cubicBezTo>
                <a:cubicBezTo>
                  <a:pt x="3495" y="1356"/>
                  <a:pt x="3497" y="1354"/>
                  <a:pt x="3497" y="1351"/>
                </a:cubicBezTo>
                <a:cubicBezTo>
                  <a:pt x="3496" y="1351"/>
                  <a:pt x="3496" y="1351"/>
                  <a:pt x="3496" y="1351"/>
                </a:cubicBezTo>
                <a:cubicBezTo>
                  <a:pt x="3495" y="1353"/>
                  <a:pt x="3494" y="1354"/>
                  <a:pt x="3493" y="1355"/>
                </a:cubicBezTo>
                <a:cubicBezTo>
                  <a:pt x="3492" y="1356"/>
                  <a:pt x="3491" y="1356"/>
                  <a:pt x="3490" y="1355"/>
                </a:cubicBezTo>
                <a:cubicBezTo>
                  <a:pt x="3489" y="1355"/>
                  <a:pt x="3489" y="1354"/>
                  <a:pt x="3489" y="1353"/>
                </a:cubicBezTo>
                <a:cubicBezTo>
                  <a:pt x="3489" y="1351"/>
                  <a:pt x="3489" y="1349"/>
                  <a:pt x="3490" y="1347"/>
                </a:cubicBezTo>
                <a:cubicBezTo>
                  <a:pt x="3493" y="1348"/>
                  <a:pt x="3496" y="1349"/>
                  <a:pt x="3500" y="1349"/>
                </a:cubicBezTo>
                <a:cubicBezTo>
                  <a:pt x="3507" y="1351"/>
                  <a:pt x="3513" y="1349"/>
                  <a:pt x="3516" y="1340"/>
                </a:cubicBezTo>
                <a:cubicBezTo>
                  <a:pt x="3518" y="1336"/>
                  <a:pt x="3517" y="1331"/>
                  <a:pt x="3516" y="1326"/>
                </a:cubicBezTo>
                <a:cubicBezTo>
                  <a:pt x="3516" y="1324"/>
                  <a:pt x="3515" y="1322"/>
                  <a:pt x="3515" y="1320"/>
                </a:cubicBezTo>
                <a:cubicBezTo>
                  <a:pt x="3514" y="1319"/>
                  <a:pt x="3513" y="1318"/>
                  <a:pt x="3511" y="1320"/>
                </a:cubicBezTo>
                <a:cubicBezTo>
                  <a:pt x="3510" y="1321"/>
                  <a:pt x="3508" y="1323"/>
                  <a:pt x="3506" y="1324"/>
                </a:cubicBezTo>
                <a:cubicBezTo>
                  <a:pt x="3505" y="1324"/>
                  <a:pt x="3505" y="1325"/>
                  <a:pt x="3505" y="1326"/>
                </a:cubicBezTo>
                <a:cubicBezTo>
                  <a:pt x="3506" y="1329"/>
                  <a:pt x="3505" y="1332"/>
                  <a:pt x="3504" y="1336"/>
                </a:cubicBezTo>
                <a:cubicBezTo>
                  <a:pt x="3504" y="1334"/>
                  <a:pt x="3504" y="1332"/>
                  <a:pt x="3504" y="1330"/>
                </a:cubicBezTo>
                <a:cubicBezTo>
                  <a:pt x="3504" y="1329"/>
                  <a:pt x="3504" y="1329"/>
                  <a:pt x="3504" y="1328"/>
                </a:cubicBezTo>
                <a:cubicBezTo>
                  <a:pt x="3503" y="1329"/>
                  <a:pt x="3502" y="1329"/>
                  <a:pt x="3502" y="1329"/>
                </a:cubicBezTo>
                <a:cubicBezTo>
                  <a:pt x="3502" y="1330"/>
                  <a:pt x="3501" y="1332"/>
                  <a:pt x="3500" y="1333"/>
                </a:cubicBezTo>
                <a:cubicBezTo>
                  <a:pt x="3500" y="1333"/>
                  <a:pt x="3500" y="1333"/>
                  <a:pt x="3500" y="1333"/>
                </a:cubicBezTo>
                <a:cubicBezTo>
                  <a:pt x="3500" y="1332"/>
                  <a:pt x="3500" y="1330"/>
                  <a:pt x="3501" y="1328"/>
                </a:cubicBezTo>
                <a:cubicBezTo>
                  <a:pt x="3500" y="1328"/>
                  <a:pt x="3499" y="1329"/>
                  <a:pt x="3498" y="1330"/>
                </a:cubicBezTo>
                <a:cubicBezTo>
                  <a:pt x="3498" y="1330"/>
                  <a:pt x="3498" y="1331"/>
                  <a:pt x="3497" y="1332"/>
                </a:cubicBezTo>
                <a:cubicBezTo>
                  <a:pt x="3498" y="1328"/>
                  <a:pt x="3498" y="1328"/>
                  <a:pt x="3504" y="1327"/>
                </a:cubicBezTo>
                <a:cubicBezTo>
                  <a:pt x="3504" y="1326"/>
                  <a:pt x="3503" y="1326"/>
                  <a:pt x="3503" y="1326"/>
                </a:cubicBezTo>
                <a:cubicBezTo>
                  <a:pt x="3500" y="1326"/>
                  <a:pt x="3499" y="1325"/>
                  <a:pt x="3499" y="1322"/>
                </a:cubicBezTo>
                <a:cubicBezTo>
                  <a:pt x="3500" y="1322"/>
                  <a:pt x="3502" y="1322"/>
                  <a:pt x="3504" y="1321"/>
                </a:cubicBezTo>
                <a:cubicBezTo>
                  <a:pt x="3502" y="1319"/>
                  <a:pt x="3500" y="1316"/>
                  <a:pt x="3497" y="1316"/>
                </a:cubicBezTo>
                <a:cubicBezTo>
                  <a:pt x="3497" y="1316"/>
                  <a:pt x="3496" y="1315"/>
                  <a:pt x="3496" y="1315"/>
                </a:cubicBezTo>
                <a:cubicBezTo>
                  <a:pt x="3494" y="1313"/>
                  <a:pt x="3492" y="1311"/>
                  <a:pt x="3489" y="1309"/>
                </a:cubicBezTo>
                <a:cubicBezTo>
                  <a:pt x="3487" y="1307"/>
                  <a:pt x="3484" y="1307"/>
                  <a:pt x="3482" y="1307"/>
                </a:cubicBezTo>
                <a:cubicBezTo>
                  <a:pt x="3478" y="1307"/>
                  <a:pt x="3475" y="1308"/>
                  <a:pt x="3472" y="1309"/>
                </a:cubicBezTo>
                <a:cubicBezTo>
                  <a:pt x="3469" y="1310"/>
                  <a:pt x="3467" y="1312"/>
                  <a:pt x="3465" y="1315"/>
                </a:cubicBezTo>
                <a:cubicBezTo>
                  <a:pt x="3467" y="1315"/>
                  <a:pt x="3468" y="1315"/>
                  <a:pt x="3469" y="1315"/>
                </a:cubicBezTo>
                <a:cubicBezTo>
                  <a:pt x="3469" y="1315"/>
                  <a:pt x="3468" y="1316"/>
                  <a:pt x="3467" y="1316"/>
                </a:cubicBezTo>
                <a:cubicBezTo>
                  <a:pt x="3465" y="1317"/>
                  <a:pt x="3462" y="1316"/>
                  <a:pt x="3460" y="1318"/>
                </a:cubicBezTo>
                <a:cubicBezTo>
                  <a:pt x="3456" y="1322"/>
                  <a:pt x="3453" y="1326"/>
                  <a:pt x="3449" y="1330"/>
                </a:cubicBezTo>
                <a:cubicBezTo>
                  <a:pt x="3447" y="1332"/>
                  <a:pt x="3447" y="1334"/>
                  <a:pt x="3445" y="1337"/>
                </a:cubicBezTo>
                <a:cubicBezTo>
                  <a:pt x="3445" y="1337"/>
                  <a:pt x="3445" y="1338"/>
                  <a:pt x="3446" y="1338"/>
                </a:cubicBezTo>
                <a:cubicBezTo>
                  <a:pt x="3447" y="1340"/>
                  <a:pt x="3448" y="1342"/>
                  <a:pt x="3450" y="1344"/>
                </a:cubicBezTo>
                <a:cubicBezTo>
                  <a:pt x="3451" y="1343"/>
                  <a:pt x="3452" y="1341"/>
                  <a:pt x="3453" y="1340"/>
                </a:cubicBezTo>
                <a:cubicBezTo>
                  <a:pt x="3453" y="1341"/>
                  <a:pt x="3453" y="1342"/>
                  <a:pt x="3452" y="1344"/>
                </a:cubicBezTo>
                <a:cubicBezTo>
                  <a:pt x="3451" y="1345"/>
                  <a:pt x="3450" y="1346"/>
                  <a:pt x="3450" y="1348"/>
                </a:cubicBezTo>
                <a:cubicBezTo>
                  <a:pt x="3449" y="1349"/>
                  <a:pt x="3450" y="1350"/>
                  <a:pt x="3450" y="1351"/>
                </a:cubicBezTo>
                <a:cubicBezTo>
                  <a:pt x="3453" y="1354"/>
                  <a:pt x="3456" y="1354"/>
                  <a:pt x="3460" y="1352"/>
                </a:cubicBezTo>
                <a:cubicBezTo>
                  <a:pt x="3462" y="1351"/>
                  <a:pt x="3465" y="1349"/>
                  <a:pt x="3467" y="1349"/>
                </a:cubicBezTo>
                <a:cubicBezTo>
                  <a:pt x="3469" y="1348"/>
                  <a:pt x="3470" y="1347"/>
                  <a:pt x="3470" y="1346"/>
                </a:cubicBezTo>
                <a:cubicBezTo>
                  <a:pt x="3470" y="1343"/>
                  <a:pt x="3470" y="1339"/>
                  <a:pt x="3470" y="1336"/>
                </a:cubicBezTo>
                <a:cubicBezTo>
                  <a:pt x="3470" y="1333"/>
                  <a:pt x="3470" y="1330"/>
                  <a:pt x="3470" y="1327"/>
                </a:cubicBezTo>
                <a:cubicBezTo>
                  <a:pt x="3471" y="1330"/>
                  <a:pt x="3471" y="1332"/>
                  <a:pt x="3472" y="1335"/>
                </a:cubicBezTo>
                <a:cubicBezTo>
                  <a:pt x="3473" y="1340"/>
                  <a:pt x="3473" y="1344"/>
                  <a:pt x="3471" y="1348"/>
                </a:cubicBezTo>
                <a:cubicBezTo>
                  <a:pt x="3471" y="1349"/>
                  <a:pt x="3470" y="1350"/>
                  <a:pt x="3470" y="1350"/>
                </a:cubicBezTo>
                <a:cubicBezTo>
                  <a:pt x="3466" y="1350"/>
                  <a:pt x="3463" y="1352"/>
                  <a:pt x="3460" y="1354"/>
                </a:cubicBezTo>
                <a:cubicBezTo>
                  <a:pt x="3455" y="1357"/>
                  <a:pt x="3451" y="1355"/>
                  <a:pt x="3448" y="1351"/>
                </a:cubicBezTo>
                <a:cubicBezTo>
                  <a:pt x="3447" y="1351"/>
                  <a:pt x="3447" y="1349"/>
                  <a:pt x="3448" y="1349"/>
                </a:cubicBezTo>
                <a:cubicBezTo>
                  <a:pt x="3449" y="1347"/>
                  <a:pt x="3448" y="1345"/>
                  <a:pt x="3446" y="1343"/>
                </a:cubicBezTo>
                <a:cubicBezTo>
                  <a:pt x="3445" y="1341"/>
                  <a:pt x="3443" y="1338"/>
                  <a:pt x="3444" y="1336"/>
                </a:cubicBezTo>
                <a:cubicBezTo>
                  <a:pt x="3445" y="1334"/>
                  <a:pt x="3446" y="1332"/>
                  <a:pt x="3447" y="1330"/>
                </a:cubicBezTo>
                <a:cubicBezTo>
                  <a:pt x="3449" y="1328"/>
                  <a:pt x="3451" y="1325"/>
                  <a:pt x="3453" y="1322"/>
                </a:cubicBezTo>
                <a:cubicBezTo>
                  <a:pt x="3453" y="1322"/>
                  <a:pt x="3452" y="1322"/>
                  <a:pt x="3452" y="1322"/>
                </a:cubicBezTo>
                <a:cubicBezTo>
                  <a:pt x="3447" y="1324"/>
                  <a:pt x="3442" y="1325"/>
                  <a:pt x="3438" y="1328"/>
                </a:cubicBezTo>
                <a:cubicBezTo>
                  <a:pt x="3434" y="1333"/>
                  <a:pt x="3431" y="1338"/>
                  <a:pt x="3431" y="1345"/>
                </a:cubicBezTo>
                <a:cubicBezTo>
                  <a:pt x="3430" y="1351"/>
                  <a:pt x="3433" y="1357"/>
                  <a:pt x="3436" y="1363"/>
                </a:cubicBezTo>
                <a:cubicBezTo>
                  <a:pt x="3436" y="1364"/>
                  <a:pt x="3437" y="1366"/>
                  <a:pt x="3437" y="1367"/>
                </a:cubicBezTo>
                <a:cubicBezTo>
                  <a:pt x="3437" y="1368"/>
                  <a:pt x="3436" y="1370"/>
                  <a:pt x="3436" y="1371"/>
                </a:cubicBezTo>
                <a:cubicBezTo>
                  <a:pt x="3435" y="1373"/>
                  <a:pt x="3436" y="1374"/>
                  <a:pt x="3437" y="1374"/>
                </a:cubicBezTo>
                <a:cubicBezTo>
                  <a:pt x="3440" y="1375"/>
                  <a:pt x="3443" y="1376"/>
                  <a:pt x="3445" y="1376"/>
                </a:cubicBezTo>
                <a:cubicBezTo>
                  <a:pt x="3446" y="1376"/>
                  <a:pt x="3447" y="1375"/>
                  <a:pt x="3447" y="1375"/>
                </a:cubicBezTo>
                <a:cubicBezTo>
                  <a:pt x="3447" y="1374"/>
                  <a:pt x="3447" y="1372"/>
                  <a:pt x="3448" y="1371"/>
                </a:cubicBezTo>
                <a:cubicBezTo>
                  <a:pt x="3450" y="1369"/>
                  <a:pt x="3450" y="1366"/>
                  <a:pt x="3450" y="1363"/>
                </a:cubicBezTo>
                <a:cubicBezTo>
                  <a:pt x="3450" y="1363"/>
                  <a:pt x="3450" y="1362"/>
                  <a:pt x="3450" y="1362"/>
                </a:cubicBezTo>
                <a:cubicBezTo>
                  <a:pt x="3450" y="1362"/>
                  <a:pt x="3450" y="1362"/>
                  <a:pt x="3450" y="1361"/>
                </a:cubicBezTo>
                <a:cubicBezTo>
                  <a:pt x="3451" y="1364"/>
                  <a:pt x="3452" y="1364"/>
                  <a:pt x="3454" y="1364"/>
                </a:cubicBezTo>
                <a:cubicBezTo>
                  <a:pt x="3455" y="1364"/>
                  <a:pt x="3456" y="1364"/>
                  <a:pt x="3457" y="1364"/>
                </a:cubicBezTo>
                <a:cubicBezTo>
                  <a:pt x="3459" y="1364"/>
                  <a:pt x="3462" y="1365"/>
                  <a:pt x="3463" y="1360"/>
                </a:cubicBezTo>
                <a:cubicBezTo>
                  <a:pt x="3463" y="1363"/>
                  <a:pt x="3463" y="1364"/>
                  <a:pt x="3463" y="1365"/>
                </a:cubicBezTo>
                <a:cubicBezTo>
                  <a:pt x="3462" y="1366"/>
                  <a:pt x="3460" y="1367"/>
                  <a:pt x="3459" y="1367"/>
                </a:cubicBezTo>
                <a:cubicBezTo>
                  <a:pt x="3458" y="1368"/>
                  <a:pt x="3457" y="1370"/>
                  <a:pt x="3458" y="1370"/>
                </a:cubicBezTo>
                <a:cubicBezTo>
                  <a:pt x="3459" y="1373"/>
                  <a:pt x="3460" y="1375"/>
                  <a:pt x="3462" y="1377"/>
                </a:cubicBezTo>
                <a:cubicBezTo>
                  <a:pt x="3464" y="1378"/>
                  <a:pt x="3465" y="1378"/>
                  <a:pt x="3467" y="1376"/>
                </a:cubicBezTo>
                <a:cubicBezTo>
                  <a:pt x="3467" y="1375"/>
                  <a:pt x="3468" y="1374"/>
                  <a:pt x="3469" y="1374"/>
                </a:cubicBezTo>
                <a:cubicBezTo>
                  <a:pt x="3471" y="1372"/>
                  <a:pt x="3472" y="1371"/>
                  <a:pt x="3474" y="1370"/>
                </a:cubicBezTo>
                <a:cubicBezTo>
                  <a:pt x="3478" y="1366"/>
                  <a:pt x="3480" y="1360"/>
                  <a:pt x="3482" y="1354"/>
                </a:cubicBezTo>
                <a:cubicBezTo>
                  <a:pt x="3482" y="1353"/>
                  <a:pt x="3481" y="1353"/>
                  <a:pt x="3480" y="1352"/>
                </a:cubicBezTo>
                <a:cubicBezTo>
                  <a:pt x="3480" y="1351"/>
                  <a:pt x="3478" y="1350"/>
                  <a:pt x="3477" y="1349"/>
                </a:cubicBezTo>
                <a:close/>
                <a:moveTo>
                  <a:pt x="3430" y="1356"/>
                </a:moveTo>
                <a:cubicBezTo>
                  <a:pt x="3429" y="1357"/>
                  <a:pt x="3428" y="1357"/>
                  <a:pt x="3427" y="1359"/>
                </a:cubicBezTo>
                <a:cubicBezTo>
                  <a:pt x="3426" y="1359"/>
                  <a:pt x="3426" y="1360"/>
                  <a:pt x="3426" y="1360"/>
                </a:cubicBezTo>
                <a:cubicBezTo>
                  <a:pt x="3426" y="1363"/>
                  <a:pt x="3430" y="1368"/>
                  <a:pt x="3433" y="1367"/>
                </a:cubicBezTo>
                <a:cubicBezTo>
                  <a:pt x="3435" y="1367"/>
                  <a:pt x="3436" y="1366"/>
                  <a:pt x="3435" y="1364"/>
                </a:cubicBezTo>
                <a:cubicBezTo>
                  <a:pt x="3433" y="1361"/>
                  <a:pt x="3432" y="1359"/>
                  <a:pt x="3430" y="1356"/>
                </a:cubicBezTo>
                <a:close/>
                <a:moveTo>
                  <a:pt x="3483" y="1358"/>
                </a:moveTo>
                <a:cubicBezTo>
                  <a:pt x="3480" y="1362"/>
                  <a:pt x="3478" y="1367"/>
                  <a:pt x="3476" y="1371"/>
                </a:cubicBezTo>
                <a:cubicBezTo>
                  <a:pt x="3478" y="1371"/>
                  <a:pt x="3481" y="1372"/>
                  <a:pt x="3484" y="1371"/>
                </a:cubicBezTo>
                <a:cubicBezTo>
                  <a:pt x="3484" y="1371"/>
                  <a:pt x="3484" y="1370"/>
                  <a:pt x="3484" y="1370"/>
                </a:cubicBezTo>
                <a:cubicBezTo>
                  <a:pt x="3484" y="1367"/>
                  <a:pt x="3484" y="1364"/>
                  <a:pt x="3484" y="1362"/>
                </a:cubicBezTo>
                <a:cubicBezTo>
                  <a:pt x="3484" y="1360"/>
                  <a:pt x="3483" y="1359"/>
                  <a:pt x="3483" y="1358"/>
                </a:cubicBezTo>
                <a:close/>
                <a:moveTo>
                  <a:pt x="3430" y="1338"/>
                </a:moveTo>
                <a:cubicBezTo>
                  <a:pt x="3429" y="1338"/>
                  <a:pt x="3429" y="1338"/>
                  <a:pt x="3428" y="1338"/>
                </a:cubicBezTo>
                <a:cubicBezTo>
                  <a:pt x="3427" y="1338"/>
                  <a:pt x="3427" y="1338"/>
                  <a:pt x="3427" y="1338"/>
                </a:cubicBezTo>
                <a:cubicBezTo>
                  <a:pt x="3426" y="1338"/>
                  <a:pt x="3426" y="1337"/>
                  <a:pt x="3426" y="1336"/>
                </a:cubicBezTo>
                <a:cubicBezTo>
                  <a:pt x="3427" y="1334"/>
                  <a:pt x="3427" y="1332"/>
                  <a:pt x="3428" y="1330"/>
                </a:cubicBezTo>
                <a:cubicBezTo>
                  <a:pt x="3427" y="1330"/>
                  <a:pt x="3427" y="1330"/>
                  <a:pt x="3427" y="1330"/>
                </a:cubicBezTo>
                <a:cubicBezTo>
                  <a:pt x="3426" y="1331"/>
                  <a:pt x="3425" y="1332"/>
                  <a:pt x="3424" y="1333"/>
                </a:cubicBezTo>
                <a:cubicBezTo>
                  <a:pt x="3424" y="1334"/>
                  <a:pt x="3425" y="1339"/>
                  <a:pt x="3427" y="1340"/>
                </a:cubicBezTo>
                <a:cubicBezTo>
                  <a:pt x="3428" y="1341"/>
                  <a:pt x="3430" y="1340"/>
                  <a:pt x="3430" y="1338"/>
                </a:cubicBezTo>
                <a:close/>
                <a:moveTo>
                  <a:pt x="3430" y="1355"/>
                </a:moveTo>
                <a:cubicBezTo>
                  <a:pt x="3430" y="1356"/>
                  <a:pt x="3428" y="1357"/>
                  <a:pt x="3427" y="1358"/>
                </a:cubicBezTo>
                <a:cubicBezTo>
                  <a:pt x="3426" y="1359"/>
                  <a:pt x="3426" y="1359"/>
                  <a:pt x="3426" y="1360"/>
                </a:cubicBezTo>
                <a:cubicBezTo>
                  <a:pt x="3426" y="1363"/>
                  <a:pt x="3430" y="1367"/>
                  <a:pt x="3433" y="1367"/>
                </a:cubicBezTo>
                <a:cubicBezTo>
                  <a:pt x="3435" y="1367"/>
                  <a:pt x="3436" y="1366"/>
                  <a:pt x="3435" y="1364"/>
                </a:cubicBezTo>
                <a:cubicBezTo>
                  <a:pt x="3433" y="1361"/>
                  <a:pt x="3432" y="1358"/>
                  <a:pt x="3430" y="1355"/>
                </a:cubicBezTo>
                <a:close/>
                <a:moveTo>
                  <a:pt x="3483" y="1357"/>
                </a:moveTo>
                <a:cubicBezTo>
                  <a:pt x="3481" y="1362"/>
                  <a:pt x="3478" y="1366"/>
                  <a:pt x="3476" y="1371"/>
                </a:cubicBezTo>
                <a:cubicBezTo>
                  <a:pt x="3479" y="1371"/>
                  <a:pt x="3481" y="1371"/>
                  <a:pt x="3484" y="1371"/>
                </a:cubicBezTo>
                <a:cubicBezTo>
                  <a:pt x="3484" y="1371"/>
                  <a:pt x="3485" y="1370"/>
                  <a:pt x="3485" y="1369"/>
                </a:cubicBezTo>
                <a:cubicBezTo>
                  <a:pt x="3485" y="1366"/>
                  <a:pt x="3485" y="1364"/>
                  <a:pt x="3484" y="1362"/>
                </a:cubicBezTo>
                <a:cubicBezTo>
                  <a:pt x="3484" y="1360"/>
                  <a:pt x="3483" y="1359"/>
                  <a:pt x="3483" y="1357"/>
                </a:cubicBezTo>
                <a:close/>
                <a:moveTo>
                  <a:pt x="3430" y="1337"/>
                </a:moveTo>
                <a:cubicBezTo>
                  <a:pt x="3430" y="1338"/>
                  <a:pt x="3429" y="1338"/>
                  <a:pt x="3428" y="1338"/>
                </a:cubicBezTo>
                <a:cubicBezTo>
                  <a:pt x="3428" y="1338"/>
                  <a:pt x="3427" y="1338"/>
                  <a:pt x="3427" y="1338"/>
                </a:cubicBezTo>
                <a:cubicBezTo>
                  <a:pt x="3426" y="1337"/>
                  <a:pt x="3426" y="1337"/>
                  <a:pt x="3426" y="1336"/>
                </a:cubicBezTo>
                <a:cubicBezTo>
                  <a:pt x="3427" y="1334"/>
                  <a:pt x="3427" y="1332"/>
                  <a:pt x="3428" y="1330"/>
                </a:cubicBezTo>
                <a:cubicBezTo>
                  <a:pt x="3428" y="1330"/>
                  <a:pt x="3428" y="1330"/>
                  <a:pt x="3427" y="1330"/>
                </a:cubicBezTo>
                <a:cubicBezTo>
                  <a:pt x="3426" y="1331"/>
                  <a:pt x="3425" y="1332"/>
                  <a:pt x="3424" y="1333"/>
                </a:cubicBezTo>
                <a:cubicBezTo>
                  <a:pt x="3424" y="1334"/>
                  <a:pt x="3425" y="1339"/>
                  <a:pt x="3427" y="1340"/>
                </a:cubicBezTo>
                <a:cubicBezTo>
                  <a:pt x="3428" y="1341"/>
                  <a:pt x="3430" y="1339"/>
                  <a:pt x="3430" y="1337"/>
                </a:cubicBezTo>
                <a:close/>
                <a:moveTo>
                  <a:pt x="3482" y="1329"/>
                </a:moveTo>
                <a:cubicBezTo>
                  <a:pt x="3485" y="1325"/>
                  <a:pt x="3485" y="1325"/>
                  <a:pt x="3490" y="1324"/>
                </a:cubicBezTo>
                <a:cubicBezTo>
                  <a:pt x="3490" y="1326"/>
                  <a:pt x="3491" y="1327"/>
                  <a:pt x="3492" y="1327"/>
                </a:cubicBezTo>
                <a:cubicBezTo>
                  <a:pt x="3490" y="1329"/>
                  <a:pt x="3488" y="1330"/>
                  <a:pt x="3486" y="1331"/>
                </a:cubicBezTo>
                <a:cubicBezTo>
                  <a:pt x="3485" y="1331"/>
                  <a:pt x="3485" y="1330"/>
                  <a:pt x="3484" y="1329"/>
                </a:cubicBezTo>
                <a:cubicBezTo>
                  <a:pt x="3483" y="1329"/>
                  <a:pt x="3483" y="1329"/>
                  <a:pt x="3482" y="1329"/>
                </a:cubicBezTo>
                <a:close/>
                <a:moveTo>
                  <a:pt x="3488" y="1329"/>
                </a:moveTo>
                <a:cubicBezTo>
                  <a:pt x="3487" y="1328"/>
                  <a:pt x="3487" y="1328"/>
                  <a:pt x="3486" y="1328"/>
                </a:cubicBezTo>
                <a:cubicBezTo>
                  <a:pt x="3486" y="1328"/>
                  <a:pt x="3485" y="1329"/>
                  <a:pt x="3485" y="1329"/>
                </a:cubicBezTo>
                <a:cubicBezTo>
                  <a:pt x="3485" y="1329"/>
                  <a:pt x="3485" y="1330"/>
                  <a:pt x="3486" y="1330"/>
                </a:cubicBezTo>
                <a:cubicBezTo>
                  <a:pt x="3487" y="1330"/>
                  <a:pt x="3487" y="1329"/>
                  <a:pt x="3488" y="1329"/>
                </a:cubicBezTo>
                <a:close/>
                <a:moveTo>
                  <a:pt x="3470" y="1319"/>
                </a:moveTo>
                <a:cubicBezTo>
                  <a:pt x="3463" y="1318"/>
                  <a:pt x="3460" y="1321"/>
                  <a:pt x="3459" y="1329"/>
                </a:cubicBezTo>
                <a:cubicBezTo>
                  <a:pt x="3460" y="1327"/>
                  <a:pt x="3461" y="1324"/>
                  <a:pt x="3462" y="1322"/>
                </a:cubicBezTo>
                <a:cubicBezTo>
                  <a:pt x="3463" y="1322"/>
                  <a:pt x="3463" y="1322"/>
                  <a:pt x="3463" y="1322"/>
                </a:cubicBezTo>
                <a:cubicBezTo>
                  <a:pt x="3463" y="1323"/>
                  <a:pt x="3463" y="1324"/>
                  <a:pt x="3463" y="1325"/>
                </a:cubicBezTo>
                <a:cubicBezTo>
                  <a:pt x="3464" y="1322"/>
                  <a:pt x="3466" y="1320"/>
                  <a:pt x="3470" y="1319"/>
                </a:cubicBezTo>
                <a:close/>
                <a:moveTo>
                  <a:pt x="3513" y="1321"/>
                </a:moveTo>
                <a:cubicBezTo>
                  <a:pt x="3511" y="1322"/>
                  <a:pt x="3509" y="1324"/>
                  <a:pt x="3508" y="1325"/>
                </a:cubicBezTo>
                <a:cubicBezTo>
                  <a:pt x="3510" y="1325"/>
                  <a:pt x="3512" y="1324"/>
                  <a:pt x="3513" y="1321"/>
                </a:cubicBezTo>
                <a:close/>
                <a:moveTo>
                  <a:pt x="3480" y="1323"/>
                </a:moveTo>
                <a:cubicBezTo>
                  <a:pt x="3481" y="1322"/>
                  <a:pt x="3482" y="1320"/>
                  <a:pt x="3483" y="1319"/>
                </a:cubicBezTo>
                <a:cubicBezTo>
                  <a:pt x="3480" y="1320"/>
                  <a:pt x="3479" y="1321"/>
                  <a:pt x="3480" y="1323"/>
                </a:cubicBezTo>
                <a:close/>
                <a:moveTo>
                  <a:pt x="3489" y="1344"/>
                </a:moveTo>
                <a:cubicBezTo>
                  <a:pt x="3488" y="1344"/>
                  <a:pt x="3487" y="1345"/>
                  <a:pt x="3487" y="1346"/>
                </a:cubicBezTo>
                <a:cubicBezTo>
                  <a:pt x="3487" y="1345"/>
                  <a:pt x="3489" y="1345"/>
                  <a:pt x="3489" y="1344"/>
                </a:cubicBezTo>
                <a:close/>
                <a:moveTo>
                  <a:pt x="3488" y="1329"/>
                </a:moveTo>
                <a:cubicBezTo>
                  <a:pt x="3488" y="1328"/>
                  <a:pt x="3487" y="1328"/>
                  <a:pt x="3486" y="1328"/>
                </a:cubicBezTo>
                <a:cubicBezTo>
                  <a:pt x="3486" y="1328"/>
                  <a:pt x="3485" y="1329"/>
                  <a:pt x="3485" y="1329"/>
                </a:cubicBezTo>
                <a:cubicBezTo>
                  <a:pt x="3485" y="1329"/>
                  <a:pt x="3486" y="1330"/>
                  <a:pt x="3486" y="1330"/>
                </a:cubicBezTo>
                <a:cubicBezTo>
                  <a:pt x="3487" y="1330"/>
                  <a:pt x="3487" y="1329"/>
                  <a:pt x="3488" y="1329"/>
                </a:cubicBezTo>
                <a:close/>
                <a:moveTo>
                  <a:pt x="3036" y="1210"/>
                </a:moveTo>
                <a:cubicBezTo>
                  <a:pt x="3036" y="1210"/>
                  <a:pt x="3036" y="1210"/>
                  <a:pt x="3036" y="1210"/>
                </a:cubicBezTo>
                <a:cubicBezTo>
                  <a:pt x="3031" y="1210"/>
                  <a:pt x="3031" y="1210"/>
                  <a:pt x="3031" y="1210"/>
                </a:cubicBezTo>
                <a:cubicBezTo>
                  <a:pt x="3029" y="1212"/>
                  <a:pt x="3028" y="1213"/>
                  <a:pt x="3025" y="1214"/>
                </a:cubicBezTo>
                <a:cubicBezTo>
                  <a:pt x="3024" y="1216"/>
                  <a:pt x="3022" y="1216"/>
                  <a:pt x="3020" y="1217"/>
                </a:cubicBezTo>
                <a:cubicBezTo>
                  <a:pt x="3019" y="1218"/>
                  <a:pt x="3017" y="1219"/>
                  <a:pt x="3015" y="1220"/>
                </a:cubicBezTo>
                <a:cubicBezTo>
                  <a:pt x="3013" y="1221"/>
                  <a:pt x="3012" y="1221"/>
                  <a:pt x="3009" y="1221"/>
                </a:cubicBezTo>
                <a:cubicBezTo>
                  <a:pt x="3009" y="1221"/>
                  <a:pt x="3009" y="1221"/>
                  <a:pt x="3009" y="1232"/>
                </a:cubicBezTo>
                <a:cubicBezTo>
                  <a:pt x="3012" y="1231"/>
                  <a:pt x="3015" y="1230"/>
                  <a:pt x="3017" y="1229"/>
                </a:cubicBezTo>
                <a:cubicBezTo>
                  <a:pt x="3020" y="1228"/>
                  <a:pt x="3023" y="1226"/>
                  <a:pt x="3025" y="1225"/>
                </a:cubicBezTo>
                <a:cubicBezTo>
                  <a:pt x="3025" y="1225"/>
                  <a:pt x="3025" y="1225"/>
                  <a:pt x="3025" y="1284"/>
                </a:cubicBezTo>
                <a:cubicBezTo>
                  <a:pt x="3025" y="1284"/>
                  <a:pt x="3025" y="1284"/>
                  <a:pt x="3036" y="1284"/>
                </a:cubicBezTo>
                <a:cubicBezTo>
                  <a:pt x="3036" y="1284"/>
                  <a:pt x="3036" y="1284"/>
                  <a:pt x="3036" y="1210"/>
                </a:cubicBezTo>
                <a:close/>
                <a:moveTo>
                  <a:pt x="3083" y="1210"/>
                </a:moveTo>
                <a:cubicBezTo>
                  <a:pt x="3083" y="1210"/>
                  <a:pt x="3083" y="1210"/>
                  <a:pt x="3083" y="1210"/>
                </a:cubicBezTo>
                <a:cubicBezTo>
                  <a:pt x="3078" y="1210"/>
                  <a:pt x="3078" y="1210"/>
                  <a:pt x="3078" y="1210"/>
                </a:cubicBezTo>
                <a:cubicBezTo>
                  <a:pt x="3077" y="1212"/>
                  <a:pt x="3075" y="1213"/>
                  <a:pt x="3073" y="1214"/>
                </a:cubicBezTo>
                <a:cubicBezTo>
                  <a:pt x="3071" y="1216"/>
                  <a:pt x="3070" y="1216"/>
                  <a:pt x="3067" y="1217"/>
                </a:cubicBezTo>
                <a:cubicBezTo>
                  <a:pt x="3066" y="1218"/>
                  <a:pt x="3064" y="1219"/>
                  <a:pt x="3062" y="1220"/>
                </a:cubicBezTo>
                <a:cubicBezTo>
                  <a:pt x="3060" y="1221"/>
                  <a:pt x="3059" y="1221"/>
                  <a:pt x="3056" y="1221"/>
                </a:cubicBezTo>
                <a:cubicBezTo>
                  <a:pt x="3056" y="1221"/>
                  <a:pt x="3056" y="1221"/>
                  <a:pt x="3056" y="1232"/>
                </a:cubicBezTo>
                <a:cubicBezTo>
                  <a:pt x="3059" y="1231"/>
                  <a:pt x="3062" y="1230"/>
                  <a:pt x="3065" y="1229"/>
                </a:cubicBezTo>
                <a:cubicBezTo>
                  <a:pt x="3067" y="1228"/>
                  <a:pt x="3070" y="1226"/>
                  <a:pt x="3072" y="1225"/>
                </a:cubicBezTo>
                <a:cubicBezTo>
                  <a:pt x="3072" y="1225"/>
                  <a:pt x="3072" y="1225"/>
                  <a:pt x="3072" y="1284"/>
                </a:cubicBezTo>
                <a:cubicBezTo>
                  <a:pt x="3072" y="1284"/>
                  <a:pt x="3072" y="1284"/>
                  <a:pt x="3083" y="1284"/>
                </a:cubicBezTo>
                <a:cubicBezTo>
                  <a:pt x="3083" y="1284"/>
                  <a:pt x="3083" y="1284"/>
                  <a:pt x="3083" y="1210"/>
                </a:cubicBezTo>
                <a:close/>
                <a:moveTo>
                  <a:pt x="3129" y="1210"/>
                </a:moveTo>
                <a:cubicBezTo>
                  <a:pt x="3129" y="1210"/>
                  <a:pt x="3129" y="1210"/>
                  <a:pt x="3129" y="1210"/>
                </a:cubicBezTo>
                <a:cubicBezTo>
                  <a:pt x="3125" y="1210"/>
                  <a:pt x="3125" y="1210"/>
                  <a:pt x="3125" y="1210"/>
                </a:cubicBezTo>
                <a:cubicBezTo>
                  <a:pt x="3122" y="1212"/>
                  <a:pt x="3121" y="1213"/>
                  <a:pt x="3119" y="1214"/>
                </a:cubicBezTo>
                <a:cubicBezTo>
                  <a:pt x="3117" y="1216"/>
                  <a:pt x="3115" y="1216"/>
                  <a:pt x="3114" y="1217"/>
                </a:cubicBezTo>
                <a:cubicBezTo>
                  <a:pt x="3112" y="1218"/>
                  <a:pt x="3110" y="1218"/>
                  <a:pt x="3108" y="1219"/>
                </a:cubicBezTo>
                <a:cubicBezTo>
                  <a:pt x="3107" y="1220"/>
                  <a:pt x="3104" y="1221"/>
                  <a:pt x="3103" y="1221"/>
                </a:cubicBezTo>
                <a:cubicBezTo>
                  <a:pt x="3103" y="1221"/>
                  <a:pt x="3103" y="1221"/>
                  <a:pt x="3103" y="1232"/>
                </a:cubicBezTo>
                <a:cubicBezTo>
                  <a:pt x="3106" y="1231"/>
                  <a:pt x="3109" y="1229"/>
                  <a:pt x="3111" y="1229"/>
                </a:cubicBezTo>
                <a:cubicBezTo>
                  <a:pt x="3113" y="1228"/>
                  <a:pt x="3116" y="1226"/>
                  <a:pt x="3117" y="1225"/>
                </a:cubicBezTo>
                <a:cubicBezTo>
                  <a:pt x="3117" y="1225"/>
                  <a:pt x="3117" y="1225"/>
                  <a:pt x="3117" y="1284"/>
                </a:cubicBezTo>
                <a:cubicBezTo>
                  <a:pt x="3117" y="1284"/>
                  <a:pt x="3117" y="1284"/>
                  <a:pt x="3129" y="1284"/>
                </a:cubicBezTo>
                <a:cubicBezTo>
                  <a:pt x="3129" y="1284"/>
                  <a:pt x="3129" y="1284"/>
                  <a:pt x="3129" y="1210"/>
                </a:cubicBezTo>
                <a:close/>
                <a:moveTo>
                  <a:pt x="3266" y="1243"/>
                </a:moveTo>
                <a:cubicBezTo>
                  <a:pt x="3266" y="1243"/>
                  <a:pt x="3266" y="1243"/>
                  <a:pt x="3266" y="1243"/>
                </a:cubicBezTo>
                <a:cubicBezTo>
                  <a:pt x="3266" y="1251"/>
                  <a:pt x="3266" y="1251"/>
                  <a:pt x="3266" y="1251"/>
                </a:cubicBezTo>
                <a:cubicBezTo>
                  <a:pt x="3272" y="1251"/>
                  <a:pt x="3273" y="1254"/>
                  <a:pt x="3273" y="1257"/>
                </a:cubicBezTo>
                <a:cubicBezTo>
                  <a:pt x="3273" y="1259"/>
                  <a:pt x="3272" y="1261"/>
                  <a:pt x="3272" y="1264"/>
                </a:cubicBezTo>
                <a:cubicBezTo>
                  <a:pt x="3272" y="1267"/>
                  <a:pt x="3272" y="1269"/>
                  <a:pt x="3272" y="1271"/>
                </a:cubicBezTo>
                <a:cubicBezTo>
                  <a:pt x="3272" y="1281"/>
                  <a:pt x="3278" y="1284"/>
                  <a:pt x="3286" y="1284"/>
                </a:cubicBezTo>
                <a:cubicBezTo>
                  <a:pt x="3286" y="1284"/>
                  <a:pt x="3286" y="1284"/>
                  <a:pt x="3290" y="1284"/>
                </a:cubicBezTo>
                <a:cubicBezTo>
                  <a:pt x="3290" y="1284"/>
                  <a:pt x="3290" y="1284"/>
                  <a:pt x="3290" y="1275"/>
                </a:cubicBezTo>
                <a:cubicBezTo>
                  <a:pt x="3290" y="1275"/>
                  <a:pt x="3290" y="1275"/>
                  <a:pt x="3288" y="1275"/>
                </a:cubicBezTo>
                <a:cubicBezTo>
                  <a:pt x="3285" y="1275"/>
                  <a:pt x="3283" y="1272"/>
                  <a:pt x="3283" y="1269"/>
                </a:cubicBezTo>
                <a:cubicBezTo>
                  <a:pt x="3283" y="1267"/>
                  <a:pt x="3283" y="1266"/>
                  <a:pt x="3284" y="1264"/>
                </a:cubicBezTo>
                <a:cubicBezTo>
                  <a:pt x="3284" y="1263"/>
                  <a:pt x="3284" y="1260"/>
                  <a:pt x="3284" y="1258"/>
                </a:cubicBezTo>
                <a:cubicBezTo>
                  <a:pt x="3284" y="1251"/>
                  <a:pt x="3281" y="1248"/>
                  <a:pt x="3276" y="1247"/>
                </a:cubicBezTo>
                <a:cubicBezTo>
                  <a:pt x="3276" y="1247"/>
                  <a:pt x="3276" y="1247"/>
                  <a:pt x="3276" y="1246"/>
                </a:cubicBezTo>
                <a:cubicBezTo>
                  <a:pt x="3281" y="1245"/>
                  <a:pt x="3284" y="1243"/>
                  <a:pt x="3284" y="1236"/>
                </a:cubicBezTo>
                <a:cubicBezTo>
                  <a:pt x="3284" y="1233"/>
                  <a:pt x="3284" y="1231"/>
                  <a:pt x="3284" y="1229"/>
                </a:cubicBezTo>
                <a:cubicBezTo>
                  <a:pt x="3283" y="1228"/>
                  <a:pt x="3283" y="1226"/>
                  <a:pt x="3283" y="1225"/>
                </a:cubicBezTo>
                <a:cubicBezTo>
                  <a:pt x="3283" y="1221"/>
                  <a:pt x="3285" y="1219"/>
                  <a:pt x="3288" y="1219"/>
                </a:cubicBezTo>
                <a:cubicBezTo>
                  <a:pt x="3288" y="1219"/>
                  <a:pt x="3288" y="1219"/>
                  <a:pt x="3290" y="1219"/>
                </a:cubicBezTo>
                <a:cubicBezTo>
                  <a:pt x="3290" y="1219"/>
                  <a:pt x="3290" y="1219"/>
                  <a:pt x="3290" y="1209"/>
                </a:cubicBezTo>
                <a:cubicBezTo>
                  <a:pt x="3290" y="1209"/>
                  <a:pt x="3290" y="1209"/>
                  <a:pt x="3286" y="1209"/>
                </a:cubicBezTo>
                <a:cubicBezTo>
                  <a:pt x="3277" y="1209"/>
                  <a:pt x="3272" y="1214"/>
                  <a:pt x="3272" y="1222"/>
                </a:cubicBezTo>
                <a:cubicBezTo>
                  <a:pt x="3272" y="1224"/>
                  <a:pt x="3272" y="1227"/>
                  <a:pt x="3272" y="1230"/>
                </a:cubicBezTo>
                <a:cubicBezTo>
                  <a:pt x="3272" y="1232"/>
                  <a:pt x="3273" y="1235"/>
                  <a:pt x="3273" y="1236"/>
                </a:cubicBezTo>
                <a:cubicBezTo>
                  <a:pt x="3273" y="1239"/>
                  <a:pt x="3272" y="1242"/>
                  <a:pt x="3266" y="1243"/>
                </a:cubicBezTo>
                <a:close/>
                <a:moveTo>
                  <a:pt x="3320" y="1251"/>
                </a:moveTo>
                <a:cubicBezTo>
                  <a:pt x="3320" y="1251"/>
                  <a:pt x="3320" y="1251"/>
                  <a:pt x="3320" y="1251"/>
                </a:cubicBezTo>
                <a:cubicBezTo>
                  <a:pt x="3320" y="1243"/>
                  <a:pt x="3320" y="1243"/>
                  <a:pt x="3320" y="1243"/>
                </a:cubicBezTo>
                <a:cubicBezTo>
                  <a:pt x="3314" y="1242"/>
                  <a:pt x="3314" y="1239"/>
                  <a:pt x="3314" y="1236"/>
                </a:cubicBezTo>
                <a:cubicBezTo>
                  <a:pt x="3314" y="1235"/>
                  <a:pt x="3314" y="1232"/>
                  <a:pt x="3314" y="1230"/>
                </a:cubicBezTo>
                <a:cubicBezTo>
                  <a:pt x="3315" y="1227"/>
                  <a:pt x="3315" y="1224"/>
                  <a:pt x="3315" y="1222"/>
                </a:cubicBezTo>
                <a:cubicBezTo>
                  <a:pt x="3315" y="1214"/>
                  <a:pt x="3309" y="1209"/>
                  <a:pt x="3300" y="1209"/>
                </a:cubicBezTo>
                <a:cubicBezTo>
                  <a:pt x="3300" y="1209"/>
                  <a:pt x="3300" y="1209"/>
                  <a:pt x="3296" y="1209"/>
                </a:cubicBezTo>
                <a:cubicBezTo>
                  <a:pt x="3296" y="1209"/>
                  <a:pt x="3296" y="1209"/>
                  <a:pt x="3296" y="1219"/>
                </a:cubicBezTo>
                <a:cubicBezTo>
                  <a:pt x="3296" y="1219"/>
                  <a:pt x="3296" y="1219"/>
                  <a:pt x="3298" y="1219"/>
                </a:cubicBezTo>
                <a:cubicBezTo>
                  <a:pt x="3302" y="1219"/>
                  <a:pt x="3303" y="1221"/>
                  <a:pt x="3303" y="1225"/>
                </a:cubicBezTo>
                <a:cubicBezTo>
                  <a:pt x="3303" y="1226"/>
                  <a:pt x="3303" y="1228"/>
                  <a:pt x="3303" y="1229"/>
                </a:cubicBezTo>
                <a:cubicBezTo>
                  <a:pt x="3302" y="1231"/>
                  <a:pt x="3302" y="1233"/>
                  <a:pt x="3302" y="1236"/>
                </a:cubicBezTo>
                <a:cubicBezTo>
                  <a:pt x="3302" y="1243"/>
                  <a:pt x="3305" y="1245"/>
                  <a:pt x="3311" y="1246"/>
                </a:cubicBezTo>
                <a:cubicBezTo>
                  <a:pt x="3311" y="1246"/>
                  <a:pt x="3311" y="1246"/>
                  <a:pt x="3311" y="1247"/>
                </a:cubicBezTo>
                <a:cubicBezTo>
                  <a:pt x="3305" y="1248"/>
                  <a:pt x="3302" y="1251"/>
                  <a:pt x="3302" y="1258"/>
                </a:cubicBezTo>
                <a:cubicBezTo>
                  <a:pt x="3302" y="1260"/>
                  <a:pt x="3302" y="1263"/>
                  <a:pt x="3303" y="1264"/>
                </a:cubicBezTo>
                <a:cubicBezTo>
                  <a:pt x="3303" y="1266"/>
                  <a:pt x="3303" y="1267"/>
                  <a:pt x="3303" y="1269"/>
                </a:cubicBezTo>
                <a:cubicBezTo>
                  <a:pt x="3303" y="1272"/>
                  <a:pt x="3302" y="1275"/>
                  <a:pt x="3298" y="1275"/>
                </a:cubicBezTo>
                <a:cubicBezTo>
                  <a:pt x="3298" y="1275"/>
                  <a:pt x="3298" y="1275"/>
                  <a:pt x="3296" y="1275"/>
                </a:cubicBezTo>
                <a:cubicBezTo>
                  <a:pt x="3296" y="1275"/>
                  <a:pt x="3296" y="1275"/>
                  <a:pt x="3296" y="1284"/>
                </a:cubicBezTo>
                <a:cubicBezTo>
                  <a:pt x="3296" y="1284"/>
                  <a:pt x="3296" y="1284"/>
                  <a:pt x="3300" y="1284"/>
                </a:cubicBezTo>
                <a:cubicBezTo>
                  <a:pt x="3309" y="1284"/>
                  <a:pt x="3315" y="1281"/>
                  <a:pt x="3315" y="1271"/>
                </a:cubicBezTo>
                <a:cubicBezTo>
                  <a:pt x="3315" y="1269"/>
                  <a:pt x="3315" y="1267"/>
                  <a:pt x="3314" y="1264"/>
                </a:cubicBezTo>
                <a:cubicBezTo>
                  <a:pt x="3314" y="1261"/>
                  <a:pt x="3314" y="1259"/>
                  <a:pt x="3314" y="1257"/>
                </a:cubicBezTo>
                <a:cubicBezTo>
                  <a:pt x="3314" y="1254"/>
                  <a:pt x="3314" y="1251"/>
                  <a:pt x="3320" y="1251"/>
                </a:cubicBezTo>
                <a:close/>
                <a:moveTo>
                  <a:pt x="3368" y="1210"/>
                </a:moveTo>
                <a:cubicBezTo>
                  <a:pt x="3368" y="1210"/>
                  <a:pt x="3368" y="1210"/>
                  <a:pt x="3368" y="1210"/>
                </a:cubicBezTo>
                <a:cubicBezTo>
                  <a:pt x="3362" y="1210"/>
                  <a:pt x="3362" y="1210"/>
                  <a:pt x="3362" y="1210"/>
                </a:cubicBezTo>
                <a:cubicBezTo>
                  <a:pt x="3360" y="1212"/>
                  <a:pt x="3359" y="1213"/>
                  <a:pt x="3357" y="1214"/>
                </a:cubicBezTo>
                <a:cubicBezTo>
                  <a:pt x="3355" y="1216"/>
                  <a:pt x="3353" y="1216"/>
                  <a:pt x="3352" y="1217"/>
                </a:cubicBezTo>
                <a:cubicBezTo>
                  <a:pt x="3349" y="1218"/>
                  <a:pt x="3348" y="1218"/>
                  <a:pt x="3346" y="1219"/>
                </a:cubicBezTo>
                <a:cubicBezTo>
                  <a:pt x="3344" y="1220"/>
                  <a:pt x="3343" y="1221"/>
                  <a:pt x="3341" y="1221"/>
                </a:cubicBezTo>
                <a:cubicBezTo>
                  <a:pt x="3341" y="1221"/>
                  <a:pt x="3341" y="1221"/>
                  <a:pt x="3341" y="1232"/>
                </a:cubicBezTo>
                <a:cubicBezTo>
                  <a:pt x="3344" y="1231"/>
                  <a:pt x="3346" y="1229"/>
                  <a:pt x="3349" y="1229"/>
                </a:cubicBezTo>
                <a:cubicBezTo>
                  <a:pt x="3352" y="1228"/>
                  <a:pt x="3354" y="1226"/>
                  <a:pt x="3356" y="1225"/>
                </a:cubicBezTo>
                <a:cubicBezTo>
                  <a:pt x="3356" y="1225"/>
                  <a:pt x="3356" y="1225"/>
                  <a:pt x="3356" y="1284"/>
                </a:cubicBezTo>
                <a:cubicBezTo>
                  <a:pt x="3356" y="1284"/>
                  <a:pt x="3356" y="1284"/>
                  <a:pt x="3368" y="1284"/>
                </a:cubicBezTo>
                <a:cubicBezTo>
                  <a:pt x="3368" y="1284"/>
                  <a:pt x="3368" y="1284"/>
                  <a:pt x="3368" y="1210"/>
                </a:cubicBezTo>
                <a:close/>
                <a:moveTo>
                  <a:pt x="3414" y="1210"/>
                </a:moveTo>
                <a:cubicBezTo>
                  <a:pt x="3414" y="1210"/>
                  <a:pt x="3414" y="1210"/>
                  <a:pt x="3414" y="1210"/>
                </a:cubicBezTo>
                <a:cubicBezTo>
                  <a:pt x="3409" y="1210"/>
                  <a:pt x="3409" y="1210"/>
                  <a:pt x="3409" y="1210"/>
                </a:cubicBezTo>
                <a:cubicBezTo>
                  <a:pt x="3407" y="1212"/>
                  <a:pt x="3405" y="1213"/>
                  <a:pt x="3403" y="1214"/>
                </a:cubicBezTo>
                <a:cubicBezTo>
                  <a:pt x="3402" y="1216"/>
                  <a:pt x="3400" y="1216"/>
                  <a:pt x="3398" y="1217"/>
                </a:cubicBezTo>
                <a:cubicBezTo>
                  <a:pt x="3397" y="1218"/>
                  <a:pt x="3394" y="1219"/>
                  <a:pt x="3393" y="1220"/>
                </a:cubicBezTo>
                <a:cubicBezTo>
                  <a:pt x="3391" y="1221"/>
                  <a:pt x="3389" y="1221"/>
                  <a:pt x="3387" y="1221"/>
                </a:cubicBezTo>
                <a:cubicBezTo>
                  <a:pt x="3387" y="1221"/>
                  <a:pt x="3387" y="1221"/>
                  <a:pt x="3387" y="1232"/>
                </a:cubicBezTo>
                <a:cubicBezTo>
                  <a:pt x="3390" y="1231"/>
                  <a:pt x="3393" y="1230"/>
                  <a:pt x="3395" y="1229"/>
                </a:cubicBezTo>
                <a:cubicBezTo>
                  <a:pt x="3398" y="1228"/>
                  <a:pt x="3400" y="1226"/>
                  <a:pt x="3402" y="1225"/>
                </a:cubicBezTo>
                <a:cubicBezTo>
                  <a:pt x="3402" y="1225"/>
                  <a:pt x="3402" y="1225"/>
                  <a:pt x="3402" y="1284"/>
                </a:cubicBezTo>
                <a:cubicBezTo>
                  <a:pt x="3402" y="1284"/>
                  <a:pt x="3402" y="1284"/>
                  <a:pt x="3414" y="1284"/>
                </a:cubicBezTo>
                <a:cubicBezTo>
                  <a:pt x="3414" y="1284"/>
                  <a:pt x="3414" y="1284"/>
                  <a:pt x="3414" y="1210"/>
                </a:cubicBezTo>
                <a:close/>
                <a:moveTo>
                  <a:pt x="3460" y="1210"/>
                </a:moveTo>
                <a:cubicBezTo>
                  <a:pt x="3460" y="1210"/>
                  <a:pt x="3460" y="1210"/>
                  <a:pt x="3460" y="1210"/>
                </a:cubicBezTo>
                <a:cubicBezTo>
                  <a:pt x="3455" y="1210"/>
                  <a:pt x="3455" y="1210"/>
                  <a:pt x="3455" y="1210"/>
                </a:cubicBezTo>
                <a:cubicBezTo>
                  <a:pt x="3453" y="1212"/>
                  <a:pt x="3452" y="1213"/>
                  <a:pt x="3450" y="1214"/>
                </a:cubicBezTo>
                <a:cubicBezTo>
                  <a:pt x="3448" y="1216"/>
                  <a:pt x="3446" y="1216"/>
                  <a:pt x="3445" y="1217"/>
                </a:cubicBezTo>
                <a:cubicBezTo>
                  <a:pt x="3442" y="1218"/>
                  <a:pt x="3441" y="1219"/>
                  <a:pt x="3439" y="1220"/>
                </a:cubicBezTo>
                <a:cubicBezTo>
                  <a:pt x="3437" y="1221"/>
                  <a:pt x="3435" y="1221"/>
                  <a:pt x="3434" y="1221"/>
                </a:cubicBezTo>
                <a:cubicBezTo>
                  <a:pt x="3434" y="1221"/>
                  <a:pt x="3434" y="1221"/>
                  <a:pt x="3434" y="1232"/>
                </a:cubicBezTo>
                <a:cubicBezTo>
                  <a:pt x="3437" y="1231"/>
                  <a:pt x="3440" y="1230"/>
                  <a:pt x="3442" y="1229"/>
                </a:cubicBezTo>
                <a:cubicBezTo>
                  <a:pt x="3444" y="1228"/>
                  <a:pt x="3447" y="1226"/>
                  <a:pt x="3448" y="1225"/>
                </a:cubicBezTo>
                <a:cubicBezTo>
                  <a:pt x="3448" y="1225"/>
                  <a:pt x="3448" y="1225"/>
                  <a:pt x="3448" y="1284"/>
                </a:cubicBezTo>
                <a:cubicBezTo>
                  <a:pt x="3448" y="1284"/>
                  <a:pt x="3448" y="1284"/>
                  <a:pt x="3460" y="1284"/>
                </a:cubicBezTo>
                <a:cubicBezTo>
                  <a:pt x="3460" y="1284"/>
                  <a:pt x="3460" y="1284"/>
                  <a:pt x="3460" y="1210"/>
                </a:cubicBezTo>
                <a:close/>
                <a:moveTo>
                  <a:pt x="3209" y="1258"/>
                </a:moveTo>
                <a:cubicBezTo>
                  <a:pt x="3210" y="1259"/>
                  <a:pt x="3210" y="1261"/>
                  <a:pt x="3211" y="1262"/>
                </a:cubicBezTo>
                <a:cubicBezTo>
                  <a:pt x="3211" y="1264"/>
                  <a:pt x="3211" y="1266"/>
                  <a:pt x="3212" y="1267"/>
                </a:cubicBezTo>
                <a:cubicBezTo>
                  <a:pt x="3212" y="1269"/>
                  <a:pt x="3212" y="1270"/>
                  <a:pt x="3212" y="1272"/>
                </a:cubicBezTo>
                <a:cubicBezTo>
                  <a:pt x="3213" y="1275"/>
                  <a:pt x="3212" y="1277"/>
                  <a:pt x="3209" y="1277"/>
                </a:cubicBezTo>
                <a:cubicBezTo>
                  <a:pt x="3206" y="1277"/>
                  <a:pt x="3203" y="1276"/>
                  <a:pt x="3201" y="1276"/>
                </a:cubicBezTo>
                <a:cubicBezTo>
                  <a:pt x="3200" y="1276"/>
                  <a:pt x="3199" y="1276"/>
                  <a:pt x="3199" y="1277"/>
                </a:cubicBezTo>
                <a:cubicBezTo>
                  <a:pt x="3197" y="1278"/>
                  <a:pt x="3196" y="1280"/>
                  <a:pt x="3195" y="1281"/>
                </a:cubicBezTo>
                <a:cubicBezTo>
                  <a:pt x="3193" y="1283"/>
                  <a:pt x="3190" y="1284"/>
                  <a:pt x="3187" y="1282"/>
                </a:cubicBezTo>
                <a:cubicBezTo>
                  <a:pt x="3185" y="1280"/>
                  <a:pt x="3184" y="1277"/>
                  <a:pt x="3182" y="1274"/>
                </a:cubicBezTo>
                <a:cubicBezTo>
                  <a:pt x="3182" y="1273"/>
                  <a:pt x="3182" y="1271"/>
                  <a:pt x="3184" y="1270"/>
                </a:cubicBezTo>
                <a:cubicBezTo>
                  <a:pt x="3182" y="1270"/>
                  <a:pt x="3180" y="1270"/>
                  <a:pt x="3179" y="1270"/>
                </a:cubicBezTo>
                <a:cubicBezTo>
                  <a:pt x="3178" y="1272"/>
                  <a:pt x="3177" y="1274"/>
                  <a:pt x="3176" y="1276"/>
                </a:cubicBezTo>
                <a:cubicBezTo>
                  <a:pt x="3176" y="1276"/>
                  <a:pt x="3175" y="1277"/>
                  <a:pt x="3175" y="1278"/>
                </a:cubicBezTo>
                <a:cubicBezTo>
                  <a:pt x="3175" y="1281"/>
                  <a:pt x="3174" y="1282"/>
                  <a:pt x="3171" y="1282"/>
                </a:cubicBezTo>
                <a:cubicBezTo>
                  <a:pt x="3168" y="1282"/>
                  <a:pt x="3165" y="1281"/>
                  <a:pt x="3162" y="1280"/>
                </a:cubicBezTo>
                <a:cubicBezTo>
                  <a:pt x="3160" y="1279"/>
                  <a:pt x="3160" y="1278"/>
                  <a:pt x="3160" y="1276"/>
                </a:cubicBezTo>
                <a:cubicBezTo>
                  <a:pt x="3161" y="1275"/>
                  <a:pt x="3161" y="1274"/>
                  <a:pt x="3161" y="1274"/>
                </a:cubicBezTo>
                <a:cubicBezTo>
                  <a:pt x="3159" y="1273"/>
                  <a:pt x="3156" y="1272"/>
                  <a:pt x="3154" y="1270"/>
                </a:cubicBezTo>
                <a:cubicBezTo>
                  <a:pt x="3153" y="1270"/>
                  <a:pt x="3152" y="1268"/>
                  <a:pt x="3151" y="1266"/>
                </a:cubicBezTo>
                <a:cubicBezTo>
                  <a:pt x="3150" y="1264"/>
                  <a:pt x="3150" y="1263"/>
                  <a:pt x="3152" y="1261"/>
                </a:cubicBezTo>
                <a:cubicBezTo>
                  <a:pt x="3155" y="1259"/>
                  <a:pt x="3156" y="1256"/>
                  <a:pt x="3155" y="1252"/>
                </a:cubicBezTo>
                <a:cubicBezTo>
                  <a:pt x="3155" y="1250"/>
                  <a:pt x="3155" y="1247"/>
                  <a:pt x="3155" y="1246"/>
                </a:cubicBezTo>
                <a:cubicBezTo>
                  <a:pt x="3154" y="1245"/>
                  <a:pt x="3152" y="1245"/>
                  <a:pt x="3151" y="1244"/>
                </a:cubicBezTo>
                <a:cubicBezTo>
                  <a:pt x="3150" y="1242"/>
                  <a:pt x="3150" y="1240"/>
                  <a:pt x="3150" y="1238"/>
                </a:cubicBezTo>
                <a:cubicBezTo>
                  <a:pt x="3149" y="1235"/>
                  <a:pt x="3153" y="1232"/>
                  <a:pt x="3155" y="1232"/>
                </a:cubicBezTo>
                <a:cubicBezTo>
                  <a:pt x="3156" y="1232"/>
                  <a:pt x="3156" y="1233"/>
                  <a:pt x="3156" y="1234"/>
                </a:cubicBezTo>
                <a:cubicBezTo>
                  <a:pt x="3156" y="1235"/>
                  <a:pt x="3156" y="1236"/>
                  <a:pt x="3157" y="1237"/>
                </a:cubicBezTo>
                <a:cubicBezTo>
                  <a:pt x="3156" y="1237"/>
                  <a:pt x="3155" y="1237"/>
                  <a:pt x="3155" y="1237"/>
                </a:cubicBezTo>
                <a:cubicBezTo>
                  <a:pt x="3155" y="1238"/>
                  <a:pt x="3154" y="1239"/>
                  <a:pt x="3153" y="1241"/>
                </a:cubicBezTo>
                <a:cubicBezTo>
                  <a:pt x="3155" y="1241"/>
                  <a:pt x="3155" y="1241"/>
                  <a:pt x="3156" y="1240"/>
                </a:cubicBezTo>
                <a:cubicBezTo>
                  <a:pt x="3157" y="1239"/>
                  <a:pt x="3158" y="1238"/>
                  <a:pt x="3159" y="1237"/>
                </a:cubicBezTo>
                <a:cubicBezTo>
                  <a:pt x="3163" y="1230"/>
                  <a:pt x="3169" y="1226"/>
                  <a:pt x="3177" y="1225"/>
                </a:cubicBezTo>
                <a:cubicBezTo>
                  <a:pt x="3180" y="1224"/>
                  <a:pt x="3183" y="1223"/>
                  <a:pt x="3185" y="1221"/>
                </a:cubicBezTo>
                <a:cubicBezTo>
                  <a:pt x="3185" y="1220"/>
                  <a:pt x="3186" y="1220"/>
                  <a:pt x="3186" y="1220"/>
                </a:cubicBezTo>
                <a:cubicBezTo>
                  <a:pt x="3189" y="1219"/>
                  <a:pt x="3191" y="1217"/>
                  <a:pt x="3193" y="1215"/>
                </a:cubicBezTo>
                <a:cubicBezTo>
                  <a:pt x="3200" y="1207"/>
                  <a:pt x="3212" y="1207"/>
                  <a:pt x="3220" y="1214"/>
                </a:cubicBezTo>
                <a:cubicBezTo>
                  <a:pt x="3222" y="1216"/>
                  <a:pt x="3225" y="1218"/>
                  <a:pt x="3227" y="1220"/>
                </a:cubicBezTo>
                <a:cubicBezTo>
                  <a:pt x="3229" y="1221"/>
                  <a:pt x="3230" y="1223"/>
                  <a:pt x="3231" y="1224"/>
                </a:cubicBezTo>
                <a:cubicBezTo>
                  <a:pt x="3232" y="1226"/>
                  <a:pt x="3233" y="1226"/>
                  <a:pt x="3234" y="1225"/>
                </a:cubicBezTo>
                <a:cubicBezTo>
                  <a:pt x="3235" y="1224"/>
                  <a:pt x="3235" y="1224"/>
                  <a:pt x="3236" y="1223"/>
                </a:cubicBezTo>
                <a:cubicBezTo>
                  <a:pt x="3238" y="1220"/>
                  <a:pt x="3241" y="1220"/>
                  <a:pt x="3242" y="1223"/>
                </a:cubicBezTo>
                <a:cubicBezTo>
                  <a:pt x="3244" y="1226"/>
                  <a:pt x="3244" y="1229"/>
                  <a:pt x="3245" y="1232"/>
                </a:cubicBezTo>
                <a:cubicBezTo>
                  <a:pt x="3246" y="1237"/>
                  <a:pt x="3245" y="1241"/>
                  <a:pt x="3244" y="1245"/>
                </a:cubicBezTo>
                <a:cubicBezTo>
                  <a:pt x="3241" y="1252"/>
                  <a:pt x="3237" y="1255"/>
                  <a:pt x="3230" y="1255"/>
                </a:cubicBezTo>
                <a:cubicBezTo>
                  <a:pt x="3229" y="1255"/>
                  <a:pt x="3229" y="1255"/>
                  <a:pt x="3228" y="1255"/>
                </a:cubicBezTo>
                <a:cubicBezTo>
                  <a:pt x="3226" y="1255"/>
                  <a:pt x="3224" y="1255"/>
                  <a:pt x="3224" y="1258"/>
                </a:cubicBezTo>
                <a:cubicBezTo>
                  <a:pt x="3222" y="1262"/>
                  <a:pt x="3217" y="1264"/>
                  <a:pt x="3213" y="1261"/>
                </a:cubicBezTo>
                <a:cubicBezTo>
                  <a:pt x="3212" y="1259"/>
                  <a:pt x="3211" y="1259"/>
                  <a:pt x="3210" y="1257"/>
                </a:cubicBezTo>
                <a:cubicBezTo>
                  <a:pt x="3210" y="1258"/>
                  <a:pt x="3210" y="1258"/>
                  <a:pt x="3209" y="1258"/>
                </a:cubicBezTo>
                <a:close/>
                <a:moveTo>
                  <a:pt x="3204" y="1253"/>
                </a:moveTo>
                <a:cubicBezTo>
                  <a:pt x="3207" y="1255"/>
                  <a:pt x="3211" y="1256"/>
                  <a:pt x="3213" y="1259"/>
                </a:cubicBezTo>
                <a:cubicBezTo>
                  <a:pt x="3215" y="1261"/>
                  <a:pt x="3217" y="1261"/>
                  <a:pt x="3219" y="1261"/>
                </a:cubicBezTo>
                <a:cubicBezTo>
                  <a:pt x="3222" y="1260"/>
                  <a:pt x="3223" y="1258"/>
                  <a:pt x="3223" y="1255"/>
                </a:cubicBezTo>
                <a:cubicBezTo>
                  <a:pt x="3223" y="1255"/>
                  <a:pt x="3222" y="1255"/>
                  <a:pt x="3222" y="1255"/>
                </a:cubicBezTo>
                <a:cubicBezTo>
                  <a:pt x="3222" y="1257"/>
                  <a:pt x="3221" y="1258"/>
                  <a:pt x="3220" y="1259"/>
                </a:cubicBezTo>
                <a:cubicBezTo>
                  <a:pt x="3219" y="1260"/>
                  <a:pt x="3217" y="1260"/>
                  <a:pt x="3217" y="1259"/>
                </a:cubicBezTo>
                <a:cubicBezTo>
                  <a:pt x="3216" y="1259"/>
                  <a:pt x="3215" y="1258"/>
                  <a:pt x="3215" y="1257"/>
                </a:cubicBezTo>
                <a:cubicBezTo>
                  <a:pt x="3215" y="1255"/>
                  <a:pt x="3216" y="1253"/>
                  <a:pt x="3216" y="1251"/>
                </a:cubicBezTo>
                <a:cubicBezTo>
                  <a:pt x="3219" y="1252"/>
                  <a:pt x="3222" y="1253"/>
                  <a:pt x="3226" y="1253"/>
                </a:cubicBezTo>
                <a:cubicBezTo>
                  <a:pt x="3233" y="1255"/>
                  <a:pt x="3239" y="1253"/>
                  <a:pt x="3242" y="1244"/>
                </a:cubicBezTo>
                <a:cubicBezTo>
                  <a:pt x="3244" y="1240"/>
                  <a:pt x="3244" y="1235"/>
                  <a:pt x="3243" y="1230"/>
                </a:cubicBezTo>
                <a:cubicBezTo>
                  <a:pt x="3242" y="1228"/>
                  <a:pt x="3242" y="1226"/>
                  <a:pt x="3241" y="1224"/>
                </a:cubicBezTo>
                <a:cubicBezTo>
                  <a:pt x="3240" y="1223"/>
                  <a:pt x="3239" y="1222"/>
                  <a:pt x="3238" y="1224"/>
                </a:cubicBezTo>
                <a:cubicBezTo>
                  <a:pt x="3236" y="1225"/>
                  <a:pt x="3235" y="1227"/>
                  <a:pt x="3233" y="1228"/>
                </a:cubicBezTo>
                <a:cubicBezTo>
                  <a:pt x="3232" y="1228"/>
                  <a:pt x="3231" y="1229"/>
                  <a:pt x="3231" y="1230"/>
                </a:cubicBezTo>
                <a:cubicBezTo>
                  <a:pt x="3232" y="1233"/>
                  <a:pt x="3231" y="1236"/>
                  <a:pt x="3230" y="1240"/>
                </a:cubicBezTo>
                <a:cubicBezTo>
                  <a:pt x="3230" y="1238"/>
                  <a:pt x="3231" y="1236"/>
                  <a:pt x="3231" y="1234"/>
                </a:cubicBezTo>
                <a:cubicBezTo>
                  <a:pt x="3231" y="1233"/>
                  <a:pt x="3230" y="1233"/>
                  <a:pt x="3230" y="1232"/>
                </a:cubicBezTo>
                <a:cubicBezTo>
                  <a:pt x="3230" y="1233"/>
                  <a:pt x="3229" y="1233"/>
                  <a:pt x="3229" y="1233"/>
                </a:cubicBezTo>
                <a:cubicBezTo>
                  <a:pt x="3228" y="1234"/>
                  <a:pt x="3227" y="1236"/>
                  <a:pt x="3226" y="1237"/>
                </a:cubicBezTo>
                <a:cubicBezTo>
                  <a:pt x="3226" y="1237"/>
                  <a:pt x="3226" y="1237"/>
                  <a:pt x="3226" y="1237"/>
                </a:cubicBezTo>
                <a:cubicBezTo>
                  <a:pt x="3226" y="1236"/>
                  <a:pt x="3227" y="1234"/>
                  <a:pt x="3227" y="1232"/>
                </a:cubicBezTo>
                <a:cubicBezTo>
                  <a:pt x="3226" y="1232"/>
                  <a:pt x="3226" y="1233"/>
                  <a:pt x="3225" y="1234"/>
                </a:cubicBezTo>
                <a:cubicBezTo>
                  <a:pt x="3224" y="1234"/>
                  <a:pt x="3224" y="1235"/>
                  <a:pt x="3224" y="1236"/>
                </a:cubicBezTo>
                <a:cubicBezTo>
                  <a:pt x="3224" y="1232"/>
                  <a:pt x="3224" y="1232"/>
                  <a:pt x="3230" y="1231"/>
                </a:cubicBezTo>
                <a:cubicBezTo>
                  <a:pt x="3230" y="1230"/>
                  <a:pt x="3229" y="1230"/>
                  <a:pt x="3229" y="1230"/>
                </a:cubicBezTo>
                <a:cubicBezTo>
                  <a:pt x="3226" y="1230"/>
                  <a:pt x="3226" y="1229"/>
                  <a:pt x="3225" y="1226"/>
                </a:cubicBezTo>
                <a:cubicBezTo>
                  <a:pt x="3227" y="1226"/>
                  <a:pt x="3228" y="1226"/>
                  <a:pt x="3230" y="1225"/>
                </a:cubicBezTo>
                <a:cubicBezTo>
                  <a:pt x="3228" y="1223"/>
                  <a:pt x="3227" y="1220"/>
                  <a:pt x="3224" y="1220"/>
                </a:cubicBezTo>
                <a:cubicBezTo>
                  <a:pt x="3223" y="1220"/>
                  <a:pt x="3223" y="1219"/>
                  <a:pt x="3223" y="1219"/>
                </a:cubicBezTo>
                <a:cubicBezTo>
                  <a:pt x="3221" y="1217"/>
                  <a:pt x="3218" y="1215"/>
                  <a:pt x="3215" y="1213"/>
                </a:cubicBezTo>
                <a:cubicBezTo>
                  <a:pt x="3213" y="1211"/>
                  <a:pt x="3210" y="1211"/>
                  <a:pt x="3208" y="1211"/>
                </a:cubicBezTo>
                <a:cubicBezTo>
                  <a:pt x="3205" y="1211"/>
                  <a:pt x="3202" y="1212"/>
                  <a:pt x="3199" y="1213"/>
                </a:cubicBezTo>
                <a:cubicBezTo>
                  <a:pt x="3196" y="1214"/>
                  <a:pt x="3193" y="1216"/>
                  <a:pt x="3191" y="1219"/>
                </a:cubicBezTo>
                <a:cubicBezTo>
                  <a:pt x="3193" y="1219"/>
                  <a:pt x="3194" y="1219"/>
                  <a:pt x="3195" y="1219"/>
                </a:cubicBezTo>
                <a:cubicBezTo>
                  <a:pt x="3195" y="1219"/>
                  <a:pt x="3194" y="1220"/>
                  <a:pt x="3193" y="1220"/>
                </a:cubicBezTo>
                <a:cubicBezTo>
                  <a:pt x="3191" y="1221"/>
                  <a:pt x="3188" y="1220"/>
                  <a:pt x="3186" y="1222"/>
                </a:cubicBezTo>
                <a:cubicBezTo>
                  <a:pt x="3183" y="1226"/>
                  <a:pt x="3179" y="1230"/>
                  <a:pt x="3175" y="1234"/>
                </a:cubicBezTo>
                <a:cubicBezTo>
                  <a:pt x="3174" y="1236"/>
                  <a:pt x="3173" y="1238"/>
                  <a:pt x="3172" y="1241"/>
                </a:cubicBezTo>
                <a:cubicBezTo>
                  <a:pt x="3172" y="1241"/>
                  <a:pt x="3172" y="1242"/>
                  <a:pt x="3172" y="1242"/>
                </a:cubicBezTo>
                <a:cubicBezTo>
                  <a:pt x="3173" y="1244"/>
                  <a:pt x="3175" y="1246"/>
                  <a:pt x="3176" y="1248"/>
                </a:cubicBezTo>
                <a:cubicBezTo>
                  <a:pt x="3177" y="1247"/>
                  <a:pt x="3179" y="1245"/>
                  <a:pt x="3180" y="1244"/>
                </a:cubicBezTo>
                <a:cubicBezTo>
                  <a:pt x="3179" y="1245"/>
                  <a:pt x="3179" y="1246"/>
                  <a:pt x="3178" y="1248"/>
                </a:cubicBezTo>
                <a:cubicBezTo>
                  <a:pt x="3177" y="1249"/>
                  <a:pt x="3177" y="1250"/>
                  <a:pt x="3176" y="1252"/>
                </a:cubicBezTo>
                <a:cubicBezTo>
                  <a:pt x="3176" y="1253"/>
                  <a:pt x="3176" y="1254"/>
                  <a:pt x="3177" y="1255"/>
                </a:cubicBezTo>
                <a:cubicBezTo>
                  <a:pt x="3179" y="1258"/>
                  <a:pt x="3182" y="1258"/>
                  <a:pt x="3186" y="1256"/>
                </a:cubicBezTo>
                <a:cubicBezTo>
                  <a:pt x="3188" y="1255"/>
                  <a:pt x="3191" y="1253"/>
                  <a:pt x="3194" y="1253"/>
                </a:cubicBezTo>
                <a:cubicBezTo>
                  <a:pt x="3195" y="1252"/>
                  <a:pt x="3197" y="1251"/>
                  <a:pt x="3197" y="1250"/>
                </a:cubicBezTo>
                <a:cubicBezTo>
                  <a:pt x="3197" y="1247"/>
                  <a:pt x="3197" y="1243"/>
                  <a:pt x="3197" y="1240"/>
                </a:cubicBezTo>
                <a:cubicBezTo>
                  <a:pt x="3197" y="1237"/>
                  <a:pt x="3197" y="1234"/>
                  <a:pt x="3197" y="1231"/>
                </a:cubicBezTo>
                <a:cubicBezTo>
                  <a:pt x="3197" y="1234"/>
                  <a:pt x="3198" y="1236"/>
                  <a:pt x="3198" y="1239"/>
                </a:cubicBezTo>
                <a:cubicBezTo>
                  <a:pt x="3199" y="1244"/>
                  <a:pt x="3199" y="1248"/>
                  <a:pt x="3198" y="1252"/>
                </a:cubicBezTo>
                <a:cubicBezTo>
                  <a:pt x="3197" y="1253"/>
                  <a:pt x="3197" y="1254"/>
                  <a:pt x="3196" y="1254"/>
                </a:cubicBezTo>
                <a:cubicBezTo>
                  <a:pt x="3193" y="1254"/>
                  <a:pt x="3190" y="1256"/>
                  <a:pt x="3186" y="1258"/>
                </a:cubicBezTo>
                <a:cubicBezTo>
                  <a:pt x="3181" y="1261"/>
                  <a:pt x="3178" y="1259"/>
                  <a:pt x="3174" y="1255"/>
                </a:cubicBezTo>
                <a:cubicBezTo>
                  <a:pt x="3174" y="1255"/>
                  <a:pt x="3174" y="1253"/>
                  <a:pt x="3174" y="1253"/>
                </a:cubicBezTo>
                <a:cubicBezTo>
                  <a:pt x="3175" y="1251"/>
                  <a:pt x="3174" y="1249"/>
                  <a:pt x="3173" y="1247"/>
                </a:cubicBezTo>
                <a:cubicBezTo>
                  <a:pt x="3171" y="1245"/>
                  <a:pt x="3170" y="1242"/>
                  <a:pt x="3171" y="1240"/>
                </a:cubicBezTo>
                <a:cubicBezTo>
                  <a:pt x="3171" y="1238"/>
                  <a:pt x="3172" y="1236"/>
                  <a:pt x="3173" y="1234"/>
                </a:cubicBezTo>
                <a:cubicBezTo>
                  <a:pt x="3175" y="1232"/>
                  <a:pt x="3177" y="1229"/>
                  <a:pt x="3179" y="1226"/>
                </a:cubicBezTo>
                <a:cubicBezTo>
                  <a:pt x="3179" y="1226"/>
                  <a:pt x="3178" y="1226"/>
                  <a:pt x="3178" y="1226"/>
                </a:cubicBezTo>
                <a:cubicBezTo>
                  <a:pt x="3173" y="1228"/>
                  <a:pt x="3169" y="1229"/>
                  <a:pt x="3165" y="1232"/>
                </a:cubicBezTo>
                <a:cubicBezTo>
                  <a:pt x="3160" y="1237"/>
                  <a:pt x="3157" y="1242"/>
                  <a:pt x="3157" y="1249"/>
                </a:cubicBezTo>
                <a:cubicBezTo>
                  <a:pt x="3157" y="1255"/>
                  <a:pt x="3159" y="1261"/>
                  <a:pt x="3162" y="1267"/>
                </a:cubicBezTo>
                <a:cubicBezTo>
                  <a:pt x="3163" y="1268"/>
                  <a:pt x="3164" y="1270"/>
                  <a:pt x="3163" y="1271"/>
                </a:cubicBezTo>
                <a:cubicBezTo>
                  <a:pt x="3163" y="1272"/>
                  <a:pt x="3163" y="1274"/>
                  <a:pt x="3162" y="1275"/>
                </a:cubicBezTo>
                <a:cubicBezTo>
                  <a:pt x="3162" y="1277"/>
                  <a:pt x="3162" y="1278"/>
                  <a:pt x="3163" y="1278"/>
                </a:cubicBezTo>
                <a:cubicBezTo>
                  <a:pt x="3166" y="1279"/>
                  <a:pt x="3169" y="1280"/>
                  <a:pt x="3172" y="1280"/>
                </a:cubicBezTo>
                <a:cubicBezTo>
                  <a:pt x="3173" y="1280"/>
                  <a:pt x="3173" y="1279"/>
                  <a:pt x="3173" y="1279"/>
                </a:cubicBezTo>
                <a:cubicBezTo>
                  <a:pt x="3174" y="1278"/>
                  <a:pt x="3174" y="1276"/>
                  <a:pt x="3175" y="1275"/>
                </a:cubicBezTo>
                <a:cubicBezTo>
                  <a:pt x="3177" y="1273"/>
                  <a:pt x="3177" y="1270"/>
                  <a:pt x="3177" y="1267"/>
                </a:cubicBezTo>
                <a:cubicBezTo>
                  <a:pt x="3177" y="1267"/>
                  <a:pt x="3177" y="1266"/>
                  <a:pt x="3177" y="1266"/>
                </a:cubicBezTo>
                <a:cubicBezTo>
                  <a:pt x="3177" y="1266"/>
                  <a:pt x="3177" y="1266"/>
                  <a:pt x="3177" y="1265"/>
                </a:cubicBezTo>
                <a:cubicBezTo>
                  <a:pt x="3177" y="1268"/>
                  <a:pt x="3179" y="1268"/>
                  <a:pt x="3181" y="1268"/>
                </a:cubicBezTo>
                <a:cubicBezTo>
                  <a:pt x="3181" y="1268"/>
                  <a:pt x="3182" y="1268"/>
                  <a:pt x="3183" y="1268"/>
                </a:cubicBezTo>
                <a:cubicBezTo>
                  <a:pt x="3186" y="1268"/>
                  <a:pt x="3189" y="1269"/>
                  <a:pt x="3190" y="1264"/>
                </a:cubicBezTo>
                <a:cubicBezTo>
                  <a:pt x="3190" y="1267"/>
                  <a:pt x="3190" y="1268"/>
                  <a:pt x="3190" y="1269"/>
                </a:cubicBezTo>
                <a:cubicBezTo>
                  <a:pt x="3188" y="1270"/>
                  <a:pt x="3187" y="1271"/>
                  <a:pt x="3186" y="1271"/>
                </a:cubicBezTo>
                <a:cubicBezTo>
                  <a:pt x="3184" y="1272"/>
                  <a:pt x="3184" y="1274"/>
                  <a:pt x="3184" y="1274"/>
                </a:cubicBezTo>
                <a:cubicBezTo>
                  <a:pt x="3186" y="1277"/>
                  <a:pt x="3187" y="1279"/>
                  <a:pt x="3188" y="1281"/>
                </a:cubicBezTo>
                <a:cubicBezTo>
                  <a:pt x="3190" y="1282"/>
                  <a:pt x="3192" y="1282"/>
                  <a:pt x="3193" y="1280"/>
                </a:cubicBezTo>
                <a:cubicBezTo>
                  <a:pt x="3194" y="1279"/>
                  <a:pt x="3195" y="1278"/>
                  <a:pt x="3195" y="1278"/>
                </a:cubicBezTo>
                <a:cubicBezTo>
                  <a:pt x="3197" y="1276"/>
                  <a:pt x="3199" y="1275"/>
                  <a:pt x="3200" y="1274"/>
                </a:cubicBezTo>
                <a:cubicBezTo>
                  <a:pt x="3204" y="1270"/>
                  <a:pt x="3206" y="1264"/>
                  <a:pt x="3208" y="1258"/>
                </a:cubicBezTo>
                <a:cubicBezTo>
                  <a:pt x="3208" y="1257"/>
                  <a:pt x="3207" y="1257"/>
                  <a:pt x="3207" y="1256"/>
                </a:cubicBezTo>
                <a:cubicBezTo>
                  <a:pt x="3206" y="1255"/>
                  <a:pt x="3205" y="1254"/>
                  <a:pt x="3204" y="1253"/>
                </a:cubicBezTo>
                <a:close/>
                <a:moveTo>
                  <a:pt x="3157" y="1260"/>
                </a:moveTo>
                <a:cubicBezTo>
                  <a:pt x="3156" y="1261"/>
                  <a:pt x="3154" y="1261"/>
                  <a:pt x="3153" y="1263"/>
                </a:cubicBezTo>
                <a:cubicBezTo>
                  <a:pt x="3153" y="1263"/>
                  <a:pt x="3152" y="1264"/>
                  <a:pt x="3152" y="1264"/>
                </a:cubicBezTo>
                <a:cubicBezTo>
                  <a:pt x="3152" y="1267"/>
                  <a:pt x="3157" y="1272"/>
                  <a:pt x="3160" y="1271"/>
                </a:cubicBezTo>
                <a:cubicBezTo>
                  <a:pt x="3161" y="1271"/>
                  <a:pt x="3162" y="1270"/>
                  <a:pt x="3161" y="1268"/>
                </a:cubicBezTo>
                <a:cubicBezTo>
                  <a:pt x="3160" y="1265"/>
                  <a:pt x="3158" y="1263"/>
                  <a:pt x="3157" y="1260"/>
                </a:cubicBezTo>
                <a:close/>
                <a:moveTo>
                  <a:pt x="3209" y="1262"/>
                </a:moveTo>
                <a:cubicBezTo>
                  <a:pt x="3207" y="1266"/>
                  <a:pt x="3204" y="1271"/>
                  <a:pt x="3202" y="1275"/>
                </a:cubicBezTo>
                <a:cubicBezTo>
                  <a:pt x="3205" y="1275"/>
                  <a:pt x="3207" y="1276"/>
                  <a:pt x="3210" y="1275"/>
                </a:cubicBezTo>
                <a:cubicBezTo>
                  <a:pt x="3210" y="1275"/>
                  <a:pt x="3211" y="1274"/>
                  <a:pt x="3211" y="1274"/>
                </a:cubicBezTo>
                <a:cubicBezTo>
                  <a:pt x="3211" y="1271"/>
                  <a:pt x="3211" y="1268"/>
                  <a:pt x="3210" y="1266"/>
                </a:cubicBezTo>
                <a:cubicBezTo>
                  <a:pt x="3210" y="1264"/>
                  <a:pt x="3210" y="1263"/>
                  <a:pt x="3209" y="1262"/>
                </a:cubicBezTo>
                <a:close/>
                <a:moveTo>
                  <a:pt x="3157" y="1242"/>
                </a:moveTo>
                <a:cubicBezTo>
                  <a:pt x="3156" y="1242"/>
                  <a:pt x="3155" y="1242"/>
                  <a:pt x="3155" y="1242"/>
                </a:cubicBezTo>
                <a:cubicBezTo>
                  <a:pt x="3154" y="1242"/>
                  <a:pt x="3153" y="1242"/>
                  <a:pt x="3153" y="1242"/>
                </a:cubicBezTo>
                <a:cubicBezTo>
                  <a:pt x="3153" y="1242"/>
                  <a:pt x="3152" y="1241"/>
                  <a:pt x="3152" y="1240"/>
                </a:cubicBezTo>
                <a:cubicBezTo>
                  <a:pt x="3153" y="1238"/>
                  <a:pt x="3153" y="1236"/>
                  <a:pt x="3154" y="1234"/>
                </a:cubicBezTo>
                <a:cubicBezTo>
                  <a:pt x="3154" y="1234"/>
                  <a:pt x="3154" y="1234"/>
                  <a:pt x="3153" y="1234"/>
                </a:cubicBezTo>
                <a:cubicBezTo>
                  <a:pt x="3153" y="1235"/>
                  <a:pt x="3151" y="1236"/>
                  <a:pt x="3151" y="1237"/>
                </a:cubicBezTo>
                <a:cubicBezTo>
                  <a:pt x="3150" y="1238"/>
                  <a:pt x="3151" y="1243"/>
                  <a:pt x="3153" y="1244"/>
                </a:cubicBezTo>
                <a:cubicBezTo>
                  <a:pt x="3155" y="1245"/>
                  <a:pt x="3157" y="1244"/>
                  <a:pt x="3157" y="1242"/>
                </a:cubicBezTo>
                <a:close/>
                <a:moveTo>
                  <a:pt x="3156" y="1259"/>
                </a:moveTo>
                <a:cubicBezTo>
                  <a:pt x="3156" y="1260"/>
                  <a:pt x="3154" y="1261"/>
                  <a:pt x="3153" y="1262"/>
                </a:cubicBezTo>
                <a:cubicBezTo>
                  <a:pt x="3152" y="1263"/>
                  <a:pt x="3152" y="1263"/>
                  <a:pt x="3152" y="1264"/>
                </a:cubicBezTo>
                <a:cubicBezTo>
                  <a:pt x="3152" y="1267"/>
                  <a:pt x="3156" y="1271"/>
                  <a:pt x="3160" y="1271"/>
                </a:cubicBezTo>
                <a:cubicBezTo>
                  <a:pt x="3161" y="1271"/>
                  <a:pt x="3162" y="1270"/>
                  <a:pt x="3161" y="1268"/>
                </a:cubicBezTo>
                <a:cubicBezTo>
                  <a:pt x="3160" y="1265"/>
                  <a:pt x="3158" y="1262"/>
                  <a:pt x="3156" y="1259"/>
                </a:cubicBezTo>
                <a:close/>
                <a:moveTo>
                  <a:pt x="3209" y="1261"/>
                </a:moveTo>
                <a:cubicBezTo>
                  <a:pt x="3207" y="1266"/>
                  <a:pt x="3204" y="1270"/>
                  <a:pt x="3202" y="1275"/>
                </a:cubicBezTo>
                <a:cubicBezTo>
                  <a:pt x="3205" y="1275"/>
                  <a:pt x="3207" y="1275"/>
                  <a:pt x="3210" y="1275"/>
                </a:cubicBezTo>
                <a:cubicBezTo>
                  <a:pt x="3210" y="1275"/>
                  <a:pt x="3211" y="1274"/>
                  <a:pt x="3211" y="1273"/>
                </a:cubicBezTo>
                <a:cubicBezTo>
                  <a:pt x="3211" y="1270"/>
                  <a:pt x="3211" y="1268"/>
                  <a:pt x="3210" y="1266"/>
                </a:cubicBezTo>
                <a:cubicBezTo>
                  <a:pt x="3210" y="1264"/>
                  <a:pt x="3209" y="1263"/>
                  <a:pt x="3209" y="1261"/>
                </a:cubicBezTo>
                <a:close/>
                <a:moveTo>
                  <a:pt x="3156" y="1241"/>
                </a:moveTo>
                <a:cubicBezTo>
                  <a:pt x="3156" y="1242"/>
                  <a:pt x="3155" y="1242"/>
                  <a:pt x="3154" y="1242"/>
                </a:cubicBezTo>
                <a:cubicBezTo>
                  <a:pt x="3154" y="1242"/>
                  <a:pt x="3153" y="1242"/>
                  <a:pt x="3153" y="1242"/>
                </a:cubicBezTo>
                <a:cubicBezTo>
                  <a:pt x="3153" y="1241"/>
                  <a:pt x="3152" y="1241"/>
                  <a:pt x="3152" y="1240"/>
                </a:cubicBezTo>
                <a:cubicBezTo>
                  <a:pt x="3153" y="1238"/>
                  <a:pt x="3153" y="1236"/>
                  <a:pt x="3154" y="1234"/>
                </a:cubicBezTo>
                <a:cubicBezTo>
                  <a:pt x="3154" y="1234"/>
                  <a:pt x="3154" y="1234"/>
                  <a:pt x="3153" y="1234"/>
                </a:cubicBezTo>
                <a:cubicBezTo>
                  <a:pt x="3153" y="1235"/>
                  <a:pt x="3152" y="1236"/>
                  <a:pt x="3151" y="1237"/>
                </a:cubicBezTo>
                <a:cubicBezTo>
                  <a:pt x="3150" y="1238"/>
                  <a:pt x="3152" y="1243"/>
                  <a:pt x="3153" y="1244"/>
                </a:cubicBezTo>
                <a:cubicBezTo>
                  <a:pt x="3154" y="1245"/>
                  <a:pt x="3156" y="1243"/>
                  <a:pt x="3156" y="1241"/>
                </a:cubicBezTo>
                <a:close/>
                <a:moveTo>
                  <a:pt x="3209" y="1233"/>
                </a:moveTo>
                <a:cubicBezTo>
                  <a:pt x="3212" y="1229"/>
                  <a:pt x="3212" y="1229"/>
                  <a:pt x="3216" y="1228"/>
                </a:cubicBezTo>
                <a:cubicBezTo>
                  <a:pt x="3216" y="1230"/>
                  <a:pt x="3217" y="1231"/>
                  <a:pt x="3219" y="1231"/>
                </a:cubicBezTo>
                <a:cubicBezTo>
                  <a:pt x="3216" y="1233"/>
                  <a:pt x="3214" y="1234"/>
                  <a:pt x="3212" y="1235"/>
                </a:cubicBezTo>
                <a:cubicBezTo>
                  <a:pt x="3211" y="1235"/>
                  <a:pt x="3211" y="1234"/>
                  <a:pt x="3210" y="1233"/>
                </a:cubicBezTo>
                <a:cubicBezTo>
                  <a:pt x="3210" y="1233"/>
                  <a:pt x="3209" y="1233"/>
                  <a:pt x="3209" y="1233"/>
                </a:cubicBezTo>
                <a:close/>
                <a:moveTo>
                  <a:pt x="3215" y="1233"/>
                </a:moveTo>
                <a:cubicBezTo>
                  <a:pt x="3214" y="1232"/>
                  <a:pt x="3213" y="1232"/>
                  <a:pt x="3213" y="1232"/>
                </a:cubicBezTo>
                <a:cubicBezTo>
                  <a:pt x="3212" y="1232"/>
                  <a:pt x="3211" y="1233"/>
                  <a:pt x="3211" y="1233"/>
                </a:cubicBezTo>
                <a:cubicBezTo>
                  <a:pt x="3211" y="1233"/>
                  <a:pt x="3212" y="1234"/>
                  <a:pt x="3212" y="1234"/>
                </a:cubicBezTo>
                <a:cubicBezTo>
                  <a:pt x="3213" y="1234"/>
                  <a:pt x="3213" y="1233"/>
                  <a:pt x="3215" y="1233"/>
                </a:cubicBezTo>
                <a:close/>
                <a:moveTo>
                  <a:pt x="3196" y="1223"/>
                </a:moveTo>
                <a:cubicBezTo>
                  <a:pt x="3189" y="1222"/>
                  <a:pt x="3186" y="1225"/>
                  <a:pt x="3185" y="1233"/>
                </a:cubicBezTo>
                <a:cubicBezTo>
                  <a:pt x="3186" y="1231"/>
                  <a:pt x="3187" y="1228"/>
                  <a:pt x="3189" y="1226"/>
                </a:cubicBezTo>
                <a:cubicBezTo>
                  <a:pt x="3189" y="1226"/>
                  <a:pt x="3189" y="1226"/>
                  <a:pt x="3189" y="1226"/>
                </a:cubicBezTo>
                <a:cubicBezTo>
                  <a:pt x="3189" y="1227"/>
                  <a:pt x="3189" y="1228"/>
                  <a:pt x="3189" y="1229"/>
                </a:cubicBezTo>
                <a:cubicBezTo>
                  <a:pt x="3191" y="1226"/>
                  <a:pt x="3192" y="1224"/>
                  <a:pt x="3196" y="1223"/>
                </a:cubicBezTo>
                <a:close/>
                <a:moveTo>
                  <a:pt x="3239" y="1225"/>
                </a:moveTo>
                <a:cubicBezTo>
                  <a:pt x="3237" y="1226"/>
                  <a:pt x="3236" y="1228"/>
                  <a:pt x="3234" y="1229"/>
                </a:cubicBezTo>
                <a:cubicBezTo>
                  <a:pt x="3236" y="1229"/>
                  <a:pt x="3238" y="1228"/>
                  <a:pt x="3239" y="1225"/>
                </a:cubicBezTo>
                <a:close/>
                <a:moveTo>
                  <a:pt x="3206" y="1227"/>
                </a:moveTo>
                <a:cubicBezTo>
                  <a:pt x="3207" y="1226"/>
                  <a:pt x="3208" y="1224"/>
                  <a:pt x="3210" y="1223"/>
                </a:cubicBezTo>
                <a:cubicBezTo>
                  <a:pt x="3207" y="1224"/>
                  <a:pt x="3206" y="1225"/>
                  <a:pt x="3206" y="1227"/>
                </a:cubicBezTo>
                <a:close/>
                <a:moveTo>
                  <a:pt x="3216" y="1248"/>
                </a:moveTo>
                <a:cubicBezTo>
                  <a:pt x="3214" y="1248"/>
                  <a:pt x="3213" y="1249"/>
                  <a:pt x="3213" y="1250"/>
                </a:cubicBezTo>
                <a:cubicBezTo>
                  <a:pt x="3214" y="1249"/>
                  <a:pt x="3215" y="1249"/>
                  <a:pt x="3216" y="1248"/>
                </a:cubicBezTo>
                <a:close/>
                <a:moveTo>
                  <a:pt x="3215" y="1233"/>
                </a:moveTo>
                <a:cubicBezTo>
                  <a:pt x="3214" y="1232"/>
                  <a:pt x="3213" y="1232"/>
                  <a:pt x="3213" y="1232"/>
                </a:cubicBezTo>
                <a:cubicBezTo>
                  <a:pt x="3212" y="1232"/>
                  <a:pt x="3212" y="1233"/>
                  <a:pt x="3212" y="1233"/>
                </a:cubicBezTo>
                <a:cubicBezTo>
                  <a:pt x="3212" y="1234"/>
                  <a:pt x="3212" y="1234"/>
                  <a:pt x="3212" y="1234"/>
                </a:cubicBezTo>
                <a:cubicBezTo>
                  <a:pt x="3213" y="1234"/>
                  <a:pt x="3214" y="1234"/>
                  <a:pt x="3215" y="1233"/>
                </a:cubicBezTo>
                <a:close/>
                <a:moveTo>
                  <a:pt x="3506" y="1210"/>
                </a:moveTo>
                <a:cubicBezTo>
                  <a:pt x="3506" y="1210"/>
                  <a:pt x="3506" y="1210"/>
                  <a:pt x="3506" y="1210"/>
                </a:cubicBezTo>
                <a:cubicBezTo>
                  <a:pt x="3501" y="1210"/>
                  <a:pt x="3501" y="1210"/>
                  <a:pt x="3501" y="1210"/>
                </a:cubicBezTo>
                <a:cubicBezTo>
                  <a:pt x="3499" y="1212"/>
                  <a:pt x="3498" y="1213"/>
                  <a:pt x="3496" y="1214"/>
                </a:cubicBezTo>
                <a:cubicBezTo>
                  <a:pt x="3494" y="1216"/>
                  <a:pt x="3492" y="1216"/>
                  <a:pt x="3490" y="1217"/>
                </a:cubicBezTo>
                <a:cubicBezTo>
                  <a:pt x="3488" y="1218"/>
                  <a:pt x="3487" y="1219"/>
                  <a:pt x="3485" y="1220"/>
                </a:cubicBezTo>
                <a:cubicBezTo>
                  <a:pt x="3483" y="1221"/>
                  <a:pt x="3481" y="1221"/>
                  <a:pt x="3479" y="1221"/>
                </a:cubicBezTo>
                <a:cubicBezTo>
                  <a:pt x="3479" y="1221"/>
                  <a:pt x="3479" y="1221"/>
                  <a:pt x="3479" y="1232"/>
                </a:cubicBezTo>
                <a:cubicBezTo>
                  <a:pt x="3482" y="1231"/>
                  <a:pt x="3485" y="1230"/>
                  <a:pt x="3487" y="1229"/>
                </a:cubicBezTo>
                <a:cubicBezTo>
                  <a:pt x="3490" y="1228"/>
                  <a:pt x="3493" y="1226"/>
                  <a:pt x="3494" y="1225"/>
                </a:cubicBezTo>
                <a:cubicBezTo>
                  <a:pt x="3494" y="1225"/>
                  <a:pt x="3494" y="1225"/>
                  <a:pt x="3494" y="1284"/>
                </a:cubicBezTo>
                <a:cubicBezTo>
                  <a:pt x="3494" y="1284"/>
                  <a:pt x="3494" y="1284"/>
                  <a:pt x="3506" y="1284"/>
                </a:cubicBezTo>
                <a:cubicBezTo>
                  <a:pt x="3506" y="1284"/>
                  <a:pt x="3506" y="1284"/>
                  <a:pt x="3506" y="1210"/>
                </a:cubicBezTo>
                <a:close/>
                <a:moveTo>
                  <a:pt x="3627" y="1210"/>
                </a:moveTo>
                <a:cubicBezTo>
                  <a:pt x="3627" y="1210"/>
                  <a:pt x="3627" y="1210"/>
                  <a:pt x="3627" y="1210"/>
                </a:cubicBezTo>
                <a:cubicBezTo>
                  <a:pt x="3622" y="1210"/>
                  <a:pt x="3622" y="1210"/>
                  <a:pt x="3622" y="1210"/>
                </a:cubicBezTo>
                <a:cubicBezTo>
                  <a:pt x="3620" y="1212"/>
                  <a:pt x="3618" y="1213"/>
                  <a:pt x="3616" y="1214"/>
                </a:cubicBezTo>
                <a:cubicBezTo>
                  <a:pt x="3615" y="1216"/>
                  <a:pt x="3613" y="1216"/>
                  <a:pt x="3611" y="1217"/>
                </a:cubicBezTo>
                <a:cubicBezTo>
                  <a:pt x="3610" y="1218"/>
                  <a:pt x="3608" y="1219"/>
                  <a:pt x="3606" y="1220"/>
                </a:cubicBezTo>
                <a:cubicBezTo>
                  <a:pt x="3604" y="1221"/>
                  <a:pt x="3603" y="1221"/>
                  <a:pt x="3600" y="1221"/>
                </a:cubicBezTo>
                <a:cubicBezTo>
                  <a:pt x="3600" y="1221"/>
                  <a:pt x="3600" y="1221"/>
                  <a:pt x="3600" y="1232"/>
                </a:cubicBezTo>
                <a:cubicBezTo>
                  <a:pt x="3603" y="1231"/>
                  <a:pt x="3606" y="1230"/>
                  <a:pt x="3609" y="1229"/>
                </a:cubicBezTo>
                <a:cubicBezTo>
                  <a:pt x="3611" y="1228"/>
                  <a:pt x="3613" y="1226"/>
                  <a:pt x="3616" y="1225"/>
                </a:cubicBezTo>
                <a:cubicBezTo>
                  <a:pt x="3616" y="1225"/>
                  <a:pt x="3616" y="1225"/>
                  <a:pt x="3616" y="1284"/>
                </a:cubicBezTo>
                <a:cubicBezTo>
                  <a:pt x="3616" y="1284"/>
                  <a:pt x="3616" y="1284"/>
                  <a:pt x="3627" y="1284"/>
                </a:cubicBezTo>
                <a:cubicBezTo>
                  <a:pt x="3627" y="1284"/>
                  <a:pt x="3627" y="1284"/>
                  <a:pt x="3627" y="1210"/>
                </a:cubicBezTo>
                <a:close/>
                <a:moveTo>
                  <a:pt x="3674" y="1210"/>
                </a:moveTo>
                <a:cubicBezTo>
                  <a:pt x="3674" y="1210"/>
                  <a:pt x="3674" y="1210"/>
                  <a:pt x="3674" y="1210"/>
                </a:cubicBezTo>
                <a:cubicBezTo>
                  <a:pt x="3669" y="1210"/>
                  <a:pt x="3669" y="1210"/>
                  <a:pt x="3669" y="1210"/>
                </a:cubicBezTo>
                <a:cubicBezTo>
                  <a:pt x="3667" y="1212"/>
                  <a:pt x="3666" y="1213"/>
                  <a:pt x="3663" y="1214"/>
                </a:cubicBezTo>
                <a:cubicBezTo>
                  <a:pt x="3662" y="1216"/>
                  <a:pt x="3660" y="1216"/>
                  <a:pt x="3658" y="1217"/>
                </a:cubicBezTo>
                <a:cubicBezTo>
                  <a:pt x="3657" y="1218"/>
                  <a:pt x="3655" y="1219"/>
                  <a:pt x="3653" y="1220"/>
                </a:cubicBezTo>
                <a:cubicBezTo>
                  <a:pt x="3651" y="1221"/>
                  <a:pt x="3650" y="1221"/>
                  <a:pt x="3647" y="1221"/>
                </a:cubicBezTo>
                <a:cubicBezTo>
                  <a:pt x="3647" y="1221"/>
                  <a:pt x="3647" y="1221"/>
                  <a:pt x="3647" y="1232"/>
                </a:cubicBezTo>
                <a:cubicBezTo>
                  <a:pt x="3650" y="1231"/>
                  <a:pt x="3653" y="1230"/>
                  <a:pt x="3655" y="1229"/>
                </a:cubicBezTo>
                <a:cubicBezTo>
                  <a:pt x="3658" y="1228"/>
                  <a:pt x="3660" y="1226"/>
                  <a:pt x="3663" y="1225"/>
                </a:cubicBezTo>
                <a:cubicBezTo>
                  <a:pt x="3663" y="1225"/>
                  <a:pt x="3663" y="1225"/>
                  <a:pt x="3663" y="1284"/>
                </a:cubicBezTo>
                <a:cubicBezTo>
                  <a:pt x="3663" y="1284"/>
                  <a:pt x="3663" y="1284"/>
                  <a:pt x="3674" y="1284"/>
                </a:cubicBezTo>
                <a:cubicBezTo>
                  <a:pt x="3674" y="1284"/>
                  <a:pt x="3674" y="1284"/>
                  <a:pt x="3674" y="1210"/>
                </a:cubicBezTo>
                <a:close/>
                <a:moveTo>
                  <a:pt x="3720" y="1210"/>
                </a:moveTo>
                <a:cubicBezTo>
                  <a:pt x="3720" y="1210"/>
                  <a:pt x="3720" y="1210"/>
                  <a:pt x="3720" y="1210"/>
                </a:cubicBezTo>
                <a:cubicBezTo>
                  <a:pt x="3716" y="1210"/>
                  <a:pt x="3716" y="1210"/>
                  <a:pt x="3716" y="1210"/>
                </a:cubicBezTo>
                <a:cubicBezTo>
                  <a:pt x="3714" y="1212"/>
                  <a:pt x="3712" y="1213"/>
                  <a:pt x="3710" y="1214"/>
                </a:cubicBezTo>
                <a:cubicBezTo>
                  <a:pt x="3709" y="1216"/>
                  <a:pt x="3707" y="1216"/>
                  <a:pt x="3705" y="1217"/>
                </a:cubicBezTo>
                <a:cubicBezTo>
                  <a:pt x="3703" y="1218"/>
                  <a:pt x="3702" y="1218"/>
                  <a:pt x="3699" y="1219"/>
                </a:cubicBezTo>
                <a:cubicBezTo>
                  <a:pt x="3698" y="1220"/>
                  <a:pt x="3696" y="1221"/>
                  <a:pt x="3694" y="1221"/>
                </a:cubicBezTo>
                <a:cubicBezTo>
                  <a:pt x="3694" y="1221"/>
                  <a:pt x="3694" y="1221"/>
                  <a:pt x="3694" y="1232"/>
                </a:cubicBezTo>
                <a:cubicBezTo>
                  <a:pt x="3697" y="1231"/>
                  <a:pt x="3700" y="1229"/>
                  <a:pt x="3702" y="1229"/>
                </a:cubicBezTo>
                <a:cubicBezTo>
                  <a:pt x="3704" y="1228"/>
                  <a:pt x="3707" y="1226"/>
                  <a:pt x="3709" y="1225"/>
                </a:cubicBezTo>
                <a:cubicBezTo>
                  <a:pt x="3709" y="1225"/>
                  <a:pt x="3709" y="1225"/>
                  <a:pt x="3709" y="1284"/>
                </a:cubicBezTo>
                <a:cubicBezTo>
                  <a:pt x="3709" y="1284"/>
                  <a:pt x="3709" y="1284"/>
                  <a:pt x="3720" y="1284"/>
                </a:cubicBezTo>
                <a:cubicBezTo>
                  <a:pt x="3720" y="1284"/>
                  <a:pt x="3720" y="1284"/>
                  <a:pt x="3720" y="1210"/>
                </a:cubicBezTo>
                <a:close/>
                <a:moveTo>
                  <a:pt x="3526" y="1243"/>
                </a:moveTo>
                <a:cubicBezTo>
                  <a:pt x="3526" y="1243"/>
                  <a:pt x="3526" y="1243"/>
                  <a:pt x="3526" y="1243"/>
                </a:cubicBezTo>
                <a:cubicBezTo>
                  <a:pt x="3525" y="1251"/>
                  <a:pt x="3525" y="1251"/>
                  <a:pt x="3525" y="1251"/>
                </a:cubicBezTo>
                <a:cubicBezTo>
                  <a:pt x="3532" y="1251"/>
                  <a:pt x="3532" y="1254"/>
                  <a:pt x="3532" y="1257"/>
                </a:cubicBezTo>
                <a:cubicBezTo>
                  <a:pt x="3532" y="1259"/>
                  <a:pt x="3532" y="1261"/>
                  <a:pt x="3532" y="1264"/>
                </a:cubicBezTo>
                <a:cubicBezTo>
                  <a:pt x="3532" y="1267"/>
                  <a:pt x="3531" y="1269"/>
                  <a:pt x="3531" y="1271"/>
                </a:cubicBezTo>
                <a:cubicBezTo>
                  <a:pt x="3531" y="1281"/>
                  <a:pt x="3537" y="1284"/>
                  <a:pt x="3546" y="1284"/>
                </a:cubicBezTo>
                <a:cubicBezTo>
                  <a:pt x="3546" y="1284"/>
                  <a:pt x="3546" y="1284"/>
                  <a:pt x="3549" y="1284"/>
                </a:cubicBezTo>
                <a:cubicBezTo>
                  <a:pt x="3549" y="1284"/>
                  <a:pt x="3549" y="1284"/>
                  <a:pt x="3549" y="1275"/>
                </a:cubicBezTo>
                <a:cubicBezTo>
                  <a:pt x="3549" y="1275"/>
                  <a:pt x="3549" y="1275"/>
                  <a:pt x="3548" y="1275"/>
                </a:cubicBezTo>
                <a:cubicBezTo>
                  <a:pt x="3544" y="1275"/>
                  <a:pt x="3543" y="1272"/>
                  <a:pt x="3543" y="1269"/>
                </a:cubicBezTo>
                <a:cubicBezTo>
                  <a:pt x="3543" y="1267"/>
                  <a:pt x="3543" y="1266"/>
                  <a:pt x="3544" y="1264"/>
                </a:cubicBezTo>
                <a:cubicBezTo>
                  <a:pt x="3544" y="1263"/>
                  <a:pt x="3544" y="1260"/>
                  <a:pt x="3544" y="1258"/>
                </a:cubicBezTo>
                <a:cubicBezTo>
                  <a:pt x="3544" y="1251"/>
                  <a:pt x="3541" y="1248"/>
                  <a:pt x="3535" y="1247"/>
                </a:cubicBezTo>
                <a:cubicBezTo>
                  <a:pt x="3535" y="1247"/>
                  <a:pt x="3535" y="1247"/>
                  <a:pt x="3535" y="1246"/>
                </a:cubicBezTo>
                <a:cubicBezTo>
                  <a:pt x="3541" y="1245"/>
                  <a:pt x="3544" y="1243"/>
                  <a:pt x="3544" y="1236"/>
                </a:cubicBezTo>
                <a:cubicBezTo>
                  <a:pt x="3544" y="1233"/>
                  <a:pt x="3544" y="1231"/>
                  <a:pt x="3544" y="1229"/>
                </a:cubicBezTo>
                <a:cubicBezTo>
                  <a:pt x="3543" y="1228"/>
                  <a:pt x="3543" y="1226"/>
                  <a:pt x="3543" y="1225"/>
                </a:cubicBezTo>
                <a:cubicBezTo>
                  <a:pt x="3543" y="1221"/>
                  <a:pt x="3544" y="1219"/>
                  <a:pt x="3548" y="1219"/>
                </a:cubicBezTo>
                <a:cubicBezTo>
                  <a:pt x="3548" y="1219"/>
                  <a:pt x="3548" y="1219"/>
                  <a:pt x="3549" y="1219"/>
                </a:cubicBezTo>
                <a:cubicBezTo>
                  <a:pt x="3549" y="1219"/>
                  <a:pt x="3549" y="1219"/>
                  <a:pt x="3549" y="1209"/>
                </a:cubicBezTo>
                <a:cubicBezTo>
                  <a:pt x="3549" y="1209"/>
                  <a:pt x="3549" y="1209"/>
                  <a:pt x="3546" y="1209"/>
                </a:cubicBezTo>
                <a:cubicBezTo>
                  <a:pt x="3537" y="1209"/>
                  <a:pt x="3531" y="1214"/>
                  <a:pt x="3531" y="1222"/>
                </a:cubicBezTo>
                <a:cubicBezTo>
                  <a:pt x="3531" y="1224"/>
                  <a:pt x="3532" y="1227"/>
                  <a:pt x="3532" y="1230"/>
                </a:cubicBezTo>
                <a:cubicBezTo>
                  <a:pt x="3532" y="1232"/>
                  <a:pt x="3532" y="1235"/>
                  <a:pt x="3532" y="1236"/>
                </a:cubicBezTo>
                <a:cubicBezTo>
                  <a:pt x="3532" y="1239"/>
                  <a:pt x="3532" y="1242"/>
                  <a:pt x="3526" y="1243"/>
                </a:cubicBezTo>
                <a:close/>
                <a:moveTo>
                  <a:pt x="3581" y="1251"/>
                </a:moveTo>
                <a:cubicBezTo>
                  <a:pt x="3581" y="1251"/>
                  <a:pt x="3581" y="1251"/>
                  <a:pt x="3581" y="1251"/>
                </a:cubicBezTo>
                <a:cubicBezTo>
                  <a:pt x="3581" y="1243"/>
                  <a:pt x="3581" y="1243"/>
                  <a:pt x="3581" y="1243"/>
                </a:cubicBezTo>
                <a:cubicBezTo>
                  <a:pt x="3574" y="1242"/>
                  <a:pt x="3574" y="1239"/>
                  <a:pt x="3574" y="1236"/>
                </a:cubicBezTo>
                <a:cubicBezTo>
                  <a:pt x="3574" y="1235"/>
                  <a:pt x="3574" y="1232"/>
                  <a:pt x="3574" y="1230"/>
                </a:cubicBezTo>
                <a:cubicBezTo>
                  <a:pt x="3575" y="1227"/>
                  <a:pt x="3575" y="1224"/>
                  <a:pt x="3575" y="1222"/>
                </a:cubicBezTo>
                <a:cubicBezTo>
                  <a:pt x="3575" y="1214"/>
                  <a:pt x="3569" y="1209"/>
                  <a:pt x="3560" y="1209"/>
                </a:cubicBezTo>
                <a:cubicBezTo>
                  <a:pt x="3560" y="1209"/>
                  <a:pt x="3560" y="1209"/>
                  <a:pt x="3556" y="1209"/>
                </a:cubicBezTo>
                <a:cubicBezTo>
                  <a:pt x="3556" y="1209"/>
                  <a:pt x="3556" y="1209"/>
                  <a:pt x="3556" y="1219"/>
                </a:cubicBezTo>
                <a:cubicBezTo>
                  <a:pt x="3556" y="1219"/>
                  <a:pt x="3556" y="1219"/>
                  <a:pt x="3558" y="1219"/>
                </a:cubicBezTo>
                <a:cubicBezTo>
                  <a:pt x="3561" y="1219"/>
                  <a:pt x="3563" y="1221"/>
                  <a:pt x="3563" y="1225"/>
                </a:cubicBezTo>
                <a:cubicBezTo>
                  <a:pt x="3563" y="1226"/>
                  <a:pt x="3563" y="1228"/>
                  <a:pt x="3563" y="1229"/>
                </a:cubicBezTo>
                <a:cubicBezTo>
                  <a:pt x="3562" y="1231"/>
                  <a:pt x="3562" y="1233"/>
                  <a:pt x="3562" y="1236"/>
                </a:cubicBezTo>
                <a:cubicBezTo>
                  <a:pt x="3562" y="1243"/>
                  <a:pt x="3565" y="1245"/>
                  <a:pt x="3571" y="1246"/>
                </a:cubicBezTo>
                <a:cubicBezTo>
                  <a:pt x="3571" y="1246"/>
                  <a:pt x="3571" y="1246"/>
                  <a:pt x="3571" y="1247"/>
                </a:cubicBezTo>
                <a:cubicBezTo>
                  <a:pt x="3565" y="1248"/>
                  <a:pt x="3562" y="1251"/>
                  <a:pt x="3562" y="1258"/>
                </a:cubicBezTo>
                <a:cubicBezTo>
                  <a:pt x="3562" y="1260"/>
                  <a:pt x="3562" y="1263"/>
                  <a:pt x="3563" y="1264"/>
                </a:cubicBezTo>
                <a:cubicBezTo>
                  <a:pt x="3563" y="1266"/>
                  <a:pt x="3563" y="1267"/>
                  <a:pt x="3563" y="1269"/>
                </a:cubicBezTo>
                <a:cubicBezTo>
                  <a:pt x="3563" y="1272"/>
                  <a:pt x="3562" y="1275"/>
                  <a:pt x="3558" y="1275"/>
                </a:cubicBezTo>
                <a:cubicBezTo>
                  <a:pt x="3558" y="1275"/>
                  <a:pt x="3558" y="1275"/>
                  <a:pt x="3556" y="1275"/>
                </a:cubicBezTo>
                <a:cubicBezTo>
                  <a:pt x="3556" y="1275"/>
                  <a:pt x="3556" y="1275"/>
                  <a:pt x="3556" y="1284"/>
                </a:cubicBezTo>
                <a:cubicBezTo>
                  <a:pt x="3556" y="1284"/>
                  <a:pt x="3556" y="1284"/>
                  <a:pt x="3560" y="1284"/>
                </a:cubicBezTo>
                <a:cubicBezTo>
                  <a:pt x="3569" y="1284"/>
                  <a:pt x="3575" y="1281"/>
                  <a:pt x="3575" y="1271"/>
                </a:cubicBezTo>
                <a:cubicBezTo>
                  <a:pt x="3575" y="1269"/>
                  <a:pt x="3575" y="1267"/>
                  <a:pt x="3574" y="1264"/>
                </a:cubicBezTo>
                <a:cubicBezTo>
                  <a:pt x="3574" y="1261"/>
                  <a:pt x="3574" y="1259"/>
                  <a:pt x="3574" y="1257"/>
                </a:cubicBezTo>
                <a:cubicBezTo>
                  <a:pt x="3574" y="1254"/>
                  <a:pt x="3574" y="1251"/>
                  <a:pt x="3581" y="1251"/>
                </a:cubicBezTo>
                <a:close/>
                <a:moveTo>
                  <a:pt x="3764" y="1284"/>
                </a:moveTo>
                <a:cubicBezTo>
                  <a:pt x="3757" y="1284"/>
                  <a:pt x="3750" y="1281"/>
                  <a:pt x="3746" y="1275"/>
                </a:cubicBezTo>
                <a:cubicBezTo>
                  <a:pt x="3742" y="1268"/>
                  <a:pt x="3740" y="1260"/>
                  <a:pt x="3740" y="1247"/>
                </a:cubicBezTo>
                <a:cubicBezTo>
                  <a:pt x="3740" y="1234"/>
                  <a:pt x="3742" y="1224"/>
                  <a:pt x="3747" y="1218"/>
                </a:cubicBezTo>
                <a:cubicBezTo>
                  <a:pt x="3751" y="1211"/>
                  <a:pt x="3758" y="1208"/>
                  <a:pt x="3766" y="1208"/>
                </a:cubicBezTo>
                <a:cubicBezTo>
                  <a:pt x="3782" y="1208"/>
                  <a:pt x="3790" y="1220"/>
                  <a:pt x="3790" y="1246"/>
                </a:cubicBezTo>
                <a:cubicBezTo>
                  <a:pt x="3790" y="1258"/>
                  <a:pt x="3788" y="1268"/>
                  <a:pt x="3783" y="1274"/>
                </a:cubicBezTo>
                <a:cubicBezTo>
                  <a:pt x="3779" y="1281"/>
                  <a:pt x="3772" y="1284"/>
                  <a:pt x="3764" y="1284"/>
                </a:cubicBezTo>
                <a:close/>
                <a:moveTo>
                  <a:pt x="3766" y="1217"/>
                </a:moveTo>
                <a:cubicBezTo>
                  <a:pt x="3756" y="1217"/>
                  <a:pt x="3752" y="1227"/>
                  <a:pt x="3752" y="1247"/>
                </a:cubicBezTo>
                <a:cubicBezTo>
                  <a:pt x="3752" y="1266"/>
                  <a:pt x="3756" y="1274"/>
                  <a:pt x="3765" y="1274"/>
                </a:cubicBezTo>
                <a:cubicBezTo>
                  <a:pt x="3774" y="1274"/>
                  <a:pt x="3778" y="1266"/>
                  <a:pt x="3778" y="1246"/>
                </a:cubicBezTo>
                <a:cubicBezTo>
                  <a:pt x="3778" y="1227"/>
                  <a:pt x="3774" y="1217"/>
                  <a:pt x="3766" y="1217"/>
                </a:cubicBezTo>
                <a:close/>
                <a:moveTo>
                  <a:pt x="3835" y="1284"/>
                </a:moveTo>
                <a:cubicBezTo>
                  <a:pt x="3827" y="1284"/>
                  <a:pt x="3821" y="1281"/>
                  <a:pt x="3817" y="1275"/>
                </a:cubicBezTo>
                <a:cubicBezTo>
                  <a:pt x="3813" y="1268"/>
                  <a:pt x="3811" y="1260"/>
                  <a:pt x="3811" y="1247"/>
                </a:cubicBezTo>
                <a:cubicBezTo>
                  <a:pt x="3811" y="1234"/>
                  <a:pt x="3813" y="1224"/>
                  <a:pt x="3817" y="1218"/>
                </a:cubicBezTo>
                <a:cubicBezTo>
                  <a:pt x="3822" y="1211"/>
                  <a:pt x="3828" y="1208"/>
                  <a:pt x="3837" y="1208"/>
                </a:cubicBezTo>
                <a:cubicBezTo>
                  <a:pt x="3853" y="1208"/>
                  <a:pt x="3861" y="1220"/>
                  <a:pt x="3861" y="1246"/>
                </a:cubicBezTo>
                <a:cubicBezTo>
                  <a:pt x="3861" y="1258"/>
                  <a:pt x="3859" y="1268"/>
                  <a:pt x="3854" y="1274"/>
                </a:cubicBezTo>
                <a:cubicBezTo>
                  <a:pt x="3849" y="1281"/>
                  <a:pt x="3843" y="1284"/>
                  <a:pt x="3835" y="1284"/>
                </a:cubicBezTo>
                <a:close/>
                <a:moveTo>
                  <a:pt x="3836" y="1217"/>
                </a:moveTo>
                <a:cubicBezTo>
                  <a:pt x="3827" y="1217"/>
                  <a:pt x="3822" y="1227"/>
                  <a:pt x="3822" y="1247"/>
                </a:cubicBezTo>
                <a:cubicBezTo>
                  <a:pt x="3822" y="1266"/>
                  <a:pt x="3827" y="1274"/>
                  <a:pt x="3835" y="1274"/>
                </a:cubicBezTo>
                <a:cubicBezTo>
                  <a:pt x="3844" y="1274"/>
                  <a:pt x="3849" y="1266"/>
                  <a:pt x="3849" y="1246"/>
                </a:cubicBezTo>
                <a:cubicBezTo>
                  <a:pt x="3849" y="1227"/>
                  <a:pt x="3844" y="1217"/>
                  <a:pt x="3836" y="1217"/>
                </a:cubicBezTo>
                <a:close/>
                <a:moveTo>
                  <a:pt x="1980" y="1306"/>
                </a:moveTo>
                <a:cubicBezTo>
                  <a:pt x="1980" y="1306"/>
                  <a:pt x="1980" y="1306"/>
                  <a:pt x="1980" y="1306"/>
                </a:cubicBezTo>
                <a:cubicBezTo>
                  <a:pt x="1975" y="1306"/>
                  <a:pt x="1975" y="1306"/>
                  <a:pt x="1975" y="1306"/>
                </a:cubicBezTo>
                <a:cubicBezTo>
                  <a:pt x="1973" y="1308"/>
                  <a:pt x="1971" y="1309"/>
                  <a:pt x="1969" y="1310"/>
                </a:cubicBezTo>
                <a:cubicBezTo>
                  <a:pt x="1968" y="1312"/>
                  <a:pt x="1966" y="1312"/>
                  <a:pt x="1964" y="1313"/>
                </a:cubicBezTo>
                <a:cubicBezTo>
                  <a:pt x="1962" y="1314"/>
                  <a:pt x="1960" y="1315"/>
                  <a:pt x="1959" y="1316"/>
                </a:cubicBezTo>
                <a:cubicBezTo>
                  <a:pt x="1957" y="1317"/>
                  <a:pt x="1955" y="1317"/>
                  <a:pt x="1953" y="1317"/>
                </a:cubicBezTo>
                <a:cubicBezTo>
                  <a:pt x="1953" y="1317"/>
                  <a:pt x="1953" y="1317"/>
                  <a:pt x="1953" y="1328"/>
                </a:cubicBezTo>
                <a:cubicBezTo>
                  <a:pt x="1956" y="1327"/>
                  <a:pt x="1959" y="1326"/>
                  <a:pt x="1962" y="1325"/>
                </a:cubicBezTo>
                <a:cubicBezTo>
                  <a:pt x="1964" y="1324"/>
                  <a:pt x="1966" y="1322"/>
                  <a:pt x="1968" y="1321"/>
                </a:cubicBezTo>
                <a:cubicBezTo>
                  <a:pt x="1968" y="1321"/>
                  <a:pt x="1968" y="1321"/>
                  <a:pt x="1968" y="1380"/>
                </a:cubicBezTo>
                <a:cubicBezTo>
                  <a:pt x="1968" y="1380"/>
                  <a:pt x="1968" y="1380"/>
                  <a:pt x="1980" y="1380"/>
                </a:cubicBezTo>
                <a:cubicBezTo>
                  <a:pt x="1980" y="1380"/>
                  <a:pt x="1980" y="1380"/>
                  <a:pt x="1980" y="1306"/>
                </a:cubicBezTo>
                <a:close/>
                <a:moveTo>
                  <a:pt x="2027" y="1306"/>
                </a:moveTo>
                <a:cubicBezTo>
                  <a:pt x="2027" y="1306"/>
                  <a:pt x="2027" y="1306"/>
                  <a:pt x="2027" y="1306"/>
                </a:cubicBezTo>
                <a:cubicBezTo>
                  <a:pt x="2022" y="1306"/>
                  <a:pt x="2022" y="1306"/>
                  <a:pt x="2022" y="1306"/>
                </a:cubicBezTo>
                <a:cubicBezTo>
                  <a:pt x="2020" y="1308"/>
                  <a:pt x="2019" y="1309"/>
                  <a:pt x="2016" y="1310"/>
                </a:cubicBezTo>
                <a:cubicBezTo>
                  <a:pt x="2015" y="1312"/>
                  <a:pt x="2013" y="1312"/>
                  <a:pt x="2011" y="1313"/>
                </a:cubicBezTo>
                <a:cubicBezTo>
                  <a:pt x="2010" y="1314"/>
                  <a:pt x="2008" y="1315"/>
                  <a:pt x="2006" y="1316"/>
                </a:cubicBezTo>
                <a:cubicBezTo>
                  <a:pt x="2004" y="1317"/>
                  <a:pt x="2003" y="1317"/>
                  <a:pt x="2000" y="1317"/>
                </a:cubicBezTo>
                <a:cubicBezTo>
                  <a:pt x="2000" y="1317"/>
                  <a:pt x="2000" y="1317"/>
                  <a:pt x="2000" y="1328"/>
                </a:cubicBezTo>
                <a:cubicBezTo>
                  <a:pt x="2003" y="1327"/>
                  <a:pt x="2006" y="1326"/>
                  <a:pt x="2008" y="1325"/>
                </a:cubicBezTo>
                <a:cubicBezTo>
                  <a:pt x="2011" y="1324"/>
                  <a:pt x="2014" y="1322"/>
                  <a:pt x="2016" y="1321"/>
                </a:cubicBezTo>
                <a:cubicBezTo>
                  <a:pt x="2016" y="1321"/>
                  <a:pt x="2016" y="1321"/>
                  <a:pt x="2016" y="1380"/>
                </a:cubicBezTo>
                <a:cubicBezTo>
                  <a:pt x="2016" y="1380"/>
                  <a:pt x="2016" y="1380"/>
                  <a:pt x="2027" y="1380"/>
                </a:cubicBezTo>
                <a:cubicBezTo>
                  <a:pt x="2027" y="1380"/>
                  <a:pt x="2027" y="1380"/>
                  <a:pt x="2027" y="1306"/>
                </a:cubicBezTo>
                <a:close/>
                <a:moveTo>
                  <a:pt x="2074" y="1306"/>
                </a:moveTo>
                <a:cubicBezTo>
                  <a:pt x="2074" y="1306"/>
                  <a:pt x="2074" y="1306"/>
                  <a:pt x="2074" y="1306"/>
                </a:cubicBezTo>
                <a:cubicBezTo>
                  <a:pt x="2070" y="1306"/>
                  <a:pt x="2070" y="1306"/>
                  <a:pt x="2070" y="1306"/>
                </a:cubicBezTo>
                <a:cubicBezTo>
                  <a:pt x="2067" y="1308"/>
                  <a:pt x="2066" y="1309"/>
                  <a:pt x="2064" y="1310"/>
                </a:cubicBezTo>
                <a:cubicBezTo>
                  <a:pt x="2062" y="1312"/>
                  <a:pt x="2060" y="1312"/>
                  <a:pt x="2059" y="1313"/>
                </a:cubicBezTo>
                <a:cubicBezTo>
                  <a:pt x="2057" y="1314"/>
                  <a:pt x="2055" y="1314"/>
                  <a:pt x="2053" y="1315"/>
                </a:cubicBezTo>
                <a:cubicBezTo>
                  <a:pt x="2052" y="1316"/>
                  <a:pt x="2049" y="1317"/>
                  <a:pt x="2048" y="1317"/>
                </a:cubicBezTo>
                <a:cubicBezTo>
                  <a:pt x="2048" y="1317"/>
                  <a:pt x="2048" y="1317"/>
                  <a:pt x="2048" y="1328"/>
                </a:cubicBezTo>
                <a:cubicBezTo>
                  <a:pt x="2051" y="1327"/>
                  <a:pt x="2054" y="1325"/>
                  <a:pt x="2056" y="1325"/>
                </a:cubicBezTo>
                <a:cubicBezTo>
                  <a:pt x="2058" y="1324"/>
                  <a:pt x="2061" y="1322"/>
                  <a:pt x="2062" y="1321"/>
                </a:cubicBezTo>
                <a:cubicBezTo>
                  <a:pt x="2062" y="1321"/>
                  <a:pt x="2062" y="1321"/>
                  <a:pt x="2062" y="1380"/>
                </a:cubicBezTo>
                <a:cubicBezTo>
                  <a:pt x="2062" y="1380"/>
                  <a:pt x="2062" y="1380"/>
                  <a:pt x="2074" y="1380"/>
                </a:cubicBezTo>
                <a:cubicBezTo>
                  <a:pt x="2074" y="1380"/>
                  <a:pt x="2074" y="1380"/>
                  <a:pt x="2074" y="1306"/>
                </a:cubicBezTo>
                <a:close/>
                <a:moveTo>
                  <a:pt x="2119" y="1380"/>
                </a:moveTo>
                <a:cubicBezTo>
                  <a:pt x="2111" y="1380"/>
                  <a:pt x="2105" y="1377"/>
                  <a:pt x="2100" y="1371"/>
                </a:cubicBezTo>
                <a:cubicBezTo>
                  <a:pt x="2097" y="1364"/>
                  <a:pt x="2095" y="1356"/>
                  <a:pt x="2095" y="1343"/>
                </a:cubicBezTo>
                <a:cubicBezTo>
                  <a:pt x="2095" y="1330"/>
                  <a:pt x="2097" y="1320"/>
                  <a:pt x="2101" y="1314"/>
                </a:cubicBezTo>
                <a:cubicBezTo>
                  <a:pt x="2106" y="1307"/>
                  <a:pt x="2112" y="1304"/>
                  <a:pt x="2121" y="1304"/>
                </a:cubicBezTo>
                <a:cubicBezTo>
                  <a:pt x="2137" y="1304"/>
                  <a:pt x="2145" y="1316"/>
                  <a:pt x="2145" y="1342"/>
                </a:cubicBezTo>
                <a:cubicBezTo>
                  <a:pt x="2145" y="1354"/>
                  <a:pt x="2143" y="1364"/>
                  <a:pt x="2138" y="1370"/>
                </a:cubicBezTo>
                <a:cubicBezTo>
                  <a:pt x="2133" y="1377"/>
                  <a:pt x="2127" y="1380"/>
                  <a:pt x="2119" y="1380"/>
                </a:cubicBezTo>
                <a:close/>
                <a:moveTo>
                  <a:pt x="2120" y="1313"/>
                </a:moveTo>
                <a:cubicBezTo>
                  <a:pt x="2111" y="1313"/>
                  <a:pt x="2106" y="1323"/>
                  <a:pt x="2106" y="1343"/>
                </a:cubicBezTo>
                <a:cubicBezTo>
                  <a:pt x="2106" y="1362"/>
                  <a:pt x="2111" y="1370"/>
                  <a:pt x="2119" y="1370"/>
                </a:cubicBezTo>
                <a:cubicBezTo>
                  <a:pt x="2128" y="1370"/>
                  <a:pt x="2133" y="1362"/>
                  <a:pt x="2133" y="1342"/>
                </a:cubicBezTo>
                <a:cubicBezTo>
                  <a:pt x="2133" y="1323"/>
                  <a:pt x="2128" y="1313"/>
                  <a:pt x="2120" y="1313"/>
                </a:cubicBezTo>
                <a:close/>
                <a:moveTo>
                  <a:pt x="2190" y="1380"/>
                </a:moveTo>
                <a:cubicBezTo>
                  <a:pt x="2182" y="1380"/>
                  <a:pt x="2176" y="1377"/>
                  <a:pt x="2172" y="1371"/>
                </a:cubicBezTo>
                <a:cubicBezTo>
                  <a:pt x="2168" y="1364"/>
                  <a:pt x="2166" y="1356"/>
                  <a:pt x="2166" y="1343"/>
                </a:cubicBezTo>
                <a:cubicBezTo>
                  <a:pt x="2166" y="1330"/>
                  <a:pt x="2168" y="1320"/>
                  <a:pt x="2172" y="1314"/>
                </a:cubicBezTo>
                <a:cubicBezTo>
                  <a:pt x="2177" y="1307"/>
                  <a:pt x="2183" y="1304"/>
                  <a:pt x="2192" y="1304"/>
                </a:cubicBezTo>
                <a:cubicBezTo>
                  <a:pt x="2208" y="1304"/>
                  <a:pt x="2216" y="1316"/>
                  <a:pt x="2216" y="1342"/>
                </a:cubicBezTo>
                <a:cubicBezTo>
                  <a:pt x="2216" y="1354"/>
                  <a:pt x="2214" y="1364"/>
                  <a:pt x="2209" y="1370"/>
                </a:cubicBezTo>
                <a:cubicBezTo>
                  <a:pt x="2204" y="1377"/>
                  <a:pt x="2198" y="1380"/>
                  <a:pt x="2190" y="1380"/>
                </a:cubicBezTo>
                <a:close/>
                <a:moveTo>
                  <a:pt x="2191" y="1313"/>
                </a:moveTo>
                <a:cubicBezTo>
                  <a:pt x="2182" y="1313"/>
                  <a:pt x="2177" y="1323"/>
                  <a:pt x="2177" y="1343"/>
                </a:cubicBezTo>
                <a:cubicBezTo>
                  <a:pt x="2177" y="1362"/>
                  <a:pt x="2182" y="1370"/>
                  <a:pt x="2190" y="1370"/>
                </a:cubicBezTo>
                <a:cubicBezTo>
                  <a:pt x="2199" y="1370"/>
                  <a:pt x="2204" y="1362"/>
                  <a:pt x="2204" y="1342"/>
                </a:cubicBezTo>
                <a:cubicBezTo>
                  <a:pt x="2204" y="1323"/>
                  <a:pt x="2199" y="1313"/>
                  <a:pt x="2191" y="1313"/>
                </a:cubicBezTo>
                <a:close/>
                <a:moveTo>
                  <a:pt x="2403" y="1380"/>
                </a:moveTo>
                <a:cubicBezTo>
                  <a:pt x="2395" y="1380"/>
                  <a:pt x="2389" y="1377"/>
                  <a:pt x="2385" y="1370"/>
                </a:cubicBezTo>
                <a:cubicBezTo>
                  <a:pt x="2380" y="1364"/>
                  <a:pt x="2378" y="1355"/>
                  <a:pt x="2378" y="1343"/>
                </a:cubicBezTo>
                <a:cubicBezTo>
                  <a:pt x="2378" y="1330"/>
                  <a:pt x="2380" y="1320"/>
                  <a:pt x="2385" y="1313"/>
                </a:cubicBezTo>
                <a:cubicBezTo>
                  <a:pt x="2389" y="1306"/>
                  <a:pt x="2396" y="1304"/>
                  <a:pt x="2405" y="1304"/>
                </a:cubicBezTo>
                <a:cubicBezTo>
                  <a:pt x="2421" y="1304"/>
                  <a:pt x="2429" y="1316"/>
                  <a:pt x="2429" y="1341"/>
                </a:cubicBezTo>
                <a:cubicBezTo>
                  <a:pt x="2429" y="1354"/>
                  <a:pt x="2427" y="1364"/>
                  <a:pt x="2422" y="1370"/>
                </a:cubicBezTo>
                <a:cubicBezTo>
                  <a:pt x="2417" y="1377"/>
                  <a:pt x="2411" y="1380"/>
                  <a:pt x="2403" y="1380"/>
                </a:cubicBezTo>
                <a:close/>
                <a:moveTo>
                  <a:pt x="2404" y="1313"/>
                </a:moveTo>
                <a:cubicBezTo>
                  <a:pt x="2395" y="1313"/>
                  <a:pt x="2391" y="1323"/>
                  <a:pt x="2391" y="1342"/>
                </a:cubicBezTo>
                <a:cubicBezTo>
                  <a:pt x="2391" y="1361"/>
                  <a:pt x="2395" y="1370"/>
                  <a:pt x="2404" y="1370"/>
                </a:cubicBezTo>
                <a:cubicBezTo>
                  <a:pt x="2412" y="1370"/>
                  <a:pt x="2417" y="1361"/>
                  <a:pt x="2417" y="1342"/>
                </a:cubicBezTo>
                <a:cubicBezTo>
                  <a:pt x="2417" y="1323"/>
                  <a:pt x="2413" y="1313"/>
                  <a:pt x="2404" y="1313"/>
                </a:cubicBezTo>
                <a:close/>
                <a:moveTo>
                  <a:pt x="2521" y="1380"/>
                </a:moveTo>
                <a:cubicBezTo>
                  <a:pt x="2513" y="1380"/>
                  <a:pt x="2507" y="1377"/>
                  <a:pt x="2503" y="1370"/>
                </a:cubicBezTo>
                <a:cubicBezTo>
                  <a:pt x="2499" y="1364"/>
                  <a:pt x="2496" y="1355"/>
                  <a:pt x="2496" y="1343"/>
                </a:cubicBezTo>
                <a:cubicBezTo>
                  <a:pt x="2496" y="1330"/>
                  <a:pt x="2499" y="1320"/>
                  <a:pt x="2503" y="1313"/>
                </a:cubicBezTo>
                <a:cubicBezTo>
                  <a:pt x="2507" y="1306"/>
                  <a:pt x="2514" y="1304"/>
                  <a:pt x="2523" y="1304"/>
                </a:cubicBezTo>
                <a:cubicBezTo>
                  <a:pt x="2539" y="1304"/>
                  <a:pt x="2547" y="1316"/>
                  <a:pt x="2547" y="1341"/>
                </a:cubicBezTo>
                <a:cubicBezTo>
                  <a:pt x="2547" y="1354"/>
                  <a:pt x="2545" y="1364"/>
                  <a:pt x="2541" y="1370"/>
                </a:cubicBezTo>
                <a:cubicBezTo>
                  <a:pt x="2535" y="1377"/>
                  <a:pt x="2530" y="1380"/>
                  <a:pt x="2521" y="1380"/>
                </a:cubicBezTo>
                <a:close/>
                <a:moveTo>
                  <a:pt x="2522" y="1313"/>
                </a:moveTo>
                <a:cubicBezTo>
                  <a:pt x="2513" y="1313"/>
                  <a:pt x="2509" y="1323"/>
                  <a:pt x="2509" y="1342"/>
                </a:cubicBezTo>
                <a:cubicBezTo>
                  <a:pt x="2509" y="1361"/>
                  <a:pt x="2513" y="1370"/>
                  <a:pt x="2522" y="1370"/>
                </a:cubicBezTo>
                <a:cubicBezTo>
                  <a:pt x="2530" y="1370"/>
                  <a:pt x="2535" y="1361"/>
                  <a:pt x="2535" y="1342"/>
                </a:cubicBezTo>
                <a:cubicBezTo>
                  <a:pt x="2535" y="1323"/>
                  <a:pt x="2531" y="1313"/>
                  <a:pt x="2522" y="1313"/>
                </a:cubicBezTo>
                <a:close/>
                <a:moveTo>
                  <a:pt x="2476" y="1306"/>
                </a:moveTo>
                <a:cubicBezTo>
                  <a:pt x="2476" y="1306"/>
                  <a:pt x="2476" y="1306"/>
                  <a:pt x="2476" y="1306"/>
                </a:cubicBezTo>
                <a:cubicBezTo>
                  <a:pt x="2471" y="1306"/>
                  <a:pt x="2471" y="1306"/>
                  <a:pt x="2471" y="1306"/>
                </a:cubicBezTo>
                <a:cubicBezTo>
                  <a:pt x="2469" y="1308"/>
                  <a:pt x="2467" y="1309"/>
                  <a:pt x="2465" y="1310"/>
                </a:cubicBezTo>
                <a:cubicBezTo>
                  <a:pt x="2464" y="1312"/>
                  <a:pt x="2462" y="1312"/>
                  <a:pt x="2460" y="1313"/>
                </a:cubicBezTo>
                <a:cubicBezTo>
                  <a:pt x="2459" y="1314"/>
                  <a:pt x="2457" y="1314"/>
                  <a:pt x="2455" y="1315"/>
                </a:cubicBezTo>
                <a:cubicBezTo>
                  <a:pt x="2453" y="1316"/>
                  <a:pt x="2451" y="1317"/>
                  <a:pt x="2449" y="1317"/>
                </a:cubicBezTo>
                <a:cubicBezTo>
                  <a:pt x="2449" y="1317"/>
                  <a:pt x="2449" y="1317"/>
                  <a:pt x="2449" y="1328"/>
                </a:cubicBezTo>
                <a:cubicBezTo>
                  <a:pt x="2452" y="1327"/>
                  <a:pt x="2455" y="1325"/>
                  <a:pt x="2457" y="1325"/>
                </a:cubicBezTo>
                <a:cubicBezTo>
                  <a:pt x="2460" y="1324"/>
                  <a:pt x="2462" y="1322"/>
                  <a:pt x="2465" y="1321"/>
                </a:cubicBezTo>
                <a:cubicBezTo>
                  <a:pt x="2465" y="1321"/>
                  <a:pt x="2465" y="1321"/>
                  <a:pt x="2465" y="1380"/>
                </a:cubicBezTo>
                <a:cubicBezTo>
                  <a:pt x="2465" y="1380"/>
                  <a:pt x="2465" y="1380"/>
                  <a:pt x="2476" y="1380"/>
                </a:cubicBezTo>
                <a:cubicBezTo>
                  <a:pt x="2476" y="1380"/>
                  <a:pt x="2476" y="1380"/>
                  <a:pt x="2476" y="1306"/>
                </a:cubicBezTo>
                <a:close/>
                <a:moveTo>
                  <a:pt x="2592" y="1380"/>
                </a:moveTo>
                <a:cubicBezTo>
                  <a:pt x="2584" y="1380"/>
                  <a:pt x="2578" y="1377"/>
                  <a:pt x="2574" y="1371"/>
                </a:cubicBezTo>
                <a:cubicBezTo>
                  <a:pt x="2570" y="1364"/>
                  <a:pt x="2567" y="1356"/>
                  <a:pt x="2567" y="1343"/>
                </a:cubicBezTo>
                <a:cubicBezTo>
                  <a:pt x="2567" y="1330"/>
                  <a:pt x="2570" y="1320"/>
                  <a:pt x="2574" y="1314"/>
                </a:cubicBezTo>
                <a:cubicBezTo>
                  <a:pt x="2578" y="1307"/>
                  <a:pt x="2585" y="1304"/>
                  <a:pt x="2594" y="1304"/>
                </a:cubicBezTo>
                <a:cubicBezTo>
                  <a:pt x="2610" y="1304"/>
                  <a:pt x="2618" y="1316"/>
                  <a:pt x="2618" y="1342"/>
                </a:cubicBezTo>
                <a:cubicBezTo>
                  <a:pt x="2618" y="1354"/>
                  <a:pt x="2616" y="1364"/>
                  <a:pt x="2612" y="1370"/>
                </a:cubicBezTo>
                <a:cubicBezTo>
                  <a:pt x="2606" y="1377"/>
                  <a:pt x="2601" y="1380"/>
                  <a:pt x="2592" y="1380"/>
                </a:cubicBezTo>
                <a:close/>
                <a:moveTo>
                  <a:pt x="2593" y="1313"/>
                </a:moveTo>
                <a:cubicBezTo>
                  <a:pt x="2584" y="1313"/>
                  <a:pt x="2579" y="1323"/>
                  <a:pt x="2579" y="1343"/>
                </a:cubicBezTo>
                <a:cubicBezTo>
                  <a:pt x="2579" y="1362"/>
                  <a:pt x="2584" y="1370"/>
                  <a:pt x="2592" y="1370"/>
                </a:cubicBezTo>
                <a:cubicBezTo>
                  <a:pt x="2601" y="1370"/>
                  <a:pt x="2606" y="1362"/>
                  <a:pt x="2606" y="1342"/>
                </a:cubicBezTo>
                <a:cubicBezTo>
                  <a:pt x="2606" y="1323"/>
                  <a:pt x="2601" y="1313"/>
                  <a:pt x="2593" y="1313"/>
                </a:cubicBezTo>
                <a:close/>
                <a:moveTo>
                  <a:pt x="2639" y="1339"/>
                </a:moveTo>
                <a:cubicBezTo>
                  <a:pt x="2639" y="1339"/>
                  <a:pt x="2639" y="1339"/>
                  <a:pt x="2639" y="1339"/>
                </a:cubicBezTo>
                <a:cubicBezTo>
                  <a:pt x="2638" y="1347"/>
                  <a:pt x="2638" y="1347"/>
                  <a:pt x="2638" y="1347"/>
                </a:cubicBezTo>
                <a:cubicBezTo>
                  <a:pt x="2645" y="1347"/>
                  <a:pt x="2646" y="1350"/>
                  <a:pt x="2646" y="1353"/>
                </a:cubicBezTo>
                <a:cubicBezTo>
                  <a:pt x="2646" y="1355"/>
                  <a:pt x="2645" y="1357"/>
                  <a:pt x="2645" y="1360"/>
                </a:cubicBezTo>
                <a:cubicBezTo>
                  <a:pt x="2645" y="1363"/>
                  <a:pt x="2644" y="1365"/>
                  <a:pt x="2644" y="1367"/>
                </a:cubicBezTo>
                <a:cubicBezTo>
                  <a:pt x="2644" y="1377"/>
                  <a:pt x="2650" y="1380"/>
                  <a:pt x="2659" y="1380"/>
                </a:cubicBezTo>
                <a:cubicBezTo>
                  <a:pt x="2659" y="1380"/>
                  <a:pt x="2659" y="1380"/>
                  <a:pt x="2663" y="1380"/>
                </a:cubicBezTo>
                <a:cubicBezTo>
                  <a:pt x="2663" y="1380"/>
                  <a:pt x="2663" y="1380"/>
                  <a:pt x="2663" y="1371"/>
                </a:cubicBezTo>
                <a:cubicBezTo>
                  <a:pt x="2663" y="1371"/>
                  <a:pt x="2663" y="1371"/>
                  <a:pt x="2661" y="1371"/>
                </a:cubicBezTo>
                <a:cubicBezTo>
                  <a:pt x="2658" y="1371"/>
                  <a:pt x="2656" y="1368"/>
                  <a:pt x="2656" y="1365"/>
                </a:cubicBezTo>
                <a:cubicBezTo>
                  <a:pt x="2656" y="1363"/>
                  <a:pt x="2656" y="1362"/>
                  <a:pt x="2657" y="1360"/>
                </a:cubicBezTo>
                <a:cubicBezTo>
                  <a:pt x="2657" y="1359"/>
                  <a:pt x="2657" y="1356"/>
                  <a:pt x="2657" y="1354"/>
                </a:cubicBezTo>
                <a:cubicBezTo>
                  <a:pt x="2657" y="1347"/>
                  <a:pt x="2654" y="1344"/>
                  <a:pt x="2649" y="1343"/>
                </a:cubicBezTo>
                <a:cubicBezTo>
                  <a:pt x="2649" y="1343"/>
                  <a:pt x="2649" y="1343"/>
                  <a:pt x="2649" y="1342"/>
                </a:cubicBezTo>
                <a:cubicBezTo>
                  <a:pt x="2654" y="1341"/>
                  <a:pt x="2657" y="1339"/>
                  <a:pt x="2657" y="1332"/>
                </a:cubicBezTo>
                <a:cubicBezTo>
                  <a:pt x="2657" y="1329"/>
                  <a:pt x="2657" y="1327"/>
                  <a:pt x="2657" y="1325"/>
                </a:cubicBezTo>
                <a:cubicBezTo>
                  <a:pt x="2656" y="1324"/>
                  <a:pt x="2656" y="1322"/>
                  <a:pt x="2656" y="1321"/>
                </a:cubicBezTo>
                <a:cubicBezTo>
                  <a:pt x="2656" y="1317"/>
                  <a:pt x="2658" y="1315"/>
                  <a:pt x="2661" y="1315"/>
                </a:cubicBezTo>
                <a:cubicBezTo>
                  <a:pt x="2661" y="1315"/>
                  <a:pt x="2661" y="1315"/>
                  <a:pt x="2663" y="1315"/>
                </a:cubicBezTo>
                <a:cubicBezTo>
                  <a:pt x="2663" y="1315"/>
                  <a:pt x="2663" y="1315"/>
                  <a:pt x="2663" y="1305"/>
                </a:cubicBezTo>
                <a:cubicBezTo>
                  <a:pt x="2663" y="1305"/>
                  <a:pt x="2663" y="1305"/>
                  <a:pt x="2659" y="1305"/>
                </a:cubicBezTo>
                <a:cubicBezTo>
                  <a:pt x="2650" y="1305"/>
                  <a:pt x="2644" y="1310"/>
                  <a:pt x="2644" y="1318"/>
                </a:cubicBezTo>
                <a:cubicBezTo>
                  <a:pt x="2644" y="1320"/>
                  <a:pt x="2645" y="1323"/>
                  <a:pt x="2645" y="1326"/>
                </a:cubicBezTo>
                <a:cubicBezTo>
                  <a:pt x="2645" y="1328"/>
                  <a:pt x="2646" y="1331"/>
                  <a:pt x="2646" y="1332"/>
                </a:cubicBezTo>
                <a:cubicBezTo>
                  <a:pt x="2646" y="1335"/>
                  <a:pt x="2645" y="1338"/>
                  <a:pt x="2639" y="1339"/>
                </a:cubicBezTo>
                <a:close/>
                <a:moveTo>
                  <a:pt x="2694" y="1347"/>
                </a:moveTo>
                <a:cubicBezTo>
                  <a:pt x="2694" y="1347"/>
                  <a:pt x="2694" y="1347"/>
                  <a:pt x="2694" y="1347"/>
                </a:cubicBezTo>
                <a:cubicBezTo>
                  <a:pt x="2694" y="1339"/>
                  <a:pt x="2694" y="1339"/>
                  <a:pt x="2694" y="1339"/>
                </a:cubicBezTo>
                <a:cubicBezTo>
                  <a:pt x="2687" y="1338"/>
                  <a:pt x="2687" y="1335"/>
                  <a:pt x="2687" y="1332"/>
                </a:cubicBezTo>
                <a:cubicBezTo>
                  <a:pt x="2687" y="1331"/>
                  <a:pt x="2687" y="1328"/>
                  <a:pt x="2687" y="1326"/>
                </a:cubicBezTo>
                <a:cubicBezTo>
                  <a:pt x="2688" y="1323"/>
                  <a:pt x="2688" y="1320"/>
                  <a:pt x="2688" y="1318"/>
                </a:cubicBezTo>
                <a:cubicBezTo>
                  <a:pt x="2688" y="1310"/>
                  <a:pt x="2683" y="1305"/>
                  <a:pt x="2673" y="1305"/>
                </a:cubicBezTo>
                <a:cubicBezTo>
                  <a:pt x="2673" y="1305"/>
                  <a:pt x="2673" y="1305"/>
                  <a:pt x="2670" y="1305"/>
                </a:cubicBezTo>
                <a:cubicBezTo>
                  <a:pt x="2670" y="1305"/>
                  <a:pt x="2670" y="1305"/>
                  <a:pt x="2670" y="1315"/>
                </a:cubicBezTo>
                <a:cubicBezTo>
                  <a:pt x="2670" y="1315"/>
                  <a:pt x="2670" y="1315"/>
                  <a:pt x="2671" y="1315"/>
                </a:cubicBezTo>
                <a:cubicBezTo>
                  <a:pt x="2675" y="1315"/>
                  <a:pt x="2676" y="1317"/>
                  <a:pt x="2676" y="1321"/>
                </a:cubicBezTo>
                <a:cubicBezTo>
                  <a:pt x="2676" y="1322"/>
                  <a:pt x="2676" y="1324"/>
                  <a:pt x="2676" y="1325"/>
                </a:cubicBezTo>
                <a:cubicBezTo>
                  <a:pt x="2676" y="1327"/>
                  <a:pt x="2676" y="1329"/>
                  <a:pt x="2676" y="1332"/>
                </a:cubicBezTo>
                <a:cubicBezTo>
                  <a:pt x="2676" y="1339"/>
                  <a:pt x="2678" y="1341"/>
                  <a:pt x="2684" y="1342"/>
                </a:cubicBezTo>
                <a:cubicBezTo>
                  <a:pt x="2684" y="1342"/>
                  <a:pt x="2684" y="1342"/>
                  <a:pt x="2684" y="1343"/>
                </a:cubicBezTo>
                <a:cubicBezTo>
                  <a:pt x="2678" y="1344"/>
                  <a:pt x="2676" y="1347"/>
                  <a:pt x="2676" y="1354"/>
                </a:cubicBezTo>
                <a:cubicBezTo>
                  <a:pt x="2676" y="1356"/>
                  <a:pt x="2676" y="1359"/>
                  <a:pt x="2676" y="1360"/>
                </a:cubicBezTo>
                <a:cubicBezTo>
                  <a:pt x="2676" y="1362"/>
                  <a:pt x="2676" y="1363"/>
                  <a:pt x="2676" y="1365"/>
                </a:cubicBezTo>
                <a:cubicBezTo>
                  <a:pt x="2676" y="1368"/>
                  <a:pt x="2675" y="1371"/>
                  <a:pt x="2671" y="1371"/>
                </a:cubicBezTo>
                <a:cubicBezTo>
                  <a:pt x="2671" y="1371"/>
                  <a:pt x="2671" y="1371"/>
                  <a:pt x="2670" y="1371"/>
                </a:cubicBezTo>
                <a:cubicBezTo>
                  <a:pt x="2670" y="1371"/>
                  <a:pt x="2670" y="1371"/>
                  <a:pt x="2670" y="1380"/>
                </a:cubicBezTo>
                <a:cubicBezTo>
                  <a:pt x="2670" y="1380"/>
                  <a:pt x="2670" y="1380"/>
                  <a:pt x="2673" y="1380"/>
                </a:cubicBezTo>
                <a:cubicBezTo>
                  <a:pt x="2682" y="1380"/>
                  <a:pt x="2688" y="1377"/>
                  <a:pt x="2688" y="1367"/>
                </a:cubicBezTo>
                <a:cubicBezTo>
                  <a:pt x="2688" y="1365"/>
                  <a:pt x="2688" y="1363"/>
                  <a:pt x="2687" y="1360"/>
                </a:cubicBezTo>
                <a:cubicBezTo>
                  <a:pt x="2687" y="1357"/>
                  <a:pt x="2687" y="1355"/>
                  <a:pt x="2687" y="1353"/>
                </a:cubicBezTo>
                <a:cubicBezTo>
                  <a:pt x="2687" y="1350"/>
                  <a:pt x="2687" y="1347"/>
                  <a:pt x="2694" y="1347"/>
                </a:cubicBezTo>
                <a:close/>
                <a:moveTo>
                  <a:pt x="2814" y="1380"/>
                </a:moveTo>
                <a:cubicBezTo>
                  <a:pt x="2807" y="1380"/>
                  <a:pt x="2800" y="1377"/>
                  <a:pt x="2796" y="1371"/>
                </a:cubicBezTo>
                <a:cubicBezTo>
                  <a:pt x="2792" y="1364"/>
                  <a:pt x="2790" y="1356"/>
                  <a:pt x="2790" y="1343"/>
                </a:cubicBezTo>
                <a:cubicBezTo>
                  <a:pt x="2790" y="1330"/>
                  <a:pt x="2792" y="1320"/>
                  <a:pt x="2796" y="1314"/>
                </a:cubicBezTo>
                <a:cubicBezTo>
                  <a:pt x="2801" y="1307"/>
                  <a:pt x="2807" y="1304"/>
                  <a:pt x="2816" y="1304"/>
                </a:cubicBezTo>
                <a:cubicBezTo>
                  <a:pt x="2832" y="1304"/>
                  <a:pt x="2840" y="1316"/>
                  <a:pt x="2840" y="1342"/>
                </a:cubicBezTo>
                <a:cubicBezTo>
                  <a:pt x="2840" y="1354"/>
                  <a:pt x="2838" y="1364"/>
                  <a:pt x="2833" y="1370"/>
                </a:cubicBezTo>
                <a:cubicBezTo>
                  <a:pt x="2829" y="1377"/>
                  <a:pt x="2822" y="1380"/>
                  <a:pt x="2814" y="1380"/>
                </a:cubicBezTo>
                <a:close/>
                <a:moveTo>
                  <a:pt x="2815" y="1313"/>
                </a:moveTo>
                <a:cubicBezTo>
                  <a:pt x="2806" y="1313"/>
                  <a:pt x="2801" y="1323"/>
                  <a:pt x="2801" y="1343"/>
                </a:cubicBezTo>
                <a:cubicBezTo>
                  <a:pt x="2801" y="1362"/>
                  <a:pt x="2806" y="1370"/>
                  <a:pt x="2815" y="1370"/>
                </a:cubicBezTo>
                <a:cubicBezTo>
                  <a:pt x="2824" y="1370"/>
                  <a:pt x="2828" y="1362"/>
                  <a:pt x="2828" y="1342"/>
                </a:cubicBezTo>
                <a:cubicBezTo>
                  <a:pt x="2828" y="1323"/>
                  <a:pt x="2824" y="1313"/>
                  <a:pt x="2815" y="1313"/>
                </a:cubicBezTo>
                <a:close/>
                <a:moveTo>
                  <a:pt x="2888" y="1306"/>
                </a:moveTo>
                <a:cubicBezTo>
                  <a:pt x="2888" y="1306"/>
                  <a:pt x="2888" y="1306"/>
                  <a:pt x="2888" y="1306"/>
                </a:cubicBezTo>
                <a:cubicBezTo>
                  <a:pt x="2883" y="1306"/>
                  <a:pt x="2883" y="1306"/>
                  <a:pt x="2883" y="1306"/>
                </a:cubicBezTo>
                <a:cubicBezTo>
                  <a:pt x="2881" y="1308"/>
                  <a:pt x="2879" y="1309"/>
                  <a:pt x="2877" y="1310"/>
                </a:cubicBezTo>
                <a:cubicBezTo>
                  <a:pt x="2875" y="1312"/>
                  <a:pt x="2873" y="1312"/>
                  <a:pt x="2872" y="1313"/>
                </a:cubicBezTo>
                <a:cubicBezTo>
                  <a:pt x="2870" y="1314"/>
                  <a:pt x="2868" y="1314"/>
                  <a:pt x="2867" y="1315"/>
                </a:cubicBezTo>
                <a:cubicBezTo>
                  <a:pt x="2864" y="1316"/>
                  <a:pt x="2863" y="1317"/>
                  <a:pt x="2861" y="1317"/>
                </a:cubicBezTo>
                <a:cubicBezTo>
                  <a:pt x="2861" y="1317"/>
                  <a:pt x="2861" y="1317"/>
                  <a:pt x="2861" y="1328"/>
                </a:cubicBezTo>
                <a:cubicBezTo>
                  <a:pt x="2864" y="1327"/>
                  <a:pt x="2867" y="1325"/>
                  <a:pt x="2869" y="1325"/>
                </a:cubicBezTo>
                <a:cubicBezTo>
                  <a:pt x="2872" y="1324"/>
                  <a:pt x="2874" y="1322"/>
                  <a:pt x="2876" y="1321"/>
                </a:cubicBezTo>
                <a:cubicBezTo>
                  <a:pt x="2876" y="1321"/>
                  <a:pt x="2876" y="1321"/>
                  <a:pt x="2876" y="1380"/>
                </a:cubicBezTo>
                <a:cubicBezTo>
                  <a:pt x="2876" y="1380"/>
                  <a:pt x="2876" y="1380"/>
                  <a:pt x="2888" y="1380"/>
                </a:cubicBezTo>
                <a:cubicBezTo>
                  <a:pt x="2888" y="1380"/>
                  <a:pt x="2888" y="1380"/>
                  <a:pt x="2888" y="1306"/>
                </a:cubicBezTo>
                <a:close/>
                <a:moveTo>
                  <a:pt x="2720" y="1380"/>
                </a:moveTo>
                <a:cubicBezTo>
                  <a:pt x="2723" y="1361"/>
                  <a:pt x="2723" y="1361"/>
                  <a:pt x="2723" y="1361"/>
                </a:cubicBezTo>
                <a:cubicBezTo>
                  <a:pt x="2714" y="1361"/>
                  <a:pt x="2714" y="1361"/>
                  <a:pt x="2714" y="1361"/>
                </a:cubicBezTo>
                <a:cubicBezTo>
                  <a:pt x="2714" y="1349"/>
                  <a:pt x="2714" y="1349"/>
                  <a:pt x="2714" y="1349"/>
                </a:cubicBezTo>
                <a:cubicBezTo>
                  <a:pt x="2725" y="1349"/>
                  <a:pt x="2725" y="1349"/>
                  <a:pt x="2725" y="1349"/>
                </a:cubicBezTo>
                <a:cubicBezTo>
                  <a:pt x="2727" y="1338"/>
                  <a:pt x="2727" y="1338"/>
                  <a:pt x="2727" y="1338"/>
                </a:cubicBezTo>
                <a:cubicBezTo>
                  <a:pt x="2717" y="1338"/>
                  <a:pt x="2717" y="1338"/>
                  <a:pt x="2717" y="1338"/>
                </a:cubicBezTo>
                <a:cubicBezTo>
                  <a:pt x="2717" y="1326"/>
                  <a:pt x="2717" y="1326"/>
                  <a:pt x="2717" y="1326"/>
                </a:cubicBezTo>
                <a:cubicBezTo>
                  <a:pt x="2729" y="1326"/>
                  <a:pt x="2729" y="1326"/>
                  <a:pt x="2729" y="1326"/>
                </a:cubicBezTo>
                <a:cubicBezTo>
                  <a:pt x="2731" y="1307"/>
                  <a:pt x="2731" y="1307"/>
                  <a:pt x="2731" y="1307"/>
                </a:cubicBezTo>
                <a:cubicBezTo>
                  <a:pt x="2743" y="1307"/>
                  <a:pt x="2743" y="1307"/>
                  <a:pt x="2743" y="1307"/>
                </a:cubicBezTo>
                <a:cubicBezTo>
                  <a:pt x="2740" y="1326"/>
                  <a:pt x="2740" y="1326"/>
                  <a:pt x="2740" y="1326"/>
                </a:cubicBezTo>
                <a:cubicBezTo>
                  <a:pt x="2749" y="1326"/>
                  <a:pt x="2749" y="1326"/>
                  <a:pt x="2749" y="1326"/>
                </a:cubicBezTo>
                <a:cubicBezTo>
                  <a:pt x="2752" y="1307"/>
                  <a:pt x="2752" y="1307"/>
                  <a:pt x="2752" y="1307"/>
                </a:cubicBezTo>
                <a:cubicBezTo>
                  <a:pt x="2764" y="1307"/>
                  <a:pt x="2764" y="1307"/>
                  <a:pt x="2764" y="1307"/>
                </a:cubicBezTo>
                <a:cubicBezTo>
                  <a:pt x="2760" y="1326"/>
                  <a:pt x="2760" y="1326"/>
                  <a:pt x="2760" y="1326"/>
                </a:cubicBezTo>
                <a:cubicBezTo>
                  <a:pt x="2769" y="1326"/>
                  <a:pt x="2769" y="1326"/>
                  <a:pt x="2769" y="1326"/>
                </a:cubicBezTo>
                <a:cubicBezTo>
                  <a:pt x="2769" y="1338"/>
                  <a:pt x="2769" y="1338"/>
                  <a:pt x="2769" y="1338"/>
                </a:cubicBezTo>
                <a:cubicBezTo>
                  <a:pt x="2759" y="1338"/>
                  <a:pt x="2759" y="1338"/>
                  <a:pt x="2759" y="1338"/>
                </a:cubicBezTo>
                <a:cubicBezTo>
                  <a:pt x="2757" y="1349"/>
                  <a:pt x="2757" y="1349"/>
                  <a:pt x="2757" y="1349"/>
                </a:cubicBezTo>
                <a:cubicBezTo>
                  <a:pt x="2766" y="1349"/>
                  <a:pt x="2766" y="1349"/>
                  <a:pt x="2766" y="1349"/>
                </a:cubicBezTo>
                <a:cubicBezTo>
                  <a:pt x="2766" y="1361"/>
                  <a:pt x="2766" y="1361"/>
                  <a:pt x="2766" y="1361"/>
                </a:cubicBezTo>
                <a:cubicBezTo>
                  <a:pt x="2755" y="1361"/>
                  <a:pt x="2755" y="1361"/>
                  <a:pt x="2755" y="1361"/>
                </a:cubicBezTo>
                <a:cubicBezTo>
                  <a:pt x="2753" y="1380"/>
                  <a:pt x="2753" y="1380"/>
                  <a:pt x="2753" y="1380"/>
                </a:cubicBezTo>
                <a:cubicBezTo>
                  <a:pt x="2741" y="1380"/>
                  <a:pt x="2741" y="1380"/>
                  <a:pt x="2741" y="1380"/>
                </a:cubicBezTo>
                <a:cubicBezTo>
                  <a:pt x="2744" y="1361"/>
                  <a:pt x="2744" y="1361"/>
                  <a:pt x="2744" y="1361"/>
                </a:cubicBezTo>
                <a:cubicBezTo>
                  <a:pt x="2734" y="1361"/>
                  <a:pt x="2734" y="1361"/>
                  <a:pt x="2734" y="1361"/>
                </a:cubicBezTo>
                <a:cubicBezTo>
                  <a:pt x="2732" y="1380"/>
                  <a:pt x="2732" y="1380"/>
                  <a:pt x="2732" y="1380"/>
                </a:cubicBezTo>
                <a:cubicBezTo>
                  <a:pt x="2720" y="1380"/>
                  <a:pt x="2720" y="1380"/>
                  <a:pt x="2720" y="1380"/>
                </a:cubicBezTo>
                <a:cubicBezTo>
                  <a:pt x="2720" y="1380"/>
                  <a:pt x="2720" y="1380"/>
                  <a:pt x="2720" y="1380"/>
                </a:cubicBezTo>
                <a:close/>
                <a:moveTo>
                  <a:pt x="2746" y="1349"/>
                </a:moveTo>
                <a:cubicBezTo>
                  <a:pt x="2747" y="1338"/>
                  <a:pt x="2747" y="1338"/>
                  <a:pt x="2747" y="1338"/>
                </a:cubicBezTo>
                <a:cubicBezTo>
                  <a:pt x="2738" y="1338"/>
                  <a:pt x="2738" y="1338"/>
                  <a:pt x="2738" y="1338"/>
                </a:cubicBezTo>
                <a:cubicBezTo>
                  <a:pt x="2736" y="1349"/>
                  <a:pt x="2736" y="1349"/>
                  <a:pt x="2736" y="1349"/>
                </a:cubicBezTo>
                <a:cubicBezTo>
                  <a:pt x="2746" y="1349"/>
                  <a:pt x="2746" y="1349"/>
                  <a:pt x="2746" y="1349"/>
                </a:cubicBezTo>
                <a:cubicBezTo>
                  <a:pt x="2746" y="1349"/>
                  <a:pt x="2746" y="1349"/>
                  <a:pt x="2746" y="1349"/>
                </a:cubicBezTo>
                <a:close/>
                <a:moveTo>
                  <a:pt x="2264" y="1306"/>
                </a:moveTo>
                <a:cubicBezTo>
                  <a:pt x="2264" y="1306"/>
                  <a:pt x="2264" y="1306"/>
                  <a:pt x="2264" y="1306"/>
                </a:cubicBezTo>
                <a:cubicBezTo>
                  <a:pt x="2258" y="1306"/>
                  <a:pt x="2258" y="1306"/>
                  <a:pt x="2258" y="1306"/>
                </a:cubicBezTo>
                <a:cubicBezTo>
                  <a:pt x="2256" y="1308"/>
                  <a:pt x="2255" y="1309"/>
                  <a:pt x="2253" y="1310"/>
                </a:cubicBezTo>
                <a:cubicBezTo>
                  <a:pt x="2251" y="1312"/>
                  <a:pt x="2250" y="1312"/>
                  <a:pt x="2248" y="1313"/>
                </a:cubicBezTo>
                <a:cubicBezTo>
                  <a:pt x="2246" y="1314"/>
                  <a:pt x="2244" y="1315"/>
                  <a:pt x="2242" y="1316"/>
                </a:cubicBezTo>
                <a:cubicBezTo>
                  <a:pt x="2240" y="1317"/>
                  <a:pt x="2239" y="1317"/>
                  <a:pt x="2237" y="1317"/>
                </a:cubicBezTo>
                <a:cubicBezTo>
                  <a:pt x="2237" y="1317"/>
                  <a:pt x="2237" y="1317"/>
                  <a:pt x="2237" y="1328"/>
                </a:cubicBezTo>
                <a:cubicBezTo>
                  <a:pt x="2240" y="1327"/>
                  <a:pt x="2242" y="1326"/>
                  <a:pt x="2245" y="1325"/>
                </a:cubicBezTo>
                <a:cubicBezTo>
                  <a:pt x="2248" y="1324"/>
                  <a:pt x="2250" y="1322"/>
                  <a:pt x="2252" y="1321"/>
                </a:cubicBezTo>
                <a:cubicBezTo>
                  <a:pt x="2252" y="1321"/>
                  <a:pt x="2252" y="1321"/>
                  <a:pt x="2252" y="1380"/>
                </a:cubicBezTo>
                <a:cubicBezTo>
                  <a:pt x="2252" y="1380"/>
                  <a:pt x="2252" y="1380"/>
                  <a:pt x="2264" y="1380"/>
                </a:cubicBezTo>
                <a:cubicBezTo>
                  <a:pt x="2264" y="1380"/>
                  <a:pt x="2264" y="1380"/>
                  <a:pt x="2264" y="1306"/>
                </a:cubicBezTo>
                <a:close/>
                <a:moveTo>
                  <a:pt x="2312" y="1306"/>
                </a:moveTo>
                <a:cubicBezTo>
                  <a:pt x="2312" y="1306"/>
                  <a:pt x="2312" y="1306"/>
                  <a:pt x="2312" y="1306"/>
                </a:cubicBezTo>
                <a:cubicBezTo>
                  <a:pt x="2306" y="1306"/>
                  <a:pt x="2306" y="1306"/>
                  <a:pt x="2306" y="1306"/>
                </a:cubicBezTo>
                <a:cubicBezTo>
                  <a:pt x="2304" y="1308"/>
                  <a:pt x="2303" y="1309"/>
                  <a:pt x="2300" y="1310"/>
                </a:cubicBezTo>
                <a:cubicBezTo>
                  <a:pt x="2299" y="1312"/>
                  <a:pt x="2297" y="1312"/>
                  <a:pt x="2295" y="1313"/>
                </a:cubicBezTo>
                <a:cubicBezTo>
                  <a:pt x="2294" y="1314"/>
                  <a:pt x="2292" y="1315"/>
                  <a:pt x="2290" y="1316"/>
                </a:cubicBezTo>
                <a:cubicBezTo>
                  <a:pt x="2288" y="1317"/>
                  <a:pt x="2286" y="1317"/>
                  <a:pt x="2284" y="1317"/>
                </a:cubicBezTo>
                <a:cubicBezTo>
                  <a:pt x="2284" y="1317"/>
                  <a:pt x="2284" y="1317"/>
                  <a:pt x="2284" y="1328"/>
                </a:cubicBezTo>
                <a:cubicBezTo>
                  <a:pt x="2287" y="1327"/>
                  <a:pt x="2290" y="1326"/>
                  <a:pt x="2292" y="1325"/>
                </a:cubicBezTo>
                <a:cubicBezTo>
                  <a:pt x="2295" y="1324"/>
                  <a:pt x="2297" y="1322"/>
                  <a:pt x="2300" y="1321"/>
                </a:cubicBezTo>
                <a:cubicBezTo>
                  <a:pt x="2300" y="1321"/>
                  <a:pt x="2300" y="1321"/>
                  <a:pt x="2300" y="1380"/>
                </a:cubicBezTo>
                <a:cubicBezTo>
                  <a:pt x="2300" y="1380"/>
                  <a:pt x="2300" y="1380"/>
                  <a:pt x="2312" y="1380"/>
                </a:cubicBezTo>
                <a:cubicBezTo>
                  <a:pt x="2312" y="1380"/>
                  <a:pt x="2312" y="1380"/>
                  <a:pt x="2312" y="1306"/>
                </a:cubicBezTo>
                <a:close/>
                <a:moveTo>
                  <a:pt x="2358" y="1306"/>
                </a:moveTo>
                <a:cubicBezTo>
                  <a:pt x="2358" y="1306"/>
                  <a:pt x="2358" y="1306"/>
                  <a:pt x="2358" y="1306"/>
                </a:cubicBezTo>
                <a:cubicBezTo>
                  <a:pt x="2354" y="1306"/>
                  <a:pt x="2354" y="1306"/>
                  <a:pt x="2354" y="1306"/>
                </a:cubicBezTo>
                <a:cubicBezTo>
                  <a:pt x="2351" y="1308"/>
                  <a:pt x="2350" y="1309"/>
                  <a:pt x="2348" y="1310"/>
                </a:cubicBezTo>
                <a:cubicBezTo>
                  <a:pt x="2346" y="1312"/>
                  <a:pt x="2344" y="1312"/>
                  <a:pt x="2343" y="1313"/>
                </a:cubicBezTo>
                <a:cubicBezTo>
                  <a:pt x="2340" y="1314"/>
                  <a:pt x="2339" y="1314"/>
                  <a:pt x="2337" y="1315"/>
                </a:cubicBezTo>
                <a:cubicBezTo>
                  <a:pt x="2335" y="1316"/>
                  <a:pt x="2333" y="1317"/>
                  <a:pt x="2332" y="1317"/>
                </a:cubicBezTo>
                <a:cubicBezTo>
                  <a:pt x="2332" y="1317"/>
                  <a:pt x="2332" y="1317"/>
                  <a:pt x="2332" y="1328"/>
                </a:cubicBezTo>
                <a:cubicBezTo>
                  <a:pt x="2335" y="1327"/>
                  <a:pt x="2338" y="1325"/>
                  <a:pt x="2340" y="1325"/>
                </a:cubicBezTo>
                <a:cubicBezTo>
                  <a:pt x="2342" y="1324"/>
                  <a:pt x="2345" y="1322"/>
                  <a:pt x="2346" y="1321"/>
                </a:cubicBezTo>
                <a:cubicBezTo>
                  <a:pt x="2346" y="1321"/>
                  <a:pt x="2346" y="1321"/>
                  <a:pt x="2346" y="1380"/>
                </a:cubicBezTo>
                <a:cubicBezTo>
                  <a:pt x="2346" y="1380"/>
                  <a:pt x="2346" y="1380"/>
                  <a:pt x="2358" y="1380"/>
                </a:cubicBezTo>
                <a:cubicBezTo>
                  <a:pt x="2358" y="1380"/>
                  <a:pt x="2358" y="1380"/>
                  <a:pt x="2358" y="1306"/>
                </a:cubicBezTo>
                <a:close/>
                <a:moveTo>
                  <a:pt x="2565" y="1210"/>
                </a:moveTo>
                <a:cubicBezTo>
                  <a:pt x="2565" y="1210"/>
                  <a:pt x="2565" y="1210"/>
                  <a:pt x="2565" y="1210"/>
                </a:cubicBezTo>
                <a:cubicBezTo>
                  <a:pt x="2560" y="1210"/>
                  <a:pt x="2560" y="1210"/>
                  <a:pt x="2560" y="1210"/>
                </a:cubicBezTo>
                <a:cubicBezTo>
                  <a:pt x="2558" y="1212"/>
                  <a:pt x="2556" y="1213"/>
                  <a:pt x="2554" y="1214"/>
                </a:cubicBezTo>
                <a:cubicBezTo>
                  <a:pt x="2553" y="1216"/>
                  <a:pt x="2550" y="1216"/>
                  <a:pt x="2549" y="1217"/>
                </a:cubicBezTo>
                <a:cubicBezTo>
                  <a:pt x="2547" y="1218"/>
                  <a:pt x="2545" y="1218"/>
                  <a:pt x="2544" y="1219"/>
                </a:cubicBezTo>
                <a:cubicBezTo>
                  <a:pt x="2542" y="1220"/>
                  <a:pt x="2540" y="1221"/>
                  <a:pt x="2538" y="1221"/>
                </a:cubicBezTo>
                <a:cubicBezTo>
                  <a:pt x="2538" y="1221"/>
                  <a:pt x="2538" y="1221"/>
                  <a:pt x="2538" y="1232"/>
                </a:cubicBezTo>
                <a:cubicBezTo>
                  <a:pt x="2541" y="1231"/>
                  <a:pt x="2544" y="1229"/>
                  <a:pt x="2546" y="1229"/>
                </a:cubicBezTo>
                <a:cubicBezTo>
                  <a:pt x="2549" y="1228"/>
                  <a:pt x="2551" y="1226"/>
                  <a:pt x="2553" y="1225"/>
                </a:cubicBezTo>
                <a:cubicBezTo>
                  <a:pt x="2553" y="1225"/>
                  <a:pt x="2553" y="1225"/>
                  <a:pt x="2553" y="1284"/>
                </a:cubicBezTo>
                <a:cubicBezTo>
                  <a:pt x="2553" y="1284"/>
                  <a:pt x="2553" y="1284"/>
                  <a:pt x="2565" y="1284"/>
                </a:cubicBezTo>
                <a:cubicBezTo>
                  <a:pt x="2565" y="1284"/>
                  <a:pt x="2565" y="1284"/>
                  <a:pt x="2565" y="1210"/>
                </a:cubicBezTo>
                <a:close/>
                <a:moveTo>
                  <a:pt x="2612" y="1210"/>
                </a:moveTo>
                <a:cubicBezTo>
                  <a:pt x="2612" y="1210"/>
                  <a:pt x="2612" y="1210"/>
                  <a:pt x="2612" y="1210"/>
                </a:cubicBezTo>
                <a:cubicBezTo>
                  <a:pt x="2607" y="1210"/>
                  <a:pt x="2607" y="1210"/>
                  <a:pt x="2607" y="1210"/>
                </a:cubicBezTo>
                <a:cubicBezTo>
                  <a:pt x="2604" y="1212"/>
                  <a:pt x="2603" y="1213"/>
                  <a:pt x="2601" y="1214"/>
                </a:cubicBezTo>
                <a:cubicBezTo>
                  <a:pt x="2599" y="1216"/>
                  <a:pt x="2597" y="1216"/>
                  <a:pt x="2596" y="1217"/>
                </a:cubicBezTo>
                <a:cubicBezTo>
                  <a:pt x="2594" y="1218"/>
                  <a:pt x="2592" y="1219"/>
                  <a:pt x="2591" y="1220"/>
                </a:cubicBezTo>
                <a:cubicBezTo>
                  <a:pt x="2589" y="1221"/>
                  <a:pt x="2587" y="1221"/>
                  <a:pt x="2585" y="1221"/>
                </a:cubicBezTo>
                <a:cubicBezTo>
                  <a:pt x="2585" y="1221"/>
                  <a:pt x="2585" y="1221"/>
                  <a:pt x="2585" y="1232"/>
                </a:cubicBezTo>
                <a:cubicBezTo>
                  <a:pt x="2588" y="1231"/>
                  <a:pt x="2591" y="1230"/>
                  <a:pt x="2593" y="1229"/>
                </a:cubicBezTo>
                <a:cubicBezTo>
                  <a:pt x="2596" y="1228"/>
                  <a:pt x="2598" y="1226"/>
                  <a:pt x="2600" y="1225"/>
                </a:cubicBezTo>
                <a:cubicBezTo>
                  <a:pt x="2600" y="1225"/>
                  <a:pt x="2600" y="1225"/>
                  <a:pt x="2600" y="1284"/>
                </a:cubicBezTo>
                <a:cubicBezTo>
                  <a:pt x="2600" y="1284"/>
                  <a:pt x="2600" y="1284"/>
                  <a:pt x="2612" y="1284"/>
                </a:cubicBezTo>
                <a:cubicBezTo>
                  <a:pt x="2612" y="1284"/>
                  <a:pt x="2612" y="1284"/>
                  <a:pt x="2612" y="1210"/>
                </a:cubicBezTo>
                <a:close/>
                <a:moveTo>
                  <a:pt x="2658" y="1210"/>
                </a:moveTo>
                <a:cubicBezTo>
                  <a:pt x="2658" y="1210"/>
                  <a:pt x="2658" y="1210"/>
                  <a:pt x="2658" y="1210"/>
                </a:cubicBezTo>
                <a:cubicBezTo>
                  <a:pt x="2653" y="1210"/>
                  <a:pt x="2653" y="1210"/>
                  <a:pt x="2653" y="1210"/>
                </a:cubicBezTo>
                <a:cubicBezTo>
                  <a:pt x="2651" y="1212"/>
                  <a:pt x="2650" y="1213"/>
                  <a:pt x="2647" y="1214"/>
                </a:cubicBezTo>
                <a:cubicBezTo>
                  <a:pt x="2646" y="1216"/>
                  <a:pt x="2644" y="1216"/>
                  <a:pt x="2642" y="1217"/>
                </a:cubicBezTo>
                <a:cubicBezTo>
                  <a:pt x="2640" y="1218"/>
                  <a:pt x="2639" y="1219"/>
                  <a:pt x="2636" y="1220"/>
                </a:cubicBezTo>
                <a:cubicBezTo>
                  <a:pt x="2635" y="1221"/>
                  <a:pt x="2633" y="1221"/>
                  <a:pt x="2631" y="1221"/>
                </a:cubicBezTo>
                <a:cubicBezTo>
                  <a:pt x="2631" y="1221"/>
                  <a:pt x="2631" y="1221"/>
                  <a:pt x="2631" y="1232"/>
                </a:cubicBezTo>
                <a:cubicBezTo>
                  <a:pt x="2634" y="1231"/>
                  <a:pt x="2637" y="1230"/>
                  <a:pt x="2639" y="1229"/>
                </a:cubicBezTo>
                <a:cubicBezTo>
                  <a:pt x="2641" y="1228"/>
                  <a:pt x="2644" y="1226"/>
                  <a:pt x="2646" y="1225"/>
                </a:cubicBezTo>
                <a:cubicBezTo>
                  <a:pt x="2646" y="1225"/>
                  <a:pt x="2646" y="1225"/>
                  <a:pt x="2646" y="1284"/>
                </a:cubicBezTo>
                <a:cubicBezTo>
                  <a:pt x="2646" y="1284"/>
                  <a:pt x="2646" y="1284"/>
                  <a:pt x="2658" y="1284"/>
                </a:cubicBezTo>
                <a:cubicBezTo>
                  <a:pt x="2658" y="1284"/>
                  <a:pt x="2658" y="1284"/>
                  <a:pt x="2658" y="1210"/>
                </a:cubicBezTo>
                <a:close/>
                <a:moveTo>
                  <a:pt x="2704" y="1210"/>
                </a:moveTo>
                <a:cubicBezTo>
                  <a:pt x="2704" y="1210"/>
                  <a:pt x="2704" y="1210"/>
                  <a:pt x="2704" y="1210"/>
                </a:cubicBezTo>
                <a:cubicBezTo>
                  <a:pt x="2699" y="1210"/>
                  <a:pt x="2699" y="1210"/>
                  <a:pt x="2699" y="1210"/>
                </a:cubicBezTo>
                <a:cubicBezTo>
                  <a:pt x="2697" y="1212"/>
                  <a:pt x="2695" y="1213"/>
                  <a:pt x="2693" y="1214"/>
                </a:cubicBezTo>
                <a:cubicBezTo>
                  <a:pt x="2692" y="1216"/>
                  <a:pt x="2690" y="1216"/>
                  <a:pt x="2688" y="1217"/>
                </a:cubicBezTo>
                <a:cubicBezTo>
                  <a:pt x="2687" y="1218"/>
                  <a:pt x="2685" y="1219"/>
                  <a:pt x="2683" y="1220"/>
                </a:cubicBezTo>
                <a:cubicBezTo>
                  <a:pt x="2681" y="1221"/>
                  <a:pt x="2679" y="1221"/>
                  <a:pt x="2677" y="1221"/>
                </a:cubicBezTo>
                <a:cubicBezTo>
                  <a:pt x="2677" y="1221"/>
                  <a:pt x="2677" y="1221"/>
                  <a:pt x="2677" y="1232"/>
                </a:cubicBezTo>
                <a:cubicBezTo>
                  <a:pt x="2680" y="1231"/>
                  <a:pt x="2683" y="1230"/>
                  <a:pt x="2685" y="1229"/>
                </a:cubicBezTo>
                <a:cubicBezTo>
                  <a:pt x="2688" y="1228"/>
                  <a:pt x="2690" y="1226"/>
                  <a:pt x="2693" y="1225"/>
                </a:cubicBezTo>
                <a:cubicBezTo>
                  <a:pt x="2693" y="1225"/>
                  <a:pt x="2693" y="1225"/>
                  <a:pt x="2693" y="1284"/>
                </a:cubicBezTo>
                <a:cubicBezTo>
                  <a:pt x="2693" y="1284"/>
                  <a:pt x="2693" y="1284"/>
                  <a:pt x="2704" y="1284"/>
                </a:cubicBezTo>
                <a:cubicBezTo>
                  <a:pt x="2704" y="1284"/>
                  <a:pt x="2704" y="1284"/>
                  <a:pt x="2704" y="1210"/>
                </a:cubicBezTo>
                <a:close/>
                <a:moveTo>
                  <a:pt x="2826" y="1210"/>
                </a:moveTo>
                <a:cubicBezTo>
                  <a:pt x="2826" y="1210"/>
                  <a:pt x="2826" y="1210"/>
                  <a:pt x="2826" y="1210"/>
                </a:cubicBezTo>
                <a:cubicBezTo>
                  <a:pt x="2821" y="1210"/>
                  <a:pt x="2821" y="1210"/>
                  <a:pt x="2821" y="1210"/>
                </a:cubicBezTo>
                <a:cubicBezTo>
                  <a:pt x="2819" y="1212"/>
                  <a:pt x="2817" y="1213"/>
                  <a:pt x="2815" y="1214"/>
                </a:cubicBezTo>
                <a:cubicBezTo>
                  <a:pt x="2814" y="1216"/>
                  <a:pt x="2812" y="1216"/>
                  <a:pt x="2810" y="1217"/>
                </a:cubicBezTo>
                <a:cubicBezTo>
                  <a:pt x="2809" y="1218"/>
                  <a:pt x="2806" y="1219"/>
                  <a:pt x="2805" y="1220"/>
                </a:cubicBezTo>
                <a:cubicBezTo>
                  <a:pt x="2803" y="1221"/>
                  <a:pt x="2801" y="1221"/>
                  <a:pt x="2799" y="1221"/>
                </a:cubicBezTo>
                <a:cubicBezTo>
                  <a:pt x="2799" y="1221"/>
                  <a:pt x="2799" y="1221"/>
                  <a:pt x="2799" y="1232"/>
                </a:cubicBezTo>
                <a:cubicBezTo>
                  <a:pt x="2802" y="1231"/>
                  <a:pt x="2805" y="1230"/>
                  <a:pt x="2808" y="1229"/>
                </a:cubicBezTo>
                <a:cubicBezTo>
                  <a:pt x="2810" y="1228"/>
                  <a:pt x="2812" y="1226"/>
                  <a:pt x="2814" y="1225"/>
                </a:cubicBezTo>
                <a:cubicBezTo>
                  <a:pt x="2814" y="1225"/>
                  <a:pt x="2814" y="1225"/>
                  <a:pt x="2814" y="1284"/>
                </a:cubicBezTo>
                <a:cubicBezTo>
                  <a:pt x="2814" y="1284"/>
                  <a:pt x="2814" y="1284"/>
                  <a:pt x="2826" y="1284"/>
                </a:cubicBezTo>
                <a:cubicBezTo>
                  <a:pt x="2826" y="1284"/>
                  <a:pt x="2826" y="1284"/>
                  <a:pt x="2826" y="1210"/>
                </a:cubicBezTo>
                <a:close/>
                <a:moveTo>
                  <a:pt x="2873" y="1210"/>
                </a:moveTo>
                <a:cubicBezTo>
                  <a:pt x="2873" y="1210"/>
                  <a:pt x="2873" y="1210"/>
                  <a:pt x="2873" y="1210"/>
                </a:cubicBezTo>
                <a:cubicBezTo>
                  <a:pt x="2868" y="1210"/>
                  <a:pt x="2868" y="1210"/>
                  <a:pt x="2868" y="1210"/>
                </a:cubicBezTo>
                <a:cubicBezTo>
                  <a:pt x="2866" y="1212"/>
                  <a:pt x="2864" y="1213"/>
                  <a:pt x="2862" y="1214"/>
                </a:cubicBezTo>
                <a:cubicBezTo>
                  <a:pt x="2861" y="1216"/>
                  <a:pt x="2858" y="1216"/>
                  <a:pt x="2857" y="1217"/>
                </a:cubicBezTo>
                <a:cubicBezTo>
                  <a:pt x="2855" y="1218"/>
                  <a:pt x="2853" y="1219"/>
                  <a:pt x="2852" y="1220"/>
                </a:cubicBezTo>
                <a:cubicBezTo>
                  <a:pt x="2849" y="1221"/>
                  <a:pt x="2848" y="1221"/>
                  <a:pt x="2846" y="1221"/>
                </a:cubicBezTo>
                <a:cubicBezTo>
                  <a:pt x="2846" y="1221"/>
                  <a:pt x="2846" y="1221"/>
                  <a:pt x="2846" y="1232"/>
                </a:cubicBezTo>
                <a:cubicBezTo>
                  <a:pt x="2849" y="1231"/>
                  <a:pt x="2852" y="1230"/>
                  <a:pt x="2854" y="1229"/>
                </a:cubicBezTo>
                <a:cubicBezTo>
                  <a:pt x="2857" y="1228"/>
                  <a:pt x="2859" y="1226"/>
                  <a:pt x="2861" y="1225"/>
                </a:cubicBezTo>
                <a:cubicBezTo>
                  <a:pt x="2861" y="1225"/>
                  <a:pt x="2861" y="1225"/>
                  <a:pt x="2861" y="1284"/>
                </a:cubicBezTo>
                <a:cubicBezTo>
                  <a:pt x="2861" y="1284"/>
                  <a:pt x="2861" y="1284"/>
                  <a:pt x="2873" y="1284"/>
                </a:cubicBezTo>
                <a:cubicBezTo>
                  <a:pt x="2873" y="1284"/>
                  <a:pt x="2873" y="1284"/>
                  <a:pt x="2873" y="1210"/>
                </a:cubicBezTo>
                <a:close/>
                <a:moveTo>
                  <a:pt x="2725" y="1243"/>
                </a:moveTo>
                <a:cubicBezTo>
                  <a:pt x="2725" y="1243"/>
                  <a:pt x="2725" y="1243"/>
                  <a:pt x="2725" y="1243"/>
                </a:cubicBezTo>
                <a:cubicBezTo>
                  <a:pt x="2724" y="1251"/>
                  <a:pt x="2724" y="1251"/>
                  <a:pt x="2724" y="1251"/>
                </a:cubicBezTo>
                <a:cubicBezTo>
                  <a:pt x="2731" y="1251"/>
                  <a:pt x="2731" y="1254"/>
                  <a:pt x="2731" y="1257"/>
                </a:cubicBezTo>
                <a:cubicBezTo>
                  <a:pt x="2731" y="1259"/>
                  <a:pt x="2731" y="1261"/>
                  <a:pt x="2731" y="1264"/>
                </a:cubicBezTo>
                <a:cubicBezTo>
                  <a:pt x="2731" y="1267"/>
                  <a:pt x="2730" y="1269"/>
                  <a:pt x="2730" y="1271"/>
                </a:cubicBezTo>
                <a:cubicBezTo>
                  <a:pt x="2730" y="1281"/>
                  <a:pt x="2736" y="1284"/>
                  <a:pt x="2745" y="1284"/>
                </a:cubicBezTo>
                <a:cubicBezTo>
                  <a:pt x="2745" y="1284"/>
                  <a:pt x="2745" y="1284"/>
                  <a:pt x="2748" y="1284"/>
                </a:cubicBezTo>
                <a:cubicBezTo>
                  <a:pt x="2748" y="1284"/>
                  <a:pt x="2748" y="1284"/>
                  <a:pt x="2748" y="1275"/>
                </a:cubicBezTo>
                <a:cubicBezTo>
                  <a:pt x="2748" y="1275"/>
                  <a:pt x="2748" y="1275"/>
                  <a:pt x="2747" y="1275"/>
                </a:cubicBezTo>
                <a:cubicBezTo>
                  <a:pt x="2743" y="1275"/>
                  <a:pt x="2742" y="1272"/>
                  <a:pt x="2742" y="1269"/>
                </a:cubicBezTo>
                <a:cubicBezTo>
                  <a:pt x="2742" y="1267"/>
                  <a:pt x="2742" y="1266"/>
                  <a:pt x="2742" y="1264"/>
                </a:cubicBezTo>
                <a:cubicBezTo>
                  <a:pt x="2742" y="1263"/>
                  <a:pt x="2743" y="1260"/>
                  <a:pt x="2743" y="1258"/>
                </a:cubicBezTo>
                <a:cubicBezTo>
                  <a:pt x="2743" y="1251"/>
                  <a:pt x="2740" y="1248"/>
                  <a:pt x="2734" y="1247"/>
                </a:cubicBezTo>
                <a:cubicBezTo>
                  <a:pt x="2734" y="1247"/>
                  <a:pt x="2734" y="1247"/>
                  <a:pt x="2734" y="1246"/>
                </a:cubicBezTo>
                <a:cubicBezTo>
                  <a:pt x="2740" y="1245"/>
                  <a:pt x="2743" y="1243"/>
                  <a:pt x="2743" y="1236"/>
                </a:cubicBezTo>
                <a:cubicBezTo>
                  <a:pt x="2743" y="1233"/>
                  <a:pt x="2742" y="1231"/>
                  <a:pt x="2742" y="1229"/>
                </a:cubicBezTo>
                <a:cubicBezTo>
                  <a:pt x="2742" y="1228"/>
                  <a:pt x="2742" y="1226"/>
                  <a:pt x="2742" y="1225"/>
                </a:cubicBezTo>
                <a:cubicBezTo>
                  <a:pt x="2742" y="1221"/>
                  <a:pt x="2743" y="1219"/>
                  <a:pt x="2747" y="1219"/>
                </a:cubicBezTo>
                <a:cubicBezTo>
                  <a:pt x="2747" y="1219"/>
                  <a:pt x="2747" y="1219"/>
                  <a:pt x="2748" y="1219"/>
                </a:cubicBezTo>
                <a:cubicBezTo>
                  <a:pt x="2748" y="1219"/>
                  <a:pt x="2748" y="1219"/>
                  <a:pt x="2748" y="1209"/>
                </a:cubicBezTo>
                <a:cubicBezTo>
                  <a:pt x="2748" y="1209"/>
                  <a:pt x="2748" y="1209"/>
                  <a:pt x="2745" y="1209"/>
                </a:cubicBezTo>
                <a:cubicBezTo>
                  <a:pt x="2736" y="1209"/>
                  <a:pt x="2730" y="1214"/>
                  <a:pt x="2730" y="1222"/>
                </a:cubicBezTo>
                <a:cubicBezTo>
                  <a:pt x="2730" y="1224"/>
                  <a:pt x="2731" y="1227"/>
                  <a:pt x="2731" y="1230"/>
                </a:cubicBezTo>
                <a:cubicBezTo>
                  <a:pt x="2731" y="1232"/>
                  <a:pt x="2731" y="1235"/>
                  <a:pt x="2731" y="1236"/>
                </a:cubicBezTo>
                <a:cubicBezTo>
                  <a:pt x="2731" y="1239"/>
                  <a:pt x="2731" y="1242"/>
                  <a:pt x="2725" y="1243"/>
                </a:cubicBezTo>
                <a:close/>
                <a:moveTo>
                  <a:pt x="2779" y="1251"/>
                </a:moveTo>
                <a:cubicBezTo>
                  <a:pt x="2779" y="1251"/>
                  <a:pt x="2779" y="1251"/>
                  <a:pt x="2779" y="1251"/>
                </a:cubicBezTo>
                <a:cubicBezTo>
                  <a:pt x="2779" y="1243"/>
                  <a:pt x="2779" y="1243"/>
                  <a:pt x="2779" y="1243"/>
                </a:cubicBezTo>
                <a:cubicBezTo>
                  <a:pt x="2773" y="1242"/>
                  <a:pt x="2772" y="1239"/>
                  <a:pt x="2772" y="1236"/>
                </a:cubicBezTo>
                <a:cubicBezTo>
                  <a:pt x="2772" y="1235"/>
                  <a:pt x="2772" y="1232"/>
                  <a:pt x="2773" y="1230"/>
                </a:cubicBezTo>
                <a:cubicBezTo>
                  <a:pt x="2773" y="1227"/>
                  <a:pt x="2773" y="1224"/>
                  <a:pt x="2773" y="1222"/>
                </a:cubicBezTo>
                <a:cubicBezTo>
                  <a:pt x="2773" y="1214"/>
                  <a:pt x="2768" y="1209"/>
                  <a:pt x="2759" y="1209"/>
                </a:cubicBezTo>
                <a:cubicBezTo>
                  <a:pt x="2759" y="1209"/>
                  <a:pt x="2759" y="1209"/>
                  <a:pt x="2755" y="1209"/>
                </a:cubicBezTo>
                <a:cubicBezTo>
                  <a:pt x="2755" y="1209"/>
                  <a:pt x="2755" y="1209"/>
                  <a:pt x="2755" y="1219"/>
                </a:cubicBezTo>
                <a:cubicBezTo>
                  <a:pt x="2755" y="1219"/>
                  <a:pt x="2755" y="1219"/>
                  <a:pt x="2757" y="1219"/>
                </a:cubicBezTo>
                <a:cubicBezTo>
                  <a:pt x="2760" y="1219"/>
                  <a:pt x="2762" y="1221"/>
                  <a:pt x="2762" y="1225"/>
                </a:cubicBezTo>
                <a:cubicBezTo>
                  <a:pt x="2762" y="1226"/>
                  <a:pt x="2761" y="1228"/>
                  <a:pt x="2761" y="1229"/>
                </a:cubicBezTo>
                <a:cubicBezTo>
                  <a:pt x="2761" y="1231"/>
                  <a:pt x="2761" y="1233"/>
                  <a:pt x="2761" y="1236"/>
                </a:cubicBezTo>
                <a:cubicBezTo>
                  <a:pt x="2761" y="1243"/>
                  <a:pt x="2764" y="1245"/>
                  <a:pt x="2769" y="1246"/>
                </a:cubicBezTo>
                <a:cubicBezTo>
                  <a:pt x="2769" y="1246"/>
                  <a:pt x="2769" y="1246"/>
                  <a:pt x="2769" y="1247"/>
                </a:cubicBezTo>
                <a:cubicBezTo>
                  <a:pt x="2764" y="1248"/>
                  <a:pt x="2761" y="1251"/>
                  <a:pt x="2761" y="1258"/>
                </a:cubicBezTo>
                <a:cubicBezTo>
                  <a:pt x="2761" y="1260"/>
                  <a:pt x="2761" y="1263"/>
                  <a:pt x="2761" y="1264"/>
                </a:cubicBezTo>
                <a:cubicBezTo>
                  <a:pt x="2761" y="1266"/>
                  <a:pt x="2762" y="1267"/>
                  <a:pt x="2762" y="1269"/>
                </a:cubicBezTo>
                <a:cubicBezTo>
                  <a:pt x="2762" y="1272"/>
                  <a:pt x="2761" y="1275"/>
                  <a:pt x="2757" y="1275"/>
                </a:cubicBezTo>
                <a:cubicBezTo>
                  <a:pt x="2757" y="1275"/>
                  <a:pt x="2757" y="1275"/>
                  <a:pt x="2755" y="1275"/>
                </a:cubicBezTo>
                <a:cubicBezTo>
                  <a:pt x="2755" y="1275"/>
                  <a:pt x="2755" y="1275"/>
                  <a:pt x="2755" y="1284"/>
                </a:cubicBezTo>
                <a:cubicBezTo>
                  <a:pt x="2755" y="1284"/>
                  <a:pt x="2755" y="1284"/>
                  <a:pt x="2759" y="1284"/>
                </a:cubicBezTo>
                <a:cubicBezTo>
                  <a:pt x="2768" y="1284"/>
                  <a:pt x="2773" y="1281"/>
                  <a:pt x="2773" y="1271"/>
                </a:cubicBezTo>
                <a:cubicBezTo>
                  <a:pt x="2773" y="1269"/>
                  <a:pt x="2773" y="1267"/>
                  <a:pt x="2773" y="1264"/>
                </a:cubicBezTo>
                <a:cubicBezTo>
                  <a:pt x="2772" y="1261"/>
                  <a:pt x="2772" y="1259"/>
                  <a:pt x="2772" y="1257"/>
                </a:cubicBezTo>
                <a:cubicBezTo>
                  <a:pt x="2772" y="1254"/>
                  <a:pt x="2773" y="1251"/>
                  <a:pt x="2779" y="1251"/>
                </a:cubicBezTo>
                <a:close/>
                <a:moveTo>
                  <a:pt x="2165" y="1284"/>
                </a:moveTo>
                <a:cubicBezTo>
                  <a:pt x="2158" y="1284"/>
                  <a:pt x="2151" y="1281"/>
                  <a:pt x="2147" y="1275"/>
                </a:cubicBezTo>
                <a:cubicBezTo>
                  <a:pt x="2143" y="1268"/>
                  <a:pt x="2141" y="1260"/>
                  <a:pt x="2141" y="1247"/>
                </a:cubicBezTo>
                <a:cubicBezTo>
                  <a:pt x="2141" y="1234"/>
                  <a:pt x="2143" y="1224"/>
                  <a:pt x="2148" y="1218"/>
                </a:cubicBezTo>
                <a:cubicBezTo>
                  <a:pt x="2152" y="1211"/>
                  <a:pt x="2159" y="1208"/>
                  <a:pt x="2167" y="1208"/>
                </a:cubicBezTo>
                <a:cubicBezTo>
                  <a:pt x="2183" y="1208"/>
                  <a:pt x="2192" y="1220"/>
                  <a:pt x="2192" y="1246"/>
                </a:cubicBezTo>
                <a:cubicBezTo>
                  <a:pt x="2192" y="1258"/>
                  <a:pt x="2189" y="1268"/>
                  <a:pt x="2184" y="1274"/>
                </a:cubicBezTo>
                <a:cubicBezTo>
                  <a:pt x="2180" y="1281"/>
                  <a:pt x="2173" y="1284"/>
                  <a:pt x="2165" y="1284"/>
                </a:cubicBezTo>
                <a:close/>
                <a:moveTo>
                  <a:pt x="2167" y="1217"/>
                </a:moveTo>
                <a:cubicBezTo>
                  <a:pt x="2157" y="1217"/>
                  <a:pt x="2153" y="1227"/>
                  <a:pt x="2153" y="1247"/>
                </a:cubicBezTo>
                <a:cubicBezTo>
                  <a:pt x="2153" y="1266"/>
                  <a:pt x="2157" y="1274"/>
                  <a:pt x="2166" y="1274"/>
                </a:cubicBezTo>
                <a:cubicBezTo>
                  <a:pt x="2175" y="1274"/>
                  <a:pt x="2179" y="1266"/>
                  <a:pt x="2179" y="1246"/>
                </a:cubicBezTo>
                <a:cubicBezTo>
                  <a:pt x="2179" y="1227"/>
                  <a:pt x="2175" y="1217"/>
                  <a:pt x="2167" y="1217"/>
                </a:cubicBezTo>
                <a:close/>
                <a:moveTo>
                  <a:pt x="2235" y="1284"/>
                </a:moveTo>
                <a:cubicBezTo>
                  <a:pt x="2228" y="1284"/>
                  <a:pt x="2221" y="1281"/>
                  <a:pt x="2218" y="1275"/>
                </a:cubicBezTo>
                <a:cubicBezTo>
                  <a:pt x="2213" y="1268"/>
                  <a:pt x="2211" y="1260"/>
                  <a:pt x="2211" y="1247"/>
                </a:cubicBezTo>
                <a:cubicBezTo>
                  <a:pt x="2211" y="1234"/>
                  <a:pt x="2213" y="1224"/>
                  <a:pt x="2218" y="1218"/>
                </a:cubicBezTo>
                <a:cubicBezTo>
                  <a:pt x="2222" y="1211"/>
                  <a:pt x="2229" y="1208"/>
                  <a:pt x="2238" y="1208"/>
                </a:cubicBezTo>
                <a:cubicBezTo>
                  <a:pt x="2254" y="1208"/>
                  <a:pt x="2262" y="1220"/>
                  <a:pt x="2262" y="1246"/>
                </a:cubicBezTo>
                <a:cubicBezTo>
                  <a:pt x="2262" y="1258"/>
                  <a:pt x="2259" y="1268"/>
                  <a:pt x="2255" y="1274"/>
                </a:cubicBezTo>
                <a:cubicBezTo>
                  <a:pt x="2250" y="1281"/>
                  <a:pt x="2244" y="1284"/>
                  <a:pt x="2235" y="1284"/>
                </a:cubicBezTo>
                <a:close/>
                <a:moveTo>
                  <a:pt x="2237" y="1217"/>
                </a:moveTo>
                <a:cubicBezTo>
                  <a:pt x="2228" y="1217"/>
                  <a:pt x="2223" y="1227"/>
                  <a:pt x="2223" y="1247"/>
                </a:cubicBezTo>
                <a:cubicBezTo>
                  <a:pt x="2223" y="1266"/>
                  <a:pt x="2227" y="1274"/>
                  <a:pt x="2236" y="1274"/>
                </a:cubicBezTo>
                <a:cubicBezTo>
                  <a:pt x="2245" y="1274"/>
                  <a:pt x="2249" y="1266"/>
                  <a:pt x="2249" y="1246"/>
                </a:cubicBezTo>
                <a:cubicBezTo>
                  <a:pt x="2249" y="1227"/>
                  <a:pt x="2245" y="1217"/>
                  <a:pt x="2237" y="1217"/>
                </a:cubicBezTo>
                <a:close/>
                <a:moveTo>
                  <a:pt x="2446" y="1284"/>
                </a:moveTo>
                <a:cubicBezTo>
                  <a:pt x="2438" y="1284"/>
                  <a:pt x="2432" y="1281"/>
                  <a:pt x="2428" y="1274"/>
                </a:cubicBezTo>
                <a:cubicBezTo>
                  <a:pt x="2424" y="1268"/>
                  <a:pt x="2421" y="1259"/>
                  <a:pt x="2421" y="1247"/>
                </a:cubicBezTo>
                <a:cubicBezTo>
                  <a:pt x="2421" y="1234"/>
                  <a:pt x="2424" y="1224"/>
                  <a:pt x="2428" y="1217"/>
                </a:cubicBezTo>
                <a:cubicBezTo>
                  <a:pt x="2432" y="1210"/>
                  <a:pt x="2439" y="1208"/>
                  <a:pt x="2448" y="1208"/>
                </a:cubicBezTo>
                <a:cubicBezTo>
                  <a:pt x="2464" y="1208"/>
                  <a:pt x="2472" y="1220"/>
                  <a:pt x="2472" y="1245"/>
                </a:cubicBezTo>
                <a:cubicBezTo>
                  <a:pt x="2472" y="1258"/>
                  <a:pt x="2470" y="1268"/>
                  <a:pt x="2465" y="1274"/>
                </a:cubicBezTo>
                <a:cubicBezTo>
                  <a:pt x="2460" y="1281"/>
                  <a:pt x="2454" y="1284"/>
                  <a:pt x="2446" y="1284"/>
                </a:cubicBezTo>
                <a:close/>
                <a:moveTo>
                  <a:pt x="2447" y="1217"/>
                </a:moveTo>
                <a:cubicBezTo>
                  <a:pt x="2438" y="1217"/>
                  <a:pt x="2434" y="1227"/>
                  <a:pt x="2434" y="1246"/>
                </a:cubicBezTo>
                <a:cubicBezTo>
                  <a:pt x="2434" y="1265"/>
                  <a:pt x="2438" y="1274"/>
                  <a:pt x="2447" y="1274"/>
                </a:cubicBezTo>
                <a:cubicBezTo>
                  <a:pt x="2455" y="1274"/>
                  <a:pt x="2459" y="1265"/>
                  <a:pt x="2459" y="1246"/>
                </a:cubicBezTo>
                <a:cubicBezTo>
                  <a:pt x="2459" y="1227"/>
                  <a:pt x="2456" y="1217"/>
                  <a:pt x="2447" y="1217"/>
                </a:cubicBezTo>
                <a:close/>
                <a:moveTo>
                  <a:pt x="2518" y="1210"/>
                </a:moveTo>
                <a:cubicBezTo>
                  <a:pt x="2518" y="1210"/>
                  <a:pt x="2518" y="1210"/>
                  <a:pt x="2518" y="1210"/>
                </a:cubicBezTo>
                <a:cubicBezTo>
                  <a:pt x="2513" y="1210"/>
                  <a:pt x="2513" y="1210"/>
                  <a:pt x="2513" y="1210"/>
                </a:cubicBezTo>
                <a:cubicBezTo>
                  <a:pt x="2511" y="1212"/>
                  <a:pt x="2510" y="1213"/>
                  <a:pt x="2508" y="1214"/>
                </a:cubicBezTo>
                <a:cubicBezTo>
                  <a:pt x="2506" y="1216"/>
                  <a:pt x="2504" y="1216"/>
                  <a:pt x="2502" y="1217"/>
                </a:cubicBezTo>
                <a:cubicBezTo>
                  <a:pt x="2501" y="1218"/>
                  <a:pt x="2499" y="1218"/>
                  <a:pt x="2497" y="1219"/>
                </a:cubicBezTo>
                <a:cubicBezTo>
                  <a:pt x="2495" y="1220"/>
                  <a:pt x="2494" y="1221"/>
                  <a:pt x="2492" y="1221"/>
                </a:cubicBezTo>
                <a:cubicBezTo>
                  <a:pt x="2492" y="1221"/>
                  <a:pt x="2492" y="1221"/>
                  <a:pt x="2492" y="1232"/>
                </a:cubicBezTo>
                <a:cubicBezTo>
                  <a:pt x="2494" y="1231"/>
                  <a:pt x="2497" y="1229"/>
                  <a:pt x="2500" y="1229"/>
                </a:cubicBezTo>
                <a:cubicBezTo>
                  <a:pt x="2502" y="1228"/>
                  <a:pt x="2505" y="1226"/>
                  <a:pt x="2507" y="1225"/>
                </a:cubicBezTo>
                <a:cubicBezTo>
                  <a:pt x="2507" y="1225"/>
                  <a:pt x="2507" y="1225"/>
                  <a:pt x="2507" y="1284"/>
                </a:cubicBezTo>
                <a:cubicBezTo>
                  <a:pt x="2507" y="1284"/>
                  <a:pt x="2507" y="1284"/>
                  <a:pt x="2518" y="1284"/>
                </a:cubicBezTo>
                <a:cubicBezTo>
                  <a:pt x="2518" y="1284"/>
                  <a:pt x="2518" y="1284"/>
                  <a:pt x="2518" y="1210"/>
                </a:cubicBezTo>
                <a:close/>
                <a:moveTo>
                  <a:pt x="2309" y="1210"/>
                </a:moveTo>
                <a:cubicBezTo>
                  <a:pt x="2309" y="1210"/>
                  <a:pt x="2309" y="1210"/>
                  <a:pt x="2309" y="1210"/>
                </a:cubicBezTo>
                <a:cubicBezTo>
                  <a:pt x="2304" y="1210"/>
                  <a:pt x="2304" y="1210"/>
                  <a:pt x="2304" y="1210"/>
                </a:cubicBezTo>
                <a:cubicBezTo>
                  <a:pt x="2301" y="1212"/>
                  <a:pt x="2300" y="1213"/>
                  <a:pt x="2298" y="1214"/>
                </a:cubicBezTo>
                <a:cubicBezTo>
                  <a:pt x="2296" y="1216"/>
                  <a:pt x="2295" y="1216"/>
                  <a:pt x="2293" y="1217"/>
                </a:cubicBezTo>
                <a:cubicBezTo>
                  <a:pt x="2291" y="1218"/>
                  <a:pt x="2289" y="1219"/>
                  <a:pt x="2288" y="1220"/>
                </a:cubicBezTo>
                <a:cubicBezTo>
                  <a:pt x="2285" y="1221"/>
                  <a:pt x="2284" y="1221"/>
                  <a:pt x="2282" y="1221"/>
                </a:cubicBezTo>
                <a:cubicBezTo>
                  <a:pt x="2282" y="1221"/>
                  <a:pt x="2282" y="1221"/>
                  <a:pt x="2282" y="1232"/>
                </a:cubicBezTo>
                <a:cubicBezTo>
                  <a:pt x="2285" y="1231"/>
                  <a:pt x="2288" y="1230"/>
                  <a:pt x="2290" y="1229"/>
                </a:cubicBezTo>
                <a:cubicBezTo>
                  <a:pt x="2293" y="1228"/>
                  <a:pt x="2295" y="1226"/>
                  <a:pt x="2297" y="1225"/>
                </a:cubicBezTo>
                <a:cubicBezTo>
                  <a:pt x="2297" y="1225"/>
                  <a:pt x="2297" y="1225"/>
                  <a:pt x="2297" y="1284"/>
                </a:cubicBezTo>
                <a:cubicBezTo>
                  <a:pt x="2297" y="1284"/>
                  <a:pt x="2297" y="1284"/>
                  <a:pt x="2309" y="1284"/>
                </a:cubicBezTo>
                <a:cubicBezTo>
                  <a:pt x="2309" y="1284"/>
                  <a:pt x="2309" y="1284"/>
                  <a:pt x="2309" y="1210"/>
                </a:cubicBezTo>
                <a:close/>
                <a:moveTo>
                  <a:pt x="2356" y="1210"/>
                </a:moveTo>
                <a:cubicBezTo>
                  <a:pt x="2356" y="1210"/>
                  <a:pt x="2356" y="1210"/>
                  <a:pt x="2356" y="1210"/>
                </a:cubicBezTo>
                <a:cubicBezTo>
                  <a:pt x="2351" y="1210"/>
                  <a:pt x="2351" y="1210"/>
                  <a:pt x="2351" y="1210"/>
                </a:cubicBezTo>
                <a:cubicBezTo>
                  <a:pt x="2348" y="1212"/>
                  <a:pt x="2347" y="1213"/>
                  <a:pt x="2345" y="1214"/>
                </a:cubicBezTo>
                <a:cubicBezTo>
                  <a:pt x="2343" y="1216"/>
                  <a:pt x="2341" y="1216"/>
                  <a:pt x="2339" y="1217"/>
                </a:cubicBezTo>
                <a:cubicBezTo>
                  <a:pt x="2338" y="1218"/>
                  <a:pt x="2336" y="1219"/>
                  <a:pt x="2334" y="1220"/>
                </a:cubicBezTo>
                <a:cubicBezTo>
                  <a:pt x="2332" y="1221"/>
                  <a:pt x="2331" y="1221"/>
                  <a:pt x="2328" y="1221"/>
                </a:cubicBezTo>
                <a:cubicBezTo>
                  <a:pt x="2328" y="1221"/>
                  <a:pt x="2328" y="1221"/>
                  <a:pt x="2328" y="1232"/>
                </a:cubicBezTo>
                <a:cubicBezTo>
                  <a:pt x="2331" y="1231"/>
                  <a:pt x="2334" y="1230"/>
                  <a:pt x="2336" y="1229"/>
                </a:cubicBezTo>
                <a:cubicBezTo>
                  <a:pt x="2339" y="1228"/>
                  <a:pt x="2342" y="1226"/>
                  <a:pt x="2344" y="1225"/>
                </a:cubicBezTo>
                <a:cubicBezTo>
                  <a:pt x="2344" y="1225"/>
                  <a:pt x="2344" y="1225"/>
                  <a:pt x="2344" y="1284"/>
                </a:cubicBezTo>
                <a:cubicBezTo>
                  <a:pt x="2344" y="1284"/>
                  <a:pt x="2344" y="1284"/>
                  <a:pt x="2356" y="1284"/>
                </a:cubicBezTo>
                <a:cubicBezTo>
                  <a:pt x="2356" y="1284"/>
                  <a:pt x="2356" y="1284"/>
                  <a:pt x="2356" y="1210"/>
                </a:cubicBezTo>
                <a:close/>
                <a:moveTo>
                  <a:pt x="2401" y="1210"/>
                </a:moveTo>
                <a:cubicBezTo>
                  <a:pt x="2401" y="1210"/>
                  <a:pt x="2401" y="1210"/>
                  <a:pt x="2401" y="1210"/>
                </a:cubicBezTo>
                <a:cubicBezTo>
                  <a:pt x="2397" y="1210"/>
                  <a:pt x="2397" y="1210"/>
                  <a:pt x="2397" y="1210"/>
                </a:cubicBezTo>
                <a:cubicBezTo>
                  <a:pt x="2395" y="1212"/>
                  <a:pt x="2393" y="1213"/>
                  <a:pt x="2391" y="1214"/>
                </a:cubicBezTo>
                <a:cubicBezTo>
                  <a:pt x="2390" y="1216"/>
                  <a:pt x="2388" y="1216"/>
                  <a:pt x="2386" y="1217"/>
                </a:cubicBezTo>
                <a:cubicBezTo>
                  <a:pt x="2384" y="1218"/>
                  <a:pt x="2383" y="1218"/>
                  <a:pt x="2380" y="1219"/>
                </a:cubicBezTo>
                <a:cubicBezTo>
                  <a:pt x="2379" y="1220"/>
                  <a:pt x="2377" y="1221"/>
                  <a:pt x="2375" y="1221"/>
                </a:cubicBezTo>
                <a:cubicBezTo>
                  <a:pt x="2375" y="1221"/>
                  <a:pt x="2375" y="1221"/>
                  <a:pt x="2375" y="1232"/>
                </a:cubicBezTo>
                <a:cubicBezTo>
                  <a:pt x="2378" y="1231"/>
                  <a:pt x="2381" y="1229"/>
                  <a:pt x="2383" y="1229"/>
                </a:cubicBezTo>
                <a:cubicBezTo>
                  <a:pt x="2385" y="1228"/>
                  <a:pt x="2388" y="1226"/>
                  <a:pt x="2390" y="1225"/>
                </a:cubicBezTo>
                <a:cubicBezTo>
                  <a:pt x="2390" y="1225"/>
                  <a:pt x="2390" y="1225"/>
                  <a:pt x="2390" y="1284"/>
                </a:cubicBezTo>
                <a:cubicBezTo>
                  <a:pt x="2390" y="1284"/>
                  <a:pt x="2390" y="1284"/>
                  <a:pt x="2401" y="1284"/>
                </a:cubicBezTo>
                <a:cubicBezTo>
                  <a:pt x="2401" y="1284"/>
                  <a:pt x="2401" y="1284"/>
                  <a:pt x="2401" y="1210"/>
                </a:cubicBezTo>
                <a:close/>
                <a:moveTo>
                  <a:pt x="1967" y="1284"/>
                </a:moveTo>
                <a:cubicBezTo>
                  <a:pt x="1960" y="1284"/>
                  <a:pt x="1953" y="1281"/>
                  <a:pt x="1949" y="1275"/>
                </a:cubicBezTo>
                <a:cubicBezTo>
                  <a:pt x="1945" y="1268"/>
                  <a:pt x="1943" y="1260"/>
                  <a:pt x="1943" y="1247"/>
                </a:cubicBezTo>
                <a:cubicBezTo>
                  <a:pt x="1943" y="1234"/>
                  <a:pt x="1945" y="1224"/>
                  <a:pt x="1949" y="1218"/>
                </a:cubicBezTo>
                <a:cubicBezTo>
                  <a:pt x="1954" y="1211"/>
                  <a:pt x="1960" y="1208"/>
                  <a:pt x="1969" y="1208"/>
                </a:cubicBezTo>
                <a:cubicBezTo>
                  <a:pt x="1985" y="1208"/>
                  <a:pt x="1993" y="1220"/>
                  <a:pt x="1993" y="1246"/>
                </a:cubicBezTo>
                <a:cubicBezTo>
                  <a:pt x="1993" y="1258"/>
                  <a:pt x="1991" y="1268"/>
                  <a:pt x="1987" y="1274"/>
                </a:cubicBezTo>
                <a:cubicBezTo>
                  <a:pt x="1982" y="1281"/>
                  <a:pt x="1976" y="1284"/>
                  <a:pt x="1967" y="1284"/>
                </a:cubicBezTo>
                <a:close/>
                <a:moveTo>
                  <a:pt x="1968" y="1217"/>
                </a:moveTo>
                <a:cubicBezTo>
                  <a:pt x="1960" y="1217"/>
                  <a:pt x="1955" y="1227"/>
                  <a:pt x="1955" y="1247"/>
                </a:cubicBezTo>
                <a:cubicBezTo>
                  <a:pt x="1955" y="1266"/>
                  <a:pt x="1959" y="1274"/>
                  <a:pt x="1968" y="1274"/>
                </a:cubicBezTo>
                <a:cubicBezTo>
                  <a:pt x="1976" y="1274"/>
                  <a:pt x="1981" y="1266"/>
                  <a:pt x="1981" y="1246"/>
                </a:cubicBezTo>
                <a:cubicBezTo>
                  <a:pt x="1981" y="1227"/>
                  <a:pt x="1976" y="1217"/>
                  <a:pt x="1968" y="1217"/>
                </a:cubicBezTo>
                <a:close/>
                <a:moveTo>
                  <a:pt x="2028" y="1210"/>
                </a:moveTo>
                <a:cubicBezTo>
                  <a:pt x="2028" y="1210"/>
                  <a:pt x="2028" y="1210"/>
                  <a:pt x="2028" y="1210"/>
                </a:cubicBezTo>
                <a:cubicBezTo>
                  <a:pt x="2023" y="1210"/>
                  <a:pt x="2023" y="1210"/>
                  <a:pt x="2023" y="1210"/>
                </a:cubicBezTo>
                <a:cubicBezTo>
                  <a:pt x="2021" y="1212"/>
                  <a:pt x="2020" y="1213"/>
                  <a:pt x="2017" y="1214"/>
                </a:cubicBezTo>
                <a:cubicBezTo>
                  <a:pt x="2016" y="1216"/>
                  <a:pt x="2015" y="1216"/>
                  <a:pt x="2012" y="1217"/>
                </a:cubicBezTo>
                <a:cubicBezTo>
                  <a:pt x="2011" y="1218"/>
                  <a:pt x="2009" y="1219"/>
                  <a:pt x="2007" y="1220"/>
                </a:cubicBezTo>
                <a:cubicBezTo>
                  <a:pt x="2005" y="1221"/>
                  <a:pt x="2004" y="1221"/>
                  <a:pt x="2001" y="1221"/>
                </a:cubicBezTo>
                <a:cubicBezTo>
                  <a:pt x="2001" y="1221"/>
                  <a:pt x="2001" y="1221"/>
                  <a:pt x="2001" y="1232"/>
                </a:cubicBezTo>
                <a:cubicBezTo>
                  <a:pt x="2004" y="1231"/>
                  <a:pt x="2007" y="1230"/>
                  <a:pt x="2010" y="1229"/>
                </a:cubicBezTo>
                <a:cubicBezTo>
                  <a:pt x="2012" y="1228"/>
                  <a:pt x="2015" y="1226"/>
                  <a:pt x="2017" y="1225"/>
                </a:cubicBezTo>
                <a:cubicBezTo>
                  <a:pt x="2017" y="1225"/>
                  <a:pt x="2017" y="1225"/>
                  <a:pt x="2017" y="1284"/>
                </a:cubicBezTo>
                <a:cubicBezTo>
                  <a:pt x="2017" y="1284"/>
                  <a:pt x="2017" y="1284"/>
                  <a:pt x="2028" y="1284"/>
                </a:cubicBezTo>
                <a:cubicBezTo>
                  <a:pt x="2028" y="1284"/>
                  <a:pt x="2028" y="1284"/>
                  <a:pt x="2028" y="1210"/>
                </a:cubicBezTo>
                <a:close/>
                <a:moveTo>
                  <a:pt x="2075" y="1210"/>
                </a:moveTo>
                <a:cubicBezTo>
                  <a:pt x="2075" y="1210"/>
                  <a:pt x="2075" y="1210"/>
                  <a:pt x="2075" y="1210"/>
                </a:cubicBezTo>
                <a:cubicBezTo>
                  <a:pt x="2070" y="1210"/>
                  <a:pt x="2070" y="1210"/>
                  <a:pt x="2070" y="1210"/>
                </a:cubicBezTo>
                <a:cubicBezTo>
                  <a:pt x="2068" y="1212"/>
                  <a:pt x="2066" y="1213"/>
                  <a:pt x="2064" y="1214"/>
                </a:cubicBezTo>
                <a:cubicBezTo>
                  <a:pt x="2063" y="1216"/>
                  <a:pt x="2061" y="1216"/>
                  <a:pt x="2059" y="1217"/>
                </a:cubicBezTo>
                <a:cubicBezTo>
                  <a:pt x="2058" y="1218"/>
                  <a:pt x="2055" y="1219"/>
                  <a:pt x="2054" y="1220"/>
                </a:cubicBezTo>
                <a:cubicBezTo>
                  <a:pt x="2052" y="1221"/>
                  <a:pt x="2050" y="1221"/>
                  <a:pt x="2048" y="1221"/>
                </a:cubicBezTo>
                <a:cubicBezTo>
                  <a:pt x="2048" y="1221"/>
                  <a:pt x="2048" y="1221"/>
                  <a:pt x="2048" y="1232"/>
                </a:cubicBezTo>
                <a:cubicBezTo>
                  <a:pt x="2051" y="1231"/>
                  <a:pt x="2054" y="1230"/>
                  <a:pt x="2056" y="1229"/>
                </a:cubicBezTo>
                <a:cubicBezTo>
                  <a:pt x="2059" y="1228"/>
                  <a:pt x="2061" y="1226"/>
                  <a:pt x="2064" y="1225"/>
                </a:cubicBezTo>
                <a:cubicBezTo>
                  <a:pt x="2064" y="1225"/>
                  <a:pt x="2064" y="1225"/>
                  <a:pt x="2064" y="1284"/>
                </a:cubicBezTo>
                <a:cubicBezTo>
                  <a:pt x="2064" y="1284"/>
                  <a:pt x="2064" y="1284"/>
                  <a:pt x="2075" y="1284"/>
                </a:cubicBezTo>
                <a:cubicBezTo>
                  <a:pt x="2075" y="1284"/>
                  <a:pt x="2075" y="1284"/>
                  <a:pt x="2075" y="1210"/>
                </a:cubicBezTo>
                <a:close/>
                <a:moveTo>
                  <a:pt x="2121" y="1210"/>
                </a:moveTo>
                <a:cubicBezTo>
                  <a:pt x="2121" y="1210"/>
                  <a:pt x="2121" y="1210"/>
                  <a:pt x="2121" y="1210"/>
                </a:cubicBezTo>
                <a:cubicBezTo>
                  <a:pt x="2117" y="1210"/>
                  <a:pt x="2117" y="1210"/>
                  <a:pt x="2117" y="1210"/>
                </a:cubicBezTo>
                <a:cubicBezTo>
                  <a:pt x="2114" y="1212"/>
                  <a:pt x="2113" y="1213"/>
                  <a:pt x="2111" y="1214"/>
                </a:cubicBezTo>
                <a:cubicBezTo>
                  <a:pt x="2109" y="1216"/>
                  <a:pt x="2107" y="1216"/>
                  <a:pt x="2106" y="1217"/>
                </a:cubicBezTo>
                <a:cubicBezTo>
                  <a:pt x="2104" y="1218"/>
                  <a:pt x="2102" y="1218"/>
                  <a:pt x="2100" y="1219"/>
                </a:cubicBezTo>
                <a:cubicBezTo>
                  <a:pt x="2099" y="1220"/>
                  <a:pt x="2096" y="1221"/>
                  <a:pt x="2095" y="1221"/>
                </a:cubicBezTo>
                <a:cubicBezTo>
                  <a:pt x="2095" y="1221"/>
                  <a:pt x="2095" y="1221"/>
                  <a:pt x="2095" y="1232"/>
                </a:cubicBezTo>
                <a:cubicBezTo>
                  <a:pt x="2098" y="1231"/>
                  <a:pt x="2101" y="1229"/>
                  <a:pt x="2103" y="1229"/>
                </a:cubicBezTo>
                <a:cubicBezTo>
                  <a:pt x="2105" y="1228"/>
                  <a:pt x="2108" y="1226"/>
                  <a:pt x="2109" y="1225"/>
                </a:cubicBezTo>
                <a:cubicBezTo>
                  <a:pt x="2109" y="1225"/>
                  <a:pt x="2109" y="1225"/>
                  <a:pt x="2109" y="1284"/>
                </a:cubicBezTo>
                <a:cubicBezTo>
                  <a:pt x="2109" y="1284"/>
                  <a:pt x="2109" y="1284"/>
                  <a:pt x="2121" y="1284"/>
                </a:cubicBezTo>
                <a:cubicBezTo>
                  <a:pt x="2121" y="1284"/>
                  <a:pt x="2121" y="1284"/>
                  <a:pt x="2121" y="1210"/>
                </a:cubicBezTo>
                <a:close/>
                <a:moveTo>
                  <a:pt x="2036" y="1176"/>
                </a:moveTo>
                <a:cubicBezTo>
                  <a:pt x="2029" y="1176"/>
                  <a:pt x="2022" y="1173"/>
                  <a:pt x="2018" y="1168"/>
                </a:cubicBezTo>
                <a:cubicBezTo>
                  <a:pt x="2014" y="1161"/>
                  <a:pt x="2012" y="1152"/>
                  <a:pt x="2012" y="1140"/>
                </a:cubicBezTo>
                <a:cubicBezTo>
                  <a:pt x="2012" y="1127"/>
                  <a:pt x="2014" y="1117"/>
                  <a:pt x="2019" y="1111"/>
                </a:cubicBezTo>
                <a:cubicBezTo>
                  <a:pt x="2023" y="1104"/>
                  <a:pt x="2030" y="1101"/>
                  <a:pt x="2038" y="1101"/>
                </a:cubicBezTo>
                <a:cubicBezTo>
                  <a:pt x="2054" y="1101"/>
                  <a:pt x="2062" y="1113"/>
                  <a:pt x="2062" y="1138"/>
                </a:cubicBezTo>
                <a:cubicBezTo>
                  <a:pt x="2062" y="1151"/>
                  <a:pt x="2060" y="1160"/>
                  <a:pt x="2055" y="1167"/>
                </a:cubicBezTo>
                <a:cubicBezTo>
                  <a:pt x="2051" y="1173"/>
                  <a:pt x="2044" y="1176"/>
                  <a:pt x="2036" y="1176"/>
                </a:cubicBezTo>
                <a:close/>
                <a:moveTo>
                  <a:pt x="2038" y="1110"/>
                </a:moveTo>
                <a:cubicBezTo>
                  <a:pt x="2028" y="1110"/>
                  <a:pt x="2024" y="1120"/>
                  <a:pt x="2024" y="1140"/>
                </a:cubicBezTo>
                <a:cubicBezTo>
                  <a:pt x="2024" y="1158"/>
                  <a:pt x="2028" y="1167"/>
                  <a:pt x="2037" y="1167"/>
                </a:cubicBezTo>
                <a:cubicBezTo>
                  <a:pt x="2046" y="1167"/>
                  <a:pt x="2050" y="1158"/>
                  <a:pt x="2050" y="1139"/>
                </a:cubicBezTo>
                <a:cubicBezTo>
                  <a:pt x="2050" y="1119"/>
                  <a:pt x="2046" y="1110"/>
                  <a:pt x="2038" y="1110"/>
                </a:cubicBezTo>
                <a:close/>
                <a:moveTo>
                  <a:pt x="2110" y="1103"/>
                </a:moveTo>
                <a:cubicBezTo>
                  <a:pt x="2110" y="1103"/>
                  <a:pt x="2110" y="1103"/>
                  <a:pt x="2110" y="1103"/>
                </a:cubicBezTo>
                <a:cubicBezTo>
                  <a:pt x="2105" y="1103"/>
                  <a:pt x="2105" y="1103"/>
                  <a:pt x="2105" y="1103"/>
                </a:cubicBezTo>
                <a:cubicBezTo>
                  <a:pt x="2103" y="1104"/>
                  <a:pt x="2101" y="1106"/>
                  <a:pt x="2099" y="1107"/>
                </a:cubicBezTo>
                <a:cubicBezTo>
                  <a:pt x="2098" y="1108"/>
                  <a:pt x="2095" y="1109"/>
                  <a:pt x="2094" y="1109"/>
                </a:cubicBezTo>
                <a:cubicBezTo>
                  <a:pt x="2092" y="1110"/>
                  <a:pt x="2090" y="1111"/>
                  <a:pt x="2089" y="1112"/>
                </a:cubicBezTo>
                <a:cubicBezTo>
                  <a:pt x="2087" y="1112"/>
                  <a:pt x="2085" y="1113"/>
                  <a:pt x="2083" y="1114"/>
                </a:cubicBezTo>
                <a:cubicBezTo>
                  <a:pt x="2083" y="1114"/>
                  <a:pt x="2083" y="1114"/>
                  <a:pt x="2083" y="1124"/>
                </a:cubicBezTo>
                <a:cubicBezTo>
                  <a:pt x="2086" y="1123"/>
                  <a:pt x="2089" y="1122"/>
                  <a:pt x="2091" y="1121"/>
                </a:cubicBezTo>
                <a:cubicBezTo>
                  <a:pt x="2094" y="1120"/>
                  <a:pt x="2096" y="1119"/>
                  <a:pt x="2098" y="1117"/>
                </a:cubicBezTo>
                <a:cubicBezTo>
                  <a:pt x="2098" y="1117"/>
                  <a:pt x="2098" y="1117"/>
                  <a:pt x="2098" y="1176"/>
                </a:cubicBezTo>
                <a:cubicBezTo>
                  <a:pt x="2098" y="1176"/>
                  <a:pt x="2098" y="1176"/>
                  <a:pt x="2110" y="1176"/>
                </a:cubicBezTo>
                <a:cubicBezTo>
                  <a:pt x="2110" y="1176"/>
                  <a:pt x="2110" y="1176"/>
                  <a:pt x="2110" y="1103"/>
                </a:cubicBezTo>
                <a:close/>
                <a:moveTo>
                  <a:pt x="2157" y="1103"/>
                </a:moveTo>
                <a:cubicBezTo>
                  <a:pt x="2157" y="1103"/>
                  <a:pt x="2157" y="1103"/>
                  <a:pt x="2157" y="1103"/>
                </a:cubicBezTo>
                <a:cubicBezTo>
                  <a:pt x="2152" y="1103"/>
                  <a:pt x="2152" y="1103"/>
                  <a:pt x="2152" y="1103"/>
                </a:cubicBezTo>
                <a:cubicBezTo>
                  <a:pt x="2150" y="1104"/>
                  <a:pt x="2148" y="1106"/>
                  <a:pt x="2146" y="1107"/>
                </a:cubicBezTo>
                <a:cubicBezTo>
                  <a:pt x="2145" y="1108"/>
                  <a:pt x="2143" y="1109"/>
                  <a:pt x="2141" y="1109"/>
                </a:cubicBezTo>
                <a:cubicBezTo>
                  <a:pt x="2140" y="1111"/>
                  <a:pt x="2138" y="1112"/>
                  <a:pt x="2136" y="1112"/>
                </a:cubicBezTo>
                <a:cubicBezTo>
                  <a:pt x="2134" y="1113"/>
                  <a:pt x="2133" y="1114"/>
                  <a:pt x="2131" y="1114"/>
                </a:cubicBezTo>
                <a:cubicBezTo>
                  <a:pt x="2131" y="1114"/>
                  <a:pt x="2131" y="1114"/>
                  <a:pt x="2131" y="1124"/>
                </a:cubicBezTo>
                <a:cubicBezTo>
                  <a:pt x="2133" y="1123"/>
                  <a:pt x="2136" y="1123"/>
                  <a:pt x="2138" y="1121"/>
                </a:cubicBezTo>
                <a:cubicBezTo>
                  <a:pt x="2141" y="1120"/>
                  <a:pt x="2143" y="1119"/>
                  <a:pt x="2146" y="1117"/>
                </a:cubicBezTo>
                <a:cubicBezTo>
                  <a:pt x="2146" y="1117"/>
                  <a:pt x="2146" y="1117"/>
                  <a:pt x="2146" y="1176"/>
                </a:cubicBezTo>
                <a:cubicBezTo>
                  <a:pt x="2146" y="1176"/>
                  <a:pt x="2146" y="1176"/>
                  <a:pt x="2157" y="1176"/>
                </a:cubicBezTo>
                <a:cubicBezTo>
                  <a:pt x="2157" y="1176"/>
                  <a:pt x="2157" y="1176"/>
                  <a:pt x="2157" y="1103"/>
                </a:cubicBezTo>
                <a:close/>
                <a:moveTo>
                  <a:pt x="2204" y="1103"/>
                </a:moveTo>
                <a:cubicBezTo>
                  <a:pt x="2204" y="1103"/>
                  <a:pt x="2204" y="1103"/>
                  <a:pt x="2204" y="1103"/>
                </a:cubicBezTo>
                <a:cubicBezTo>
                  <a:pt x="2199" y="1103"/>
                  <a:pt x="2199" y="1103"/>
                  <a:pt x="2199" y="1103"/>
                </a:cubicBezTo>
                <a:cubicBezTo>
                  <a:pt x="2197" y="1104"/>
                  <a:pt x="2195" y="1106"/>
                  <a:pt x="2193" y="1107"/>
                </a:cubicBezTo>
                <a:cubicBezTo>
                  <a:pt x="2192" y="1108"/>
                  <a:pt x="2190" y="1109"/>
                  <a:pt x="2188" y="1109"/>
                </a:cubicBezTo>
                <a:cubicBezTo>
                  <a:pt x="2186" y="1111"/>
                  <a:pt x="2184" y="1112"/>
                  <a:pt x="2182" y="1112"/>
                </a:cubicBezTo>
                <a:cubicBezTo>
                  <a:pt x="2181" y="1113"/>
                  <a:pt x="2179" y="1114"/>
                  <a:pt x="2177" y="1114"/>
                </a:cubicBezTo>
                <a:cubicBezTo>
                  <a:pt x="2177" y="1114"/>
                  <a:pt x="2177" y="1114"/>
                  <a:pt x="2177" y="1124"/>
                </a:cubicBezTo>
                <a:cubicBezTo>
                  <a:pt x="2180" y="1123"/>
                  <a:pt x="2183" y="1123"/>
                  <a:pt x="2185" y="1121"/>
                </a:cubicBezTo>
                <a:cubicBezTo>
                  <a:pt x="2187" y="1120"/>
                  <a:pt x="2190" y="1119"/>
                  <a:pt x="2192" y="1117"/>
                </a:cubicBezTo>
                <a:cubicBezTo>
                  <a:pt x="2192" y="1117"/>
                  <a:pt x="2192" y="1117"/>
                  <a:pt x="2192" y="1176"/>
                </a:cubicBezTo>
                <a:cubicBezTo>
                  <a:pt x="2192" y="1176"/>
                  <a:pt x="2192" y="1176"/>
                  <a:pt x="2204" y="1176"/>
                </a:cubicBezTo>
                <a:cubicBezTo>
                  <a:pt x="2204" y="1176"/>
                  <a:pt x="2204" y="1176"/>
                  <a:pt x="2204" y="1103"/>
                </a:cubicBezTo>
                <a:close/>
                <a:moveTo>
                  <a:pt x="2251" y="1103"/>
                </a:moveTo>
                <a:cubicBezTo>
                  <a:pt x="2251" y="1103"/>
                  <a:pt x="2251" y="1103"/>
                  <a:pt x="2251" y="1103"/>
                </a:cubicBezTo>
                <a:cubicBezTo>
                  <a:pt x="2246" y="1103"/>
                  <a:pt x="2246" y="1103"/>
                  <a:pt x="2246" y="1103"/>
                </a:cubicBezTo>
                <a:cubicBezTo>
                  <a:pt x="2244" y="1104"/>
                  <a:pt x="2242" y="1106"/>
                  <a:pt x="2240" y="1107"/>
                </a:cubicBezTo>
                <a:cubicBezTo>
                  <a:pt x="2238" y="1108"/>
                  <a:pt x="2237" y="1109"/>
                  <a:pt x="2235" y="1109"/>
                </a:cubicBezTo>
                <a:cubicBezTo>
                  <a:pt x="2233" y="1111"/>
                  <a:pt x="2231" y="1112"/>
                  <a:pt x="2230" y="1112"/>
                </a:cubicBezTo>
                <a:cubicBezTo>
                  <a:pt x="2227" y="1113"/>
                  <a:pt x="2226" y="1114"/>
                  <a:pt x="2224" y="1114"/>
                </a:cubicBezTo>
                <a:cubicBezTo>
                  <a:pt x="2224" y="1114"/>
                  <a:pt x="2224" y="1114"/>
                  <a:pt x="2224" y="1124"/>
                </a:cubicBezTo>
                <a:cubicBezTo>
                  <a:pt x="2227" y="1123"/>
                  <a:pt x="2230" y="1123"/>
                  <a:pt x="2232" y="1121"/>
                </a:cubicBezTo>
                <a:cubicBezTo>
                  <a:pt x="2235" y="1120"/>
                  <a:pt x="2237" y="1119"/>
                  <a:pt x="2239" y="1117"/>
                </a:cubicBezTo>
                <a:cubicBezTo>
                  <a:pt x="2239" y="1117"/>
                  <a:pt x="2239" y="1117"/>
                  <a:pt x="2239" y="1176"/>
                </a:cubicBezTo>
                <a:cubicBezTo>
                  <a:pt x="2239" y="1176"/>
                  <a:pt x="2239" y="1176"/>
                  <a:pt x="2251" y="1176"/>
                </a:cubicBezTo>
                <a:cubicBezTo>
                  <a:pt x="2251" y="1176"/>
                  <a:pt x="2251" y="1176"/>
                  <a:pt x="2251" y="1103"/>
                </a:cubicBezTo>
                <a:close/>
                <a:moveTo>
                  <a:pt x="2374" y="1103"/>
                </a:moveTo>
                <a:cubicBezTo>
                  <a:pt x="2374" y="1103"/>
                  <a:pt x="2374" y="1103"/>
                  <a:pt x="2374" y="1103"/>
                </a:cubicBezTo>
                <a:cubicBezTo>
                  <a:pt x="2369" y="1103"/>
                  <a:pt x="2369" y="1103"/>
                  <a:pt x="2369" y="1103"/>
                </a:cubicBezTo>
                <a:cubicBezTo>
                  <a:pt x="2367" y="1104"/>
                  <a:pt x="2365" y="1106"/>
                  <a:pt x="2363" y="1107"/>
                </a:cubicBezTo>
                <a:cubicBezTo>
                  <a:pt x="2362" y="1108"/>
                  <a:pt x="2360" y="1109"/>
                  <a:pt x="2358" y="1109"/>
                </a:cubicBezTo>
                <a:cubicBezTo>
                  <a:pt x="2356" y="1111"/>
                  <a:pt x="2354" y="1112"/>
                  <a:pt x="2353" y="1112"/>
                </a:cubicBezTo>
                <a:cubicBezTo>
                  <a:pt x="2351" y="1113"/>
                  <a:pt x="2349" y="1114"/>
                  <a:pt x="2347" y="1114"/>
                </a:cubicBezTo>
                <a:cubicBezTo>
                  <a:pt x="2347" y="1114"/>
                  <a:pt x="2347" y="1114"/>
                  <a:pt x="2347" y="1124"/>
                </a:cubicBezTo>
                <a:cubicBezTo>
                  <a:pt x="2350" y="1123"/>
                  <a:pt x="2353" y="1123"/>
                  <a:pt x="2356" y="1121"/>
                </a:cubicBezTo>
                <a:cubicBezTo>
                  <a:pt x="2358" y="1120"/>
                  <a:pt x="2360" y="1119"/>
                  <a:pt x="2362" y="1117"/>
                </a:cubicBezTo>
                <a:cubicBezTo>
                  <a:pt x="2362" y="1117"/>
                  <a:pt x="2362" y="1117"/>
                  <a:pt x="2362" y="1176"/>
                </a:cubicBezTo>
                <a:cubicBezTo>
                  <a:pt x="2362" y="1176"/>
                  <a:pt x="2362" y="1176"/>
                  <a:pt x="2374" y="1176"/>
                </a:cubicBezTo>
                <a:cubicBezTo>
                  <a:pt x="2374" y="1176"/>
                  <a:pt x="2374" y="1176"/>
                  <a:pt x="2374" y="1103"/>
                </a:cubicBezTo>
                <a:close/>
                <a:moveTo>
                  <a:pt x="2421" y="1103"/>
                </a:moveTo>
                <a:cubicBezTo>
                  <a:pt x="2421" y="1103"/>
                  <a:pt x="2421" y="1103"/>
                  <a:pt x="2421" y="1103"/>
                </a:cubicBezTo>
                <a:cubicBezTo>
                  <a:pt x="2416" y="1103"/>
                  <a:pt x="2416" y="1103"/>
                  <a:pt x="2416" y="1103"/>
                </a:cubicBezTo>
                <a:cubicBezTo>
                  <a:pt x="2414" y="1104"/>
                  <a:pt x="2413" y="1106"/>
                  <a:pt x="2411" y="1107"/>
                </a:cubicBezTo>
                <a:cubicBezTo>
                  <a:pt x="2409" y="1108"/>
                  <a:pt x="2407" y="1109"/>
                  <a:pt x="2405" y="1109"/>
                </a:cubicBezTo>
                <a:cubicBezTo>
                  <a:pt x="2404" y="1111"/>
                  <a:pt x="2402" y="1112"/>
                  <a:pt x="2400" y="1112"/>
                </a:cubicBezTo>
                <a:cubicBezTo>
                  <a:pt x="2398" y="1113"/>
                  <a:pt x="2397" y="1114"/>
                  <a:pt x="2395" y="1114"/>
                </a:cubicBezTo>
                <a:cubicBezTo>
                  <a:pt x="2395" y="1114"/>
                  <a:pt x="2395" y="1114"/>
                  <a:pt x="2395" y="1124"/>
                </a:cubicBezTo>
                <a:cubicBezTo>
                  <a:pt x="2397" y="1123"/>
                  <a:pt x="2400" y="1123"/>
                  <a:pt x="2403" y="1121"/>
                </a:cubicBezTo>
                <a:cubicBezTo>
                  <a:pt x="2405" y="1120"/>
                  <a:pt x="2408" y="1119"/>
                  <a:pt x="2410" y="1117"/>
                </a:cubicBezTo>
                <a:cubicBezTo>
                  <a:pt x="2410" y="1117"/>
                  <a:pt x="2410" y="1117"/>
                  <a:pt x="2410" y="1176"/>
                </a:cubicBezTo>
                <a:cubicBezTo>
                  <a:pt x="2410" y="1176"/>
                  <a:pt x="2410" y="1176"/>
                  <a:pt x="2421" y="1176"/>
                </a:cubicBezTo>
                <a:cubicBezTo>
                  <a:pt x="2421" y="1176"/>
                  <a:pt x="2421" y="1176"/>
                  <a:pt x="2421" y="1103"/>
                </a:cubicBezTo>
                <a:close/>
                <a:moveTo>
                  <a:pt x="2469" y="1103"/>
                </a:moveTo>
                <a:cubicBezTo>
                  <a:pt x="2469" y="1103"/>
                  <a:pt x="2469" y="1103"/>
                  <a:pt x="2469" y="1103"/>
                </a:cubicBezTo>
                <a:cubicBezTo>
                  <a:pt x="2464" y="1103"/>
                  <a:pt x="2464" y="1103"/>
                  <a:pt x="2464" y="1103"/>
                </a:cubicBezTo>
                <a:cubicBezTo>
                  <a:pt x="2462" y="1104"/>
                  <a:pt x="2460" y="1106"/>
                  <a:pt x="2459" y="1107"/>
                </a:cubicBezTo>
                <a:cubicBezTo>
                  <a:pt x="2457" y="1108"/>
                  <a:pt x="2455" y="1109"/>
                  <a:pt x="2453" y="1109"/>
                </a:cubicBezTo>
                <a:cubicBezTo>
                  <a:pt x="2452" y="1111"/>
                  <a:pt x="2449" y="1112"/>
                  <a:pt x="2448" y="1112"/>
                </a:cubicBezTo>
                <a:cubicBezTo>
                  <a:pt x="2446" y="1113"/>
                  <a:pt x="2444" y="1114"/>
                  <a:pt x="2442" y="1114"/>
                </a:cubicBezTo>
                <a:cubicBezTo>
                  <a:pt x="2442" y="1114"/>
                  <a:pt x="2442" y="1114"/>
                  <a:pt x="2442" y="1124"/>
                </a:cubicBezTo>
                <a:cubicBezTo>
                  <a:pt x="2445" y="1123"/>
                  <a:pt x="2448" y="1123"/>
                  <a:pt x="2451" y="1121"/>
                </a:cubicBezTo>
                <a:cubicBezTo>
                  <a:pt x="2453" y="1120"/>
                  <a:pt x="2455" y="1119"/>
                  <a:pt x="2457" y="1117"/>
                </a:cubicBezTo>
                <a:cubicBezTo>
                  <a:pt x="2457" y="1117"/>
                  <a:pt x="2457" y="1117"/>
                  <a:pt x="2457" y="1176"/>
                </a:cubicBezTo>
                <a:cubicBezTo>
                  <a:pt x="2457" y="1176"/>
                  <a:pt x="2457" y="1176"/>
                  <a:pt x="2469" y="1176"/>
                </a:cubicBezTo>
                <a:cubicBezTo>
                  <a:pt x="2469" y="1176"/>
                  <a:pt x="2469" y="1176"/>
                  <a:pt x="2469" y="1103"/>
                </a:cubicBezTo>
                <a:close/>
                <a:moveTo>
                  <a:pt x="2516" y="1103"/>
                </a:moveTo>
                <a:cubicBezTo>
                  <a:pt x="2516" y="1103"/>
                  <a:pt x="2516" y="1103"/>
                  <a:pt x="2516" y="1103"/>
                </a:cubicBezTo>
                <a:cubicBezTo>
                  <a:pt x="2511" y="1103"/>
                  <a:pt x="2511" y="1103"/>
                  <a:pt x="2511" y="1103"/>
                </a:cubicBezTo>
                <a:cubicBezTo>
                  <a:pt x="2509" y="1104"/>
                  <a:pt x="2508" y="1106"/>
                  <a:pt x="2505" y="1107"/>
                </a:cubicBezTo>
                <a:cubicBezTo>
                  <a:pt x="2504" y="1108"/>
                  <a:pt x="2502" y="1109"/>
                  <a:pt x="2500" y="1109"/>
                </a:cubicBezTo>
                <a:cubicBezTo>
                  <a:pt x="2498" y="1110"/>
                  <a:pt x="2497" y="1111"/>
                  <a:pt x="2495" y="1112"/>
                </a:cubicBezTo>
                <a:cubicBezTo>
                  <a:pt x="2493" y="1112"/>
                  <a:pt x="2491" y="1113"/>
                  <a:pt x="2490" y="1114"/>
                </a:cubicBezTo>
                <a:cubicBezTo>
                  <a:pt x="2490" y="1114"/>
                  <a:pt x="2490" y="1114"/>
                  <a:pt x="2490" y="1124"/>
                </a:cubicBezTo>
                <a:cubicBezTo>
                  <a:pt x="2492" y="1123"/>
                  <a:pt x="2495" y="1122"/>
                  <a:pt x="2498" y="1121"/>
                </a:cubicBezTo>
                <a:cubicBezTo>
                  <a:pt x="2500" y="1120"/>
                  <a:pt x="2503" y="1119"/>
                  <a:pt x="2504" y="1117"/>
                </a:cubicBezTo>
                <a:cubicBezTo>
                  <a:pt x="2504" y="1117"/>
                  <a:pt x="2504" y="1117"/>
                  <a:pt x="2504" y="1176"/>
                </a:cubicBezTo>
                <a:cubicBezTo>
                  <a:pt x="2504" y="1176"/>
                  <a:pt x="2504" y="1176"/>
                  <a:pt x="2516" y="1176"/>
                </a:cubicBezTo>
                <a:cubicBezTo>
                  <a:pt x="2516" y="1176"/>
                  <a:pt x="2516" y="1176"/>
                  <a:pt x="2516" y="1103"/>
                </a:cubicBezTo>
                <a:close/>
                <a:moveTo>
                  <a:pt x="2272" y="1135"/>
                </a:moveTo>
                <a:cubicBezTo>
                  <a:pt x="2272" y="1135"/>
                  <a:pt x="2272" y="1135"/>
                  <a:pt x="2272" y="1135"/>
                </a:cubicBezTo>
                <a:cubicBezTo>
                  <a:pt x="2271" y="1143"/>
                  <a:pt x="2271" y="1143"/>
                  <a:pt x="2271" y="1143"/>
                </a:cubicBezTo>
                <a:cubicBezTo>
                  <a:pt x="2278" y="1144"/>
                  <a:pt x="2278" y="1147"/>
                  <a:pt x="2278" y="1149"/>
                </a:cubicBezTo>
                <a:cubicBezTo>
                  <a:pt x="2278" y="1152"/>
                  <a:pt x="2278" y="1154"/>
                  <a:pt x="2278" y="1157"/>
                </a:cubicBezTo>
                <a:cubicBezTo>
                  <a:pt x="2278" y="1159"/>
                  <a:pt x="2277" y="1161"/>
                  <a:pt x="2277" y="1164"/>
                </a:cubicBezTo>
                <a:cubicBezTo>
                  <a:pt x="2277" y="1173"/>
                  <a:pt x="2283" y="1176"/>
                  <a:pt x="2292" y="1176"/>
                </a:cubicBezTo>
                <a:cubicBezTo>
                  <a:pt x="2292" y="1176"/>
                  <a:pt x="2292" y="1176"/>
                  <a:pt x="2296" y="1176"/>
                </a:cubicBezTo>
                <a:cubicBezTo>
                  <a:pt x="2296" y="1176"/>
                  <a:pt x="2296" y="1176"/>
                  <a:pt x="2296" y="1167"/>
                </a:cubicBezTo>
                <a:cubicBezTo>
                  <a:pt x="2296" y="1167"/>
                  <a:pt x="2296" y="1167"/>
                  <a:pt x="2294" y="1167"/>
                </a:cubicBezTo>
                <a:cubicBezTo>
                  <a:pt x="2290" y="1167"/>
                  <a:pt x="2289" y="1165"/>
                  <a:pt x="2289" y="1161"/>
                </a:cubicBezTo>
                <a:cubicBezTo>
                  <a:pt x="2289" y="1160"/>
                  <a:pt x="2289" y="1158"/>
                  <a:pt x="2290" y="1157"/>
                </a:cubicBezTo>
                <a:cubicBezTo>
                  <a:pt x="2290" y="1155"/>
                  <a:pt x="2290" y="1153"/>
                  <a:pt x="2290" y="1151"/>
                </a:cubicBezTo>
                <a:cubicBezTo>
                  <a:pt x="2290" y="1143"/>
                  <a:pt x="2287" y="1140"/>
                  <a:pt x="2281" y="1139"/>
                </a:cubicBezTo>
                <a:cubicBezTo>
                  <a:pt x="2281" y="1139"/>
                  <a:pt x="2281" y="1139"/>
                  <a:pt x="2281" y="1139"/>
                </a:cubicBezTo>
                <a:cubicBezTo>
                  <a:pt x="2287" y="1138"/>
                  <a:pt x="2290" y="1136"/>
                  <a:pt x="2290" y="1128"/>
                </a:cubicBezTo>
                <a:cubicBezTo>
                  <a:pt x="2290" y="1126"/>
                  <a:pt x="2290" y="1124"/>
                  <a:pt x="2290" y="1122"/>
                </a:cubicBezTo>
                <a:cubicBezTo>
                  <a:pt x="2289" y="1120"/>
                  <a:pt x="2289" y="1118"/>
                  <a:pt x="2289" y="1117"/>
                </a:cubicBezTo>
                <a:cubicBezTo>
                  <a:pt x="2289" y="1114"/>
                  <a:pt x="2290" y="1111"/>
                  <a:pt x="2294" y="1111"/>
                </a:cubicBezTo>
                <a:cubicBezTo>
                  <a:pt x="2294" y="1111"/>
                  <a:pt x="2294" y="1111"/>
                  <a:pt x="2296" y="1111"/>
                </a:cubicBezTo>
                <a:cubicBezTo>
                  <a:pt x="2296" y="1111"/>
                  <a:pt x="2296" y="1111"/>
                  <a:pt x="2296" y="1102"/>
                </a:cubicBezTo>
                <a:cubicBezTo>
                  <a:pt x="2296" y="1102"/>
                  <a:pt x="2296" y="1102"/>
                  <a:pt x="2292" y="1102"/>
                </a:cubicBezTo>
                <a:cubicBezTo>
                  <a:pt x="2283" y="1102"/>
                  <a:pt x="2277" y="1106"/>
                  <a:pt x="2277" y="1115"/>
                </a:cubicBezTo>
                <a:cubicBezTo>
                  <a:pt x="2277" y="1117"/>
                  <a:pt x="2278" y="1120"/>
                  <a:pt x="2278" y="1122"/>
                </a:cubicBezTo>
                <a:cubicBezTo>
                  <a:pt x="2278" y="1124"/>
                  <a:pt x="2278" y="1127"/>
                  <a:pt x="2278" y="1129"/>
                </a:cubicBezTo>
                <a:cubicBezTo>
                  <a:pt x="2278" y="1131"/>
                  <a:pt x="2278" y="1135"/>
                  <a:pt x="2272" y="1135"/>
                </a:cubicBezTo>
                <a:close/>
                <a:moveTo>
                  <a:pt x="2326" y="1143"/>
                </a:moveTo>
                <a:cubicBezTo>
                  <a:pt x="2326" y="1143"/>
                  <a:pt x="2326" y="1143"/>
                  <a:pt x="2326" y="1143"/>
                </a:cubicBezTo>
                <a:cubicBezTo>
                  <a:pt x="2326" y="1135"/>
                  <a:pt x="2326" y="1135"/>
                  <a:pt x="2326" y="1135"/>
                </a:cubicBezTo>
                <a:cubicBezTo>
                  <a:pt x="2320" y="1135"/>
                  <a:pt x="2320" y="1131"/>
                  <a:pt x="2320" y="1129"/>
                </a:cubicBezTo>
                <a:cubicBezTo>
                  <a:pt x="2320" y="1127"/>
                  <a:pt x="2320" y="1124"/>
                  <a:pt x="2320" y="1122"/>
                </a:cubicBezTo>
                <a:cubicBezTo>
                  <a:pt x="2321" y="1120"/>
                  <a:pt x="2321" y="1117"/>
                  <a:pt x="2321" y="1115"/>
                </a:cubicBezTo>
                <a:cubicBezTo>
                  <a:pt x="2321" y="1106"/>
                  <a:pt x="2315" y="1102"/>
                  <a:pt x="2306" y="1102"/>
                </a:cubicBezTo>
                <a:cubicBezTo>
                  <a:pt x="2306" y="1102"/>
                  <a:pt x="2306" y="1102"/>
                  <a:pt x="2302" y="1102"/>
                </a:cubicBezTo>
                <a:cubicBezTo>
                  <a:pt x="2302" y="1102"/>
                  <a:pt x="2302" y="1102"/>
                  <a:pt x="2302" y="1111"/>
                </a:cubicBezTo>
                <a:cubicBezTo>
                  <a:pt x="2302" y="1111"/>
                  <a:pt x="2302" y="1111"/>
                  <a:pt x="2304" y="1111"/>
                </a:cubicBezTo>
                <a:cubicBezTo>
                  <a:pt x="2308" y="1111"/>
                  <a:pt x="2309" y="1114"/>
                  <a:pt x="2309" y="1117"/>
                </a:cubicBezTo>
                <a:cubicBezTo>
                  <a:pt x="2309" y="1118"/>
                  <a:pt x="2309" y="1120"/>
                  <a:pt x="2309" y="1122"/>
                </a:cubicBezTo>
                <a:cubicBezTo>
                  <a:pt x="2308" y="1124"/>
                  <a:pt x="2308" y="1126"/>
                  <a:pt x="2308" y="1128"/>
                </a:cubicBezTo>
                <a:cubicBezTo>
                  <a:pt x="2308" y="1136"/>
                  <a:pt x="2311" y="1138"/>
                  <a:pt x="2317" y="1139"/>
                </a:cubicBezTo>
                <a:cubicBezTo>
                  <a:pt x="2317" y="1139"/>
                  <a:pt x="2317" y="1139"/>
                  <a:pt x="2317" y="1139"/>
                </a:cubicBezTo>
                <a:cubicBezTo>
                  <a:pt x="2311" y="1140"/>
                  <a:pt x="2308" y="1143"/>
                  <a:pt x="2308" y="1151"/>
                </a:cubicBezTo>
                <a:cubicBezTo>
                  <a:pt x="2308" y="1153"/>
                  <a:pt x="2308" y="1155"/>
                  <a:pt x="2309" y="1157"/>
                </a:cubicBezTo>
                <a:cubicBezTo>
                  <a:pt x="2309" y="1158"/>
                  <a:pt x="2309" y="1160"/>
                  <a:pt x="2309" y="1161"/>
                </a:cubicBezTo>
                <a:cubicBezTo>
                  <a:pt x="2309" y="1165"/>
                  <a:pt x="2308" y="1167"/>
                  <a:pt x="2304" y="1167"/>
                </a:cubicBezTo>
                <a:cubicBezTo>
                  <a:pt x="2304" y="1167"/>
                  <a:pt x="2304" y="1167"/>
                  <a:pt x="2302" y="1167"/>
                </a:cubicBezTo>
                <a:cubicBezTo>
                  <a:pt x="2302" y="1167"/>
                  <a:pt x="2302" y="1167"/>
                  <a:pt x="2302" y="1176"/>
                </a:cubicBezTo>
                <a:cubicBezTo>
                  <a:pt x="2302" y="1176"/>
                  <a:pt x="2302" y="1176"/>
                  <a:pt x="2306" y="1176"/>
                </a:cubicBezTo>
                <a:cubicBezTo>
                  <a:pt x="2315" y="1176"/>
                  <a:pt x="2321" y="1173"/>
                  <a:pt x="2321" y="1164"/>
                </a:cubicBezTo>
                <a:cubicBezTo>
                  <a:pt x="2321" y="1161"/>
                  <a:pt x="2321" y="1159"/>
                  <a:pt x="2320" y="1157"/>
                </a:cubicBezTo>
                <a:cubicBezTo>
                  <a:pt x="2320" y="1154"/>
                  <a:pt x="2320" y="1152"/>
                  <a:pt x="2320" y="1149"/>
                </a:cubicBezTo>
                <a:cubicBezTo>
                  <a:pt x="2320" y="1147"/>
                  <a:pt x="2320" y="1144"/>
                  <a:pt x="2326" y="1143"/>
                </a:cubicBezTo>
                <a:close/>
                <a:moveTo>
                  <a:pt x="2653" y="1135"/>
                </a:moveTo>
                <a:cubicBezTo>
                  <a:pt x="2653" y="1135"/>
                  <a:pt x="2653" y="1135"/>
                  <a:pt x="2653" y="1135"/>
                </a:cubicBezTo>
                <a:cubicBezTo>
                  <a:pt x="2653" y="1143"/>
                  <a:pt x="2653" y="1143"/>
                  <a:pt x="2653" y="1143"/>
                </a:cubicBezTo>
                <a:cubicBezTo>
                  <a:pt x="2659" y="1144"/>
                  <a:pt x="2660" y="1147"/>
                  <a:pt x="2660" y="1149"/>
                </a:cubicBezTo>
                <a:cubicBezTo>
                  <a:pt x="2660" y="1152"/>
                  <a:pt x="2660" y="1154"/>
                  <a:pt x="2660" y="1157"/>
                </a:cubicBezTo>
                <a:cubicBezTo>
                  <a:pt x="2659" y="1159"/>
                  <a:pt x="2659" y="1161"/>
                  <a:pt x="2659" y="1164"/>
                </a:cubicBezTo>
                <a:cubicBezTo>
                  <a:pt x="2659" y="1173"/>
                  <a:pt x="2665" y="1176"/>
                  <a:pt x="2674" y="1176"/>
                </a:cubicBezTo>
                <a:cubicBezTo>
                  <a:pt x="2674" y="1176"/>
                  <a:pt x="2674" y="1176"/>
                  <a:pt x="2677" y="1176"/>
                </a:cubicBezTo>
                <a:cubicBezTo>
                  <a:pt x="2677" y="1176"/>
                  <a:pt x="2677" y="1176"/>
                  <a:pt x="2677" y="1167"/>
                </a:cubicBezTo>
                <a:cubicBezTo>
                  <a:pt x="2677" y="1167"/>
                  <a:pt x="2677" y="1167"/>
                  <a:pt x="2676" y="1167"/>
                </a:cubicBezTo>
                <a:cubicBezTo>
                  <a:pt x="2672" y="1167"/>
                  <a:pt x="2671" y="1165"/>
                  <a:pt x="2671" y="1161"/>
                </a:cubicBezTo>
                <a:cubicBezTo>
                  <a:pt x="2671" y="1160"/>
                  <a:pt x="2671" y="1158"/>
                  <a:pt x="2671" y="1157"/>
                </a:cubicBezTo>
                <a:cubicBezTo>
                  <a:pt x="2671" y="1155"/>
                  <a:pt x="2672" y="1153"/>
                  <a:pt x="2672" y="1151"/>
                </a:cubicBezTo>
                <a:cubicBezTo>
                  <a:pt x="2672" y="1143"/>
                  <a:pt x="2669" y="1140"/>
                  <a:pt x="2663" y="1139"/>
                </a:cubicBezTo>
                <a:cubicBezTo>
                  <a:pt x="2663" y="1139"/>
                  <a:pt x="2663" y="1139"/>
                  <a:pt x="2663" y="1139"/>
                </a:cubicBezTo>
                <a:cubicBezTo>
                  <a:pt x="2669" y="1138"/>
                  <a:pt x="2672" y="1136"/>
                  <a:pt x="2672" y="1128"/>
                </a:cubicBezTo>
                <a:cubicBezTo>
                  <a:pt x="2672" y="1126"/>
                  <a:pt x="2671" y="1124"/>
                  <a:pt x="2671" y="1122"/>
                </a:cubicBezTo>
                <a:cubicBezTo>
                  <a:pt x="2671" y="1120"/>
                  <a:pt x="2671" y="1118"/>
                  <a:pt x="2671" y="1117"/>
                </a:cubicBezTo>
                <a:cubicBezTo>
                  <a:pt x="2671" y="1114"/>
                  <a:pt x="2672" y="1111"/>
                  <a:pt x="2676" y="1111"/>
                </a:cubicBezTo>
                <a:cubicBezTo>
                  <a:pt x="2676" y="1111"/>
                  <a:pt x="2676" y="1111"/>
                  <a:pt x="2677" y="1111"/>
                </a:cubicBezTo>
                <a:cubicBezTo>
                  <a:pt x="2677" y="1111"/>
                  <a:pt x="2677" y="1111"/>
                  <a:pt x="2677" y="1102"/>
                </a:cubicBezTo>
                <a:cubicBezTo>
                  <a:pt x="2677" y="1102"/>
                  <a:pt x="2677" y="1102"/>
                  <a:pt x="2674" y="1102"/>
                </a:cubicBezTo>
                <a:cubicBezTo>
                  <a:pt x="2664" y="1102"/>
                  <a:pt x="2659" y="1106"/>
                  <a:pt x="2659" y="1115"/>
                </a:cubicBezTo>
                <a:cubicBezTo>
                  <a:pt x="2659" y="1117"/>
                  <a:pt x="2659" y="1120"/>
                  <a:pt x="2659" y="1122"/>
                </a:cubicBezTo>
                <a:cubicBezTo>
                  <a:pt x="2660" y="1124"/>
                  <a:pt x="2660" y="1127"/>
                  <a:pt x="2660" y="1129"/>
                </a:cubicBezTo>
                <a:cubicBezTo>
                  <a:pt x="2660" y="1131"/>
                  <a:pt x="2659" y="1135"/>
                  <a:pt x="2653" y="1135"/>
                </a:cubicBezTo>
                <a:close/>
                <a:moveTo>
                  <a:pt x="2708" y="1143"/>
                </a:moveTo>
                <a:cubicBezTo>
                  <a:pt x="2708" y="1143"/>
                  <a:pt x="2708" y="1143"/>
                  <a:pt x="2708" y="1143"/>
                </a:cubicBezTo>
                <a:cubicBezTo>
                  <a:pt x="2708" y="1135"/>
                  <a:pt x="2708" y="1135"/>
                  <a:pt x="2708" y="1135"/>
                </a:cubicBezTo>
                <a:cubicBezTo>
                  <a:pt x="2702" y="1135"/>
                  <a:pt x="2701" y="1131"/>
                  <a:pt x="2701" y="1129"/>
                </a:cubicBezTo>
                <a:cubicBezTo>
                  <a:pt x="2701" y="1127"/>
                  <a:pt x="2701" y="1124"/>
                  <a:pt x="2702" y="1122"/>
                </a:cubicBezTo>
                <a:cubicBezTo>
                  <a:pt x="2702" y="1120"/>
                  <a:pt x="2702" y="1117"/>
                  <a:pt x="2702" y="1115"/>
                </a:cubicBezTo>
                <a:cubicBezTo>
                  <a:pt x="2702" y="1106"/>
                  <a:pt x="2697" y="1102"/>
                  <a:pt x="2688" y="1102"/>
                </a:cubicBezTo>
                <a:cubicBezTo>
                  <a:pt x="2688" y="1102"/>
                  <a:pt x="2688" y="1102"/>
                  <a:pt x="2684" y="1102"/>
                </a:cubicBezTo>
                <a:cubicBezTo>
                  <a:pt x="2684" y="1102"/>
                  <a:pt x="2684" y="1102"/>
                  <a:pt x="2684" y="1111"/>
                </a:cubicBezTo>
                <a:cubicBezTo>
                  <a:pt x="2684" y="1111"/>
                  <a:pt x="2684" y="1111"/>
                  <a:pt x="2685" y="1111"/>
                </a:cubicBezTo>
                <a:cubicBezTo>
                  <a:pt x="2689" y="1111"/>
                  <a:pt x="2691" y="1114"/>
                  <a:pt x="2691" y="1117"/>
                </a:cubicBezTo>
                <a:cubicBezTo>
                  <a:pt x="2691" y="1118"/>
                  <a:pt x="2690" y="1120"/>
                  <a:pt x="2690" y="1122"/>
                </a:cubicBezTo>
                <a:cubicBezTo>
                  <a:pt x="2690" y="1124"/>
                  <a:pt x="2690" y="1126"/>
                  <a:pt x="2690" y="1128"/>
                </a:cubicBezTo>
                <a:cubicBezTo>
                  <a:pt x="2690" y="1136"/>
                  <a:pt x="2693" y="1138"/>
                  <a:pt x="2698" y="1139"/>
                </a:cubicBezTo>
                <a:cubicBezTo>
                  <a:pt x="2698" y="1139"/>
                  <a:pt x="2698" y="1139"/>
                  <a:pt x="2698" y="1139"/>
                </a:cubicBezTo>
                <a:cubicBezTo>
                  <a:pt x="2693" y="1140"/>
                  <a:pt x="2690" y="1143"/>
                  <a:pt x="2690" y="1151"/>
                </a:cubicBezTo>
                <a:cubicBezTo>
                  <a:pt x="2690" y="1153"/>
                  <a:pt x="2690" y="1155"/>
                  <a:pt x="2690" y="1157"/>
                </a:cubicBezTo>
                <a:cubicBezTo>
                  <a:pt x="2690" y="1158"/>
                  <a:pt x="2691" y="1160"/>
                  <a:pt x="2691" y="1161"/>
                </a:cubicBezTo>
                <a:cubicBezTo>
                  <a:pt x="2691" y="1165"/>
                  <a:pt x="2690" y="1167"/>
                  <a:pt x="2685" y="1167"/>
                </a:cubicBezTo>
                <a:cubicBezTo>
                  <a:pt x="2685" y="1167"/>
                  <a:pt x="2685" y="1167"/>
                  <a:pt x="2684" y="1167"/>
                </a:cubicBezTo>
                <a:cubicBezTo>
                  <a:pt x="2684" y="1167"/>
                  <a:pt x="2684" y="1167"/>
                  <a:pt x="2684" y="1176"/>
                </a:cubicBezTo>
                <a:cubicBezTo>
                  <a:pt x="2684" y="1176"/>
                  <a:pt x="2684" y="1176"/>
                  <a:pt x="2688" y="1176"/>
                </a:cubicBezTo>
                <a:cubicBezTo>
                  <a:pt x="2697" y="1176"/>
                  <a:pt x="2702" y="1173"/>
                  <a:pt x="2702" y="1164"/>
                </a:cubicBezTo>
                <a:cubicBezTo>
                  <a:pt x="2702" y="1161"/>
                  <a:pt x="2702" y="1159"/>
                  <a:pt x="2702" y="1157"/>
                </a:cubicBezTo>
                <a:cubicBezTo>
                  <a:pt x="2701" y="1154"/>
                  <a:pt x="2701" y="1152"/>
                  <a:pt x="2701" y="1149"/>
                </a:cubicBezTo>
                <a:cubicBezTo>
                  <a:pt x="2701" y="1147"/>
                  <a:pt x="2702" y="1144"/>
                  <a:pt x="2708" y="1143"/>
                </a:cubicBezTo>
                <a:close/>
                <a:moveTo>
                  <a:pt x="2756" y="1103"/>
                </a:moveTo>
                <a:cubicBezTo>
                  <a:pt x="2756" y="1103"/>
                  <a:pt x="2756" y="1103"/>
                  <a:pt x="2756" y="1103"/>
                </a:cubicBezTo>
                <a:cubicBezTo>
                  <a:pt x="2750" y="1103"/>
                  <a:pt x="2750" y="1103"/>
                  <a:pt x="2750" y="1103"/>
                </a:cubicBezTo>
                <a:cubicBezTo>
                  <a:pt x="2748" y="1104"/>
                  <a:pt x="2747" y="1106"/>
                  <a:pt x="2745" y="1107"/>
                </a:cubicBezTo>
                <a:cubicBezTo>
                  <a:pt x="2743" y="1108"/>
                  <a:pt x="2741" y="1109"/>
                  <a:pt x="2740" y="1109"/>
                </a:cubicBezTo>
                <a:cubicBezTo>
                  <a:pt x="2737" y="1110"/>
                  <a:pt x="2736" y="1111"/>
                  <a:pt x="2734" y="1112"/>
                </a:cubicBezTo>
                <a:cubicBezTo>
                  <a:pt x="2732" y="1112"/>
                  <a:pt x="2731" y="1113"/>
                  <a:pt x="2729" y="1114"/>
                </a:cubicBezTo>
                <a:cubicBezTo>
                  <a:pt x="2729" y="1114"/>
                  <a:pt x="2729" y="1114"/>
                  <a:pt x="2729" y="1124"/>
                </a:cubicBezTo>
                <a:cubicBezTo>
                  <a:pt x="2732" y="1123"/>
                  <a:pt x="2734" y="1122"/>
                  <a:pt x="2737" y="1121"/>
                </a:cubicBezTo>
                <a:cubicBezTo>
                  <a:pt x="2740" y="1120"/>
                  <a:pt x="2742" y="1119"/>
                  <a:pt x="2744" y="1117"/>
                </a:cubicBezTo>
                <a:cubicBezTo>
                  <a:pt x="2744" y="1117"/>
                  <a:pt x="2744" y="1117"/>
                  <a:pt x="2744" y="1176"/>
                </a:cubicBezTo>
                <a:cubicBezTo>
                  <a:pt x="2744" y="1176"/>
                  <a:pt x="2744" y="1176"/>
                  <a:pt x="2756" y="1176"/>
                </a:cubicBezTo>
                <a:cubicBezTo>
                  <a:pt x="2756" y="1176"/>
                  <a:pt x="2756" y="1176"/>
                  <a:pt x="2756" y="1103"/>
                </a:cubicBezTo>
                <a:close/>
                <a:moveTo>
                  <a:pt x="2803" y="1103"/>
                </a:moveTo>
                <a:cubicBezTo>
                  <a:pt x="2803" y="1103"/>
                  <a:pt x="2803" y="1103"/>
                  <a:pt x="2803" y="1103"/>
                </a:cubicBezTo>
                <a:cubicBezTo>
                  <a:pt x="2798" y="1103"/>
                  <a:pt x="2798" y="1103"/>
                  <a:pt x="2798" y="1103"/>
                </a:cubicBezTo>
                <a:cubicBezTo>
                  <a:pt x="2795" y="1104"/>
                  <a:pt x="2794" y="1106"/>
                  <a:pt x="2792" y="1107"/>
                </a:cubicBezTo>
                <a:cubicBezTo>
                  <a:pt x="2790" y="1108"/>
                  <a:pt x="2788" y="1109"/>
                  <a:pt x="2787" y="1109"/>
                </a:cubicBezTo>
                <a:cubicBezTo>
                  <a:pt x="2785" y="1111"/>
                  <a:pt x="2783" y="1112"/>
                  <a:pt x="2782" y="1112"/>
                </a:cubicBezTo>
                <a:cubicBezTo>
                  <a:pt x="2780" y="1113"/>
                  <a:pt x="2778" y="1114"/>
                  <a:pt x="2776" y="1114"/>
                </a:cubicBezTo>
                <a:cubicBezTo>
                  <a:pt x="2776" y="1114"/>
                  <a:pt x="2776" y="1114"/>
                  <a:pt x="2776" y="1124"/>
                </a:cubicBezTo>
                <a:cubicBezTo>
                  <a:pt x="2779" y="1123"/>
                  <a:pt x="2782" y="1123"/>
                  <a:pt x="2784" y="1121"/>
                </a:cubicBezTo>
                <a:cubicBezTo>
                  <a:pt x="2787" y="1120"/>
                  <a:pt x="2789" y="1119"/>
                  <a:pt x="2791" y="1117"/>
                </a:cubicBezTo>
                <a:cubicBezTo>
                  <a:pt x="2791" y="1117"/>
                  <a:pt x="2791" y="1117"/>
                  <a:pt x="2791" y="1176"/>
                </a:cubicBezTo>
                <a:cubicBezTo>
                  <a:pt x="2791" y="1176"/>
                  <a:pt x="2791" y="1176"/>
                  <a:pt x="2803" y="1176"/>
                </a:cubicBezTo>
                <a:cubicBezTo>
                  <a:pt x="2803" y="1176"/>
                  <a:pt x="2803" y="1176"/>
                  <a:pt x="2803" y="1103"/>
                </a:cubicBezTo>
                <a:close/>
                <a:moveTo>
                  <a:pt x="2849" y="1103"/>
                </a:moveTo>
                <a:cubicBezTo>
                  <a:pt x="2849" y="1103"/>
                  <a:pt x="2849" y="1103"/>
                  <a:pt x="2849" y="1103"/>
                </a:cubicBezTo>
                <a:cubicBezTo>
                  <a:pt x="2845" y="1103"/>
                  <a:pt x="2845" y="1103"/>
                  <a:pt x="2845" y="1103"/>
                </a:cubicBezTo>
                <a:cubicBezTo>
                  <a:pt x="2843" y="1104"/>
                  <a:pt x="2841" y="1106"/>
                  <a:pt x="2839" y="1107"/>
                </a:cubicBezTo>
                <a:cubicBezTo>
                  <a:pt x="2838" y="1108"/>
                  <a:pt x="2835" y="1109"/>
                  <a:pt x="2834" y="1109"/>
                </a:cubicBezTo>
                <a:cubicBezTo>
                  <a:pt x="2832" y="1111"/>
                  <a:pt x="2830" y="1112"/>
                  <a:pt x="2828" y="1112"/>
                </a:cubicBezTo>
                <a:cubicBezTo>
                  <a:pt x="2827" y="1113"/>
                  <a:pt x="2825" y="1114"/>
                  <a:pt x="2823" y="1114"/>
                </a:cubicBezTo>
                <a:cubicBezTo>
                  <a:pt x="2823" y="1114"/>
                  <a:pt x="2823" y="1114"/>
                  <a:pt x="2823" y="1124"/>
                </a:cubicBezTo>
                <a:cubicBezTo>
                  <a:pt x="2826" y="1123"/>
                  <a:pt x="2829" y="1123"/>
                  <a:pt x="2831" y="1121"/>
                </a:cubicBezTo>
                <a:cubicBezTo>
                  <a:pt x="2833" y="1120"/>
                  <a:pt x="2836" y="1119"/>
                  <a:pt x="2838" y="1117"/>
                </a:cubicBezTo>
                <a:cubicBezTo>
                  <a:pt x="2838" y="1117"/>
                  <a:pt x="2838" y="1117"/>
                  <a:pt x="2838" y="1176"/>
                </a:cubicBezTo>
                <a:cubicBezTo>
                  <a:pt x="2838" y="1176"/>
                  <a:pt x="2838" y="1176"/>
                  <a:pt x="2849" y="1176"/>
                </a:cubicBezTo>
                <a:cubicBezTo>
                  <a:pt x="2849" y="1176"/>
                  <a:pt x="2849" y="1176"/>
                  <a:pt x="2849" y="1103"/>
                </a:cubicBezTo>
                <a:close/>
                <a:moveTo>
                  <a:pt x="2972" y="1103"/>
                </a:moveTo>
                <a:cubicBezTo>
                  <a:pt x="2972" y="1103"/>
                  <a:pt x="2972" y="1103"/>
                  <a:pt x="2972" y="1103"/>
                </a:cubicBezTo>
                <a:cubicBezTo>
                  <a:pt x="2967" y="1103"/>
                  <a:pt x="2967" y="1103"/>
                  <a:pt x="2967" y="1103"/>
                </a:cubicBezTo>
                <a:cubicBezTo>
                  <a:pt x="2965" y="1104"/>
                  <a:pt x="2963" y="1106"/>
                  <a:pt x="2961" y="1107"/>
                </a:cubicBezTo>
                <a:cubicBezTo>
                  <a:pt x="2960" y="1108"/>
                  <a:pt x="2958" y="1109"/>
                  <a:pt x="2956" y="1109"/>
                </a:cubicBezTo>
                <a:cubicBezTo>
                  <a:pt x="2955" y="1111"/>
                  <a:pt x="2952" y="1112"/>
                  <a:pt x="2951" y="1112"/>
                </a:cubicBezTo>
                <a:cubicBezTo>
                  <a:pt x="2949" y="1113"/>
                  <a:pt x="2947" y="1114"/>
                  <a:pt x="2945" y="1114"/>
                </a:cubicBezTo>
                <a:cubicBezTo>
                  <a:pt x="2945" y="1114"/>
                  <a:pt x="2945" y="1114"/>
                  <a:pt x="2945" y="1124"/>
                </a:cubicBezTo>
                <a:cubicBezTo>
                  <a:pt x="2948" y="1123"/>
                  <a:pt x="2951" y="1123"/>
                  <a:pt x="2954" y="1121"/>
                </a:cubicBezTo>
                <a:cubicBezTo>
                  <a:pt x="2956" y="1120"/>
                  <a:pt x="2958" y="1119"/>
                  <a:pt x="2960" y="1117"/>
                </a:cubicBezTo>
                <a:cubicBezTo>
                  <a:pt x="2960" y="1117"/>
                  <a:pt x="2960" y="1117"/>
                  <a:pt x="2960" y="1176"/>
                </a:cubicBezTo>
                <a:cubicBezTo>
                  <a:pt x="2960" y="1176"/>
                  <a:pt x="2960" y="1176"/>
                  <a:pt x="2972" y="1176"/>
                </a:cubicBezTo>
                <a:cubicBezTo>
                  <a:pt x="2972" y="1176"/>
                  <a:pt x="2972" y="1176"/>
                  <a:pt x="2972" y="1103"/>
                </a:cubicBezTo>
                <a:close/>
                <a:moveTo>
                  <a:pt x="3020" y="1103"/>
                </a:moveTo>
                <a:cubicBezTo>
                  <a:pt x="3020" y="1103"/>
                  <a:pt x="3020" y="1103"/>
                  <a:pt x="3020" y="1103"/>
                </a:cubicBezTo>
                <a:cubicBezTo>
                  <a:pt x="3014" y="1103"/>
                  <a:pt x="3014" y="1103"/>
                  <a:pt x="3014" y="1103"/>
                </a:cubicBezTo>
                <a:cubicBezTo>
                  <a:pt x="3012" y="1104"/>
                  <a:pt x="3011" y="1106"/>
                  <a:pt x="3009" y="1107"/>
                </a:cubicBezTo>
                <a:cubicBezTo>
                  <a:pt x="3007" y="1108"/>
                  <a:pt x="3005" y="1109"/>
                  <a:pt x="3004" y="1109"/>
                </a:cubicBezTo>
                <a:cubicBezTo>
                  <a:pt x="3002" y="1111"/>
                  <a:pt x="3000" y="1112"/>
                  <a:pt x="2998" y="1112"/>
                </a:cubicBezTo>
                <a:cubicBezTo>
                  <a:pt x="2996" y="1113"/>
                  <a:pt x="2995" y="1114"/>
                  <a:pt x="2993" y="1114"/>
                </a:cubicBezTo>
                <a:cubicBezTo>
                  <a:pt x="2993" y="1114"/>
                  <a:pt x="2993" y="1114"/>
                  <a:pt x="2993" y="1124"/>
                </a:cubicBezTo>
                <a:cubicBezTo>
                  <a:pt x="2996" y="1123"/>
                  <a:pt x="2998" y="1123"/>
                  <a:pt x="3001" y="1121"/>
                </a:cubicBezTo>
                <a:cubicBezTo>
                  <a:pt x="3004" y="1120"/>
                  <a:pt x="3006" y="1119"/>
                  <a:pt x="3008" y="1117"/>
                </a:cubicBezTo>
                <a:cubicBezTo>
                  <a:pt x="3008" y="1117"/>
                  <a:pt x="3008" y="1117"/>
                  <a:pt x="3008" y="1176"/>
                </a:cubicBezTo>
                <a:cubicBezTo>
                  <a:pt x="3008" y="1176"/>
                  <a:pt x="3008" y="1176"/>
                  <a:pt x="3020" y="1176"/>
                </a:cubicBezTo>
                <a:cubicBezTo>
                  <a:pt x="3020" y="1176"/>
                  <a:pt x="3020" y="1176"/>
                  <a:pt x="3020" y="1103"/>
                </a:cubicBezTo>
                <a:close/>
                <a:moveTo>
                  <a:pt x="3066" y="1103"/>
                </a:moveTo>
                <a:cubicBezTo>
                  <a:pt x="3066" y="1103"/>
                  <a:pt x="3066" y="1103"/>
                  <a:pt x="3066" y="1103"/>
                </a:cubicBezTo>
                <a:cubicBezTo>
                  <a:pt x="3062" y="1103"/>
                  <a:pt x="3062" y="1103"/>
                  <a:pt x="3062" y="1103"/>
                </a:cubicBezTo>
                <a:cubicBezTo>
                  <a:pt x="3060" y="1104"/>
                  <a:pt x="3058" y="1106"/>
                  <a:pt x="3056" y="1107"/>
                </a:cubicBezTo>
                <a:cubicBezTo>
                  <a:pt x="3055" y="1108"/>
                  <a:pt x="3052" y="1109"/>
                  <a:pt x="3051" y="1109"/>
                </a:cubicBezTo>
                <a:cubicBezTo>
                  <a:pt x="3049" y="1110"/>
                  <a:pt x="3047" y="1111"/>
                  <a:pt x="3045" y="1112"/>
                </a:cubicBezTo>
                <a:cubicBezTo>
                  <a:pt x="3044" y="1112"/>
                  <a:pt x="3042" y="1113"/>
                  <a:pt x="3040" y="1114"/>
                </a:cubicBezTo>
                <a:cubicBezTo>
                  <a:pt x="3040" y="1114"/>
                  <a:pt x="3040" y="1114"/>
                  <a:pt x="3040" y="1124"/>
                </a:cubicBezTo>
                <a:cubicBezTo>
                  <a:pt x="3043" y="1123"/>
                  <a:pt x="3046" y="1122"/>
                  <a:pt x="3048" y="1121"/>
                </a:cubicBezTo>
                <a:cubicBezTo>
                  <a:pt x="3050" y="1120"/>
                  <a:pt x="3053" y="1119"/>
                  <a:pt x="3055" y="1117"/>
                </a:cubicBezTo>
                <a:cubicBezTo>
                  <a:pt x="3055" y="1117"/>
                  <a:pt x="3055" y="1117"/>
                  <a:pt x="3055" y="1176"/>
                </a:cubicBezTo>
                <a:cubicBezTo>
                  <a:pt x="3055" y="1176"/>
                  <a:pt x="3055" y="1176"/>
                  <a:pt x="3066" y="1176"/>
                </a:cubicBezTo>
                <a:cubicBezTo>
                  <a:pt x="3066" y="1176"/>
                  <a:pt x="3066" y="1176"/>
                  <a:pt x="3066" y="1103"/>
                </a:cubicBezTo>
                <a:close/>
                <a:moveTo>
                  <a:pt x="3111" y="1176"/>
                </a:moveTo>
                <a:cubicBezTo>
                  <a:pt x="3104" y="1176"/>
                  <a:pt x="3097" y="1173"/>
                  <a:pt x="3093" y="1168"/>
                </a:cubicBezTo>
                <a:cubicBezTo>
                  <a:pt x="3089" y="1161"/>
                  <a:pt x="3087" y="1152"/>
                  <a:pt x="3087" y="1140"/>
                </a:cubicBezTo>
                <a:cubicBezTo>
                  <a:pt x="3087" y="1127"/>
                  <a:pt x="3089" y="1117"/>
                  <a:pt x="3093" y="1111"/>
                </a:cubicBezTo>
                <a:cubicBezTo>
                  <a:pt x="3098" y="1104"/>
                  <a:pt x="3104" y="1101"/>
                  <a:pt x="3113" y="1101"/>
                </a:cubicBezTo>
                <a:cubicBezTo>
                  <a:pt x="3129" y="1101"/>
                  <a:pt x="3137" y="1113"/>
                  <a:pt x="3137" y="1138"/>
                </a:cubicBezTo>
                <a:cubicBezTo>
                  <a:pt x="3137" y="1151"/>
                  <a:pt x="3135" y="1160"/>
                  <a:pt x="3130" y="1167"/>
                </a:cubicBezTo>
                <a:cubicBezTo>
                  <a:pt x="3125" y="1173"/>
                  <a:pt x="3119" y="1176"/>
                  <a:pt x="3111" y="1176"/>
                </a:cubicBezTo>
                <a:close/>
                <a:moveTo>
                  <a:pt x="3112" y="1110"/>
                </a:moveTo>
                <a:cubicBezTo>
                  <a:pt x="3103" y="1110"/>
                  <a:pt x="3098" y="1120"/>
                  <a:pt x="3098" y="1140"/>
                </a:cubicBezTo>
                <a:cubicBezTo>
                  <a:pt x="3098" y="1158"/>
                  <a:pt x="3103" y="1167"/>
                  <a:pt x="3112" y="1167"/>
                </a:cubicBezTo>
                <a:cubicBezTo>
                  <a:pt x="3120" y="1167"/>
                  <a:pt x="3125" y="1158"/>
                  <a:pt x="3125" y="1139"/>
                </a:cubicBezTo>
                <a:cubicBezTo>
                  <a:pt x="3125" y="1119"/>
                  <a:pt x="3120" y="1110"/>
                  <a:pt x="3112" y="1110"/>
                </a:cubicBezTo>
                <a:close/>
                <a:moveTo>
                  <a:pt x="3182" y="1176"/>
                </a:moveTo>
                <a:cubicBezTo>
                  <a:pt x="3174" y="1176"/>
                  <a:pt x="3168" y="1173"/>
                  <a:pt x="3164" y="1168"/>
                </a:cubicBezTo>
                <a:cubicBezTo>
                  <a:pt x="3160" y="1161"/>
                  <a:pt x="3157" y="1152"/>
                  <a:pt x="3157" y="1140"/>
                </a:cubicBezTo>
                <a:cubicBezTo>
                  <a:pt x="3157" y="1127"/>
                  <a:pt x="3160" y="1117"/>
                  <a:pt x="3164" y="1111"/>
                </a:cubicBezTo>
                <a:cubicBezTo>
                  <a:pt x="3168" y="1104"/>
                  <a:pt x="3175" y="1101"/>
                  <a:pt x="3184" y="1101"/>
                </a:cubicBezTo>
                <a:cubicBezTo>
                  <a:pt x="3200" y="1101"/>
                  <a:pt x="3208" y="1113"/>
                  <a:pt x="3208" y="1138"/>
                </a:cubicBezTo>
                <a:cubicBezTo>
                  <a:pt x="3208" y="1151"/>
                  <a:pt x="3206" y="1160"/>
                  <a:pt x="3202" y="1167"/>
                </a:cubicBezTo>
                <a:cubicBezTo>
                  <a:pt x="3196" y="1173"/>
                  <a:pt x="3190" y="1176"/>
                  <a:pt x="3182" y="1176"/>
                </a:cubicBezTo>
                <a:close/>
                <a:moveTo>
                  <a:pt x="3183" y="1110"/>
                </a:moveTo>
                <a:cubicBezTo>
                  <a:pt x="3174" y="1110"/>
                  <a:pt x="3169" y="1120"/>
                  <a:pt x="3169" y="1140"/>
                </a:cubicBezTo>
                <a:cubicBezTo>
                  <a:pt x="3169" y="1158"/>
                  <a:pt x="3174" y="1167"/>
                  <a:pt x="3182" y="1167"/>
                </a:cubicBezTo>
                <a:cubicBezTo>
                  <a:pt x="3191" y="1167"/>
                  <a:pt x="3196" y="1158"/>
                  <a:pt x="3196" y="1139"/>
                </a:cubicBezTo>
                <a:cubicBezTo>
                  <a:pt x="3196" y="1119"/>
                  <a:pt x="3191" y="1110"/>
                  <a:pt x="3183" y="1110"/>
                </a:cubicBezTo>
                <a:close/>
                <a:moveTo>
                  <a:pt x="2870" y="1135"/>
                </a:moveTo>
                <a:cubicBezTo>
                  <a:pt x="2870" y="1135"/>
                  <a:pt x="2870" y="1135"/>
                  <a:pt x="2870" y="1135"/>
                </a:cubicBezTo>
                <a:cubicBezTo>
                  <a:pt x="2869" y="1143"/>
                  <a:pt x="2869" y="1143"/>
                  <a:pt x="2869" y="1143"/>
                </a:cubicBezTo>
                <a:cubicBezTo>
                  <a:pt x="2876" y="1144"/>
                  <a:pt x="2876" y="1147"/>
                  <a:pt x="2876" y="1149"/>
                </a:cubicBezTo>
                <a:cubicBezTo>
                  <a:pt x="2876" y="1152"/>
                  <a:pt x="2876" y="1154"/>
                  <a:pt x="2876" y="1157"/>
                </a:cubicBezTo>
                <a:cubicBezTo>
                  <a:pt x="2876" y="1159"/>
                  <a:pt x="2875" y="1161"/>
                  <a:pt x="2875" y="1164"/>
                </a:cubicBezTo>
                <a:cubicBezTo>
                  <a:pt x="2875" y="1173"/>
                  <a:pt x="2881" y="1176"/>
                  <a:pt x="2890" y="1176"/>
                </a:cubicBezTo>
                <a:cubicBezTo>
                  <a:pt x="2890" y="1176"/>
                  <a:pt x="2890" y="1176"/>
                  <a:pt x="2894" y="1176"/>
                </a:cubicBezTo>
                <a:cubicBezTo>
                  <a:pt x="2894" y="1176"/>
                  <a:pt x="2894" y="1176"/>
                  <a:pt x="2894" y="1167"/>
                </a:cubicBezTo>
                <a:cubicBezTo>
                  <a:pt x="2894" y="1167"/>
                  <a:pt x="2894" y="1167"/>
                  <a:pt x="2892" y="1167"/>
                </a:cubicBezTo>
                <a:cubicBezTo>
                  <a:pt x="2889" y="1167"/>
                  <a:pt x="2887" y="1165"/>
                  <a:pt x="2887" y="1161"/>
                </a:cubicBezTo>
                <a:cubicBezTo>
                  <a:pt x="2887" y="1160"/>
                  <a:pt x="2887" y="1158"/>
                  <a:pt x="2888" y="1157"/>
                </a:cubicBezTo>
                <a:cubicBezTo>
                  <a:pt x="2888" y="1155"/>
                  <a:pt x="2888" y="1153"/>
                  <a:pt x="2888" y="1151"/>
                </a:cubicBezTo>
                <a:cubicBezTo>
                  <a:pt x="2888" y="1143"/>
                  <a:pt x="2885" y="1140"/>
                  <a:pt x="2879" y="1139"/>
                </a:cubicBezTo>
                <a:cubicBezTo>
                  <a:pt x="2879" y="1139"/>
                  <a:pt x="2879" y="1139"/>
                  <a:pt x="2879" y="1139"/>
                </a:cubicBezTo>
                <a:cubicBezTo>
                  <a:pt x="2885" y="1138"/>
                  <a:pt x="2888" y="1136"/>
                  <a:pt x="2888" y="1128"/>
                </a:cubicBezTo>
                <a:cubicBezTo>
                  <a:pt x="2888" y="1126"/>
                  <a:pt x="2888" y="1124"/>
                  <a:pt x="2888" y="1122"/>
                </a:cubicBezTo>
                <a:cubicBezTo>
                  <a:pt x="2887" y="1120"/>
                  <a:pt x="2887" y="1118"/>
                  <a:pt x="2887" y="1117"/>
                </a:cubicBezTo>
                <a:cubicBezTo>
                  <a:pt x="2887" y="1114"/>
                  <a:pt x="2889" y="1111"/>
                  <a:pt x="2892" y="1111"/>
                </a:cubicBezTo>
                <a:cubicBezTo>
                  <a:pt x="2892" y="1111"/>
                  <a:pt x="2892" y="1111"/>
                  <a:pt x="2894" y="1111"/>
                </a:cubicBezTo>
                <a:cubicBezTo>
                  <a:pt x="2894" y="1111"/>
                  <a:pt x="2894" y="1111"/>
                  <a:pt x="2894" y="1102"/>
                </a:cubicBezTo>
                <a:cubicBezTo>
                  <a:pt x="2894" y="1102"/>
                  <a:pt x="2894" y="1102"/>
                  <a:pt x="2890" y="1102"/>
                </a:cubicBezTo>
                <a:cubicBezTo>
                  <a:pt x="2881" y="1102"/>
                  <a:pt x="2875" y="1106"/>
                  <a:pt x="2875" y="1115"/>
                </a:cubicBezTo>
                <a:cubicBezTo>
                  <a:pt x="2875" y="1117"/>
                  <a:pt x="2876" y="1120"/>
                  <a:pt x="2876" y="1122"/>
                </a:cubicBezTo>
                <a:cubicBezTo>
                  <a:pt x="2876" y="1124"/>
                  <a:pt x="2876" y="1127"/>
                  <a:pt x="2876" y="1129"/>
                </a:cubicBezTo>
                <a:cubicBezTo>
                  <a:pt x="2876" y="1131"/>
                  <a:pt x="2876" y="1135"/>
                  <a:pt x="2870" y="1135"/>
                </a:cubicBezTo>
                <a:close/>
                <a:moveTo>
                  <a:pt x="2924" y="1143"/>
                </a:moveTo>
                <a:cubicBezTo>
                  <a:pt x="2924" y="1143"/>
                  <a:pt x="2924" y="1143"/>
                  <a:pt x="2924" y="1143"/>
                </a:cubicBezTo>
                <a:cubicBezTo>
                  <a:pt x="2924" y="1135"/>
                  <a:pt x="2924" y="1135"/>
                  <a:pt x="2924" y="1135"/>
                </a:cubicBezTo>
                <a:cubicBezTo>
                  <a:pt x="2918" y="1135"/>
                  <a:pt x="2918" y="1131"/>
                  <a:pt x="2918" y="1129"/>
                </a:cubicBezTo>
                <a:cubicBezTo>
                  <a:pt x="2918" y="1127"/>
                  <a:pt x="2918" y="1124"/>
                  <a:pt x="2918" y="1122"/>
                </a:cubicBezTo>
                <a:cubicBezTo>
                  <a:pt x="2919" y="1120"/>
                  <a:pt x="2919" y="1117"/>
                  <a:pt x="2919" y="1115"/>
                </a:cubicBezTo>
                <a:cubicBezTo>
                  <a:pt x="2919" y="1106"/>
                  <a:pt x="2913" y="1102"/>
                  <a:pt x="2904" y="1102"/>
                </a:cubicBezTo>
                <a:cubicBezTo>
                  <a:pt x="2904" y="1102"/>
                  <a:pt x="2904" y="1102"/>
                  <a:pt x="2900" y="1102"/>
                </a:cubicBezTo>
                <a:cubicBezTo>
                  <a:pt x="2900" y="1102"/>
                  <a:pt x="2900" y="1102"/>
                  <a:pt x="2900" y="1111"/>
                </a:cubicBezTo>
                <a:cubicBezTo>
                  <a:pt x="2900" y="1111"/>
                  <a:pt x="2900" y="1111"/>
                  <a:pt x="2902" y="1111"/>
                </a:cubicBezTo>
                <a:cubicBezTo>
                  <a:pt x="2906" y="1111"/>
                  <a:pt x="2907" y="1114"/>
                  <a:pt x="2907" y="1117"/>
                </a:cubicBezTo>
                <a:cubicBezTo>
                  <a:pt x="2907" y="1118"/>
                  <a:pt x="2907" y="1120"/>
                  <a:pt x="2907" y="1122"/>
                </a:cubicBezTo>
                <a:cubicBezTo>
                  <a:pt x="2906" y="1124"/>
                  <a:pt x="2906" y="1126"/>
                  <a:pt x="2906" y="1128"/>
                </a:cubicBezTo>
                <a:cubicBezTo>
                  <a:pt x="2906" y="1136"/>
                  <a:pt x="2909" y="1138"/>
                  <a:pt x="2915" y="1139"/>
                </a:cubicBezTo>
                <a:cubicBezTo>
                  <a:pt x="2915" y="1139"/>
                  <a:pt x="2915" y="1139"/>
                  <a:pt x="2915" y="1139"/>
                </a:cubicBezTo>
                <a:cubicBezTo>
                  <a:pt x="2909" y="1140"/>
                  <a:pt x="2906" y="1143"/>
                  <a:pt x="2906" y="1151"/>
                </a:cubicBezTo>
                <a:cubicBezTo>
                  <a:pt x="2906" y="1153"/>
                  <a:pt x="2906" y="1155"/>
                  <a:pt x="2907" y="1157"/>
                </a:cubicBezTo>
                <a:cubicBezTo>
                  <a:pt x="2907" y="1158"/>
                  <a:pt x="2907" y="1160"/>
                  <a:pt x="2907" y="1161"/>
                </a:cubicBezTo>
                <a:cubicBezTo>
                  <a:pt x="2907" y="1165"/>
                  <a:pt x="2906" y="1167"/>
                  <a:pt x="2902" y="1167"/>
                </a:cubicBezTo>
                <a:cubicBezTo>
                  <a:pt x="2902" y="1167"/>
                  <a:pt x="2902" y="1167"/>
                  <a:pt x="2900" y="1167"/>
                </a:cubicBezTo>
                <a:cubicBezTo>
                  <a:pt x="2900" y="1167"/>
                  <a:pt x="2900" y="1167"/>
                  <a:pt x="2900" y="1176"/>
                </a:cubicBezTo>
                <a:cubicBezTo>
                  <a:pt x="2900" y="1176"/>
                  <a:pt x="2900" y="1176"/>
                  <a:pt x="2904" y="1176"/>
                </a:cubicBezTo>
                <a:cubicBezTo>
                  <a:pt x="2913" y="1176"/>
                  <a:pt x="2919" y="1173"/>
                  <a:pt x="2919" y="1164"/>
                </a:cubicBezTo>
                <a:cubicBezTo>
                  <a:pt x="2919" y="1161"/>
                  <a:pt x="2919" y="1159"/>
                  <a:pt x="2918" y="1157"/>
                </a:cubicBezTo>
                <a:cubicBezTo>
                  <a:pt x="2918" y="1154"/>
                  <a:pt x="2918" y="1152"/>
                  <a:pt x="2918" y="1149"/>
                </a:cubicBezTo>
                <a:cubicBezTo>
                  <a:pt x="2918" y="1147"/>
                  <a:pt x="2918" y="1144"/>
                  <a:pt x="2924" y="1143"/>
                </a:cubicBezTo>
                <a:close/>
                <a:moveTo>
                  <a:pt x="3685" y="1143"/>
                </a:moveTo>
                <a:cubicBezTo>
                  <a:pt x="3685" y="1143"/>
                  <a:pt x="3685" y="1143"/>
                  <a:pt x="3685" y="1143"/>
                </a:cubicBezTo>
                <a:cubicBezTo>
                  <a:pt x="3685" y="1135"/>
                  <a:pt x="3685" y="1135"/>
                  <a:pt x="3685" y="1135"/>
                </a:cubicBezTo>
                <a:cubicBezTo>
                  <a:pt x="3679" y="1135"/>
                  <a:pt x="3678" y="1131"/>
                  <a:pt x="3678" y="1129"/>
                </a:cubicBezTo>
                <a:cubicBezTo>
                  <a:pt x="3678" y="1127"/>
                  <a:pt x="3678" y="1124"/>
                  <a:pt x="3679" y="1122"/>
                </a:cubicBezTo>
                <a:cubicBezTo>
                  <a:pt x="3679" y="1120"/>
                  <a:pt x="3679" y="1117"/>
                  <a:pt x="3679" y="1115"/>
                </a:cubicBezTo>
                <a:cubicBezTo>
                  <a:pt x="3679" y="1106"/>
                  <a:pt x="3674" y="1102"/>
                  <a:pt x="3665" y="1102"/>
                </a:cubicBezTo>
                <a:cubicBezTo>
                  <a:pt x="3665" y="1102"/>
                  <a:pt x="3665" y="1102"/>
                  <a:pt x="3661" y="1102"/>
                </a:cubicBezTo>
                <a:cubicBezTo>
                  <a:pt x="3661" y="1102"/>
                  <a:pt x="3661" y="1102"/>
                  <a:pt x="3661" y="1111"/>
                </a:cubicBezTo>
                <a:cubicBezTo>
                  <a:pt x="3661" y="1111"/>
                  <a:pt x="3661" y="1111"/>
                  <a:pt x="3662" y="1111"/>
                </a:cubicBezTo>
                <a:cubicBezTo>
                  <a:pt x="3666" y="1111"/>
                  <a:pt x="3667" y="1114"/>
                  <a:pt x="3667" y="1117"/>
                </a:cubicBezTo>
                <a:cubicBezTo>
                  <a:pt x="3667" y="1118"/>
                  <a:pt x="3667" y="1120"/>
                  <a:pt x="3667" y="1122"/>
                </a:cubicBezTo>
                <a:cubicBezTo>
                  <a:pt x="3667" y="1124"/>
                  <a:pt x="3667" y="1126"/>
                  <a:pt x="3667" y="1128"/>
                </a:cubicBezTo>
                <a:cubicBezTo>
                  <a:pt x="3667" y="1136"/>
                  <a:pt x="3669" y="1138"/>
                  <a:pt x="3675" y="1139"/>
                </a:cubicBezTo>
                <a:cubicBezTo>
                  <a:pt x="3675" y="1139"/>
                  <a:pt x="3675" y="1139"/>
                  <a:pt x="3675" y="1139"/>
                </a:cubicBezTo>
                <a:cubicBezTo>
                  <a:pt x="3669" y="1140"/>
                  <a:pt x="3667" y="1143"/>
                  <a:pt x="3667" y="1151"/>
                </a:cubicBezTo>
                <a:cubicBezTo>
                  <a:pt x="3667" y="1153"/>
                  <a:pt x="3667" y="1155"/>
                  <a:pt x="3667" y="1157"/>
                </a:cubicBezTo>
                <a:cubicBezTo>
                  <a:pt x="3667" y="1158"/>
                  <a:pt x="3667" y="1160"/>
                  <a:pt x="3667" y="1161"/>
                </a:cubicBezTo>
                <a:cubicBezTo>
                  <a:pt x="3667" y="1165"/>
                  <a:pt x="3666" y="1167"/>
                  <a:pt x="3662" y="1167"/>
                </a:cubicBezTo>
                <a:cubicBezTo>
                  <a:pt x="3662" y="1167"/>
                  <a:pt x="3662" y="1167"/>
                  <a:pt x="3661" y="1167"/>
                </a:cubicBezTo>
                <a:cubicBezTo>
                  <a:pt x="3661" y="1167"/>
                  <a:pt x="3661" y="1167"/>
                  <a:pt x="3661" y="1176"/>
                </a:cubicBezTo>
                <a:cubicBezTo>
                  <a:pt x="3661" y="1176"/>
                  <a:pt x="3661" y="1176"/>
                  <a:pt x="3665" y="1176"/>
                </a:cubicBezTo>
                <a:cubicBezTo>
                  <a:pt x="3673" y="1176"/>
                  <a:pt x="3679" y="1173"/>
                  <a:pt x="3679" y="1164"/>
                </a:cubicBezTo>
                <a:cubicBezTo>
                  <a:pt x="3679" y="1161"/>
                  <a:pt x="3679" y="1159"/>
                  <a:pt x="3679" y="1157"/>
                </a:cubicBezTo>
                <a:cubicBezTo>
                  <a:pt x="3678" y="1154"/>
                  <a:pt x="3678" y="1152"/>
                  <a:pt x="3678" y="1149"/>
                </a:cubicBezTo>
                <a:cubicBezTo>
                  <a:pt x="3678" y="1147"/>
                  <a:pt x="3679" y="1144"/>
                  <a:pt x="3685" y="1143"/>
                </a:cubicBezTo>
                <a:close/>
                <a:moveTo>
                  <a:pt x="3805" y="1176"/>
                </a:moveTo>
                <a:cubicBezTo>
                  <a:pt x="3798" y="1176"/>
                  <a:pt x="3791" y="1173"/>
                  <a:pt x="3787" y="1168"/>
                </a:cubicBezTo>
                <a:cubicBezTo>
                  <a:pt x="3783" y="1161"/>
                  <a:pt x="3781" y="1152"/>
                  <a:pt x="3781" y="1140"/>
                </a:cubicBezTo>
                <a:cubicBezTo>
                  <a:pt x="3781" y="1127"/>
                  <a:pt x="3783" y="1117"/>
                  <a:pt x="3787" y="1111"/>
                </a:cubicBezTo>
                <a:cubicBezTo>
                  <a:pt x="3792" y="1104"/>
                  <a:pt x="3798" y="1101"/>
                  <a:pt x="3807" y="1101"/>
                </a:cubicBezTo>
                <a:cubicBezTo>
                  <a:pt x="3823" y="1101"/>
                  <a:pt x="3831" y="1113"/>
                  <a:pt x="3831" y="1138"/>
                </a:cubicBezTo>
                <a:cubicBezTo>
                  <a:pt x="3831" y="1151"/>
                  <a:pt x="3829" y="1160"/>
                  <a:pt x="3824" y="1167"/>
                </a:cubicBezTo>
                <a:cubicBezTo>
                  <a:pt x="3820" y="1173"/>
                  <a:pt x="3813" y="1176"/>
                  <a:pt x="3805" y="1176"/>
                </a:cubicBezTo>
                <a:close/>
                <a:moveTo>
                  <a:pt x="3806" y="1110"/>
                </a:moveTo>
                <a:cubicBezTo>
                  <a:pt x="3797" y="1110"/>
                  <a:pt x="3793" y="1120"/>
                  <a:pt x="3793" y="1140"/>
                </a:cubicBezTo>
                <a:cubicBezTo>
                  <a:pt x="3793" y="1158"/>
                  <a:pt x="3797" y="1167"/>
                  <a:pt x="3806" y="1167"/>
                </a:cubicBezTo>
                <a:cubicBezTo>
                  <a:pt x="3814" y="1167"/>
                  <a:pt x="3819" y="1158"/>
                  <a:pt x="3819" y="1139"/>
                </a:cubicBezTo>
                <a:cubicBezTo>
                  <a:pt x="3819" y="1119"/>
                  <a:pt x="3814" y="1110"/>
                  <a:pt x="3806" y="1110"/>
                </a:cubicBezTo>
                <a:close/>
                <a:moveTo>
                  <a:pt x="3711" y="1176"/>
                </a:moveTo>
                <a:cubicBezTo>
                  <a:pt x="3714" y="1157"/>
                  <a:pt x="3714" y="1157"/>
                  <a:pt x="3714" y="1157"/>
                </a:cubicBezTo>
                <a:cubicBezTo>
                  <a:pt x="3705" y="1157"/>
                  <a:pt x="3705" y="1157"/>
                  <a:pt x="3705" y="1157"/>
                </a:cubicBezTo>
                <a:cubicBezTo>
                  <a:pt x="3705" y="1145"/>
                  <a:pt x="3705" y="1145"/>
                  <a:pt x="3705" y="1145"/>
                </a:cubicBezTo>
                <a:cubicBezTo>
                  <a:pt x="3716" y="1145"/>
                  <a:pt x="3716" y="1145"/>
                  <a:pt x="3716" y="1145"/>
                </a:cubicBezTo>
                <a:cubicBezTo>
                  <a:pt x="3718" y="1134"/>
                  <a:pt x="3718" y="1134"/>
                  <a:pt x="3718" y="1134"/>
                </a:cubicBezTo>
                <a:cubicBezTo>
                  <a:pt x="3708" y="1134"/>
                  <a:pt x="3708" y="1134"/>
                  <a:pt x="3708" y="1134"/>
                </a:cubicBezTo>
                <a:cubicBezTo>
                  <a:pt x="3708" y="1122"/>
                  <a:pt x="3708" y="1122"/>
                  <a:pt x="3708" y="1122"/>
                </a:cubicBezTo>
                <a:cubicBezTo>
                  <a:pt x="3720" y="1122"/>
                  <a:pt x="3720" y="1122"/>
                  <a:pt x="3720" y="1122"/>
                </a:cubicBezTo>
                <a:cubicBezTo>
                  <a:pt x="3722" y="1104"/>
                  <a:pt x="3722" y="1104"/>
                  <a:pt x="3722" y="1104"/>
                </a:cubicBezTo>
                <a:cubicBezTo>
                  <a:pt x="3734" y="1104"/>
                  <a:pt x="3734" y="1104"/>
                  <a:pt x="3734" y="1104"/>
                </a:cubicBezTo>
                <a:cubicBezTo>
                  <a:pt x="3731" y="1122"/>
                  <a:pt x="3731" y="1122"/>
                  <a:pt x="3731" y="1122"/>
                </a:cubicBezTo>
                <a:cubicBezTo>
                  <a:pt x="3740" y="1122"/>
                  <a:pt x="3740" y="1122"/>
                  <a:pt x="3740" y="1122"/>
                </a:cubicBezTo>
                <a:cubicBezTo>
                  <a:pt x="3743" y="1104"/>
                  <a:pt x="3743" y="1104"/>
                  <a:pt x="3743" y="1104"/>
                </a:cubicBezTo>
                <a:cubicBezTo>
                  <a:pt x="3754" y="1104"/>
                  <a:pt x="3754" y="1104"/>
                  <a:pt x="3754" y="1104"/>
                </a:cubicBezTo>
                <a:cubicBezTo>
                  <a:pt x="3751" y="1122"/>
                  <a:pt x="3751" y="1122"/>
                  <a:pt x="3751" y="1122"/>
                </a:cubicBezTo>
                <a:cubicBezTo>
                  <a:pt x="3760" y="1122"/>
                  <a:pt x="3760" y="1122"/>
                  <a:pt x="3760" y="1122"/>
                </a:cubicBezTo>
                <a:cubicBezTo>
                  <a:pt x="3760" y="1134"/>
                  <a:pt x="3760" y="1134"/>
                  <a:pt x="3760" y="1134"/>
                </a:cubicBezTo>
                <a:cubicBezTo>
                  <a:pt x="3750" y="1134"/>
                  <a:pt x="3750" y="1134"/>
                  <a:pt x="3750" y="1134"/>
                </a:cubicBezTo>
                <a:cubicBezTo>
                  <a:pt x="3748" y="1145"/>
                  <a:pt x="3748" y="1145"/>
                  <a:pt x="3748" y="1145"/>
                </a:cubicBezTo>
                <a:cubicBezTo>
                  <a:pt x="3757" y="1145"/>
                  <a:pt x="3757" y="1145"/>
                  <a:pt x="3757" y="1145"/>
                </a:cubicBezTo>
                <a:cubicBezTo>
                  <a:pt x="3757" y="1157"/>
                  <a:pt x="3757" y="1157"/>
                  <a:pt x="3757" y="1157"/>
                </a:cubicBezTo>
                <a:cubicBezTo>
                  <a:pt x="3746" y="1157"/>
                  <a:pt x="3746" y="1157"/>
                  <a:pt x="3746" y="1157"/>
                </a:cubicBezTo>
                <a:cubicBezTo>
                  <a:pt x="3743" y="1176"/>
                  <a:pt x="3743" y="1176"/>
                  <a:pt x="3743" y="1176"/>
                </a:cubicBezTo>
                <a:cubicBezTo>
                  <a:pt x="3732" y="1176"/>
                  <a:pt x="3732" y="1176"/>
                  <a:pt x="3732" y="1176"/>
                </a:cubicBezTo>
                <a:cubicBezTo>
                  <a:pt x="3735" y="1157"/>
                  <a:pt x="3735" y="1157"/>
                  <a:pt x="3735" y="1157"/>
                </a:cubicBezTo>
                <a:cubicBezTo>
                  <a:pt x="3725" y="1157"/>
                  <a:pt x="3725" y="1157"/>
                  <a:pt x="3725" y="1157"/>
                </a:cubicBezTo>
                <a:cubicBezTo>
                  <a:pt x="3723" y="1176"/>
                  <a:pt x="3723" y="1176"/>
                  <a:pt x="3723" y="1176"/>
                </a:cubicBezTo>
                <a:cubicBezTo>
                  <a:pt x="3711" y="1176"/>
                  <a:pt x="3711" y="1176"/>
                  <a:pt x="3711" y="1176"/>
                </a:cubicBezTo>
                <a:cubicBezTo>
                  <a:pt x="3711" y="1176"/>
                  <a:pt x="3711" y="1176"/>
                  <a:pt x="3711" y="1176"/>
                </a:cubicBezTo>
                <a:close/>
                <a:moveTo>
                  <a:pt x="3737" y="1145"/>
                </a:moveTo>
                <a:cubicBezTo>
                  <a:pt x="3738" y="1134"/>
                  <a:pt x="3738" y="1134"/>
                  <a:pt x="3738" y="1134"/>
                </a:cubicBezTo>
                <a:cubicBezTo>
                  <a:pt x="3729" y="1134"/>
                  <a:pt x="3729" y="1134"/>
                  <a:pt x="3729" y="1134"/>
                </a:cubicBezTo>
                <a:cubicBezTo>
                  <a:pt x="3727" y="1145"/>
                  <a:pt x="3727" y="1145"/>
                  <a:pt x="3727" y="1145"/>
                </a:cubicBezTo>
                <a:cubicBezTo>
                  <a:pt x="3737" y="1145"/>
                  <a:pt x="3737" y="1145"/>
                  <a:pt x="3737" y="1145"/>
                </a:cubicBezTo>
                <a:cubicBezTo>
                  <a:pt x="3737" y="1145"/>
                  <a:pt x="3737" y="1145"/>
                  <a:pt x="3737" y="1145"/>
                </a:cubicBezTo>
                <a:close/>
                <a:moveTo>
                  <a:pt x="2596" y="1150"/>
                </a:moveTo>
                <a:cubicBezTo>
                  <a:pt x="2596" y="1152"/>
                  <a:pt x="2597" y="1153"/>
                  <a:pt x="2598" y="1155"/>
                </a:cubicBezTo>
                <a:cubicBezTo>
                  <a:pt x="2598" y="1156"/>
                  <a:pt x="2598" y="1158"/>
                  <a:pt x="2599" y="1160"/>
                </a:cubicBezTo>
                <a:cubicBezTo>
                  <a:pt x="2599" y="1161"/>
                  <a:pt x="2599" y="1163"/>
                  <a:pt x="2599" y="1164"/>
                </a:cubicBezTo>
                <a:cubicBezTo>
                  <a:pt x="2600" y="1168"/>
                  <a:pt x="2599" y="1169"/>
                  <a:pt x="2596" y="1169"/>
                </a:cubicBezTo>
                <a:cubicBezTo>
                  <a:pt x="2593" y="1169"/>
                  <a:pt x="2590" y="1169"/>
                  <a:pt x="2587" y="1169"/>
                </a:cubicBezTo>
                <a:cubicBezTo>
                  <a:pt x="2587" y="1169"/>
                  <a:pt x="2586" y="1169"/>
                  <a:pt x="2586" y="1169"/>
                </a:cubicBezTo>
                <a:cubicBezTo>
                  <a:pt x="2584" y="1171"/>
                  <a:pt x="2583" y="1172"/>
                  <a:pt x="2581" y="1174"/>
                </a:cubicBezTo>
                <a:cubicBezTo>
                  <a:pt x="2579" y="1176"/>
                  <a:pt x="2576" y="1176"/>
                  <a:pt x="2574" y="1174"/>
                </a:cubicBezTo>
                <a:cubicBezTo>
                  <a:pt x="2572" y="1172"/>
                  <a:pt x="2571" y="1170"/>
                  <a:pt x="2569" y="1167"/>
                </a:cubicBezTo>
                <a:cubicBezTo>
                  <a:pt x="2568" y="1165"/>
                  <a:pt x="2569" y="1164"/>
                  <a:pt x="2571" y="1162"/>
                </a:cubicBezTo>
                <a:cubicBezTo>
                  <a:pt x="2568" y="1162"/>
                  <a:pt x="2567" y="1162"/>
                  <a:pt x="2565" y="1162"/>
                </a:cubicBezTo>
                <a:cubicBezTo>
                  <a:pt x="2564" y="1164"/>
                  <a:pt x="2563" y="1166"/>
                  <a:pt x="2562" y="1168"/>
                </a:cubicBezTo>
                <a:cubicBezTo>
                  <a:pt x="2562" y="1169"/>
                  <a:pt x="2562" y="1170"/>
                  <a:pt x="2562" y="1170"/>
                </a:cubicBezTo>
                <a:cubicBezTo>
                  <a:pt x="2562" y="1174"/>
                  <a:pt x="2561" y="1175"/>
                  <a:pt x="2558" y="1174"/>
                </a:cubicBezTo>
                <a:cubicBezTo>
                  <a:pt x="2555" y="1174"/>
                  <a:pt x="2552" y="1173"/>
                  <a:pt x="2549" y="1172"/>
                </a:cubicBezTo>
                <a:cubicBezTo>
                  <a:pt x="2547" y="1172"/>
                  <a:pt x="2546" y="1170"/>
                  <a:pt x="2547" y="1168"/>
                </a:cubicBezTo>
                <a:cubicBezTo>
                  <a:pt x="2547" y="1167"/>
                  <a:pt x="2547" y="1166"/>
                  <a:pt x="2548" y="1166"/>
                </a:cubicBezTo>
                <a:cubicBezTo>
                  <a:pt x="2545" y="1165"/>
                  <a:pt x="2543" y="1164"/>
                  <a:pt x="2541" y="1163"/>
                </a:cubicBezTo>
                <a:cubicBezTo>
                  <a:pt x="2540" y="1162"/>
                  <a:pt x="2538" y="1160"/>
                  <a:pt x="2538" y="1159"/>
                </a:cubicBezTo>
                <a:cubicBezTo>
                  <a:pt x="2537" y="1157"/>
                  <a:pt x="2537" y="1155"/>
                  <a:pt x="2539" y="1153"/>
                </a:cubicBezTo>
                <a:cubicBezTo>
                  <a:pt x="2542" y="1151"/>
                  <a:pt x="2543" y="1148"/>
                  <a:pt x="2542" y="1144"/>
                </a:cubicBezTo>
                <a:cubicBezTo>
                  <a:pt x="2542" y="1142"/>
                  <a:pt x="2542" y="1140"/>
                  <a:pt x="2542" y="1138"/>
                </a:cubicBezTo>
                <a:cubicBezTo>
                  <a:pt x="2541" y="1138"/>
                  <a:pt x="2539" y="1137"/>
                  <a:pt x="2538" y="1136"/>
                </a:cubicBezTo>
                <a:cubicBezTo>
                  <a:pt x="2537" y="1134"/>
                  <a:pt x="2536" y="1132"/>
                  <a:pt x="2536" y="1130"/>
                </a:cubicBezTo>
                <a:cubicBezTo>
                  <a:pt x="2536" y="1128"/>
                  <a:pt x="2539" y="1125"/>
                  <a:pt x="2542" y="1124"/>
                </a:cubicBezTo>
                <a:cubicBezTo>
                  <a:pt x="2542" y="1125"/>
                  <a:pt x="2542" y="1126"/>
                  <a:pt x="2543" y="1126"/>
                </a:cubicBezTo>
                <a:cubicBezTo>
                  <a:pt x="2543" y="1128"/>
                  <a:pt x="2543" y="1128"/>
                  <a:pt x="2543" y="1130"/>
                </a:cubicBezTo>
                <a:cubicBezTo>
                  <a:pt x="2542" y="1129"/>
                  <a:pt x="2542" y="1129"/>
                  <a:pt x="2542" y="1129"/>
                </a:cubicBezTo>
                <a:cubicBezTo>
                  <a:pt x="2541" y="1130"/>
                  <a:pt x="2541" y="1132"/>
                  <a:pt x="2540" y="1134"/>
                </a:cubicBezTo>
                <a:cubicBezTo>
                  <a:pt x="2541" y="1133"/>
                  <a:pt x="2542" y="1133"/>
                  <a:pt x="2542" y="1133"/>
                </a:cubicBezTo>
                <a:cubicBezTo>
                  <a:pt x="2544" y="1132"/>
                  <a:pt x="2544" y="1131"/>
                  <a:pt x="2545" y="1130"/>
                </a:cubicBezTo>
                <a:cubicBezTo>
                  <a:pt x="2549" y="1123"/>
                  <a:pt x="2555" y="1119"/>
                  <a:pt x="2563" y="1117"/>
                </a:cubicBezTo>
                <a:cubicBezTo>
                  <a:pt x="2566" y="1117"/>
                  <a:pt x="2570" y="1116"/>
                  <a:pt x="2572" y="1113"/>
                </a:cubicBezTo>
                <a:cubicBezTo>
                  <a:pt x="2572" y="1113"/>
                  <a:pt x="2573" y="1112"/>
                  <a:pt x="2573" y="1112"/>
                </a:cubicBezTo>
                <a:cubicBezTo>
                  <a:pt x="2576" y="1112"/>
                  <a:pt x="2577" y="1109"/>
                  <a:pt x="2579" y="1107"/>
                </a:cubicBezTo>
                <a:cubicBezTo>
                  <a:pt x="2587" y="1100"/>
                  <a:pt x="2599" y="1100"/>
                  <a:pt x="2607" y="1106"/>
                </a:cubicBezTo>
                <a:cubicBezTo>
                  <a:pt x="2609" y="1108"/>
                  <a:pt x="2612" y="1110"/>
                  <a:pt x="2614" y="1112"/>
                </a:cubicBezTo>
                <a:cubicBezTo>
                  <a:pt x="2616" y="1113"/>
                  <a:pt x="2617" y="1115"/>
                  <a:pt x="2618" y="1117"/>
                </a:cubicBezTo>
                <a:cubicBezTo>
                  <a:pt x="2619" y="1119"/>
                  <a:pt x="2620" y="1119"/>
                  <a:pt x="2621" y="1117"/>
                </a:cubicBezTo>
                <a:cubicBezTo>
                  <a:pt x="2622" y="1117"/>
                  <a:pt x="2622" y="1116"/>
                  <a:pt x="2623" y="1115"/>
                </a:cubicBezTo>
                <a:cubicBezTo>
                  <a:pt x="2625" y="1113"/>
                  <a:pt x="2628" y="1113"/>
                  <a:pt x="2630" y="1116"/>
                </a:cubicBezTo>
                <a:cubicBezTo>
                  <a:pt x="2631" y="1119"/>
                  <a:pt x="2631" y="1122"/>
                  <a:pt x="2632" y="1125"/>
                </a:cubicBezTo>
                <a:cubicBezTo>
                  <a:pt x="2633" y="1129"/>
                  <a:pt x="2632" y="1134"/>
                  <a:pt x="2631" y="1138"/>
                </a:cubicBezTo>
                <a:cubicBezTo>
                  <a:pt x="2628" y="1144"/>
                  <a:pt x="2624" y="1148"/>
                  <a:pt x="2617" y="1148"/>
                </a:cubicBezTo>
                <a:cubicBezTo>
                  <a:pt x="2616" y="1148"/>
                  <a:pt x="2616" y="1148"/>
                  <a:pt x="2615" y="1148"/>
                </a:cubicBezTo>
                <a:cubicBezTo>
                  <a:pt x="2613" y="1147"/>
                  <a:pt x="2611" y="1148"/>
                  <a:pt x="2611" y="1150"/>
                </a:cubicBezTo>
                <a:cubicBezTo>
                  <a:pt x="2609" y="1155"/>
                  <a:pt x="2603" y="1156"/>
                  <a:pt x="2600" y="1153"/>
                </a:cubicBezTo>
                <a:cubicBezTo>
                  <a:pt x="2599" y="1152"/>
                  <a:pt x="2598" y="1151"/>
                  <a:pt x="2597" y="1150"/>
                </a:cubicBezTo>
                <a:cubicBezTo>
                  <a:pt x="2596" y="1150"/>
                  <a:pt x="2596" y="1150"/>
                  <a:pt x="2596" y="1150"/>
                </a:cubicBezTo>
                <a:close/>
                <a:moveTo>
                  <a:pt x="2590" y="1146"/>
                </a:moveTo>
                <a:cubicBezTo>
                  <a:pt x="2594" y="1147"/>
                  <a:pt x="2598" y="1149"/>
                  <a:pt x="2600" y="1151"/>
                </a:cubicBezTo>
                <a:cubicBezTo>
                  <a:pt x="2602" y="1153"/>
                  <a:pt x="2604" y="1154"/>
                  <a:pt x="2606" y="1153"/>
                </a:cubicBezTo>
                <a:cubicBezTo>
                  <a:pt x="2609" y="1152"/>
                  <a:pt x="2610" y="1150"/>
                  <a:pt x="2610" y="1147"/>
                </a:cubicBezTo>
                <a:cubicBezTo>
                  <a:pt x="2610" y="1147"/>
                  <a:pt x="2609" y="1147"/>
                  <a:pt x="2609" y="1148"/>
                </a:cubicBezTo>
                <a:cubicBezTo>
                  <a:pt x="2609" y="1149"/>
                  <a:pt x="2607" y="1150"/>
                  <a:pt x="2607" y="1151"/>
                </a:cubicBezTo>
                <a:cubicBezTo>
                  <a:pt x="2605" y="1153"/>
                  <a:pt x="2604" y="1152"/>
                  <a:pt x="2603" y="1152"/>
                </a:cubicBezTo>
                <a:cubicBezTo>
                  <a:pt x="2603" y="1152"/>
                  <a:pt x="2602" y="1151"/>
                  <a:pt x="2602" y="1150"/>
                </a:cubicBezTo>
                <a:cubicBezTo>
                  <a:pt x="2602" y="1147"/>
                  <a:pt x="2603" y="1145"/>
                  <a:pt x="2603" y="1144"/>
                </a:cubicBezTo>
                <a:cubicBezTo>
                  <a:pt x="2606" y="1144"/>
                  <a:pt x="2609" y="1145"/>
                  <a:pt x="2613" y="1146"/>
                </a:cubicBezTo>
                <a:cubicBezTo>
                  <a:pt x="2620" y="1147"/>
                  <a:pt x="2626" y="1145"/>
                  <a:pt x="2630" y="1137"/>
                </a:cubicBezTo>
                <a:cubicBezTo>
                  <a:pt x="2631" y="1132"/>
                  <a:pt x="2631" y="1127"/>
                  <a:pt x="2630" y="1122"/>
                </a:cubicBezTo>
                <a:cubicBezTo>
                  <a:pt x="2630" y="1120"/>
                  <a:pt x="2629" y="1119"/>
                  <a:pt x="2628" y="1117"/>
                </a:cubicBezTo>
                <a:cubicBezTo>
                  <a:pt x="2627" y="1115"/>
                  <a:pt x="2626" y="1115"/>
                  <a:pt x="2625" y="1116"/>
                </a:cubicBezTo>
                <a:cubicBezTo>
                  <a:pt x="2623" y="1118"/>
                  <a:pt x="2622" y="1119"/>
                  <a:pt x="2620" y="1120"/>
                </a:cubicBezTo>
                <a:cubicBezTo>
                  <a:pt x="2619" y="1121"/>
                  <a:pt x="2618" y="1121"/>
                  <a:pt x="2618" y="1123"/>
                </a:cubicBezTo>
                <a:cubicBezTo>
                  <a:pt x="2619" y="1126"/>
                  <a:pt x="2618" y="1129"/>
                  <a:pt x="2617" y="1132"/>
                </a:cubicBezTo>
                <a:cubicBezTo>
                  <a:pt x="2617" y="1130"/>
                  <a:pt x="2618" y="1128"/>
                  <a:pt x="2618" y="1126"/>
                </a:cubicBezTo>
                <a:cubicBezTo>
                  <a:pt x="2618" y="1126"/>
                  <a:pt x="2617" y="1125"/>
                  <a:pt x="2617" y="1125"/>
                </a:cubicBezTo>
                <a:cubicBezTo>
                  <a:pt x="2616" y="1125"/>
                  <a:pt x="2616" y="1125"/>
                  <a:pt x="2616" y="1126"/>
                </a:cubicBezTo>
                <a:cubicBezTo>
                  <a:pt x="2615" y="1127"/>
                  <a:pt x="2614" y="1128"/>
                  <a:pt x="2613" y="1130"/>
                </a:cubicBezTo>
                <a:cubicBezTo>
                  <a:pt x="2613" y="1130"/>
                  <a:pt x="2613" y="1130"/>
                  <a:pt x="2613" y="1130"/>
                </a:cubicBezTo>
                <a:cubicBezTo>
                  <a:pt x="2613" y="1128"/>
                  <a:pt x="2614" y="1126"/>
                  <a:pt x="2614" y="1124"/>
                </a:cubicBezTo>
                <a:cubicBezTo>
                  <a:pt x="2613" y="1125"/>
                  <a:pt x="2613" y="1125"/>
                  <a:pt x="2612" y="1126"/>
                </a:cubicBezTo>
                <a:cubicBezTo>
                  <a:pt x="2611" y="1126"/>
                  <a:pt x="2611" y="1127"/>
                  <a:pt x="2611" y="1128"/>
                </a:cubicBezTo>
                <a:cubicBezTo>
                  <a:pt x="2611" y="1125"/>
                  <a:pt x="2611" y="1125"/>
                  <a:pt x="2617" y="1123"/>
                </a:cubicBezTo>
                <a:cubicBezTo>
                  <a:pt x="2617" y="1123"/>
                  <a:pt x="2616" y="1122"/>
                  <a:pt x="2616" y="1122"/>
                </a:cubicBezTo>
                <a:cubicBezTo>
                  <a:pt x="2613" y="1123"/>
                  <a:pt x="2613" y="1121"/>
                  <a:pt x="2612" y="1119"/>
                </a:cubicBezTo>
                <a:cubicBezTo>
                  <a:pt x="2614" y="1119"/>
                  <a:pt x="2615" y="1118"/>
                  <a:pt x="2617" y="1118"/>
                </a:cubicBezTo>
                <a:cubicBezTo>
                  <a:pt x="2615" y="1115"/>
                  <a:pt x="2614" y="1113"/>
                  <a:pt x="2611" y="1112"/>
                </a:cubicBezTo>
                <a:cubicBezTo>
                  <a:pt x="2610" y="1112"/>
                  <a:pt x="2610" y="1112"/>
                  <a:pt x="2610" y="1111"/>
                </a:cubicBezTo>
                <a:cubicBezTo>
                  <a:pt x="2607" y="1109"/>
                  <a:pt x="2605" y="1107"/>
                  <a:pt x="2602" y="1105"/>
                </a:cubicBezTo>
                <a:cubicBezTo>
                  <a:pt x="2600" y="1104"/>
                  <a:pt x="2597" y="1103"/>
                  <a:pt x="2595" y="1103"/>
                </a:cubicBezTo>
                <a:cubicBezTo>
                  <a:pt x="2592" y="1104"/>
                  <a:pt x="2589" y="1105"/>
                  <a:pt x="2585" y="1105"/>
                </a:cubicBezTo>
                <a:cubicBezTo>
                  <a:pt x="2583" y="1107"/>
                  <a:pt x="2580" y="1108"/>
                  <a:pt x="2578" y="1111"/>
                </a:cubicBezTo>
                <a:cubicBezTo>
                  <a:pt x="2580" y="1111"/>
                  <a:pt x="2581" y="1111"/>
                  <a:pt x="2582" y="1111"/>
                </a:cubicBezTo>
                <a:cubicBezTo>
                  <a:pt x="2582" y="1112"/>
                  <a:pt x="2581" y="1112"/>
                  <a:pt x="2580" y="1112"/>
                </a:cubicBezTo>
                <a:cubicBezTo>
                  <a:pt x="2578" y="1113"/>
                  <a:pt x="2575" y="1112"/>
                  <a:pt x="2573" y="1115"/>
                </a:cubicBezTo>
                <a:cubicBezTo>
                  <a:pt x="2570" y="1119"/>
                  <a:pt x="2566" y="1122"/>
                  <a:pt x="2562" y="1126"/>
                </a:cubicBezTo>
                <a:cubicBezTo>
                  <a:pt x="2561" y="1128"/>
                  <a:pt x="2560" y="1131"/>
                  <a:pt x="2559" y="1133"/>
                </a:cubicBezTo>
                <a:cubicBezTo>
                  <a:pt x="2559" y="1134"/>
                  <a:pt x="2559" y="1134"/>
                  <a:pt x="2559" y="1135"/>
                </a:cubicBezTo>
                <a:cubicBezTo>
                  <a:pt x="2560" y="1137"/>
                  <a:pt x="2561" y="1139"/>
                  <a:pt x="2563" y="1141"/>
                </a:cubicBezTo>
                <a:cubicBezTo>
                  <a:pt x="2564" y="1139"/>
                  <a:pt x="2565" y="1138"/>
                  <a:pt x="2566" y="1136"/>
                </a:cubicBezTo>
                <a:cubicBezTo>
                  <a:pt x="2566" y="1138"/>
                  <a:pt x="2566" y="1139"/>
                  <a:pt x="2565" y="1140"/>
                </a:cubicBezTo>
                <a:cubicBezTo>
                  <a:pt x="2564" y="1142"/>
                  <a:pt x="2563" y="1143"/>
                  <a:pt x="2563" y="1144"/>
                </a:cubicBezTo>
                <a:cubicBezTo>
                  <a:pt x="2562" y="1145"/>
                  <a:pt x="2563" y="1146"/>
                  <a:pt x="2563" y="1147"/>
                </a:cubicBezTo>
                <a:cubicBezTo>
                  <a:pt x="2566" y="1151"/>
                  <a:pt x="2569" y="1151"/>
                  <a:pt x="2573" y="1149"/>
                </a:cubicBezTo>
                <a:cubicBezTo>
                  <a:pt x="2575" y="1147"/>
                  <a:pt x="2578" y="1146"/>
                  <a:pt x="2581" y="1145"/>
                </a:cubicBezTo>
                <a:cubicBezTo>
                  <a:pt x="2582" y="1145"/>
                  <a:pt x="2583" y="1144"/>
                  <a:pt x="2583" y="1142"/>
                </a:cubicBezTo>
                <a:cubicBezTo>
                  <a:pt x="2583" y="1139"/>
                  <a:pt x="2583" y="1136"/>
                  <a:pt x="2583" y="1132"/>
                </a:cubicBezTo>
                <a:cubicBezTo>
                  <a:pt x="2583" y="1129"/>
                  <a:pt x="2583" y="1126"/>
                  <a:pt x="2583" y="1123"/>
                </a:cubicBezTo>
                <a:cubicBezTo>
                  <a:pt x="2584" y="1126"/>
                  <a:pt x="2585" y="1129"/>
                  <a:pt x="2585" y="1131"/>
                </a:cubicBezTo>
                <a:cubicBezTo>
                  <a:pt x="2586" y="1136"/>
                  <a:pt x="2586" y="1140"/>
                  <a:pt x="2585" y="1145"/>
                </a:cubicBezTo>
                <a:cubicBezTo>
                  <a:pt x="2584" y="1145"/>
                  <a:pt x="2583" y="1146"/>
                  <a:pt x="2583" y="1146"/>
                </a:cubicBezTo>
                <a:cubicBezTo>
                  <a:pt x="2579" y="1147"/>
                  <a:pt x="2576" y="1149"/>
                  <a:pt x="2573" y="1150"/>
                </a:cubicBezTo>
                <a:cubicBezTo>
                  <a:pt x="2568" y="1153"/>
                  <a:pt x="2564" y="1151"/>
                  <a:pt x="2561" y="1147"/>
                </a:cubicBezTo>
                <a:cubicBezTo>
                  <a:pt x="2561" y="1147"/>
                  <a:pt x="2561" y="1146"/>
                  <a:pt x="2561" y="1145"/>
                </a:cubicBezTo>
                <a:cubicBezTo>
                  <a:pt x="2562" y="1143"/>
                  <a:pt x="2561" y="1141"/>
                  <a:pt x="2559" y="1139"/>
                </a:cubicBezTo>
                <a:cubicBezTo>
                  <a:pt x="2558" y="1137"/>
                  <a:pt x="2556" y="1135"/>
                  <a:pt x="2557" y="1132"/>
                </a:cubicBezTo>
                <a:cubicBezTo>
                  <a:pt x="2558" y="1130"/>
                  <a:pt x="2559" y="1128"/>
                  <a:pt x="2560" y="1127"/>
                </a:cubicBezTo>
                <a:cubicBezTo>
                  <a:pt x="2562" y="1124"/>
                  <a:pt x="2564" y="1122"/>
                  <a:pt x="2566" y="1119"/>
                </a:cubicBezTo>
                <a:cubicBezTo>
                  <a:pt x="2566" y="1119"/>
                  <a:pt x="2565" y="1119"/>
                  <a:pt x="2565" y="1119"/>
                </a:cubicBezTo>
                <a:cubicBezTo>
                  <a:pt x="2560" y="1120"/>
                  <a:pt x="2555" y="1122"/>
                  <a:pt x="2551" y="1125"/>
                </a:cubicBezTo>
                <a:cubicBezTo>
                  <a:pt x="2547" y="1129"/>
                  <a:pt x="2544" y="1134"/>
                  <a:pt x="2544" y="1141"/>
                </a:cubicBezTo>
                <a:cubicBezTo>
                  <a:pt x="2543" y="1148"/>
                  <a:pt x="2546" y="1154"/>
                  <a:pt x="2549" y="1160"/>
                </a:cubicBezTo>
                <a:cubicBezTo>
                  <a:pt x="2549" y="1161"/>
                  <a:pt x="2550" y="1162"/>
                  <a:pt x="2550" y="1163"/>
                </a:cubicBezTo>
                <a:cubicBezTo>
                  <a:pt x="2550" y="1165"/>
                  <a:pt x="2549" y="1166"/>
                  <a:pt x="2549" y="1168"/>
                </a:cubicBezTo>
                <a:cubicBezTo>
                  <a:pt x="2548" y="1170"/>
                  <a:pt x="2549" y="1170"/>
                  <a:pt x="2550" y="1171"/>
                </a:cubicBezTo>
                <a:cubicBezTo>
                  <a:pt x="2553" y="1172"/>
                  <a:pt x="2556" y="1172"/>
                  <a:pt x="2559" y="1172"/>
                </a:cubicBezTo>
                <a:cubicBezTo>
                  <a:pt x="2559" y="1172"/>
                  <a:pt x="2560" y="1172"/>
                  <a:pt x="2560" y="1171"/>
                </a:cubicBezTo>
                <a:cubicBezTo>
                  <a:pt x="2561" y="1170"/>
                  <a:pt x="2561" y="1168"/>
                  <a:pt x="2561" y="1168"/>
                </a:cubicBezTo>
                <a:cubicBezTo>
                  <a:pt x="2563" y="1165"/>
                  <a:pt x="2563" y="1163"/>
                  <a:pt x="2563" y="1160"/>
                </a:cubicBezTo>
                <a:cubicBezTo>
                  <a:pt x="2563" y="1159"/>
                  <a:pt x="2563" y="1159"/>
                  <a:pt x="2563" y="1159"/>
                </a:cubicBezTo>
                <a:cubicBezTo>
                  <a:pt x="2563" y="1158"/>
                  <a:pt x="2563" y="1158"/>
                  <a:pt x="2563" y="1158"/>
                </a:cubicBezTo>
                <a:cubicBezTo>
                  <a:pt x="2564" y="1161"/>
                  <a:pt x="2565" y="1161"/>
                  <a:pt x="2567" y="1161"/>
                </a:cubicBezTo>
                <a:cubicBezTo>
                  <a:pt x="2568" y="1161"/>
                  <a:pt x="2569" y="1161"/>
                  <a:pt x="2570" y="1161"/>
                </a:cubicBezTo>
                <a:cubicBezTo>
                  <a:pt x="2572" y="1161"/>
                  <a:pt x="2576" y="1161"/>
                  <a:pt x="2576" y="1157"/>
                </a:cubicBezTo>
                <a:cubicBezTo>
                  <a:pt x="2576" y="1159"/>
                  <a:pt x="2576" y="1161"/>
                  <a:pt x="2576" y="1162"/>
                </a:cubicBezTo>
                <a:cubicBezTo>
                  <a:pt x="2575" y="1163"/>
                  <a:pt x="2574" y="1163"/>
                  <a:pt x="2572" y="1164"/>
                </a:cubicBezTo>
                <a:cubicBezTo>
                  <a:pt x="2571" y="1164"/>
                  <a:pt x="2570" y="1166"/>
                  <a:pt x="2571" y="1167"/>
                </a:cubicBezTo>
                <a:cubicBezTo>
                  <a:pt x="2572" y="1169"/>
                  <a:pt x="2574" y="1171"/>
                  <a:pt x="2575" y="1173"/>
                </a:cubicBezTo>
                <a:cubicBezTo>
                  <a:pt x="2577" y="1174"/>
                  <a:pt x="2579" y="1174"/>
                  <a:pt x="2580" y="1172"/>
                </a:cubicBezTo>
                <a:cubicBezTo>
                  <a:pt x="2581" y="1172"/>
                  <a:pt x="2581" y="1171"/>
                  <a:pt x="2582" y="1170"/>
                </a:cubicBezTo>
                <a:cubicBezTo>
                  <a:pt x="2584" y="1169"/>
                  <a:pt x="2585" y="1168"/>
                  <a:pt x="2587" y="1166"/>
                </a:cubicBezTo>
                <a:cubicBezTo>
                  <a:pt x="2591" y="1162"/>
                  <a:pt x="2593" y="1156"/>
                  <a:pt x="2595" y="1150"/>
                </a:cubicBezTo>
                <a:cubicBezTo>
                  <a:pt x="2595" y="1150"/>
                  <a:pt x="2594" y="1149"/>
                  <a:pt x="2594" y="1149"/>
                </a:cubicBezTo>
                <a:cubicBezTo>
                  <a:pt x="2593" y="1147"/>
                  <a:pt x="2592" y="1147"/>
                  <a:pt x="2590" y="1146"/>
                </a:cubicBezTo>
                <a:close/>
                <a:moveTo>
                  <a:pt x="2543" y="1152"/>
                </a:moveTo>
                <a:cubicBezTo>
                  <a:pt x="2542" y="1153"/>
                  <a:pt x="2541" y="1154"/>
                  <a:pt x="2540" y="1155"/>
                </a:cubicBezTo>
                <a:cubicBezTo>
                  <a:pt x="2539" y="1155"/>
                  <a:pt x="2539" y="1156"/>
                  <a:pt x="2539" y="1157"/>
                </a:cubicBezTo>
                <a:cubicBezTo>
                  <a:pt x="2539" y="1160"/>
                  <a:pt x="2543" y="1164"/>
                  <a:pt x="2546" y="1164"/>
                </a:cubicBezTo>
                <a:cubicBezTo>
                  <a:pt x="2548" y="1164"/>
                  <a:pt x="2549" y="1163"/>
                  <a:pt x="2548" y="1161"/>
                </a:cubicBezTo>
                <a:cubicBezTo>
                  <a:pt x="2546" y="1158"/>
                  <a:pt x="2545" y="1155"/>
                  <a:pt x="2543" y="1152"/>
                </a:cubicBezTo>
                <a:close/>
                <a:moveTo>
                  <a:pt x="2596" y="1154"/>
                </a:moveTo>
                <a:cubicBezTo>
                  <a:pt x="2594" y="1159"/>
                  <a:pt x="2591" y="1163"/>
                  <a:pt x="2589" y="1168"/>
                </a:cubicBezTo>
                <a:cubicBezTo>
                  <a:pt x="2592" y="1168"/>
                  <a:pt x="2594" y="1168"/>
                  <a:pt x="2597" y="1168"/>
                </a:cubicBezTo>
                <a:cubicBezTo>
                  <a:pt x="2597" y="1168"/>
                  <a:pt x="2598" y="1166"/>
                  <a:pt x="2598" y="1166"/>
                </a:cubicBezTo>
                <a:cubicBezTo>
                  <a:pt x="2598" y="1163"/>
                  <a:pt x="2598" y="1161"/>
                  <a:pt x="2597" y="1159"/>
                </a:cubicBezTo>
                <a:cubicBezTo>
                  <a:pt x="2597" y="1157"/>
                  <a:pt x="2596" y="1156"/>
                  <a:pt x="2596" y="1154"/>
                </a:cubicBezTo>
                <a:close/>
                <a:moveTo>
                  <a:pt x="2543" y="1134"/>
                </a:moveTo>
                <a:cubicBezTo>
                  <a:pt x="2542" y="1134"/>
                  <a:pt x="2542" y="1135"/>
                  <a:pt x="2541" y="1135"/>
                </a:cubicBezTo>
                <a:cubicBezTo>
                  <a:pt x="2540" y="1135"/>
                  <a:pt x="2540" y="1135"/>
                  <a:pt x="2540" y="1134"/>
                </a:cubicBezTo>
                <a:cubicBezTo>
                  <a:pt x="2539" y="1134"/>
                  <a:pt x="2539" y="1133"/>
                  <a:pt x="2539" y="1132"/>
                </a:cubicBezTo>
                <a:cubicBezTo>
                  <a:pt x="2540" y="1130"/>
                  <a:pt x="2540" y="1128"/>
                  <a:pt x="2541" y="1126"/>
                </a:cubicBezTo>
                <a:cubicBezTo>
                  <a:pt x="2540" y="1126"/>
                  <a:pt x="2540" y="1126"/>
                  <a:pt x="2540" y="1126"/>
                </a:cubicBezTo>
                <a:cubicBezTo>
                  <a:pt x="2539" y="1127"/>
                  <a:pt x="2538" y="1128"/>
                  <a:pt x="2537" y="1129"/>
                </a:cubicBezTo>
                <a:cubicBezTo>
                  <a:pt x="2536" y="1130"/>
                  <a:pt x="2538" y="1136"/>
                  <a:pt x="2540" y="1136"/>
                </a:cubicBezTo>
                <a:cubicBezTo>
                  <a:pt x="2541" y="1137"/>
                  <a:pt x="2543" y="1136"/>
                  <a:pt x="2543" y="1134"/>
                </a:cubicBezTo>
                <a:close/>
                <a:moveTo>
                  <a:pt x="2543" y="1152"/>
                </a:moveTo>
                <a:cubicBezTo>
                  <a:pt x="2543" y="1153"/>
                  <a:pt x="2541" y="1153"/>
                  <a:pt x="2540" y="1155"/>
                </a:cubicBezTo>
                <a:cubicBezTo>
                  <a:pt x="2539" y="1155"/>
                  <a:pt x="2539" y="1156"/>
                  <a:pt x="2539" y="1157"/>
                </a:cubicBezTo>
                <a:cubicBezTo>
                  <a:pt x="2539" y="1159"/>
                  <a:pt x="2543" y="1164"/>
                  <a:pt x="2546" y="1163"/>
                </a:cubicBezTo>
                <a:cubicBezTo>
                  <a:pt x="2548" y="1163"/>
                  <a:pt x="2549" y="1162"/>
                  <a:pt x="2548" y="1161"/>
                </a:cubicBezTo>
                <a:cubicBezTo>
                  <a:pt x="2546" y="1157"/>
                  <a:pt x="2545" y="1155"/>
                  <a:pt x="2543" y="1152"/>
                </a:cubicBezTo>
                <a:close/>
                <a:moveTo>
                  <a:pt x="2596" y="1154"/>
                </a:moveTo>
                <a:cubicBezTo>
                  <a:pt x="2594" y="1159"/>
                  <a:pt x="2591" y="1163"/>
                  <a:pt x="2589" y="1168"/>
                </a:cubicBezTo>
                <a:cubicBezTo>
                  <a:pt x="2592" y="1168"/>
                  <a:pt x="2594" y="1168"/>
                  <a:pt x="2597" y="1168"/>
                </a:cubicBezTo>
                <a:cubicBezTo>
                  <a:pt x="2597" y="1168"/>
                  <a:pt x="2598" y="1167"/>
                  <a:pt x="2598" y="1166"/>
                </a:cubicBezTo>
                <a:cubicBezTo>
                  <a:pt x="2598" y="1163"/>
                  <a:pt x="2598" y="1161"/>
                  <a:pt x="2597" y="1159"/>
                </a:cubicBezTo>
                <a:cubicBezTo>
                  <a:pt x="2597" y="1157"/>
                  <a:pt x="2596" y="1156"/>
                  <a:pt x="2596" y="1154"/>
                </a:cubicBezTo>
                <a:close/>
                <a:moveTo>
                  <a:pt x="2543" y="1134"/>
                </a:moveTo>
                <a:cubicBezTo>
                  <a:pt x="2543" y="1134"/>
                  <a:pt x="2542" y="1135"/>
                  <a:pt x="2541" y="1135"/>
                </a:cubicBezTo>
                <a:cubicBezTo>
                  <a:pt x="2541" y="1135"/>
                  <a:pt x="2540" y="1135"/>
                  <a:pt x="2540" y="1134"/>
                </a:cubicBezTo>
                <a:cubicBezTo>
                  <a:pt x="2539" y="1134"/>
                  <a:pt x="2539" y="1133"/>
                  <a:pt x="2539" y="1132"/>
                </a:cubicBezTo>
                <a:cubicBezTo>
                  <a:pt x="2540" y="1130"/>
                  <a:pt x="2540" y="1128"/>
                  <a:pt x="2541" y="1126"/>
                </a:cubicBezTo>
                <a:cubicBezTo>
                  <a:pt x="2541" y="1126"/>
                  <a:pt x="2541" y="1126"/>
                  <a:pt x="2540" y="1126"/>
                </a:cubicBezTo>
                <a:cubicBezTo>
                  <a:pt x="2539" y="1127"/>
                  <a:pt x="2538" y="1128"/>
                  <a:pt x="2537" y="1129"/>
                </a:cubicBezTo>
                <a:cubicBezTo>
                  <a:pt x="2537" y="1130"/>
                  <a:pt x="2538" y="1135"/>
                  <a:pt x="2540" y="1136"/>
                </a:cubicBezTo>
                <a:cubicBezTo>
                  <a:pt x="2541" y="1137"/>
                  <a:pt x="2543" y="1136"/>
                  <a:pt x="2543" y="1134"/>
                </a:cubicBezTo>
                <a:close/>
                <a:moveTo>
                  <a:pt x="2596" y="1126"/>
                </a:moveTo>
                <a:cubicBezTo>
                  <a:pt x="2599" y="1122"/>
                  <a:pt x="2599" y="1122"/>
                  <a:pt x="2603" y="1121"/>
                </a:cubicBezTo>
                <a:cubicBezTo>
                  <a:pt x="2603" y="1123"/>
                  <a:pt x="2604" y="1124"/>
                  <a:pt x="2605" y="1124"/>
                </a:cubicBezTo>
                <a:cubicBezTo>
                  <a:pt x="2603" y="1125"/>
                  <a:pt x="2601" y="1127"/>
                  <a:pt x="2599" y="1128"/>
                </a:cubicBezTo>
                <a:cubicBezTo>
                  <a:pt x="2598" y="1127"/>
                  <a:pt x="2598" y="1126"/>
                  <a:pt x="2597" y="1125"/>
                </a:cubicBezTo>
                <a:cubicBezTo>
                  <a:pt x="2597" y="1125"/>
                  <a:pt x="2596" y="1125"/>
                  <a:pt x="2596" y="1126"/>
                </a:cubicBezTo>
                <a:close/>
                <a:moveTo>
                  <a:pt x="2601" y="1125"/>
                </a:moveTo>
                <a:cubicBezTo>
                  <a:pt x="2601" y="1125"/>
                  <a:pt x="2600" y="1125"/>
                  <a:pt x="2600" y="1125"/>
                </a:cubicBezTo>
                <a:cubicBezTo>
                  <a:pt x="2599" y="1125"/>
                  <a:pt x="2598" y="1125"/>
                  <a:pt x="2598" y="1126"/>
                </a:cubicBezTo>
                <a:cubicBezTo>
                  <a:pt x="2598" y="1126"/>
                  <a:pt x="2599" y="1126"/>
                  <a:pt x="2599" y="1127"/>
                </a:cubicBezTo>
                <a:cubicBezTo>
                  <a:pt x="2600" y="1126"/>
                  <a:pt x="2600" y="1126"/>
                  <a:pt x="2601" y="1125"/>
                </a:cubicBezTo>
                <a:close/>
                <a:moveTo>
                  <a:pt x="2583" y="1116"/>
                </a:moveTo>
                <a:cubicBezTo>
                  <a:pt x="2576" y="1115"/>
                  <a:pt x="2573" y="1117"/>
                  <a:pt x="2572" y="1125"/>
                </a:cubicBezTo>
                <a:cubicBezTo>
                  <a:pt x="2573" y="1123"/>
                  <a:pt x="2575" y="1121"/>
                  <a:pt x="2576" y="1118"/>
                </a:cubicBezTo>
                <a:cubicBezTo>
                  <a:pt x="2576" y="1118"/>
                  <a:pt x="2576" y="1118"/>
                  <a:pt x="2576" y="1118"/>
                </a:cubicBezTo>
                <a:cubicBezTo>
                  <a:pt x="2576" y="1120"/>
                  <a:pt x="2576" y="1120"/>
                  <a:pt x="2576" y="1121"/>
                </a:cubicBezTo>
                <a:cubicBezTo>
                  <a:pt x="2578" y="1118"/>
                  <a:pt x="2579" y="1116"/>
                  <a:pt x="2583" y="1116"/>
                </a:cubicBezTo>
                <a:close/>
                <a:moveTo>
                  <a:pt x="2626" y="1117"/>
                </a:moveTo>
                <a:cubicBezTo>
                  <a:pt x="2624" y="1118"/>
                  <a:pt x="2622" y="1120"/>
                  <a:pt x="2621" y="1121"/>
                </a:cubicBezTo>
                <a:cubicBezTo>
                  <a:pt x="2623" y="1122"/>
                  <a:pt x="2625" y="1120"/>
                  <a:pt x="2626" y="1117"/>
                </a:cubicBezTo>
                <a:close/>
                <a:moveTo>
                  <a:pt x="2593" y="1119"/>
                </a:moveTo>
                <a:cubicBezTo>
                  <a:pt x="2594" y="1118"/>
                  <a:pt x="2595" y="1117"/>
                  <a:pt x="2596" y="1115"/>
                </a:cubicBezTo>
                <a:cubicBezTo>
                  <a:pt x="2593" y="1117"/>
                  <a:pt x="2592" y="1117"/>
                  <a:pt x="2593" y="1119"/>
                </a:cubicBezTo>
                <a:close/>
                <a:moveTo>
                  <a:pt x="2603" y="1141"/>
                </a:moveTo>
                <a:cubicBezTo>
                  <a:pt x="2601" y="1141"/>
                  <a:pt x="2600" y="1142"/>
                  <a:pt x="2600" y="1143"/>
                </a:cubicBezTo>
                <a:cubicBezTo>
                  <a:pt x="2600" y="1142"/>
                  <a:pt x="2602" y="1142"/>
                  <a:pt x="2603" y="1141"/>
                </a:cubicBezTo>
                <a:close/>
                <a:moveTo>
                  <a:pt x="2601" y="1125"/>
                </a:moveTo>
                <a:cubicBezTo>
                  <a:pt x="2601" y="1125"/>
                  <a:pt x="2600" y="1125"/>
                  <a:pt x="2600" y="1125"/>
                </a:cubicBezTo>
                <a:cubicBezTo>
                  <a:pt x="2599" y="1125"/>
                  <a:pt x="2599" y="1125"/>
                  <a:pt x="2599" y="1126"/>
                </a:cubicBezTo>
                <a:cubicBezTo>
                  <a:pt x="2599" y="1126"/>
                  <a:pt x="2599" y="1127"/>
                  <a:pt x="2599" y="1127"/>
                </a:cubicBezTo>
                <a:cubicBezTo>
                  <a:pt x="2600" y="1127"/>
                  <a:pt x="2600" y="1126"/>
                  <a:pt x="2601" y="1125"/>
                </a:cubicBezTo>
                <a:close/>
                <a:moveTo>
                  <a:pt x="3256" y="1103"/>
                </a:moveTo>
                <a:cubicBezTo>
                  <a:pt x="3256" y="1103"/>
                  <a:pt x="3256" y="1103"/>
                  <a:pt x="3256" y="1103"/>
                </a:cubicBezTo>
                <a:cubicBezTo>
                  <a:pt x="3251" y="1103"/>
                  <a:pt x="3251" y="1103"/>
                  <a:pt x="3251" y="1103"/>
                </a:cubicBezTo>
                <a:cubicBezTo>
                  <a:pt x="3248" y="1104"/>
                  <a:pt x="3247" y="1106"/>
                  <a:pt x="3245" y="1107"/>
                </a:cubicBezTo>
                <a:cubicBezTo>
                  <a:pt x="3243" y="1108"/>
                  <a:pt x="3242" y="1109"/>
                  <a:pt x="3239" y="1109"/>
                </a:cubicBezTo>
                <a:cubicBezTo>
                  <a:pt x="3238" y="1111"/>
                  <a:pt x="3236" y="1112"/>
                  <a:pt x="3234" y="1112"/>
                </a:cubicBezTo>
                <a:cubicBezTo>
                  <a:pt x="3232" y="1113"/>
                  <a:pt x="3231" y="1114"/>
                  <a:pt x="3228" y="1114"/>
                </a:cubicBezTo>
                <a:cubicBezTo>
                  <a:pt x="3228" y="1114"/>
                  <a:pt x="3228" y="1114"/>
                  <a:pt x="3228" y="1124"/>
                </a:cubicBezTo>
                <a:cubicBezTo>
                  <a:pt x="3231" y="1123"/>
                  <a:pt x="3234" y="1123"/>
                  <a:pt x="3237" y="1121"/>
                </a:cubicBezTo>
                <a:cubicBezTo>
                  <a:pt x="3239" y="1120"/>
                  <a:pt x="3242" y="1119"/>
                  <a:pt x="3244" y="1117"/>
                </a:cubicBezTo>
                <a:cubicBezTo>
                  <a:pt x="3244" y="1117"/>
                  <a:pt x="3244" y="1117"/>
                  <a:pt x="3244" y="1176"/>
                </a:cubicBezTo>
                <a:cubicBezTo>
                  <a:pt x="3244" y="1176"/>
                  <a:pt x="3244" y="1176"/>
                  <a:pt x="3256" y="1176"/>
                </a:cubicBezTo>
                <a:cubicBezTo>
                  <a:pt x="3256" y="1176"/>
                  <a:pt x="3256" y="1176"/>
                  <a:pt x="3256" y="1103"/>
                </a:cubicBezTo>
                <a:close/>
                <a:moveTo>
                  <a:pt x="3303" y="1103"/>
                </a:moveTo>
                <a:cubicBezTo>
                  <a:pt x="3303" y="1103"/>
                  <a:pt x="3303" y="1103"/>
                  <a:pt x="3303" y="1103"/>
                </a:cubicBezTo>
                <a:cubicBezTo>
                  <a:pt x="3298" y="1103"/>
                  <a:pt x="3298" y="1103"/>
                  <a:pt x="3298" y="1103"/>
                </a:cubicBezTo>
                <a:cubicBezTo>
                  <a:pt x="3296" y="1104"/>
                  <a:pt x="3294" y="1106"/>
                  <a:pt x="3292" y="1107"/>
                </a:cubicBezTo>
                <a:cubicBezTo>
                  <a:pt x="3291" y="1108"/>
                  <a:pt x="3288" y="1109"/>
                  <a:pt x="3287" y="1109"/>
                </a:cubicBezTo>
                <a:cubicBezTo>
                  <a:pt x="3285" y="1111"/>
                  <a:pt x="3283" y="1112"/>
                  <a:pt x="3282" y="1112"/>
                </a:cubicBezTo>
                <a:cubicBezTo>
                  <a:pt x="3280" y="1113"/>
                  <a:pt x="3278" y="1114"/>
                  <a:pt x="3276" y="1114"/>
                </a:cubicBezTo>
                <a:cubicBezTo>
                  <a:pt x="3276" y="1114"/>
                  <a:pt x="3276" y="1114"/>
                  <a:pt x="3276" y="1124"/>
                </a:cubicBezTo>
                <a:cubicBezTo>
                  <a:pt x="3279" y="1123"/>
                  <a:pt x="3282" y="1123"/>
                  <a:pt x="3284" y="1121"/>
                </a:cubicBezTo>
                <a:cubicBezTo>
                  <a:pt x="3287" y="1120"/>
                  <a:pt x="3289" y="1119"/>
                  <a:pt x="3291" y="1117"/>
                </a:cubicBezTo>
                <a:cubicBezTo>
                  <a:pt x="3291" y="1117"/>
                  <a:pt x="3291" y="1117"/>
                  <a:pt x="3291" y="1176"/>
                </a:cubicBezTo>
                <a:cubicBezTo>
                  <a:pt x="3291" y="1176"/>
                  <a:pt x="3291" y="1176"/>
                  <a:pt x="3303" y="1176"/>
                </a:cubicBezTo>
                <a:cubicBezTo>
                  <a:pt x="3303" y="1176"/>
                  <a:pt x="3303" y="1176"/>
                  <a:pt x="3303" y="1103"/>
                </a:cubicBezTo>
                <a:close/>
                <a:moveTo>
                  <a:pt x="3349" y="1103"/>
                </a:moveTo>
                <a:cubicBezTo>
                  <a:pt x="3349" y="1103"/>
                  <a:pt x="3349" y="1103"/>
                  <a:pt x="3349" y="1103"/>
                </a:cubicBezTo>
                <a:cubicBezTo>
                  <a:pt x="3345" y="1103"/>
                  <a:pt x="3345" y="1103"/>
                  <a:pt x="3345" y="1103"/>
                </a:cubicBezTo>
                <a:cubicBezTo>
                  <a:pt x="3343" y="1104"/>
                  <a:pt x="3341" y="1106"/>
                  <a:pt x="3339" y="1107"/>
                </a:cubicBezTo>
                <a:cubicBezTo>
                  <a:pt x="3338" y="1108"/>
                  <a:pt x="3336" y="1109"/>
                  <a:pt x="3334" y="1109"/>
                </a:cubicBezTo>
                <a:cubicBezTo>
                  <a:pt x="3332" y="1110"/>
                  <a:pt x="3331" y="1111"/>
                  <a:pt x="3328" y="1112"/>
                </a:cubicBezTo>
                <a:cubicBezTo>
                  <a:pt x="3327" y="1112"/>
                  <a:pt x="3325" y="1113"/>
                  <a:pt x="3323" y="1114"/>
                </a:cubicBezTo>
                <a:cubicBezTo>
                  <a:pt x="3323" y="1114"/>
                  <a:pt x="3323" y="1114"/>
                  <a:pt x="3323" y="1124"/>
                </a:cubicBezTo>
                <a:cubicBezTo>
                  <a:pt x="3326" y="1123"/>
                  <a:pt x="3329" y="1122"/>
                  <a:pt x="3331" y="1121"/>
                </a:cubicBezTo>
                <a:cubicBezTo>
                  <a:pt x="3333" y="1120"/>
                  <a:pt x="3336" y="1119"/>
                  <a:pt x="3338" y="1117"/>
                </a:cubicBezTo>
                <a:cubicBezTo>
                  <a:pt x="3338" y="1117"/>
                  <a:pt x="3338" y="1117"/>
                  <a:pt x="3338" y="1176"/>
                </a:cubicBezTo>
                <a:cubicBezTo>
                  <a:pt x="3338" y="1176"/>
                  <a:pt x="3338" y="1176"/>
                  <a:pt x="3349" y="1176"/>
                </a:cubicBezTo>
                <a:cubicBezTo>
                  <a:pt x="3349" y="1176"/>
                  <a:pt x="3349" y="1176"/>
                  <a:pt x="3349" y="1103"/>
                </a:cubicBezTo>
                <a:close/>
                <a:moveTo>
                  <a:pt x="1984" y="1102"/>
                </a:moveTo>
                <a:cubicBezTo>
                  <a:pt x="1984" y="1102"/>
                  <a:pt x="1984" y="1102"/>
                  <a:pt x="1984" y="1102"/>
                </a:cubicBezTo>
                <a:cubicBezTo>
                  <a:pt x="1979" y="1102"/>
                  <a:pt x="1979" y="1102"/>
                  <a:pt x="1979" y="1102"/>
                </a:cubicBezTo>
                <a:cubicBezTo>
                  <a:pt x="1977" y="1103"/>
                  <a:pt x="1975" y="1105"/>
                  <a:pt x="1973" y="1106"/>
                </a:cubicBezTo>
                <a:cubicBezTo>
                  <a:pt x="1972" y="1107"/>
                  <a:pt x="1970" y="1108"/>
                  <a:pt x="1968" y="1109"/>
                </a:cubicBezTo>
                <a:cubicBezTo>
                  <a:pt x="1967" y="1110"/>
                  <a:pt x="1965" y="1111"/>
                  <a:pt x="1963" y="1111"/>
                </a:cubicBezTo>
                <a:cubicBezTo>
                  <a:pt x="1961" y="1112"/>
                  <a:pt x="1959" y="1113"/>
                  <a:pt x="1957" y="1113"/>
                </a:cubicBezTo>
                <a:cubicBezTo>
                  <a:pt x="1957" y="1113"/>
                  <a:pt x="1957" y="1113"/>
                  <a:pt x="1957" y="1123"/>
                </a:cubicBezTo>
                <a:cubicBezTo>
                  <a:pt x="1960" y="1122"/>
                  <a:pt x="1963" y="1122"/>
                  <a:pt x="1965" y="1120"/>
                </a:cubicBezTo>
                <a:cubicBezTo>
                  <a:pt x="1968" y="1119"/>
                  <a:pt x="1970" y="1118"/>
                  <a:pt x="1973" y="1117"/>
                </a:cubicBezTo>
                <a:cubicBezTo>
                  <a:pt x="1973" y="1117"/>
                  <a:pt x="1973" y="1117"/>
                  <a:pt x="1973" y="1175"/>
                </a:cubicBezTo>
                <a:cubicBezTo>
                  <a:pt x="1973" y="1175"/>
                  <a:pt x="1973" y="1175"/>
                  <a:pt x="1984" y="1175"/>
                </a:cubicBezTo>
                <a:cubicBezTo>
                  <a:pt x="1984" y="1175"/>
                  <a:pt x="1984" y="1175"/>
                  <a:pt x="1984" y="1102"/>
                </a:cubicBezTo>
                <a:close/>
                <a:moveTo>
                  <a:pt x="1582" y="1104"/>
                </a:moveTo>
                <a:cubicBezTo>
                  <a:pt x="1582" y="1104"/>
                  <a:pt x="1582" y="1104"/>
                  <a:pt x="1582" y="1104"/>
                </a:cubicBezTo>
                <a:cubicBezTo>
                  <a:pt x="1577" y="1104"/>
                  <a:pt x="1577" y="1104"/>
                  <a:pt x="1577" y="1104"/>
                </a:cubicBezTo>
                <a:cubicBezTo>
                  <a:pt x="1575" y="1105"/>
                  <a:pt x="1574" y="1107"/>
                  <a:pt x="1571" y="1108"/>
                </a:cubicBezTo>
                <a:cubicBezTo>
                  <a:pt x="1570" y="1109"/>
                  <a:pt x="1568" y="1110"/>
                  <a:pt x="1566" y="1110"/>
                </a:cubicBezTo>
                <a:cubicBezTo>
                  <a:pt x="1564" y="1111"/>
                  <a:pt x="1562" y="1112"/>
                  <a:pt x="1561" y="1113"/>
                </a:cubicBezTo>
                <a:cubicBezTo>
                  <a:pt x="1559" y="1113"/>
                  <a:pt x="1557" y="1114"/>
                  <a:pt x="1555" y="1115"/>
                </a:cubicBezTo>
                <a:cubicBezTo>
                  <a:pt x="1555" y="1115"/>
                  <a:pt x="1555" y="1115"/>
                  <a:pt x="1555" y="1125"/>
                </a:cubicBezTo>
                <a:cubicBezTo>
                  <a:pt x="1558" y="1124"/>
                  <a:pt x="1561" y="1123"/>
                  <a:pt x="1563" y="1122"/>
                </a:cubicBezTo>
                <a:cubicBezTo>
                  <a:pt x="1566" y="1121"/>
                  <a:pt x="1568" y="1120"/>
                  <a:pt x="1571" y="1118"/>
                </a:cubicBezTo>
                <a:cubicBezTo>
                  <a:pt x="1571" y="1118"/>
                  <a:pt x="1571" y="1118"/>
                  <a:pt x="1571" y="1177"/>
                </a:cubicBezTo>
                <a:cubicBezTo>
                  <a:pt x="1571" y="1177"/>
                  <a:pt x="1571" y="1177"/>
                  <a:pt x="1582" y="1177"/>
                </a:cubicBezTo>
                <a:cubicBezTo>
                  <a:pt x="1582" y="1177"/>
                  <a:pt x="1582" y="1177"/>
                  <a:pt x="1582" y="1104"/>
                </a:cubicBezTo>
                <a:close/>
                <a:moveTo>
                  <a:pt x="1680" y="1177"/>
                </a:moveTo>
                <a:cubicBezTo>
                  <a:pt x="1673" y="1177"/>
                  <a:pt x="1667" y="1174"/>
                  <a:pt x="1662" y="1169"/>
                </a:cubicBezTo>
                <a:cubicBezTo>
                  <a:pt x="1659" y="1162"/>
                  <a:pt x="1656" y="1153"/>
                  <a:pt x="1656" y="1141"/>
                </a:cubicBezTo>
                <a:cubicBezTo>
                  <a:pt x="1656" y="1128"/>
                  <a:pt x="1659" y="1118"/>
                  <a:pt x="1663" y="1112"/>
                </a:cubicBezTo>
                <a:cubicBezTo>
                  <a:pt x="1667" y="1105"/>
                  <a:pt x="1674" y="1101"/>
                  <a:pt x="1683" y="1101"/>
                </a:cubicBezTo>
                <a:cubicBezTo>
                  <a:pt x="1699" y="1101"/>
                  <a:pt x="1707" y="1114"/>
                  <a:pt x="1707" y="1139"/>
                </a:cubicBezTo>
                <a:cubicBezTo>
                  <a:pt x="1707" y="1152"/>
                  <a:pt x="1705" y="1161"/>
                  <a:pt x="1699" y="1168"/>
                </a:cubicBezTo>
                <a:cubicBezTo>
                  <a:pt x="1695" y="1174"/>
                  <a:pt x="1688" y="1177"/>
                  <a:pt x="1680" y="1177"/>
                </a:cubicBezTo>
                <a:close/>
                <a:moveTo>
                  <a:pt x="1682" y="1111"/>
                </a:moveTo>
                <a:cubicBezTo>
                  <a:pt x="1672" y="1111"/>
                  <a:pt x="1668" y="1121"/>
                  <a:pt x="1668" y="1141"/>
                </a:cubicBezTo>
                <a:cubicBezTo>
                  <a:pt x="1668" y="1159"/>
                  <a:pt x="1672" y="1168"/>
                  <a:pt x="1681" y="1168"/>
                </a:cubicBezTo>
                <a:cubicBezTo>
                  <a:pt x="1690" y="1168"/>
                  <a:pt x="1694" y="1159"/>
                  <a:pt x="1694" y="1140"/>
                </a:cubicBezTo>
                <a:cubicBezTo>
                  <a:pt x="1694" y="1120"/>
                  <a:pt x="1690" y="1111"/>
                  <a:pt x="1682" y="1111"/>
                </a:cubicBezTo>
                <a:close/>
                <a:moveTo>
                  <a:pt x="1754" y="1104"/>
                </a:moveTo>
                <a:cubicBezTo>
                  <a:pt x="1754" y="1104"/>
                  <a:pt x="1754" y="1104"/>
                  <a:pt x="1754" y="1104"/>
                </a:cubicBezTo>
                <a:cubicBezTo>
                  <a:pt x="1749" y="1104"/>
                  <a:pt x="1749" y="1104"/>
                  <a:pt x="1749" y="1104"/>
                </a:cubicBezTo>
                <a:cubicBezTo>
                  <a:pt x="1747" y="1105"/>
                  <a:pt x="1746" y="1107"/>
                  <a:pt x="1743" y="1108"/>
                </a:cubicBezTo>
                <a:cubicBezTo>
                  <a:pt x="1742" y="1109"/>
                  <a:pt x="1740" y="1110"/>
                  <a:pt x="1738" y="1110"/>
                </a:cubicBezTo>
                <a:cubicBezTo>
                  <a:pt x="1736" y="1111"/>
                  <a:pt x="1735" y="1112"/>
                  <a:pt x="1733" y="1113"/>
                </a:cubicBezTo>
                <a:cubicBezTo>
                  <a:pt x="1731" y="1113"/>
                  <a:pt x="1730" y="1114"/>
                  <a:pt x="1727" y="1115"/>
                </a:cubicBezTo>
                <a:cubicBezTo>
                  <a:pt x="1727" y="1115"/>
                  <a:pt x="1727" y="1115"/>
                  <a:pt x="1727" y="1125"/>
                </a:cubicBezTo>
                <a:cubicBezTo>
                  <a:pt x="1730" y="1124"/>
                  <a:pt x="1733" y="1123"/>
                  <a:pt x="1735" y="1122"/>
                </a:cubicBezTo>
                <a:cubicBezTo>
                  <a:pt x="1738" y="1121"/>
                  <a:pt x="1740" y="1120"/>
                  <a:pt x="1743" y="1118"/>
                </a:cubicBezTo>
                <a:cubicBezTo>
                  <a:pt x="1743" y="1118"/>
                  <a:pt x="1743" y="1118"/>
                  <a:pt x="1743" y="1177"/>
                </a:cubicBezTo>
                <a:cubicBezTo>
                  <a:pt x="1743" y="1177"/>
                  <a:pt x="1743" y="1177"/>
                  <a:pt x="1754" y="1177"/>
                </a:cubicBezTo>
                <a:cubicBezTo>
                  <a:pt x="1754" y="1177"/>
                  <a:pt x="1754" y="1177"/>
                  <a:pt x="1754" y="1104"/>
                </a:cubicBezTo>
                <a:close/>
                <a:moveTo>
                  <a:pt x="1628" y="1103"/>
                </a:moveTo>
                <a:cubicBezTo>
                  <a:pt x="1628" y="1103"/>
                  <a:pt x="1628" y="1103"/>
                  <a:pt x="1628" y="1103"/>
                </a:cubicBezTo>
                <a:cubicBezTo>
                  <a:pt x="1623" y="1103"/>
                  <a:pt x="1623" y="1103"/>
                  <a:pt x="1623" y="1103"/>
                </a:cubicBezTo>
                <a:cubicBezTo>
                  <a:pt x="1621" y="1104"/>
                  <a:pt x="1620" y="1106"/>
                  <a:pt x="1618" y="1107"/>
                </a:cubicBezTo>
                <a:cubicBezTo>
                  <a:pt x="1616" y="1108"/>
                  <a:pt x="1614" y="1109"/>
                  <a:pt x="1613" y="1109"/>
                </a:cubicBezTo>
                <a:cubicBezTo>
                  <a:pt x="1611" y="1111"/>
                  <a:pt x="1609" y="1112"/>
                  <a:pt x="1607" y="1112"/>
                </a:cubicBezTo>
                <a:cubicBezTo>
                  <a:pt x="1605" y="1113"/>
                  <a:pt x="1604" y="1114"/>
                  <a:pt x="1602" y="1114"/>
                </a:cubicBezTo>
                <a:cubicBezTo>
                  <a:pt x="1602" y="1114"/>
                  <a:pt x="1602" y="1114"/>
                  <a:pt x="1602" y="1124"/>
                </a:cubicBezTo>
                <a:cubicBezTo>
                  <a:pt x="1605" y="1123"/>
                  <a:pt x="1607" y="1123"/>
                  <a:pt x="1610" y="1121"/>
                </a:cubicBezTo>
                <a:cubicBezTo>
                  <a:pt x="1613" y="1120"/>
                  <a:pt x="1615" y="1119"/>
                  <a:pt x="1617" y="1117"/>
                </a:cubicBezTo>
                <a:cubicBezTo>
                  <a:pt x="1617" y="1117"/>
                  <a:pt x="1617" y="1117"/>
                  <a:pt x="1617" y="1176"/>
                </a:cubicBezTo>
                <a:cubicBezTo>
                  <a:pt x="1617" y="1176"/>
                  <a:pt x="1617" y="1176"/>
                  <a:pt x="1628" y="1176"/>
                </a:cubicBezTo>
                <a:cubicBezTo>
                  <a:pt x="1628" y="1176"/>
                  <a:pt x="1628" y="1176"/>
                  <a:pt x="1628" y="1103"/>
                </a:cubicBezTo>
                <a:close/>
                <a:moveTo>
                  <a:pt x="3370" y="1137"/>
                </a:moveTo>
                <a:cubicBezTo>
                  <a:pt x="3370" y="1137"/>
                  <a:pt x="3370" y="1137"/>
                  <a:pt x="3370" y="1137"/>
                </a:cubicBezTo>
                <a:cubicBezTo>
                  <a:pt x="3369" y="1145"/>
                  <a:pt x="3369" y="1145"/>
                  <a:pt x="3369" y="1145"/>
                </a:cubicBezTo>
                <a:cubicBezTo>
                  <a:pt x="3376" y="1146"/>
                  <a:pt x="3377" y="1149"/>
                  <a:pt x="3377" y="1151"/>
                </a:cubicBezTo>
                <a:cubicBezTo>
                  <a:pt x="3377" y="1154"/>
                  <a:pt x="3376" y="1156"/>
                  <a:pt x="3376" y="1158"/>
                </a:cubicBezTo>
                <a:cubicBezTo>
                  <a:pt x="3376" y="1161"/>
                  <a:pt x="3375" y="1163"/>
                  <a:pt x="3375" y="1166"/>
                </a:cubicBezTo>
                <a:cubicBezTo>
                  <a:pt x="3375" y="1175"/>
                  <a:pt x="3382" y="1178"/>
                  <a:pt x="3390" y="1178"/>
                </a:cubicBezTo>
                <a:cubicBezTo>
                  <a:pt x="3390" y="1178"/>
                  <a:pt x="3390" y="1178"/>
                  <a:pt x="3394" y="1178"/>
                </a:cubicBezTo>
                <a:cubicBezTo>
                  <a:pt x="3394" y="1178"/>
                  <a:pt x="3394" y="1178"/>
                  <a:pt x="3394" y="1169"/>
                </a:cubicBezTo>
                <a:cubicBezTo>
                  <a:pt x="3394" y="1169"/>
                  <a:pt x="3394" y="1169"/>
                  <a:pt x="3392" y="1169"/>
                </a:cubicBezTo>
                <a:cubicBezTo>
                  <a:pt x="3389" y="1169"/>
                  <a:pt x="3388" y="1167"/>
                  <a:pt x="3388" y="1163"/>
                </a:cubicBezTo>
                <a:cubicBezTo>
                  <a:pt x="3388" y="1162"/>
                  <a:pt x="3388" y="1160"/>
                  <a:pt x="3388" y="1158"/>
                </a:cubicBezTo>
                <a:cubicBezTo>
                  <a:pt x="3388" y="1157"/>
                  <a:pt x="3388" y="1155"/>
                  <a:pt x="3388" y="1152"/>
                </a:cubicBezTo>
                <a:cubicBezTo>
                  <a:pt x="3388" y="1145"/>
                  <a:pt x="3385" y="1142"/>
                  <a:pt x="3380" y="1141"/>
                </a:cubicBezTo>
                <a:cubicBezTo>
                  <a:pt x="3380" y="1141"/>
                  <a:pt x="3380" y="1141"/>
                  <a:pt x="3380" y="1141"/>
                </a:cubicBezTo>
                <a:cubicBezTo>
                  <a:pt x="3385" y="1140"/>
                  <a:pt x="3388" y="1138"/>
                  <a:pt x="3388" y="1130"/>
                </a:cubicBezTo>
                <a:cubicBezTo>
                  <a:pt x="3388" y="1127"/>
                  <a:pt x="3388" y="1126"/>
                  <a:pt x="3388" y="1124"/>
                </a:cubicBezTo>
                <a:cubicBezTo>
                  <a:pt x="3388" y="1122"/>
                  <a:pt x="3388" y="1120"/>
                  <a:pt x="3388" y="1119"/>
                </a:cubicBezTo>
                <a:cubicBezTo>
                  <a:pt x="3388" y="1115"/>
                  <a:pt x="3389" y="1113"/>
                  <a:pt x="3392" y="1113"/>
                </a:cubicBezTo>
                <a:cubicBezTo>
                  <a:pt x="3392" y="1113"/>
                  <a:pt x="3392" y="1113"/>
                  <a:pt x="3394" y="1113"/>
                </a:cubicBezTo>
                <a:cubicBezTo>
                  <a:pt x="3394" y="1113"/>
                  <a:pt x="3394" y="1113"/>
                  <a:pt x="3394" y="1104"/>
                </a:cubicBezTo>
                <a:cubicBezTo>
                  <a:pt x="3394" y="1104"/>
                  <a:pt x="3394" y="1104"/>
                  <a:pt x="3390" y="1104"/>
                </a:cubicBezTo>
                <a:cubicBezTo>
                  <a:pt x="3381" y="1104"/>
                  <a:pt x="3375" y="1108"/>
                  <a:pt x="3375" y="1117"/>
                </a:cubicBezTo>
                <a:cubicBezTo>
                  <a:pt x="3375" y="1119"/>
                  <a:pt x="3376" y="1121"/>
                  <a:pt x="3376" y="1124"/>
                </a:cubicBezTo>
                <a:cubicBezTo>
                  <a:pt x="3376" y="1126"/>
                  <a:pt x="3377" y="1129"/>
                  <a:pt x="3377" y="1131"/>
                </a:cubicBezTo>
                <a:cubicBezTo>
                  <a:pt x="3377" y="1133"/>
                  <a:pt x="3376" y="1137"/>
                  <a:pt x="3370" y="1137"/>
                </a:cubicBezTo>
                <a:close/>
                <a:moveTo>
                  <a:pt x="3425" y="1145"/>
                </a:moveTo>
                <a:cubicBezTo>
                  <a:pt x="3425" y="1145"/>
                  <a:pt x="3425" y="1145"/>
                  <a:pt x="3425" y="1145"/>
                </a:cubicBezTo>
                <a:cubicBezTo>
                  <a:pt x="3425" y="1137"/>
                  <a:pt x="3425" y="1137"/>
                  <a:pt x="3425" y="1137"/>
                </a:cubicBezTo>
                <a:cubicBezTo>
                  <a:pt x="3418" y="1137"/>
                  <a:pt x="3418" y="1133"/>
                  <a:pt x="3418" y="1131"/>
                </a:cubicBezTo>
                <a:cubicBezTo>
                  <a:pt x="3418" y="1129"/>
                  <a:pt x="3418" y="1126"/>
                  <a:pt x="3418" y="1124"/>
                </a:cubicBezTo>
                <a:cubicBezTo>
                  <a:pt x="3419" y="1121"/>
                  <a:pt x="3419" y="1119"/>
                  <a:pt x="3419" y="1117"/>
                </a:cubicBezTo>
                <a:cubicBezTo>
                  <a:pt x="3419" y="1108"/>
                  <a:pt x="3414" y="1104"/>
                  <a:pt x="3404" y="1104"/>
                </a:cubicBezTo>
                <a:cubicBezTo>
                  <a:pt x="3404" y="1104"/>
                  <a:pt x="3404" y="1104"/>
                  <a:pt x="3401" y="1104"/>
                </a:cubicBezTo>
                <a:cubicBezTo>
                  <a:pt x="3401" y="1104"/>
                  <a:pt x="3401" y="1104"/>
                  <a:pt x="3401" y="1113"/>
                </a:cubicBezTo>
                <a:cubicBezTo>
                  <a:pt x="3401" y="1113"/>
                  <a:pt x="3401" y="1113"/>
                  <a:pt x="3402" y="1113"/>
                </a:cubicBezTo>
                <a:cubicBezTo>
                  <a:pt x="3406" y="1113"/>
                  <a:pt x="3407" y="1115"/>
                  <a:pt x="3407" y="1119"/>
                </a:cubicBezTo>
                <a:cubicBezTo>
                  <a:pt x="3407" y="1120"/>
                  <a:pt x="3407" y="1122"/>
                  <a:pt x="3407" y="1124"/>
                </a:cubicBezTo>
                <a:cubicBezTo>
                  <a:pt x="3407" y="1126"/>
                  <a:pt x="3407" y="1127"/>
                  <a:pt x="3407" y="1130"/>
                </a:cubicBezTo>
                <a:cubicBezTo>
                  <a:pt x="3407" y="1138"/>
                  <a:pt x="3409" y="1140"/>
                  <a:pt x="3415" y="1141"/>
                </a:cubicBezTo>
                <a:cubicBezTo>
                  <a:pt x="3415" y="1141"/>
                  <a:pt x="3415" y="1141"/>
                  <a:pt x="3415" y="1141"/>
                </a:cubicBezTo>
                <a:cubicBezTo>
                  <a:pt x="3409" y="1142"/>
                  <a:pt x="3407" y="1145"/>
                  <a:pt x="3407" y="1152"/>
                </a:cubicBezTo>
                <a:cubicBezTo>
                  <a:pt x="3407" y="1155"/>
                  <a:pt x="3407" y="1157"/>
                  <a:pt x="3407" y="1158"/>
                </a:cubicBezTo>
                <a:cubicBezTo>
                  <a:pt x="3407" y="1160"/>
                  <a:pt x="3407" y="1162"/>
                  <a:pt x="3407" y="1163"/>
                </a:cubicBezTo>
                <a:cubicBezTo>
                  <a:pt x="3407" y="1167"/>
                  <a:pt x="3406" y="1169"/>
                  <a:pt x="3402" y="1169"/>
                </a:cubicBezTo>
                <a:cubicBezTo>
                  <a:pt x="3402" y="1169"/>
                  <a:pt x="3402" y="1169"/>
                  <a:pt x="3401" y="1169"/>
                </a:cubicBezTo>
                <a:cubicBezTo>
                  <a:pt x="3401" y="1169"/>
                  <a:pt x="3401" y="1169"/>
                  <a:pt x="3401" y="1178"/>
                </a:cubicBezTo>
                <a:cubicBezTo>
                  <a:pt x="3401" y="1178"/>
                  <a:pt x="3401" y="1178"/>
                  <a:pt x="3404" y="1178"/>
                </a:cubicBezTo>
                <a:cubicBezTo>
                  <a:pt x="3413" y="1178"/>
                  <a:pt x="3419" y="1175"/>
                  <a:pt x="3419" y="1166"/>
                </a:cubicBezTo>
                <a:cubicBezTo>
                  <a:pt x="3419" y="1163"/>
                  <a:pt x="3419" y="1161"/>
                  <a:pt x="3418" y="1158"/>
                </a:cubicBezTo>
                <a:cubicBezTo>
                  <a:pt x="3418" y="1156"/>
                  <a:pt x="3418" y="1154"/>
                  <a:pt x="3418" y="1151"/>
                </a:cubicBezTo>
                <a:cubicBezTo>
                  <a:pt x="3418" y="1149"/>
                  <a:pt x="3418" y="1146"/>
                  <a:pt x="3425" y="1145"/>
                </a:cubicBezTo>
                <a:close/>
                <a:moveTo>
                  <a:pt x="3472" y="1105"/>
                </a:moveTo>
                <a:cubicBezTo>
                  <a:pt x="3472" y="1105"/>
                  <a:pt x="3472" y="1105"/>
                  <a:pt x="3472" y="1105"/>
                </a:cubicBezTo>
                <a:cubicBezTo>
                  <a:pt x="3467" y="1105"/>
                  <a:pt x="3467" y="1105"/>
                  <a:pt x="3467" y="1105"/>
                </a:cubicBezTo>
                <a:cubicBezTo>
                  <a:pt x="3464" y="1106"/>
                  <a:pt x="3463" y="1108"/>
                  <a:pt x="3461" y="1108"/>
                </a:cubicBezTo>
                <a:cubicBezTo>
                  <a:pt x="3459" y="1110"/>
                  <a:pt x="3457" y="1111"/>
                  <a:pt x="3455" y="1111"/>
                </a:cubicBezTo>
                <a:cubicBezTo>
                  <a:pt x="3453" y="1112"/>
                  <a:pt x="3452" y="1113"/>
                  <a:pt x="3450" y="1114"/>
                </a:cubicBezTo>
                <a:cubicBezTo>
                  <a:pt x="3448" y="1114"/>
                  <a:pt x="3447" y="1115"/>
                  <a:pt x="3444" y="1116"/>
                </a:cubicBezTo>
                <a:cubicBezTo>
                  <a:pt x="3444" y="1116"/>
                  <a:pt x="3444" y="1116"/>
                  <a:pt x="3444" y="1126"/>
                </a:cubicBezTo>
                <a:cubicBezTo>
                  <a:pt x="3447" y="1125"/>
                  <a:pt x="3450" y="1124"/>
                  <a:pt x="3452" y="1123"/>
                </a:cubicBezTo>
                <a:cubicBezTo>
                  <a:pt x="3455" y="1122"/>
                  <a:pt x="3458" y="1121"/>
                  <a:pt x="3460" y="1119"/>
                </a:cubicBezTo>
                <a:cubicBezTo>
                  <a:pt x="3460" y="1119"/>
                  <a:pt x="3460" y="1119"/>
                  <a:pt x="3460" y="1178"/>
                </a:cubicBezTo>
                <a:cubicBezTo>
                  <a:pt x="3460" y="1178"/>
                  <a:pt x="3460" y="1178"/>
                  <a:pt x="3472" y="1178"/>
                </a:cubicBezTo>
                <a:cubicBezTo>
                  <a:pt x="3472" y="1178"/>
                  <a:pt x="3472" y="1178"/>
                  <a:pt x="3472" y="1105"/>
                </a:cubicBezTo>
                <a:close/>
                <a:moveTo>
                  <a:pt x="3518" y="1105"/>
                </a:moveTo>
                <a:cubicBezTo>
                  <a:pt x="3518" y="1105"/>
                  <a:pt x="3518" y="1105"/>
                  <a:pt x="3518" y="1105"/>
                </a:cubicBezTo>
                <a:cubicBezTo>
                  <a:pt x="3513" y="1105"/>
                  <a:pt x="3513" y="1105"/>
                  <a:pt x="3513" y="1105"/>
                </a:cubicBezTo>
                <a:cubicBezTo>
                  <a:pt x="3511" y="1106"/>
                  <a:pt x="3509" y="1108"/>
                  <a:pt x="3507" y="1108"/>
                </a:cubicBezTo>
                <a:cubicBezTo>
                  <a:pt x="3506" y="1110"/>
                  <a:pt x="3504" y="1111"/>
                  <a:pt x="3502" y="1111"/>
                </a:cubicBezTo>
                <a:cubicBezTo>
                  <a:pt x="3501" y="1113"/>
                  <a:pt x="3499" y="1114"/>
                  <a:pt x="3497" y="1114"/>
                </a:cubicBezTo>
                <a:cubicBezTo>
                  <a:pt x="3495" y="1115"/>
                  <a:pt x="3494" y="1116"/>
                  <a:pt x="3491" y="1116"/>
                </a:cubicBezTo>
                <a:cubicBezTo>
                  <a:pt x="3491" y="1116"/>
                  <a:pt x="3491" y="1116"/>
                  <a:pt x="3491" y="1126"/>
                </a:cubicBezTo>
                <a:cubicBezTo>
                  <a:pt x="3494" y="1125"/>
                  <a:pt x="3497" y="1124"/>
                  <a:pt x="3499" y="1123"/>
                </a:cubicBezTo>
                <a:cubicBezTo>
                  <a:pt x="3502" y="1122"/>
                  <a:pt x="3504" y="1121"/>
                  <a:pt x="3506" y="1119"/>
                </a:cubicBezTo>
                <a:cubicBezTo>
                  <a:pt x="3506" y="1119"/>
                  <a:pt x="3506" y="1119"/>
                  <a:pt x="3506" y="1178"/>
                </a:cubicBezTo>
                <a:cubicBezTo>
                  <a:pt x="3506" y="1178"/>
                  <a:pt x="3506" y="1178"/>
                  <a:pt x="3518" y="1178"/>
                </a:cubicBezTo>
                <a:cubicBezTo>
                  <a:pt x="3518" y="1178"/>
                  <a:pt x="3518" y="1178"/>
                  <a:pt x="3518" y="1105"/>
                </a:cubicBezTo>
                <a:close/>
                <a:moveTo>
                  <a:pt x="3564" y="1105"/>
                </a:moveTo>
                <a:cubicBezTo>
                  <a:pt x="3564" y="1105"/>
                  <a:pt x="3564" y="1105"/>
                  <a:pt x="3564" y="1105"/>
                </a:cubicBezTo>
                <a:cubicBezTo>
                  <a:pt x="3560" y="1105"/>
                  <a:pt x="3560" y="1105"/>
                  <a:pt x="3560" y="1105"/>
                </a:cubicBezTo>
                <a:cubicBezTo>
                  <a:pt x="3557" y="1106"/>
                  <a:pt x="3556" y="1108"/>
                  <a:pt x="3554" y="1108"/>
                </a:cubicBezTo>
                <a:cubicBezTo>
                  <a:pt x="3552" y="1110"/>
                  <a:pt x="3550" y="1111"/>
                  <a:pt x="3549" y="1111"/>
                </a:cubicBezTo>
                <a:cubicBezTo>
                  <a:pt x="3547" y="1113"/>
                  <a:pt x="3545" y="1114"/>
                  <a:pt x="3543" y="1114"/>
                </a:cubicBezTo>
                <a:cubicBezTo>
                  <a:pt x="3542" y="1115"/>
                  <a:pt x="3539" y="1116"/>
                  <a:pt x="3538" y="1116"/>
                </a:cubicBezTo>
                <a:cubicBezTo>
                  <a:pt x="3538" y="1116"/>
                  <a:pt x="3538" y="1116"/>
                  <a:pt x="3538" y="1126"/>
                </a:cubicBezTo>
                <a:cubicBezTo>
                  <a:pt x="3541" y="1125"/>
                  <a:pt x="3544" y="1124"/>
                  <a:pt x="3546" y="1123"/>
                </a:cubicBezTo>
                <a:cubicBezTo>
                  <a:pt x="3548" y="1122"/>
                  <a:pt x="3551" y="1121"/>
                  <a:pt x="3552" y="1119"/>
                </a:cubicBezTo>
                <a:cubicBezTo>
                  <a:pt x="3552" y="1119"/>
                  <a:pt x="3552" y="1119"/>
                  <a:pt x="3552" y="1178"/>
                </a:cubicBezTo>
                <a:cubicBezTo>
                  <a:pt x="3552" y="1178"/>
                  <a:pt x="3552" y="1178"/>
                  <a:pt x="3564" y="1178"/>
                </a:cubicBezTo>
                <a:cubicBezTo>
                  <a:pt x="3564" y="1178"/>
                  <a:pt x="3564" y="1178"/>
                  <a:pt x="3564" y="1105"/>
                </a:cubicBezTo>
                <a:close/>
                <a:moveTo>
                  <a:pt x="3609" y="1105"/>
                </a:moveTo>
                <a:cubicBezTo>
                  <a:pt x="3609" y="1105"/>
                  <a:pt x="3609" y="1105"/>
                  <a:pt x="3609" y="1105"/>
                </a:cubicBezTo>
                <a:cubicBezTo>
                  <a:pt x="3605" y="1105"/>
                  <a:pt x="3605" y="1105"/>
                  <a:pt x="3605" y="1105"/>
                </a:cubicBezTo>
                <a:cubicBezTo>
                  <a:pt x="3603" y="1106"/>
                  <a:pt x="3602" y="1108"/>
                  <a:pt x="3599" y="1108"/>
                </a:cubicBezTo>
                <a:cubicBezTo>
                  <a:pt x="3598" y="1110"/>
                  <a:pt x="3596" y="1111"/>
                  <a:pt x="3594" y="1111"/>
                </a:cubicBezTo>
                <a:cubicBezTo>
                  <a:pt x="3592" y="1113"/>
                  <a:pt x="3591" y="1114"/>
                  <a:pt x="3589" y="1114"/>
                </a:cubicBezTo>
                <a:cubicBezTo>
                  <a:pt x="3587" y="1115"/>
                  <a:pt x="3585" y="1116"/>
                  <a:pt x="3584" y="1116"/>
                </a:cubicBezTo>
                <a:cubicBezTo>
                  <a:pt x="3584" y="1116"/>
                  <a:pt x="3584" y="1116"/>
                  <a:pt x="3584" y="1126"/>
                </a:cubicBezTo>
                <a:cubicBezTo>
                  <a:pt x="3586" y="1125"/>
                  <a:pt x="3589" y="1124"/>
                  <a:pt x="3591" y="1123"/>
                </a:cubicBezTo>
                <a:cubicBezTo>
                  <a:pt x="3594" y="1122"/>
                  <a:pt x="3596" y="1121"/>
                  <a:pt x="3598" y="1119"/>
                </a:cubicBezTo>
                <a:cubicBezTo>
                  <a:pt x="3598" y="1119"/>
                  <a:pt x="3598" y="1119"/>
                  <a:pt x="3598" y="1178"/>
                </a:cubicBezTo>
                <a:cubicBezTo>
                  <a:pt x="3598" y="1178"/>
                  <a:pt x="3598" y="1178"/>
                  <a:pt x="3609" y="1178"/>
                </a:cubicBezTo>
                <a:cubicBezTo>
                  <a:pt x="3609" y="1178"/>
                  <a:pt x="3609" y="1178"/>
                  <a:pt x="3609" y="1105"/>
                </a:cubicBezTo>
                <a:close/>
                <a:moveTo>
                  <a:pt x="3630" y="1137"/>
                </a:moveTo>
                <a:cubicBezTo>
                  <a:pt x="3630" y="1137"/>
                  <a:pt x="3630" y="1137"/>
                  <a:pt x="3630" y="1137"/>
                </a:cubicBezTo>
                <a:cubicBezTo>
                  <a:pt x="3630" y="1145"/>
                  <a:pt x="3630" y="1145"/>
                  <a:pt x="3630" y="1145"/>
                </a:cubicBezTo>
                <a:cubicBezTo>
                  <a:pt x="3636" y="1146"/>
                  <a:pt x="3637" y="1149"/>
                  <a:pt x="3637" y="1151"/>
                </a:cubicBezTo>
                <a:cubicBezTo>
                  <a:pt x="3637" y="1154"/>
                  <a:pt x="3636" y="1156"/>
                  <a:pt x="3636" y="1158"/>
                </a:cubicBezTo>
                <a:cubicBezTo>
                  <a:pt x="3636" y="1161"/>
                  <a:pt x="3636" y="1163"/>
                  <a:pt x="3636" y="1166"/>
                </a:cubicBezTo>
                <a:cubicBezTo>
                  <a:pt x="3636" y="1175"/>
                  <a:pt x="3641" y="1178"/>
                  <a:pt x="3650" y="1178"/>
                </a:cubicBezTo>
                <a:cubicBezTo>
                  <a:pt x="3650" y="1178"/>
                  <a:pt x="3650" y="1178"/>
                  <a:pt x="3654" y="1178"/>
                </a:cubicBezTo>
                <a:cubicBezTo>
                  <a:pt x="3654" y="1178"/>
                  <a:pt x="3654" y="1178"/>
                  <a:pt x="3654" y="1169"/>
                </a:cubicBezTo>
                <a:cubicBezTo>
                  <a:pt x="3654" y="1169"/>
                  <a:pt x="3654" y="1169"/>
                  <a:pt x="3652" y="1169"/>
                </a:cubicBezTo>
                <a:cubicBezTo>
                  <a:pt x="3648" y="1169"/>
                  <a:pt x="3647" y="1167"/>
                  <a:pt x="3647" y="1163"/>
                </a:cubicBezTo>
                <a:cubicBezTo>
                  <a:pt x="3647" y="1162"/>
                  <a:pt x="3647" y="1160"/>
                  <a:pt x="3648" y="1158"/>
                </a:cubicBezTo>
                <a:cubicBezTo>
                  <a:pt x="3648" y="1157"/>
                  <a:pt x="3648" y="1155"/>
                  <a:pt x="3648" y="1152"/>
                </a:cubicBezTo>
                <a:cubicBezTo>
                  <a:pt x="3648" y="1145"/>
                  <a:pt x="3645" y="1142"/>
                  <a:pt x="3640" y="1141"/>
                </a:cubicBezTo>
                <a:cubicBezTo>
                  <a:pt x="3640" y="1141"/>
                  <a:pt x="3640" y="1141"/>
                  <a:pt x="3640" y="1141"/>
                </a:cubicBezTo>
                <a:cubicBezTo>
                  <a:pt x="3645" y="1140"/>
                  <a:pt x="3648" y="1138"/>
                  <a:pt x="3648" y="1130"/>
                </a:cubicBezTo>
                <a:cubicBezTo>
                  <a:pt x="3648" y="1127"/>
                  <a:pt x="3648" y="1126"/>
                  <a:pt x="3648" y="1124"/>
                </a:cubicBezTo>
                <a:cubicBezTo>
                  <a:pt x="3647" y="1122"/>
                  <a:pt x="3647" y="1120"/>
                  <a:pt x="3647" y="1119"/>
                </a:cubicBezTo>
                <a:cubicBezTo>
                  <a:pt x="3647" y="1115"/>
                  <a:pt x="3648" y="1113"/>
                  <a:pt x="3652" y="1113"/>
                </a:cubicBezTo>
                <a:cubicBezTo>
                  <a:pt x="3652" y="1113"/>
                  <a:pt x="3652" y="1113"/>
                  <a:pt x="3654" y="1113"/>
                </a:cubicBezTo>
                <a:cubicBezTo>
                  <a:pt x="3654" y="1113"/>
                  <a:pt x="3654" y="1113"/>
                  <a:pt x="3654" y="1104"/>
                </a:cubicBezTo>
                <a:cubicBezTo>
                  <a:pt x="3654" y="1104"/>
                  <a:pt x="3654" y="1104"/>
                  <a:pt x="3650" y="1104"/>
                </a:cubicBezTo>
                <a:cubicBezTo>
                  <a:pt x="3641" y="1104"/>
                  <a:pt x="3636" y="1108"/>
                  <a:pt x="3636" y="1117"/>
                </a:cubicBezTo>
                <a:cubicBezTo>
                  <a:pt x="3636" y="1119"/>
                  <a:pt x="3636" y="1121"/>
                  <a:pt x="3636" y="1124"/>
                </a:cubicBezTo>
                <a:cubicBezTo>
                  <a:pt x="3636" y="1126"/>
                  <a:pt x="3637" y="1129"/>
                  <a:pt x="3637" y="1131"/>
                </a:cubicBezTo>
                <a:cubicBezTo>
                  <a:pt x="3637" y="1133"/>
                  <a:pt x="3636" y="1137"/>
                  <a:pt x="3630" y="1137"/>
                </a:cubicBezTo>
                <a:close/>
              </a:path>
            </a:pathLst>
          </a:custGeom>
          <a:solidFill>
            <a:srgbClr val="FFFFFF">
              <a:alpha val="20000"/>
            </a:srgbClr>
          </a:solidFill>
          <a:ln>
            <a:noFill/>
          </a:ln>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2C2C2C"/>
              </a:solidFill>
              <a:effectLst/>
              <a:uLnTx/>
              <a:uFillTx/>
              <a:latin typeface="Segoe UI" charset="0"/>
              <a:ea typeface="MS PGothic" charset="0"/>
            </a:endParaRPr>
          </a:p>
        </p:txBody>
      </p:sp>
      <p:pic>
        <p:nvPicPr>
          <p:cNvPr id="2469" name="Picture 2468"/>
          <p:cNvPicPr>
            <a:picLocks noChangeAspect="1"/>
          </p:cNvPicPr>
          <p:nvPr userDrawn="1"/>
        </p:nvPicPr>
        <p:blipFill>
          <a:blip r:embed="rId2"/>
          <a:stretch>
            <a:fillRect/>
          </a:stretch>
        </p:blipFill>
        <p:spPr>
          <a:xfrm>
            <a:off x="450206" y="6121376"/>
            <a:ext cx="1254209" cy="268966"/>
          </a:xfrm>
          <a:prstGeom prst="rect">
            <a:avLst/>
          </a:prstGeom>
        </p:spPr>
      </p:pic>
      <p:sp>
        <p:nvSpPr>
          <p:cNvPr id="2470" name="Title 1"/>
          <p:cNvSpPr>
            <a:spLocks noGrp="1"/>
          </p:cNvSpPr>
          <p:nvPr>
            <p:ph type="title" hasCustomPrompt="1"/>
          </p:nvPr>
        </p:nvSpPr>
        <p:spPr bwMode="auto">
          <a:xfrm>
            <a:off x="269302" y="1187622"/>
            <a:ext cx="8965805" cy="1793104"/>
          </a:xfrm>
          <a:noFill/>
        </p:spPr>
        <p:txBody>
          <a:bodyPr lIns="146304" tIns="91440" rIns="146304" bIns="91440" anchor="t" anchorCtr="0"/>
          <a:lstStyle>
            <a:lvl1pPr>
              <a:defRPr sz="7842" spc="-98" baseline="0">
                <a:gradFill>
                  <a:gsLst>
                    <a:gs pos="57576">
                      <a:srgbClr val="FFFFFF"/>
                    </a:gs>
                    <a:gs pos="35000">
                      <a:srgbClr val="FFFFFF"/>
                    </a:gs>
                  </a:gsLst>
                  <a:lin ang="5400000" scaled="0"/>
                </a:gradFill>
              </a:defRPr>
            </a:lvl1pPr>
          </a:lstStyle>
          <a:p>
            <a:r>
              <a:rPr lang="en-US" dirty="0"/>
              <a:t>Presentation title</a:t>
            </a:r>
          </a:p>
        </p:txBody>
      </p:sp>
      <p:sp>
        <p:nvSpPr>
          <p:cNvPr id="2471" name="Text Placeholder 2"/>
          <p:cNvSpPr>
            <a:spLocks noGrp="1"/>
          </p:cNvSpPr>
          <p:nvPr>
            <p:ph type="body" sz="quarter" idx="14" hasCustomPrompt="1"/>
          </p:nvPr>
        </p:nvSpPr>
        <p:spPr bwMode="auto">
          <a:xfrm>
            <a:off x="267682" y="3877276"/>
            <a:ext cx="8965805" cy="1793104"/>
          </a:xfrm>
        </p:spPr>
        <p:txBody>
          <a:bodyPr tIns="109728" bIns="109728">
            <a:noAutofit/>
          </a:bodyPr>
          <a:lstStyle>
            <a:lvl1pPr marL="0" indent="0">
              <a:spcBef>
                <a:spcPts val="0"/>
              </a:spcBef>
              <a:buNone/>
              <a:defRPr sz="4313">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47933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base" latinLnBrk="0" hangingPunct="1">
              <a:lnSpc>
                <a:spcPct val="90000"/>
              </a:lnSpc>
              <a:spcBef>
                <a:spcPct val="0"/>
              </a:spcBef>
              <a:spcAft>
                <a:spcPct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569353745"/>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382946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064486"/>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5171898"/>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44214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30419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84744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1682263004"/>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5571700"/>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106503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593977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9371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007526"/>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6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base" latinLnBrk="0" hangingPunct="0">
              <a:lnSpc>
                <a:spcPct val="100000"/>
              </a:lnSpc>
              <a:spcBef>
                <a:spcPct val="0"/>
              </a:spcBef>
              <a:spcAft>
                <a:spcPct val="0"/>
              </a:spcAft>
              <a:buClrTx/>
              <a:buSzTx/>
              <a:buFontTx/>
              <a:buNone/>
              <a:tabLst/>
              <a:defRPr/>
            </a:pPr>
            <a:r>
              <a:rPr kumimoji="0" lang="en-US" sz="686" b="0" i="0" u="none" strike="noStrike" kern="1200" cap="none" spc="0" normalizeH="0" baseline="0" noProof="0" dirty="0">
                <a:ln>
                  <a:noFill/>
                </a:ln>
                <a:gradFill>
                  <a:gsLst>
                    <a:gs pos="0">
                      <a:srgbClr val="2C2C2C"/>
                    </a:gs>
                    <a:gs pos="100000">
                      <a:srgbClr val="2C2C2C"/>
                    </a:gs>
                  </a:gsLst>
                  <a:lin ang="5400000" scaled="0"/>
                </a:gradFill>
                <a:effectLst/>
                <a:uLnTx/>
                <a:uFillTx/>
                <a:latin typeface="Segoe UI" charset="0"/>
                <a:ea typeface="MS PGothic" charset="0"/>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2390444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90440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16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defTabSz="914367">
              <a:defRPr/>
            </a:pPr>
            <a:r>
              <a:rPr lang="en-US" sz="882" smtClean="0">
                <a:ea typeface="MS PGothic" charset="0"/>
              </a:rPr>
              <a:t>Microsoft Confidential</a:t>
            </a:r>
            <a:endParaRPr lang="en-US" sz="882" dirty="0">
              <a:ea typeface="MS PGothic" charset="0"/>
            </a:endParaRP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lgn="r">
              <a:defRPr/>
            </a:pPr>
            <a:fld id="{EC136591-509A-F246-B30E-5ECE4A4A5F5E}" type="slidenum">
              <a:rPr lang="en-US" sz="882" smtClean="0">
                <a:ea typeface="MS PGothic" charset="0"/>
              </a:rPr>
              <a:pPr algn="r">
                <a:defRPr/>
              </a:pPr>
              <a:t>‹#›</a:t>
            </a:fld>
            <a:endParaRPr lang="en-US" sz="882">
              <a:ea typeface="MS PGothic" charset="0"/>
            </a:endParaRPr>
          </a:p>
        </p:txBody>
      </p:sp>
    </p:spTree>
    <p:extLst>
      <p:ext uri="{BB962C8B-B14F-4D97-AF65-F5344CB8AC3E}">
        <p14:creationId xmlns:p14="http://schemas.microsoft.com/office/powerpoint/2010/main" val="33016133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6992069"/>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2"/>
            <a:ext cx="3859607" cy="133860"/>
          </a:xfrm>
          <a:prstGeom prst="rect">
            <a:avLst/>
          </a:prstGeom>
        </p:spPr>
        <p:txBody>
          <a:bodyPr/>
          <a:lstStyle>
            <a:lvl1pPr fontAlgn="base">
              <a:spcBef>
                <a:spcPct val="0"/>
              </a:spcBef>
              <a:spcAft>
                <a:spcPct val="0"/>
              </a:spcAft>
              <a:defRPr dirty="0" smtClean="0">
                <a:solidFill>
                  <a:srgbClr val="50505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505050"/>
                </a:solidFill>
              </a:defRPr>
            </a:lvl1pPr>
          </a:lstStyle>
          <a:p>
            <a:pPr algn="r">
              <a:defRPr/>
            </a:pPr>
            <a:fld id="{56442AAA-6A77-5942-BCC4-0CCA4B0626F8}"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25772173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367">
              <a:defRPr/>
            </a:pPr>
            <a:r>
              <a:rPr lang="en-US" sz="882" smtClean="0">
                <a:ea typeface="MS PGothic" charset="0"/>
              </a:rPr>
              <a:t>Microsoft Confidential</a:t>
            </a:r>
            <a:endParaRPr lang="en-US" sz="882">
              <a:ea typeface="MS PGothic" charset="0"/>
            </a:endParaRPr>
          </a:p>
        </p:txBody>
      </p:sp>
      <p:sp>
        <p:nvSpPr>
          <p:cNvPr id="3" name="Slide Number Placeholder 2"/>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ea typeface="MS PGothic" charset="0"/>
              </a:rPr>
              <a:pPr algn="r">
                <a:defRPr/>
              </a:pPr>
              <a:t>‹#›</a:t>
            </a:fld>
            <a:endParaRPr lang="en-US" sz="882" dirty="0">
              <a:ea typeface="MS PGothic" charset="0"/>
            </a:endParaRPr>
          </a:p>
        </p:txBody>
      </p:sp>
    </p:spTree>
    <p:extLst>
      <p:ext uri="{BB962C8B-B14F-4D97-AF65-F5344CB8AC3E}">
        <p14:creationId xmlns:p14="http://schemas.microsoft.com/office/powerpoint/2010/main" val="12452406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337443491"/>
      </p:ext>
    </p:extLst>
  </p:cSld>
  <p:clrMapOvr>
    <a:masterClrMapping/>
  </p:clrMapOvr>
  <p:transition spd="med">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04187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82898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3"/>
            <a:ext cx="4969616" cy="2286395"/>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406322" indent="-182528">
              <a:buFont typeface="Segoe UI Light" panose="020B0502040204020203" pitchFamily="34" charset="0"/>
              <a:buChar char="−"/>
              <a:defRPr sz="3200">
                <a:latin typeface="+mj-lt"/>
              </a:defRPr>
            </a:lvl2pPr>
            <a:lvl3pPr marL="634879" indent="-182528">
              <a:buFont typeface="Courier New" panose="02070309020205020404" pitchFamily="49" charset="0"/>
              <a:buChar char="o"/>
              <a:defRPr sz="28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S PGothic" charset="0"/>
                <a:cs typeface="+mn-cs"/>
              </a:rPr>
              <a:t>Feature</a:t>
            </a:r>
          </a:p>
        </p:txBody>
      </p:sp>
      <p:sp>
        <p:nvSpPr>
          <p:cNvPr id="5" name="Picture Placeholder 6"/>
          <p:cNvSpPr>
            <a:spLocks noGrp="1"/>
          </p:cNvSpPr>
          <p:nvPr>
            <p:ph type="pic" sz="quarter" idx="12" hasCustomPrompt="1"/>
          </p:nvPr>
        </p:nvSpPr>
        <p:spPr>
          <a:xfrm>
            <a:off x="8096278" y="2376547"/>
            <a:ext cx="3492285" cy="1270732"/>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4142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userDrawn="1">
  <p:cSld name="5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68955" y="-22989"/>
            <a:ext cx="12969761" cy="6919543"/>
          </a:xfrm>
          <a:prstGeom prst="rect">
            <a:avLst/>
          </a:prstGeom>
        </p:spPr>
      </p:pic>
      <p:sp>
        <p:nvSpPr>
          <p:cNvPr id="1381" name="Title 1"/>
          <p:cNvSpPr txBox="1">
            <a:spLocks/>
          </p:cNvSpPr>
          <p:nvPr userDrawn="1"/>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5293"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grpSp>
        <p:nvGrpSpPr>
          <p:cNvPr id="25" name="Group 24"/>
          <p:cNvGrpSpPr/>
          <p:nvPr userDrawn="1"/>
        </p:nvGrpSpPr>
        <p:grpSpPr>
          <a:xfrm>
            <a:off x="1202933" y="2956053"/>
            <a:ext cx="1800939" cy="1801197"/>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3330" rtl="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ea typeface="MS PGothic" charset="0"/>
                  <a:cs typeface="+mn-cs"/>
                </a:endParaRPr>
              </a:p>
            </p:txBody>
          </p:sp>
        </p:grpSp>
      </p:grpSp>
      <p:sp>
        <p:nvSpPr>
          <p:cNvPr id="12" name="Title 1"/>
          <p:cNvSpPr>
            <a:spLocks noGrp="1"/>
          </p:cNvSpPr>
          <p:nvPr>
            <p:ph type="title"/>
          </p:nvPr>
        </p:nvSpPr>
        <p:spPr>
          <a:xfrm>
            <a:off x="269240" y="289513"/>
            <a:ext cx="5258796" cy="2386171"/>
          </a:xfrm>
        </p:spPr>
        <p:txBody>
          <a:bodyPr/>
          <a:lstStyle>
            <a:lvl1pPr>
              <a:defRPr sz="5294">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130501446"/>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with side content">
    <p:spTree>
      <p:nvGrpSpPr>
        <p:cNvPr id="1" name=""/>
        <p:cNvGrpSpPr/>
        <p:nvPr/>
      </p:nvGrpSpPr>
      <p:grpSpPr>
        <a:xfrm>
          <a:off x="0" y="0"/>
          <a:ext cx="0" cy="0"/>
          <a:chOff x="0" y="0"/>
          <a:chExt cx="0" cy="0"/>
        </a:xfrm>
      </p:grpSpPr>
      <p:sp>
        <p:nvSpPr>
          <p:cNvPr id="7" name="Rectangle 1"/>
          <p:cNvSpPr/>
          <p:nvPr userDrawn="1"/>
        </p:nvSpPr>
        <p:spPr>
          <a:xfrm rot="720628">
            <a:off x="-745374" y="-537632"/>
            <a:ext cx="4191143" cy="7638207"/>
          </a:xfrm>
          <a:custGeom>
            <a:avLst/>
            <a:gdLst>
              <a:gd name="connsiteX0" fmla="*/ 0 w 6138140"/>
              <a:gd name="connsiteY0" fmla="*/ 0 h 6138140"/>
              <a:gd name="connsiteX1" fmla="*/ 6138140 w 6138140"/>
              <a:gd name="connsiteY1" fmla="*/ 0 h 6138140"/>
              <a:gd name="connsiteX2" fmla="*/ 6138140 w 6138140"/>
              <a:gd name="connsiteY2" fmla="*/ 6138140 h 6138140"/>
              <a:gd name="connsiteX3" fmla="*/ 0 w 6138140"/>
              <a:gd name="connsiteY3" fmla="*/ 6138140 h 6138140"/>
              <a:gd name="connsiteX4" fmla="*/ 0 w 6138140"/>
              <a:gd name="connsiteY4" fmla="*/ 0 h 6138140"/>
              <a:gd name="connsiteX0" fmla="*/ 3915 w 6138140"/>
              <a:gd name="connsiteY0" fmla="*/ 1261595 h 6138140"/>
              <a:gd name="connsiteX1" fmla="*/ 6138140 w 6138140"/>
              <a:gd name="connsiteY1" fmla="*/ 0 h 6138140"/>
              <a:gd name="connsiteX2" fmla="*/ 6138140 w 6138140"/>
              <a:gd name="connsiteY2" fmla="*/ 6138140 h 6138140"/>
              <a:gd name="connsiteX3" fmla="*/ 0 w 6138140"/>
              <a:gd name="connsiteY3" fmla="*/ 6138140 h 6138140"/>
              <a:gd name="connsiteX4" fmla="*/ 3915 w 6138140"/>
              <a:gd name="connsiteY4" fmla="*/ 1261595 h 6138140"/>
              <a:gd name="connsiteX0" fmla="*/ 1712 w 6135937"/>
              <a:gd name="connsiteY0" fmla="*/ 1261595 h 7448191"/>
              <a:gd name="connsiteX1" fmla="*/ 6135937 w 6135937"/>
              <a:gd name="connsiteY1" fmla="*/ 0 h 7448191"/>
              <a:gd name="connsiteX2" fmla="*/ 6135937 w 6135937"/>
              <a:gd name="connsiteY2" fmla="*/ 6138140 h 7448191"/>
              <a:gd name="connsiteX3" fmla="*/ 0 w 6135937"/>
              <a:gd name="connsiteY3" fmla="*/ 7448191 h 7448191"/>
              <a:gd name="connsiteX4" fmla="*/ 1712 w 6135937"/>
              <a:gd name="connsiteY4" fmla="*/ 1261595 h 7448191"/>
              <a:gd name="connsiteX0" fmla="*/ 1648870 w 6135937"/>
              <a:gd name="connsiteY0" fmla="*/ 923190 h 7448191"/>
              <a:gd name="connsiteX1" fmla="*/ 6135937 w 6135937"/>
              <a:gd name="connsiteY1" fmla="*/ 0 h 7448191"/>
              <a:gd name="connsiteX2" fmla="*/ 6135937 w 6135937"/>
              <a:gd name="connsiteY2" fmla="*/ 6138140 h 7448191"/>
              <a:gd name="connsiteX3" fmla="*/ 0 w 6135937"/>
              <a:gd name="connsiteY3" fmla="*/ 7448191 h 7448191"/>
              <a:gd name="connsiteX4" fmla="*/ 1648870 w 6135937"/>
              <a:gd name="connsiteY4" fmla="*/ 923190 h 7448191"/>
              <a:gd name="connsiteX0" fmla="*/ 1 w 4487068"/>
              <a:gd name="connsiteY0" fmla="*/ 923190 h 6874631"/>
              <a:gd name="connsiteX1" fmla="*/ 4487068 w 4487068"/>
              <a:gd name="connsiteY1" fmla="*/ 0 h 6874631"/>
              <a:gd name="connsiteX2" fmla="*/ 4487068 w 4487068"/>
              <a:gd name="connsiteY2" fmla="*/ 6138140 h 6874631"/>
              <a:gd name="connsiteX3" fmla="*/ 934069 w 4487068"/>
              <a:gd name="connsiteY3" fmla="*/ 6874631 h 6874631"/>
              <a:gd name="connsiteX4" fmla="*/ 1 w 4487068"/>
              <a:gd name="connsiteY4" fmla="*/ 923190 h 6874631"/>
              <a:gd name="connsiteX0" fmla="*/ 1 w 4487068"/>
              <a:gd name="connsiteY0" fmla="*/ 923190 h 6874694"/>
              <a:gd name="connsiteX1" fmla="*/ 4487068 w 4487068"/>
              <a:gd name="connsiteY1" fmla="*/ 0 h 6874694"/>
              <a:gd name="connsiteX2" fmla="*/ 4487068 w 4487068"/>
              <a:gd name="connsiteY2" fmla="*/ 6138140 h 6874694"/>
              <a:gd name="connsiteX3" fmla="*/ 934069 w 4487068"/>
              <a:gd name="connsiteY3" fmla="*/ 6874631 h 6874694"/>
              <a:gd name="connsiteX4" fmla="*/ 1 w 4487068"/>
              <a:gd name="connsiteY4" fmla="*/ 923190 h 6874694"/>
              <a:gd name="connsiteX0" fmla="*/ 1 w 4487068"/>
              <a:gd name="connsiteY0" fmla="*/ 923190 h 6874672"/>
              <a:gd name="connsiteX1" fmla="*/ 4487068 w 4487068"/>
              <a:gd name="connsiteY1" fmla="*/ 0 h 6874672"/>
              <a:gd name="connsiteX2" fmla="*/ 4487068 w 4487068"/>
              <a:gd name="connsiteY2" fmla="*/ 6138140 h 6874672"/>
              <a:gd name="connsiteX3" fmla="*/ 934069 w 4487068"/>
              <a:gd name="connsiteY3" fmla="*/ 6874631 h 6874672"/>
              <a:gd name="connsiteX4" fmla="*/ 1 w 4487068"/>
              <a:gd name="connsiteY4" fmla="*/ 923190 h 6874672"/>
              <a:gd name="connsiteX0" fmla="*/ 0 w 4740100"/>
              <a:gd name="connsiteY0" fmla="*/ 977022 h 6874673"/>
              <a:gd name="connsiteX1" fmla="*/ 4740100 w 4740100"/>
              <a:gd name="connsiteY1" fmla="*/ 0 h 6874673"/>
              <a:gd name="connsiteX2" fmla="*/ 4740100 w 4740100"/>
              <a:gd name="connsiteY2" fmla="*/ 6138140 h 6874673"/>
              <a:gd name="connsiteX3" fmla="*/ 1187101 w 4740100"/>
              <a:gd name="connsiteY3" fmla="*/ 6874631 h 6874673"/>
              <a:gd name="connsiteX4" fmla="*/ 0 w 4740100"/>
              <a:gd name="connsiteY4" fmla="*/ 977022 h 6874673"/>
              <a:gd name="connsiteX0" fmla="*/ 0 w 4740100"/>
              <a:gd name="connsiteY0" fmla="*/ 977022 h 6915788"/>
              <a:gd name="connsiteX1" fmla="*/ 4740100 w 4740100"/>
              <a:gd name="connsiteY1" fmla="*/ 0 h 6915788"/>
              <a:gd name="connsiteX2" fmla="*/ 4740100 w 4740100"/>
              <a:gd name="connsiteY2" fmla="*/ 6138140 h 6915788"/>
              <a:gd name="connsiteX3" fmla="*/ 1219892 w 4740100"/>
              <a:gd name="connsiteY3" fmla="*/ 6915747 h 6915788"/>
              <a:gd name="connsiteX4" fmla="*/ 0 w 4740100"/>
              <a:gd name="connsiteY4" fmla="*/ 977022 h 6915788"/>
              <a:gd name="connsiteX0" fmla="*/ 309615 w 3520215"/>
              <a:gd name="connsiteY0" fmla="*/ 678176 h 6915786"/>
              <a:gd name="connsiteX1" fmla="*/ 3520215 w 3520215"/>
              <a:gd name="connsiteY1" fmla="*/ 0 h 6915786"/>
              <a:gd name="connsiteX2" fmla="*/ 3520215 w 3520215"/>
              <a:gd name="connsiteY2" fmla="*/ 6138140 h 6915786"/>
              <a:gd name="connsiteX3" fmla="*/ 7 w 3520215"/>
              <a:gd name="connsiteY3" fmla="*/ 6915747 h 6915786"/>
              <a:gd name="connsiteX4" fmla="*/ 309615 w 3520215"/>
              <a:gd name="connsiteY4" fmla="*/ 678176 h 6915786"/>
              <a:gd name="connsiteX0" fmla="*/ 1 w 3210601"/>
              <a:gd name="connsiteY0" fmla="*/ 678176 h 6554246"/>
              <a:gd name="connsiteX1" fmla="*/ 3210601 w 3210601"/>
              <a:gd name="connsiteY1" fmla="*/ 0 h 6554246"/>
              <a:gd name="connsiteX2" fmla="*/ 3210601 w 3210601"/>
              <a:gd name="connsiteY2" fmla="*/ 6138140 h 6554246"/>
              <a:gd name="connsiteX3" fmla="*/ 932190 w 3210601"/>
              <a:gd name="connsiteY3" fmla="*/ 6554204 h 6554246"/>
              <a:gd name="connsiteX4" fmla="*/ 1 w 3210601"/>
              <a:gd name="connsiteY4" fmla="*/ 678176 h 6554246"/>
              <a:gd name="connsiteX0" fmla="*/ 0 w 3594687"/>
              <a:gd name="connsiteY0" fmla="*/ 786441 h 6554246"/>
              <a:gd name="connsiteX1" fmla="*/ 3594687 w 3594687"/>
              <a:gd name="connsiteY1" fmla="*/ 0 h 6554246"/>
              <a:gd name="connsiteX2" fmla="*/ 3594687 w 3594687"/>
              <a:gd name="connsiteY2" fmla="*/ 6138140 h 6554246"/>
              <a:gd name="connsiteX3" fmla="*/ 1316276 w 3594687"/>
              <a:gd name="connsiteY3" fmla="*/ 6554204 h 6554246"/>
              <a:gd name="connsiteX4" fmla="*/ 0 w 3594687"/>
              <a:gd name="connsiteY4" fmla="*/ 786441 h 6554246"/>
              <a:gd name="connsiteX0" fmla="*/ 0 w 3594687"/>
              <a:gd name="connsiteY0" fmla="*/ 786441 h 6616397"/>
              <a:gd name="connsiteX1" fmla="*/ 3594687 w 3594687"/>
              <a:gd name="connsiteY1" fmla="*/ 0 h 6616397"/>
              <a:gd name="connsiteX2" fmla="*/ 3594687 w 3594687"/>
              <a:gd name="connsiteY2" fmla="*/ 6138140 h 6616397"/>
              <a:gd name="connsiteX3" fmla="*/ 1232145 w 3594687"/>
              <a:gd name="connsiteY3" fmla="*/ 6616355 h 6616397"/>
              <a:gd name="connsiteX4" fmla="*/ 0 w 3594687"/>
              <a:gd name="connsiteY4" fmla="*/ 786441 h 6616397"/>
              <a:gd name="connsiteX0" fmla="*/ 0 w 3594687"/>
              <a:gd name="connsiteY0" fmla="*/ 786441 h 6638197"/>
              <a:gd name="connsiteX1" fmla="*/ 3594687 w 3594687"/>
              <a:gd name="connsiteY1" fmla="*/ 0 h 6638197"/>
              <a:gd name="connsiteX2" fmla="*/ 3594687 w 3594687"/>
              <a:gd name="connsiteY2" fmla="*/ 6138140 h 6638197"/>
              <a:gd name="connsiteX3" fmla="*/ 1254482 w 3594687"/>
              <a:gd name="connsiteY3" fmla="*/ 6638155 h 6638197"/>
              <a:gd name="connsiteX4" fmla="*/ 0 w 3594687"/>
              <a:gd name="connsiteY4" fmla="*/ 786441 h 6638197"/>
              <a:gd name="connsiteX0" fmla="*/ 1 w 3584959"/>
              <a:gd name="connsiteY0" fmla="*/ 748970 h 6638197"/>
              <a:gd name="connsiteX1" fmla="*/ 3584959 w 3584959"/>
              <a:gd name="connsiteY1" fmla="*/ 0 h 6638197"/>
              <a:gd name="connsiteX2" fmla="*/ 3584959 w 3584959"/>
              <a:gd name="connsiteY2" fmla="*/ 6138140 h 6638197"/>
              <a:gd name="connsiteX3" fmla="*/ 1244754 w 3584959"/>
              <a:gd name="connsiteY3" fmla="*/ 6638155 h 6638197"/>
              <a:gd name="connsiteX4" fmla="*/ 1 w 3584959"/>
              <a:gd name="connsiteY4" fmla="*/ 748970 h 6638197"/>
              <a:gd name="connsiteX0" fmla="*/ 0 w 3642429"/>
              <a:gd name="connsiteY0" fmla="*/ 770048 h 6638197"/>
              <a:gd name="connsiteX1" fmla="*/ 3642429 w 3642429"/>
              <a:gd name="connsiteY1" fmla="*/ 0 h 6638197"/>
              <a:gd name="connsiteX2" fmla="*/ 3642429 w 3642429"/>
              <a:gd name="connsiteY2" fmla="*/ 6138140 h 6638197"/>
              <a:gd name="connsiteX3" fmla="*/ 1302224 w 3642429"/>
              <a:gd name="connsiteY3" fmla="*/ 6638155 h 6638197"/>
              <a:gd name="connsiteX4" fmla="*/ 0 w 3642429"/>
              <a:gd name="connsiteY4" fmla="*/ 770048 h 6638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29" h="6638197">
                <a:moveTo>
                  <a:pt x="0" y="770048"/>
                </a:moveTo>
                <a:lnTo>
                  <a:pt x="3642429" y="0"/>
                </a:lnTo>
                <a:lnTo>
                  <a:pt x="3642429" y="6138140"/>
                </a:lnTo>
                <a:lnTo>
                  <a:pt x="1302224" y="6638155"/>
                </a:lnTo>
                <a:cubicBezTo>
                  <a:pt x="1300595" y="6656425"/>
                  <a:pt x="-818" y="740276"/>
                  <a:pt x="0" y="770048"/>
                </a:cubicBez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68"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203200" y="1061591"/>
            <a:ext cx="3338653" cy="1077218"/>
          </a:xfrm>
        </p:spPr>
        <p:txBody>
          <a:bodyPr anchor="ctr"/>
          <a:lstStyle>
            <a:lvl1pPr>
              <a:defRPr sz="32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203199" y="2489201"/>
            <a:ext cx="3141885" cy="787908"/>
          </a:xfrm>
        </p:spPr>
        <p:txBody>
          <a:bodyPr wrap="square">
            <a:spAutoFit/>
          </a:bodyPr>
          <a:lstStyle>
            <a:lvl1pPr marL="0" indent="0">
              <a:buNone/>
              <a:defRPr sz="2400">
                <a:solidFill>
                  <a:schemeClr val="bg1"/>
                </a:solidFill>
                <a:latin typeface="+mj-lt"/>
              </a:defRPr>
            </a:lvl1pPr>
            <a:lvl2pPr marL="0" indent="0">
              <a:buNone/>
              <a:defRPr sz="1600">
                <a:solidFill>
                  <a:schemeClr val="bg1"/>
                </a:solidFill>
              </a:defRPr>
            </a:lvl2pPr>
            <a:lvl3pPr marL="173004" indent="0">
              <a:buNone/>
              <a:defRPr/>
            </a:lvl3pPr>
            <a:lvl4pPr marL="338073" indent="9524">
              <a:buNone/>
              <a:defRPr/>
            </a:lvl4pPr>
            <a:lvl5pPr marL="2437871" indent="0">
              <a:buNone/>
              <a:defRPr/>
            </a:lvl5pPr>
          </a:lstStyle>
          <a:p>
            <a:pPr lvl="0"/>
            <a:r>
              <a:rPr lang="en-US" dirty="0"/>
              <a:t>Edit Master text styles</a:t>
            </a:r>
          </a:p>
          <a:p>
            <a:pPr lvl="1"/>
            <a:r>
              <a:rPr lang="en-US" dirty="0"/>
              <a:t>Second level</a:t>
            </a:r>
          </a:p>
        </p:txBody>
      </p:sp>
      <p:pic>
        <p:nvPicPr>
          <p:cNvPr id="8" name="Picture 7" descr="MSFT_logo_rgb_C-Wht_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7155" y="6196735"/>
            <a:ext cx="1318381" cy="484957"/>
          </a:xfrm>
          <a:prstGeom prst="rect">
            <a:avLst/>
          </a:prstGeom>
        </p:spPr>
      </p:pic>
      <p:sp>
        <p:nvSpPr>
          <p:cNvPr id="4" name="Text Placeholder 3"/>
          <p:cNvSpPr>
            <a:spLocks noGrp="1"/>
          </p:cNvSpPr>
          <p:nvPr>
            <p:ph type="body" sz="quarter" idx="11"/>
          </p:nvPr>
        </p:nvSpPr>
        <p:spPr>
          <a:xfrm>
            <a:off x="4194175" y="482601"/>
            <a:ext cx="7785100" cy="1962140"/>
          </a:xfrm>
        </p:spPr>
        <p:txBody>
          <a:bodyPr/>
          <a:lstStyle>
            <a:lvl1pPr marL="0" indent="0">
              <a:buNone/>
              <a:defRPr sz="3200">
                <a:latin typeface="+mj-lt"/>
              </a:defRPr>
            </a:lvl1pPr>
            <a:lvl2pPr marL="241254" indent="-241254">
              <a:buFont typeface="Arial" panose="020B0604020202020204" pitchFamily="34" charset="0"/>
              <a:buChar char="•"/>
              <a:defRPr>
                <a:latin typeface="+mj-lt"/>
              </a:defRPr>
            </a:lvl2pPr>
            <a:lvl3pPr marL="622181" indent="-303155">
              <a:tabLst/>
              <a:defRPr sz="2000">
                <a:latin typeface="+mj-lt"/>
              </a:defRPr>
            </a:lvl3pPr>
            <a:lvl4pPr marL="914225" indent="-303155">
              <a:defRPr/>
            </a:lvl4pPr>
            <a:lvl5pPr marL="1377685" indent="-303155">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4289315"/>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04538515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8206320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5614"/>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69" y="1"/>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8"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S PGothic" charset="0"/>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5"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96789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3505" fontAlgn="base">
              <a:spcBef>
                <a:spcPct val="0"/>
              </a:spcBef>
              <a:spcAft>
                <a:spcPct val="0"/>
              </a:spcAft>
            </a:pPr>
            <a:fld id="{8713FE0B-90A8-4522-911E-44EDD0F8888D}" type="datetimeFigureOut">
              <a:rPr lang="en-US" sz="2353" smtClean="0">
                <a:solidFill>
                  <a:srgbClr val="2C2C2C"/>
                </a:solidFill>
                <a:ea typeface="MS PGothic" charset="0"/>
              </a:rPr>
              <a:pPr defTabSz="913505" fontAlgn="base">
                <a:spcBef>
                  <a:spcPct val="0"/>
                </a:spcBef>
                <a:spcAft>
                  <a:spcPct val="0"/>
                </a:spcAft>
              </a:pPr>
              <a:t>05-May-17</a:t>
            </a:fld>
            <a:endParaRPr lang="en-US" sz="2353">
              <a:solidFill>
                <a:srgbClr val="2C2C2C"/>
              </a:solidFill>
              <a:ea typeface="MS PGothic" charset="0"/>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3505" fontAlgn="base">
              <a:spcBef>
                <a:spcPct val="0"/>
              </a:spcBef>
              <a:spcAft>
                <a:spcPct val="0"/>
              </a:spcAft>
            </a:pPr>
            <a:endParaRPr lang="en-US" sz="2353">
              <a:solidFill>
                <a:srgbClr val="2C2C2C"/>
              </a:solidFill>
              <a:ea typeface="MS PGothic" charset="0"/>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3505" fontAlgn="base">
              <a:spcBef>
                <a:spcPct val="0"/>
              </a:spcBef>
              <a:spcAft>
                <a:spcPct val="0"/>
              </a:spcAft>
            </a:pPr>
            <a:fld id="{24CEB870-F81B-40D5-A5CE-D66A83EBE3E9}" type="slidenum">
              <a:rPr lang="en-US" sz="2353" smtClean="0">
                <a:solidFill>
                  <a:srgbClr val="2C2C2C"/>
                </a:solidFill>
                <a:ea typeface="MS PGothic" charset="0"/>
              </a:rPr>
              <a:pPr defTabSz="913505" fontAlgn="base">
                <a:spcBef>
                  <a:spcPct val="0"/>
                </a:spcBef>
                <a:spcAft>
                  <a:spcPct val="0"/>
                </a:spcAft>
              </a:pPr>
              <a:t>‹#›</a:t>
            </a:fld>
            <a:endParaRPr lang="en-US" sz="2353">
              <a:solidFill>
                <a:srgbClr val="2C2C2C"/>
              </a:solidFill>
              <a:ea typeface="MS PGothic" charset="0"/>
            </a:endParaRPr>
          </a:p>
        </p:txBody>
      </p:sp>
    </p:spTree>
    <p:extLst>
      <p:ext uri="{BB962C8B-B14F-4D97-AF65-F5344CB8AC3E}">
        <p14:creationId xmlns:p14="http://schemas.microsoft.com/office/powerpoint/2010/main" val="266163870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9"/>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3"/>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371"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572348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185801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806417"/>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8"/>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54" indent="0">
              <a:buNone/>
              <a:defRPr sz="1800">
                <a:solidFill>
                  <a:schemeClr val="bg1"/>
                </a:solidFill>
              </a:defRPr>
            </a:lvl3pPr>
            <a:lvl4pPr marL="448107" indent="0">
              <a:buNone/>
              <a:defRPr sz="1600">
                <a:solidFill>
                  <a:schemeClr val="bg1"/>
                </a:solidFill>
              </a:defRPr>
            </a:lvl4pPr>
            <a:lvl5pPr marL="672161"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8773750"/>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59006062"/>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5468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47415885"/>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11941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7794878"/>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68881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579378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544810613"/>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192"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607315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137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40851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1175753"/>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958690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17165548"/>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3722092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569454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158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F7D4DD5-9E2A-45C5-B985-3D892F553B24}" type="datetimeFigureOut">
              <a:rPr lang="en-US" smtClean="0"/>
              <a:t>05-May-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705162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7772575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99105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382711"/>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81394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123580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456531013"/>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628613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latin typeface="Segoe UI"/>
              <a:ea typeface="+mn-ea"/>
              <a:cs typeface="+mn-cs"/>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latin typeface="Segoe UI"/>
              <a:ea typeface="+mn-ea"/>
              <a:cs typeface="+mn-cs"/>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29750324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2" name="Rectangle 1"/>
          <p:cNvSpPr/>
          <p:nvPr userDrawn="1"/>
        </p:nvSpPr>
        <p:spPr bwMode="auto">
          <a:xfrm>
            <a:off x="0" y="0"/>
            <a:ext cx="12192000" cy="6857999"/>
          </a:xfrm>
          <a:prstGeom prst="rect">
            <a:avLst/>
          </a:prstGeom>
          <a:blipFill dpi="0" rotWithShape="1">
            <a:blip r:embed="rId2"/>
            <a:srcRect/>
            <a:stretch>
              <a:fillRect t="-2000" b="-23000"/>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p:cNvSpPr/>
          <p:nvPr userDrawn="1"/>
        </p:nvSpPr>
        <p:spPr bwMode="auto">
          <a:xfrm>
            <a:off x="260772" y="2537460"/>
            <a:ext cx="6274974" cy="3132919"/>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marL="0" marR="0" lvl="0" indent="0" algn="ctr" defTabSz="913740"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itle 1"/>
          <p:cNvSpPr>
            <a:spLocks noGrp="1"/>
          </p:cNvSpPr>
          <p:nvPr>
            <p:ph type="title" hasCustomPrompt="1"/>
          </p:nvPr>
        </p:nvSpPr>
        <p:spPr bwMode="auto">
          <a:xfrm>
            <a:off x="259826" y="2536743"/>
            <a:ext cx="6261291" cy="2293620"/>
          </a:xfrm>
          <a:noFill/>
        </p:spPr>
        <p:txBody>
          <a:bodyPr lIns="182880" tIns="91440" rIns="182880" bIns="91440" anchor="b" anchorCtr="0"/>
          <a:lstStyle>
            <a:lvl1pPr>
              <a:defRPr sz="4800" spc="-98" baseline="0">
                <a:gradFill>
                  <a:gsLst>
                    <a:gs pos="72727">
                      <a:srgbClr val="FFFFFF"/>
                    </a:gs>
                    <a:gs pos="36000">
                      <a:srgbClr val="FFFFFF"/>
                    </a:gs>
                  </a:gsLst>
                  <a:lin ang="5400000" scaled="0"/>
                </a:gradFill>
              </a:defRPr>
            </a:lvl1pPr>
          </a:lstStyle>
          <a:p>
            <a:r>
              <a:rPr lang="en-US" dirty="0"/>
              <a:t>Presentation title</a:t>
            </a:r>
          </a:p>
        </p:txBody>
      </p:sp>
      <p:sp>
        <p:nvSpPr>
          <p:cNvPr id="11" name="TextBox 10"/>
          <p:cNvSpPr txBox="1"/>
          <p:nvPr userDrawn="1"/>
        </p:nvSpPr>
        <p:spPr>
          <a:xfrm>
            <a:off x="259826" y="4831080"/>
            <a:ext cx="6275920" cy="840016"/>
          </a:xfrm>
          <a:prstGeom prst="rect">
            <a:avLst/>
          </a:prstGeom>
          <a:noFill/>
        </p:spPr>
        <p:txBody>
          <a:bodyPr wrap="square" lIns="182880" tIns="146304" rIns="182880" bIns="146304" rtlCol="0" anchor="ctr" anchorCtr="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9BD2FF"/>
                </a:solidFill>
                <a:effectLst/>
                <a:uLnTx/>
                <a:uFillTx/>
                <a:latin typeface="Segoe UI"/>
                <a:ea typeface="+mn-ea"/>
                <a:cs typeface="Segoe UI Semilight" panose="020B0402040204020203" pitchFamily="34" charset="0"/>
              </a:rPr>
              <a:t>Cortana Intelligence Suite</a:t>
            </a:r>
          </a:p>
        </p:txBody>
      </p:sp>
      <p:cxnSp>
        <p:nvCxnSpPr>
          <p:cNvPr id="12" name="Straight Connector 11"/>
          <p:cNvCxnSpPr/>
          <p:nvPr userDrawn="1"/>
        </p:nvCxnSpPr>
        <p:spPr>
          <a:xfrm>
            <a:off x="459403" y="4872330"/>
            <a:ext cx="4663440" cy="0"/>
          </a:xfrm>
          <a:prstGeom prst="line">
            <a:avLst/>
          </a:prstGeom>
          <a:ln w="31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57837" y="470413"/>
            <a:ext cx="1792845" cy="384107"/>
          </a:xfrm>
          <a:prstGeom prst="rect">
            <a:avLst/>
          </a:prstGeom>
        </p:spPr>
      </p:pic>
    </p:spTree>
    <p:extLst>
      <p:ext uri="{BB962C8B-B14F-4D97-AF65-F5344CB8AC3E}">
        <p14:creationId xmlns:p14="http://schemas.microsoft.com/office/powerpoint/2010/main" val="103997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 y="-2"/>
            <a:ext cx="12234672" cy="7033389"/>
          </a:xfrm>
          <a:prstGeom prst="rect">
            <a:avLst/>
          </a:prstGeom>
        </p:spPr>
      </p:pic>
      <p:sp>
        <p:nvSpPr>
          <p:cNvPr id="8" name="Title 1"/>
          <p:cNvSpPr>
            <a:spLocks noGrp="1"/>
          </p:cNvSpPr>
          <p:nvPr>
            <p:ph type="title" hasCustomPrompt="1"/>
          </p:nvPr>
        </p:nvSpPr>
        <p:spPr bwMode="auto">
          <a:xfrm>
            <a:off x="268293" y="970410"/>
            <a:ext cx="6261291" cy="2293620"/>
          </a:xfrm>
          <a:noFill/>
        </p:spPr>
        <p:txBody>
          <a:bodyPr lIns="182880" tIns="91440" rIns="182880" bIns="91440" anchor="b" anchorCtr="0"/>
          <a:lstStyle>
            <a:lvl1pPr marL="0" algn="l" defTabSz="914005" rtl="0" eaLnBrk="1" latinLnBrk="0" hangingPunct="1">
              <a:lnSpc>
                <a:spcPct val="90000"/>
              </a:lnSpc>
              <a:spcBef>
                <a:spcPct val="0"/>
              </a:spcBef>
              <a:buNone/>
              <a:defRPr lang="en-US" sz="4800" b="0" kern="1200" cap="none" spc="-100" baseline="0" dirty="0">
                <a:ln w="3175">
                  <a:noFill/>
                </a:ln>
                <a:solidFill>
                  <a:schemeClr val="bg1"/>
                </a:solidFill>
                <a:effectLst/>
                <a:latin typeface="+mj-lt"/>
                <a:ea typeface="+mn-ea"/>
                <a:cs typeface="Segoe UI" pitchFamily="34" charset="0"/>
              </a:defRPr>
            </a:lvl1pPr>
          </a:lstStyle>
          <a:p>
            <a:r>
              <a:rPr lang="en-US" dirty="0"/>
              <a:t>Presentation title</a:t>
            </a:r>
          </a:p>
        </p:txBody>
      </p:sp>
    </p:spTree>
    <p:extLst>
      <p:ext uri="{BB962C8B-B14F-4D97-AF65-F5344CB8AC3E}">
        <p14:creationId xmlns:p14="http://schemas.microsoft.com/office/powerpoint/2010/main" val="265992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20"/>
            <a:ext cx="1792850" cy="384107"/>
          </a:xfrm>
          <a:prstGeom prst="rect">
            <a:avLst/>
          </a:prstGeom>
        </p:spPr>
      </p:pic>
    </p:spTree>
    <p:extLst>
      <p:ext uri="{BB962C8B-B14F-4D97-AF65-F5344CB8AC3E}">
        <p14:creationId xmlns:p14="http://schemas.microsoft.com/office/powerpoint/2010/main" val="1273123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0536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0757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5904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010349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603200"/>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7215010"/>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8712417"/>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6207256"/>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457994"/>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98348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90445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1584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2876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1170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226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1820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spTree>
    <p:extLst>
      <p:ext uri="{BB962C8B-B14F-4D97-AF65-F5344CB8AC3E}">
        <p14:creationId xmlns:p14="http://schemas.microsoft.com/office/powerpoint/2010/main" val="16724048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474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2851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056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marL="0" marR="0" lvl="0" indent="0" algn="ctr" defTabSz="913740"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520606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1"/>
            <a:ext cx="11623331"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562"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57190757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891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112888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spTree>
    <p:extLst>
      <p:ext uri="{BB962C8B-B14F-4D97-AF65-F5344CB8AC3E}">
        <p14:creationId xmlns:p14="http://schemas.microsoft.com/office/powerpoint/2010/main" val="999607476"/>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5" y="6061767"/>
            <a:ext cx="1522404" cy="326167"/>
          </a:xfrm>
          <a:prstGeom prst="rect">
            <a:avLst/>
          </a:prstGeom>
        </p:spPr>
      </p:pic>
      <p:pic>
        <p:nvPicPr>
          <p:cNvPr id="4" name="Picture 3"/>
          <p:cNvPicPr>
            <a:picLocks noChangeAspect="1"/>
          </p:cNvPicPr>
          <p:nvPr userDrawn="1"/>
        </p:nvPicPr>
        <p:blipFill>
          <a:blip r:embed="rId5"/>
          <a:stretch>
            <a:fillRect/>
          </a:stretch>
        </p:blipFill>
        <p:spPr>
          <a:xfrm>
            <a:off x="9071204" y="309930"/>
            <a:ext cx="2840492" cy="694796"/>
          </a:xfrm>
          <a:prstGeom prst="rect">
            <a:avLst/>
          </a:prstGeom>
        </p:spPr>
      </p:pic>
    </p:spTree>
    <p:extLst>
      <p:ext uri="{BB962C8B-B14F-4D97-AF65-F5344CB8AC3E}">
        <p14:creationId xmlns:p14="http://schemas.microsoft.com/office/powerpoint/2010/main" val="360986196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rgbClr val="332443"/>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2" y="4309989"/>
            <a:ext cx="12188888" cy="2551127"/>
          </a:xfrm>
          <a:prstGeom prst="rect">
            <a:avLst/>
          </a:prstGeom>
          <a:solidFill>
            <a:srgbClr val="4DA0E2"/>
          </a:solidFill>
          <a:ln>
            <a:noFill/>
          </a:ln>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7"/>
          </a:xfrm>
          <a:prstGeom prst="rect">
            <a:avLst/>
          </a:prstGeom>
          <a:solidFill>
            <a:srgbClr val="00188F"/>
          </a:solidFill>
          <a:ln>
            <a:noFill/>
          </a:ln>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3" y="3343393"/>
            <a:ext cx="12185778" cy="27706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2"/>
            <a:ext cx="12191377" cy="6858623"/>
          </a:xfrm>
          <a:prstGeom prst="rect">
            <a:avLst/>
          </a:prstGeom>
          <a:solidFill>
            <a:srgbClr val="3324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877271"/>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p:nvSpPr>
        <p:spPr bwMode="auto">
          <a:xfrm>
            <a:off x="3112" y="4309989"/>
            <a:ext cx="12188888"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968115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332443"/>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4" y="298256"/>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7170265" cy="3407696"/>
          </a:xfrm>
          <a:noFill/>
        </p:spPr>
        <p:txBody>
          <a:bodyPr tIns="91440" bIns="91440" anchor="t" anchorCtr="0"/>
          <a:lstStyle>
            <a:lvl1pPr>
              <a:defRPr sz="7057" spc="-99"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6094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9"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8682037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2512654"/>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4176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50989"/>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740737"/>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6"/>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432949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43870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959226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613184"/>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1204253"/>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4149496721"/>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486171437"/>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66044457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51" indent="-228751">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672072751"/>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7"/>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2010257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6"/>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2"/>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717601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52756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8536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13220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41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2"/>
            <a:ext cx="6080760"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3" y="1562102"/>
            <a:ext cx="5378548"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5057937"/>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724121"/>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F642DA6E-6CD9-7C41-9FD8-01D28C61CAEF}" type="datetimeFigureOut">
              <a:rPr lang="en-US" sz="1765" smtClean="0">
                <a:solidFill>
                  <a:srgbClr val="FFFFFF"/>
                </a:solidFill>
              </a:rPr>
              <a:pPr defTabSz="914367"/>
              <a:t>05-May-17</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CE3CCD67-A99C-7B4C-9065-78DD3F082118}"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401297586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4"/>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1" y="6566900"/>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29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68599562"/>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7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4"/>
            <a:ext cx="11653522" cy="20897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702618"/>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1061382"/>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475029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5770034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24376242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3458341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76015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148952474"/>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1819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871968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226497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1483890650"/>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6422559"/>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153762"/>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4714289"/>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7017300"/>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00042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8267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77862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360103"/>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1424891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468857548"/>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36499308"/>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997068"/>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777970790"/>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9628869"/>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82344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04021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842060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05-May-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241722387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94342115"/>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60596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0059171"/>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8349465"/>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28391022"/>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06852152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5812282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493424230"/>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872985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036841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351232"/>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2357512"/>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710017469"/>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7414567"/>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165650"/>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5256940"/>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9370453"/>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913238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2671254"/>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12894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F7D4DD5-9E2A-45C5-B985-3D892F553B24}" type="datetimeFigureOut">
              <a:rPr lang="en-US" smtClean="0"/>
              <a:t>05-May-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205512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996177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2190137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081320081"/>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279280558"/>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63162"/>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03449505"/>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1326102"/>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0449080"/>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6351779"/>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05-May-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80667792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994787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878445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6538462"/>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7903284"/>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80954"/>
          </a:xfrm>
        </p:spPr>
        <p:txBody>
          <a:bodyPr/>
          <a:lstStyle>
            <a:lvl1pPr marL="0" indent="0">
              <a:buNone/>
              <a:defRPr>
                <a:solidFill>
                  <a:schemeClr val="tx1"/>
                </a:solidFill>
              </a:defRPr>
            </a:lvl1pPr>
            <a:lvl2pPr marL="0" indent="0">
              <a:buFontTx/>
              <a:buNone/>
              <a:defRPr sz="1961"/>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8003896"/>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481585774"/>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Rectangle 2"/>
          <p:cNvSpPr/>
          <p:nvPr/>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1379720090"/>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3" name="Rectangle 2"/>
          <p:cNvSpPr/>
          <p:nvPr/>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1839696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566020810"/>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204861"/>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671132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194209"/>
            <a:ext cx="4572000" cy="576631"/>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448193" indent="-676959">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5689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46523" y="1531610"/>
            <a:ext cx="5650637" cy="1864682"/>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432112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588373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a:t>Edit Master text styles</a:t>
            </a:r>
          </a:p>
        </p:txBody>
      </p:sp>
    </p:spTree>
    <p:extLst>
      <p:ext uri="{BB962C8B-B14F-4D97-AF65-F5344CB8AC3E}">
        <p14:creationId xmlns:p14="http://schemas.microsoft.com/office/powerpoint/2010/main" val="181267326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rgbClr val="00BCF2"/>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0079419"/>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3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93973"/>
            <a:ext cx="11704637" cy="1906929"/>
          </a:xfrm>
        </p:spPr>
        <p:txBody>
          <a:bodyPr/>
          <a:lstStyle>
            <a:lvl1pPr marL="0" indent="0">
              <a:buFontTx/>
              <a:buNone/>
              <a:defRPr sz="3600">
                <a:solidFill>
                  <a:schemeClr val="tx1"/>
                </a:solidFill>
              </a:defRPr>
            </a:lvl1pPr>
            <a:lvl2pPr marL="0" indent="0">
              <a:spcAft>
                <a:spcPts val="600"/>
              </a:spcAft>
              <a:buFontTx/>
              <a:buNone/>
              <a:defRPr sz="1961">
                <a:solidFill>
                  <a:schemeClr val="tx1"/>
                </a:solidFill>
              </a:defRPr>
            </a:lvl2pPr>
            <a:lvl3pPr marL="0" indent="0">
              <a:buFontTx/>
              <a:buNone/>
              <a:defRPr sz="1765">
                <a:solidFill>
                  <a:schemeClr val="tx1"/>
                </a:solidFill>
              </a:defRPr>
            </a:lvl3pPr>
            <a:lvl4pPr marL="0" indent="0">
              <a:buFontTx/>
              <a:buNone/>
              <a:defRPr sz="1568">
                <a:solidFill>
                  <a:schemeClr val="tx1"/>
                </a:solidFill>
              </a:defRPr>
            </a:lvl4pPr>
            <a:lvl5pPr marL="0" indent="0">
              <a:buFontTx/>
              <a:buNone/>
              <a:defRPr sz="1568">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565990"/>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125663"/>
            <a:ext cx="4700831"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2433236"/>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1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2"/>
          </p:nvPr>
        </p:nvSpPr>
        <p:spPr>
          <a:xfrm>
            <a:off x="6258187" y="2089801"/>
            <a:ext cx="5486400" cy="1805623"/>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3318237"/>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1557" y="1531610"/>
            <a:ext cx="11653523" cy="2297873"/>
          </a:xfrm>
        </p:spPr>
        <p:txBody>
          <a:bodyPr>
            <a:spAutoFit/>
          </a:bodyPr>
          <a:lstStyle>
            <a:lvl1pPr>
              <a:defRPr sz="3919"/>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583615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60961"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12"/>
          </p:nvPr>
        </p:nvSpPr>
        <p:spPr>
          <a:xfrm>
            <a:off x="8052679" y="1544170"/>
            <a:ext cx="3854627" cy="2448555"/>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375683"/>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490967"/>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2" name="TextBox 1"/>
          <p:cNvSpPr txBox="1"/>
          <p:nvPr userDrawn="1"/>
        </p:nvSpPr>
        <p:spPr>
          <a:xfrm>
            <a:off x="8187658" y="481157"/>
            <a:ext cx="3316475" cy="1593341"/>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411"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spTree>
    <p:extLst>
      <p:ext uri="{BB962C8B-B14F-4D97-AF65-F5344CB8AC3E}">
        <p14:creationId xmlns:p14="http://schemas.microsoft.com/office/powerpoint/2010/main" val="336700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4146960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357472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087374"/>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673241"/>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Segoe UI" pitchFamily="34" charset="0"/>
              </a:rPr>
              <a:t>© 2016 Microsoft Corporation. All rights reserved. </a:t>
            </a:r>
          </a:p>
        </p:txBody>
      </p:sp>
      <p:grpSp>
        <p:nvGrpSpPr>
          <p:cNvPr id="5" name="Group 4"/>
          <p:cNvGrpSpPr>
            <a:grpSpLocks noChangeAspect="1"/>
          </p:cNvGrpSpPr>
          <p:nvPr/>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625025862"/>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4368258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r" defTabSz="914201">
              <a:defRPr/>
            </a:pPr>
            <a:fld id="{4CED8391-71CF-4FD3-A093-40D26DE2D47C}" type="slidenum">
              <a:rPr lang="en-US" sz="1200" smtClean="0">
                <a:solidFill>
                  <a:srgbClr val="00188F"/>
                </a:solidFill>
              </a:rPr>
              <a:pPr algn="r" defTabSz="914201">
                <a:defRPr/>
              </a:pPr>
              <a:t>‹#›</a:t>
            </a:fld>
            <a:endParaRPr lang="en-US" sz="1200">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84175" y="1181101"/>
            <a:ext cx="11234738" cy="21895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0850584"/>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8095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875455"/>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A0194485-CA4A-4368-A62B-0539F6005CC8}" type="datetimeFigureOut">
              <a:rPr lang="en-US" sz="1765" smtClean="0">
                <a:solidFill>
                  <a:prstClr val="white"/>
                </a:solidFill>
              </a:rPr>
              <a:pPr defTabSz="914367"/>
              <a:t>05-May-17</a:t>
            </a:fld>
            <a:endParaRPr lang="en-US" sz="1765">
              <a:solidFill>
                <a:prstClr val="white"/>
              </a:solidFill>
            </a:endParaRPr>
          </a:p>
        </p:txBody>
      </p:sp>
      <p:sp>
        <p:nvSpPr>
          <p:cNvPr id="5" name="Footer Placeholder 4"/>
          <p:cNvSpPr>
            <a:spLocks noGrp="1"/>
          </p:cNvSpPr>
          <p:nvPr>
            <p:ph type="ftr" sz="quarter" idx="11"/>
          </p:nvPr>
        </p:nvSpPr>
        <p:spPr/>
        <p:txBody>
          <a:bodyPr/>
          <a:lstStyle/>
          <a:p>
            <a:pPr defTabSz="914367"/>
            <a:endParaRPr lang="en-US" sz="1765">
              <a:solidFill>
                <a:prstClr val="white"/>
              </a:solidFill>
            </a:endParaRPr>
          </a:p>
        </p:txBody>
      </p:sp>
      <p:sp>
        <p:nvSpPr>
          <p:cNvPr id="6" name="Slide Number Placeholder 5"/>
          <p:cNvSpPr>
            <a:spLocks noGrp="1"/>
          </p:cNvSpPr>
          <p:nvPr>
            <p:ph type="sldNum" sz="quarter" idx="12"/>
          </p:nvPr>
        </p:nvSpPr>
        <p:spPr/>
        <p:txBody>
          <a:bodyPr/>
          <a:lstStyle/>
          <a:p>
            <a:pPr defTabSz="914367"/>
            <a:fld id="{160643FF-3D12-4703-8795-DCDF6880AEE4}" type="slidenum">
              <a:rPr lang="en-US" sz="1765" smtClean="0">
                <a:solidFill>
                  <a:prstClr val="white"/>
                </a:solidFill>
              </a:rPr>
              <a:pPr defTabSz="914367"/>
              <a:t>‹#›</a:t>
            </a:fld>
            <a:endParaRPr lang="en-US" sz="1765">
              <a:solidFill>
                <a:prstClr val="white"/>
              </a:solidFill>
            </a:endParaRPr>
          </a:p>
        </p:txBody>
      </p:sp>
    </p:spTree>
    <p:extLst>
      <p:ext uri="{BB962C8B-B14F-4D97-AF65-F5344CB8AC3E}">
        <p14:creationId xmlns:p14="http://schemas.microsoft.com/office/powerpoint/2010/main" val="309630206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619144"/>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725465323"/>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88017"/>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808473"/>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5" y="6061767"/>
            <a:ext cx="1522404" cy="326167"/>
          </a:xfrm>
          <a:prstGeom prst="rect">
            <a:avLst/>
          </a:prstGeom>
        </p:spPr>
      </p:pic>
      <p:pic>
        <p:nvPicPr>
          <p:cNvPr id="4" name="Picture 3"/>
          <p:cNvPicPr>
            <a:picLocks noChangeAspect="1"/>
          </p:cNvPicPr>
          <p:nvPr userDrawn="1"/>
        </p:nvPicPr>
        <p:blipFill>
          <a:blip r:embed="rId5"/>
          <a:stretch>
            <a:fillRect/>
          </a:stretch>
        </p:blipFill>
        <p:spPr>
          <a:xfrm>
            <a:off x="9071204" y="309930"/>
            <a:ext cx="2840492" cy="694796"/>
          </a:xfrm>
          <a:prstGeom prst="rect">
            <a:avLst/>
          </a:prstGeom>
        </p:spPr>
      </p:pic>
    </p:spTree>
    <p:extLst>
      <p:ext uri="{BB962C8B-B14F-4D97-AF65-F5344CB8AC3E}">
        <p14:creationId xmlns:p14="http://schemas.microsoft.com/office/powerpoint/2010/main" val="146797663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634362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rgbClr val="332443"/>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2" y="4309989"/>
            <a:ext cx="12188888" cy="2551127"/>
          </a:xfrm>
          <a:prstGeom prst="rect">
            <a:avLst/>
          </a:prstGeom>
          <a:solidFill>
            <a:srgbClr val="4DA0E2"/>
          </a:solidFill>
          <a:ln>
            <a:noFill/>
          </a:ln>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7"/>
          </a:xfrm>
          <a:prstGeom prst="rect">
            <a:avLst/>
          </a:prstGeom>
          <a:solidFill>
            <a:srgbClr val="00188F"/>
          </a:solidFill>
          <a:ln>
            <a:noFill/>
          </a:ln>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3" y="3343393"/>
            <a:ext cx="12185778" cy="27706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2"/>
            <a:ext cx="12191377" cy="6858623"/>
          </a:xfrm>
          <a:prstGeom prst="rect">
            <a:avLst/>
          </a:prstGeom>
          <a:solidFill>
            <a:srgbClr val="3324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877271"/>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p:nvSpPr>
        <p:spPr bwMode="auto">
          <a:xfrm>
            <a:off x="3112" y="4309989"/>
            <a:ext cx="12188888"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345896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332443"/>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4" y="298256"/>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7170265" cy="3407696"/>
          </a:xfrm>
          <a:noFill/>
        </p:spPr>
        <p:txBody>
          <a:bodyPr tIns="91440" bIns="91440" anchor="t" anchorCtr="0"/>
          <a:lstStyle>
            <a:lvl1pPr>
              <a:defRPr sz="7057" spc="-99"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827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9"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1315245"/>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95518722"/>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344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50989"/>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3832460"/>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6"/>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921053"/>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805681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016890"/>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1538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21555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888022075"/>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691968230"/>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548052259"/>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51" indent="-228751">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35045120"/>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7"/>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402109"/>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6"/>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2"/>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667579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7149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244267"/>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938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2"/>
            <a:ext cx="6080760"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3" y="1562102"/>
            <a:ext cx="5378548"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88717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57760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724121"/>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F642DA6E-6CD9-7C41-9FD8-01D28C61CAEF}" type="datetimeFigureOut">
              <a:rPr lang="en-US" sz="1765" smtClean="0">
                <a:solidFill>
                  <a:srgbClr val="FFFFFF"/>
                </a:solidFill>
              </a:rPr>
              <a:pPr defTabSz="914367"/>
              <a:t>05-May-17</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CE3CCD67-A99C-7B4C-9065-78DD3F082118}"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239602986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4"/>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1" y="6566900"/>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29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8266726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7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4"/>
            <a:ext cx="11653522" cy="20897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0699055"/>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Unlock Insights Title 1">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049" y="0"/>
            <a:ext cx="12216215" cy="6991350"/>
          </a:xfrm>
          <a:prstGeom prst="rect">
            <a:avLst/>
          </a:prstGeom>
        </p:spPr>
      </p:pic>
      <p:sp>
        <p:nvSpPr>
          <p:cNvPr id="28" name="Rectangle 27"/>
          <p:cNvSpPr/>
          <p:nvPr userDrawn="1"/>
        </p:nvSpPr>
        <p:spPr>
          <a:xfrm>
            <a:off x="1" y="0"/>
            <a:ext cx="12192000" cy="6994525"/>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3" name="Rectangle 1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 name="Title 1"/>
          <p:cNvSpPr>
            <a:spLocks noGrp="1"/>
          </p:cNvSpPr>
          <p:nvPr>
            <p:ph type="title" hasCustomPrompt="1"/>
          </p:nvPr>
        </p:nvSpPr>
        <p:spPr bwMode="gray">
          <a:xfrm>
            <a:off x="6409944" y="1413776"/>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grpSp>
        <p:nvGrpSpPr>
          <p:cNvPr id="27" name="Group 26"/>
          <p:cNvGrpSpPr/>
          <p:nvPr userDrawn="1"/>
        </p:nvGrpSpPr>
        <p:grpSpPr>
          <a:xfrm>
            <a:off x="9676727" y="435412"/>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3"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91808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Unlock Insights Title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7070" y="0"/>
            <a:ext cx="12241427" cy="6895070"/>
          </a:xfrm>
          <a:prstGeom prst="rect">
            <a:avLst/>
          </a:prstGeom>
        </p:spPr>
      </p:pic>
      <p:sp>
        <p:nvSpPr>
          <p:cNvPr id="8" name="Rectangle 7"/>
          <p:cNvSpPr/>
          <p:nvPr userDrawn="1"/>
        </p:nvSpPr>
        <p:spPr>
          <a:xfrm>
            <a:off x="0" y="1"/>
            <a:ext cx="12192000" cy="6858000"/>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Light"/>
                <a:ea typeface="+mn-ea"/>
                <a:cs typeface="+mn-cs"/>
              </a:endParaRPr>
            </a:p>
          </p:txBody>
        </p:sp>
      </p:grpSp>
      <p:sp>
        <p:nvSpPr>
          <p:cNvPr id="23" name="Rectangle 22"/>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4" name="Title 1"/>
          <p:cNvSpPr>
            <a:spLocks noGrp="1"/>
          </p:cNvSpPr>
          <p:nvPr>
            <p:ph type="title" hasCustomPrompt="1"/>
          </p:nvPr>
        </p:nvSpPr>
        <p:spPr bwMode="gray">
          <a:xfrm>
            <a:off x="6409944"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1597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27488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635432448"/>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680791092"/>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142362229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0160283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673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94992220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935132950"/>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58986023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37342479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0495998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90132686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08227281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2510441965"/>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96832931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6194567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7265789"/>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958577408"/>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587206856"/>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2"/>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408544749"/>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3"/>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123577385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4"/>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200480994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6368" cy="904286"/>
          </a:xfrm>
        </p:spPr>
        <p:txBody>
          <a:bodyPr lIns="393192" bIns="91440"/>
          <a:lstStyle>
            <a:lvl1pPr marL="0" indent="0">
              <a:buNone/>
              <a:defRPr>
                <a:solidFill>
                  <a:schemeClr val="accent5"/>
                </a:solidFill>
              </a:defRPr>
            </a:lvl1pPr>
            <a:lvl2pPr marL="457200" indent="0">
              <a:buNone/>
              <a:defRPr/>
            </a:lvl2pPr>
          </a:lstStyle>
          <a:p>
            <a:pPr lvl="0"/>
            <a:r>
              <a:rPr lang="en-US" dirty="0"/>
              <a:t>Subtitle</a:t>
            </a:r>
          </a:p>
        </p:txBody>
      </p:sp>
    </p:spTree>
    <p:extLst>
      <p:ext uri="{BB962C8B-B14F-4D97-AF65-F5344CB8AC3E}">
        <p14:creationId xmlns:p14="http://schemas.microsoft.com/office/powerpoint/2010/main" val="335387867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3"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473112876"/>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6842884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9158307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265350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930386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0" y="2531486"/>
            <a:ext cx="4100945" cy="959859"/>
          </a:xfrm>
        </p:spPr>
        <p:txBody>
          <a:bodyPr lIns="393192" rIns="393192" bIns="91440"/>
          <a:lstStyle>
            <a:lvl1pPr marL="0" indent="0">
              <a:buNone/>
              <a:defRPr>
                <a:solidFill>
                  <a:schemeClr val="bg1"/>
                </a:solidFill>
              </a:defRPr>
            </a:lvl1pPr>
            <a:lvl2pPr marL="457200" indent="0">
              <a:buNone/>
              <a:defRPr/>
            </a:lvl2pPr>
          </a:lstStyle>
          <a:p>
            <a:pPr lvl="0"/>
            <a:r>
              <a:rPr lang="en-US" dirty="0"/>
              <a:t>Subtitle</a:t>
            </a:r>
          </a:p>
        </p:txBody>
      </p:sp>
      <p:sp>
        <p:nvSpPr>
          <p:cNvPr id="9"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846939775"/>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1958737"/>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87178308"/>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9437895"/>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44076585"/>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13631673"/>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165238019"/>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606997536"/>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85645683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88764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7D4DD5-9E2A-45C5-B985-3D892F553B24}" type="datetimeFigureOut">
              <a:rPr lang="en-US" smtClean="0"/>
              <a:t>05-May-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8692417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9007078"/>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128284613"/>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smtClean="0">
                <a:gradFill>
                  <a:gsLst>
                    <a:gs pos="2239">
                      <a:srgbClr val="FFFFFF"/>
                    </a:gs>
                    <a:gs pos="11940">
                      <a:srgbClr val="FFFFFF"/>
                    </a:gs>
                  </a:gsLst>
                  <a:lin ang="5400000" scaled="0"/>
                </a:gradFill>
              </a:rPr>
              <a:t>Microsoft Confidential</a:t>
            </a:r>
            <a:endParaRPr lang="en-US">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pPr defTabSz="914367"/>
            <a:fld id="{27258FFF-F925-446B-8502-81C933981705}" type="slidenum">
              <a:rPr lang="en-US" smtClean="0">
                <a:gradFill>
                  <a:gsLst>
                    <a:gs pos="2239">
                      <a:srgbClr val="FFFFFF"/>
                    </a:gs>
                    <a:gs pos="11940">
                      <a:srgbClr val="FFFFFF"/>
                    </a:gs>
                  </a:gsLst>
                  <a:lin ang="5400000" scaled="0"/>
                </a:gradFill>
              </a:rPr>
              <a:pPr defTabSz="91436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153357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210069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Tree>
    <p:extLst>
      <p:ext uri="{BB962C8B-B14F-4D97-AF65-F5344CB8AC3E}">
        <p14:creationId xmlns:p14="http://schemas.microsoft.com/office/powerpoint/2010/main" val="1347314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69240" y="1299690"/>
            <a:ext cx="12061383" cy="727700"/>
          </a:xfrm>
        </p:spPr>
        <p:txBody>
          <a:bodyPr/>
          <a:lstStyle>
            <a:lvl1pPr marL="0" indent="0">
              <a:buNone/>
              <a:defRPr/>
            </a:lvl1pPr>
          </a:lstStyle>
          <a:p>
            <a:r>
              <a:rPr lang="en-US" dirty="0"/>
              <a:t>Click icon to add pictur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846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69240" y="0"/>
            <a:ext cx="11922761" cy="72770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859963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269240" y="0"/>
            <a:ext cx="11922761"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04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93945702"/>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72379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50930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5918506"/>
      </p:ext>
    </p:extLst>
  </p:cSld>
  <p:clrMapOvr>
    <a:masterClrMapping/>
  </p:clrMapOvr>
  <p:transition>
    <p:fade/>
  </p:transition>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919791589"/>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158686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32155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927766"/>
      </p:ext>
    </p:extLst>
  </p:cSld>
  <p:clrMapOvr>
    <a:masterClrMapping/>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459993714"/>
      </p:ext>
    </p:extLst>
  </p:cSld>
  <p:clrMapOvr>
    <a:masterClrMapping/>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883586005"/>
      </p:ext>
    </p:extLst>
  </p:cSld>
  <p:clrMapOvr>
    <a:masterClrMapping/>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1509294"/>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75684349"/>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663705"/>
            <a:ext cx="12192000" cy="727700"/>
          </a:xfrm>
        </p:spPr>
        <p:txBody>
          <a:bodyPr/>
          <a:lstStyle/>
          <a:p>
            <a:r>
              <a:rPr lang="en-US" dirty="0"/>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52756"/>
      </p:ext>
    </p:extLst>
  </p:cSld>
  <p:clrMapOvr>
    <a:masterClrMapping/>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6670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43657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281365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507238"/>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880286"/>
      </p:ext>
    </p:extLst>
  </p:cSld>
  <p:clrMapOvr>
    <a:masterClrMapping/>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1775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12726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25664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208800333"/>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621798"/>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91944"/>
      </p:ext>
    </p:extLst>
  </p:cSld>
  <p:clrMapOvr>
    <a:masterClrMapping/>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367">
              <a:lnSpc>
                <a:spcPct val="90000"/>
              </a:lnSpc>
            </a:pPr>
            <a:fld id="{1BC86A1F-E589-44B2-A543-2EC98F5547A7}" type="slidenum">
              <a:rPr lang="en-US" smtClean="0">
                <a:solidFill>
                  <a:srgbClr val="D2D2D2"/>
                </a:solidFill>
              </a:rPr>
              <a:pPr defTabSz="914367">
                <a:lnSpc>
                  <a:spcPct val="90000"/>
                </a:lnSpc>
              </a:pPr>
              <a:t>‹#›</a:t>
            </a:fld>
            <a:endParaRPr lang="en-US" dirty="0">
              <a:solidFill>
                <a:srgbClr val="D2D2D2"/>
              </a:solidFill>
            </a:endParaRPr>
          </a:p>
        </p:txBody>
      </p:sp>
    </p:spTree>
    <p:extLst>
      <p:ext uri="{BB962C8B-B14F-4D97-AF65-F5344CB8AC3E}">
        <p14:creationId xmlns:p14="http://schemas.microsoft.com/office/powerpoint/2010/main" val="3116032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46860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6586939"/>
      </p:ext>
    </p:extLst>
  </p:cSld>
  <p:clrMapOvr>
    <a:masterClrMapping/>
  </p:clrMapOvr>
  <p:transition>
    <p:fade/>
  </p:transition>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smtClean="0"/>
              <a:t>Session Code Here</a:t>
            </a:r>
            <a:endParaRPr lang="en-US" dirty="0"/>
          </a:p>
        </p:txBody>
      </p:sp>
    </p:spTree>
    <p:extLst>
      <p:ext uri="{BB962C8B-B14F-4D97-AF65-F5344CB8AC3E}">
        <p14:creationId xmlns:p14="http://schemas.microsoft.com/office/powerpoint/2010/main" val="1698798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503631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095792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1942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3494171"/>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8156222"/>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232044"/>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4031793"/>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6899753"/>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486933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2945686"/>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8705171"/>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713443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3941263"/>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4880718"/>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51715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031317"/>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00065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99909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114481"/>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3856691"/>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846480"/>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45224357"/>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04617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8"/>
            <a:ext cx="11151917" cy="771151"/>
          </a:xfrm>
        </p:spPr>
        <p:txBody>
          <a:bodyPr/>
          <a:lstStyle>
            <a:lvl1pPr>
              <a:defRPr>
                <a:solidFill>
                  <a:srgbClr val="FFFFFF"/>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77953" y="1402081"/>
            <a:ext cx="11151917" cy="2052030"/>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2427281"/>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smtClean="0">
                <a:gradFill>
                  <a:gsLst>
                    <a:gs pos="2239">
                      <a:srgbClr val="FFFFFF"/>
                    </a:gs>
                    <a:gs pos="11940">
                      <a:srgbClr val="FFFFFF"/>
                    </a:gs>
                  </a:gsLst>
                  <a:lin ang="5400000" scaled="0"/>
                </a:gradFill>
              </a:rPr>
              <a:t>Microsoft Confidential</a:t>
            </a:r>
            <a:endParaRPr lang="en-US">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pPr defTabSz="914367"/>
            <a:fld id="{27258FFF-F925-446B-8502-81C933981705}" type="slidenum">
              <a:rPr lang="en-US" smtClean="0">
                <a:gradFill>
                  <a:gsLst>
                    <a:gs pos="2239">
                      <a:srgbClr val="FFFFFF"/>
                    </a:gs>
                    <a:gs pos="11940">
                      <a:srgbClr val="FFFFFF"/>
                    </a:gs>
                  </a:gsLst>
                  <a:lin ang="5400000" scaled="0"/>
                </a:gradFill>
              </a:rPr>
              <a:pPr defTabSz="91436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1265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47470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Tree>
    <p:extLst>
      <p:ext uri="{BB962C8B-B14F-4D97-AF65-F5344CB8AC3E}">
        <p14:creationId xmlns:p14="http://schemas.microsoft.com/office/powerpoint/2010/main" val="2866330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69240" y="1299690"/>
            <a:ext cx="12061383" cy="727700"/>
          </a:xfrm>
        </p:spPr>
        <p:txBody>
          <a:bodyPr/>
          <a:lstStyle>
            <a:lvl1pPr marL="0" indent="0">
              <a:buNone/>
              <a:defRPr/>
            </a:lvl1pPr>
          </a:lstStyle>
          <a:p>
            <a:r>
              <a:rPr lang="en-US" dirty="0"/>
              <a:t>Click icon to add pictur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585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69240" y="0"/>
            <a:ext cx="11922761" cy="72770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657437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269240" y="0"/>
            <a:ext cx="11922761"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06611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41534853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2687043"/>
      </p:ext>
    </p:extLst>
  </p:cSld>
  <p:clrMapOvr>
    <a:masterClrMapping/>
  </p:clrMapOvr>
  <p:transition>
    <p:fade/>
  </p:transition>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85970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3067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649906012"/>
      </p:ext>
    </p:extLst>
  </p:cSld>
  <p:clrMapOvr>
    <a:masterClrMapping/>
  </p:clrMapOvr>
  <p:transition>
    <p:fade/>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416694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00774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685437"/>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901229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556270657"/>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0230445"/>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8347401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190635"/>
      </p:ext>
    </p:extLst>
  </p:cSld>
  <p:clrMapOvr>
    <a:masterClrMapping/>
  </p:clrMapOvr>
  <p:transition>
    <p:fade/>
  </p:transition>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663705"/>
            <a:ext cx="12192000" cy="727700"/>
          </a:xfrm>
        </p:spPr>
        <p:txBody>
          <a:bodyPr/>
          <a:lstStyle/>
          <a:p>
            <a:r>
              <a:rPr lang="en-US" dirty="0"/>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615714"/>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298076"/>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000605"/>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3070218"/>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027471"/>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69874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81805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66006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016222286"/>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621798"/>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3530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017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367">
              <a:lnSpc>
                <a:spcPct val="90000"/>
              </a:lnSpc>
            </a:pPr>
            <a:fld id="{1BC86A1F-E589-44B2-A543-2EC98F5547A7}" type="slidenum">
              <a:rPr lang="en-US" smtClean="0">
                <a:solidFill>
                  <a:srgbClr val="D2D2D2"/>
                </a:solidFill>
              </a:rPr>
              <a:pPr defTabSz="914367">
                <a:lnSpc>
                  <a:spcPct val="90000"/>
                </a:lnSpc>
              </a:pPr>
              <a:t>‹#›</a:t>
            </a:fld>
            <a:endParaRPr lang="en-US" dirty="0">
              <a:solidFill>
                <a:srgbClr val="D2D2D2"/>
              </a:solidFill>
            </a:endParaRPr>
          </a:p>
        </p:txBody>
      </p:sp>
    </p:spTree>
    <p:extLst>
      <p:ext uri="{BB962C8B-B14F-4D97-AF65-F5344CB8AC3E}">
        <p14:creationId xmlns:p14="http://schemas.microsoft.com/office/powerpoint/2010/main" val="1167734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2661737"/>
      </p:ext>
    </p:extLst>
  </p:cSld>
  <p:clrMapOvr>
    <a:masterClrMapping/>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smtClean="0">
                <a:gradFill>
                  <a:gsLst>
                    <a:gs pos="2239">
                      <a:srgbClr val="FFFFFF"/>
                    </a:gs>
                    <a:gs pos="11940">
                      <a:srgbClr val="FFFFFF"/>
                    </a:gs>
                  </a:gsLst>
                  <a:lin ang="5400000" scaled="0"/>
                </a:gradFill>
              </a:rPr>
              <a:t>Microsoft Confidential</a:t>
            </a:r>
            <a:endParaRPr lang="en-US">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pPr defTabSz="914367"/>
            <a:fld id="{27258FFF-F925-446B-8502-81C933981705}" type="slidenum">
              <a:rPr lang="en-US" smtClean="0">
                <a:gradFill>
                  <a:gsLst>
                    <a:gs pos="2239">
                      <a:srgbClr val="FFFFFF"/>
                    </a:gs>
                    <a:gs pos="11940">
                      <a:srgbClr val="FFFFFF"/>
                    </a:gs>
                  </a:gsLst>
                  <a:lin ang="5400000" scaled="0"/>
                </a:gradFill>
              </a:rPr>
              <a:pPr defTabSz="91436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1440627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9061694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Tree>
    <p:extLst>
      <p:ext uri="{BB962C8B-B14F-4D97-AF65-F5344CB8AC3E}">
        <p14:creationId xmlns:p14="http://schemas.microsoft.com/office/powerpoint/2010/main" val="3646433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69240" y="1299690"/>
            <a:ext cx="12061383" cy="727700"/>
          </a:xfrm>
        </p:spPr>
        <p:txBody>
          <a:bodyPr/>
          <a:lstStyle>
            <a:lvl1pPr marL="0" indent="0">
              <a:buNone/>
              <a:defRPr/>
            </a:lvl1pPr>
          </a:lstStyle>
          <a:p>
            <a:r>
              <a:rPr lang="en-US" dirty="0"/>
              <a:t>Click icon to add pictur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536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69240" y="0"/>
            <a:ext cx="11922761" cy="72770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1693847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269240" y="0"/>
            <a:ext cx="11922761"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9472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096040055"/>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78555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5579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130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940368901"/>
      </p:ext>
    </p:extLst>
  </p:cSld>
  <p:clrMapOvr>
    <a:masterClrMapping/>
  </p:clrMapOvr>
  <p:transition>
    <p:fade/>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263672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984333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210302"/>
      </p:ext>
    </p:extLst>
  </p:cSld>
  <p:clrMapOvr>
    <a:masterClrMapping/>
  </p:clrMapOvr>
  <p:transition>
    <p:fade/>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717086829"/>
      </p:ext>
    </p:extLst>
  </p:cSld>
  <p:clrMapOvr>
    <a:masterClrMapping/>
  </p:clrMapOvr>
  <p:transition>
    <p:fade/>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31947512"/>
      </p:ext>
    </p:extLst>
  </p:cSld>
  <p:clrMapOvr>
    <a:masterClrMapping/>
  </p:clrMapOvr>
  <p:transition>
    <p:fade/>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682458"/>
      </p:ext>
    </p:extLst>
  </p:cSld>
  <p:clrMapOvr>
    <a:masterClrMapping/>
  </p:clrMapOvr>
  <p:transition>
    <p:fade/>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06799866"/>
      </p:ext>
    </p:extLst>
  </p:cSld>
  <p:clrMapOvr>
    <a:masterClrMapping/>
  </p:clrMapOvr>
  <p:transition>
    <p:fade/>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663705"/>
            <a:ext cx="12192000" cy="727700"/>
          </a:xfrm>
        </p:spPr>
        <p:txBody>
          <a:bodyPr/>
          <a:lstStyle/>
          <a:p>
            <a:r>
              <a:rPr lang="en-US" dirty="0"/>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6604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F7D4DD5-9E2A-45C5-B985-3D892F553B24}" type="datetimeFigureOut">
              <a:rPr lang="en-US" smtClean="0"/>
              <a:t>05-May-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42078798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8005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321962"/>
      </p:ext>
    </p:extLst>
  </p:cSld>
  <p:clrMapOvr>
    <a:masterClrMapping/>
  </p:clrMapOvr>
  <p:transition>
    <p:fade/>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5884236"/>
      </p:ext>
    </p:extLst>
  </p:cSld>
  <p:clrMapOvr>
    <a:masterClrMapping/>
  </p:clrMapOvr>
  <p:transition>
    <p:fade/>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1641140"/>
      </p:ext>
    </p:extLst>
  </p:cSld>
  <p:clrMapOvr>
    <a:masterClrMapping/>
  </p:clrMapOvr>
  <p:transition>
    <p:fade/>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085138"/>
      </p:ext>
    </p:extLst>
  </p:cSld>
  <p:clrMapOvr>
    <a:masterClrMapping/>
  </p:clrMapOvr>
  <p:transition>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43825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1605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46611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52546800"/>
      </p:ext>
    </p:extLst>
  </p:cSld>
  <p:clrMapOvr>
    <a:masterClrMapping/>
  </p:clrMapOvr>
  <p:transition>
    <p:fade/>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621798"/>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8580864"/>
      </p:ext>
    </p:extLst>
  </p:cSld>
  <p:clrMapOvr>
    <a:masterClrMapping/>
  </p:clrMapOvr>
  <p:transition>
    <p:fade/>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367">
              <a:lnSpc>
                <a:spcPct val="90000"/>
              </a:lnSpc>
            </a:pPr>
            <a:fld id="{1BC86A1F-E589-44B2-A543-2EC98F5547A7}" type="slidenum">
              <a:rPr lang="en-US" smtClean="0">
                <a:solidFill>
                  <a:srgbClr val="D2D2D2"/>
                </a:solidFill>
              </a:rPr>
              <a:pPr defTabSz="914367">
                <a:lnSpc>
                  <a:spcPct val="90000"/>
                </a:lnSpc>
              </a:pPr>
              <a:t>‹#›</a:t>
            </a:fld>
            <a:endParaRPr lang="en-US" dirty="0">
              <a:solidFill>
                <a:srgbClr val="D2D2D2"/>
              </a:solidFill>
            </a:endParaRPr>
          </a:p>
        </p:txBody>
      </p:sp>
    </p:spTree>
    <p:extLst>
      <p:ext uri="{BB962C8B-B14F-4D97-AF65-F5344CB8AC3E}">
        <p14:creationId xmlns:p14="http://schemas.microsoft.com/office/powerpoint/2010/main" val="3690107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7153758"/>
      </p:ext>
    </p:extLst>
  </p:cSld>
  <p:clrMapOvr>
    <a:masterClrMapping/>
  </p:clrMapOvr>
  <p:transition>
    <p:fade/>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4012220"/>
      </p:ext>
    </p:extLst>
  </p:cSld>
  <p:clrMapOvr>
    <a:masterClrMapping/>
  </p:clrMapOvr>
  <p:transition>
    <p:fade/>
  </p:transition>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smtClean="0">
                <a:gradFill>
                  <a:gsLst>
                    <a:gs pos="2239">
                      <a:srgbClr val="FFFFFF"/>
                    </a:gs>
                    <a:gs pos="11940">
                      <a:srgbClr val="FFFFFF"/>
                    </a:gs>
                  </a:gsLst>
                  <a:lin ang="5400000" scaled="0"/>
                </a:gradFill>
              </a:rPr>
              <a:t>Microsoft Confidential</a:t>
            </a:r>
            <a:endParaRPr lang="en-US">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pPr defTabSz="914367"/>
            <a:fld id="{27258FFF-F925-446B-8502-81C933981705}" type="slidenum">
              <a:rPr lang="en-US" smtClean="0">
                <a:gradFill>
                  <a:gsLst>
                    <a:gs pos="2239">
                      <a:srgbClr val="FFFFFF"/>
                    </a:gs>
                    <a:gs pos="11940">
                      <a:srgbClr val="FFFFFF"/>
                    </a:gs>
                  </a:gsLst>
                  <a:lin ang="5400000" scaled="0"/>
                </a:gradFill>
              </a:rPr>
              <a:pPr defTabSz="91436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784382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963634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_Title Slide 2">
    <p:bg bwMode="gray">
      <p:bgPr>
        <a:solidFill>
          <a:schemeClr val="bg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Tree>
    <p:extLst>
      <p:ext uri="{BB962C8B-B14F-4D97-AF65-F5344CB8AC3E}">
        <p14:creationId xmlns:p14="http://schemas.microsoft.com/office/powerpoint/2010/main" val="56341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69240" y="1299690"/>
            <a:ext cx="12061383" cy="727700"/>
          </a:xfrm>
        </p:spPr>
        <p:txBody>
          <a:bodyPr/>
          <a:lstStyle>
            <a:lvl1pPr marL="0" indent="0">
              <a:buNone/>
              <a:defRPr/>
            </a:lvl1pPr>
          </a:lstStyle>
          <a:p>
            <a:r>
              <a:rPr lang="en-US" dirty="0"/>
              <a:t>Click icon to add pictur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2802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69240" y="0"/>
            <a:ext cx="11922761" cy="72770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3319488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269240" y="0"/>
            <a:ext cx="11922761"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83690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095904329"/>
      </p:ext>
    </p:extLst>
  </p:cSld>
  <p:clrMapOvr>
    <a:masterClrMapping/>
  </p:clrMapOvr>
  <p:transition>
    <p:fade/>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90953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20408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90534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235433379"/>
      </p:ext>
    </p:extLst>
  </p:cSld>
  <p:clrMapOvr>
    <a:masterClrMapping/>
  </p:clrMapOvr>
  <p:transition>
    <p:fade/>
  </p:transition>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07835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346563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5793338"/>
      </p:ext>
    </p:extLst>
  </p:cSld>
  <p:clrMapOvr>
    <a:masterClrMapping/>
  </p:clrMapOvr>
  <p:transition>
    <p:fade/>
  </p:transition>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833593252"/>
      </p:ext>
    </p:extLst>
  </p:cSld>
  <p:clrMapOvr>
    <a:masterClrMapping/>
  </p:clrMapOvr>
  <p:transition>
    <p:fade/>
  </p:transition>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4009457"/>
      </p:ext>
    </p:extLst>
  </p:cSld>
  <p:clrMapOvr>
    <a:masterClrMapping/>
  </p:clrMapOvr>
  <p:transition>
    <p:fade/>
  </p:transition>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091242"/>
      </p:ext>
    </p:extLst>
  </p:cSld>
  <p:clrMapOvr>
    <a:masterClrMapping/>
  </p:clrMapOvr>
  <p:transition>
    <p:fade/>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56220417"/>
      </p:ext>
    </p:extLst>
  </p:cSld>
  <p:clrMapOvr>
    <a:masterClrMapping/>
  </p:clrMapOvr>
  <p:transition>
    <p:fade/>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663705"/>
            <a:ext cx="12192000" cy="727700"/>
          </a:xfrm>
        </p:spPr>
        <p:txBody>
          <a:bodyPr/>
          <a:lstStyle/>
          <a:p>
            <a:r>
              <a:rPr lang="en-US" dirty="0"/>
              <a:t>Click icon to add pictur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6160108"/>
      </p:ext>
    </p:extLst>
  </p:cSld>
  <p:clrMapOvr>
    <a:masterClrMapping/>
  </p:clrMapOvr>
  <p:transition>
    <p:fade/>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72815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dirty="0" smtClean="0"/>
              <a:t>Click to edit Master title style</a:t>
            </a:r>
            <a:endParaRPr lang="en-IN" dirty="0"/>
          </a:p>
        </p:txBody>
      </p:sp>
    </p:spTree>
    <p:extLst>
      <p:ext uri="{BB962C8B-B14F-4D97-AF65-F5344CB8AC3E}">
        <p14:creationId xmlns:p14="http://schemas.microsoft.com/office/powerpoint/2010/main" val="713000729"/>
      </p:ext>
    </p:extLst>
  </p:cSld>
  <p:clrMapOvr>
    <a:masterClrMapping/>
  </p:clrMapOvr>
  <p:timing>
    <p:tnLst>
      <p:par>
        <p:cTn id="1" dur="indefinite" restart="never" nodeType="tmRoot"/>
      </p:par>
    </p:tnLst>
  </p:timing>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7648246"/>
      </p:ext>
    </p:extLst>
  </p:cSld>
  <p:clrMapOvr>
    <a:masterClrMapping/>
  </p:clrMapOvr>
  <p:transition>
    <p:fade/>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704053"/>
      </p:ext>
    </p:extLst>
  </p:cSld>
  <p:clrMapOvr>
    <a:masterClrMapping/>
  </p:clrMapOvr>
  <p:transition>
    <p:fade/>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5430798"/>
      </p:ext>
    </p:extLst>
  </p:cSld>
  <p:clrMapOvr>
    <a:masterClrMapping/>
  </p:clrMapOvr>
  <p:transition>
    <p:fade/>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2374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94663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29018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0"/>
            <a:ext cx="11356757" cy="2184808"/>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09629282"/>
      </p:ext>
    </p:extLst>
  </p:cSld>
  <p:clrMapOvr>
    <a:masterClrMapping/>
  </p:clrMapOvr>
  <p:transition>
    <p:fade/>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621798"/>
            <a:ext cx="11653523"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873576"/>
      </p:ext>
    </p:extLst>
  </p:cSld>
  <p:clrMapOvr>
    <a:masterClrMapping/>
  </p:clrMapOvr>
  <p:transition>
    <p:fade/>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367">
              <a:lnSpc>
                <a:spcPct val="90000"/>
              </a:lnSpc>
            </a:pPr>
            <a:fld id="{1BC86A1F-E589-44B2-A543-2EC98F5547A7}" type="slidenum">
              <a:rPr lang="en-US" smtClean="0">
                <a:solidFill>
                  <a:srgbClr val="D2D2D2"/>
                </a:solidFill>
              </a:rPr>
              <a:pPr defTabSz="914367">
                <a:lnSpc>
                  <a:spcPct val="90000"/>
                </a:lnSpc>
              </a:pPr>
              <a:t>‹#›</a:t>
            </a:fld>
            <a:endParaRPr lang="en-US" dirty="0">
              <a:solidFill>
                <a:srgbClr val="D2D2D2"/>
              </a:solidFill>
            </a:endParaRPr>
          </a:p>
        </p:txBody>
      </p:sp>
    </p:spTree>
    <p:extLst>
      <p:ext uri="{BB962C8B-B14F-4D97-AF65-F5344CB8AC3E}">
        <p14:creationId xmlns:p14="http://schemas.microsoft.com/office/powerpoint/2010/main" val="1697403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1"/>
            <a:ext cx="6080760"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1"/>
            <a:ext cx="5378548" cy="1943142"/>
          </a:xfrm>
        </p:spPr>
        <p:txBody>
          <a:bodyPr wrap="square">
            <a:spAutoFit/>
          </a:bodyPr>
          <a:lstStyle>
            <a:lvl1pPr marL="0" indent="0">
              <a:spcBef>
                <a:spcPts val="1200"/>
              </a:spcBef>
              <a:buClr>
                <a:schemeClr val="tx1"/>
              </a:buClr>
              <a:buFont typeface="Wingdings" pitchFamily="2" charset="2"/>
              <a:buNone/>
              <a:defRPr sz="3135">
                <a:solidFill>
                  <a:schemeClr val="accent4"/>
                </a:soli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36704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914049">
              <a:defRPr/>
            </a:pPr>
            <a:fld id="{4CED8391-71CF-4FD3-A093-40D26DE2D47C}" type="slidenum">
              <a:rPr lang="en-US" smtClean="0">
                <a:solidFill>
                  <a:srgbClr val="00188F"/>
                </a:solidFill>
              </a:rPr>
              <a:pPr defTabSz="914049">
                <a:def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10"/>
            <a:ext cx="11234738" cy="2059859"/>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6757352"/>
      </p:ext>
    </p:extLst>
  </p:cSld>
  <p:clrMapOvr>
    <a:masterClrMapping/>
  </p:clrMapOvr>
  <p:transition>
    <p:fade/>
  </p:transition>
  <p:timing>
    <p:tnLst>
      <p:par>
        <p:cTn id="1" dur="indefinite" restart="never" nodeType="tmRoot"/>
      </p:par>
    </p:tnLst>
  </p:timing>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5" y="6061767"/>
            <a:ext cx="1522404" cy="326167"/>
          </a:xfrm>
          <a:prstGeom prst="rect">
            <a:avLst/>
          </a:prstGeom>
        </p:spPr>
      </p:pic>
      <p:pic>
        <p:nvPicPr>
          <p:cNvPr id="4" name="Picture 3"/>
          <p:cNvPicPr>
            <a:picLocks noChangeAspect="1"/>
          </p:cNvPicPr>
          <p:nvPr userDrawn="1"/>
        </p:nvPicPr>
        <p:blipFill>
          <a:blip r:embed="rId5"/>
          <a:stretch>
            <a:fillRect/>
          </a:stretch>
        </p:blipFill>
        <p:spPr>
          <a:xfrm>
            <a:off x="9071204" y="309930"/>
            <a:ext cx="2840492" cy="694796"/>
          </a:xfrm>
          <a:prstGeom prst="rect">
            <a:avLst/>
          </a:prstGeom>
        </p:spPr>
      </p:pic>
    </p:spTree>
    <p:extLst>
      <p:ext uri="{BB962C8B-B14F-4D97-AF65-F5344CB8AC3E}">
        <p14:creationId xmlns:p14="http://schemas.microsoft.com/office/powerpoint/2010/main" val="190933333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rgbClr val="332443"/>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2" y="4309989"/>
            <a:ext cx="12188888" cy="2551127"/>
          </a:xfrm>
          <a:prstGeom prst="rect">
            <a:avLst/>
          </a:prstGeom>
          <a:solidFill>
            <a:srgbClr val="4DA0E2"/>
          </a:solidFill>
          <a:ln>
            <a:noFill/>
          </a:ln>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7"/>
          </a:xfrm>
          <a:prstGeom prst="rect">
            <a:avLst/>
          </a:prstGeom>
          <a:solidFill>
            <a:srgbClr val="00188F"/>
          </a:solidFill>
          <a:ln>
            <a:noFill/>
          </a:ln>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3" y="3343393"/>
            <a:ext cx="12185778" cy="27706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1" y="-312"/>
            <a:ext cx="12191377" cy="6858623"/>
          </a:xfrm>
          <a:prstGeom prst="rect">
            <a:avLst/>
          </a:prstGeom>
          <a:solidFill>
            <a:srgbClr val="3324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877271"/>
            <a:ext cx="6273417"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7"/>
            <a:ext cx="1522404" cy="326167"/>
          </a:xfrm>
          <a:prstGeom prst="rect">
            <a:avLst/>
          </a:prstGeom>
        </p:spPr>
      </p:pic>
      <p:sp>
        <p:nvSpPr>
          <p:cNvPr id="8" name="Rectangle 6"/>
          <p:cNvSpPr>
            <a:spLocks noChangeArrowheads="1"/>
          </p:cNvSpPr>
          <p:nvPr/>
        </p:nvSpPr>
        <p:spPr bwMode="auto">
          <a:xfrm>
            <a:off x="3112" y="4309989"/>
            <a:ext cx="12188888"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468499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332443"/>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4" y="298256"/>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1186356"/>
            <a:ext cx="7170265" cy="3407696"/>
          </a:xfrm>
          <a:noFill/>
        </p:spPr>
        <p:txBody>
          <a:bodyPr tIns="91440" bIns="91440" anchor="t" anchorCtr="0"/>
          <a:lstStyle>
            <a:lvl1pPr>
              <a:defRPr sz="7057" spc="-99"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6959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7" spc="-99"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4407672"/>
      </p:ext>
    </p:extLst>
  </p:cSld>
  <p:clrMapOvr>
    <a:masterClrMapping/>
  </p:clrMapOvr>
  <p:transition>
    <p:fade/>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97157415"/>
      </p:ext>
    </p:extLst>
  </p:cSld>
  <p:clrMapOvr>
    <a:masterClrMapping/>
  </p:clrMapOvr>
  <p:transition>
    <p:fade/>
  </p:transition>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307" rtl="0" eaLnBrk="1" latinLnBrk="0" hangingPunct="1">
              <a:lnSpc>
                <a:spcPct val="90000"/>
              </a:lnSpc>
              <a:spcBef>
                <a:spcPct val="0"/>
              </a:spcBef>
              <a:buNone/>
              <a:defRPr lang="en-US" sz="8627" b="0" kern="1200" cap="none" spc="-99"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393930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50989"/>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94756"/>
      </p:ext>
    </p:extLst>
  </p:cSld>
  <p:clrMapOvr>
    <a:masterClrMapping/>
  </p:clrMapOvr>
  <p:transition>
    <p:fade/>
  </p:transition>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9846"/>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6923505"/>
      </p:ext>
    </p:extLst>
  </p:cSld>
  <p:clrMapOvr>
    <a:masterClrMapping/>
  </p:clrMapOvr>
  <p:transition>
    <p:fade/>
  </p:transition>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06295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94" indent="0">
              <a:buNone/>
              <a:tabLst/>
              <a:defRPr sz="1961"/>
            </a:lvl3pPr>
            <a:lvl4pPr marL="451276" indent="0">
              <a:buNone/>
              <a:defRPr/>
            </a:lvl4pPr>
            <a:lvl5pPr marL="6722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253944"/>
      </p:ext>
    </p:extLst>
  </p:cSld>
  <p:clrMapOvr>
    <a:masterClrMapping/>
  </p:clrMapOvr>
  <p:transition>
    <p:fade/>
  </p:transition>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129301"/>
          </a:xfrm>
        </p:spPr>
        <p:txBody>
          <a:bodyPr wrap="square">
            <a:spAutoFit/>
          </a:bodyPr>
          <a:lstStyle>
            <a:lvl1pPr marL="281660" indent="-281660">
              <a:spcBef>
                <a:spcPts val="1200"/>
              </a:spcBef>
              <a:buClr>
                <a:schemeClr val="tx1"/>
              </a:buClr>
              <a:buFont typeface="Wingdings" panose="05000000000000000000" pitchFamily="2" charset="2"/>
              <a:buChar char="§"/>
              <a:defRPr sz="3529"/>
            </a:lvl1pPr>
            <a:lvl2pPr marL="520668" indent="-228585">
              <a:defRPr sz="2353"/>
            </a:lvl2pPr>
            <a:lvl3pPr marL="685758" indent="-165089">
              <a:tabLst/>
              <a:defRPr sz="1961"/>
            </a:lvl3pPr>
            <a:lvl4pPr marL="863546" indent="-177789">
              <a:defRPr/>
            </a:lvl4pPr>
            <a:lvl5pPr marL="1028637" indent="-16508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760940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Rectangle 1"/>
          <p:cNvSpPr/>
          <p:nvPr userDrawn="1"/>
        </p:nvSpPr>
        <p:spPr bwMode="auto">
          <a:xfrm>
            <a:off x="438540" y="6391469"/>
            <a:ext cx="2202024" cy="2705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33345213"/>
      </p:ext>
    </p:extLst>
  </p:cSld>
  <p:clrMapOvr>
    <a:masterClrMapping/>
  </p:clrMapOvr>
  <p:transition>
    <p:fade/>
  </p:transition>
  <p:timing>
    <p:tnLst>
      <p:par>
        <p:cTn id="1" dur="indefinite" restart="never" nodeType="tmRoot"/>
      </p:par>
    </p:tnLst>
  </p:timing>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6912118"/>
      </p:ext>
    </p:extLst>
  </p:cSld>
  <p:clrMapOvr>
    <a:masterClrMapping/>
  </p:clrMapOvr>
  <p:transition>
    <p:fade/>
  </p:transition>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7" baseline="0"/>
            </a:lvl1pPr>
          </a:lstStyle>
          <a:p>
            <a:r>
              <a:rPr lang="en-US"/>
              <a:t>Click to edit Master title style</a:t>
            </a:r>
            <a:endParaRPr lang="en-US" dirty="0"/>
          </a:p>
        </p:txBody>
      </p:sp>
    </p:spTree>
    <p:extLst>
      <p:ext uri="{BB962C8B-B14F-4D97-AF65-F5344CB8AC3E}">
        <p14:creationId xmlns:p14="http://schemas.microsoft.com/office/powerpoint/2010/main" val="2310100474"/>
      </p:ext>
    </p:extLst>
  </p:cSld>
  <p:clrMapOvr>
    <a:masterClrMapping/>
  </p:clrMapOvr>
  <p:transition>
    <p:fade/>
  </p:transition>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21842631"/>
      </p:ext>
    </p:extLst>
  </p:cSld>
  <p:clrMapOvr>
    <a:masterClrMapping/>
  </p:clrMapOvr>
  <p:transition>
    <p:fade/>
  </p:transition>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3" y="2084172"/>
            <a:ext cx="8058230"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510320490"/>
      </p:ext>
    </p:extLst>
  </p:cSld>
  <p:clrMapOvr>
    <a:masterClrMapping/>
  </p:clrMapOvr>
  <p:transition>
    <p:fade/>
  </p:transition>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51" indent="-228751">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5"/>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379468547"/>
      </p:ext>
    </p:extLst>
  </p:cSld>
  <p:clrMapOvr>
    <a:masterClrMapping/>
  </p:clrMapOvr>
  <p:transition>
    <p:fade/>
  </p:transition>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7"/>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75230468"/>
      </p:ext>
    </p:extLst>
  </p:cSld>
  <p:clrMapOvr>
    <a:masterClrMapping/>
  </p:clrMapOvr>
  <p:transition>
    <p:fade/>
  </p:transition>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6"/>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1" y="1"/>
            <a:ext cx="6094444" cy="6852152"/>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17816815"/>
      </p:ext>
    </p:extLst>
  </p:cSld>
  <p:clrMapOvr>
    <a:masterClrMapping/>
  </p:clrMapOvr>
  <p:transition>
    <p:fade/>
  </p:transition>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629543"/>
      </p:ext>
    </p:extLst>
  </p:cSld>
  <p:clrMapOvr>
    <a:masterClrMapping/>
  </p:clrMapOvr>
  <p:transition>
    <p:fade/>
  </p:transition>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117989"/>
      </p:ext>
    </p:extLst>
  </p:cSld>
  <p:clrMapOvr>
    <a:masterClrMapping/>
  </p:clrMapOvr>
  <p:transition>
    <p:fade/>
  </p:transition>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649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377353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0.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2"/>
            <a:ext cx="6080760"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3" y="1562102"/>
            <a:ext cx="5378548" cy="2008243"/>
          </a:xfrm>
        </p:spPr>
        <p:txBody>
          <a:bodyPr wrap="square">
            <a:spAutoFit/>
          </a:bodyPr>
          <a:lstStyle>
            <a:lvl1pPr marL="0" indent="0">
              <a:spcBef>
                <a:spcPts val="1200"/>
              </a:spcBef>
              <a:buClr>
                <a:schemeClr val="tx1"/>
              </a:buClr>
              <a:buFont typeface="Wingdings" pitchFamily="2" charset="2"/>
              <a:buNone/>
              <a:defRPr sz="3134">
                <a:solidFill>
                  <a:schemeClr val="accent4"/>
                </a:solidFill>
              </a:defRPr>
            </a:lvl1pPr>
            <a:lvl2pPr marL="0" indent="0">
              <a:buNone/>
              <a:defRPr sz="1961"/>
            </a:lvl2pPr>
            <a:lvl3pPr marL="227107" indent="0">
              <a:buNone/>
              <a:tabLst/>
              <a:defRPr sz="1961"/>
            </a:lvl3pPr>
            <a:lvl4pPr marL="451103" indent="0">
              <a:buNone/>
              <a:defRPr/>
            </a:lvl4pPr>
            <a:lvl5pPr marL="6719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996538"/>
      </p:ext>
    </p:extLst>
  </p:cSld>
  <p:clrMapOvr>
    <a:masterClrMapping/>
  </p:clrMapOvr>
  <p:transition>
    <p:fade/>
  </p:transition>
</p:sldLayout>
</file>

<file path=ppt/slideLayouts/slideLayout8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724121"/>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914367"/>
            <a:fld id="{F642DA6E-6CD9-7C41-9FD8-01D28C61CAEF}" type="datetimeFigureOut">
              <a:rPr lang="en-US" sz="1765" smtClean="0">
                <a:solidFill>
                  <a:srgbClr val="FFFFFF"/>
                </a:solidFill>
              </a:rPr>
              <a:pPr defTabSz="914367"/>
              <a:t>05-May-17</a:t>
            </a:fld>
            <a:endParaRPr lang="en-US" sz="1765">
              <a:solidFill>
                <a:srgbClr val="FFFFFF"/>
              </a:solidFill>
            </a:endParaRPr>
          </a:p>
        </p:txBody>
      </p:sp>
      <p:sp>
        <p:nvSpPr>
          <p:cNvPr id="5" name="Footer Placeholder 4"/>
          <p:cNvSpPr>
            <a:spLocks noGrp="1"/>
          </p:cNvSpPr>
          <p:nvPr>
            <p:ph type="ftr" sz="quarter" idx="11"/>
          </p:nvPr>
        </p:nvSpPr>
        <p:spPr/>
        <p:txBody>
          <a:bodyPr/>
          <a:lstStyle/>
          <a:p>
            <a:pPr defTabSz="914367"/>
            <a:endParaRPr lang="en-US" sz="1765">
              <a:solidFill>
                <a:srgbClr val="FFFFFF"/>
              </a:solidFill>
            </a:endParaRPr>
          </a:p>
        </p:txBody>
      </p:sp>
      <p:sp>
        <p:nvSpPr>
          <p:cNvPr id="6" name="Slide Number Placeholder 5"/>
          <p:cNvSpPr>
            <a:spLocks noGrp="1"/>
          </p:cNvSpPr>
          <p:nvPr>
            <p:ph type="sldNum" sz="quarter" idx="12"/>
          </p:nvPr>
        </p:nvSpPr>
        <p:spPr/>
        <p:txBody>
          <a:bodyPr/>
          <a:lstStyle/>
          <a:p>
            <a:pPr defTabSz="914367"/>
            <a:fld id="{CE3CCD67-A99C-7B4C-9065-78DD3F082118}" type="slidenum">
              <a:rPr lang="en-US" sz="1765" smtClean="0">
                <a:solidFill>
                  <a:srgbClr val="FFFFFF"/>
                </a:solidFill>
              </a:rPr>
              <a:pPr defTabSz="914367"/>
              <a:t>‹#›</a:t>
            </a:fld>
            <a:endParaRPr lang="en-US" sz="1765">
              <a:solidFill>
                <a:srgbClr val="FFFFFF"/>
              </a:solidFill>
            </a:endParaRPr>
          </a:p>
        </p:txBody>
      </p:sp>
    </p:spTree>
    <p:extLst>
      <p:ext uri="{BB962C8B-B14F-4D97-AF65-F5344CB8AC3E}">
        <p14:creationId xmlns:p14="http://schemas.microsoft.com/office/powerpoint/2010/main" val="1065146007"/>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4"/>
          </a:xfrm>
        </p:spPr>
        <p:txBody>
          <a:bodyPr/>
          <a:lstStyle>
            <a:lvl1pPr marL="0" indent="0">
              <a:buNone/>
              <a:defRPr/>
            </a:lvl1pPr>
            <a:lvl2pPr marL="28010" indent="0">
              <a:buNone/>
              <a:defRPr sz="1961"/>
            </a:lvl2pPr>
            <a:lvl3pPr marL="219414" indent="0">
              <a:buNone/>
              <a:defRPr sz="1961"/>
            </a:lvl3pPr>
            <a:lvl4pPr marL="466837" indent="0">
              <a:buNone/>
              <a:defRPr sz="1766"/>
            </a:lvl4pPr>
            <a:lvl5pPr marL="725154" indent="0">
              <a:buNone/>
              <a:defRPr sz="176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7361" y="6566900"/>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29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003759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18" name="Rectangle 17"/>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6274911"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6274911"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0449947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752820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894"/>
            <a:ext cx="12188387" cy="6858973"/>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581974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F7D4DD5-9E2A-45C5-B985-3D892F553B24}" type="datetimeFigureOut">
              <a:rPr lang="en-US" smtClean="0"/>
              <a:t>05-May-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B3DAA1-8BFC-44D3-9B74-5A0C462464C4}" type="slidenum">
              <a:rPr lang="en-US" smtClean="0"/>
              <a:t>‹#›</a:t>
            </a:fld>
            <a:endParaRPr lang="en-US"/>
          </a:p>
        </p:txBody>
      </p:sp>
    </p:spTree>
    <p:extLst>
      <p:ext uri="{BB962C8B-B14F-4D97-AF65-F5344CB8AC3E}">
        <p14:creationId xmlns:p14="http://schemas.microsoft.com/office/powerpoint/2010/main" val="33570592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20089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294218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2"/>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4772271"/>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818367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45123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097483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433912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74921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578278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02807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90069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6" Type="http://schemas.openxmlformats.org/officeDocument/2006/relationships/image" Target="../media/image29.png"/><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theme" Target="../theme/theme10.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theme" Target="../theme/theme11.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image" Target="../media/image40.png"/><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theme" Target="../theme/theme12.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image" Target="../media/image40.png"/><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image" Target="../media/image46.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image" Target="../media/image40.png"/><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46.pn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image" Target="../media/image40.png"/><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15.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21" Type="http://schemas.openxmlformats.org/officeDocument/2006/relationships/theme" Target="../theme/theme16.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image" Target="../media/image4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image" Target="../media/image40.png"/><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theme" Target="../theme/theme17.xml"/><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image" Target="../media/image40.png"/><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theme" Target="../theme/theme18.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image" Target="../media/image40.png"/><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png"/><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image" Target="../media/image40.png"/><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image" Target="../media/image40.png"/><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9.xml"/><Relationship Id="rId13" Type="http://schemas.openxmlformats.org/officeDocument/2006/relationships/slideLayout" Target="../slideLayouts/slideLayout434.xml"/><Relationship Id="rId18" Type="http://schemas.openxmlformats.org/officeDocument/2006/relationships/slideLayout" Target="../slideLayouts/slideLayout439.xml"/><Relationship Id="rId26" Type="http://schemas.openxmlformats.org/officeDocument/2006/relationships/slideLayout" Target="../slideLayouts/slideLayout447.xml"/><Relationship Id="rId3" Type="http://schemas.openxmlformats.org/officeDocument/2006/relationships/slideLayout" Target="../slideLayouts/slideLayout424.xml"/><Relationship Id="rId21" Type="http://schemas.openxmlformats.org/officeDocument/2006/relationships/slideLayout" Target="../slideLayouts/slideLayout442.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17" Type="http://schemas.openxmlformats.org/officeDocument/2006/relationships/slideLayout" Target="../slideLayouts/slideLayout438.xml"/><Relationship Id="rId25" Type="http://schemas.openxmlformats.org/officeDocument/2006/relationships/slideLayout" Target="../slideLayouts/slideLayout446.xml"/><Relationship Id="rId2" Type="http://schemas.openxmlformats.org/officeDocument/2006/relationships/slideLayout" Target="../slideLayouts/slideLayout423.xml"/><Relationship Id="rId16" Type="http://schemas.openxmlformats.org/officeDocument/2006/relationships/slideLayout" Target="../slideLayouts/slideLayout437.xml"/><Relationship Id="rId20" Type="http://schemas.openxmlformats.org/officeDocument/2006/relationships/slideLayout" Target="../slideLayouts/slideLayout441.xml"/><Relationship Id="rId29" Type="http://schemas.openxmlformats.org/officeDocument/2006/relationships/slideLayout" Target="../slideLayouts/slideLayout450.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24" Type="http://schemas.openxmlformats.org/officeDocument/2006/relationships/slideLayout" Target="../slideLayouts/slideLayout445.xml"/><Relationship Id="rId5" Type="http://schemas.openxmlformats.org/officeDocument/2006/relationships/slideLayout" Target="../slideLayouts/slideLayout426.xml"/><Relationship Id="rId15" Type="http://schemas.openxmlformats.org/officeDocument/2006/relationships/slideLayout" Target="../slideLayouts/slideLayout436.xml"/><Relationship Id="rId23" Type="http://schemas.openxmlformats.org/officeDocument/2006/relationships/slideLayout" Target="../slideLayouts/slideLayout444.xml"/><Relationship Id="rId28" Type="http://schemas.openxmlformats.org/officeDocument/2006/relationships/slideLayout" Target="../slideLayouts/slideLayout449.xml"/><Relationship Id="rId10" Type="http://schemas.openxmlformats.org/officeDocument/2006/relationships/slideLayout" Target="../slideLayouts/slideLayout431.xml"/><Relationship Id="rId19" Type="http://schemas.openxmlformats.org/officeDocument/2006/relationships/slideLayout" Target="../slideLayouts/slideLayout440.xml"/><Relationship Id="rId31" Type="http://schemas.openxmlformats.org/officeDocument/2006/relationships/theme" Target="../theme/theme22.xml"/><Relationship Id="rId4" Type="http://schemas.openxmlformats.org/officeDocument/2006/relationships/slideLayout" Target="../slideLayouts/slideLayout425.xml"/><Relationship Id="rId9" Type="http://schemas.openxmlformats.org/officeDocument/2006/relationships/slideLayout" Target="../slideLayouts/slideLayout430.xml"/><Relationship Id="rId14" Type="http://schemas.openxmlformats.org/officeDocument/2006/relationships/slideLayout" Target="../slideLayouts/slideLayout435.xml"/><Relationship Id="rId22" Type="http://schemas.openxmlformats.org/officeDocument/2006/relationships/slideLayout" Target="../slideLayouts/slideLayout443.xml"/><Relationship Id="rId27" Type="http://schemas.openxmlformats.org/officeDocument/2006/relationships/slideLayout" Target="../slideLayouts/slideLayout448.xml"/><Relationship Id="rId30" Type="http://schemas.openxmlformats.org/officeDocument/2006/relationships/slideLayout" Target="../slideLayouts/slideLayout45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theme" Target="../theme/theme23.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theme" Target="../theme/theme24.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5.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image" Target="../media/image54.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60.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6.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slideLayout" Target="../slideLayouts/slideLayout580.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29" Type="http://schemas.openxmlformats.org/officeDocument/2006/relationships/theme" Target="../theme/theme27.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28" Type="http://schemas.openxmlformats.org/officeDocument/2006/relationships/slideLayout" Target="../slideLayouts/slideLayout582.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slideLayout" Target="../slideLayouts/slideLayout581.xml"/><Relationship Id="rId30" Type="http://schemas.openxmlformats.org/officeDocument/2006/relationships/image" Target="../media/image60.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26" Type="http://schemas.openxmlformats.org/officeDocument/2006/relationships/slideLayout" Target="../slideLayouts/slideLayout608.xml"/><Relationship Id="rId3" Type="http://schemas.openxmlformats.org/officeDocument/2006/relationships/slideLayout" Target="../slideLayouts/slideLayout585.xml"/><Relationship Id="rId21" Type="http://schemas.openxmlformats.org/officeDocument/2006/relationships/slideLayout" Target="../slideLayouts/slideLayout603.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5" Type="http://schemas.openxmlformats.org/officeDocument/2006/relationships/slideLayout" Target="../slideLayouts/slideLayout607.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slideLayout" Target="../slideLayouts/slideLayout602.xml"/><Relationship Id="rId29" Type="http://schemas.openxmlformats.org/officeDocument/2006/relationships/theme" Target="../theme/theme28.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24" Type="http://schemas.openxmlformats.org/officeDocument/2006/relationships/slideLayout" Target="../slideLayouts/slideLayout606.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23" Type="http://schemas.openxmlformats.org/officeDocument/2006/relationships/slideLayout" Target="../slideLayouts/slideLayout605.xml"/><Relationship Id="rId28" Type="http://schemas.openxmlformats.org/officeDocument/2006/relationships/slideLayout" Target="../slideLayouts/slideLayout610.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 Id="rId22" Type="http://schemas.openxmlformats.org/officeDocument/2006/relationships/slideLayout" Target="../slideLayouts/slideLayout604.xml"/><Relationship Id="rId27" Type="http://schemas.openxmlformats.org/officeDocument/2006/relationships/slideLayout" Target="../slideLayouts/slideLayout609.xml"/><Relationship Id="rId30" Type="http://schemas.openxmlformats.org/officeDocument/2006/relationships/image" Target="../media/image60.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18.xml"/><Relationship Id="rId13" Type="http://schemas.openxmlformats.org/officeDocument/2006/relationships/slideLayout" Target="../slideLayouts/slideLayout623.xml"/><Relationship Id="rId18" Type="http://schemas.openxmlformats.org/officeDocument/2006/relationships/slideLayout" Target="../slideLayouts/slideLayout628.xml"/><Relationship Id="rId26" Type="http://schemas.openxmlformats.org/officeDocument/2006/relationships/slideLayout" Target="../slideLayouts/slideLayout636.xml"/><Relationship Id="rId3" Type="http://schemas.openxmlformats.org/officeDocument/2006/relationships/slideLayout" Target="../slideLayouts/slideLayout613.xml"/><Relationship Id="rId21" Type="http://schemas.openxmlformats.org/officeDocument/2006/relationships/slideLayout" Target="../slideLayouts/slideLayout631.xml"/><Relationship Id="rId7" Type="http://schemas.openxmlformats.org/officeDocument/2006/relationships/slideLayout" Target="../slideLayouts/slideLayout617.xml"/><Relationship Id="rId12" Type="http://schemas.openxmlformats.org/officeDocument/2006/relationships/slideLayout" Target="../slideLayouts/slideLayout622.xml"/><Relationship Id="rId17" Type="http://schemas.openxmlformats.org/officeDocument/2006/relationships/slideLayout" Target="../slideLayouts/slideLayout627.xml"/><Relationship Id="rId25" Type="http://schemas.openxmlformats.org/officeDocument/2006/relationships/slideLayout" Target="../slideLayouts/slideLayout635.xml"/><Relationship Id="rId2" Type="http://schemas.openxmlformats.org/officeDocument/2006/relationships/slideLayout" Target="../slideLayouts/slideLayout612.xml"/><Relationship Id="rId16" Type="http://schemas.openxmlformats.org/officeDocument/2006/relationships/slideLayout" Target="../slideLayouts/slideLayout626.xml"/><Relationship Id="rId20" Type="http://schemas.openxmlformats.org/officeDocument/2006/relationships/slideLayout" Target="../slideLayouts/slideLayout630.xml"/><Relationship Id="rId29" Type="http://schemas.openxmlformats.org/officeDocument/2006/relationships/theme" Target="../theme/theme29.xml"/><Relationship Id="rId1" Type="http://schemas.openxmlformats.org/officeDocument/2006/relationships/slideLayout" Target="../slideLayouts/slideLayout611.xml"/><Relationship Id="rId6" Type="http://schemas.openxmlformats.org/officeDocument/2006/relationships/slideLayout" Target="../slideLayouts/slideLayout616.xml"/><Relationship Id="rId11" Type="http://schemas.openxmlformats.org/officeDocument/2006/relationships/slideLayout" Target="../slideLayouts/slideLayout621.xml"/><Relationship Id="rId24" Type="http://schemas.openxmlformats.org/officeDocument/2006/relationships/slideLayout" Target="../slideLayouts/slideLayout634.xml"/><Relationship Id="rId5" Type="http://schemas.openxmlformats.org/officeDocument/2006/relationships/slideLayout" Target="../slideLayouts/slideLayout615.xml"/><Relationship Id="rId15" Type="http://schemas.openxmlformats.org/officeDocument/2006/relationships/slideLayout" Target="../slideLayouts/slideLayout625.xml"/><Relationship Id="rId23" Type="http://schemas.openxmlformats.org/officeDocument/2006/relationships/slideLayout" Target="../slideLayouts/slideLayout633.xml"/><Relationship Id="rId28" Type="http://schemas.openxmlformats.org/officeDocument/2006/relationships/slideLayout" Target="../slideLayouts/slideLayout638.xml"/><Relationship Id="rId10" Type="http://schemas.openxmlformats.org/officeDocument/2006/relationships/slideLayout" Target="../slideLayouts/slideLayout620.xml"/><Relationship Id="rId19" Type="http://schemas.openxmlformats.org/officeDocument/2006/relationships/slideLayout" Target="../slideLayouts/slideLayout629.xml"/><Relationship Id="rId4" Type="http://schemas.openxmlformats.org/officeDocument/2006/relationships/slideLayout" Target="../slideLayouts/slideLayout614.xml"/><Relationship Id="rId9" Type="http://schemas.openxmlformats.org/officeDocument/2006/relationships/slideLayout" Target="../slideLayouts/slideLayout619.xml"/><Relationship Id="rId14" Type="http://schemas.openxmlformats.org/officeDocument/2006/relationships/slideLayout" Target="../slideLayouts/slideLayout624.xml"/><Relationship Id="rId22" Type="http://schemas.openxmlformats.org/officeDocument/2006/relationships/slideLayout" Target="../slideLayouts/slideLayout632.xml"/><Relationship Id="rId27" Type="http://schemas.openxmlformats.org/officeDocument/2006/relationships/slideLayout" Target="../slideLayouts/slideLayout637.xml"/><Relationship Id="rId30" Type="http://schemas.openxmlformats.org/officeDocument/2006/relationships/image" Target="../media/image60.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image" Target="../media/image1.png"/><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8" Type="http://schemas.openxmlformats.org/officeDocument/2006/relationships/slideLayout" Target="../slideLayouts/slideLayout56.xml"/><Relationship Id="rId3" Type="http://schemas.openxmlformats.org/officeDocument/2006/relationships/slideLayout" Target="../slideLayouts/slideLayout5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46.xml"/><Relationship Id="rId13" Type="http://schemas.openxmlformats.org/officeDocument/2006/relationships/slideLayout" Target="../slideLayouts/slideLayout651.xml"/><Relationship Id="rId18" Type="http://schemas.openxmlformats.org/officeDocument/2006/relationships/slideLayout" Target="../slideLayouts/slideLayout656.xml"/><Relationship Id="rId26" Type="http://schemas.openxmlformats.org/officeDocument/2006/relationships/image" Target="../media/image60.png"/><Relationship Id="rId3" Type="http://schemas.openxmlformats.org/officeDocument/2006/relationships/slideLayout" Target="../slideLayouts/slideLayout641.xml"/><Relationship Id="rId21" Type="http://schemas.openxmlformats.org/officeDocument/2006/relationships/slideLayout" Target="../slideLayouts/slideLayout659.xml"/><Relationship Id="rId7" Type="http://schemas.openxmlformats.org/officeDocument/2006/relationships/slideLayout" Target="../slideLayouts/slideLayout645.xml"/><Relationship Id="rId12" Type="http://schemas.openxmlformats.org/officeDocument/2006/relationships/slideLayout" Target="../slideLayouts/slideLayout650.xml"/><Relationship Id="rId17" Type="http://schemas.openxmlformats.org/officeDocument/2006/relationships/slideLayout" Target="../slideLayouts/slideLayout655.xml"/><Relationship Id="rId25" Type="http://schemas.openxmlformats.org/officeDocument/2006/relationships/theme" Target="../theme/theme30.xml"/><Relationship Id="rId2" Type="http://schemas.openxmlformats.org/officeDocument/2006/relationships/slideLayout" Target="../slideLayouts/slideLayout640.xml"/><Relationship Id="rId16" Type="http://schemas.openxmlformats.org/officeDocument/2006/relationships/slideLayout" Target="../slideLayouts/slideLayout654.xml"/><Relationship Id="rId20" Type="http://schemas.openxmlformats.org/officeDocument/2006/relationships/slideLayout" Target="../slideLayouts/slideLayout658.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slideLayout" Target="../slideLayouts/slideLayout649.xml"/><Relationship Id="rId24" Type="http://schemas.openxmlformats.org/officeDocument/2006/relationships/slideLayout" Target="../slideLayouts/slideLayout662.xml"/><Relationship Id="rId5" Type="http://schemas.openxmlformats.org/officeDocument/2006/relationships/slideLayout" Target="../slideLayouts/slideLayout643.xml"/><Relationship Id="rId15" Type="http://schemas.openxmlformats.org/officeDocument/2006/relationships/slideLayout" Target="../slideLayouts/slideLayout653.xml"/><Relationship Id="rId23" Type="http://schemas.openxmlformats.org/officeDocument/2006/relationships/slideLayout" Target="../slideLayouts/slideLayout661.xml"/><Relationship Id="rId10" Type="http://schemas.openxmlformats.org/officeDocument/2006/relationships/slideLayout" Target="../slideLayouts/slideLayout648.xml"/><Relationship Id="rId19" Type="http://schemas.openxmlformats.org/officeDocument/2006/relationships/slideLayout" Target="../slideLayouts/slideLayout657.xml"/><Relationship Id="rId4" Type="http://schemas.openxmlformats.org/officeDocument/2006/relationships/slideLayout" Target="../slideLayouts/slideLayout642.xml"/><Relationship Id="rId9" Type="http://schemas.openxmlformats.org/officeDocument/2006/relationships/slideLayout" Target="../slideLayouts/slideLayout647.xml"/><Relationship Id="rId14" Type="http://schemas.openxmlformats.org/officeDocument/2006/relationships/slideLayout" Target="../slideLayouts/slideLayout652.xml"/><Relationship Id="rId22" Type="http://schemas.openxmlformats.org/officeDocument/2006/relationships/slideLayout" Target="../slideLayouts/slideLayout660.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675.xml"/><Relationship Id="rId18" Type="http://schemas.openxmlformats.org/officeDocument/2006/relationships/slideLayout" Target="../slideLayouts/slideLayout680.xml"/><Relationship Id="rId26" Type="http://schemas.openxmlformats.org/officeDocument/2006/relationships/slideLayout" Target="../slideLayouts/slideLayout688.xml"/><Relationship Id="rId39" Type="http://schemas.openxmlformats.org/officeDocument/2006/relationships/theme" Target="../theme/theme31.xml"/><Relationship Id="rId21" Type="http://schemas.openxmlformats.org/officeDocument/2006/relationships/slideLayout" Target="../slideLayouts/slideLayout683.xml"/><Relationship Id="rId34" Type="http://schemas.openxmlformats.org/officeDocument/2006/relationships/slideLayout" Target="../slideLayouts/slideLayout696.xml"/><Relationship Id="rId7" Type="http://schemas.openxmlformats.org/officeDocument/2006/relationships/slideLayout" Target="../slideLayouts/slideLayout669.xml"/><Relationship Id="rId12" Type="http://schemas.openxmlformats.org/officeDocument/2006/relationships/slideLayout" Target="../slideLayouts/slideLayout674.xml"/><Relationship Id="rId17" Type="http://schemas.openxmlformats.org/officeDocument/2006/relationships/slideLayout" Target="../slideLayouts/slideLayout679.xml"/><Relationship Id="rId25" Type="http://schemas.openxmlformats.org/officeDocument/2006/relationships/slideLayout" Target="../slideLayouts/slideLayout687.xml"/><Relationship Id="rId33" Type="http://schemas.openxmlformats.org/officeDocument/2006/relationships/slideLayout" Target="../slideLayouts/slideLayout695.xml"/><Relationship Id="rId38" Type="http://schemas.openxmlformats.org/officeDocument/2006/relationships/slideLayout" Target="../slideLayouts/slideLayout700.xml"/><Relationship Id="rId2" Type="http://schemas.openxmlformats.org/officeDocument/2006/relationships/slideLayout" Target="../slideLayouts/slideLayout664.xml"/><Relationship Id="rId16" Type="http://schemas.openxmlformats.org/officeDocument/2006/relationships/slideLayout" Target="../slideLayouts/slideLayout678.xml"/><Relationship Id="rId20" Type="http://schemas.openxmlformats.org/officeDocument/2006/relationships/slideLayout" Target="../slideLayouts/slideLayout682.xml"/><Relationship Id="rId29" Type="http://schemas.openxmlformats.org/officeDocument/2006/relationships/slideLayout" Target="../slideLayouts/slideLayout691.xml"/><Relationship Id="rId1" Type="http://schemas.openxmlformats.org/officeDocument/2006/relationships/slideLayout" Target="../slideLayouts/slideLayout663.xml"/><Relationship Id="rId6" Type="http://schemas.openxmlformats.org/officeDocument/2006/relationships/slideLayout" Target="../slideLayouts/slideLayout668.xml"/><Relationship Id="rId11" Type="http://schemas.openxmlformats.org/officeDocument/2006/relationships/slideLayout" Target="../slideLayouts/slideLayout673.xml"/><Relationship Id="rId24" Type="http://schemas.openxmlformats.org/officeDocument/2006/relationships/slideLayout" Target="../slideLayouts/slideLayout686.xml"/><Relationship Id="rId32" Type="http://schemas.openxmlformats.org/officeDocument/2006/relationships/slideLayout" Target="../slideLayouts/slideLayout694.xml"/><Relationship Id="rId37" Type="http://schemas.openxmlformats.org/officeDocument/2006/relationships/slideLayout" Target="../slideLayouts/slideLayout699.xml"/><Relationship Id="rId5" Type="http://schemas.openxmlformats.org/officeDocument/2006/relationships/slideLayout" Target="../slideLayouts/slideLayout667.xml"/><Relationship Id="rId15" Type="http://schemas.openxmlformats.org/officeDocument/2006/relationships/slideLayout" Target="../slideLayouts/slideLayout677.xml"/><Relationship Id="rId23" Type="http://schemas.openxmlformats.org/officeDocument/2006/relationships/slideLayout" Target="../slideLayouts/slideLayout685.xml"/><Relationship Id="rId28" Type="http://schemas.openxmlformats.org/officeDocument/2006/relationships/slideLayout" Target="../slideLayouts/slideLayout690.xml"/><Relationship Id="rId36" Type="http://schemas.openxmlformats.org/officeDocument/2006/relationships/slideLayout" Target="../slideLayouts/slideLayout698.xml"/><Relationship Id="rId10" Type="http://schemas.openxmlformats.org/officeDocument/2006/relationships/slideLayout" Target="../slideLayouts/slideLayout672.xml"/><Relationship Id="rId19" Type="http://schemas.openxmlformats.org/officeDocument/2006/relationships/slideLayout" Target="../slideLayouts/slideLayout681.xml"/><Relationship Id="rId31" Type="http://schemas.openxmlformats.org/officeDocument/2006/relationships/slideLayout" Target="../slideLayouts/slideLayout693.xml"/><Relationship Id="rId4" Type="http://schemas.openxmlformats.org/officeDocument/2006/relationships/slideLayout" Target="../slideLayouts/slideLayout666.xml"/><Relationship Id="rId9" Type="http://schemas.openxmlformats.org/officeDocument/2006/relationships/slideLayout" Target="../slideLayouts/slideLayout671.xml"/><Relationship Id="rId14" Type="http://schemas.openxmlformats.org/officeDocument/2006/relationships/slideLayout" Target="../slideLayouts/slideLayout676.xml"/><Relationship Id="rId22" Type="http://schemas.openxmlformats.org/officeDocument/2006/relationships/slideLayout" Target="../slideLayouts/slideLayout684.xml"/><Relationship Id="rId27" Type="http://schemas.openxmlformats.org/officeDocument/2006/relationships/slideLayout" Target="../slideLayouts/slideLayout689.xml"/><Relationship Id="rId30" Type="http://schemas.openxmlformats.org/officeDocument/2006/relationships/slideLayout" Target="../slideLayouts/slideLayout692.xml"/><Relationship Id="rId35" Type="http://schemas.openxmlformats.org/officeDocument/2006/relationships/slideLayout" Target="../slideLayouts/slideLayout697.xml"/><Relationship Id="rId8" Type="http://schemas.openxmlformats.org/officeDocument/2006/relationships/slideLayout" Target="../slideLayouts/slideLayout670.xml"/><Relationship Id="rId3" Type="http://schemas.openxmlformats.org/officeDocument/2006/relationships/slideLayout" Target="../slideLayouts/slideLayout66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slideLayout" Target="../slideLayouts/slideLayout729.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 Id="rId30"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37.xml"/><Relationship Id="rId13" Type="http://schemas.openxmlformats.org/officeDocument/2006/relationships/slideLayout" Target="../slideLayouts/slideLayout742.xml"/><Relationship Id="rId18" Type="http://schemas.openxmlformats.org/officeDocument/2006/relationships/slideLayout" Target="../slideLayouts/slideLayout747.xml"/><Relationship Id="rId3" Type="http://schemas.openxmlformats.org/officeDocument/2006/relationships/slideLayout" Target="../slideLayouts/slideLayout732.xml"/><Relationship Id="rId21" Type="http://schemas.openxmlformats.org/officeDocument/2006/relationships/slideLayout" Target="../slideLayouts/slideLayout750.xml"/><Relationship Id="rId7" Type="http://schemas.openxmlformats.org/officeDocument/2006/relationships/slideLayout" Target="../slideLayouts/slideLayout736.xml"/><Relationship Id="rId12" Type="http://schemas.openxmlformats.org/officeDocument/2006/relationships/slideLayout" Target="../slideLayouts/slideLayout741.xml"/><Relationship Id="rId17" Type="http://schemas.openxmlformats.org/officeDocument/2006/relationships/slideLayout" Target="../slideLayouts/slideLayout746.xml"/><Relationship Id="rId2" Type="http://schemas.openxmlformats.org/officeDocument/2006/relationships/slideLayout" Target="../slideLayouts/slideLayout731.xml"/><Relationship Id="rId16" Type="http://schemas.openxmlformats.org/officeDocument/2006/relationships/slideLayout" Target="../slideLayouts/slideLayout745.xml"/><Relationship Id="rId20" Type="http://schemas.openxmlformats.org/officeDocument/2006/relationships/slideLayout" Target="../slideLayouts/slideLayout749.xml"/><Relationship Id="rId1" Type="http://schemas.openxmlformats.org/officeDocument/2006/relationships/slideLayout" Target="../slideLayouts/slideLayout730.xml"/><Relationship Id="rId6" Type="http://schemas.openxmlformats.org/officeDocument/2006/relationships/slideLayout" Target="../slideLayouts/slideLayout735.xml"/><Relationship Id="rId11" Type="http://schemas.openxmlformats.org/officeDocument/2006/relationships/slideLayout" Target="../slideLayouts/slideLayout740.xml"/><Relationship Id="rId24" Type="http://schemas.openxmlformats.org/officeDocument/2006/relationships/theme" Target="../theme/theme33.xml"/><Relationship Id="rId5" Type="http://schemas.openxmlformats.org/officeDocument/2006/relationships/slideLayout" Target="../slideLayouts/slideLayout734.xml"/><Relationship Id="rId15" Type="http://schemas.openxmlformats.org/officeDocument/2006/relationships/slideLayout" Target="../slideLayouts/slideLayout744.xml"/><Relationship Id="rId23" Type="http://schemas.openxmlformats.org/officeDocument/2006/relationships/slideLayout" Target="../slideLayouts/slideLayout752.xml"/><Relationship Id="rId10" Type="http://schemas.openxmlformats.org/officeDocument/2006/relationships/slideLayout" Target="../slideLayouts/slideLayout739.xml"/><Relationship Id="rId19" Type="http://schemas.openxmlformats.org/officeDocument/2006/relationships/slideLayout" Target="../slideLayouts/slideLayout748.xml"/><Relationship Id="rId4" Type="http://schemas.openxmlformats.org/officeDocument/2006/relationships/slideLayout" Target="../slideLayouts/slideLayout733.xml"/><Relationship Id="rId9" Type="http://schemas.openxmlformats.org/officeDocument/2006/relationships/slideLayout" Target="../slideLayouts/slideLayout738.xml"/><Relationship Id="rId14" Type="http://schemas.openxmlformats.org/officeDocument/2006/relationships/slideLayout" Target="../slideLayouts/slideLayout743.xml"/><Relationship Id="rId22" Type="http://schemas.openxmlformats.org/officeDocument/2006/relationships/slideLayout" Target="../slideLayouts/slideLayout751.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60.xml"/><Relationship Id="rId13" Type="http://schemas.openxmlformats.org/officeDocument/2006/relationships/slideLayout" Target="../slideLayouts/slideLayout765.xml"/><Relationship Id="rId18" Type="http://schemas.openxmlformats.org/officeDocument/2006/relationships/slideLayout" Target="../slideLayouts/slideLayout770.xml"/><Relationship Id="rId26" Type="http://schemas.openxmlformats.org/officeDocument/2006/relationships/slideLayout" Target="../slideLayouts/slideLayout778.xml"/><Relationship Id="rId3" Type="http://schemas.openxmlformats.org/officeDocument/2006/relationships/slideLayout" Target="../slideLayouts/slideLayout755.xml"/><Relationship Id="rId21" Type="http://schemas.openxmlformats.org/officeDocument/2006/relationships/slideLayout" Target="../slideLayouts/slideLayout773.xml"/><Relationship Id="rId7" Type="http://schemas.openxmlformats.org/officeDocument/2006/relationships/slideLayout" Target="../slideLayouts/slideLayout759.xml"/><Relationship Id="rId12" Type="http://schemas.openxmlformats.org/officeDocument/2006/relationships/slideLayout" Target="../slideLayouts/slideLayout764.xml"/><Relationship Id="rId17" Type="http://schemas.openxmlformats.org/officeDocument/2006/relationships/slideLayout" Target="../slideLayouts/slideLayout769.xml"/><Relationship Id="rId25" Type="http://schemas.openxmlformats.org/officeDocument/2006/relationships/slideLayout" Target="../slideLayouts/slideLayout777.xml"/><Relationship Id="rId2" Type="http://schemas.openxmlformats.org/officeDocument/2006/relationships/slideLayout" Target="../slideLayouts/slideLayout754.xml"/><Relationship Id="rId16" Type="http://schemas.openxmlformats.org/officeDocument/2006/relationships/slideLayout" Target="../slideLayouts/slideLayout768.xml"/><Relationship Id="rId20" Type="http://schemas.openxmlformats.org/officeDocument/2006/relationships/slideLayout" Target="../slideLayouts/slideLayout772.xml"/><Relationship Id="rId29" Type="http://schemas.openxmlformats.org/officeDocument/2006/relationships/slideLayout" Target="../slideLayouts/slideLayout781.xml"/><Relationship Id="rId1" Type="http://schemas.openxmlformats.org/officeDocument/2006/relationships/slideLayout" Target="../slideLayouts/slideLayout753.xml"/><Relationship Id="rId6" Type="http://schemas.openxmlformats.org/officeDocument/2006/relationships/slideLayout" Target="../slideLayouts/slideLayout758.xml"/><Relationship Id="rId11" Type="http://schemas.openxmlformats.org/officeDocument/2006/relationships/slideLayout" Target="../slideLayouts/slideLayout763.xml"/><Relationship Id="rId24" Type="http://schemas.openxmlformats.org/officeDocument/2006/relationships/slideLayout" Target="../slideLayouts/slideLayout776.xml"/><Relationship Id="rId5" Type="http://schemas.openxmlformats.org/officeDocument/2006/relationships/slideLayout" Target="../slideLayouts/slideLayout757.xml"/><Relationship Id="rId15" Type="http://schemas.openxmlformats.org/officeDocument/2006/relationships/slideLayout" Target="../slideLayouts/slideLayout767.xml"/><Relationship Id="rId23" Type="http://schemas.openxmlformats.org/officeDocument/2006/relationships/slideLayout" Target="../slideLayouts/slideLayout775.xml"/><Relationship Id="rId28" Type="http://schemas.openxmlformats.org/officeDocument/2006/relationships/slideLayout" Target="../slideLayouts/slideLayout780.xml"/><Relationship Id="rId10" Type="http://schemas.openxmlformats.org/officeDocument/2006/relationships/slideLayout" Target="../slideLayouts/slideLayout762.xml"/><Relationship Id="rId19" Type="http://schemas.openxmlformats.org/officeDocument/2006/relationships/slideLayout" Target="../slideLayouts/slideLayout771.xml"/><Relationship Id="rId4" Type="http://schemas.openxmlformats.org/officeDocument/2006/relationships/slideLayout" Target="../slideLayouts/slideLayout756.xml"/><Relationship Id="rId9" Type="http://schemas.openxmlformats.org/officeDocument/2006/relationships/slideLayout" Target="../slideLayouts/slideLayout761.xml"/><Relationship Id="rId14" Type="http://schemas.openxmlformats.org/officeDocument/2006/relationships/slideLayout" Target="../slideLayouts/slideLayout766.xml"/><Relationship Id="rId22" Type="http://schemas.openxmlformats.org/officeDocument/2006/relationships/slideLayout" Target="../slideLayouts/slideLayout774.xml"/><Relationship Id="rId27" Type="http://schemas.openxmlformats.org/officeDocument/2006/relationships/slideLayout" Target="../slideLayouts/slideLayout779.xml"/><Relationship Id="rId30"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89.xml"/><Relationship Id="rId13" Type="http://schemas.openxmlformats.org/officeDocument/2006/relationships/slideLayout" Target="../slideLayouts/slideLayout794.xml"/><Relationship Id="rId18" Type="http://schemas.openxmlformats.org/officeDocument/2006/relationships/slideLayout" Target="../slideLayouts/slideLayout799.xml"/><Relationship Id="rId26" Type="http://schemas.openxmlformats.org/officeDocument/2006/relationships/slideLayout" Target="../slideLayouts/slideLayout807.xml"/><Relationship Id="rId3" Type="http://schemas.openxmlformats.org/officeDocument/2006/relationships/slideLayout" Target="../slideLayouts/slideLayout784.xml"/><Relationship Id="rId21" Type="http://schemas.openxmlformats.org/officeDocument/2006/relationships/slideLayout" Target="../slideLayouts/slideLayout802.xml"/><Relationship Id="rId7" Type="http://schemas.openxmlformats.org/officeDocument/2006/relationships/slideLayout" Target="../slideLayouts/slideLayout788.xml"/><Relationship Id="rId12" Type="http://schemas.openxmlformats.org/officeDocument/2006/relationships/slideLayout" Target="../slideLayouts/slideLayout793.xml"/><Relationship Id="rId17" Type="http://schemas.openxmlformats.org/officeDocument/2006/relationships/slideLayout" Target="../slideLayouts/slideLayout798.xml"/><Relationship Id="rId25" Type="http://schemas.openxmlformats.org/officeDocument/2006/relationships/slideLayout" Target="../slideLayouts/slideLayout806.xml"/><Relationship Id="rId2" Type="http://schemas.openxmlformats.org/officeDocument/2006/relationships/slideLayout" Target="../slideLayouts/slideLayout783.xml"/><Relationship Id="rId16" Type="http://schemas.openxmlformats.org/officeDocument/2006/relationships/slideLayout" Target="../slideLayouts/slideLayout797.xml"/><Relationship Id="rId20" Type="http://schemas.openxmlformats.org/officeDocument/2006/relationships/slideLayout" Target="../slideLayouts/slideLayout801.xml"/><Relationship Id="rId29" Type="http://schemas.openxmlformats.org/officeDocument/2006/relationships/slideLayout" Target="../slideLayouts/slideLayout810.xml"/><Relationship Id="rId1" Type="http://schemas.openxmlformats.org/officeDocument/2006/relationships/slideLayout" Target="../slideLayouts/slideLayout782.xml"/><Relationship Id="rId6" Type="http://schemas.openxmlformats.org/officeDocument/2006/relationships/slideLayout" Target="../slideLayouts/slideLayout787.xml"/><Relationship Id="rId11" Type="http://schemas.openxmlformats.org/officeDocument/2006/relationships/slideLayout" Target="../slideLayouts/slideLayout792.xml"/><Relationship Id="rId24" Type="http://schemas.openxmlformats.org/officeDocument/2006/relationships/slideLayout" Target="../slideLayouts/slideLayout805.xml"/><Relationship Id="rId5" Type="http://schemas.openxmlformats.org/officeDocument/2006/relationships/slideLayout" Target="../slideLayouts/slideLayout786.xml"/><Relationship Id="rId15" Type="http://schemas.openxmlformats.org/officeDocument/2006/relationships/slideLayout" Target="../slideLayouts/slideLayout796.xml"/><Relationship Id="rId23" Type="http://schemas.openxmlformats.org/officeDocument/2006/relationships/slideLayout" Target="../slideLayouts/slideLayout804.xml"/><Relationship Id="rId28" Type="http://schemas.openxmlformats.org/officeDocument/2006/relationships/slideLayout" Target="../slideLayouts/slideLayout809.xml"/><Relationship Id="rId10" Type="http://schemas.openxmlformats.org/officeDocument/2006/relationships/slideLayout" Target="../slideLayouts/slideLayout791.xml"/><Relationship Id="rId19" Type="http://schemas.openxmlformats.org/officeDocument/2006/relationships/slideLayout" Target="../slideLayouts/slideLayout800.xml"/><Relationship Id="rId4" Type="http://schemas.openxmlformats.org/officeDocument/2006/relationships/slideLayout" Target="../slideLayouts/slideLayout785.xml"/><Relationship Id="rId9" Type="http://schemas.openxmlformats.org/officeDocument/2006/relationships/slideLayout" Target="../slideLayouts/slideLayout790.xml"/><Relationship Id="rId14" Type="http://schemas.openxmlformats.org/officeDocument/2006/relationships/slideLayout" Target="../slideLayouts/slideLayout795.xml"/><Relationship Id="rId22" Type="http://schemas.openxmlformats.org/officeDocument/2006/relationships/slideLayout" Target="../slideLayouts/slideLayout803.xml"/><Relationship Id="rId27" Type="http://schemas.openxmlformats.org/officeDocument/2006/relationships/slideLayout" Target="../slideLayouts/slideLayout808.xml"/><Relationship Id="rId30"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818.xml"/><Relationship Id="rId13" Type="http://schemas.openxmlformats.org/officeDocument/2006/relationships/slideLayout" Target="../slideLayouts/slideLayout823.xml"/><Relationship Id="rId18" Type="http://schemas.openxmlformats.org/officeDocument/2006/relationships/slideLayout" Target="../slideLayouts/slideLayout828.xml"/><Relationship Id="rId26" Type="http://schemas.openxmlformats.org/officeDocument/2006/relationships/slideLayout" Target="../slideLayouts/slideLayout836.xml"/><Relationship Id="rId3" Type="http://schemas.openxmlformats.org/officeDocument/2006/relationships/slideLayout" Target="../slideLayouts/slideLayout813.xml"/><Relationship Id="rId21" Type="http://schemas.openxmlformats.org/officeDocument/2006/relationships/slideLayout" Target="../slideLayouts/slideLayout831.xml"/><Relationship Id="rId7" Type="http://schemas.openxmlformats.org/officeDocument/2006/relationships/slideLayout" Target="../slideLayouts/slideLayout817.xml"/><Relationship Id="rId12" Type="http://schemas.openxmlformats.org/officeDocument/2006/relationships/slideLayout" Target="../slideLayouts/slideLayout822.xml"/><Relationship Id="rId17" Type="http://schemas.openxmlformats.org/officeDocument/2006/relationships/slideLayout" Target="../slideLayouts/slideLayout827.xml"/><Relationship Id="rId25" Type="http://schemas.openxmlformats.org/officeDocument/2006/relationships/slideLayout" Target="../slideLayouts/slideLayout835.xml"/><Relationship Id="rId2" Type="http://schemas.openxmlformats.org/officeDocument/2006/relationships/slideLayout" Target="../slideLayouts/slideLayout812.xml"/><Relationship Id="rId16" Type="http://schemas.openxmlformats.org/officeDocument/2006/relationships/slideLayout" Target="../slideLayouts/slideLayout826.xml"/><Relationship Id="rId20" Type="http://schemas.openxmlformats.org/officeDocument/2006/relationships/slideLayout" Target="../slideLayouts/slideLayout830.xml"/><Relationship Id="rId29" Type="http://schemas.openxmlformats.org/officeDocument/2006/relationships/slideLayout" Target="../slideLayouts/slideLayout839.xml"/><Relationship Id="rId1" Type="http://schemas.openxmlformats.org/officeDocument/2006/relationships/slideLayout" Target="../slideLayouts/slideLayout811.xml"/><Relationship Id="rId6" Type="http://schemas.openxmlformats.org/officeDocument/2006/relationships/slideLayout" Target="../slideLayouts/slideLayout816.xml"/><Relationship Id="rId11" Type="http://schemas.openxmlformats.org/officeDocument/2006/relationships/slideLayout" Target="../slideLayouts/slideLayout821.xml"/><Relationship Id="rId24" Type="http://schemas.openxmlformats.org/officeDocument/2006/relationships/slideLayout" Target="../slideLayouts/slideLayout834.xml"/><Relationship Id="rId5" Type="http://schemas.openxmlformats.org/officeDocument/2006/relationships/slideLayout" Target="../slideLayouts/slideLayout815.xml"/><Relationship Id="rId15" Type="http://schemas.openxmlformats.org/officeDocument/2006/relationships/slideLayout" Target="../slideLayouts/slideLayout825.xml"/><Relationship Id="rId23" Type="http://schemas.openxmlformats.org/officeDocument/2006/relationships/slideLayout" Target="../slideLayouts/slideLayout833.xml"/><Relationship Id="rId28" Type="http://schemas.openxmlformats.org/officeDocument/2006/relationships/slideLayout" Target="../slideLayouts/slideLayout838.xml"/><Relationship Id="rId10" Type="http://schemas.openxmlformats.org/officeDocument/2006/relationships/slideLayout" Target="../slideLayouts/slideLayout820.xml"/><Relationship Id="rId19" Type="http://schemas.openxmlformats.org/officeDocument/2006/relationships/slideLayout" Target="../slideLayouts/slideLayout829.xml"/><Relationship Id="rId4" Type="http://schemas.openxmlformats.org/officeDocument/2006/relationships/slideLayout" Target="../slideLayouts/slideLayout814.xml"/><Relationship Id="rId9" Type="http://schemas.openxmlformats.org/officeDocument/2006/relationships/slideLayout" Target="../slideLayouts/slideLayout819.xml"/><Relationship Id="rId14" Type="http://schemas.openxmlformats.org/officeDocument/2006/relationships/slideLayout" Target="../slideLayouts/slideLayout824.xml"/><Relationship Id="rId22" Type="http://schemas.openxmlformats.org/officeDocument/2006/relationships/slideLayout" Target="../slideLayouts/slideLayout832.xml"/><Relationship Id="rId27" Type="http://schemas.openxmlformats.org/officeDocument/2006/relationships/slideLayout" Target="../slideLayouts/slideLayout837.xml"/><Relationship Id="rId30"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847.xml"/><Relationship Id="rId13" Type="http://schemas.openxmlformats.org/officeDocument/2006/relationships/slideLayout" Target="../slideLayouts/slideLayout852.xml"/><Relationship Id="rId18" Type="http://schemas.openxmlformats.org/officeDocument/2006/relationships/slideLayout" Target="../slideLayouts/slideLayout857.xml"/><Relationship Id="rId3" Type="http://schemas.openxmlformats.org/officeDocument/2006/relationships/slideLayout" Target="../slideLayouts/slideLayout842.xml"/><Relationship Id="rId21" Type="http://schemas.openxmlformats.org/officeDocument/2006/relationships/slideLayout" Target="../slideLayouts/slideLayout860.xml"/><Relationship Id="rId7" Type="http://schemas.openxmlformats.org/officeDocument/2006/relationships/slideLayout" Target="../slideLayouts/slideLayout846.xml"/><Relationship Id="rId12" Type="http://schemas.openxmlformats.org/officeDocument/2006/relationships/slideLayout" Target="../slideLayouts/slideLayout851.xml"/><Relationship Id="rId17" Type="http://schemas.openxmlformats.org/officeDocument/2006/relationships/slideLayout" Target="../slideLayouts/slideLayout856.xml"/><Relationship Id="rId25" Type="http://schemas.openxmlformats.org/officeDocument/2006/relationships/image" Target="../media/image60.png"/><Relationship Id="rId2" Type="http://schemas.openxmlformats.org/officeDocument/2006/relationships/slideLayout" Target="../slideLayouts/slideLayout841.xml"/><Relationship Id="rId16" Type="http://schemas.openxmlformats.org/officeDocument/2006/relationships/slideLayout" Target="../slideLayouts/slideLayout855.xml"/><Relationship Id="rId20" Type="http://schemas.openxmlformats.org/officeDocument/2006/relationships/slideLayout" Target="../slideLayouts/slideLayout859.xml"/><Relationship Id="rId1" Type="http://schemas.openxmlformats.org/officeDocument/2006/relationships/slideLayout" Target="../slideLayouts/slideLayout840.xml"/><Relationship Id="rId6" Type="http://schemas.openxmlformats.org/officeDocument/2006/relationships/slideLayout" Target="../slideLayouts/slideLayout845.xml"/><Relationship Id="rId11" Type="http://schemas.openxmlformats.org/officeDocument/2006/relationships/slideLayout" Target="../slideLayouts/slideLayout850.xml"/><Relationship Id="rId24" Type="http://schemas.openxmlformats.org/officeDocument/2006/relationships/theme" Target="../theme/theme37.xml"/><Relationship Id="rId5" Type="http://schemas.openxmlformats.org/officeDocument/2006/relationships/slideLayout" Target="../slideLayouts/slideLayout844.xml"/><Relationship Id="rId15" Type="http://schemas.openxmlformats.org/officeDocument/2006/relationships/slideLayout" Target="../slideLayouts/slideLayout854.xml"/><Relationship Id="rId23" Type="http://schemas.openxmlformats.org/officeDocument/2006/relationships/slideLayout" Target="../slideLayouts/slideLayout862.xml"/><Relationship Id="rId10" Type="http://schemas.openxmlformats.org/officeDocument/2006/relationships/slideLayout" Target="../slideLayouts/slideLayout849.xml"/><Relationship Id="rId19" Type="http://schemas.openxmlformats.org/officeDocument/2006/relationships/slideLayout" Target="../slideLayouts/slideLayout858.xml"/><Relationship Id="rId4" Type="http://schemas.openxmlformats.org/officeDocument/2006/relationships/slideLayout" Target="../slideLayouts/slideLayout843.xml"/><Relationship Id="rId9" Type="http://schemas.openxmlformats.org/officeDocument/2006/relationships/slideLayout" Target="../slideLayouts/slideLayout848.xml"/><Relationship Id="rId14" Type="http://schemas.openxmlformats.org/officeDocument/2006/relationships/slideLayout" Target="../slideLayouts/slideLayout853.xml"/><Relationship Id="rId22" Type="http://schemas.openxmlformats.org/officeDocument/2006/relationships/slideLayout" Target="../slideLayouts/slideLayout8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1.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4.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10" Type="http://schemas.openxmlformats.org/officeDocument/2006/relationships/theme" Target="../theme/theme5.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5" Type="http://schemas.openxmlformats.org/officeDocument/2006/relationships/slideLayout" Target="../slideLayouts/slideLayout136.xml"/><Relationship Id="rId10" Type="http://schemas.openxmlformats.org/officeDocument/2006/relationships/theme" Target="../theme/theme6.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43.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oleObject" Target="../embeddings/oleObject4.bin"/><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tags" Target="../tags/tag4.xml"/><Relationship Id="rId2" Type="http://schemas.openxmlformats.org/officeDocument/2006/relationships/slideLayout" Target="../slideLayouts/slideLayout145.xml"/><Relationship Id="rId16" Type="http://schemas.openxmlformats.org/officeDocument/2006/relationships/vmlDrawing" Target="../drawings/vmlDrawing4.v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theme" Target="../theme/theme8.xml"/><Relationship Id="rId10" Type="http://schemas.openxmlformats.org/officeDocument/2006/relationships/slideLayout" Target="../slideLayouts/slideLayout153.xml"/><Relationship Id="rId19" Type="http://schemas.openxmlformats.org/officeDocument/2006/relationships/image" Target="../media/image23.emf"/><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6" Type="http://schemas.openxmlformats.org/officeDocument/2006/relationships/image" Target="../media/image29.pn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9.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D4DD5-9E2A-45C5-B985-3D892F553B24}" type="datetimeFigureOut">
              <a:rPr lang="en-US" smtClean="0"/>
              <a:t>05-May-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3DAA1-8BFC-44D3-9B74-5A0C462464C4}" type="slidenum">
              <a:rPr lang="en-US" smtClean="0"/>
              <a:t>‹#›</a:t>
            </a:fld>
            <a:endParaRPr lang="en-US"/>
          </a:p>
        </p:txBody>
      </p:sp>
    </p:spTree>
    <p:extLst>
      <p:ext uri="{BB962C8B-B14F-4D97-AF65-F5344CB8AC3E}">
        <p14:creationId xmlns:p14="http://schemas.microsoft.com/office/powerpoint/2010/main" val="4282774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8896519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Segoe UI"/>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Segoe UI"/>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Red</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ght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32 B80</a:t>
              </a:r>
            </a:p>
          </p:txBody>
        </p:sp>
      </p:grpSp>
    </p:spTree>
    <p:extLst>
      <p:ext uri="{BB962C8B-B14F-4D97-AF65-F5344CB8AC3E}">
        <p14:creationId xmlns:p14="http://schemas.microsoft.com/office/powerpoint/2010/main" val="304396359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63942650"/>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225488913"/>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11284639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788017352"/>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 id="2147483956"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88693628"/>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865350915"/>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28690546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2883982521"/>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8983451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3562605794"/>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b">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215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E05EA2D-13DB-4BA1-9DA1-8ED54A2EECC2}" type="slidenum">
              <a:rPr kumimoji="0" lang="en-US" sz="1176"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76"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651270" y="6597290"/>
            <a:ext cx="1075399" cy="150126"/>
          </a:xfrm>
          <a:prstGeom prst="rect">
            <a:avLst/>
          </a:prstGeom>
        </p:spPr>
      </p:pic>
    </p:spTree>
    <p:extLst>
      <p:ext uri="{BB962C8B-B14F-4D97-AF65-F5344CB8AC3E}">
        <p14:creationId xmlns:p14="http://schemas.microsoft.com/office/powerpoint/2010/main" val="4058146080"/>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Lst>
  <p:transition>
    <p:fade/>
  </p:transition>
  <p:hf hdr="0" dt="0"/>
  <p:txStyles>
    <p:titleStyle>
      <a:lvl1pPr algn="l" defTabSz="914367" rtl="0" eaLnBrk="1" latinLnBrk="0" hangingPunct="1">
        <a:lnSpc>
          <a:spcPct val="90000"/>
        </a:lnSpc>
        <a:spcBef>
          <a:spcPct val="0"/>
        </a:spcBef>
        <a:buNone/>
        <a:defRPr lang="en-US" sz="40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5000"/>
        </a:lnSpc>
        <a:spcBef>
          <a:spcPts val="0"/>
        </a:spcBef>
        <a:spcAft>
          <a:spcPts val="1176"/>
        </a:spcAft>
        <a:buClrTx/>
        <a:buSzPct val="90000"/>
        <a:buFont typeface="Arial" pitchFamily="34" charset="0"/>
        <a:buChar char="•"/>
        <a:tabLst/>
        <a:defRPr sz="2800" kern="1200" spc="0" baseline="0">
          <a:solidFill>
            <a:srgbClr val="505050"/>
          </a:solidFill>
          <a:latin typeface="+mj-lt"/>
          <a:ea typeface="+mn-ea"/>
          <a:cs typeface="+mn-cs"/>
        </a:defRPr>
      </a:lvl1pPr>
      <a:lvl2pPr marL="572691" marR="0" indent="-236546"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2pPr>
      <a:lvl3pPr marL="784338"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3pPr>
      <a:lvl4pPr marL="1008435"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4pPr>
      <a:lvl5pPr marL="1232531" marR="0" indent="-224097" algn="l" defTabSz="914367" rtl="0" eaLnBrk="1" fontAlgn="auto" latinLnBrk="0" hangingPunct="1">
        <a:lnSpc>
          <a:spcPct val="95000"/>
        </a:lnSpc>
        <a:spcBef>
          <a:spcPts val="0"/>
        </a:spcBef>
        <a:spcAft>
          <a:spcPts val="1176"/>
        </a:spcAft>
        <a:buClrTx/>
        <a:buSzPct val="90000"/>
        <a:buFont typeface="Arial" pitchFamily="34" charset="0"/>
        <a:buChar char="•"/>
        <a:tabLst/>
        <a:defRPr sz="1800" kern="1200" spc="0" baseline="0">
          <a:solidFill>
            <a:srgbClr val="50505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686730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3792374"/>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8119363"/>
      </p:ext>
    </p:extLst>
  </p:cSld>
  <p:clrMap bg1="dk1" tx1="lt1" bg2="dk2" tx2="lt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Lst>
  <p:transition>
    <p:fade/>
  </p:transition>
  <p:txStyles>
    <p:titleStyle>
      <a:lvl1pPr algn="l" defTabSz="914192"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200" b="0" i="0" u="none" strike="noStrike" kern="1200" cap="none" spc="0" normalizeH="0" baseline="0" noProof="0" smtClean="0">
                <a:ln>
                  <a:noFill/>
                </a:ln>
                <a:solidFill>
                  <a:srgbClr val="80808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srgbClr val="808080"/>
              </a:solidFill>
              <a:effectLst/>
              <a:uLnTx/>
              <a:uFillTx/>
              <a:latin typeface="Segoe UI"/>
              <a:ea typeface="+mn-ea"/>
              <a:cs typeface="+mn-cs"/>
            </a:endParaRPr>
          </a:p>
        </p:txBody>
      </p:sp>
      <p:pic>
        <p:nvPicPr>
          <p:cNvPr id="6" name="Picture 5"/>
          <p:cNvPicPr>
            <a:picLocks noChangeAspect="1"/>
          </p:cNvPicPr>
          <p:nvPr userDrawn="1"/>
        </p:nvPicPr>
        <p:blipFill>
          <a:blip r:embed="rId27"/>
          <a:stretch>
            <a:fillRect/>
          </a:stretch>
        </p:blipFill>
        <p:spPr>
          <a:xfrm>
            <a:off x="12240323" y="0"/>
            <a:ext cx="1397517" cy="6858000"/>
          </a:xfrm>
          <a:prstGeom prst="rect">
            <a:avLst/>
          </a:prstGeom>
        </p:spPr>
      </p:pic>
    </p:spTree>
    <p:extLst>
      <p:ext uri="{BB962C8B-B14F-4D97-AF65-F5344CB8AC3E}">
        <p14:creationId xmlns:p14="http://schemas.microsoft.com/office/powerpoint/2010/main" val="741476036"/>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Lst>
  <p:transition>
    <p:fade/>
  </p:transition>
  <p:hf hdr="0" ftr="0" dt="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33244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24984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a:stretch>
            <a:fillRect/>
          </a:stretch>
        </p:blipFill>
        <p:spPr>
          <a:xfrm rot="5400000">
            <a:off x="9302126" y="2991032"/>
            <a:ext cx="6858623" cy="876557"/>
          </a:xfrm>
          <a:prstGeom prst="rect">
            <a:avLst/>
          </a:prstGeom>
        </p:spPr>
      </p:pic>
    </p:spTree>
    <p:extLst>
      <p:ext uri="{BB962C8B-B14F-4D97-AF65-F5344CB8AC3E}">
        <p14:creationId xmlns:p14="http://schemas.microsoft.com/office/powerpoint/2010/main" val="4296171"/>
      </p:ext>
    </p:extLst>
  </p:cSld>
  <p:clrMap bg1="dk1" tx1="lt1" bg2="dk2" tx2="lt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 id="2147484219" r:id="rId16"/>
    <p:sldLayoutId id="2147484220" r:id="rId17"/>
    <p:sldLayoutId id="2147484221" r:id="rId18"/>
    <p:sldLayoutId id="2147484222" r:id="rId19"/>
    <p:sldLayoutId id="2147484223" r:id="rId20"/>
    <p:sldLayoutId id="2147484224" r:id="rId21"/>
    <p:sldLayoutId id="2147484225" r:id="rId22"/>
    <p:sldLayoutId id="2147484226" r:id="rId23"/>
    <p:sldLayoutId id="2147484227" r:id="rId24"/>
  </p:sldLayoutIdLst>
  <p:transition>
    <p:fade/>
  </p:transition>
  <p:txStyles>
    <p:titleStyle>
      <a:lvl1pPr algn="l" defTabSz="91430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3122904129"/>
      </p:ext>
    </p:extLst>
  </p:cSld>
  <p:clrMap bg1="dk1" tx1="lt1" bg2="dk2" tx2="lt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637403375"/>
      </p:ext>
    </p:extLst>
  </p:cSld>
  <p:clrMap bg1="dk1" tx1="lt1" bg2="dk2" tx2="lt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83802"/>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0"/>
          <a:stretch>
            <a:fillRect/>
          </a:stretch>
        </p:blipFill>
        <p:spPr>
          <a:xfrm rot="5400000">
            <a:off x="9208748" y="2991035"/>
            <a:ext cx="6858623" cy="876557"/>
          </a:xfrm>
          <a:prstGeom prst="rect">
            <a:avLst/>
          </a:prstGeom>
        </p:spPr>
      </p:pic>
      <p:grpSp>
        <p:nvGrpSpPr>
          <p:cNvPr id="5" name="Group 4"/>
          <p:cNvGrpSpPr/>
          <p:nvPr userDrawn="1"/>
        </p:nvGrpSpPr>
        <p:grpSpPr>
          <a:xfrm>
            <a:off x="12370906" y="-217"/>
            <a:ext cx="935477" cy="5654618"/>
            <a:chOff x="12618967" y="-221"/>
            <a:chExt cx="954235" cy="5767186"/>
          </a:xfrm>
        </p:grpSpPr>
        <p:grpSp>
          <p:nvGrpSpPr>
            <p:cNvPr id="6" name="Group 5"/>
            <p:cNvGrpSpPr/>
            <p:nvPr userDrawn="1"/>
          </p:nvGrpSpPr>
          <p:grpSpPr>
            <a:xfrm rot="5400000">
              <a:off x="11582059" y="1045293"/>
              <a:ext cx="2703052" cy="629236"/>
              <a:chOff x="1586734" y="4543426"/>
              <a:chExt cx="2703052" cy="629236"/>
            </a:xfrm>
          </p:grpSpPr>
          <p:sp>
            <p:nvSpPr>
              <p:cNvPr id="14" name="Rectangle 13"/>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15" name="Rectangle 14"/>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16" name="Rectangle 15"/>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17" name="Rectangle 16"/>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18" name="Rectangle 17"/>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19" name="Rectangle 18"/>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12" name="Rectangle 11"/>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13" name="Rectangle 12"/>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9" name="TextBox 8"/>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ain colors</a:t>
              </a:r>
            </a:p>
          </p:txBody>
        </p:sp>
        <p:sp>
          <p:nvSpPr>
            <p:cNvPr id="10" name="TextBox 9"/>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452377460"/>
      </p:ext>
    </p:extLst>
  </p:cSld>
  <p:clrMap bg1="dk1" tx1="lt1" bg2="dk2" tx2="lt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745"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25354103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733" r:id="rId35"/>
    <p:sldLayoutId id="2147483734" r:id="rId36"/>
    <p:sldLayoutId id="2147483735"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33244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24984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a:stretch>
            <a:fillRect/>
          </a:stretch>
        </p:blipFill>
        <p:spPr>
          <a:xfrm rot="5400000">
            <a:off x="9302126" y="2991032"/>
            <a:ext cx="6858623" cy="876557"/>
          </a:xfrm>
          <a:prstGeom prst="rect">
            <a:avLst/>
          </a:prstGeom>
        </p:spPr>
      </p:pic>
    </p:spTree>
    <p:extLst>
      <p:ext uri="{BB962C8B-B14F-4D97-AF65-F5344CB8AC3E}">
        <p14:creationId xmlns:p14="http://schemas.microsoft.com/office/powerpoint/2010/main" val="3589359714"/>
      </p:ext>
    </p:extLst>
  </p:cSld>
  <p:clrMap bg1="dk1" tx1="lt1" bg2="dk2" tx2="lt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Lst>
  <p:transition>
    <p:fade/>
  </p:transition>
  <p:txStyles>
    <p:titleStyle>
      <a:lvl1pPr algn="l" defTabSz="91430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817BCF1-EDE9-46B3-A8B3-659212B54243}" type="datetimeFigureOut">
              <a:rPr kumimoji="0" lang="en-US" sz="1200" b="0" i="0" u="none" strike="noStrike" kern="1200" cap="none" spc="0" normalizeH="0" baseline="0" noProof="0" smtClean="0">
                <a:ln>
                  <a:noFill/>
                </a:ln>
                <a:solidFill>
                  <a:srgbClr val="505050">
                    <a:tint val="75000"/>
                  </a:srgbClr>
                </a:solidFill>
                <a:effectLst/>
                <a:uLnTx/>
                <a:uFillTx/>
                <a:latin typeface="Segoe U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May-17</a:t>
            </a:fld>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FBCED8A-DE7B-4F20-BCBD-2F1C97F6A900}" type="slidenum">
              <a:rPr kumimoji="0" lang="en-US" sz="1200" b="0" i="0" u="none" strike="noStrike" kern="1200" cap="none" spc="0" normalizeH="0" baseline="0" noProof="0" smtClean="0">
                <a:ln>
                  <a:noFill/>
                </a:ln>
                <a:solidFill>
                  <a:srgbClr val="505050">
                    <a:tint val="75000"/>
                  </a:srgbClr>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05050">
                  <a:tint val="75000"/>
                </a:srgbClr>
              </a:solidFill>
              <a:effectLst/>
              <a:uLnTx/>
              <a:uFillTx/>
              <a:latin typeface="Segoe UI Light"/>
              <a:ea typeface="+mn-ea"/>
              <a:cs typeface="+mn-cs"/>
            </a:endParaRPr>
          </a:p>
        </p:txBody>
      </p:sp>
    </p:spTree>
    <p:extLst>
      <p:ext uri="{BB962C8B-B14F-4D97-AF65-F5344CB8AC3E}">
        <p14:creationId xmlns:p14="http://schemas.microsoft.com/office/powerpoint/2010/main" val="345372228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0" r:id="rId30"/>
    <p:sldLayoutId id="2147484371" r:id="rId31"/>
    <p:sldLayoutId id="2147484372" r:id="rId32"/>
    <p:sldLayoutId id="2147484373" r:id="rId33"/>
    <p:sldLayoutId id="2147484374" r:id="rId34"/>
    <p:sldLayoutId id="2147484375" r:id="rId35"/>
    <p:sldLayoutId id="2147484376" r:id="rId36"/>
    <p:sldLayoutId id="2147484377" r:id="rId37"/>
    <p:sldLayoutId id="2147484378" r:id="rId3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srgbClr val="505050"/>
                    </a:gs>
                    <a:gs pos="11940">
                      <a:srgbClr val="505050"/>
                    </a:gs>
                  </a:gsLst>
                  <a:lin ang="5400000" scaled="0"/>
                </a:gradFill>
              </a:rPr>
              <a:t>Microsoft Confidential</a:t>
            </a:r>
            <a:endParaRPr lang="en-US">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852843281"/>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 id="2147484399" r:id="rId20"/>
    <p:sldLayoutId id="2147484400" r:id="rId21"/>
    <p:sldLayoutId id="2147484401" r:id="rId22"/>
    <p:sldLayoutId id="2147484402" r:id="rId23"/>
    <p:sldLayoutId id="2147484403" r:id="rId24"/>
    <p:sldLayoutId id="2147484404" r:id="rId25"/>
    <p:sldLayoutId id="2147484405" r:id="rId26"/>
    <p:sldLayoutId id="2147484406" r:id="rId27"/>
    <p:sldLayoutId id="2147484407" r:id="rId28"/>
    <p:sldLayoutId id="2147484408"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7718531"/>
      </p:ext>
    </p:extLst>
  </p:cSld>
  <p:clrMap bg1="dk1" tx1="lt1" bg2="dk2" tx2="lt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srgbClr val="505050"/>
                    </a:gs>
                    <a:gs pos="11940">
                      <a:srgbClr val="505050"/>
                    </a:gs>
                  </a:gsLst>
                  <a:lin ang="5400000" scaled="0"/>
                </a:gradFill>
              </a:rPr>
              <a:t>Microsoft Confidential</a:t>
            </a:r>
            <a:endParaRPr lang="en-US">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646730764"/>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 id="2147484462"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srgbClr val="505050"/>
                    </a:gs>
                    <a:gs pos="11940">
                      <a:srgbClr val="505050"/>
                    </a:gs>
                  </a:gsLst>
                  <a:lin ang="5400000" scaled="0"/>
                </a:gradFill>
              </a:rPr>
              <a:t>Microsoft Confidential</a:t>
            </a:r>
            <a:endParaRPr lang="en-US">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117201920"/>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 id="2147484480" r:id="rId17"/>
    <p:sldLayoutId id="2147484481" r:id="rId18"/>
    <p:sldLayoutId id="2147484482" r:id="rId19"/>
    <p:sldLayoutId id="2147484483" r:id="rId20"/>
    <p:sldLayoutId id="2147484484" r:id="rId21"/>
    <p:sldLayoutId id="2147484485" r:id="rId22"/>
    <p:sldLayoutId id="2147484486" r:id="rId23"/>
    <p:sldLayoutId id="2147484487" r:id="rId24"/>
    <p:sldLayoutId id="2147484488" r:id="rId25"/>
    <p:sldLayoutId id="2147484489" r:id="rId26"/>
    <p:sldLayoutId id="2147484490" r:id="rId27"/>
    <p:sldLayoutId id="2147484491" r:id="rId28"/>
    <p:sldLayoutId id="2147484492"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srgbClr val="505050"/>
                    </a:gs>
                    <a:gs pos="11940">
                      <a:srgbClr val="505050"/>
                    </a:gs>
                  </a:gsLst>
                  <a:lin ang="5400000" scaled="0"/>
                </a:gradFill>
              </a:rPr>
              <a:t>Microsoft Confidential</a:t>
            </a:r>
            <a:endParaRPr lang="en-US">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6385851"/>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 id="2147484520" r:id="rId27"/>
    <p:sldLayoutId id="2147484521" r:id="rId28"/>
    <p:sldLayoutId id="2147484522" r:id="rId2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33244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24984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5"/>
          <a:stretch>
            <a:fillRect/>
          </a:stretch>
        </p:blipFill>
        <p:spPr>
          <a:xfrm rot="5400000">
            <a:off x="9302126" y="2991032"/>
            <a:ext cx="6858623" cy="876557"/>
          </a:xfrm>
          <a:prstGeom prst="rect">
            <a:avLst/>
          </a:prstGeom>
        </p:spPr>
      </p:pic>
    </p:spTree>
    <p:extLst>
      <p:ext uri="{BB962C8B-B14F-4D97-AF65-F5344CB8AC3E}">
        <p14:creationId xmlns:p14="http://schemas.microsoft.com/office/powerpoint/2010/main" val="2135679663"/>
      </p:ext>
    </p:extLst>
  </p:cSld>
  <p:clrMap bg1="dk1" tx1="lt1" bg2="dk2" tx2="lt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 id="2147484535" r:id="rId12"/>
    <p:sldLayoutId id="2147484536" r:id="rId13"/>
    <p:sldLayoutId id="2147484537" r:id="rId14"/>
    <p:sldLayoutId id="2147484538" r:id="rId15"/>
    <p:sldLayoutId id="2147484539" r:id="rId16"/>
    <p:sldLayoutId id="2147484540" r:id="rId17"/>
    <p:sldLayoutId id="2147484541" r:id="rId18"/>
    <p:sldLayoutId id="2147484542" r:id="rId19"/>
    <p:sldLayoutId id="2147484543" r:id="rId20"/>
    <p:sldLayoutId id="2147484544" r:id="rId21"/>
    <p:sldLayoutId id="2147484545" r:id="rId22"/>
    <p:sldLayoutId id="2147484546" r:id="rId23"/>
  </p:sldLayoutIdLst>
  <p:transition>
    <p:fade/>
  </p:transition>
  <p:txStyles>
    <p:titleStyle>
      <a:lvl1pPr algn="l" defTabSz="91430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2" marR="0" indent="-336122"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653" marR="0" indent="-236531"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87"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368"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451" marR="0" indent="-224083" algn="l" defTabSz="9143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344"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98"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52"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806" indent="-228578" algn="l" defTabSz="91430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07" rtl="0" eaLnBrk="1" latinLnBrk="0" hangingPunct="1">
        <a:defRPr sz="1766" kern="1200">
          <a:solidFill>
            <a:schemeClr val="tx1"/>
          </a:solidFill>
          <a:latin typeface="+mn-lt"/>
          <a:ea typeface="+mn-ea"/>
          <a:cs typeface="+mn-cs"/>
        </a:defRPr>
      </a:lvl1pPr>
      <a:lvl2pPr marL="457154" algn="l" defTabSz="914307" rtl="0" eaLnBrk="1" latinLnBrk="0" hangingPunct="1">
        <a:defRPr sz="1766" kern="1200">
          <a:solidFill>
            <a:schemeClr val="tx1"/>
          </a:solidFill>
          <a:latin typeface="+mn-lt"/>
          <a:ea typeface="+mn-ea"/>
          <a:cs typeface="+mn-cs"/>
        </a:defRPr>
      </a:lvl2pPr>
      <a:lvl3pPr marL="914307" algn="l" defTabSz="914307" rtl="0" eaLnBrk="1" latinLnBrk="0" hangingPunct="1">
        <a:defRPr sz="1766" kern="1200">
          <a:solidFill>
            <a:schemeClr val="tx1"/>
          </a:solidFill>
          <a:latin typeface="+mn-lt"/>
          <a:ea typeface="+mn-ea"/>
          <a:cs typeface="+mn-cs"/>
        </a:defRPr>
      </a:lvl3pPr>
      <a:lvl4pPr marL="1371461" algn="l" defTabSz="914307" rtl="0" eaLnBrk="1" latinLnBrk="0" hangingPunct="1">
        <a:defRPr sz="1766" kern="1200">
          <a:solidFill>
            <a:schemeClr val="tx1"/>
          </a:solidFill>
          <a:latin typeface="+mn-lt"/>
          <a:ea typeface="+mn-ea"/>
          <a:cs typeface="+mn-cs"/>
        </a:defRPr>
      </a:lvl4pPr>
      <a:lvl5pPr marL="1828613" algn="l" defTabSz="914307" rtl="0" eaLnBrk="1" latinLnBrk="0" hangingPunct="1">
        <a:defRPr sz="1766" kern="1200">
          <a:solidFill>
            <a:schemeClr val="tx1"/>
          </a:solidFill>
          <a:latin typeface="+mn-lt"/>
          <a:ea typeface="+mn-ea"/>
          <a:cs typeface="+mn-cs"/>
        </a:defRPr>
      </a:lvl5pPr>
      <a:lvl6pPr marL="2285769" algn="l" defTabSz="914307" rtl="0" eaLnBrk="1" latinLnBrk="0" hangingPunct="1">
        <a:defRPr sz="1766" kern="1200">
          <a:solidFill>
            <a:schemeClr val="tx1"/>
          </a:solidFill>
          <a:latin typeface="+mn-lt"/>
          <a:ea typeface="+mn-ea"/>
          <a:cs typeface="+mn-cs"/>
        </a:defRPr>
      </a:lvl6pPr>
      <a:lvl7pPr marL="2742922" algn="l" defTabSz="914307" rtl="0" eaLnBrk="1" latinLnBrk="0" hangingPunct="1">
        <a:defRPr sz="1766" kern="1200">
          <a:solidFill>
            <a:schemeClr val="tx1"/>
          </a:solidFill>
          <a:latin typeface="+mn-lt"/>
          <a:ea typeface="+mn-ea"/>
          <a:cs typeface="+mn-cs"/>
        </a:defRPr>
      </a:lvl7pPr>
      <a:lvl8pPr marL="3200075" algn="l" defTabSz="914307" rtl="0" eaLnBrk="1" latinLnBrk="0" hangingPunct="1">
        <a:defRPr sz="1766" kern="1200">
          <a:solidFill>
            <a:schemeClr val="tx1"/>
          </a:solidFill>
          <a:latin typeface="+mn-lt"/>
          <a:ea typeface="+mn-ea"/>
          <a:cs typeface="+mn-cs"/>
        </a:defRPr>
      </a:lvl8pPr>
      <a:lvl9pPr marL="3657230" algn="l" defTabSz="914307"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72712929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51201203"/>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75FAD755-3BD0-2447-A9DF-109DAABEFD99}"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8024124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Lst>
  <p:transition>
    <p:fade/>
  </p:transition>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
        <p:cNvGrpSpPr/>
        <p:nvPr/>
      </p:nvGrpSpPr>
      <p:grpSpPr>
        <a:xfrm>
          <a:off x="0" y="0"/>
          <a:ext cx="0" cy="0"/>
          <a:chOff x="0" y="0"/>
          <a:chExt cx="0" cy="0"/>
        </a:xfrm>
      </p:grpSpPr>
      <p:pic>
        <p:nvPicPr>
          <p:cNvPr id="28" name="Shape 28"/>
          <p:cNvPicPr preferRelativeResize="0"/>
          <p:nvPr/>
        </p:nvPicPr>
        <p:blipFill rotWithShape="1">
          <a:blip r:embed="rId5">
            <a:alphaModFix/>
          </a:blip>
          <a:srcRect/>
          <a:stretch/>
        </p:blipFill>
        <p:spPr>
          <a:xfrm rot="-5400000">
            <a:off x="11519827" y="6062029"/>
            <a:ext cx="692944" cy="289399"/>
          </a:xfrm>
          <a:prstGeom prst="rect">
            <a:avLst/>
          </a:prstGeom>
          <a:noFill/>
          <a:ln>
            <a:noFill/>
          </a:ln>
        </p:spPr>
      </p:pic>
      <p:pic>
        <p:nvPicPr>
          <p:cNvPr id="29" name="Shape 29"/>
          <p:cNvPicPr preferRelativeResize="0"/>
          <p:nvPr/>
        </p:nvPicPr>
        <p:blipFill rotWithShape="1">
          <a:blip r:embed="rId6">
            <a:alphaModFix/>
          </a:blip>
          <a:srcRect/>
          <a:stretch/>
        </p:blipFill>
        <p:spPr>
          <a:xfrm>
            <a:off x="0" y="0"/>
            <a:ext cx="12192000" cy="6858000"/>
          </a:xfrm>
          <a:prstGeom prst="rect">
            <a:avLst/>
          </a:prstGeom>
          <a:noFill/>
          <a:ln>
            <a:noFill/>
          </a:ln>
        </p:spPr>
      </p:pic>
      <p:sp>
        <p:nvSpPr>
          <p:cNvPr id="30" name="Shape 30"/>
          <p:cNvSpPr txBox="1">
            <a:spLocks noGrp="1"/>
          </p:cNvSpPr>
          <p:nvPr>
            <p:ph type="sldNum" idx="12"/>
          </p:nvPr>
        </p:nvSpPr>
        <p:spPr>
          <a:xfrm>
            <a:off x="10464801" y="6356351"/>
            <a:ext cx="1422399" cy="365125"/>
          </a:xfrm>
          <a:prstGeom prst="rect">
            <a:avLst/>
          </a:prstGeom>
          <a:noFill/>
          <a:ln>
            <a:noFill/>
          </a:ln>
        </p:spPr>
        <p:txBody>
          <a:bodyPr lIns="91425" tIns="91425" rIns="91425" bIns="91425" anchor="t" anchorCtr="0">
            <a:noAutofit/>
          </a:bodyPr>
          <a:lstStyle/>
          <a:p>
            <a:pPr indent="-88900">
              <a:buClr>
                <a:srgbClr val="000000"/>
              </a:buClr>
              <a:buFont typeface="Arial"/>
              <a:buChar char="●"/>
            </a:pPr>
            <a:endParaRPr lang="en-US" sz="1400" kern="0" smtClean="0">
              <a:solidFill>
                <a:srgbClr val="000000"/>
              </a:solidFill>
              <a:cs typeface="Arial"/>
              <a:sym typeface="Arial"/>
            </a:endParaRPr>
          </a:p>
          <a:p>
            <a:pPr lvl="1" indent="-88900">
              <a:buClr>
                <a:srgbClr val="000000"/>
              </a:buClr>
              <a:buFont typeface="Courier New"/>
              <a:buChar char="o"/>
            </a:pPr>
            <a:endParaRPr lang="en-US" sz="1400" kern="0" smtClean="0">
              <a:solidFill>
                <a:srgbClr val="000000"/>
              </a:solidFill>
              <a:cs typeface="Arial"/>
              <a:sym typeface="Arial"/>
            </a:endParaRPr>
          </a:p>
          <a:p>
            <a:pPr lvl="2" indent="-88900">
              <a:buClr>
                <a:srgbClr val="000000"/>
              </a:buClr>
              <a:buFont typeface="Wingdings"/>
              <a:buChar char="§"/>
            </a:pPr>
            <a:endParaRPr lang="en-US" sz="1400" kern="0" smtClean="0">
              <a:solidFill>
                <a:srgbClr val="000000"/>
              </a:solidFill>
              <a:cs typeface="Arial"/>
              <a:sym typeface="Arial"/>
            </a:endParaRPr>
          </a:p>
          <a:p>
            <a:pPr lvl="3" indent="-88900">
              <a:buClr>
                <a:srgbClr val="000000"/>
              </a:buClr>
              <a:buFont typeface="Arial"/>
              <a:buChar char="●"/>
            </a:pPr>
            <a:endParaRPr lang="en-US" sz="1400" kern="0" smtClean="0">
              <a:solidFill>
                <a:srgbClr val="000000"/>
              </a:solidFill>
              <a:cs typeface="Arial"/>
              <a:sym typeface="Arial"/>
            </a:endParaRPr>
          </a:p>
          <a:p>
            <a:pPr lvl="4" indent="-88900">
              <a:buClr>
                <a:srgbClr val="000000"/>
              </a:buClr>
              <a:buFont typeface="Courier New"/>
              <a:buChar char="o"/>
            </a:pPr>
            <a:endParaRPr lang="en-US" sz="1400" kern="0" smtClean="0">
              <a:solidFill>
                <a:srgbClr val="000000"/>
              </a:solidFill>
              <a:cs typeface="Arial"/>
              <a:sym typeface="Arial"/>
            </a:endParaRPr>
          </a:p>
          <a:p>
            <a:pPr lvl="5" indent="-88900">
              <a:buClr>
                <a:srgbClr val="000000"/>
              </a:buClr>
              <a:buFont typeface="Wingdings"/>
              <a:buChar char="§"/>
            </a:pPr>
            <a:endParaRPr lang="en-US" sz="1400" kern="0" smtClean="0">
              <a:solidFill>
                <a:srgbClr val="000000"/>
              </a:solidFill>
              <a:cs typeface="Arial"/>
              <a:sym typeface="Arial"/>
            </a:endParaRPr>
          </a:p>
          <a:p>
            <a:pPr lvl="6" indent="-88900">
              <a:buClr>
                <a:srgbClr val="000000"/>
              </a:buClr>
              <a:buFont typeface="Arial"/>
              <a:buChar char="●"/>
            </a:pPr>
            <a:endParaRPr lang="en-US" sz="1400" kern="0" smtClean="0">
              <a:solidFill>
                <a:srgbClr val="000000"/>
              </a:solidFill>
              <a:cs typeface="Arial"/>
              <a:sym typeface="Arial"/>
            </a:endParaRPr>
          </a:p>
          <a:p>
            <a:pPr lvl="7" indent="-88900">
              <a:buClr>
                <a:srgbClr val="000000"/>
              </a:buClr>
              <a:buFont typeface="Courier New"/>
              <a:buChar char="o"/>
            </a:pPr>
            <a:endParaRPr lang="en-US" sz="1400" kern="0" smtClean="0">
              <a:solidFill>
                <a:srgbClr val="000000"/>
              </a:solidFill>
              <a:cs typeface="Arial"/>
              <a:sym typeface="Arial"/>
            </a:endParaRPr>
          </a:p>
          <a:p>
            <a:pPr lvl="8" indent="-88900">
              <a:buClr>
                <a:srgbClr val="000000"/>
              </a:buClr>
              <a:buFont typeface="Wingdings"/>
              <a:buChar char="§"/>
            </a:pPr>
            <a:endParaRPr lang="en-US" sz="1400" kern="0">
              <a:solidFill>
                <a:srgbClr val="000000"/>
              </a:solidFill>
              <a:cs typeface="Arial"/>
              <a:sym typeface="Arial"/>
            </a:endParaRPr>
          </a:p>
        </p:txBody>
      </p:sp>
    </p:spTree>
    <p:extLst>
      <p:ext uri="{BB962C8B-B14F-4D97-AF65-F5344CB8AC3E}">
        <p14:creationId xmlns:p14="http://schemas.microsoft.com/office/powerpoint/2010/main" val="4266200111"/>
      </p:ext>
    </p:extLst>
  </p:cSld>
  <p:clrMap bg1="lt1" tx1="dk1" bg2="dk2" tx2="lt2" accent1="accent1" accent2="accent2" accent3="accent3" accent4="accent4" accent5="accent5" accent6="accent6" hlink="hlink" folHlink="folHlink"/>
  <p:sldLayoutIdLst>
    <p:sldLayoutId id="2147483795" r:id="rId1"/>
    <p:sldLayoutId id="2147483796" r:id="rId2"/>
    <p:sldLayoutId id="2147483797" r:id="rId3"/>
  </p:sldLayoutIdLst>
  <p:hf sldNum="0"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8332314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1365240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168.xml"/><Relationship Id="rId5" Type="http://schemas.openxmlformats.org/officeDocument/2006/relationships/image" Target="../media/image108.png"/><Relationship Id="rId4" Type="http://schemas.openxmlformats.org/officeDocument/2006/relationships/image" Target="../media/image107.png"/></Relationships>
</file>

<file path=ppt/slides/_rels/slide1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178.xml"/><Relationship Id="rId5" Type="http://schemas.openxmlformats.org/officeDocument/2006/relationships/image" Target="../media/image111.emf"/><Relationship Id="rId4" Type="http://schemas.openxmlformats.org/officeDocument/2006/relationships/image" Target="../media/image110.png"/></Relationships>
</file>

<file path=ppt/slides/_rels/slide1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178.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13.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8.png"/><Relationship Id="rId2" Type="http://schemas.openxmlformats.org/officeDocument/2006/relationships/notesSlide" Target="../notesSlides/notesSlide10.xml"/><Relationship Id="rId1" Type="http://schemas.openxmlformats.org/officeDocument/2006/relationships/slideLayout" Target="../slideLayouts/slideLayout178.xml"/><Relationship Id="rId6" Type="http://schemas.openxmlformats.org/officeDocument/2006/relationships/image" Target="../media/image117.png"/><Relationship Id="rId5" Type="http://schemas.openxmlformats.org/officeDocument/2006/relationships/image" Target="../media/image115.png"/><Relationship Id="rId4" Type="http://schemas.openxmlformats.org/officeDocument/2006/relationships/image" Target="../media/image116.png"/></Relationships>
</file>

<file path=ppt/slides/_rels/slide14.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178.xml"/><Relationship Id="rId6" Type="http://schemas.openxmlformats.org/officeDocument/2006/relationships/image" Target="../media/image120.emf"/><Relationship Id="rId5" Type="http://schemas.openxmlformats.org/officeDocument/2006/relationships/image" Target="../media/image111.emf"/><Relationship Id="rId4" Type="http://schemas.microsoft.com/office/2007/relationships/hdphoto" Target="../media/hdphoto7.wdp"/></Relationships>
</file>

<file path=ppt/slides/_rels/slide15.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22.png"/><Relationship Id="rId1" Type="http://schemas.openxmlformats.org/officeDocument/2006/relationships/slideLayout" Target="../slideLayouts/slideLayout189.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1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2.xml"/><Relationship Id="rId1" Type="http://schemas.openxmlformats.org/officeDocument/2006/relationships/slideLayout" Target="../slideLayouts/slideLayout215.xml"/><Relationship Id="rId5" Type="http://schemas.openxmlformats.org/officeDocument/2006/relationships/image" Target="../media/image131.emf"/><Relationship Id="rId4" Type="http://schemas.openxmlformats.org/officeDocument/2006/relationships/image" Target="../media/image130.emf"/></Relationships>
</file>

<file path=ppt/slides/_rels/slide17.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13.xml"/><Relationship Id="rId1" Type="http://schemas.openxmlformats.org/officeDocument/2006/relationships/slideLayout" Target="../slideLayouts/slideLayout240.xml"/><Relationship Id="rId4" Type="http://schemas.openxmlformats.org/officeDocument/2006/relationships/image" Target="../media/image130.emf"/></Relationships>
</file>

<file path=ppt/slides/_rels/slide18.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14.xml"/><Relationship Id="rId1" Type="http://schemas.openxmlformats.org/officeDocument/2006/relationships/slideLayout" Target="../slideLayouts/slideLayout261.xml"/><Relationship Id="rId4" Type="http://schemas.openxmlformats.org/officeDocument/2006/relationships/image" Target="../media/image130.emf"/></Relationships>
</file>

<file path=ppt/slides/_rels/slide19.xml.rels><?xml version="1.0" encoding="UTF-8" standalone="yes"?>
<Relationships xmlns="http://schemas.openxmlformats.org/package/2006/relationships"><Relationship Id="rId8" Type="http://schemas.openxmlformats.org/officeDocument/2006/relationships/image" Target="../media/image130.emf"/><Relationship Id="rId3" Type="http://schemas.openxmlformats.org/officeDocument/2006/relationships/image" Target="../media/image135.png"/><Relationship Id="rId7" Type="http://schemas.openxmlformats.org/officeDocument/2006/relationships/image" Target="../media/image138.emf"/><Relationship Id="rId2" Type="http://schemas.openxmlformats.org/officeDocument/2006/relationships/image" Target="../media/image134.jpeg"/><Relationship Id="rId1" Type="http://schemas.openxmlformats.org/officeDocument/2006/relationships/slideLayout" Target="../slideLayouts/slideLayout281.xml"/><Relationship Id="rId6" Type="http://schemas.microsoft.com/office/2007/relationships/hdphoto" Target="../media/hdphoto8.wdp"/><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39.emf"/></Relationships>
</file>

<file path=ppt/slides/_rels/slide2.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microsoft.com/office/2007/relationships/hdphoto" Target="../media/hdphoto6.wdp"/><Relationship Id="rId5" Type="http://schemas.openxmlformats.org/officeDocument/2006/relationships/image" Target="../media/image81.png"/><Relationship Id="rId4" Type="http://schemas.microsoft.com/office/2007/relationships/hdphoto" Target="../media/hdphoto5.wdp"/></Relationships>
</file>

<file path=ppt/slides/_rels/slide2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5.xml"/><Relationship Id="rId1" Type="http://schemas.openxmlformats.org/officeDocument/2006/relationships/slideLayout" Target="../slideLayouts/slideLayout304.xml"/><Relationship Id="rId5" Type="http://schemas.openxmlformats.org/officeDocument/2006/relationships/image" Target="../media/image141.png"/><Relationship Id="rId4" Type="http://schemas.openxmlformats.org/officeDocument/2006/relationships/image" Target="../media/image130.emf"/></Relationships>
</file>

<file path=ppt/slides/_rels/slide21.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6.xml"/><Relationship Id="rId1" Type="http://schemas.openxmlformats.org/officeDocument/2006/relationships/slideLayout" Target="../slideLayouts/slideLayout321.xml"/><Relationship Id="rId5" Type="http://schemas.openxmlformats.org/officeDocument/2006/relationships/image" Target="../media/image131.emf"/><Relationship Id="rId4" Type="http://schemas.openxmlformats.org/officeDocument/2006/relationships/image" Target="../media/image130.emf"/></Relationships>
</file>

<file path=ppt/slides/_rels/slide2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7.xml"/><Relationship Id="rId1" Type="http://schemas.openxmlformats.org/officeDocument/2006/relationships/slideLayout" Target="../slideLayouts/slideLayout343.xml"/><Relationship Id="rId5" Type="http://schemas.openxmlformats.org/officeDocument/2006/relationships/image" Target="../media/image131.emf"/><Relationship Id="rId4" Type="http://schemas.openxmlformats.org/officeDocument/2006/relationships/image" Target="../media/image130.emf"/></Relationships>
</file>

<file path=ppt/slides/_rels/slide23.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18.xml"/><Relationship Id="rId1" Type="http://schemas.openxmlformats.org/officeDocument/2006/relationships/slideLayout" Target="../slideLayouts/slideLayout368.xml"/></Relationships>
</file>

<file path=ppt/slides/_rels/slide24.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19.xml"/><Relationship Id="rId1" Type="http://schemas.openxmlformats.org/officeDocument/2006/relationships/slideLayout" Target="../slideLayouts/slideLayout389.xml"/><Relationship Id="rId4" Type="http://schemas.openxmlformats.org/officeDocument/2006/relationships/image" Target="../media/image130.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0.xml"/></Relationships>
</file>

<file path=ppt/slides/_rels/slide26.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8.png"/><Relationship Id="rId2" Type="http://schemas.openxmlformats.org/officeDocument/2006/relationships/notesSlide" Target="../notesSlides/notesSlide21.xml"/><Relationship Id="rId1" Type="http://schemas.openxmlformats.org/officeDocument/2006/relationships/slideLayout" Target="../slideLayouts/slideLayout432.xml"/><Relationship Id="rId6" Type="http://schemas.openxmlformats.org/officeDocument/2006/relationships/image" Target="../media/image147.png"/><Relationship Id="rId5" Type="http://schemas.openxmlformats.org/officeDocument/2006/relationships/image" Target="../media/image146.png"/><Relationship Id="rId4" Type="http://schemas.microsoft.com/office/2007/relationships/hdphoto" Target="../media/hdphoto9.wdp"/></Relationships>
</file>

<file path=ppt/slides/_rels/slide27.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8.png"/><Relationship Id="rId2" Type="http://schemas.openxmlformats.org/officeDocument/2006/relationships/notesSlide" Target="../notesSlides/notesSlide22.xml"/><Relationship Id="rId1" Type="http://schemas.openxmlformats.org/officeDocument/2006/relationships/slideLayout" Target="../slideLayouts/slideLayout432.xml"/><Relationship Id="rId6" Type="http://schemas.openxmlformats.org/officeDocument/2006/relationships/image" Target="../media/image150.png"/><Relationship Id="rId5" Type="http://schemas.openxmlformats.org/officeDocument/2006/relationships/image" Target="../media/image149.png"/><Relationship Id="rId4" Type="http://schemas.microsoft.com/office/2007/relationships/hdphoto" Target="../media/hdphoto9.wdp"/></Relationships>
</file>

<file path=ppt/slides/_rels/slide28.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154.png"/><Relationship Id="rId18" Type="http://schemas.microsoft.com/office/2007/relationships/hdphoto" Target="../media/hdphoto15.wdp"/><Relationship Id="rId3" Type="http://schemas.openxmlformats.org/officeDocument/2006/relationships/image" Target="../media/image148.png"/><Relationship Id="rId7" Type="http://schemas.openxmlformats.org/officeDocument/2006/relationships/image" Target="../media/image151.png"/><Relationship Id="rId12" Type="http://schemas.microsoft.com/office/2007/relationships/hdphoto" Target="../media/hdphoto12.wdp"/><Relationship Id="rId17" Type="http://schemas.openxmlformats.org/officeDocument/2006/relationships/image" Target="../media/image156.png"/><Relationship Id="rId2" Type="http://schemas.openxmlformats.org/officeDocument/2006/relationships/notesSlide" Target="../notesSlides/notesSlide23.xml"/><Relationship Id="rId16" Type="http://schemas.microsoft.com/office/2007/relationships/hdphoto" Target="../media/hdphoto14.wdp"/><Relationship Id="rId1" Type="http://schemas.openxmlformats.org/officeDocument/2006/relationships/slideLayout" Target="../slideLayouts/slideLayout464.xml"/><Relationship Id="rId6" Type="http://schemas.openxmlformats.org/officeDocument/2006/relationships/image" Target="../media/image149.png"/><Relationship Id="rId11" Type="http://schemas.openxmlformats.org/officeDocument/2006/relationships/image" Target="../media/image153.png"/><Relationship Id="rId5" Type="http://schemas.microsoft.com/office/2007/relationships/hdphoto" Target="../media/hdphoto9.wdp"/><Relationship Id="rId15" Type="http://schemas.openxmlformats.org/officeDocument/2006/relationships/image" Target="../media/image155.png"/><Relationship Id="rId10" Type="http://schemas.microsoft.com/office/2007/relationships/hdphoto" Target="../media/hdphoto11.wdp"/><Relationship Id="rId4" Type="http://schemas.openxmlformats.org/officeDocument/2006/relationships/image" Target="../media/image145.png"/><Relationship Id="rId9" Type="http://schemas.openxmlformats.org/officeDocument/2006/relationships/image" Target="../media/image152.png"/><Relationship Id="rId14" Type="http://schemas.microsoft.com/office/2007/relationships/hdphoto" Target="../media/hdphoto13.wdp"/></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05.xml"/><Relationship Id="rId1" Type="http://schemas.openxmlformats.org/officeDocument/2006/relationships/tags" Target="../tags/tag40.xml"/><Relationship Id="rId4" Type="http://schemas.openxmlformats.org/officeDocument/2006/relationships/image" Target="../media/image10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3.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6.xml"/><Relationship Id="rId13" Type="http://schemas.openxmlformats.org/officeDocument/2006/relationships/image" Target="../media/image161.png"/><Relationship Id="rId3" Type="http://schemas.openxmlformats.org/officeDocument/2006/relationships/tags" Target="../tags/tag43.xml"/><Relationship Id="rId7" Type="http://schemas.openxmlformats.org/officeDocument/2006/relationships/slideLayout" Target="../slideLayouts/slideLayout554.xml"/><Relationship Id="rId12" Type="http://schemas.openxmlformats.org/officeDocument/2006/relationships/image" Target="../media/image160.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59.png"/><Relationship Id="rId5" Type="http://schemas.openxmlformats.org/officeDocument/2006/relationships/tags" Target="../tags/tag45.xml"/><Relationship Id="rId10" Type="http://schemas.openxmlformats.org/officeDocument/2006/relationships/image" Target="../media/image158.png"/><Relationship Id="rId4" Type="http://schemas.openxmlformats.org/officeDocument/2006/relationships/tags" Target="../tags/tag44.xml"/><Relationship Id="rId9" Type="http://schemas.openxmlformats.org/officeDocument/2006/relationships/image" Target="../media/image157.png"/></Relationships>
</file>

<file path=ppt/slides/_rels/slide32.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71.emf"/><Relationship Id="rId3" Type="http://schemas.openxmlformats.org/officeDocument/2006/relationships/image" Target="../media/image162.emf"/><Relationship Id="rId7" Type="http://schemas.openxmlformats.org/officeDocument/2006/relationships/image" Target="../media/image166.emf"/><Relationship Id="rId12" Type="http://schemas.openxmlformats.org/officeDocument/2006/relationships/image" Target="../media/image170.png"/><Relationship Id="rId2" Type="http://schemas.openxmlformats.org/officeDocument/2006/relationships/notesSlide" Target="../notesSlides/notesSlide27.xml"/><Relationship Id="rId1" Type="http://schemas.openxmlformats.org/officeDocument/2006/relationships/slideLayout" Target="../slideLayouts/slideLayout560.xml"/><Relationship Id="rId6" Type="http://schemas.openxmlformats.org/officeDocument/2006/relationships/image" Target="../media/image165.emf"/><Relationship Id="rId11" Type="http://schemas.openxmlformats.org/officeDocument/2006/relationships/image" Target="../media/image169.emf"/><Relationship Id="rId5" Type="http://schemas.openxmlformats.org/officeDocument/2006/relationships/image" Target="../media/image164.emf"/><Relationship Id="rId10" Type="http://schemas.openxmlformats.org/officeDocument/2006/relationships/image" Target="../media/image168.emf"/><Relationship Id="rId4" Type="http://schemas.openxmlformats.org/officeDocument/2006/relationships/image" Target="../media/image163.emf"/><Relationship Id="rId9" Type="http://schemas.openxmlformats.org/officeDocument/2006/relationships/image" Target="../media/image167.emf"/><Relationship Id="rId14" Type="http://schemas.openxmlformats.org/officeDocument/2006/relationships/image" Target="../media/image17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88.xml"/><Relationship Id="rId1" Type="http://schemas.openxmlformats.org/officeDocument/2006/relationships/tags" Target="../tags/tag47.xml"/></Relationships>
</file>

<file path=ppt/slides/_rels/slide3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Layout" Target="../slideLayouts/slideLayout616.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image" Target="../media/image173.png"/><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image" Target="../media/image158.png"/><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0.xml"/><Relationship Id="rId1" Type="http://schemas.openxmlformats.org/officeDocument/2006/relationships/slideLayout" Target="../slideLayouts/slideLayout643.xml"/><Relationship Id="rId6" Type="http://schemas.openxmlformats.org/officeDocument/2006/relationships/hyperlink" Target="https://github.com/Azure/azure-iot-protocol-gateway" TargetMode="External"/><Relationship Id="rId5" Type="http://schemas.openxmlformats.org/officeDocument/2006/relationships/hyperlink" Target="https://github.com/Azure/azure-iot-gateway-sdk" TargetMode="External"/><Relationship Id="rId4" Type="http://schemas.openxmlformats.org/officeDocument/2006/relationships/hyperlink" Target="https://github.com/Azure/azure-iot-sdks"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68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15.xml"/><Relationship Id="rId1" Type="http://schemas.openxmlformats.org/officeDocument/2006/relationships/tags" Target="../tags/tag60.xml"/></Relationships>
</file>

<file path=ppt/slides/_rels/slide38.xml.rels><?xml version="1.0" encoding="UTF-8" standalone="yes"?>
<Relationships xmlns="http://schemas.openxmlformats.org/package/2006/relationships"><Relationship Id="rId8" Type="http://schemas.openxmlformats.org/officeDocument/2006/relationships/image" Target="../media/image180.emf"/><Relationship Id="rId3" Type="http://schemas.openxmlformats.org/officeDocument/2006/relationships/image" Target="../media/image176.png"/><Relationship Id="rId7" Type="http://schemas.openxmlformats.org/officeDocument/2006/relationships/image" Target="../media/image179.png"/><Relationship Id="rId2" Type="http://schemas.openxmlformats.org/officeDocument/2006/relationships/slideLayout" Target="../slideLayouts/slideLayout744.xml"/><Relationship Id="rId1" Type="http://schemas.openxmlformats.org/officeDocument/2006/relationships/customXml" Target="../../customXml/item1.xml"/><Relationship Id="rId6" Type="http://schemas.microsoft.com/office/2007/relationships/hdphoto" Target="../media/hdphoto16.wdp"/><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1.emf"/></Relationships>
</file>

<file path=ppt/slides/_rels/slide39.xml.rels><?xml version="1.0" encoding="UTF-8" standalone="yes"?>
<Relationships xmlns="http://schemas.openxmlformats.org/package/2006/relationships"><Relationship Id="rId3" Type="http://schemas.openxmlformats.org/officeDocument/2006/relationships/image" Target="../media/image182.gif"/><Relationship Id="rId2" Type="http://schemas.openxmlformats.org/officeDocument/2006/relationships/notesSlide" Target="../notesSlides/notesSlide32.xml"/><Relationship Id="rId1" Type="http://schemas.openxmlformats.org/officeDocument/2006/relationships/slideLayout" Target="../slideLayouts/slideLayout76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_rels/slide40.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emf"/><Relationship Id="rId2" Type="http://schemas.openxmlformats.org/officeDocument/2006/relationships/notesSlide" Target="../notesSlides/notesSlide33.xml"/><Relationship Id="rId1" Type="http://schemas.openxmlformats.org/officeDocument/2006/relationships/slideLayout" Target="../slideLayouts/slideLayout796.xml"/><Relationship Id="rId6" Type="http://schemas.openxmlformats.org/officeDocument/2006/relationships/image" Target="../media/image186.png"/><Relationship Id="rId5" Type="http://schemas.openxmlformats.org/officeDocument/2006/relationships/image" Target="../media/image185.png"/><Relationship Id="rId10" Type="http://schemas.openxmlformats.org/officeDocument/2006/relationships/image" Target="../media/image189.jpeg"/><Relationship Id="rId4" Type="http://schemas.openxmlformats.org/officeDocument/2006/relationships/image" Target="../media/image184.png"/><Relationship Id="rId9" Type="http://schemas.microsoft.com/office/2007/relationships/hdphoto" Target="../media/hdphoto17.wdp"/></Relationships>
</file>

<file path=ppt/slides/_rels/slide41.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34.xml"/><Relationship Id="rId1" Type="http://schemas.openxmlformats.org/officeDocument/2006/relationships/slideLayout" Target="../slideLayouts/slideLayout825.xml"/></Relationships>
</file>

<file path=ppt/slides/_rels/slide5.xml.rels><?xml version="1.0" encoding="UTF-8" standalone="yes"?>
<Relationships xmlns="http://schemas.openxmlformats.org/package/2006/relationships"><Relationship Id="rId8" Type="http://schemas.openxmlformats.org/officeDocument/2006/relationships/image" Target="../media/image89.emf"/><Relationship Id="rId3" Type="http://schemas.openxmlformats.org/officeDocument/2006/relationships/image" Target="../media/image84.emf"/><Relationship Id="rId7" Type="http://schemas.openxmlformats.org/officeDocument/2006/relationships/image" Target="../media/image88.emf"/><Relationship Id="rId2" Type="http://schemas.openxmlformats.org/officeDocument/2006/relationships/image" Target="../media/image83.emf"/><Relationship Id="rId1" Type="http://schemas.openxmlformats.org/officeDocument/2006/relationships/slideLayout" Target="../slideLayouts/slideLayout126.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5.emf"/><Relationship Id="rId9" Type="http://schemas.openxmlformats.org/officeDocument/2006/relationships/image" Target="../media/image90.emf"/></Relationships>
</file>

<file path=ppt/slides/_rels/slide6.xml.rels><?xml version="1.0" encoding="UTF-8" standalone="yes"?>
<Relationships xmlns="http://schemas.openxmlformats.org/package/2006/relationships"><Relationship Id="rId8" Type="http://schemas.openxmlformats.org/officeDocument/2006/relationships/image" Target="../media/image89.emf"/><Relationship Id="rId13" Type="http://schemas.openxmlformats.org/officeDocument/2006/relationships/image" Target="../media/image94.emf"/><Relationship Id="rId3" Type="http://schemas.openxmlformats.org/officeDocument/2006/relationships/image" Target="../media/image84.emf"/><Relationship Id="rId7" Type="http://schemas.openxmlformats.org/officeDocument/2006/relationships/image" Target="../media/image88.emf"/><Relationship Id="rId12" Type="http://schemas.openxmlformats.org/officeDocument/2006/relationships/image" Target="../media/image93.emf"/><Relationship Id="rId2" Type="http://schemas.openxmlformats.org/officeDocument/2006/relationships/image" Target="../media/image83.emf"/><Relationship Id="rId1" Type="http://schemas.openxmlformats.org/officeDocument/2006/relationships/slideLayout" Target="../slideLayouts/slideLayout135.xml"/><Relationship Id="rId6" Type="http://schemas.openxmlformats.org/officeDocument/2006/relationships/image" Target="../media/image87.emf"/><Relationship Id="rId11" Type="http://schemas.openxmlformats.org/officeDocument/2006/relationships/image" Target="../media/image92.emf"/><Relationship Id="rId5" Type="http://schemas.openxmlformats.org/officeDocument/2006/relationships/image" Target="../media/image86.emf"/><Relationship Id="rId10" Type="http://schemas.openxmlformats.org/officeDocument/2006/relationships/image" Target="../media/image91.emf"/><Relationship Id="rId4" Type="http://schemas.openxmlformats.org/officeDocument/2006/relationships/image" Target="../media/image85.emf"/><Relationship Id="rId9" Type="http://schemas.openxmlformats.org/officeDocument/2006/relationships/image" Target="../media/image90.emf"/><Relationship Id="rId14" Type="http://schemas.openxmlformats.org/officeDocument/2006/relationships/image" Target="../media/image95.emf"/></Relationships>
</file>

<file path=ppt/slides/_rels/slide7.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image" Target="../media/image96.emf"/><Relationship Id="rId7" Type="http://schemas.openxmlformats.org/officeDocument/2006/relationships/image" Target="../media/image100.emf"/><Relationship Id="rId2" Type="http://schemas.openxmlformats.org/officeDocument/2006/relationships/notesSlide" Target="../notesSlides/notesSlide5.xml"/><Relationship Id="rId1" Type="http://schemas.openxmlformats.org/officeDocument/2006/relationships/slideLayout" Target="../slideLayouts/slideLayout135.xml"/><Relationship Id="rId6" Type="http://schemas.openxmlformats.org/officeDocument/2006/relationships/image" Target="../media/image99.emf"/><Relationship Id="rId5" Type="http://schemas.openxmlformats.org/officeDocument/2006/relationships/image" Target="../media/image98.emf"/><Relationship Id="rId10" Type="http://schemas.openxmlformats.org/officeDocument/2006/relationships/image" Target="../media/image102.emf"/><Relationship Id="rId4" Type="http://schemas.openxmlformats.org/officeDocument/2006/relationships/image" Target="../media/image97.emf"/><Relationship Id="rId9" Type="http://schemas.openxmlformats.org/officeDocument/2006/relationships/image" Target="../media/image85.emf"/></Relationships>
</file>

<file path=ppt/slides/_rels/slide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slideLayout" Target="../slideLayouts/slideLayout149.xml"/><Relationship Id="rId7" Type="http://schemas.openxmlformats.org/officeDocument/2006/relationships/image" Target="../media/image104.emf"/><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image" Target="../media/image77.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ssion Objectives and Takeaways</a:t>
            </a:r>
            <a:endParaRPr lang="en-US" dirty="0"/>
          </a:p>
        </p:txBody>
      </p:sp>
      <p:sp>
        <p:nvSpPr>
          <p:cNvPr id="6" name="Text Placeholder 4"/>
          <p:cNvSpPr txBox="1">
            <a:spLocks/>
          </p:cNvSpPr>
          <p:nvPr/>
        </p:nvSpPr>
        <p:spPr>
          <a:xfrm>
            <a:off x="448213" y="1486747"/>
            <a:ext cx="4601958" cy="537855"/>
          </a:xfrm>
          <a:prstGeom prst="rect">
            <a:avLst/>
          </a:prstGeom>
          <a:solidFill>
            <a:schemeClr val="accent1"/>
          </a:solidFill>
        </p:spPr>
        <p:txBody>
          <a:bodyPr vert="horz" wrap="square" lIns="143428" tIns="89642" rIns="143428" bIns="89642" rtlCol="0" anchor="ctr">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0"/>
              </a:spcBef>
              <a:buClr>
                <a:srgbClr val="505050"/>
              </a:buClr>
            </a:pPr>
            <a:r>
              <a:rPr lang="en-US" sz="2353" dirty="0">
                <a:solidFill>
                  <a:srgbClr val="FFFFFF"/>
                </a:solidFill>
                <a:latin typeface="Segoe UI Light"/>
              </a:rPr>
              <a:t>Session Objective(s)</a:t>
            </a:r>
          </a:p>
        </p:txBody>
      </p:sp>
      <p:sp>
        <p:nvSpPr>
          <p:cNvPr id="11" name="Text Placeholder 4"/>
          <p:cNvSpPr txBox="1">
            <a:spLocks/>
          </p:cNvSpPr>
          <p:nvPr/>
        </p:nvSpPr>
        <p:spPr>
          <a:xfrm>
            <a:off x="448212" y="2024602"/>
            <a:ext cx="11083890" cy="3029065"/>
          </a:xfrm>
          <a:prstGeom prst="rect">
            <a:avLst/>
          </a:prstGeom>
          <a:solidFill>
            <a:schemeClr val="tx1">
              <a:alpha val="90000"/>
            </a:schemeClr>
          </a:solidFill>
        </p:spPr>
        <p:txBody>
          <a:bodyPr vert="horz" wrap="square" lIns="143428" tIns="89642" rIns="143428" bIns="89642" rtlCol="0" anchor="t">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Introduction to </a:t>
            </a:r>
            <a:r>
              <a:rPr lang="en-US" sz="1961" dirty="0" err="1">
                <a:solidFill>
                  <a:srgbClr val="FFFFFF"/>
                </a:solidFill>
                <a:latin typeface="Segoe UI"/>
              </a:rPr>
              <a:t>IoT</a:t>
            </a:r>
            <a:endParaRPr lang="en-US" sz="1961" dirty="0">
              <a:solidFill>
                <a:srgbClr val="FFFFFF"/>
              </a:solidFill>
              <a:latin typeface="Segoe UI"/>
            </a:endParaRP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Real world use cases</a:t>
            </a:r>
          </a:p>
          <a:p>
            <a:pPr marL="340814" lvl="1" indent="-340814" defTabSz="914367">
              <a:lnSpc>
                <a:spcPct val="100000"/>
              </a:lnSpc>
              <a:spcBef>
                <a:spcPts val="392"/>
              </a:spcBef>
              <a:buClrTx/>
              <a:buSzTx/>
              <a:buFont typeface="+mj-lt"/>
              <a:buAutoNum type="arabicPeriod"/>
            </a:pPr>
            <a:r>
              <a:rPr lang="en-US" sz="1961" dirty="0" err="1">
                <a:solidFill>
                  <a:srgbClr val="FFFFFF"/>
                </a:solidFill>
                <a:latin typeface="Segoe UI"/>
              </a:rPr>
              <a:t>IoT</a:t>
            </a:r>
            <a:r>
              <a:rPr lang="en-US" sz="1961" dirty="0">
                <a:solidFill>
                  <a:srgbClr val="FFFFFF"/>
                </a:solidFill>
                <a:latin typeface="Segoe UI"/>
              </a:rPr>
              <a:t> reference architecture using Azure</a:t>
            </a: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Demo using Intel Galileo Board and Azure</a:t>
            </a:r>
          </a:p>
          <a:p>
            <a:pPr marL="340814" lvl="1" indent="-340814" defTabSz="914367">
              <a:lnSpc>
                <a:spcPct val="100000"/>
              </a:lnSpc>
              <a:spcBef>
                <a:spcPts val="392"/>
              </a:spcBef>
              <a:buClrTx/>
              <a:buSzTx/>
              <a:buFont typeface="+mj-lt"/>
              <a:buAutoNum type="arabicPeriod"/>
            </a:pPr>
            <a:r>
              <a:rPr lang="en-US" sz="1961" dirty="0">
                <a:solidFill>
                  <a:srgbClr val="FFFFFF"/>
                </a:solidFill>
                <a:latin typeface="Segoe UI"/>
              </a:rPr>
              <a:t>Designing scalable applications</a:t>
            </a:r>
          </a:p>
          <a:p>
            <a:pPr marL="340814" lvl="1" indent="-340814" defTabSz="914367">
              <a:lnSpc>
                <a:spcPct val="100000"/>
              </a:lnSpc>
              <a:spcBef>
                <a:spcPts val="392"/>
              </a:spcBef>
              <a:buClrTx/>
              <a:buSzTx/>
              <a:buFont typeface="+mj-lt"/>
              <a:buAutoNum type="arabicPeriod"/>
            </a:pPr>
            <a:r>
              <a:rPr lang="en-US" sz="1961" dirty="0" err="1">
                <a:solidFill>
                  <a:srgbClr val="FFFFFF"/>
                </a:solidFill>
                <a:latin typeface="Segoe UI"/>
              </a:rPr>
              <a:t>IoT</a:t>
            </a:r>
            <a:r>
              <a:rPr lang="en-US" sz="1961" dirty="0">
                <a:solidFill>
                  <a:srgbClr val="FFFFFF"/>
                </a:solidFill>
                <a:latin typeface="Segoe UI"/>
              </a:rPr>
              <a:t> security considerations</a:t>
            </a:r>
          </a:p>
        </p:txBody>
      </p:sp>
      <p:grpSp>
        <p:nvGrpSpPr>
          <p:cNvPr id="5" name="Group 4"/>
          <p:cNvGrpSpPr/>
          <p:nvPr/>
        </p:nvGrpSpPr>
        <p:grpSpPr>
          <a:xfrm>
            <a:off x="0" y="5751037"/>
            <a:ext cx="12192000" cy="1106477"/>
            <a:chOff x="-1" y="5865861"/>
            <a:chExt cx="12436475" cy="1128664"/>
          </a:xfrm>
        </p:grpSpPr>
        <p:grpSp>
          <p:nvGrpSpPr>
            <p:cNvPr id="2" name="Group 1"/>
            <p:cNvGrpSpPr/>
            <p:nvPr/>
          </p:nvGrpSpPr>
          <p:grpSpPr>
            <a:xfrm>
              <a:off x="9703868" y="5865861"/>
              <a:ext cx="2698499" cy="1081401"/>
              <a:chOff x="7945816" y="5161337"/>
              <a:chExt cx="4456552" cy="1785926"/>
            </a:xfrm>
          </p:grpSpPr>
          <p:sp>
            <p:nvSpPr>
              <p:cNvPr id="16" name="Freeform 45"/>
              <p:cNvSpPr>
                <a:spLocks/>
              </p:cNvSpPr>
              <p:nvPr/>
            </p:nvSpPr>
            <p:spPr bwMode="auto">
              <a:xfrm flipH="1">
                <a:off x="10440556" y="5161337"/>
                <a:ext cx="811756" cy="532442"/>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00BCF2">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grpSp>
            <p:nvGrpSpPr>
              <p:cNvPr id="17" name="Group 16"/>
              <p:cNvGrpSpPr/>
              <p:nvPr/>
            </p:nvGrpSpPr>
            <p:grpSpPr>
              <a:xfrm>
                <a:off x="7945816" y="5987322"/>
                <a:ext cx="4456552" cy="959941"/>
                <a:chOff x="9010278" y="6126197"/>
                <a:chExt cx="3181722" cy="685343"/>
              </a:xfrm>
            </p:grpSpPr>
            <p:sp>
              <p:nvSpPr>
                <p:cNvPr id="64" name="Rectangle 83"/>
                <p:cNvSpPr>
                  <a:spLocks noChangeArrowheads="1"/>
                </p:cNvSpPr>
                <p:nvPr/>
              </p:nvSpPr>
              <p:spPr bwMode="auto">
                <a:xfrm>
                  <a:off x="12000284" y="6477724"/>
                  <a:ext cx="102636" cy="1258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5" name="Rectangle 82"/>
                <p:cNvSpPr>
                  <a:spLocks noChangeArrowheads="1"/>
                </p:cNvSpPr>
                <p:nvPr/>
              </p:nvSpPr>
              <p:spPr bwMode="auto">
                <a:xfrm>
                  <a:off x="11341863" y="6579346"/>
                  <a:ext cx="850137" cy="22657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6" name="Freeform 5"/>
                <p:cNvSpPr>
                  <a:spLocks/>
                </p:cNvSpPr>
                <p:nvPr/>
              </p:nvSpPr>
              <p:spPr bwMode="auto">
                <a:xfrm>
                  <a:off x="10472360" y="6126197"/>
                  <a:ext cx="1444653" cy="679723"/>
                </a:xfrm>
                <a:custGeom>
                  <a:avLst/>
                  <a:gdLst>
                    <a:gd name="T0" fmla="*/ 695 w 746"/>
                    <a:gd name="T1" fmla="*/ 113 h 351"/>
                    <a:gd name="T2" fmla="*/ 695 w 746"/>
                    <a:gd name="T3" fmla="*/ 0 h 351"/>
                    <a:gd name="T4" fmla="*/ 584 w 746"/>
                    <a:gd name="T5" fmla="*/ 113 h 351"/>
                    <a:gd name="T6" fmla="*/ 521 w 746"/>
                    <a:gd name="T7" fmla="*/ 113 h 351"/>
                    <a:gd name="T8" fmla="*/ 521 w 746"/>
                    <a:gd name="T9" fmla="*/ 0 h 351"/>
                    <a:gd name="T10" fmla="*/ 409 w 746"/>
                    <a:gd name="T11" fmla="*/ 113 h 351"/>
                    <a:gd name="T12" fmla="*/ 345 w 746"/>
                    <a:gd name="T13" fmla="*/ 113 h 351"/>
                    <a:gd name="T14" fmla="*/ 345 w 746"/>
                    <a:gd name="T15" fmla="*/ 0 h 351"/>
                    <a:gd name="T16" fmla="*/ 233 w 746"/>
                    <a:gd name="T17" fmla="*/ 113 h 351"/>
                    <a:gd name="T18" fmla="*/ 169 w 746"/>
                    <a:gd name="T19" fmla="*/ 113 h 351"/>
                    <a:gd name="T20" fmla="*/ 169 w 746"/>
                    <a:gd name="T21" fmla="*/ 0 h 351"/>
                    <a:gd name="T22" fmla="*/ 59 w 746"/>
                    <a:gd name="T23" fmla="*/ 113 h 351"/>
                    <a:gd name="T24" fmla="*/ 0 w 746"/>
                    <a:gd name="T25" fmla="*/ 113 h 351"/>
                    <a:gd name="T26" fmla="*/ 0 w 746"/>
                    <a:gd name="T27" fmla="*/ 351 h 351"/>
                    <a:gd name="T28" fmla="*/ 746 w 746"/>
                    <a:gd name="T29" fmla="*/ 351 h 351"/>
                    <a:gd name="T30" fmla="*/ 746 w 746"/>
                    <a:gd name="T31" fmla="*/ 113 h 351"/>
                    <a:gd name="T32" fmla="*/ 695 w 746"/>
                    <a:gd name="T33" fmla="*/ 11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6" h="351">
                      <a:moveTo>
                        <a:pt x="695" y="113"/>
                      </a:moveTo>
                      <a:lnTo>
                        <a:pt x="695" y="0"/>
                      </a:lnTo>
                      <a:lnTo>
                        <a:pt x="584" y="113"/>
                      </a:lnTo>
                      <a:lnTo>
                        <a:pt x="521" y="113"/>
                      </a:lnTo>
                      <a:lnTo>
                        <a:pt x="521" y="0"/>
                      </a:lnTo>
                      <a:lnTo>
                        <a:pt x="409" y="113"/>
                      </a:lnTo>
                      <a:lnTo>
                        <a:pt x="345" y="113"/>
                      </a:lnTo>
                      <a:lnTo>
                        <a:pt x="345" y="0"/>
                      </a:lnTo>
                      <a:lnTo>
                        <a:pt x="233" y="113"/>
                      </a:lnTo>
                      <a:lnTo>
                        <a:pt x="169" y="113"/>
                      </a:lnTo>
                      <a:lnTo>
                        <a:pt x="169" y="0"/>
                      </a:lnTo>
                      <a:lnTo>
                        <a:pt x="59" y="113"/>
                      </a:lnTo>
                      <a:lnTo>
                        <a:pt x="0" y="113"/>
                      </a:lnTo>
                      <a:lnTo>
                        <a:pt x="0" y="351"/>
                      </a:lnTo>
                      <a:lnTo>
                        <a:pt x="746" y="351"/>
                      </a:lnTo>
                      <a:lnTo>
                        <a:pt x="746" y="113"/>
                      </a:lnTo>
                      <a:lnTo>
                        <a:pt x="695" y="11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7" name="Freeform 6"/>
                <p:cNvSpPr>
                  <a:spLocks/>
                </p:cNvSpPr>
                <p:nvPr/>
              </p:nvSpPr>
              <p:spPr bwMode="auto">
                <a:xfrm>
                  <a:off x="9453744" y="6126197"/>
                  <a:ext cx="1444653" cy="679723"/>
                </a:xfrm>
                <a:custGeom>
                  <a:avLst/>
                  <a:gdLst>
                    <a:gd name="T0" fmla="*/ 695 w 746"/>
                    <a:gd name="T1" fmla="*/ 113 h 351"/>
                    <a:gd name="T2" fmla="*/ 695 w 746"/>
                    <a:gd name="T3" fmla="*/ 0 h 351"/>
                    <a:gd name="T4" fmla="*/ 585 w 746"/>
                    <a:gd name="T5" fmla="*/ 113 h 351"/>
                    <a:gd name="T6" fmla="*/ 519 w 746"/>
                    <a:gd name="T7" fmla="*/ 113 h 351"/>
                    <a:gd name="T8" fmla="*/ 519 w 746"/>
                    <a:gd name="T9" fmla="*/ 0 h 351"/>
                    <a:gd name="T10" fmla="*/ 409 w 746"/>
                    <a:gd name="T11" fmla="*/ 113 h 351"/>
                    <a:gd name="T12" fmla="*/ 343 w 746"/>
                    <a:gd name="T13" fmla="*/ 113 h 351"/>
                    <a:gd name="T14" fmla="*/ 343 w 746"/>
                    <a:gd name="T15" fmla="*/ 0 h 351"/>
                    <a:gd name="T16" fmla="*/ 233 w 746"/>
                    <a:gd name="T17" fmla="*/ 113 h 351"/>
                    <a:gd name="T18" fmla="*/ 169 w 746"/>
                    <a:gd name="T19" fmla="*/ 113 h 351"/>
                    <a:gd name="T20" fmla="*/ 169 w 746"/>
                    <a:gd name="T21" fmla="*/ 0 h 351"/>
                    <a:gd name="T22" fmla="*/ 57 w 746"/>
                    <a:gd name="T23" fmla="*/ 113 h 351"/>
                    <a:gd name="T24" fmla="*/ 0 w 746"/>
                    <a:gd name="T25" fmla="*/ 113 h 351"/>
                    <a:gd name="T26" fmla="*/ 0 w 746"/>
                    <a:gd name="T27" fmla="*/ 351 h 351"/>
                    <a:gd name="T28" fmla="*/ 746 w 746"/>
                    <a:gd name="T29" fmla="*/ 351 h 351"/>
                    <a:gd name="T30" fmla="*/ 746 w 746"/>
                    <a:gd name="T31" fmla="*/ 113 h 351"/>
                    <a:gd name="T32" fmla="*/ 695 w 746"/>
                    <a:gd name="T33" fmla="*/ 11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6" h="351">
                      <a:moveTo>
                        <a:pt x="695" y="113"/>
                      </a:moveTo>
                      <a:lnTo>
                        <a:pt x="695" y="0"/>
                      </a:lnTo>
                      <a:lnTo>
                        <a:pt x="585" y="113"/>
                      </a:lnTo>
                      <a:lnTo>
                        <a:pt x="519" y="113"/>
                      </a:lnTo>
                      <a:lnTo>
                        <a:pt x="519" y="0"/>
                      </a:lnTo>
                      <a:lnTo>
                        <a:pt x="409" y="113"/>
                      </a:lnTo>
                      <a:lnTo>
                        <a:pt x="343" y="113"/>
                      </a:lnTo>
                      <a:lnTo>
                        <a:pt x="343" y="0"/>
                      </a:lnTo>
                      <a:lnTo>
                        <a:pt x="233" y="113"/>
                      </a:lnTo>
                      <a:lnTo>
                        <a:pt x="169" y="113"/>
                      </a:lnTo>
                      <a:lnTo>
                        <a:pt x="169" y="0"/>
                      </a:lnTo>
                      <a:lnTo>
                        <a:pt x="57" y="113"/>
                      </a:lnTo>
                      <a:lnTo>
                        <a:pt x="0" y="113"/>
                      </a:lnTo>
                      <a:lnTo>
                        <a:pt x="0" y="351"/>
                      </a:lnTo>
                      <a:lnTo>
                        <a:pt x="746" y="351"/>
                      </a:lnTo>
                      <a:lnTo>
                        <a:pt x="746" y="113"/>
                      </a:lnTo>
                      <a:lnTo>
                        <a:pt x="695" y="113"/>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8" name="Rectangle 7"/>
                <p:cNvSpPr>
                  <a:spLocks noChangeArrowheads="1"/>
                </p:cNvSpPr>
                <p:nvPr/>
              </p:nvSpPr>
              <p:spPr bwMode="auto">
                <a:xfrm>
                  <a:off x="10482043" y="6434106"/>
                  <a:ext cx="396988"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69" name="Rectangle 22"/>
                <p:cNvSpPr>
                  <a:spLocks noChangeArrowheads="1"/>
                </p:cNvSpPr>
                <p:nvPr/>
              </p:nvSpPr>
              <p:spPr bwMode="auto">
                <a:xfrm>
                  <a:off x="10946811"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0" name="Rectangle 37"/>
                <p:cNvSpPr>
                  <a:spLocks noChangeArrowheads="1"/>
                </p:cNvSpPr>
                <p:nvPr/>
              </p:nvSpPr>
              <p:spPr bwMode="auto">
                <a:xfrm>
                  <a:off x="11415451"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1" name="Rectangle 52"/>
                <p:cNvSpPr>
                  <a:spLocks noChangeArrowheads="1"/>
                </p:cNvSpPr>
                <p:nvPr/>
              </p:nvSpPr>
              <p:spPr bwMode="auto">
                <a:xfrm>
                  <a:off x="9550570" y="6434106"/>
                  <a:ext cx="398926"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2" name="Rectangle 67"/>
                <p:cNvSpPr>
                  <a:spLocks noChangeArrowheads="1"/>
                </p:cNvSpPr>
                <p:nvPr/>
              </p:nvSpPr>
              <p:spPr bwMode="auto">
                <a:xfrm>
                  <a:off x="10017275" y="6434106"/>
                  <a:ext cx="396988" cy="13168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3" name="Rectangle 87"/>
                <p:cNvSpPr>
                  <a:spLocks noChangeArrowheads="1"/>
                </p:cNvSpPr>
                <p:nvPr/>
              </p:nvSpPr>
              <p:spPr bwMode="auto">
                <a:xfrm>
                  <a:off x="9550570" y="6693602"/>
                  <a:ext cx="61969" cy="1123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4" name="Rectangle 88"/>
                <p:cNvSpPr>
                  <a:spLocks noChangeArrowheads="1"/>
                </p:cNvSpPr>
                <p:nvPr/>
              </p:nvSpPr>
              <p:spPr bwMode="auto">
                <a:xfrm>
                  <a:off x="12050634" y="6671377"/>
                  <a:ext cx="61969" cy="1123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5" name="Rectangle 89"/>
                <p:cNvSpPr>
                  <a:spLocks noChangeArrowheads="1"/>
                </p:cNvSpPr>
                <p:nvPr/>
              </p:nvSpPr>
              <p:spPr bwMode="auto">
                <a:xfrm>
                  <a:off x="11390276" y="6669440"/>
                  <a:ext cx="189780"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6" name="Rectangle 90"/>
                <p:cNvSpPr>
                  <a:spLocks noChangeArrowheads="1"/>
                </p:cNvSpPr>
                <p:nvPr/>
              </p:nvSpPr>
              <p:spPr bwMode="auto">
                <a:xfrm>
                  <a:off x="11601358" y="6669440"/>
                  <a:ext cx="191716"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7" name="Rectangle 91"/>
                <p:cNvSpPr>
                  <a:spLocks noChangeArrowheads="1"/>
                </p:cNvSpPr>
                <p:nvPr/>
              </p:nvSpPr>
              <p:spPr bwMode="auto">
                <a:xfrm>
                  <a:off x="11814377" y="6669440"/>
                  <a:ext cx="189780" cy="658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78" name="Rectangle 92"/>
                <p:cNvSpPr>
                  <a:spLocks noChangeArrowheads="1"/>
                </p:cNvSpPr>
                <p:nvPr/>
              </p:nvSpPr>
              <p:spPr bwMode="auto">
                <a:xfrm>
                  <a:off x="11814377" y="6669440"/>
                  <a:ext cx="189780" cy="6584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nvGrpSpPr>
                <p:cNvPr id="79" name="Group 78"/>
                <p:cNvGrpSpPr/>
                <p:nvPr/>
              </p:nvGrpSpPr>
              <p:grpSpPr>
                <a:xfrm>
                  <a:off x="9010278" y="6624223"/>
                  <a:ext cx="1297476" cy="187317"/>
                  <a:chOff x="7937440" y="6586170"/>
                  <a:chExt cx="1462081" cy="211081"/>
                </a:xfrm>
              </p:grpSpPr>
              <p:sp>
                <p:nvSpPr>
                  <p:cNvPr id="80" name="Rectangle 93"/>
                  <p:cNvSpPr>
                    <a:spLocks noChangeArrowheads="1"/>
                  </p:cNvSpPr>
                  <p:nvPr/>
                </p:nvSpPr>
                <p:spPr bwMode="auto">
                  <a:xfrm>
                    <a:off x="8251158" y="6669440"/>
                    <a:ext cx="21301"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1" name="Oval 94"/>
                  <p:cNvSpPr>
                    <a:spLocks noChangeArrowheads="1"/>
                  </p:cNvSpPr>
                  <p:nvPr/>
                </p:nvSpPr>
                <p:spPr bwMode="auto">
                  <a:xfrm>
                    <a:off x="8193062"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2" name="Rectangle 95"/>
                  <p:cNvSpPr>
                    <a:spLocks noChangeArrowheads="1"/>
                  </p:cNvSpPr>
                  <p:nvPr/>
                </p:nvSpPr>
                <p:spPr bwMode="auto">
                  <a:xfrm>
                    <a:off x="7997472"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3" name="Oval 96"/>
                  <p:cNvSpPr>
                    <a:spLocks noChangeArrowheads="1"/>
                  </p:cNvSpPr>
                  <p:nvPr/>
                </p:nvSpPr>
                <p:spPr bwMode="auto">
                  <a:xfrm>
                    <a:off x="7937440"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4" name="Rectangle 97"/>
                  <p:cNvSpPr>
                    <a:spLocks noChangeArrowheads="1"/>
                  </p:cNvSpPr>
                  <p:nvPr/>
                </p:nvSpPr>
                <p:spPr bwMode="auto">
                  <a:xfrm>
                    <a:off x="8506780"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5" name="Oval 98"/>
                  <p:cNvSpPr>
                    <a:spLocks noChangeArrowheads="1"/>
                  </p:cNvSpPr>
                  <p:nvPr/>
                </p:nvSpPr>
                <p:spPr bwMode="auto">
                  <a:xfrm>
                    <a:off x="8446747"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6" name="Rectangle 99"/>
                  <p:cNvSpPr>
                    <a:spLocks noChangeArrowheads="1"/>
                  </p:cNvSpPr>
                  <p:nvPr/>
                </p:nvSpPr>
                <p:spPr bwMode="auto">
                  <a:xfrm>
                    <a:off x="9066437" y="6669440"/>
                    <a:ext cx="21301"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7" name="Oval 100"/>
                  <p:cNvSpPr>
                    <a:spLocks noChangeArrowheads="1"/>
                  </p:cNvSpPr>
                  <p:nvPr/>
                </p:nvSpPr>
                <p:spPr bwMode="auto">
                  <a:xfrm>
                    <a:off x="9004468"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8" name="Rectangle 101"/>
                  <p:cNvSpPr>
                    <a:spLocks noChangeArrowheads="1"/>
                  </p:cNvSpPr>
                  <p:nvPr/>
                </p:nvSpPr>
                <p:spPr bwMode="auto">
                  <a:xfrm>
                    <a:off x="8812752"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89" name="Oval 102"/>
                  <p:cNvSpPr>
                    <a:spLocks noChangeArrowheads="1"/>
                  </p:cNvSpPr>
                  <p:nvPr/>
                </p:nvSpPr>
                <p:spPr bwMode="auto">
                  <a:xfrm>
                    <a:off x="8750783" y="6586170"/>
                    <a:ext cx="141366"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0" name="Rectangle 103"/>
                  <p:cNvSpPr>
                    <a:spLocks noChangeArrowheads="1"/>
                  </p:cNvSpPr>
                  <p:nvPr/>
                </p:nvSpPr>
                <p:spPr bwMode="auto">
                  <a:xfrm>
                    <a:off x="9322060" y="6669440"/>
                    <a:ext cx="19365" cy="127811"/>
                  </a:xfrm>
                  <a:prstGeom prst="rect">
                    <a:avLst/>
                  </a:pr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1" name="Oval 104"/>
                  <p:cNvSpPr>
                    <a:spLocks noChangeArrowheads="1"/>
                  </p:cNvSpPr>
                  <p:nvPr/>
                </p:nvSpPr>
                <p:spPr bwMode="auto">
                  <a:xfrm>
                    <a:off x="9260091" y="6586170"/>
                    <a:ext cx="139430" cy="14136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pic>
            <p:nvPicPr>
              <p:cNvPr id="19" name="Picture 18"/>
              <p:cNvPicPr>
                <a:picLocks noChangeAspect="1"/>
              </p:cNvPicPr>
              <p:nvPr/>
            </p:nvPicPr>
            <p:blipFill>
              <a:blip r:embed="rId3"/>
              <a:stretch>
                <a:fillRect/>
              </a:stretch>
            </p:blipFill>
            <p:spPr>
              <a:xfrm>
                <a:off x="11347027" y="5326962"/>
                <a:ext cx="954951" cy="327411"/>
              </a:xfrm>
              <a:prstGeom prst="rect">
                <a:avLst/>
              </a:prstGeom>
            </p:spPr>
          </p:pic>
          <p:sp>
            <p:nvSpPr>
              <p:cNvPr id="30" name="Freeform 45"/>
              <p:cNvSpPr>
                <a:spLocks/>
              </p:cNvSpPr>
              <p:nvPr/>
            </p:nvSpPr>
            <p:spPr bwMode="auto">
              <a:xfrm flipH="1">
                <a:off x="9557934" y="5569404"/>
                <a:ext cx="435780" cy="285834"/>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kern="0">
                  <a:solidFill>
                    <a:srgbClr val="000000"/>
                  </a:solidFill>
                  <a:latin typeface="Segoe UI"/>
                </a:endParaRPr>
              </a:p>
            </p:txBody>
          </p:sp>
        </p:grpSp>
        <p:grpSp>
          <p:nvGrpSpPr>
            <p:cNvPr id="117" name="Group 116"/>
            <p:cNvGrpSpPr/>
            <p:nvPr/>
          </p:nvGrpSpPr>
          <p:grpSpPr>
            <a:xfrm>
              <a:off x="8469551" y="6622453"/>
              <a:ext cx="653216" cy="326034"/>
              <a:chOff x="6208713" y="6497638"/>
              <a:chExt cx="903287" cy="450850"/>
            </a:xfrm>
          </p:grpSpPr>
          <p:grpSp>
            <p:nvGrpSpPr>
              <p:cNvPr id="116" name="Group 115"/>
              <p:cNvGrpSpPr/>
              <p:nvPr/>
            </p:nvGrpSpPr>
            <p:grpSpPr>
              <a:xfrm>
                <a:off x="6330950" y="6804026"/>
                <a:ext cx="136525" cy="136525"/>
                <a:chOff x="6330950" y="6804026"/>
                <a:chExt cx="136525" cy="136525"/>
              </a:xfrm>
            </p:grpSpPr>
            <p:sp>
              <p:nvSpPr>
                <p:cNvPr id="106" name="Oval 14"/>
                <p:cNvSpPr>
                  <a:spLocks noChangeArrowheads="1"/>
                </p:cNvSpPr>
                <p:nvPr/>
              </p:nvSpPr>
              <p:spPr bwMode="auto">
                <a:xfrm>
                  <a:off x="6330950" y="6804026"/>
                  <a:ext cx="136525" cy="136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7" name="Oval 15"/>
                <p:cNvSpPr>
                  <a:spLocks noChangeArrowheads="1"/>
                </p:cNvSpPr>
                <p:nvPr/>
              </p:nvSpPr>
              <p:spPr bwMode="auto">
                <a:xfrm>
                  <a:off x="6364288" y="6837363"/>
                  <a:ext cx="69850" cy="698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nvGrpSpPr>
              <p:cNvPr id="115" name="Group 114"/>
              <p:cNvGrpSpPr/>
              <p:nvPr/>
            </p:nvGrpSpPr>
            <p:grpSpPr>
              <a:xfrm>
                <a:off x="6804025" y="6804026"/>
                <a:ext cx="136525" cy="136525"/>
                <a:chOff x="6804025" y="6804026"/>
                <a:chExt cx="136525" cy="136525"/>
              </a:xfrm>
            </p:grpSpPr>
            <p:sp>
              <p:nvSpPr>
                <p:cNvPr id="109" name="Oval 17"/>
                <p:cNvSpPr>
                  <a:spLocks noChangeArrowheads="1"/>
                </p:cNvSpPr>
                <p:nvPr/>
              </p:nvSpPr>
              <p:spPr bwMode="auto">
                <a:xfrm>
                  <a:off x="6804025" y="6804026"/>
                  <a:ext cx="136525" cy="136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0" name="Oval 18"/>
                <p:cNvSpPr>
                  <a:spLocks noChangeArrowheads="1"/>
                </p:cNvSpPr>
                <p:nvPr/>
              </p:nvSpPr>
              <p:spPr bwMode="auto">
                <a:xfrm>
                  <a:off x="6837363" y="6837363"/>
                  <a:ext cx="69850" cy="698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sp>
            <p:nvSpPr>
              <p:cNvPr id="96" name="AutoShape 3"/>
              <p:cNvSpPr>
                <a:spLocks noChangeAspect="1" noChangeArrowheads="1" noTextEdit="1"/>
              </p:cNvSpPr>
              <p:nvPr/>
            </p:nvSpPr>
            <p:spPr bwMode="auto">
              <a:xfrm>
                <a:off x="6208713" y="6497638"/>
                <a:ext cx="903287"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7" name="Freeform 5"/>
              <p:cNvSpPr>
                <a:spLocks/>
              </p:cNvSpPr>
              <p:nvPr/>
            </p:nvSpPr>
            <p:spPr bwMode="auto">
              <a:xfrm>
                <a:off x="6232525" y="6497638"/>
                <a:ext cx="692150" cy="201613"/>
              </a:xfrm>
              <a:custGeom>
                <a:avLst/>
                <a:gdLst>
                  <a:gd name="T0" fmla="*/ 375 w 375"/>
                  <a:gd name="T1" fmla="*/ 0 h 109"/>
                  <a:gd name="T2" fmla="*/ 77 w 375"/>
                  <a:gd name="T3" fmla="*/ 0 h 109"/>
                  <a:gd name="T4" fmla="*/ 0 w 375"/>
                  <a:gd name="T5" fmla="*/ 77 h 109"/>
                  <a:gd name="T6" fmla="*/ 0 w 375"/>
                  <a:gd name="T7" fmla="*/ 109 h 109"/>
                  <a:gd name="T8" fmla="*/ 375 w 375"/>
                  <a:gd name="T9" fmla="*/ 109 h 109"/>
                  <a:gd name="T10" fmla="*/ 375 w 375"/>
                  <a:gd name="T11" fmla="*/ 0 h 109"/>
                </a:gdLst>
                <a:ahLst/>
                <a:cxnLst>
                  <a:cxn ang="0">
                    <a:pos x="T0" y="T1"/>
                  </a:cxn>
                  <a:cxn ang="0">
                    <a:pos x="T2" y="T3"/>
                  </a:cxn>
                  <a:cxn ang="0">
                    <a:pos x="T4" y="T5"/>
                  </a:cxn>
                  <a:cxn ang="0">
                    <a:pos x="T6" y="T7"/>
                  </a:cxn>
                  <a:cxn ang="0">
                    <a:pos x="T8" y="T9"/>
                  </a:cxn>
                  <a:cxn ang="0">
                    <a:pos x="T10" y="T11"/>
                  </a:cxn>
                </a:cxnLst>
                <a:rect l="0" t="0" r="r" b="b"/>
                <a:pathLst>
                  <a:path w="375" h="109">
                    <a:moveTo>
                      <a:pt x="375" y="0"/>
                    </a:moveTo>
                    <a:cubicBezTo>
                      <a:pt x="315" y="0"/>
                      <a:pt x="77" y="0"/>
                      <a:pt x="77" y="0"/>
                    </a:cubicBezTo>
                    <a:cubicBezTo>
                      <a:pt x="35" y="0"/>
                      <a:pt x="0" y="35"/>
                      <a:pt x="0" y="77"/>
                    </a:cubicBezTo>
                    <a:cubicBezTo>
                      <a:pt x="0" y="109"/>
                      <a:pt x="0" y="109"/>
                      <a:pt x="0" y="109"/>
                    </a:cubicBezTo>
                    <a:cubicBezTo>
                      <a:pt x="375" y="109"/>
                      <a:pt x="375" y="109"/>
                      <a:pt x="375" y="109"/>
                    </a:cubicBezTo>
                    <a:lnTo>
                      <a:pt x="375"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8" name="Freeform 6"/>
              <p:cNvSpPr>
                <a:spLocks/>
              </p:cNvSpPr>
              <p:nvPr/>
            </p:nvSpPr>
            <p:spPr bwMode="auto">
              <a:xfrm>
                <a:off x="6386513" y="6497638"/>
                <a:ext cx="692150" cy="201613"/>
              </a:xfrm>
              <a:custGeom>
                <a:avLst/>
                <a:gdLst>
                  <a:gd name="T0" fmla="*/ 0 w 375"/>
                  <a:gd name="T1" fmla="*/ 0 h 109"/>
                  <a:gd name="T2" fmla="*/ 298 w 375"/>
                  <a:gd name="T3" fmla="*/ 0 h 109"/>
                  <a:gd name="T4" fmla="*/ 375 w 375"/>
                  <a:gd name="T5" fmla="*/ 77 h 109"/>
                  <a:gd name="T6" fmla="*/ 375 w 375"/>
                  <a:gd name="T7" fmla="*/ 109 h 109"/>
                  <a:gd name="T8" fmla="*/ 0 w 375"/>
                  <a:gd name="T9" fmla="*/ 109 h 109"/>
                  <a:gd name="T10" fmla="*/ 0 w 375"/>
                  <a:gd name="T11" fmla="*/ 0 h 109"/>
                </a:gdLst>
                <a:ahLst/>
                <a:cxnLst>
                  <a:cxn ang="0">
                    <a:pos x="T0" y="T1"/>
                  </a:cxn>
                  <a:cxn ang="0">
                    <a:pos x="T2" y="T3"/>
                  </a:cxn>
                  <a:cxn ang="0">
                    <a:pos x="T4" y="T5"/>
                  </a:cxn>
                  <a:cxn ang="0">
                    <a:pos x="T6" y="T7"/>
                  </a:cxn>
                  <a:cxn ang="0">
                    <a:pos x="T8" y="T9"/>
                  </a:cxn>
                  <a:cxn ang="0">
                    <a:pos x="T10" y="T11"/>
                  </a:cxn>
                </a:cxnLst>
                <a:rect l="0" t="0" r="r" b="b"/>
                <a:pathLst>
                  <a:path w="375" h="109">
                    <a:moveTo>
                      <a:pt x="0" y="0"/>
                    </a:moveTo>
                    <a:cubicBezTo>
                      <a:pt x="61" y="0"/>
                      <a:pt x="298" y="0"/>
                      <a:pt x="298" y="0"/>
                    </a:cubicBezTo>
                    <a:cubicBezTo>
                      <a:pt x="341" y="0"/>
                      <a:pt x="375" y="35"/>
                      <a:pt x="375" y="77"/>
                    </a:cubicBezTo>
                    <a:cubicBezTo>
                      <a:pt x="375" y="109"/>
                      <a:pt x="375" y="109"/>
                      <a:pt x="375" y="109"/>
                    </a:cubicBezTo>
                    <a:cubicBezTo>
                      <a:pt x="0" y="109"/>
                      <a:pt x="0" y="109"/>
                      <a:pt x="0" y="109"/>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99" name="Freeform 7"/>
              <p:cNvSpPr>
                <a:spLocks/>
              </p:cNvSpPr>
              <p:nvPr/>
            </p:nvSpPr>
            <p:spPr bwMode="auto">
              <a:xfrm>
                <a:off x="6499225" y="6542088"/>
                <a:ext cx="527050" cy="139700"/>
              </a:xfrm>
              <a:custGeom>
                <a:avLst/>
                <a:gdLst>
                  <a:gd name="T0" fmla="*/ 0 w 286"/>
                  <a:gd name="T1" fmla="*/ 0 h 75"/>
                  <a:gd name="T2" fmla="*/ 227 w 286"/>
                  <a:gd name="T3" fmla="*/ 0 h 75"/>
                  <a:gd name="T4" fmla="*/ 286 w 286"/>
                  <a:gd name="T5" fmla="*/ 59 h 75"/>
                  <a:gd name="T6" fmla="*/ 286 w 286"/>
                  <a:gd name="T7" fmla="*/ 75 h 75"/>
                  <a:gd name="T8" fmla="*/ 0 w 286"/>
                  <a:gd name="T9" fmla="*/ 75 h 75"/>
                  <a:gd name="T10" fmla="*/ 0 w 286"/>
                  <a:gd name="T11" fmla="*/ 0 h 75"/>
                </a:gdLst>
                <a:ahLst/>
                <a:cxnLst>
                  <a:cxn ang="0">
                    <a:pos x="T0" y="T1"/>
                  </a:cxn>
                  <a:cxn ang="0">
                    <a:pos x="T2" y="T3"/>
                  </a:cxn>
                  <a:cxn ang="0">
                    <a:pos x="T4" y="T5"/>
                  </a:cxn>
                  <a:cxn ang="0">
                    <a:pos x="T6" y="T7"/>
                  </a:cxn>
                  <a:cxn ang="0">
                    <a:pos x="T8" y="T9"/>
                  </a:cxn>
                  <a:cxn ang="0">
                    <a:pos x="T10" y="T11"/>
                  </a:cxn>
                </a:cxnLst>
                <a:rect l="0" t="0" r="r" b="b"/>
                <a:pathLst>
                  <a:path w="286" h="75">
                    <a:moveTo>
                      <a:pt x="0" y="0"/>
                    </a:moveTo>
                    <a:cubicBezTo>
                      <a:pt x="46" y="0"/>
                      <a:pt x="227" y="0"/>
                      <a:pt x="227" y="0"/>
                    </a:cubicBezTo>
                    <a:cubicBezTo>
                      <a:pt x="260" y="0"/>
                      <a:pt x="286" y="26"/>
                      <a:pt x="286" y="59"/>
                    </a:cubicBezTo>
                    <a:cubicBezTo>
                      <a:pt x="286" y="75"/>
                      <a:pt x="286" y="75"/>
                      <a:pt x="286" y="75"/>
                    </a:cubicBezTo>
                    <a:cubicBezTo>
                      <a:pt x="0" y="75"/>
                      <a:pt x="0" y="75"/>
                      <a:pt x="0" y="75"/>
                    </a:cubicBezTo>
                    <a:lnTo>
                      <a:pt x="0"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0" name="Freeform 8"/>
              <p:cNvSpPr>
                <a:spLocks/>
              </p:cNvSpPr>
              <p:nvPr/>
            </p:nvSpPr>
            <p:spPr bwMode="auto">
              <a:xfrm>
                <a:off x="6365875" y="6542088"/>
                <a:ext cx="550862" cy="139700"/>
              </a:xfrm>
              <a:custGeom>
                <a:avLst/>
                <a:gdLst>
                  <a:gd name="T0" fmla="*/ 21 w 298"/>
                  <a:gd name="T1" fmla="*/ 0 h 75"/>
                  <a:gd name="T2" fmla="*/ 0 w 298"/>
                  <a:gd name="T3" fmla="*/ 22 h 75"/>
                  <a:gd name="T4" fmla="*/ 0 w 298"/>
                  <a:gd name="T5" fmla="*/ 75 h 75"/>
                  <a:gd name="T6" fmla="*/ 298 w 298"/>
                  <a:gd name="T7" fmla="*/ 75 h 75"/>
                  <a:gd name="T8" fmla="*/ 298 w 298"/>
                  <a:gd name="T9" fmla="*/ 0 h 75"/>
                  <a:gd name="T10" fmla="*/ 21 w 298"/>
                  <a:gd name="T11" fmla="*/ 0 h 75"/>
                </a:gdLst>
                <a:ahLst/>
                <a:cxnLst>
                  <a:cxn ang="0">
                    <a:pos x="T0" y="T1"/>
                  </a:cxn>
                  <a:cxn ang="0">
                    <a:pos x="T2" y="T3"/>
                  </a:cxn>
                  <a:cxn ang="0">
                    <a:pos x="T4" y="T5"/>
                  </a:cxn>
                  <a:cxn ang="0">
                    <a:pos x="T6" y="T7"/>
                  </a:cxn>
                  <a:cxn ang="0">
                    <a:pos x="T8" y="T9"/>
                  </a:cxn>
                  <a:cxn ang="0">
                    <a:pos x="T10" y="T11"/>
                  </a:cxn>
                </a:cxnLst>
                <a:rect l="0" t="0" r="r" b="b"/>
                <a:pathLst>
                  <a:path w="298" h="75">
                    <a:moveTo>
                      <a:pt x="21" y="0"/>
                    </a:moveTo>
                    <a:cubicBezTo>
                      <a:pt x="10" y="0"/>
                      <a:pt x="0" y="10"/>
                      <a:pt x="0" y="22"/>
                    </a:cubicBezTo>
                    <a:cubicBezTo>
                      <a:pt x="0" y="75"/>
                      <a:pt x="0" y="75"/>
                      <a:pt x="0" y="75"/>
                    </a:cubicBezTo>
                    <a:cubicBezTo>
                      <a:pt x="298" y="75"/>
                      <a:pt x="298" y="75"/>
                      <a:pt x="298" y="75"/>
                    </a:cubicBezTo>
                    <a:cubicBezTo>
                      <a:pt x="298" y="0"/>
                      <a:pt x="298" y="0"/>
                      <a:pt x="298" y="0"/>
                    </a:cubicBezTo>
                    <a:lnTo>
                      <a:pt x="21"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1" name="Rectangle 9"/>
              <p:cNvSpPr>
                <a:spLocks noChangeArrowheads="1"/>
              </p:cNvSpPr>
              <p:nvPr/>
            </p:nvSpPr>
            <p:spPr bwMode="auto">
              <a:xfrm>
                <a:off x="6499225" y="6538913"/>
                <a:ext cx="23812" cy="153988"/>
              </a:xfrm>
              <a:prstGeom prst="rect">
                <a:avLst/>
              </a:prstGeom>
              <a:solidFill>
                <a:srgbClr val="FFFC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02" name="Rectangle 10"/>
              <p:cNvSpPr>
                <a:spLocks noChangeArrowheads="1"/>
              </p:cNvSpPr>
              <p:nvPr/>
            </p:nvSpPr>
            <p:spPr bwMode="auto">
              <a:xfrm>
                <a:off x="6770688" y="6538913"/>
                <a:ext cx="23812" cy="153988"/>
              </a:xfrm>
              <a:prstGeom prst="rect">
                <a:avLst/>
              </a:prstGeom>
              <a:solidFill>
                <a:srgbClr val="FFFC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4" name="Freeform 113"/>
              <p:cNvSpPr>
                <a:spLocks/>
              </p:cNvSpPr>
              <p:nvPr/>
            </p:nvSpPr>
            <p:spPr bwMode="auto">
              <a:xfrm>
                <a:off x="6232525" y="6699251"/>
                <a:ext cx="846137" cy="180975"/>
              </a:xfrm>
              <a:custGeom>
                <a:avLst/>
                <a:gdLst>
                  <a:gd name="connsiteX0" fmla="*/ 0 w 846137"/>
                  <a:gd name="connsiteY0" fmla="*/ 0 h 180975"/>
                  <a:gd name="connsiteX1" fmla="*/ 846137 w 846137"/>
                  <a:gd name="connsiteY1" fmla="*/ 0 h 180975"/>
                  <a:gd name="connsiteX2" fmla="*/ 846137 w 846137"/>
                  <a:gd name="connsiteY2" fmla="*/ 19050 h 180975"/>
                  <a:gd name="connsiteX3" fmla="*/ 846137 w 846137"/>
                  <a:gd name="connsiteY3" fmla="*/ 180975 h 180975"/>
                  <a:gd name="connsiteX4" fmla="*/ 730250 w 846137"/>
                  <a:gd name="connsiteY4" fmla="*/ 180975 h 180975"/>
                  <a:gd name="connsiteX5" fmla="*/ 730250 w 846137"/>
                  <a:gd name="connsiteY5" fmla="*/ 150957 h 180975"/>
                  <a:gd name="connsiteX6" fmla="*/ 698901 w 846137"/>
                  <a:gd name="connsiteY6" fmla="*/ 119062 h 180975"/>
                  <a:gd name="connsiteX7" fmla="*/ 579037 w 846137"/>
                  <a:gd name="connsiteY7" fmla="*/ 119062 h 180975"/>
                  <a:gd name="connsiteX8" fmla="*/ 547688 w 846137"/>
                  <a:gd name="connsiteY8" fmla="*/ 150957 h 180975"/>
                  <a:gd name="connsiteX9" fmla="*/ 547688 w 846137"/>
                  <a:gd name="connsiteY9" fmla="*/ 180975 h 180975"/>
                  <a:gd name="connsiteX10" fmla="*/ 257175 w 846137"/>
                  <a:gd name="connsiteY10" fmla="*/ 180975 h 180975"/>
                  <a:gd name="connsiteX11" fmla="*/ 257175 w 846137"/>
                  <a:gd name="connsiteY11" fmla="*/ 150957 h 180975"/>
                  <a:gd name="connsiteX12" fmla="*/ 225826 w 846137"/>
                  <a:gd name="connsiteY12" fmla="*/ 119062 h 180975"/>
                  <a:gd name="connsiteX13" fmla="*/ 105962 w 846137"/>
                  <a:gd name="connsiteY13" fmla="*/ 119062 h 180975"/>
                  <a:gd name="connsiteX14" fmla="*/ 74613 w 846137"/>
                  <a:gd name="connsiteY14" fmla="*/ 150957 h 180975"/>
                  <a:gd name="connsiteX15" fmla="*/ 74613 w 846137"/>
                  <a:gd name="connsiteY15" fmla="*/ 180975 h 180975"/>
                  <a:gd name="connsiteX16" fmla="*/ 0 w 846137"/>
                  <a:gd name="connsiteY16" fmla="*/ 180975 h 180975"/>
                  <a:gd name="connsiteX17" fmla="*/ 0 w 846137"/>
                  <a:gd name="connsiteY17" fmla="*/ 190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6137" h="180975">
                    <a:moveTo>
                      <a:pt x="0" y="0"/>
                    </a:moveTo>
                    <a:lnTo>
                      <a:pt x="846137" y="0"/>
                    </a:lnTo>
                    <a:lnTo>
                      <a:pt x="846137" y="19050"/>
                    </a:lnTo>
                    <a:lnTo>
                      <a:pt x="846137" y="180975"/>
                    </a:lnTo>
                    <a:lnTo>
                      <a:pt x="730250" y="180975"/>
                    </a:lnTo>
                    <a:cubicBezTo>
                      <a:pt x="730250" y="150957"/>
                      <a:pt x="730250" y="150957"/>
                      <a:pt x="730250" y="150957"/>
                    </a:cubicBezTo>
                    <a:cubicBezTo>
                      <a:pt x="730250" y="132195"/>
                      <a:pt x="717342" y="119062"/>
                      <a:pt x="698901" y="119062"/>
                    </a:cubicBezTo>
                    <a:cubicBezTo>
                      <a:pt x="579037" y="119062"/>
                      <a:pt x="579037" y="119062"/>
                      <a:pt x="579037" y="119062"/>
                    </a:cubicBezTo>
                    <a:cubicBezTo>
                      <a:pt x="562441" y="119062"/>
                      <a:pt x="547688" y="132195"/>
                      <a:pt x="547688" y="150957"/>
                    </a:cubicBezTo>
                    <a:cubicBezTo>
                      <a:pt x="547688" y="180975"/>
                      <a:pt x="547688" y="180975"/>
                      <a:pt x="547688" y="180975"/>
                    </a:cubicBezTo>
                    <a:lnTo>
                      <a:pt x="257175" y="180975"/>
                    </a:lnTo>
                    <a:cubicBezTo>
                      <a:pt x="257175" y="150957"/>
                      <a:pt x="257175" y="150957"/>
                      <a:pt x="257175" y="150957"/>
                    </a:cubicBezTo>
                    <a:cubicBezTo>
                      <a:pt x="257175" y="132195"/>
                      <a:pt x="244267" y="119062"/>
                      <a:pt x="225826" y="119062"/>
                    </a:cubicBezTo>
                    <a:cubicBezTo>
                      <a:pt x="105962" y="119062"/>
                      <a:pt x="105962" y="119062"/>
                      <a:pt x="105962" y="119062"/>
                    </a:cubicBezTo>
                    <a:cubicBezTo>
                      <a:pt x="89366" y="119062"/>
                      <a:pt x="74613" y="132195"/>
                      <a:pt x="74613" y="150957"/>
                    </a:cubicBezTo>
                    <a:cubicBezTo>
                      <a:pt x="74613" y="180975"/>
                      <a:pt x="74613" y="180975"/>
                      <a:pt x="74613" y="180975"/>
                    </a:cubicBezTo>
                    <a:lnTo>
                      <a:pt x="0" y="180975"/>
                    </a:lnTo>
                    <a:lnTo>
                      <a:pt x="0" y="1905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latin typeface="Segoe UI"/>
                </a:endParaRPr>
              </a:p>
            </p:txBody>
          </p:sp>
          <p:sp>
            <p:nvSpPr>
              <p:cNvPr id="104" name="Freeform 12"/>
              <p:cNvSpPr>
                <a:spLocks/>
              </p:cNvSpPr>
              <p:nvPr/>
            </p:nvSpPr>
            <p:spPr bwMode="auto">
              <a:xfrm>
                <a:off x="6232525" y="6697663"/>
                <a:ext cx="854075" cy="139700"/>
              </a:xfrm>
              <a:custGeom>
                <a:avLst/>
                <a:gdLst>
                  <a:gd name="T0" fmla="*/ 458 w 462"/>
                  <a:gd name="T1" fmla="*/ 0 h 75"/>
                  <a:gd name="T2" fmla="*/ 0 w 462"/>
                  <a:gd name="T3" fmla="*/ 0 h 75"/>
                  <a:gd name="T4" fmla="*/ 0 w 462"/>
                  <a:gd name="T5" fmla="*/ 10 h 75"/>
                  <a:gd name="T6" fmla="*/ 387 w 462"/>
                  <a:gd name="T7" fmla="*/ 10 h 75"/>
                  <a:gd name="T8" fmla="*/ 458 w 462"/>
                  <a:gd name="T9" fmla="*/ 75 h 75"/>
                  <a:gd name="T10" fmla="*/ 458 w 462"/>
                  <a:gd name="T11" fmla="*/ 0 h 75"/>
                </a:gdLst>
                <a:ahLst/>
                <a:cxnLst>
                  <a:cxn ang="0">
                    <a:pos x="T0" y="T1"/>
                  </a:cxn>
                  <a:cxn ang="0">
                    <a:pos x="T2" y="T3"/>
                  </a:cxn>
                  <a:cxn ang="0">
                    <a:pos x="T4" y="T5"/>
                  </a:cxn>
                  <a:cxn ang="0">
                    <a:pos x="T6" y="T7"/>
                  </a:cxn>
                  <a:cxn ang="0">
                    <a:pos x="T8" y="T9"/>
                  </a:cxn>
                  <a:cxn ang="0">
                    <a:pos x="T10" y="T11"/>
                  </a:cxn>
                </a:cxnLst>
                <a:rect l="0" t="0" r="r" b="b"/>
                <a:pathLst>
                  <a:path w="462" h="75">
                    <a:moveTo>
                      <a:pt x="458" y="0"/>
                    </a:moveTo>
                    <a:cubicBezTo>
                      <a:pt x="0" y="0"/>
                      <a:pt x="0" y="0"/>
                      <a:pt x="0" y="0"/>
                    </a:cubicBezTo>
                    <a:cubicBezTo>
                      <a:pt x="0" y="10"/>
                      <a:pt x="0" y="10"/>
                      <a:pt x="0" y="10"/>
                    </a:cubicBezTo>
                    <a:cubicBezTo>
                      <a:pt x="0" y="10"/>
                      <a:pt x="312" y="10"/>
                      <a:pt x="387" y="10"/>
                    </a:cubicBezTo>
                    <a:cubicBezTo>
                      <a:pt x="462" y="10"/>
                      <a:pt x="458" y="75"/>
                      <a:pt x="458" y="75"/>
                    </a:cubicBezTo>
                    <a:lnTo>
                      <a:pt x="45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1" name="Freeform 19"/>
              <p:cNvSpPr>
                <a:spLocks/>
              </p:cNvSpPr>
              <p:nvPr/>
            </p:nvSpPr>
            <p:spPr bwMode="auto">
              <a:xfrm>
                <a:off x="7002463" y="6837363"/>
                <a:ext cx="107950" cy="42863"/>
              </a:xfrm>
              <a:custGeom>
                <a:avLst/>
                <a:gdLst>
                  <a:gd name="T0" fmla="*/ 58 w 58"/>
                  <a:gd name="T1" fmla="*/ 11 h 23"/>
                  <a:gd name="T2" fmla="*/ 47 w 58"/>
                  <a:gd name="T3" fmla="*/ 0 h 23"/>
                  <a:gd name="T4" fmla="*/ 11 w 58"/>
                  <a:gd name="T5" fmla="*/ 0 h 23"/>
                  <a:gd name="T6" fmla="*/ 0 w 58"/>
                  <a:gd name="T7" fmla="*/ 11 h 23"/>
                  <a:gd name="T8" fmla="*/ 0 w 58"/>
                  <a:gd name="T9" fmla="*/ 11 h 23"/>
                  <a:gd name="T10" fmla="*/ 11 w 58"/>
                  <a:gd name="T11" fmla="*/ 23 h 23"/>
                  <a:gd name="T12" fmla="*/ 47 w 58"/>
                  <a:gd name="T13" fmla="*/ 23 h 23"/>
                  <a:gd name="T14" fmla="*/ 58 w 5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3">
                    <a:moveTo>
                      <a:pt x="58" y="11"/>
                    </a:moveTo>
                    <a:cubicBezTo>
                      <a:pt x="58" y="5"/>
                      <a:pt x="53" y="0"/>
                      <a:pt x="47" y="0"/>
                    </a:cubicBezTo>
                    <a:cubicBezTo>
                      <a:pt x="11" y="0"/>
                      <a:pt x="11" y="0"/>
                      <a:pt x="11" y="0"/>
                    </a:cubicBezTo>
                    <a:cubicBezTo>
                      <a:pt x="5" y="0"/>
                      <a:pt x="0" y="5"/>
                      <a:pt x="0" y="11"/>
                    </a:cubicBezTo>
                    <a:cubicBezTo>
                      <a:pt x="0" y="11"/>
                      <a:pt x="0" y="11"/>
                      <a:pt x="0" y="11"/>
                    </a:cubicBezTo>
                    <a:cubicBezTo>
                      <a:pt x="0" y="18"/>
                      <a:pt x="5" y="23"/>
                      <a:pt x="11" y="23"/>
                    </a:cubicBezTo>
                    <a:cubicBezTo>
                      <a:pt x="47" y="23"/>
                      <a:pt x="47" y="23"/>
                      <a:pt x="47" y="23"/>
                    </a:cubicBezTo>
                    <a:cubicBezTo>
                      <a:pt x="53" y="23"/>
                      <a:pt x="58" y="18"/>
                      <a:pt x="58" y="1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12" name="Freeform 20"/>
              <p:cNvSpPr>
                <a:spLocks/>
              </p:cNvSpPr>
              <p:nvPr/>
            </p:nvSpPr>
            <p:spPr bwMode="auto">
              <a:xfrm>
                <a:off x="6210300" y="6837363"/>
                <a:ext cx="96837" cy="42863"/>
              </a:xfrm>
              <a:custGeom>
                <a:avLst/>
                <a:gdLst>
                  <a:gd name="T0" fmla="*/ 52 w 52"/>
                  <a:gd name="T1" fmla="*/ 0 h 23"/>
                  <a:gd name="T2" fmla="*/ 12 w 52"/>
                  <a:gd name="T3" fmla="*/ 0 h 23"/>
                  <a:gd name="T4" fmla="*/ 0 w 52"/>
                  <a:gd name="T5" fmla="*/ 11 h 23"/>
                  <a:gd name="T6" fmla="*/ 12 w 52"/>
                  <a:gd name="T7" fmla="*/ 23 h 23"/>
                  <a:gd name="T8" fmla="*/ 52 w 52"/>
                  <a:gd name="T9" fmla="*/ 23 h 23"/>
                  <a:gd name="T10" fmla="*/ 52 w 52"/>
                  <a:gd name="T11" fmla="*/ 0 h 23"/>
                </a:gdLst>
                <a:ahLst/>
                <a:cxnLst>
                  <a:cxn ang="0">
                    <a:pos x="T0" y="T1"/>
                  </a:cxn>
                  <a:cxn ang="0">
                    <a:pos x="T2" y="T3"/>
                  </a:cxn>
                  <a:cxn ang="0">
                    <a:pos x="T4" y="T5"/>
                  </a:cxn>
                  <a:cxn ang="0">
                    <a:pos x="T6" y="T7"/>
                  </a:cxn>
                  <a:cxn ang="0">
                    <a:pos x="T8" y="T9"/>
                  </a:cxn>
                  <a:cxn ang="0">
                    <a:pos x="T10" y="T11"/>
                  </a:cxn>
                </a:cxnLst>
                <a:rect l="0" t="0" r="r" b="b"/>
                <a:pathLst>
                  <a:path w="52" h="23">
                    <a:moveTo>
                      <a:pt x="52" y="0"/>
                    </a:moveTo>
                    <a:cubicBezTo>
                      <a:pt x="12" y="0"/>
                      <a:pt x="12" y="0"/>
                      <a:pt x="12" y="0"/>
                    </a:cubicBezTo>
                    <a:cubicBezTo>
                      <a:pt x="5" y="0"/>
                      <a:pt x="0" y="5"/>
                      <a:pt x="0" y="11"/>
                    </a:cubicBezTo>
                    <a:cubicBezTo>
                      <a:pt x="0" y="18"/>
                      <a:pt x="5" y="23"/>
                      <a:pt x="12" y="23"/>
                    </a:cubicBezTo>
                    <a:cubicBezTo>
                      <a:pt x="52" y="23"/>
                      <a:pt x="52" y="23"/>
                      <a:pt x="52" y="23"/>
                    </a:cubicBezTo>
                    <a:lnTo>
                      <a:pt x="52"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nvGrpSpPr>
            <p:cNvPr id="3" name="Group 2"/>
            <p:cNvGrpSpPr/>
            <p:nvPr/>
          </p:nvGrpSpPr>
          <p:grpSpPr>
            <a:xfrm>
              <a:off x="-1" y="5927257"/>
              <a:ext cx="3060701" cy="1067268"/>
              <a:chOff x="-1" y="5219700"/>
              <a:chExt cx="5089825" cy="1774825"/>
            </a:xfrm>
          </p:grpSpPr>
          <p:sp>
            <p:nvSpPr>
              <p:cNvPr id="21" name="Freeform 45"/>
              <p:cNvSpPr>
                <a:spLocks/>
              </p:cNvSpPr>
              <p:nvPr/>
            </p:nvSpPr>
            <p:spPr bwMode="auto">
              <a:xfrm flipH="1">
                <a:off x="1724025" y="5292785"/>
                <a:ext cx="700105" cy="459209"/>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rgbClr val="FFFFFF">
                  <a:lumMod val="95000"/>
                </a:srgbClr>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2" name="Freeform 44"/>
              <p:cNvSpPr>
                <a:spLocks/>
              </p:cNvSpPr>
              <p:nvPr/>
            </p:nvSpPr>
            <p:spPr bwMode="auto">
              <a:xfrm flipH="1">
                <a:off x="2538222" y="5431878"/>
                <a:ext cx="524416" cy="343513"/>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bg2">
                  <a:lumMod val="40000"/>
                  <a:lumOff val="60000"/>
                </a:schemeClr>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3" name="Freeform 46"/>
              <p:cNvSpPr>
                <a:spLocks/>
              </p:cNvSpPr>
              <p:nvPr/>
            </p:nvSpPr>
            <p:spPr bwMode="auto">
              <a:xfrm flipH="1">
                <a:off x="3013831" y="5447385"/>
                <a:ext cx="794245" cy="52481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4" name="Slide Number Placeholder 24"/>
              <p:cNvSpPr txBox="1">
                <a:spLocks/>
              </p:cNvSpPr>
              <p:nvPr/>
            </p:nvSpPr>
            <p:spPr>
              <a:xfrm flipH="1">
                <a:off x="238050" y="6566837"/>
                <a:ext cx="836415" cy="202426"/>
              </a:xfrm>
              <a:prstGeom prst="rect">
                <a:avLst/>
              </a:prstGeom>
            </p:spPr>
            <p:txBody>
              <a:bodyPr vert="horz" lIns="89642"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fld id="{27258FFF-F925-446B-8502-81C933981705}" type="slidenum">
                  <a:rPr lang="en-US" sz="882">
                    <a:solidFill>
                      <a:srgbClr val="505050"/>
                    </a:solidFill>
                    <a:latin typeface="Segoe UI"/>
                  </a:rPr>
                  <a:pPr defTabSz="914367">
                    <a:defRPr/>
                  </a:pPr>
                  <a:t>1</a:t>
                </a:fld>
                <a:endParaRPr lang="en-US" sz="882" dirty="0">
                  <a:solidFill>
                    <a:srgbClr val="505050"/>
                  </a:solidFill>
                  <a:latin typeface="Segoe UI"/>
                </a:endParaRPr>
              </a:p>
            </p:txBody>
          </p:sp>
          <p:sp>
            <p:nvSpPr>
              <p:cNvPr id="25" name="Freeform 71"/>
              <p:cNvSpPr>
                <a:spLocks/>
              </p:cNvSpPr>
              <p:nvPr/>
            </p:nvSpPr>
            <p:spPr bwMode="auto">
              <a:xfrm flipH="1">
                <a:off x="-1" y="6258018"/>
                <a:ext cx="2811592" cy="708603"/>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6" name="Freeform 79"/>
              <p:cNvSpPr>
                <a:spLocks/>
              </p:cNvSpPr>
              <p:nvPr/>
            </p:nvSpPr>
            <p:spPr bwMode="auto">
              <a:xfrm flipH="1">
                <a:off x="198781" y="6600229"/>
                <a:ext cx="1541407" cy="36639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sp>
            <p:nvSpPr>
              <p:cNvPr id="28" name="Freeform 70"/>
              <p:cNvSpPr>
                <a:spLocks/>
              </p:cNvSpPr>
              <p:nvPr/>
            </p:nvSpPr>
            <p:spPr bwMode="auto">
              <a:xfrm flipH="1">
                <a:off x="3319903" y="6581113"/>
                <a:ext cx="1769921" cy="413412"/>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000000"/>
                  </a:solidFill>
                  <a:latin typeface="Segoe UI"/>
                </a:endParaRPr>
              </a:p>
            </p:txBody>
          </p:sp>
          <p:grpSp>
            <p:nvGrpSpPr>
              <p:cNvPr id="119" name="Group 23"/>
              <p:cNvGrpSpPr>
                <a:grpSpLocks noChangeAspect="1"/>
              </p:cNvGrpSpPr>
              <p:nvPr/>
            </p:nvGrpSpPr>
            <p:grpSpPr bwMode="auto">
              <a:xfrm>
                <a:off x="0" y="5219700"/>
                <a:ext cx="2601913" cy="1738313"/>
                <a:chOff x="0" y="3288"/>
                <a:chExt cx="1639" cy="1095"/>
              </a:xfrm>
            </p:grpSpPr>
            <p:sp>
              <p:nvSpPr>
                <p:cNvPr id="121" name="Rectangle 24"/>
                <p:cNvSpPr>
                  <a:spLocks noChangeArrowheads="1"/>
                </p:cNvSpPr>
                <p:nvPr/>
              </p:nvSpPr>
              <p:spPr bwMode="auto">
                <a:xfrm>
                  <a:off x="1305" y="3715"/>
                  <a:ext cx="334" cy="66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2" name="Rectangle 25"/>
                <p:cNvSpPr>
                  <a:spLocks noChangeArrowheads="1"/>
                </p:cNvSpPr>
                <p:nvPr/>
              </p:nvSpPr>
              <p:spPr bwMode="auto">
                <a:xfrm>
                  <a:off x="1567" y="3763"/>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3" name="Rectangle 26"/>
                <p:cNvSpPr>
                  <a:spLocks noChangeArrowheads="1"/>
                </p:cNvSpPr>
                <p:nvPr/>
              </p:nvSpPr>
              <p:spPr bwMode="auto">
                <a:xfrm>
                  <a:off x="1495" y="3763"/>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4" name="Rectangle 27"/>
                <p:cNvSpPr>
                  <a:spLocks noChangeArrowheads="1"/>
                </p:cNvSpPr>
                <p:nvPr/>
              </p:nvSpPr>
              <p:spPr bwMode="auto">
                <a:xfrm>
                  <a:off x="1420" y="3763"/>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5" name="Rectangle 28"/>
                <p:cNvSpPr>
                  <a:spLocks noChangeArrowheads="1"/>
                </p:cNvSpPr>
                <p:nvPr/>
              </p:nvSpPr>
              <p:spPr bwMode="auto">
                <a:xfrm>
                  <a:off x="1348" y="3763"/>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6" name="Rectangle 29"/>
                <p:cNvSpPr>
                  <a:spLocks noChangeArrowheads="1"/>
                </p:cNvSpPr>
                <p:nvPr/>
              </p:nvSpPr>
              <p:spPr bwMode="auto">
                <a:xfrm>
                  <a:off x="1567" y="3836"/>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7" name="Rectangle 30"/>
                <p:cNvSpPr>
                  <a:spLocks noChangeArrowheads="1"/>
                </p:cNvSpPr>
                <p:nvPr/>
              </p:nvSpPr>
              <p:spPr bwMode="auto">
                <a:xfrm>
                  <a:off x="1495" y="3836"/>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8" name="Rectangle 31"/>
                <p:cNvSpPr>
                  <a:spLocks noChangeArrowheads="1"/>
                </p:cNvSpPr>
                <p:nvPr/>
              </p:nvSpPr>
              <p:spPr bwMode="auto">
                <a:xfrm>
                  <a:off x="1420" y="3836"/>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29" name="Rectangle 32"/>
                <p:cNvSpPr>
                  <a:spLocks noChangeArrowheads="1"/>
                </p:cNvSpPr>
                <p:nvPr/>
              </p:nvSpPr>
              <p:spPr bwMode="auto">
                <a:xfrm>
                  <a:off x="1348" y="3836"/>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0" name="Rectangle 33"/>
                <p:cNvSpPr>
                  <a:spLocks noChangeArrowheads="1"/>
                </p:cNvSpPr>
                <p:nvPr/>
              </p:nvSpPr>
              <p:spPr bwMode="auto">
                <a:xfrm>
                  <a:off x="1567" y="3908"/>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1" name="Rectangle 34"/>
                <p:cNvSpPr>
                  <a:spLocks noChangeArrowheads="1"/>
                </p:cNvSpPr>
                <p:nvPr/>
              </p:nvSpPr>
              <p:spPr bwMode="auto">
                <a:xfrm>
                  <a:off x="1495" y="3908"/>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2" name="Rectangle 35"/>
                <p:cNvSpPr>
                  <a:spLocks noChangeArrowheads="1"/>
                </p:cNvSpPr>
                <p:nvPr/>
              </p:nvSpPr>
              <p:spPr bwMode="auto">
                <a:xfrm>
                  <a:off x="1420" y="390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3" name="Rectangle 36"/>
                <p:cNvSpPr>
                  <a:spLocks noChangeArrowheads="1"/>
                </p:cNvSpPr>
                <p:nvPr/>
              </p:nvSpPr>
              <p:spPr bwMode="auto">
                <a:xfrm>
                  <a:off x="1348" y="390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4" name="Rectangle 37"/>
                <p:cNvSpPr>
                  <a:spLocks noChangeArrowheads="1"/>
                </p:cNvSpPr>
                <p:nvPr/>
              </p:nvSpPr>
              <p:spPr bwMode="auto">
                <a:xfrm>
                  <a:off x="1567" y="3980"/>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5" name="Rectangle 38"/>
                <p:cNvSpPr>
                  <a:spLocks noChangeArrowheads="1"/>
                </p:cNvSpPr>
                <p:nvPr/>
              </p:nvSpPr>
              <p:spPr bwMode="auto">
                <a:xfrm>
                  <a:off x="1495" y="3980"/>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6" name="Rectangle 39"/>
                <p:cNvSpPr>
                  <a:spLocks noChangeArrowheads="1"/>
                </p:cNvSpPr>
                <p:nvPr/>
              </p:nvSpPr>
              <p:spPr bwMode="auto">
                <a:xfrm>
                  <a:off x="1420" y="3980"/>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7" name="Rectangle 40"/>
                <p:cNvSpPr>
                  <a:spLocks noChangeArrowheads="1"/>
                </p:cNvSpPr>
                <p:nvPr/>
              </p:nvSpPr>
              <p:spPr bwMode="auto">
                <a:xfrm>
                  <a:off x="1348" y="3980"/>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8" name="Rectangle 41"/>
                <p:cNvSpPr>
                  <a:spLocks noChangeArrowheads="1"/>
                </p:cNvSpPr>
                <p:nvPr/>
              </p:nvSpPr>
              <p:spPr bwMode="auto">
                <a:xfrm>
                  <a:off x="1567" y="4054"/>
                  <a:ext cx="26"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39" name="Rectangle 42"/>
                <p:cNvSpPr>
                  <a:spLocks noChangeArrowheads="1"/>
                </p:cNvSpPr>
                <p:nvPr/>
              </p:nvSpPr>
              <p:spPr bwMode="auto">
                <a:xfrm>
                  <a:off x="1495" y="4054"/>
                  <a:ext cx="26"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0" name="Rectangle 43"/>
                <p:cNvSpPr>
                  <a:spLocks noChangeArrowheads="1"/>
                </p:cNvSpPr>
                <p:nvPr/>
              </p:nvSpPr>
              <p:spPr bwMode="auto">
                <a:xfrm>
                  <a:off x="1420" y="4054"/>
                  <a:ext cx="29"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1" name="Rectangle 44"/>
                <p:cNvSpPr>
                  <a:spLocks noChangeArrowheads="1"/>
                </p:cNvSpPr>
                <p:nvPr/>
              </p:nvSpPr>
              <p:spPr bwMode="auto">
                <a:xfrm>
                  <a:off x="1348" y="4054"/>
                  <a:ext cx="29" cy="49"/>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2" name="Rectangle 45"/>
                <p:cNvSpPr>
                  <a:spLocks noChangeArrowheads="1"/>
                </p:cNvSpPr>
                <p:nvPr/>
              </p:nvSpPr>
              <p:spPr bwMode="auto">
                <a:xfrm>
                  <a:off x="1567" y="4127"/>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3" name="Rectangle 46"/>
                <p:cNvSpPr>
                  <a:spLocks noChangeArrowheads="1"/>
                </p:cNvSpPr>
                <p:nvPr/>
              </p:nvSpPr>
              <p:spPr bwMode="auto">
                <a:xfrm>
                  <a:off x="1495" y="4127"/>
                  <a:ext cx="26"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4" name="Rectangle 47"/>
                <p:cNvSpPr>
                  <a:spLocks noChangeArrowheads="1"/>
                </p:cNvSpPr>
                <p:nvPr/>
              </p:nvSpPr>
              <p:spPr bwMode="auto">
                <a:xfrm>
                  <a:off x="1420" y="4127"/>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5" name="Rectangle 48"/>
                <p:cNvSpPr>
                  <a:spLocks noChangeArrowheads="1"/>
                </p:cNvSpPr>
                <p:nvPr/>
              </p:nvSpPr>
              <p:spPr bwMode="auto">
                <a:xfrm>
                  <a:off x="1348" y="4127"/>
                  <a:ext cx="29" cy="4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6" name="Rectangle 49"/>
                <p:cNvSpPr>
                  <a:spLocks noChangeArrowheads="1"/>
                </p:cNvSpPr>
                <p:nvPr/>
              </p:nvSpPr>
              <p:spPr bwMode="auto">
                <a:xfrm>
                  <a:off x="1567" y="4199"/>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7" name="Rectangle 50"/>
                <p:cNvSpPr>
                  <a:spLocks noChangeArrowheads="1"/>
                </p:cNvSpPr>
                <p:nvPr/>
              </p:nvSpPr>
              <p:spPr bwMode="auto">
                <a:xfrm>
                  <a:off x="1495" y="4199"/>
                  <a:ext cx="26"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8" name="Rectangle 51"/>
                <p:cNvSpPr>
                  <a:spLocks noChangeArrowheads="1"/>
                </p:cNvSpPr>
                <p:nvPr/>
              </p:nvSpPr>
              <p:spPr bwMode="auto">
                <a:xfrm>
                  <a:off x="1420" y="4199"/>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49" name="Rectangle 52"/>
                <p:cNvSpPr>
                  <a:spLocks noChangeArrowheads="1"/>
                </p:cNvSpPr>
                <p:nvPr/>
              </p:nvSpPr>
              <p:spPr bwMode="auto">
                <a:xfrm>
                  <a:off x="1348" y="4199"/>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0" name="Rectangle 53"/>
                <p:cNvSpPr>
                  <a:spLocks noChangeArrowheads="1"/>
                </p:cNvSpPr>
                <p:nvPr/>
              </p:nvSpPr>
              <p:spPr bwMode="auto">
                <a:xfrm>
                  <a:off x="1567" y="4271"/>
                  <a:ext cx="26"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1" name="Rectangle 54"/>
                <p:cNvSpPr>
                  <a:spLocks noChangeArrowheads="1"/>
                </p:cNvSpPr>
                <p:nvPr/>
              </p:nvSpPr>
              <p:spPr bwMode="auto">
                <a:xfrm>
                  <a:off x="1495" y="4271"/>
                  <a:ext cx="26"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2" name="Rectangle 55"/>
                <p:cNvSpPr>
                  <a:spLocks noChangeArrowheads="1"/>
                </p:cNvSpPr>
                <p:nvPr/>
              </p:nvSpPr>
              <p:spPr bwMode="auto">
                <a:xfrm>
                  <a:off x="1420" y="4271"/>
                  <a:ext cx="29"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3" name="Rectangle 56"/>
                <p:cNvSpPr>
                  <a:spLocks noChangeArrowheads="1"/>
                </p:cNvSpPr>
                <p:nvPr/>
              </p:nvSpPr>
              <p:spPr bwMode="auto">
                <a:xfrm>
                  <a:off x="1348" y="4271"/>
                  <a:ext cx="29"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4" name="Rectangle 57"/>
                <p:cNvSpPr>
                  <a:spLocks noChangeArrowheads="1"/>
                </p:cNvSpPr>
                <p:nvPr/>
              </p:nvSpPr>
              <p:spPr bwMode="auto">
                <a:xfrm>
                  <a:off x="590" y="4041"/>
                  <a:ext cx="194" cy="34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5" name="Rectangle 58"/>
                <p:cNvSpPr>
                  <a:spLocks noChangeArrowheads="1"/>
                </p:cNvSpPr>
                <p:nvPr/>
              </p:nvSpPr>
              <p:spPr bwMode="auto">
                <a:xfrm>
                  <a:off x="1167" y="3860"/>
                  <a:ext cx="194" cy="52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6" name="Rectangle 59"/>
                <p:cNvSpPr>
                  <a:spLocks noChangeArrowheads="1"/>
                </p:cNvSpPr>
                <p:nvPr/>
              </p:nvSpPr>
              <p:spPr bwMode="auto">
                <a:xfrm>
                  <a:off x="699" y="3862"/>
                  <a:ext cx="328" cy="2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7" name="Freeform 60"/>
                <p:cNvSpPr>
                  <a:spLocks/>
                </p:cNvSpPr>
                <p:nvPr/>
              </p:nvSpPr>
              <p:spPr bwMode="auto">
                <a:xfrm>
                  <a:off x="887" y="3385"/>
                  <a:ext cx="280" cy="998"/>
                </a:xfrm>
                <a:custGeom>
                  <a:avLst/>
                  <a:gdLst>
                    <a:gd name="T0" fmla="*/ 0 w 280"/>
                    <a:gd name="T1" fmla="*/ 0 h 998"/>
                    <a:gd name="T2" fmla="*/ 280 w 280"/>
                    <a:gd name="T3" fmla="*/ 0 h 998"/>
                    <a:gd name="T4" fmla="*/ 280 w 280"/>
                    <a:gd name="T5" fmla="*/ 998 h 998"/>
                    <a:gd name="T6" fmla="*/ 0 w 280"/>
                    <a:gd name="T7" fmla="*/ 998 h 998"/>
                    <a:gd name="T8" fmla="*/ 0 w 280"/>
                    <a:gd name="T9" fmla="*/ 650 h 998"/>
                    <a:gd name="T10" fmla="*/ 0 w 280"/>
                    <a:gd name="T11" fmla="*/ 0 h 998"/>
                  </a:gdLst>
                  <a:ahLst/>
                  <a:cxnLst>
                    <a:cxn ang="0">
                      <a:pos x="T0" y="T1"/>
                    </a:cxn>
                    <a:cxn ang="0">
                      <a:pos x="T2" y="T3"/>
                    </a:cxn>
                    <a:cxn ang="0">
                      <a:pos x="T4" y="T5"/>
                    </a:cxn>
                    <a:cxn ang="0">
                      <a:pos x="T6" y="T7"/>
                    </a:cxn>
                    <a:cxn ang="0">
                      <a:pos x="T8" y="T9"/>
                    </a:cxn>
                    <a:cxn ang="0">
                      <a:pos x="T10" y="T11"/>
                    </a:cxn>
                  </a:cxnLst>
                  <a:rect l="0" t="0" r="r" b="b"/>
                  <a:pathLst>
                    <a:path w="280" h="998">
                      <a:moveTo>
                        <a:pt x="0" y="0"/>
                      </a:moveTo>
                      <a:lnTo>
                        <a:pt x="280" y="0"/>
                      </a:lnTo>
                      <a:lnTo>
                        <a:pt x="280" y="998"/>
                      </a:lnTo>
                      <a:lnTo>
                        <a:pt x="0" y="998"/>
                      </a:lnTo>
                      <a:lnTo>
                        <a:pt x="0" y="65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8" name="Freeform 61"/>
                <p:cNvSpPr>
                  <a:spLocks/>
                </p:cNvSpPr>
                <p:nvPr/>
              </p:nvSpPr>
              <p:spPr bwMode="auto">
                <a:xfrm>
                  <a:off x="699" y="3866"/>
                  <a:ext cx="188" cy="517"/>
                </a:xfrm>
                <a:custGeom>
                  <a:avLst/>
                  <a:gdLst>
                    <a:gd name="T0" fmla="*/ 0 w 188"/>
                    <a:gd name="T1" fmla="*/ 259 h 517"/>
                    <a:gd name="T2" fmla="*/ 0 w 188"/>
                    <a:gd name="T3" fmla="*/ 517 h 517"/>
                    <a:gd name="T4" fmla="*/ 188 w 188"/>
                    <a:gd name="T5" fmla="*/ 517 h 517"/>
                    <a:gd name="T6" fmla="*/ 188 w 188"/>
                    <a:gd name="T7" fmla="*/ 0 h 517"/>
                    <a:gd name="T8" fmla="*/ 0 w 188"/>
                    <a:gd name="T9" fmla="*/ 259 h 517"/>
                  </a:gdLst>
                  <a:ahLst/>
                  <a:cxnLst>
                    <a:cxn ang="0">
                      <a:pos x="T0" y="T1"/>
                    </a:cxn>
                    <a:cxn ang="0">
                      <a:pos x="T2" y="T3"/>
                    </a:cxn>
                    <a:cxn ang="0">
                      <a:pos x="T4" y="T5"/>
                    </a:cxn>
                    <a:cxn ang="0">
                      <a:pos x="T6" y="T7"/>
                    </a:cxn>
                    <a:cxn ang="0">
                      <a:pos x="T8" y="T9"/>
                    </a:cxn>
                  </a:cxnLst>
                  <a:rect l="0" t="0" r="r" b="b"/>
                  <a:pathLst>
                    <a:path w="188" h="517">
                      <a:moveTo>
                        <a:pt x="0" y="259"/>
                      </a:moveTo>
                      <a:lnTo>
                        <a:pt x="0" y="517"/>
                      </a:lnTo>
                      <a:lnTo>
                        <a:pt x="188" y="517"/>
                      </a:lnTo>
                      <a:lnTo>
                        <a:pt x="188" y="0"/>
                      </a:lnTo>
                      <a:lnTo>
                        <a:pt x="0" y="259"/>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59" name="Rectangle 62"/>
                <p:cNvSpPr>
                  <a:spLocks noChangeArrowheads="1"/>
                </p:cNvSpPr>
                <p:nvPr/>
              </p:nvSpPr>
              <p:spPr bwMode="auto">
                <a:xfrm>
                  <a:off x="922"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0" name="Rectangle 63"/>
                <p:cNvSpPr>
                  <a:spLocks noChangeArrowheads="1"/>
                </p:cNvSpPr>
                <p:nvPr/>
              </p:nvSpPr>
              <p:spPr bwMode="auto">
                <a:xfrm>
                  <a:off x="983"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1" name="Rectangle 64"/>
                <p:cNvSpPr>
                  <a:spLocks noChangeArrowheads="1"/>
                </p:cNvSpPr>
                <p:nvPr/>
              </p:nvSpPr>
              <p:spPr bwMode="auto">
                <a:xfrm>
                  <a:off x="1042" y="3439"/>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2" name="Rectangle 65"/>
                <p:cNvSpPr>
                  <a:spLocks noChangeArrowheads="1"/>
                </p:cNvSpPr>
                <p:nvPr/>
              </p:nvSpPr>
              <p:spPr bwMode="auto">
                <a:xfrm>
                  <a:off x="1104" y="3439"/>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3" name="Rectangle 66"/>
                <p:cNvSpPr>
                  <a:spLocks noChangeArrowheads="1"/>
                </p:cNvSpPr>
                <p:nvPr/>
              </p:nvSpPr>
              <p:spPr bwMode="auto">
                <a:xfrm>
                  <a:off x="922"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4" name="Rectangle 67"/>
                <p:cNvSpPr>
                  <a:spLocks noChangeArrowheads="1"/>
                </p:cNvSpPr>
                <p:nvPr/>
              </p:nvSpPr>
              <p:spPr bwMode="auto">
                <a:xfrm>
                  <a:off x="983"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5" name="Rectangle 68"/>
                <p:cNvSpPr>
                  <a:spLocks noChangeArrowheads="1"/>
                </p:cNvSpPr>
                <p:nvPr/>
              </p:nvSpPr>
              <p:spPr bwMode="auto">
                <a:xfrm>
                  <a:off x="1042" y="3518"/>
                  <a:ext cx="29"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6" name="Rectangle 69"/>
                <p:cNvSpPr>
                  <a:spLocks noChangeArrowheads="1"/>
                </p:cNvSpPr>
                <p:nvPr/>
              </p:nvSpPr>
              <p:spPr bwMode="auto">
                <a:xfrm>
                  <a:off x="1104" y="3518"/>
                  <a:ext cx="28"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7" name="Rectangle 70"/>
                <p:cNvSpPr>
                  <a:spLocks noChangeArrowheads="1"/>
                </p:cNvSpPr>
                <p:nvPr/>
              </p:nvSpPr>
              <p:spPr bwMode="auto">
                <a:xfrm>
                  <a:off x="922"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8" name="Rectangle 71"/>
                <p:cNvSpPr>
                  <a:spLocks noChangeArrowheads="1"/>
                </p:cNvSpPr>
                <p:nvPr/>
              </p:nvSpPr>
              <p:spPr bwMode="auto">
                <a:xfrm>
                  <a:off x="983"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69" name="Rectangle 72"/>
                <p:cNvSpPr>
                  <a:spLocks noChangeArrowheads="1"/>
                </p:cNvSpPr>
                <p:nvPr/>
              </p:nvSpPr>
              <p:spPr bwMode="auto">
                <a:xfrm>
                  <a:off x="1042" y="3595"/>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0" name="Rectangle 73"/>
                <p:cNvSpPr>
                  <a:spLocks noChangeArrowheads="1"/>
                </p:cNvSpPr>
                <p:nvPr/>
              </p:nvSpPr>
              <p:spPr bwMode="auto">
                <a:xfrm>
                  <a:off x="1104" y="3595"/>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1" name="Rectangle 74"/>
                <p:cNvSpPr>
                  <a:spLocks noChangeArrowheads="1"/>
                </p:cNvSpPr>
                <p:nvPr/>
              </p:nvSpPr>
              <p:spPr bwMode="auto">
                <a:xfrm>
                  <a:off x="922"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2" name="Rectangle 75"/>
                <p:cNvSpPr>
                  <a:spLocks noChangeArrowheads="1"/>
                </p:cNvSpPr>
                <p:nvPr/>
              </p:nvSpPr>
              <p:spPr bwMode="auto">
                <a:xfrm>
                  <a:off x="983"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3" name="Rectangle 76"/>
                <p:cNvSpPr>
                  <a:spLocks noChangeArrowheads="1"/>
                </p:cNvSpPr>
                <p:nvPr/>
              </p:nvSpPr>
              <p:spPr bwMode="auto">
                <a:xfrm>
                  <a:off x="1042" y="3674"/>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4" name="Rectangle 77"/>
                <p:cNvSpPr>
                  <a:spLocks noChangeArrowheads="1"/>
                </p:cNvSpPr>
                <p:nvPr/>
              </p:nvSpPr>
              <p:spPr bwMode="auto">
                <a:xfrm>
                  <a:off x="1104" y="3674"/>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5" name="Rectangle 78"/>
                <p:cNvSpPr>
                  <a:spLocks noChangeArrowheads="1"/>
                </p:cNvSpPr>
                <p:nvPr/>
              </p:nvSpPr>
              <p:spPr bwMode="auto">
                <a:xfrm>
                  <a:off x="922"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6" name="Rectangle 79"/>
                <p:cNvSpPr>
                  <a:spLocks noChangeArrowheads="1"/>
                </p:cNvSpPr>
                <p:nvPr/>
              </p:nvSpPr>
              <p:spPr bwMode="auto">
                <a:xfrm>
                  <a:off x="983"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7" name="Rectangle 80"/>
                <p:cNvSpPr>
                  <a:spLocks noChangeArrowheads="1"/>
                </p:cNvSpPr>
                <p:nvPr/>
              </p:nvSpPr>
              <p:spPr bwMode="auto">
                <a:xfrm>
                  <a:off x="1042" y="375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8" name="Rectangle 81"/>
                <p:cNvSpPr>
                  <a:spLocks noChangeArrowheads="1"/>
                </p:cNvSpPr>
                <p:nvPr/>
              </p:nvSpPr>
              <p:spPr bwMode="auto">
                <a:xfrm>
                  <a:off x="1104" y="375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79" name="Rectangle 82"/>
                <p:cNvSpPr>
                  <a:spLocks noChangeArrowheads="1"/>
                </p:cNvSpPr>
                <p:nvPr/>
              </p:nvSpPr>
              <p:spPr bwMode="auto">
                <a:xfrm>
                  <a:off x="922"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0" name="Rectangle 83"/>
                <p:cNvSpPr>
                  <a:spLocks noChangeArrowheads="1"/>
                </p:cNvSpPr>
                <p:nvPr/>
              </p:nvSpPr>
              <p:spPr bwMode="auto">
                <a:xfrm>
                  <a:off x="983"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1" name="Rectangle 84"/>
                <p:cNvSpPr>
                  <a:spLocks noChangeArrowheads="1"/>
                </p:cNvSpPr>
                <p:nvPr/>
              </p:nvSpPr>
              <p:spPr bwMode="auto">
                <a:xfrm>
                  <a:off x="1042" y="3831"/>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2" name="Rectangle 85"/>
                <p:cNvSpPr>
                  <a:spLocks noChangeArrowheads="1"/>
                </p:cNvSpPr>
                <p:nvPr/>
              </p:nvSpPr>
              <p:spPr bwMode="auto">
                <a:xfrm>
                  <a:off x="1104" y="3831"/>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3" name="Rectangle 86"/>
                <p:cNvSpPr>
                  <a:spLocks noChangeArrowheads="1"/>
                </p:cNvSpPr>
                <p:nvPr/>
              </p:nvSpPr>
              <p:spPr bwMode="auto">
                <a:xfrm>
                  <a:off x="922"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4" name="Rectangle 87"/>
                <p:cNvSpPr>
                  <a:spLocks noChangeArrowheads="1"/>
                </p:cNvSpPr>
                <p:nvPr/>
              </p:nvSpPr>
              <p:spPr bwMode="auto">
                <a:xfrm>
                  <a:off x="983"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5" name="Rectangle 88"/>
                <p:cNvSpPr>
                  <a:spLocks noChangeArrowheads="1"/>
                </p:cNvSpPr>
                <p:nvPr/>
              </p:nvSpPr>
              <p:spPr bwMode="auto">
                <a:xfrm>
                  <a:off x="1042"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6" name="Rectangle 89"/>
                <p:cNvSpPr>
                  <a:spLocks noChangeArrowheads="1"/>
                </p:cNvSpPr>
                <p:nvPr/>
              </p:nvSpPr>
              <p:spPr bwMode="auto">
                <a:xfrm>
                  <a:off x="1104" y="3910"/>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7" name="Rectangle 90"/>
                <p:cNvSpPr>
                  <a:spLocks noChangeArrowheads="1"/>
                </p:cNvSpPr>
                <p:nvPr/>
              </p:nvSpPr>
              <p:spPr bwMode="auto">
                <a:xfrm>
                  <a:off x="922"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8" name="Rectangle 91"/>
                <p:cNvSpPr>
                  <a:spLocks noChangeArrowheads="1"/>
                </p:cNvSpPr>
                <p:nvPr/>
              </p:nvSpPr>
              <p:spPr bwMode="auto">
                <a:xfrm>
                  <a:off x="983"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89" name="Rectangle 92"/>
                <p:cNvSpPr>
                  <a:spLocks noChangeArrowheads="1"/>
                </p:cNvSpPr>
                <p:nvPr/>
              </p:nvSpPr>
              <p:spPr bwMode="auto">
                <a:xfrm>
                  <a:off x="1042" y="406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0" name="Rectangle 93"/>
                <p:cNvSpPr>
                  <a:spLocks noChangeArrowheads="1"/>
                </p:cNvSpPr>
                <p:nvPr/>
              </p:nvSpPr>
              <p:spPr bwMode="auto">
                <a:xfrm>
                  <a:off x="1104" y="4063"/>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1" name="Rectangle 94"/>
                <p:cNvSpPr>
                  <a:spLocks noChangeArrowheads="1"/>
                </p:cNvSpPr>
                <p:nvPr/>
              </p:nvSpPr>
              <p:spPr bwMode="auto">
                <a:xfrm>
                  <a:off x="922"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2" name="Rectangle 95"/>
                <p:cNvSpPr>
                  <a:spLocks noChangeArrowheads="1"/>
                </p:cNvSpPr>
                <p:nvPr/>
              </p:nvSpPr>
              <p:spPr bwMode="auto">
                <a:xfrm>
                  <a:off x="983"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3" name="Rectangle 96"/>
                <p:cNvSpPr>
                  <a:spLocks noChangeArrowheads="1"/>
                </p:cNvSpPr>
                <p:nvPr/>
              </p:nvSpPr>
              <p:spPr bwMode="auto">
                <a:xfrm>
                  <a:off x="1042" y="398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4" name="Rectangle 97"/>
                <p:cNvSpPr>
                  <a:spLocks noChangeArrowheads="1"/>
                </p:cNvSpPr>
                <p:nvPr/>
              </p:nvSpPr>
              <p:spPr bwMode="auto">
                <a:xfrm>
                  <a:off x="1104" y="398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5" name="Rectangle 98"/>
                <p:cNvSpPr>
                  <a:spLocks noChangeArrowheads="1"/>
                </p:cNvSpPr>
                <p:nvPr/>
              </p:nvSpPr>
              <p:spPr bwMode="auto">
                <a:xfrm>
                  <a:off x="922"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6" name="Rectangle 99"/>
                <p:cNvSpPr>
                  <a:spLocks noChangeArrowheads="1"/>
                </p:cNvSpPr>
                <p:nvPr/>
              </p:nvSpPr>
              <p:spPr bwMode="auto">
                <a:xfrm>
                  <a:off x="983"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7" name="Rectangle 100"/>
                <p:cNvSpPr>
                  <a:spLocks noChangeArrowheads="1"/>
                </p:cNvSpPr>
                <p:nvPr/>
              </p:nvSpPr>
              <p:spPr bwMode="auto">
                <a:xfrm>
                  <a:off x="1042" y="4142"/>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8" name="Rectangle 101"/>
                <p:cNvSpPr>
                  <a:spLocks noChangeArrowheads="1"/>
                </p:cNvSpPr>
                <p:nvPr/>
              </p:nvSpPr>
              <p:spPr bwMode="auto">
                <a:xfrm>
                  <a:off x="1104" y="4142"/>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199" name="Rectangle 102"/>
                <p:cNvSpPr>
                  <a:spLocks noChangeArrowheads="1"/>
                </p:cNvSpPr>
                <p:nvPr/>
              </p:nvSpPr>
              <p:spPr bwMode="auto">
                <a:xfrm>
                  <a:off x="922"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0" name="Rectangle 103"/>
                <p:cNvSpPr>
                  <a:spLocks noChangeArrowheads="1"/>
                </p:cNvSpPr>
                <p:nvPr/>
              </p:nvSpPr>
              <p:spPr bwMode="auto">
                <a:xfrm>
                  <a:off x="983"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1" name="Rectangle 104"/>
                <p:cNvSpPr>
                  <a:spLocks noChangeArrowheads="1"/>
                </p:cNvSpPr>
                <p:nvPr/>
              </p:nvSpPr>
              <p:spPr bwMode="auto">
                <a:xfrm>
                  <a:off x="1042" y="422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2" name="Rectangle 105"/>
                <p:cNvSpPr>
                  <a:spLocks noChangeArrowheads="1"/>
                </p:cNvSpPr>
                <p:nvPr/>
              </p:nvSpPr>
              <p:spPr bwMode="auto">
                <a:xfrm>
                  <a:off x="1104" y="4223"/>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3" name="Rectangle 106"/>
                <p:cNvSpPr>
                  <a:spLocks noChangeArrowheads="1"/>
                </p:cNvSpPr>
                <p:nvPr/>
              </p:nvSpPr>
              <p:spPr bwMode="auto">
                <a:xfrm>
                  <a:off x="922"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4" name="Rectangle 107"/>
                <p:cNvSpPr>
                  <a:spLocks noChangeArrowheads="1"/>
                </p:cNvSpPr>
                <p:nvPr/>
              </p:nvSpPr>
              <p:spPr bwMode="auto">
                <a:xfrm>
                  <a:off x="983"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5" name="Rectangle 108"/>
                <p:cNvSpPr>
                  <a:spLocks noChangeArrowheads="1"/>
                </p:cNvSpPr>
                <p:nvPr/>
              </p:nvSpPr>
              <p:spPr bwMode="auto">
                <a:xfrm>
                  <a:off x="1042" y="4302"/>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6" name="Rectangle 109"/>
                <p:cNvSpPr>
                  <a:spLocks noChangeArrowheads="1"/>
                </p:cNvSpPr>
                <p:nvPr/>
              </p:nvSpPr>
              <p:spPr bwMode="auto">
                <a:xfrm>
                  <a:off x="1104" y="4302"/>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7" name="Rectangle 110"/>
                <p:cNvSpPr>
                  <a:spLocks noChangeArrowheads="1"/>
                </p:cNvSpPr>
                <p:nvPr/>
              </p:nvSpPr>
              <p:spPr bwMode="auto">
                <a:xfrm>
                  <a:off x="719" y="3910"/>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8" name="Rectangle 111"/>
                <p:cNvSpPr>
                  <a:spLocks noChangeArrowheads="1"/>
                </p:cNvSpPr>
                <p:nvPr/>
              </p:nvSpPr>
              <p:spPr bwMode="auto">
                <a:xfrm>
                  <a:off x="780" y="3910"/>
                  <a:ext cx="26"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09" name="Rectangle 112"/>
                <p:cNvSpPr>
                  <a:spLocks noChangeArrowheads="1"/>
                </p:cNvSpPr>
                <p:nvPr/>
              </p:nvSpPr>
              <p:spPr bwMode="auto">
                <a:xfrm>
                  <a:off x="839" y="3910"/>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0" name="Rectangle 113"/>
                <p:cNvSpPr>
                  <a:spLocks noChangeArrowheads="1"/>
                </p:cNvSpPr>
                <p:nvPr/>
              </p:nvSpPr>
              <p:spPr bwMode="auto">
                <a:xfrm>
                  <a:off x="719" y="3989"/>
                  <a:ext cx="28"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1" name="Rectangle 114"/>
                <p:cNvSpPr>
                  <a:spLocks noChangeArrowheads="1"/>
                </p:cNvSpPr>
                <p:nvPr/>
              </p:nvSpPr>
              <p:spPr bwMode="auto">
                <a:xfrm>
                  <a:off x="780" y="3989"/>
                  <a:ext cx="26"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2" name="Rectangle 115"/>
                <p:cNvSpPr>
                  <a:spLocks noChangeArrowheads="1"/>
                </p:cNvSpPr>
                <p:nvPr/>
              </p:nvSpPr>
              <p:spPr bwMode="auto">
                <a:xfrm>
                  <a:off x="839" y="3989"/>
                  <a:ext cx="29" cy="52"/>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3" name="Rectangle 116"/>
                <p:cNvSpPr>
                  <a:spLocks noChangeArrowheads="1"/>
                </p:cNvSpPr>
                <p:nvPr/>
              </p:nvSpPr>
              <p:spPr bwMode="auto">
                <a:xfrm>
                  <a:off x="719" y="4061"/>
                  <a:ext cx="28"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4" name="Rectangle 117"/>
                <p:cNvSpPr>
                  <a:spLocks noChangeArrowheads="1"/>
                </p:cNvSpPr>
                <p:nvPr/>
              </p:nvSpPr>
              <p:spPr bwMode="auto">
                <a:xfrm>
                  <a:off x="780" y="4061"/>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5" name="Rectangle 118"/>
                <p:cNvSpPr>
                  <a:spLocks noChangeArrowheads="1"/>
                </p:cNvSpPr>
                <p:nvPr/>
              </p:nvSpPr>
              <p:spPr bwMode="auto">
                <a:xfrm>
                  <a:off x="839" y="4061"/>
                  <a:ext cx="29"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6" name="Rectangle 119"/>
                <p:cNvSpPr>
                  <a:spLocks noChangeArrowheads="1"/>
                </p:cNvSpPr>
                <p:nvPr/>
              </p:nvSpPr>
              <p:spPr bwMode="auto">
                <a:xfrm>
                  <a:off x="719" y="4133"/>
                  <a:ext cx="28"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7" name="Rectangle 120"/>
                <p:cNvSpPr>
                  <a:spLocks noChangeArrowheads="1"/>
                </p:cNvSpPr>
                <p:nvPr/>
              </p:nvSpPr>
              <p:spPr bwMode="auto">
                <a:xfrm>
                  <a:off x="780" y="4133"/>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8" name="Rectangle 121"/>
                <p:cNvSpPr>
                  <a:spLocks noChangeArrowheads="1"/>
                </p:cNvSpPr>
                <p:nvPr/>
              </p:nvSpPr>
              <p:spPr bwMode="auto">
                <a:xfrm>
                  <a:off x="839" y="4133"/>
                  <a:ext cx="29" cy="5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19" name="Rectangle 122"/>
                <p:cNvSpPr>
                  <a:spLocks noChangeArrowheads="1"/>
                </p:cNvSpPr>
                <p:nvPr/>
              </p:nvSpPr>
              <p:spPr bwMode="auto">
                <a:xfrm>
                  <a:off x="719" y="4208"/>
                  <a:ext cx="28"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0" name="Rectangle 123"/>
                <p:cNvSpPr>
                  <a:spLocks noChangeArrowheads="1"/>
                </p:cNvSpPr>
                <p:nvPr/>
              </p:nvSpPr>
              <p:spPr bwMode="auto">
                <a:xfrm>
                  <a:off x="780" y="4208"/>
                  <a:ext cx="26"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1" name="Rectangle 124"/>
                <p:cNvSpPr>
                  <a:spLocks noChangeArrowheads="1"/>
                </p:cNvSpPr>
                <p:nvPr/>
              </p:nvSpPr>
              <p:spPr bwMode="auto">
                <a:xfrm>
                  <a:off x="839" y="4208"/>
                  <a:ext cx="29"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2" name="Rectangle 125"/>
                <p:cNvSpPr>
                  <a:spLocks noChangeArrowheads="1"/>
                </p:cNvSpPr>
                <p:nvPr/>
              </p:nvSpPr>
              <p:spPr bwMode="auto">
                <a:xfrm>
                  <a:off x="719" y="4280"/>
                  <a:ext cx="28"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3" name="Rectangle 126"/>
                <p:cNvSpPr>
                  <a:spLocks noChangeArrowheads="1"/>
                </p:cNvSpPr>
                <p:nvPr/>
              </p:nvSpPr>
              <p:spPr bwMode="auto">
                <a:xfrm>
                  <a:off x="780" y="4280"/>
                  <a:ext cx="26"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4" name="Rectangle 127"/>
                <p:cNvSpPr>
                  <a:spLocks noChangeArrowheads="1"/>
                </p:cNvSpPr>
                <p:nvPr/>
              </p:nvSpPr>
              <p:spPr bwMode="auto">
                <a:xfrm>
                  <a:off x="839" y="4280"/>
                  <a:ext cx="29"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5" name="Rectangle 128"/>
                <p:cNvSpPr>
                  <a:spLocks noChangeArrowheads="1"/>
                </p:cNvSpPr>
                <p:nvPr/>
              </p:nvSpPr>
              <p:spPr bwMode="auto">
                <a:xfrm>
                  <a:off x="1042" y="3332"/>
                  <a:ext cx="90" cy="5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6" name="Rectangle 129"/>
                <p:cNvSpPr>
                  <a:spLocks noChangeArrowheads="1"/>
                </p:cNvSpPr>
                <p:nvPr/>
              </p:nvSpPr>
              <p:spPr bwMode="auto">
                <a:xfrm>
                  <a:off x="951" y="3299"/>
                  <a:ext cx="17" cy="8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7" name="Freeform 130"/>
                <p:cNvSpPr>
                  <a:spLocks/>
                </p:cNvSpPr>
                <p:nvPr/>
              </p:nvSpPr>
              <p:spPr bwMode="auto">
                <a:xfrm>
                  <a:off x="356" y="3595"/>
                  <a:ext cx="203" cy="788"/>
                </a:xfrm>
                <a:custGeom>
                  <a:avLst/>
                  <a:gdLst>
                    <a:gd name="T0" fmla="*/ 0 w 203"/>
                    <a:gd name="T1" fmla="*/ 131 h 788"/>
                    <a:gd name="T2" fmla="*/ 203 w 203"/>
                    <a:gd name="T3" fmla="*/ 0 h 788"/>
                    <a:gd name="T4" fmla="*/ 203 w 203"/>
                    <a:gd name="T5" fmla="*/ 788 h 788"/>
                    <a:gd name="T6" fmla="*/ 0 w 203"/>
                    <a:gd name="T7" fmla="*/ 788 h 788"/>
                    <a:gd name="T8" fmla="*/ 0 w 203"/>
                    <a:gd name="T9" fmla="*/ 131 h 788"/>
                  </a:gdLst>
                  <a:ahLst/>
                  <a:cxnLst>
                    <a:cxn ang="0">
                      <a:pos x="T0" y="T1"/>
                    </a:cxn>
                    <a:cxn ang="0">
                      <a:pos x="T2" y="T3"/>
                    </a:cxn>
                    <a:cxn ang="0">
                      <a:pos x="T4" y="T5"/>
                    </a:cxn>
                    <a:cxn ang="0">
                      <a:pos x="T6" y="T7"/>
                    </a:cxn>
                    <a:cxn ang="0">
                      <a:pos x="T8" y="T9"/>
                    </a:cxn>
                  </a:cxnLst>
                  <a:rect l="0" t="0" r="r" b="b"/>
                  <a:pathLst>
                    <a:path w="203" h="788">
                      <a:moveTo>
                        <a:pt x="0" y="131"/>
                      </a:moveTo>
                      <a:lnTo>
                        <a:pt x="203" y="0"/>
                      </a:lnTo>
                      <a:lnTo>
                        <a:pt x="203" y="788"/>
                      </a:lnTo>
                      <a:lnTo>
                        <a:pt x="0" y="788"/>
                      </a:lnTo>
                      <a:lnTo>
                        <a:pt x="0" y="13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8" name="Rectangle 131"/>
                <p:cNvSpPr>
                  <a:spLocks noChangeArrowheads="1"/>
                </p:cNvSpPr>
                <p:nvPr/>
              </p:nvSpPr>
              <p:spPr bwMode="auto">
                <a:xfrm>
                  <a:off x="0" y="3886"/>
                  <a:ext cx="109" cy="497"/>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29" name="Rectangle 132"/>
                <p:cNvSpPr>
                  <a:spLocks noChangeArrowheads="1"/>
                </p:cNvSpPr>
                <p:nvPr/>
              </p:nvSpPr>
              <p:spPr bwMode="auto">
                <a:xfrm>
                  <a:off x="55" y="3603"/>
                  <a:ext cx="216" cy="78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0" name="Freeform 133"/>
                <p:cNvSpPr>
                  <a:spLocks/>
                </p:cNvSpPr>
                <p:nvPr/>
              </p:nvSpPr>
              <p:spPr bwMode="auto">
                <a:xfrm>
                  <a:off x="107" y="3525"/>
                  <a:ext cx="112" cy="78"/>
                </a:xfrm>
                <a:custGeom>
                  <a:avLst/>
                  <a:gdLst>
                    <a:gd name="T0" fmla="*/ 83 w 112"/>
                    <a:gd name="T1" fmla="*/ 0 h 78"/>
                    <a:gd name="T2" fmla="*/ 28 w 112"/>
                    <a:gd name="T3" fmla="*/ 0 h 78"/>
                    <a:gd name="T4" fmla="*/ 0 w 112"/>
                    <a:gd name="T5" fmla="*/ 78 h 78"/>
                    <a:gd name="T6" fmla="*/ 112 w 112"/>
                    <a:gd name="T7" fmla="*/ 78 h 78"/>
                    <a:gd name="T8" fmla="*/ 83 w 112"/>
                    <a:gd name="T9" fmla="*/ 0 h 78"/>
                  </a:gdLst>
                  <a:ahLst/>
                  <a:cxnLst>
                    <a:cxn ang="0">
                      <a:pos x="T0" y="T1"/>
                    </a:cxn>
                    <a:cxn ang="0">
                      <a:pos x="T2" y="T3"/>
                    </a:cxn>
                    <a:cxn ang="0">
                      <a:pos x="T4" y="T5"/>
                    </a:cxn>
                    <a:cxn ang="0">
                      <a:pos x="T6" y="T7"/>
                    </a:cxn>
                    <a:cxn ang="0">
                      <a:pos x="T8" y="T9"/>
                    </a:cxn>
                  </a:cxnLst>
                  <a:rect l="0" t="0" r="r" b="b"/>
                  <a:pathLst>
                    <a:path w="112" h="78">
                      <a:moveTo>
                        <a:pt x="83" y="0"/>
                      </a:moveTo>
                      <a:lnTo>
                        <a:pt x="28" y="0"/>
                      </a:lnTo>
                      <a:lnTo>
                        <a:pt x="0" y="78"/>
                      </a:lnTo>
                      <a:lnTo>
                        <a:pt x="112" y="78"/>
                      </a:lnTo>
                      <a:lnTo>
                        <a:pt x="83"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1" name="Rectangle 134"/>
                <p:cNvSpPr>
                  <a:spLocks noChangeArrowheads="1"/>
                </p:cNvSpPr>
                <p:nvPr/>
              </p:nvSpPr>
              <p:spPr bwMode="auto">
                <a:xfrm>
                  <a:off x="153" y="3288"/>
                  <a:ext cx="20" cy="27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2" name="Rectangle 135"/>
                <p:cNvSpPr>
                  <a:spLocks noChangeArrowheads="1"/>
                </p:cNvSpPr>
                <p:nvPr/>
              </p:nvSpPr>
              <p:spPr bwMode="auto">
                <a:xfrm>
                  <a:off x="83"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3" name="Rectangle 136"/>
                <p:cNvSpPr>
                  <a:spLocks noChangeArrowheads="1"/>
                </p:cNvSpPr>
                <p:nvPr/>
              </p:nvSpPr>
              <p:spPr bwMode="auto">
                <a:xfrm>
                  <a:off x="129"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4" name="Rectangle 137"/>
                <p:cNvSpPr>
                  <a:spLocks noChangeArrowheads="1"/>
                </p:cNvSpPr>
                <p:nvPr/>
              </p:nvSpPr>
              <p:spPr bwMode="auto">
                <a:xfrm>
                  <a:off x="175" y="3630"/>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5" name="Rectangle 138"/>
                <p:cNvSpPr>
                  <a:spLocks noChangeArrowheads="1"/>
                </p:cNvSpPr>
                <p:nvPr/>
              </p:nvSpPr>
              <p:spPr bwMode="auto">
                <a:xfrm>
                  <a:off x="221" y="363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6" name="Rectangle 139"/>
                <p:cNvSpPr>
                  <a:spLocks noChangeArrowheads="1"/>
                </p:cNvSpPr>
                <p:nvPr/>
              </p:nvSpPr>
              <p:spPr bwMode="auto">
                <a:xfrm>
                  <a:off x="83"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7" name="Rectangle 140"/>
                <p:cNvSpPr>
                  <a:spLocks noChangeArrowheads="1"/>
                </p:cNvSpPr>
                <p:nvPr/>
              </p:nvSpPr>
              <p:spPr bwMode="auto">
                <a:xfrm>
                  <a:off x="129" y="3702"/>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8" name="Rectangle 141"/>
                <p:cNvSpPr>
                  <a:spLocks noChangeArrowheads="1"/>
                </p:cNvSpPr>
                <p:nvPr/>
              </p:nvSpPr>
              <p:spPr bwMode="auto">
                <a:xfrm>
                  <a:off x="175"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39" name="Rectangle 142"/>
                <p:cNvSpPr>
                  <a:spLocks noChangeArrowheads="1"/>
                </p:cNvSpPr>
                <p:nvPr/>
              </p:nvSpPr>
              <p:spPr bwMode="auto">
                <a:xfrm>
                  <a:off x="221" y="3702"/>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0" name="Rectangle 143"/>
                <p:cNvSpPr>
                  <a:spLocks noChangeArrowheads="1"/>
                </p:cNvSpPr>
                <p:nvPr/>
              </p:nvSpPr>
              <p:spPr bwMode="auto">
                <a:xfrm>
                  <a:off x="83"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1" name="Rectangle 144"/>
                <p:cNvSpPr>
                  <a:spLocks noChangeArrowheads="1"/>
                </p:cNvSpPr>
                <p:nvPr/>
              </p:nvSpPr>
              <p:spPr bwMode="auto">
                <a:xfrm>
                  <a:off x="129"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2" name="Rectangle 145"/>
                <p:cNvSpPr>
                  <a:spLocks noChangeArrowheads="1"/>
                </p:cNvSpPr>
                <p:nvPr/>
              </p:nvSpPr>
              <p:spPr bwMode="auto">
                <a:xfrm>
                  <a:off x="175" y="377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3" name="Rectangle 146"/>
                <p:cNvSpPr>
                  <a:spLocks noChangeArrowheads="1"/>
                </p:cNvSpPr>
                <p:nvPr/>
              </p:nvSpPr>
              <p:spPr bwMode="auto">
                <a:xfrm>
                  <a:off x="221" y="3774"/>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4" name="Rectangle 147"/>
                <p:cNvSpPr>
                  <a:spLocks noChangeArrowheads="1"/>
                </p:cNvSpPr>
                <p:nvPr/>
              </p:nvSpPr>
              <p:spPr bwMode="auto">
                <a:xfrm>
                  <a:off x="83" y="3846"/>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5" name="Rectangle 148"/>
                <p:cNvSpPr>
                  <a:spLocks noChangeArrowheads="1"/>
                </p:cNvSpPr>
                <p:nvPr/>
              </p:nvSpPr>
              <p:spPr bwMode="auto">
                <a:xfrm>
                  <a:off x="129" y="3846"/>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6" name="Rectangle 149"/>
                <p:cNvSpPr>
                  <a:spLocks noChangeArrowheads="1"/>
                </p:cNvSpPr>
                <p:nvPr/>
              </p:nvSpPr>
              <p:spPr bwMode="auto">
                <a:xfrm>
                  <a:off x="175" y="3846"/>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7" name="Rectangle 150"/>
                <p:cNvSpPr>
                  <a:spLocks noChangeArrowheads="1"/>
                </p:cNvSpPr>
                <p:nvPr/>
              </p:nvSpPr>
              <p:spPr bwMode="auto">
                <a:xfrm>
                  <a:off x="221" y="3846"/>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Rectangle 151"/>
                <p:cNvSpPr>
                  <a:spLocks noChangeArrowheads="1"/>
                </p:cNvSpPr>
                <p:nvPr/>
              </p:nvSpPr>
              <p:spPr bwMode="auto">
                <a:xfrm>
                  <a:off x="83"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9" name="Rectangle 152"/>
                <p:cNvSpPr>
                  <a:spLocks noChangeArrowheads="1"/>
                </p:cNvSpPr>
                <p:nvPr/>
              </p:nvSpPr>
              <p:spPr bwMode="auto">
                <a:xfrm>
                  <a:off x="129" y="3921"/>
                  <a:ext cx="22" cy="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0" name="Rectangle 153"/>
                <p:cNvSpPr>
                  <a:spLocks noChangeArrowheads="1"/>
                </p:cNvSpPr>
                <p:nvPr/>
              </p:nvSpPr>
              <p:spPr bwMode="auto">
                <a:xfrm>
                  <a:off x="175"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1" name="Rectangle 154"/>
                <p:cNvSpPr>
                  <a:spLocks noChangeArrowheads="1"/>
                </p:cNvSpPr>
                <p:nvPr/>
              </p:nvSpPr>
              <p:spPr bwMode="auto">
                <a:xfrm>
                  <a:off x="221" y="3921"/>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2" name="Rectangle 155"/>
                <p:cNvSpPr>
                  <a:spLocks noChangeArrowheads="1"/>
                </p:cNvSpPr>
                <p:nvPr/>
              </p:nvSpPr>
              <p:spPr bwMode="auto">
                <a:xfrm>
                  <a:off x="83"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3" name="Rectangle 156"/>
                <p:cNvSpPr>
                  <a:spLocks noChangeArrowheads="1"/>
                </p:cNvSpPr>
                <p:nvPr/>
              </p:nvSpPr>
              <p:spPr bwMode="auto">
                <a:xfrm>
                  <a:off x="129"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4" name="Rectangle 157"/>
                <p:cNvSpPr>
                  <a:spLocks noChangeArrowheads="1"/>
                </p:cNvSpPr>
                <p:nvPr/>
              </p:nvSpPr>
              <p:spPr bwMode="auto">
                <a:xfrm>
                  <a:off x="175" y="3993"/>
                  <a:ext cx="22" cy="5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5" name="Rectangle 158"/>
                <p:cNvSpPr>
                  <a:spLocks noChangeArrowheads="1"/>
                </p:cNvSpPr>
                <p:nvPr/>
              </p:nvSpPr>
              <p:spPr bwMode="auto">
                <a:xfrm>
                  <a:off x="221" y="3993"/>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6" name="Rectangle 159"/>
                <p:cNvSpPr>
                  <a:spLocks noChangeArrowheads="1"/>
                </p:cNvSpPr>
                <p:nvPr/>
              </p:nvSpPr>
              <p:spPr bwMode="auto">
                <a:xfrm>
                  <a:off x="83"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7" name="Rectangle 160"/>
                <p:cNvSpPr>
                  <a:spLocks noChangeArrowheads="1"/>
                </p:cNvSpPr>
                <p:nvPr/>
              </p:nvSpPr>
              <p:spPr bwMode="auto">
                <a:xfrm>
                  <a:off x="129"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8" name="Rectangle 161"/>
                <p:cNvSpPr>
                  <a:spLocks noChangeArrowheads="1"/>
                </p:cNvSpPr>
                <p:nvPr/>
              </p:nvSpPr>
              <p:spPr bwMode="auto">
                <a:xfrm>
                  <a:off x="175"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59" name="Rectangle 162"/>
                <p:cNvSpPr>
                  <a:spLocks noChangeArrowheads="1"/>
                </p:cNvSpPr>
                <p:nvPr/>
              </p:nvSpPr>
              <p:spPr bwMode="auto">
                <a:xfrm>
                  <a:off x="221" y="4065"/>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0" name="Rectangle 163"/>
                <p:cNvSpPr>
                  <a:spLocks noChangeArrowheads="1"/>
                </p:cNvSpPr>
                <p:nvPr/>
              </p:nvSpPr>
              <p:spPr bwMode="auto">
                <a:xfrm>
                  <a:off x="83"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1" name="Rectangle 164"/>
                <p:cNvSpPr>
                  <a:spLocks noChangeArrowheads="1"/>
                </p:cNvSpPr>
                <p:nvPr/>
              </p:nvSpPr>
              <p:spPr bwMode="auto">
                <a:xfrm>
                  <a:off x="129"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2" name="Rectangle 165"/>
                <p:cNvSpPr>
                  <a:spLocks noChangeArrowheads="1"/>
                </p:cNvSpPr>
                <p:nvPr/>
              </p:nvSpPr>
              <p:spPr bwMode="auto">
                <a:xfrm>
                  <a:off x="175"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3" name="Rectangle 166"/>
                <p:cNvSpPr>
                  <a:spLocks noChangeArrowheads="1"/>
                </p:cNvSpPr>
                <p:nvPr/>
              </p:nvSpPr>
              <p:spPr bwMode="auto">
                <a:xfrm>
                  <a:off x="221" y="4138"/>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4" name="Rectangle 167"/>
                <p:cNvSpPr>
                  <a:spLocks noChangeArrowheads="1"/>
                </p:cNvSpPr>
                <p:nvPr/>
              </p:nvSpPr>
              <p:spPr bwMode="auto">
                <a:xfrm>
                  <a:off x="83"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5" name="Rectangle 168"/>
                <p:cNvSpPr>
                  <a:spLocks noChangeArrowheads="1"/>
                </p:cNvSpPr>
                <p:nvPr/>
              </p:nvSpPr>
              <p:spPr bwMode="auto">
                <a:xfrm>
                  <a:off x="129"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6" name="Rectangle 169"/>
                <p:cNvSpPr>
                  <a:spLocks noChangeArrowheads="1"/>
                </p:cNvSpPr>
                <p:nvPr/>
              </p:nvSpPr>
              <p:spPr bwMode="auto">
                <a:xfrm>
                  <a:off x="175"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7" name="Rectangle 170"/>
                <p:cNvSpPr>
                  <a:spLocks noChangeArrowheads="1"/>
                </p:cNvSpPr>
                <p:nvPr/>
              </p:nvSpPr>
              <p:spPr bwMode="auto">
                <a:xfrm>
                  <a:off x="221" y="4210"/>
                  <a:ext cx="22" cy="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8" name="Rectangle 171"/>
                <p:cNvSpPr>
                  <a:spLocks noChangeArrowheads="1"/>
                </p:cNvSpPr>
                <p:nvPr/>
              </p:nvSpPr>
              <p:spPr bwMode="auto">
                <a:xfrm>
                  <a:off x="83"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69" name="Rectangle 172"/>
                <p:cNvSpPr>
                  <a:spLocks noChangeArrowheads="1"/>
                </p:cNvSpPr>
                <p:nvPr/>
              </p:nvSpPr>
              <p:spPr bwMode="auto">
                <a:xfrm>
                  <a:off x="129"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0" name="Rectangle 173"/>
                <p:cNvSpPr>
                  <a:spLocks noChangeArrowheads="1"/>
                </p:cNvSpPr>
                <p:nvPr/>
              </p:nvSpPr>
              <p:spPr bwMode="auto">
                <a:xfrm>
                  <a:off x="175"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1" name="Rectangle 174"/>
                <p:cNvSpPr>
                  <a:spLocks noChangeArrowheads="1"/>
                </p:cNvSpPr>
                <p:nvPr/>
              </p:nvSpPr>
              <p:spPr bwMode="auto">
                <a:xfrm>
                  <a:off x="221" y="4284"/>
                  <a:ext cx="22" cy="51"/>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2" name="Line 175"/>
                <p:cNvSpPr>
                  <a:spLocks noChangeShapeType="1"/>
                </p:cNvSpPr>
                <p:nvPr/>
              </p:nvSpPr>
              <p:spPr bwMode="auto">
                <a:xfrm>
                  <a:off x="529"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3" name="Line 176"/>
                <p:cNvSpPr>
                  <a:spLocks noChangeShapeType="1"/>
                </p:cNvSpPr>
                <p:nvPr/>
              </p:nvSpPr>
              <p:spPr bwMode="auto">
                <a:xfrm>
                  <a:off x="492"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4" name="Line 177"/>
                <p:cNvSpPr>
                  <a:spLocks noChangeShapeType="1"/>
                </p:cNvSpPr>
                <p:nvPr/>
              </p:nvSpPr>
              <p:spPr bwMode="auto">
                <a:xfrm>
                  <a:off x="457"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5" name="Line 178"/>
                <p:cNvSpPr>
                  <a:spLocks noChangeShapeType="1"/>
                </p:cNvSpPr>
                <p:nvPr/>
              </p:nvSpPr>
              <p:spPr bwMode="auto">
                <a:xfrm>
                  <a:off x="420"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6" name="Line 179"/>
                <p:cNvSpPr>
                  <a:spLocks noChangeShapeType="1"/>
                </p:cNvSpPr>
                <p:nvPr/>
              </p:nvSpPr>
              <p:spPr bwMode="auto">
                <a:xfrm>
                  <a:off x="385" y="3595"/>
                  <a:ext cx="0" cy="788"/>
                </a:xfrm>
                <a:prstGeom prst="line">
                  <a:avLst/>
                </a:prstGeom>
                <a:noFill/>
                <a:ln w="25400"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7" name="Rectangle 180"/>
                <p:cNvSpPr>
                  <a:spLocks noChangeArrowheads="1"/>
                </p:cNvSpPr>
                <p:nvPr/>
              </p:nvSpPr>
              <p:spPr bwMode="auto">
                <a:xfrm>
                  <a:off x="1167" y="3886"/>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8" name="Rectangle 181"/>
                <p:cNvSpPr>
                  <a:spLocks noChangeArrowheads="1"/>
                </p:cNvSpPr>
                <p:nvPr/>
              </p:nvSpPr>
              <p:spPr bwMode="auto">
                <a:xfrm>
                  <a:off x="1167" y="3958"/>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79" name="Rectangle 182"/>
                <p:cNvSpPr>
                  <a:spLocks noChangeArrowheads="1"/>
                </p:cNvSpPr>
                <p:nvPr/>
              </p:nvSpPr>
              <p:spPr bwMode="auto">
                <a:xfrm>
                  <a:off x="1167" y="4033"/>
                  <a:ext cx="194" cy="3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0" name="Rectangle 183"/>
                <p:cNvSpPr>
                  <a:spLocks noChangeArrowheads="1"/>
                </p:cNvSpPr>
                <p:nvPr/>
              </p:nvSpPr>
              <p:spPr bwMode="auto">
                <a:xfrm>
                  <a:off x="1167" y="4105"/>
                  <a:ext cx="194" cy="4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1" name="Rectangle 184"/>
                <p:cNvSpPr>
                  <a:spLocks noChangeArrowheads="1"/>
                </p:cNvSpPr>
                <p:nvPr/>
              </p:nvSpPr>
              <p:spPr bwMode="auto">
                <a:xfrm>
                  <a:off x="1167" y="4177"/>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2" name="Rectangle 185"/>
                <p:cNvSpPr>
                  <a:spLocks noChangeArrowheads="1"/>
                </p:cNvSpPr>
                <p:nvPr/>
              </p:nvSpPr>
              <p:spPr bwMode="auto">
                <a:xfrm>
                  <a:off x="1167" y="4249"/>
                  <a:ext cx="194" cy="4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83" name="Rectangle 186"/>
                <p:cNvSpPr>
                  <a:spLocks noChangeArrowheads="1"/>
                </p:cNvSpPr>
                <p:nvPr/>
              </p:nvSpPr>
              <p:spPr bwMode="auto">
                <a:xfrm>
                  <a:off x="1167" y="4324"/>
                  <a:ext cx="194" cy="3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grpSp>
        </p:grpSp>
        <p:sp>
          <p:nvSpPr>
            <p:cNvPr id="18" name="Rectangle 78"/>
            <p:cNvSpPr>
              <a:spLocks noChangeArrowheads="1"/>
            </p:cNvSpPr>
            <p:nvPr/>
          </p:nvSpPr>
          <p:spPr bwMode="auto">
            <a:xfrm>
              <a:off x="-1" y="6938714"/>
              <a:ext cx="12436475" cy="55811"/>
            </a:xfrm>
            <a:prstGeom prst="rect">
              <a:avLst/>
            </a:prstGeom>
            <a:solidFill>
              <a:srgbClr val="7FBA00"/>
            </a:solidFill>
            <a:ln w="9525">
              <a:noFill/>
              <a:round/>
              <a:headEnd/>
              <a:tailEnd/>
            </a:ln>
          </p:spPr>
          <p:txBody>
            <a:bodyPr vert="horz" wrap="square" lIns="89630" tIns="44814" rIns="89630" bIns="44814" numCol="1" anchor="t" anchorCtr="0" compatLnSpc="1">
              <a:prstTxWarp prst="textNoShape">
                <a:avLst/>
              </a:prstTxWarp>
            </a:bodyPr>
            <a:lstStyle/>
            <a:p>
              <a:pPr defTabSz="913774"/>
              <a:endParaRPr lang="en-US" sz="1765" kern="0" dirty="0">
                <a:solidFill>
                  <a:srgbClr val="000000"/>
                </a:solidFill>
                <a:latin typeface="Segoe UI"/>
              </a:endParaRPr>
            </a:p>
          </p:txBody>
        </p:sp>
      </p:grpSp>
    </p:spTree>
    <p:extLst>
      <p:ext uri="{BB962C8B-B14F-4D97-AF65-F5344CB8AC3E}">
        <p14:creationId xmlns:p14="http://schemas.microsoft.com/office/powerpoint/2010/main" val="10792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65" y="1414417"/>
            <a:ext cx="12190271" cy="47627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dirty="0">
                <a:ea typeface="ＭＳ Ｐゴシック" charset="0"/>
              </a:rPr>
              <a:t>Work across all cloud data</a:t>
            </a:r>
          </a:p>
        </p:txBody>
      </p:sp>
      <p:grpSp>
        <p:nvGrpSpPr>
          <p:cNvPr id="14" name="Group 13"/>
          <p:cNvGrpSpPr/>
          <p:nvPr/>
        </p:nvGrpSpPr>
        <p:grpSpPr>
          <a:xfrm>
            <a:off x="723776" y="1751066"/>
            <a:ext cx="10662947" cy="2263593"/>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47512"/>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srgbClr val="505050"/>
                </a:solidFill>
                <a:latin typeface="Segoe UI"/>
              </a:endParaRPr>
            </a:p>
          </p:txBody>
        </p:sp>
      </p:grpSp>
      <p:sp>
        <p:nvSpPr>
          <p:cNvPr id="9" name="TextBox 8"/>
          <p:cNvSpPr txBox="1"/>
          <p:nvPr/>
        </p:nvSpPr>
        <p:spPr>
          <a:xfrm>
            <a:off x="269753" y="5219718"/>
            <a:ext cx="2434511" cy="516991"/>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SQL DW</a:t>
            </a:r>
          </a:p>
        </p:txBody>
      </p:sp>
      <p:sp>
        <p:nvSpPr>
          <p:cNvPr id="10" name="TextBox 9"/>
          <p:cNvSpPr txBox="1"/>
          <p:nvPr/>
        </p:nvSpPr>
        <p:spPr>
          <a:xfrm>
            <a:off x="2505707" y="5219718"/>
            <a:ext cx="2434511" cy="516991"/>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165882" y="5023386"/>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890946" y="5025417"/>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213568" y="4998151"/>
            <a:ext cx="2434511" cy="747406"/>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SQL DB in an </a:t>
            </a:r>
            <a:b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br>
            <a:r>
              <a:rPr lang="en-US" sz="1600" dirty="0">
                <a:solidFill>
                  <a:srgbClr val="5C2D91"/>
                </a:solidFill>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37173" y="4039892"/>
            <a:ext cx="1120125" cy="1120125"/>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42263" y="4140452"/>
            <a:ext cx="978157" cy="978157"/>
          </a:xfrm>
          <a:prstGeom prst="rect">
            <a:avLst/>
          </a:prstGeom>
          <a:solidFill>
            <a:schemeClr val="bg1">
              <a:lumMod val="95000"/>
            </a:schemeClr>
          </a:solidFill>
        </p:spPr>
      </p:pic>
      <p:grpSp>
        <p:nvGrpSpPr>
          <p:cNvPr id="17" name="Group 16"/>
          <p:cNvGrpSpPr/>
          <p:nvPr/>
        </p:nvGrpSpPr>
        <p:grpSpPr>
          <a:xfrm>
            <a:off x="899730" y="4168078"/>
            <a:ext cx="1237977" cy="830074"/>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kern="0">
                <a:solidFill>
                  <a:srgbClr val="000000"/>
                </a:solidFill>
                <a:latin typeface="Segoe UI" charset="0"/>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dirty="0">
                  <a:solidFill>
                    <a:srgbClr val="FFFFFF"/>
                  </a:solidFill>
                  <a:latin typeface="Segoe UI"/>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a:defRPr/>
                </a:pPr>
                <a:endParaRPr lang="en-US" kern="0" dirty="0">
                  <a:solidFill>
                    <a:srgbClr val="FFFFFF"/>
                  </a:solidFill>
                  <a:latin typeface="Segoe UI"/>
                </a:endParaRPr>
              </a:p>
            </p:txBody>
          </p:sp>
        </p:grpSp>
      </p:grpSp>
      <p:grpSp>
        <p:nvGrpSpPr>
          <p:cNvPr id="59" name="Group 58"/>
          <p:cNvGrpSpPr/>
          <p:nvPr/>
        </p:nvGrpSpPr>
        <p:grpSpPr>
          <a:xfrm>
            <a:off x="5534042" y="4168789"/>
            <a:ext cx="1217576" cy="924597"/>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GB" sz="2000"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9925920" y="4173582"/>
            <a:ext cx="1141768" cy="961202"/>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dirty="0">
                <a:solidFill>
                  <a:srgbClr val="FFFFFF"/>
                </a:solidFill>
                <a:latin typeface="Segoe UI"/>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01" tIns="45700" rIns="91401" bIns="45700" numCol="1" anchor="t" anchorCtr="0" compatLnSpc="1">
                <a:prstTxWarp prst="textNoShape">
                  <a:avLst/>
                </a:prstTxWarp>
              </a:bodyPr>
              <a:lstStyle/>
              <a:p>
                <a:pPr defTabSz="932239">
                  <a:defRPr/>
                </a:pPr>
                <a:endParaRPr lang="en-US" kern="0" dirty="0">
                  <a:solidFill>
                    <a:srgbClr val="FFFFFF"/>
                  </a:solidFill>
                  <a:latin typeface="Segoe UI"/>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defRPr/>
                </a:pPr>
                <a:endParaRPr lang="en-IN" sz="1961" b="1" kern="0" dirty="0">
                  <a:solidFill>
                    <a:srgbClr val="0072C6"/>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4133121539"/>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147897" y="2117005"/>
            <a:ext cx="348337" cy="2133124"/>
            <a:chOff x="10611830" y="3082745"/>
            <a:chExt cx="355373"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0840460" y="4103083"/>
              <a:ext cx="126743" cy="408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183" name="Freeform 389"/>
          <p:cNvSpPr>
            <a:spLocks noEditPoints="1"/>
          </p:cNvSpPr>
          <p:nvPr/>
        </p:nvSpPr>
        <p:spPr bwMode="auto">
          <a:xfrm>
            <a:off x="9554951" y="356558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896291">
              <a:defRPr/>
            </a:pPr>
            <a:endParaRPr lang="en-US" sz="1667" kern="0">
              <a:solidFill>
                <a:srgbClr val="FFFFFF"/>
              </a:solidFill>
              <a:latin typeface="Segoe UI"/>
              <a:ea typeface="MS PGothic" panose="020B0600070205080204" pitchFamily="34" charset="-128"/>
            </a:endParaRPr>
          </a:p>
        </p:txBody>
      </p:sp>
      <p:sp>
        <p:nvSpPr>
          <p:cNvPr id="5" name="Title 1"/>
          <p:cNvSpPr>
            <a:spLocks noGrp="1"/>
          </p:cNvSpPr>
          <p:nvPr>
            <p:ph type="title" idx="4294967295"/>
          </p:nvPr>
        </p:nvSpPr>
        <p:spPr>
          <a:xfrm>
            <a:off x="0" y="223038"/>
            <a:ext cx="11653523" cy="899537"/>
          </a:xfrm>
          <a:prstGeom prst="rect">
            <a:avLst/>
          </a:prstGeom>
        </p:spPr>
        <p:txBody>
          <a:bodyPr/>
          <a:lstStyle/>
          <a:p>
            <a:r>
              <a:rPr lang="en-US" dirty="0">
                <a:latin typeface="+mn-lt"/>
              </a:rPr>
              <a:t>Big Data Analytics – Data Flow</a:t>
            </a:r>
            <a:endParaRPr lang="en-US" sz="3527" dirty="0">
              <a:latin typeface="+mn-lt"/>
            </a:endParaRPr>
          </a:p>
        </p:txBody>
      </p:sp>
      <p:sp>
        <p:nvSpPr>
          <p:cNvPr id="20" name="Rectangle 19"/>
          <p:cNvSpPr/>
          <p:nvPr/>
        </p:nvSpPr>
        <p:spPr>
          <a:xfrm>
            <a:off x="54910" y="6234714"/>
            <a:ext cx="662541"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a:t>
            </a:r>
          </a:p>
        </p:txBody>
      </p:sp>
      <p:grpSp>
        <p:nvGrpSpPr>
          <p:cNvPr id="6" name="Group 5"/>
          <p:cNvGrpSpPr/>
          <p:nvPr/>
        </p:nvGrpSpPr>
        <p:grpSpPr>
          <a:xfrm>
            <a:off x="18736" y="2046382"/>
            <a:ext cx="1520438" cy="3738682"/>
            <a:chOff x="276231" y="2132701"/>
            <a:chExt cx="1551146" cy="3814192"/>
          </a:xfrm>
        </p:grpSpPr>
        <p:cxnSp>
          <p:nvCxnSpPr>
            <p:cNvPr id="87" name="Straight Connector 86"/>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3" name="TextBox 2"/>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6" name="TextBox 105"/>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110" name="TextBox 109"/>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grpSp>
      <p:sp>
        <p:nvSpPr>
          <p:cNvPr id="21" name="Rectangle 20"/>
          <p:cNvSpPr/>
          <p:nvPr/>
        </p:nvSpPr>
        <p:spPr>
          <a:xfrm>
            <a:off x="5361287" y="6227734"/>
            <a:ext cx="1380398"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LLIGENCE</a:t>
            </a:r>
          </a:p>
        </p:txBody>
      </p:sp>
      <p:sp>
        <p:nvSpPr>
          <p:cNvPr id="2" name="Right Arrow 1"/>
          <p:cNvSpPr/>
          <p:nvPr/>
        </p:nvSpPr>
        <p:spPr bwMode="auto">
          <a:xfrm>
            <a:off x="941558" y="6266397"/>
            <a:ext cx="4195818"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2" name="Rectangle 21"/>
          <p:cNvSpPr/>
          <p:nvPr/>
        </p:nvSpPr>
        <p:spPr>
          <a:xfrm>
            <a:off x="11175741" y="6227734"/>
            <a:ext cx="862434" cy="331773"/>
          </a:xfrm>
          <a:prstGeom prst="rect">
            <a:avLst/>
          </a:prstGeom>
        </p:spPr>
        <p:txBody>
          <a:bodyPr wrap="none">
            <a:sp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CTION</a:t>
            </a:r>
          </a:p>
        </p:txBody>
      </p:sp>
      <p:grpSp>
        <p:nvGrpSpPr>
          <p:cNvPr id="18" name="Group 17"/>
          <p:cNvGrpSpPr/>
          <p:nvPr/>
        </p:nvGrpSpPr>
        <p:grpSpPr>
          <a:xfrm>
            <a:off x="11231725" y="2845904"/>
            <a:ext cx="1215336" cy="1033565"/>
            <a:chOff x="10920388" y="2780901"/>
            <a:chExt cx="1239881" cy="1054439"/>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rgbClr val="333333"/>
                  </a:solidFill>
                  <a:latin typeface="Segoe UI"/>
                  <a:ea typeface="MS PGothic" panose="020B0600070205080204" pitchFamily="34" charset="-128"/>
                </a:endParaRPr>
              </a:p>
            </p:txBody>
          </p:sp>
        </p:grpSp>
        <p:sp>
          <p:nvSpPr>
            <p:cNvPr id="119" name="TextBox 118"/>
            <p:cNvSpPr txBox="1"/>
            <p:nvPr/>
          </p:nvSpPr>
          <p:spPr>
            <a:xfrm>
              <a:off x="10920388" y="3380619"/>
              <a:ext cx="1239881" cy="454721"/>
            </a:xfrm>
            <a:prstGeom prst="rect">
              <a:avLst/>
            </a:prstGeom>
            <a:noFill/>
          </p:spPr>
          <p:txBody>
            <a:bodyPr wrap="square" lIns="179235" tIns="143388" rIns="179235" bIns="143388" rtlCol="0">
              <a:spAutoFit/>
            </a:bodyPr>
            <a:lstStyle/>
            <a:p>
              <a:pPr algn="ctr" defTabSz="914132">
                <a:lnSpc>
                  <a:spcPct val="90000"/>
                </a:lnSpc>
                <a:spcBef>
                  <a:spcPct val="0"/>
                </a:spcBef>
                <a:spcAft>
                  <a:spcPts val="588"/>
                </a:spcAft>
                <a:defRPr/>
              </a:pPr>
              <a:r>
                <a:rPr lang="en-US" sz="1127"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eople</a:t>
              </a:r>
            </a:p>
          </p:txBody>
        </p:sp>
      </p:grpSp>
      <p:sp>
        <p:nvSpPr>
          <p:cNvPr id="37" name="Right Arrow 36"/>
          <p:cNvSpPr/>
          <p:nvPr/>
        </p:nvSpPr>
        <p:spPr bwMode="auto">
          <a:xfrm>
            <a:off x="6875369" y="6266397"/>
            <a:ext cx="3714271" cy="254476"/>
          </a:xfrm>
          <a:prstGeom prst="rightArrow">
            <a:avLst/>
          </a:prstGeom>
          <a:solidFill>
            <a:srgbClr val="0080EA"/>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231" name="Group 230"/>
          <p:cNvGrpSpPr/>
          <p:nvPr/>
        </p:nvGrpSpPr>
        <p:grpSpPr>
          <a:xfrm>
            <a:off x="3898769" y="1430365"/>
            <a:ext cx="5270592" cy="3268568"/>
            <a:chOff x="3976947" y="1458550"/>
            <a:chExt cx="5376278" cy="3334110"/>
          </a:xfrm>
        </p:grpSpPr>
        <p:sp>
          <p:nvSpPr>
            <p:cNvPr id="43" name="Rectangle 42"/>
            <p:cNvSpPr/>
            <p:nvPr/>
          </p:nvSpPr>
          <p:spPr bwMode="auto">
            <a:xfrm>
              <a:off x="3976947" y="1458550"/>
              <a:ext cx="5143613" cy="3155713"/>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81" name="Rectangle 80"/>
            <p:cNvSpPr/>
            <p:nvPr/>
          </p:nvSpPr>
          <p:spPr>
            <a:xfrm>
              <a:off x="4313237" y="2701887"/>
              <a:ext cx="4376679" cy="830997"/>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reparation, Analytics and Machine Learning</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180" name="Isosceles Triangle 179"/>
            <p:cNvSpPr/>
            <p:nvPr/>
          </p:nvSpPr>
          <p:spPr bwMode="auto">
            <a:xfrm rot="10800000">
              <a:off x="5977197" y="4568309"/>
              <a:ext cx="1003040" cy="224351"/>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Isosceles Triangle 205"/>
            <p:cNvSpPr/>
            <p:nvPr/>
          </p:nvSpPr>
          <p:spPr bwMode="auto">
            <a:xfrm rot="5400000">
              <a:off x="8715657" y="2935894"/>
              <a:ext cx="1048959" cy="226177"/>
            </a:xfrm>
            <a:prstGeom prst="triangle">
              <a:avLst>
                <a:gd name="adj" fmla="val 51823"/>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32" name="Group 231"/>
          <p:cNvGrpSpPr/>
          <p:nvPr/>
        </p:nvGrpSpPr>
        <p:grpSpPr>
          <a:xfrm>
            <a:off x="3892991" y="4650736"/>
            <a:ext cx="5055216" cy="1578921"/>
            <a:chOff x="3971053" y="4743496"/>
            <a:chExt cx="5156584" cy="1610582"/>
          </a:xfrm>
        </p:grpSpPr>
        <p:sp>
          <p:nvSpPr>
            <p:cNvPr id="42" name="Rectangle 41"/>
            <p:cNvSpPr/>
            <p:nvPr/>
          </p:nvSpPr>
          <p:spPr bwMode="auto">
            <a:xfrm>
              <a:off x="3971053" y="4743496"/>
              <a:ext cx="5156584" cy="1610582"/>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63" name="Group 162"/>
            <p:cNvGrpSpPr/>
            <p:nvPr/>
          </p:nvGrpSpPr>
          <p:grpSpPr>
            <a:xfrm>
              <a:off x="4737879" y="4956474"/>
              <a:ext cx="712017" cy="452064"/>
              <a:chOff x="3458913" y="2805358"/>
              <a:chExt cx="2571750" cy="1910793"/>
            </a:xfrm>
          </p:grpSpPr>
          <p:sp>
            <p:nvSpPr>
              <p:cNvPr id="164" name="Freeform 36"/>
              <p:cNvSpPr>
                <a:spLocks/>
              </p:cNvSpPr>
              <p:nvPr/>
            </p:nvSpPr>
            <p:spPr bwMode="auto">
              <a:xfrm>
                <a:off x="3976599" y="2805358"/>
                <a:ext cx="1547813" cy="241301"/>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7" name="Freeform 37"/>
              <p:cNvSpPr>
                <a:spLocks noEditPoints="1"/>
              </p:cNvSpPr>
              <p:nvPr/>
            </p:nvSpPr>
            <p:spPr bwMode="auto">
              <a:xfrm>
                <a:off x="3458913" y="3022287"/>
                <a:ext cx="2571750" cy="1693864"/>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
          <p:nvSpPr>
            <p:cNvPr id="257" name="Rectangle 256"/>
            <p:cNvSpPr/>
            <p:nvPr/>
          </p:nvSpPr>
          <p:spPr>
            <a:xfrm>
              <a:off x="4273085" y="5462459"/>
              <a:ext cx="1660317" cy="261610"/>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229" name="Group 228"/>
          <p:cNvGrpSpPr/>
          <p:nvPr/>
        </p:nvGrpSpPr>
        <p:grpSpPr>
          <a:xfrm>
            <a:off x="1037482" y="1430366"/>
            <a:ext cx="3041562" cy="4797368"/>
            <a:chOff x="1058285" y="1458551"/>
            <a:chExt cx="3102552" cy="4893565"/>
          </a:xfrm>
        </p:grpSpPr>
        <p:grpSp>
          <p:nvGrpSpPr>
            <p:cNvPr id="227" name="Group 226"/>
            <p:cNvGrpSpPr/>
            <p:nvPr/>
          </p:nvGrpSpPr>
          <p:grpSpPr>
            <a:xfrm>
              <a:off x="1058285" y="1458551"/>
              <a:ext cx="3102552" cy="4893565"/>
              <a:chOff x="1058285" y="1458551"/>
              <a:chExt cx="3102552" cy="4893565"/>
            </a:xfrm>
          </p:grpSpPr>
          <p:grpSp>
            <p:nvGrpSpPr>
              <p:cNvPr id="12" name="Group 11"/>
              <p:cNvGrpSpPr/>
              <p:nvPr/>
            </p:nvGrpSpPr>
            <p:grpSpPr>
              <a:xfrm>
                <a:off x="3865636" y="5208167"/>
                <a:ext cx="295201" cy="853554"/>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6" name="Group 225"/>
              <p:cNvGrpSpPr/>
              <p:nvPr/>
            </p:nvGrpSpPr>
            <p:grpSpPr>
              <a:xfrm>
                <a:off x="1058285" y="1458551"/>
                <a:ext cx="2805640" cy="4893565"/>
                <a:chOff x="1058285" y="1458551"/>
                <a:chExt cx="2805640" cy="4893565"/>
              </a:xfrm>
            </p:grpSpPr>
            <p:sp>
              <p:nvSpPr>
                <p:cNvPr id="41" name="Rectangle 40"/>
                <p:cNvSpPr/>
                <p:nvPr/>
              </p:nvSpPr>
              <p:spPr bwMode="auto">
                <a:xfrm>
                  <a:off x="1058285" y="1458551"/>
                  <a:ext cx="2805640" cy="4893565"/>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ion</a:t>
                  </a:r>
                </a:p>
              </p:txBody>
            </p:sp>
            <p:sp>
              <p:nvSpPr>
                <p:cNvPr id="213" name="Rectangle 212"/>
                <p:cNvSpPr/>
                <p:nvPr/>
              </p:nvSpPr>
              <p:spPr bwMode="auto">
                <a:xfrm>
                  <a:off x="1136404" y="1829576"/>
                  <a:ext cx="2651563" cy="2807610"/>
                </a:xfrm>
                <a:prstGeom prst="rect">
                  <a:avLst/>
                </a:prstGeom>
                <a:solidFill>
                  <a:schemeClr val="bg2">
                    <a:lumMod val="90000"/>
                    <a:lumOff val="10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15" name="Rectangle 214"/>
                <p:cNvSpPr/>
                <p:nvPr/>
              </p:nvSpPr>
              <p:spPr bwMode="auto">
                <a:xfrm>
                  <a:off x="1136404" y="4792662"/>
                  <a:ext cx="2660251" cy="1425560"/>
                </a:xfrm>
                <a:prstGeom prst="rect">
                  <a:avLst/>
                </a:prstGeom>
                <a:solidFill>
                  <a:schemeClr val="bg2">
                    <a:lumMod val="90000"/>
                    <a:lumOff val="10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176"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sp>
          <p:nvSpPr>
            <p:cNvPr id="258" name="Rectangle 257"/>
            <p:cNvSpPr/>
            <p:nvPr/>
          </p:nvSpPr>
          <p:spPr>
            <a:xfrm>
              <a:off x="1181187" y="2825389"/>
              <a:ext cx="2558225" cy="461665"/>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ulk Ingestion</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259" name="Rectangle 258"/>
            <p:cNvSpPr/>
            <p:nvPr/>
          </p:nvSpPr>
          <p:spPr>
            <a:xfrm>
              <a:off x="1200788" y="5293337"/>
              <a:ext cx="2558225" cy="461665"/>
            </a:xfrm>
            <a:prstGeom prst="rect">
              <a:avLst/>
            </a:prstGeom>
          </p:spPr>
          <p:txBody>
            <a:bodyPr wrap="square">
              <a:spAutoFit/>
            </a:bodyPr>
            <a:lstStyle/>
            <a:p>
              <a:pPr algn="ctr" defTabSz="896328">
                <a:defRPr/>
              </a:pPr>
              <a:r>
                <a:rPr lang="en-US" sz="2353"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Ingestion</a:t>
              </a:r>
              <a:endParaRPr lang="en-US" sz="2353"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7" name="Group 6"/>
          <p:cNvGrpSpPr/>
          <p:nvPr/>
        </p:nvGrpSpPr>
        <p:grpSpPr>
          <a:xfrm>
            <a:off x="9084083" y="1636151"/>
            <a:ext cx="2095429" cy="1305813"/>
            <a:chOff x="9370159" y="1703117"/>
            <a:chExt cx="2137447" cy="1331997"/>
          </a:xfrm>
        </p:grpSpPr>
        <p:sp>
          <p:nvSpPr>
            <p:cNvPr id="44" name="Rectangle 43"/>
            <p:cNvSpPr/>
            <p:nvPr/>
          </p:nvSpPr>
          <p:spPr bwMode="auto">
            <a:xfrm>
              <a:off x="9370159" y="1703117"/>
              <a:ext cx="2137447" cy="1331997"/>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iscovery</a:t>
              </a:r>
            </a:p>
          </p:txBody>
        </p:sp>
        <p:grpSp>
          <p:nvGrpSpPr>
            <p:cNvPr id="27" name="Group 26"/>
            <p:cNvGrpSpPr/>
            <p:nvPr/>
          </p:nvGrpSpPr>
          <p:grpSpPr>
            <a:xfrm>
              <a:off x="9541222" y="2117414"/>
              <a:ext cx="1692049" cy="693067"/>
              <a:chOff x="1598435" y="3806103"/>
              <a:chExt cx="1692049" cy="693067"/>
            </a:xfrm>
          </p:grpSpPr>
          <p:sp>
            <p:nvSpPr>
              <p:cNvPr id="79" name="Rectangle 78"/>
              <p:cNvSpPr/>
              <p:nvPr/>
            </p:nvSpPr>
            <p:spPr>
              <a:xfrm>
                <a:off x="2295981" y="3922223"/>
                <a:ext cx="994503" cy="461408"/>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Catalo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43" name="Picture 1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98435" y="3806103"/>
                <a:ext cx="890803" cy="693067"/>
              </a:xfrm>
              <a:prstGeom prst="rect">
                <a:avLst/>
              </a:prstGeom>
            </p:spPr>
          </p:pic>
        </p:grpSp>
      </p:grpSp>
      <p:grpSp>
        <p:nvGrpSpPr>
          <p:cNvPr id="8" name="Group 7"/>
          <p:cNvGrpSpPr/>
          <p:nvPr/>
        </p:nvGrpSpPr>
        <p:grpSpPr>
          <a:xfrm>
            <a:off x="9084083" y="3209745"/>
            <a:ext cx="2095429" cy="1305813"/>
            <a:chOff x="9464289" y="3308265"/>
            <a:chExt cx="2137447" cy="1331997"/>
          </a:xfrm>
        </p:grpSpPr>
        <p:sp>
          <p:nvSpPr>
            <p:cNvPr id="109" name="Rectangle 108"/>
            <p:cNvSpPr/>
            <p:nvPr/>
          </p:nvSpPr>
          <p:spPr bwMode="auto">
            <a:xfrm>
              <a:off x="9464289" y="3308265"/>
              <a:ext cx="2137447" cy="1331997"/>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isualization</a:t>
              </a:r>
            </a:p>
          </p:txBody>
        </p:sp>
        <p:grpSp>
          <p:nvGrpSpPr>
            <p:cNvPr id="4" name="Group 3"/>
            <p:cNvGrpSpPr/>
            <p:nvPr/>
          </p:nvGrpSpPr>
          <p:grpSpPr>
            <a:xfrm>
              <a:off x="9899356" y="3946214"/>
              <a:ext cx="1089666" cy="276871"/>
              <a:chOff x="9557785" y="1924991"/>
              <a:chExt cx="1089666" cy="276871"/>
            </a:xfrm>
          </p:grpSpPr>
          <p:grpSp>
            <p:nvGrpSpPr>
              <p:cNvPr id="68" name="Group 67"/>
              <p:cNvGrpSpPr/>
              <p:nvPr/>
            </p:nvGrpSpPr>
            <p:grpSpPr>
              <a:xfrm>
                <a:off x="9557785" y="1938059"/>
                <a:ext cx="399053" cy="255055"/>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86" name="Rectangle 85"/>
              <p:cNvSpPr/>
              <p:nvPr/>
            </p:nvSpPr>
            <p:spPr>
              <a:xfrm>
                <a:off x="9914878" y="1924991"/>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pic>
        <p:nvPicPr>
          <p:cNvPr id="67" name="Picture 66"/>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6139509" y="5106273"/>
            <a:ext cx="460642" cy="460642"/>
          </a:xfrm>
          <a:prstGeom prst="rect">
            <a:avLst/>
          </a:prstGeom>
        </p:spPr>
      </p:pic>
      <p:sp>
        <p:nvSpPr>
          <p:cNvPr id="74" name="Rectangle 73"/>
          <p:cNvSpPr/>
          <p:nvPr/>
        </p:nvSpPr>
        <p:spPr>
          <a:xfrm>
            <a:off x="5537519" y="5545315"/>
            <a:ext cx="1627679" cy="256467"/>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HDInsight</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0" name="Picture 9"/>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411833" y="4932958"/>
            <a:ext cx="610067" cy="608866"/>
          </a:xfrm>
          <a:prstGeom prst="rect">
            <a:avLst/>
          </a:prstGeom>
        </p:spPr>
      </p:pic>
      <p:sp>
        <p:nvSpPr>
          <p:cNvPr id="77" name="Rectangle 76"/>
          <p:cNvSpPr/>
          <p:nvPr/>
        </p:nvSpPr>
        <p:spPr>
          <a:xfrm>
            <a:off x="6903027" y="5508575"/>
            <a:ext cx="1627679" cy="256467"/>
          </a:xfrm>
          <a:prstGeom prst="rect">
            <a:avLst/>
          </a:prstGeom>
        </p:spPr>
        <p:txBody>
          <a:bodyPr wrap="square">
            <a:spAutoFit/>
          </a:bodyPr>
          <a:lstStyle/>
          <a:p>
            <a:pPr algn="ctr" defTabSz="896328">
              <a:defRPr/>
            </a:pPr>
            <a:r>
              <a:rPr lang="en-US" sz="107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Lake Analytics</a:t>
            </a:r>
            <a:endParaRPr lang="en-US" sz="1078" kern="0" dirty="0">
              <a:gradFill>
                <a:gsLst>
                  <a:gs pos="0">
                    <a:srgbClr val="FFFFFF"/>
                  </a:gs>
                  <a:gs pos="100000">
                    <a:srgbClr val="FFFFFF"/>
                  </a:gs>
                </a:gsLst>
                <a:lin ang="5400000" scaled="0"/>
              </a:gradFill>
              <a:latin typeface="Segoe UI"/>
              <a:ea typeface="MS PGothic" panose="020B0600070205080204" pitchFamily="34" charset="-128"/>
            </a:endParaRPr>
          </a:p>
        </p:txBody>
      </p:sp>
    </p:spTree>
    <p:extLst>
      <p:ext uri="{BB962C8B-B14F-4D97-AF65-F5344CB8AC3E}">
        <p14:creationId xmlns:p14="http://schemas.microsoft.com/office/powerpoint/2010/main" val="20975744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9"/>
                                        </p:tgtEl>
                                        <p:attrNameLst>
                                          <p:attrName>style.visibility</p:attrName>
                                        </p:attrNameLst>
                                      </p:cBhvr>
                                      <p:to>
                                        <p:strVal val="visible"/>
                                      </p:to>
                                    </p:set>
                                    <p:animEffect transition="in" filter="fade">
                                      <p:cBhvr>
                                        <p:cTn id="7" dur="500"/>
                                        <p:tgtEl>
                                          <p:spTgt spid="2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1"/>
                                        </p:tgtEl>
                                        <p:attrNameLst>
                                          <p:attrName>style.visibility</p:attrName>
                                        </p:attrNameLst>
                                      </p:cBhvr>
                                      <p:to>
                                        <p:strVal val="visible"/>
                                      </p:to>
                                    </p:set>
                                    <p:animEffect transition="in" filter="fade">
                                      <p:cBhvr>
                                        <p:cTn id="12" dur="500"/>
                                        <p:tgtEl>
                                          <p:spTgt spid="2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Event Ingestion Patterns</a:t>
            </a:r>
          </a:p>
        </p:txBody>
      </p:sp>
      <p:grpSp>
        <p:nvGrpSpPr>
          <p:cNvPr id="18" name="Group 17"/>
          <p:cNvGrpSpPr/>
          <p:nvPr/>
        </p:nvGrpSpPr>
        <p:grpSpPr>
          <a:xfrm>
            <a:off x="568047" y="1934958"/>
            <a:ext cx="1520438" cy="3738682"/>
            <a:chOff x="276231" y="2132701"/>
            <a:chExt cx="1551146" cy="3814192"/>
          </a:xfrm>
        </p:grpSpPr>
        <p:cxnSp>
          <p:nvCxnSpPr>
            <p:cNvPr id="19" name="Straight Connector 18"/>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24" name="TextBox 23"/>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5" name="TextBox 24"/>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26"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27" name="TextBox 26"/>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28"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grpSp>
      <p:sp>
        <p:nvSpPr>
          <p:cNvPr id="34" name="Striped Right Arrow 33"/>
          <p:cNvSpPr/>
          <p:nvPr/>
        </p:nvSpPr>
        <p:spPr bwMode="auto">
          <a:xfrm>
            <a:off x="1763281" y="295849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a:rPr>
              <a:t>Events</a:t>
            </a:r>
          </a:p>
        </p:txBody>
      </p:sp>
      <p:sp>
        <p:nvSpPr>
          <p:cNvPr id="44" name="Striped Right Arrow 43"/>
          <p:cNvSpPr/>
          <p:nvPr/>
        </p:nvSpPr>
        <p:spPr bwMode="auto">
          <a:xfrm>
            <a:off x="5573086" y="2969323"/>
            <a:ext cx="1191352" cy="767656"/>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505050"/>
                </a:solidFill>
                <a:latin typeface="Segoe UI"/>
              </a:rPr>
              <a:t>Events</a:t>
            </a:r>
          </a:p>
        </p:txBody>
      </p:sp>
      <p:grpSp>
        <p:nvGrpSpPr>
          <p:cNvPr id="45" name="Group 44"/>
          <p:cNvGrpSpPr/>
          <p:nvPr/>
        </p:nvGrpSpPr>
        <p:grpSpPr>
          <a:xfrm>
            <a:off x="9646233" y="5135807"/>
            <a:ext cx="2394506" cy="1578921"/>
            <a:chOff x="5367211" y="4743496"/>
            <a:chExt cx="2442521" cy="1610582"/>
          </a:xfrm>
        </p:grpSpPr>
        <p:sp>
          <p:nvSpPr>
            <p:cNvPr id="46" name="Rectangle 45"/>
            <p:cNvSpPr/>
            <p:nvPr/>
          </p:nvSpPr>
          <p:spPr bwMode="auto">
            <a:xfrm>
              <a:off x="5367211" y="4743496"/>
              <a:ext cx="2442521" cy="1610582"/>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47" name="Group 46"/>
            <p:cNvGrpSpPr/>
            <p:nvPr/>
          </p:nvGrpSpPr>
          <p:grpSpPr>
            <a:xfrm>
              <a:off x="6158104" y="5116633"/>
              <a:ext cx="712017" cy="476984"/>
              <a:chOff x="8588655" y="3482322"/>
              <a:chExt cx="2571750" cy="2016125"/>
            </a:xfrm>
          </p:grpSpPr>
          <p:sp>
            <p:nvSpPr>
              <p:cNvPr id="49"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50"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
          <p:nvSpPr>
            <p:cNvPr id="48" name="Rectangle 47"/>
            <p:cNvSpPr/>
            <p:nvPr/>
          </p:nvSpPr>
          <p:spPr>
            <a:xfrm>
              <a:off x="5682114" y="5835412"/>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61" name="Flowchart: Multidocument 60"/>
          <p:cNvSpPr/>
          <p:nvPr/>
        </p:nvSpPr>
        <p:spPr bwMode="auto">
          <a:xfrm>
            <a:off x="10236231" y="2831384"/>
            <a:ext cx="1643445" cy="1254735"/>
          </a:xfrm>
          <a:prstGeom prst="flowChartMultidocumen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FFFFFF"/>
                </a:solidFill>
                <a:latin typeface="Segoe UI"/>
              </a:rPr>
              <a:t>Transformed Data</a:t>
            </a:r>
          </a:p>
        </p:txBody>
      </p:sp>
      <p:sp>
        <p:nvSpPr>
          <p:cNvPr id="66" name="Striped Right Arrow 65"/>
          <p:cNvSpPr/>
          <p:nvPr/>
        </p:nvSpPr>
        <p:spPr bwMode="auto">
          <a:xfrm>
            <a:off x="9389552" y="3204894"/>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sp>
        <p:nvSpPr>
          <p:cNvPr id="67" name="Striped Right Arrow 66"/>
          <p:cNvSpPr/>
          <p:nvPr/>
        </p:nvSpPr>
        <p:spPr bwMode="auto">
          <a:xfrm rot="16200000">
            <a:off x="10733331" y="1957348"/>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grpSp>
        <p:nvGrpSpPr>
          <p:cNvPr id="6" name="Group 5"/>
          <p:cNvGrpSpPr/>
          <p:nvPr/>
        </p:nvGrpSpPr>
        <p:grpSpPr>
          <a:xfrm>
            <a:off x="9644430" y="167168"/>
            <a:ext cx="2394506" cy="1578921"/>
            <a:chOff x="9837820" y="170023"/>
            <a:chExt cx="2442521" cy="1610582"/>
          </a:xfrm>
        </p:grpSpPr>
        <p:grpSp>
          <p:nvGrpSpPr>
            <p:cNvPr id="68" name="Group 67"/>
            <p:cNvGrpSpPr/>
            <p:nvPr/>
          </p:nvGrpSpPr>
          <p:grpSpPr>
            <a:xfrm>
              <a:off x="9837820" y="170023"/>
              <a:ext cx="2442521" cy="1610582"/>
              <a:chOff x="5367211" y="4743496"/>
              <a:chExt cx="2442521" cy="1610582"/>
            </a:xfrm>
          </p:grpSpPr>
          <p:sp>
            <p:nvSpPr>
              <p:cNvPr id="69" name="Rectangle 68"/>
              <p:cNvSpPr/>
              <p:nvPr/>
            </p:nvSpPr>
            <p:spPr bwMode="auto">
              <a:xfrm>
                <a:off x="5367211" y="4743496"/>
                <a:ext cx="2442521" cy="1610582"/>
              </a:xfrm>
              <a:prstGeom prst="rect">
                <a:avLst/>
              </a:prstGeom>
              <a:solidFill>
                <a:schemeClr val="accent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71" name="Rectangle 70"/>
              <p:cNvSpPr/>
              <p:nvPr/>
            </p:nvSpPr>
            <p:spPr>
              <a:xfrm>
                <a:off x="5683953" y="5864894"/>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Real Time Dashboard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62" name="Group 61"/>
            <p:cNvGrpSpPr/>
            <p:nvPr/>
          </p:nvGrpSpPr>
          <p:grpSpPr>
            <a:xfrm>
              <a:off x="10441488" y="651425"/>
              <a:ext cx="1089666" cy="276871"/>
              <a:chOff x="10335701" y="395090"/>
              <a:chExt cx="1089666" cy="276871"/>
            </a:xfrm>
          </p:grpSpPr>
          <p:grpSp>
            <p:nvGrpSpPr>
              <p:cNvPr id="74" name="Group 73"/>
              <p:cNvGrpSpPr/>
              <p:nvPr/>
            </p:nvGrpSpPr>
            <p:grpSpPr>
              <a:xfrm>
                <a:off x="10335701" y="408158"/>
                <a:ext cx="399053" cy="255055"/>
                <a:chOff x="4481847" y="2708926"/>
                <a:chExt cx="673103" cy="430214"/>
              </a:xfrm>
              <a:solidFill>
                <a:schemeClr val="bg1"/>
              </a:solidFill>
            </p:grpSpPr>
            <p:sp>
              <p:nvSpPr>
                <p:cNvPr id="75"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6"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7"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8"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79"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80" name="Rectangle 79"/>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sp>
        <p:nvSpPr>
          <p:cNvPr id="82" name="Striped Right Arrow 81"/>
          <p:cNvSpPr/>
          <p:nvPr/>
        </p:nvSpPr>
        <p:spPr bwMode="auto">
          <a:xfrm rot="5400000">
            <a:off x="10748990" y="4364111"/>
            <a:ext cx="705398" cy="655051"/>
          </a:xfrm>
          <a:prstGeom prst="striped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505050"/>
              </a:solidFill>
              <a:latin typeface="Segoe UI"/>
            </a:endParaRPr>
          </a:p>
        </p:txBody>
      </p:sp>
      <p:grpSp>
        <p:nvGrpSpPr>
          <p:cNvPr id="81" name="Group 80"/>
          <p:cNvGrpSpPr/>
          <p:nvPr/>
        </p:nvGrpSpPr>
        <p:grpSpPr>
          <a:xfrm>
            <a:off x="8005294" y="5375467"/>
            <a:ext cx="1302895" cy="1268694"/>
            <a:chOff x="8165816" y="5482760"/>
            <a:chExt cx="1329021" cy="1294134"/>
          </a:xfrm>
        </p:grpSpPr>
        <p:grpSp>
          <p:nvGrpSpPr>
            <p:cNvPr id="43" name="Group 42"/>
            <p:cNvGrpSpPr/>
            <p:nvPr/>
          </p:nvGrpSpPr>
          <p:grpSpPr>
            <a:xfrm>
              <a:off x="8169375" y="5611435"/>
              <a:ext cx="1325462" cy="1165459"/>
              <a:chOff x="7817067" y="5013646"/>
              <a:chExt cx="1325462" cy="1235941"/>
            </a:xfrm>
          </p:grpSpPr>
          <p:sp>
            <p:nvSpPr>
              <p:cNvPr id="37" name="Bent-Up Arrow 36"/>
              <p:cNvSpPr/>
              <p:nvPr/>
            </p:nvSpPr>
            <p:spPr bwMode="auto">
              <a:xfrm rot="5400000">
                <a:off x="7861827" y="4968886"/>
                <a:ext cx="1235941" cy="1325462"/>
              </a:xfrm>
              <a:prstGeom prst="bentUp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53" name="Rectangle 52"/>
              <p:cNvSpPr/>
              <p:nvPr/>
            </p:nvSpPr>
            <p:spPr>
              <a:xfrm>
                <a:off x="7837190" y="5735661"/>
                <a:ext cx="1271016" cy="360887"/>
              </a:xfrm>
              <a:prstGeom prst="rect">
                <a:avLst/>
              </a:prstGeom>
            </p:spPr>
            <p:txBody>
              <a:bodyPr wrap="square">
                <a:spAutoFit/>
              </a:bodyPr>
              <a:lstStyle/>
              <a:p>
                <a:pPr defTabSz="896386">
                  <a:defRPr/>
                </a:pPr>
                <a:r>
                  <a:rPr lang="en-US" sz="1568" kern="0" dirty="0">
                    <a:solidFill>
                      <a:srgbClr val="505050"/>
                    </a:solidFill>
                    <a:latin typeface="Segoe UI"/>
                    <a:cs typeface="Segoe UI Semilight" panose="020B0402040204020203" pitchFamily="34" charset="0"/>
                  </a:rPr>
                  <a:t>Raw Events</a:t>
                </a:r>
                <a:endParaRPr lang="en-US" sz="1568" kern="0" dirty="0">
                  <a:solidFill>
                    <a:srgbClr val="505050"/>
                  </a:solidFill>
                  <a:latin typeface="Segoe UI"/>
                </a:endParaRPr>
              </a:p>
            </p:txBody>
          </p:sp>
        </p:grpSp>
        <p:sp>
          <p:nvSpPr>
            <p:cNvPr id="65" name="Rectangle 64"/>
            <p:cNvSpPr/>
            <p:nvPr/>
          </p:nvSpPr>
          <p:spPr bwMode="auto">
            <a:xfrm>
              <a:off x="8165816" y="5534225"/>
              <a:ext cx="304421"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84" name="Rectangle 83"/>
            <p:cNvSpPr/>
            <p:nvPr/>
          </p:nvSpPr>
          <p:spPr bwMode="auto">
            <a:xfrm>
              <a:off x="8165933" y="5482760"/>
              <a:ext cx="304421" cy="1938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2" name="Group 1"/>
          <p:cNvGrpSpPr/>
          <p:nvPr/>
        </p:nvGrpSpPr>
        <p:grpSpPr>
          <a:xfrm>
            <a:off x="3029334" y="1934959"/>
            <a:ext cx="2319852" cy="3276676"/>
            <a:chOff x="3090078" y="1973262"/>
            <a:chExt cx="2366370" cy="3342380"/>
          </a:xfrm>
        </p:grpSpPr>
        <p:sp>
          <p:nvSpPr>
            <p:cNvPr id="60" name="Rectangle 59"/>
            <p:cNvSpPr/>
            <p:nvPr/>
          </p:nvSpPr>
          <p:spPr bwMode="auto">
            <a:xfrm>
              <a:off x="3090078" y="1973262"/>
              <a:ext cx="2366370"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1" name="Rectangle 30"/>
            <p:cNvSpPr/>
            <p:nvPr/>
          </p:nvSpPr>
          <p:spPr>
            <a:xfrm>
              <a:off x="3966014" y="2667289"/>
              <a:ext cx="1271016" cy="584775"/>
            </a:xfrm>
            <a:prstGeom prst="rect">
              <a:avLst/>
            </a:prstGeom>
          </p:spPr>
          <p:txBody>
            <a:bodyPr wrap="square">
              <a:spAutoFit/>
            </a:bodyPr>
            <a:lstStyle/>
            <a:p>
              <a:pPr defTabSz="896386">
                <a:defRPr/>
              </a:pPr>
              <a:r>
                <a:rPr lang="en-US" sz="1568" kern="0" dirty="0">
                  <a:solidFill>
                    <a:srgbClr val="FFFFFF"/>
                  </a:solidFill>
                  <a:latin typeface="Segoe UI"/>
                  <a:cs typeface="Segoe UI Semilight" panose="020B0402040204020203" pitchFamily="34" charset="0"/>
                </a:rPr>
                <a:t>Azure Event Hubs</a:t>
              </a:r>
              <a:endParaRPr lang="en-US" sz="1568" kern="0" dirty="0">
                <a:solidFill>
                  <a:srgbClr val="FFFFFF"/>
                </a:solidFill>
                <a:latin typeface="Segoe UI"/>
              </a:endParaRPr>
            </a:p>
          </p:txBody>
        </p:sp>
        <p:sp>
          <p:nvSpPr>
            <p:cNvPr id="32" name="Freeform 31"/>
            <p:cNvSpPr/>
            <p:nvPr/>
          </p:nvSpPr>
          <p:spPr bwMode="auto">
            <a:xfrm>
              <a:off x="3444416" y="2735262"/>
              <a:ext cx="445398" cy="49009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745" kern="0" dirty="0">
                <a:solidFill>
                  <a:srgbClr val="FFFFFF"/>
                </a:solidFill>
                <a:latin typeface="Segoe UI"/>
                <a:ea typeface="Segoe UI" pitchFamily="34" charset="0"/>
                <a:cs typeface="Segoe UI" pitchFamily="34" charset="0"/>
              </a:endParaRPr>
            </a:p>
          </p:txBody>
        </p:sp>
        <p:grpSp>
          <p:nvGrpSpPr>
            <p:cNvPr id="33" name="Group 32"/>
            <p:cNvGrpSpPr/>
            <p:nvPr/>
          </p:nvGrpSpPr>
          <p:grpSpPr>
            <a:xfrm>
              <a:off x="3322637" y="3625067"/>
              <a:ext cx="1981411" cy="710395"/>
              <a:chOff x="2710031" y="3395986"/>
              <a:chExt cx="1981411" cy="710395"/>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0031" y="3395986"/>
                <a:ext cx="710395" cy="710395"/>
              </a:xfrm>
              <a:prstGeom prst="rect">
                <a:avLst/>
              </a:prstGeom>
            </p:spPr>
          </p:pic>
          <p:sp>
            <p:nvSpPr>
              <p:cNvPr id="35" name="Rectangle 34"/>
              <p:cNvSpPr/>
              <p:nvPr/>
            </p:nvSpPr>
            <p:spPr>
              <a:xfrm>
                <a:off x="3420426" y="3551417"/>
                <a:ext cx="1271016" cy="338554"/>
              </a:xfrm>
              <a:prstGeom prst="rect">
                <a:avLst/>
              </a:prstGeom>
            </p:spPr>
            <p:txBody>
              <a:bodyPr wrap="square">
                <a:spAutoFit/>
              </a:bodyPr>
              <a:lstStyle/>
              <a:p>
                <a:pPr defTabSz="896386">
                  <a:defRPr/>
                </a:pPr>
                <a:r>
                  <a:rPr lang="en-US" sz="1568" kern="0" dirty="0">
                    <a:solidFill>
                      <a:srgbClr val="FFFFFF"/>
                    </a:solidFill>
                    <a:latin typeface="Segoe UI"/>
                    <a:cs typeface="Segoe UI Semilight" panose="020B0402040204020203" pitchFamily="34" charset="0"/>
                  </a:rPr>
                  <a:t>Kafka</a:t>
                </a:r>
                <a:endParaRPr lang="en-US" sz="1568" kern="0" dirty="0">
                  <a:solidFill>
                    <a:srgbClr val="FFFFFF"/>
                  </a:solidFill>
                  <a:latin typeface="Segoe UI"/>
                </a:endParaRPr>
              </a:p>
            </p:txBody>
          </p:sp>
        </p:grpSp>
        <p:sp>
          <p:nvSpPr>
            <p:cNvPr id="86" name="Rectangle 85"/>
            <p:cNvSpPr/>
            <p:nvPr/>
          </p:nvSpPr>
          <p:spPr>
            <a:xfrm>
              <a:off x="3558054"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Event Collection</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3" name="Group 2"/>
          <p:cNvGrpSpPr/>
          <p:nvPr/>
        </p:nvGrpSpPr>
        <p:grpSpPr>
          <a:xfrm>
            <a:off x="6875606" y="2000006"/>
            <a:ext cx="2441460" cy="3276676"/>
            <a:chOff x="7013476" y="2039614"/>
            <a:chExt cx="2490416" cy="3342380"/>
          </a:xfrm>
        </p:grpSpPr>
        <p:sp>
          <p:nvSpPr>
            <p:cNvPr id="63" name="Rectangle 62"/>
            <p:cNvSpPr/>
            <p:nvPr/>
          </p:nvSpPr>
          <p:spPr bwMode="auto">
            <a:xfrm>
              <a:off x="7013476" y="2039614"/>
              <a:ext cx="2490416" cy="334238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pic>
          <p:nvPicPr>
            <p:cNvPr id="38" name="Picture 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5325" y="2393549"/>
              <a:ext cx="628933" cy="515836"/>
            </a:xfrm>
            <a:prstGeom prst="rect">
              <a:avLst/>
            </a:prstGeom>
          </p:spPr>
        </p:pic>
        <p:sp>
          <p:nvSpPr>
            <p:cNvPr id="39" name="Rectangle 38"/>
            <p:cNvSpPr/>
            <p:nvPr/>
          </p:nvSpPr>
          <p:spPr>
            <a:xfrm>
              <a:off x="7752343" y="2346166"/>
              <a:ext cx="1577035" cy="584775"/>
            </a:xfrm>
            <a:prstGeom prst="rect">
              <a:avLst/>
            </a:prstGeom>
          </p:spPr>
          <p:txBody>
            <a:bodyPr wrap="none">
              <a:spAutoFit/>
            </a:bodyPr>
            <a:lstStyle/>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a:t>
              </a:r>
            </a:p>
            <a:p>
              <a:pPr defTabSz="896328">
                <a:defRPr/>
              </a:pPr>
              <a:r>
                <a:rPr lang="en-US" sz="1568"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Analytics</a:t>
              </a:r>
            </a:p>
          </p:txBody>
        </p:sp>
        <p:pic>
          <p:nvPicPr>
            <p:cNvPr id="40" name="Picture 18" descr="http://blog.parsely.com/wp-content/uploads/2014/07/storm_logo_winner.png"/>
            <p:cNvPicPr>
              <a:picLocks noChangeAspect="1" noChangeArrowheads="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7195477" y="3192695"/>
              <a:ext cx="1380840" cy="50400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7227247" y="3890699"/>
              <a:ext cx="2267590" cy="597163"/>
              <a:chOff x="6759941" y="3974494"/>
              <a:chExt cx="2267590" cy="597163"/>
            </a:xfrm>
          </p:grpSpPr>
          <p:sp>
            <p:nvSpPr>
              <p:cNvPr id="41" name="Rectangle 40"/>
              <p:cNvSpPr/>
              <p:nvPr/>
            </p:nvSpPr>
            <p:spPr>
              <a:xfrm>
                <a:off x="7451459" y="4087984"/>
                <a:ext cx="1576072" cy="338554"/>
              </a:xfrm>
              <a:prstGeom prst="rect">
                <a:avLst/>
              </a:prstGeom>
            </p:spPr>
            <p:txBody>
              <a:bodyPr wrap="none">
                <a:spAutoFit/>
              </a:bodyPr>
              <a:lstStyle/>
              <a:p>
                <a:pPr defTabSz="896328">
                  <a:defRPr/>
                </a:pPr>
                <a:r>
                  <a:rPr lang="en-US" sz="1568" b="1"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Streaming</a:t>
                </a:r>
              </a:p>
            </p:txBody>
          </p:sp>
          <p:pic>
            <p:nvPicPr>
              <p:cNvPr id="42" name="Picture 8" descr="https://zeppelin.incubator.apache.org/assets/themes/zeppelin/img/spark_logo.jpg"/>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6759941" y="3974494"/>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p:cNvSpPr/>
            <p:nvPr/>
          </p:nvSpPr>
          <p:spPr>
            <a:xfrm>
              <a:off x="7488930" y="4819003"/>
              <a:ext cx="166031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tream Processin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Tree>
    <p:extLst>
      <p:ext uri="{BB962C8B-B14F-4D97-AF65-F5344CB8AC3E}">
        <p14:creationId xmlns:p14="http://schemas.microsoft.com/office/powerpoint/2010/main" val="105812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left)">
                                      <p:cBhvr>
                                        <p:cTn id="17" dur="500"/>
                                        <p:tgtEl>
                                          <p:spTgt spid="44"/>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500"/>
                                        <p:tgtEl>
                                          <p:spTgt spid="8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500"/>
                                        <p:tgtEl>
                                          <p:spTgt spid="4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wipe(left)">
                                      <p:cBhvr>
                                        <p:cTn id="35" dur="500"/>
                                        <p:tgtEl>
                                          <p:spTgt spid="6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67"/>
                                        </p:tgtEl>
                                        <p:attrNameLst>
                                          <p:attrName>style.visibility</p:attrName>
                                        </p:attrNameLst>
                                      </p:cBhvr>
                                      <p:to>
                                        <p:strVal val="visible"/>
                                      </p:to>
                                    </p:set>
                                    <p:animEffect transition="in" filter="wipe(down)">
                                      <p:cBhvr>
                                        <p:cTn id="44" dur="500"/>
                                        <p:tgtEl>
                                          <p:spTgt spid="67"/>
                                        </p:tgtEl>
                                      </p:cBhvr>
                                    </p:animEffec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grpId="0" nodeType="click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wipe(up)">
                                      <p:cBhvr>
                                        <p:cTn id="53"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61" grpId="0" animBg="1"/>
      <p:bldP spid="66" grpId="0" animBg="1"/>
      <p:bldP spid="67" grpId="0" animBg="1"/>
      <p:bldP spid="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36923" y="289958"/>
            <a:ext cx="11655078" cy="899537"/>
          </a:xfrm>
        </p:spPr>
        <p:txBody>
          <a:bodyPr/>
          <a:lstStyle/>
          <a:p>
            <a:r>
              <a:rPr lang="en-US" dirty="0"/>
              <a:t>Bulk Ingestion and Preparation</a:t>
            </a:r>
          </a:p>
        </p:txBody>
      </p:sp>
      <p:grpSp>
        <p:nvGrpSpPr>
          <p:cNvPr id="3" name="Group 2"/>
          <p:cNvGrpSpPr/>
          <p:nvPr/>
        </p:nvGrpSpPr>
        <p:grpSpPr>
          <a:xfrm>
            <a:off x="194537" y="2902507"/>
            <a:ext cx="1520438" cy="3738682"/>
            <a:chOff x="276231" y="2132701"/>
            <a:chExt cx="1551146" cy="3814192"/>
          </a:xfrm>
        </p:grpSpPr>
        <p:cxnSp>
          <p:nvCxnSpPr>
            <p:cNvPr id="4" name="Straight Connector 3"/>
            <p:cNvCxnSpPr/>
            <p:nvPr/>
          </p:nvCxnSpPr>
          <p:spPr>
            <a:xfrm>
              <a:off x="1166860"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1058843" y="2407298"/>
              <a:ext cx="101591"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952256" y="3768267"/>
              <a:ext cx="341645"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051804" y="5136855"/>
              <a:ext cx="12292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10" name="TextBox 9"/>
            <p:cNvSpPr txBox="1"/>
            <p:nvPr/>
          </p:nvSpPr>
          <p:spPr>
            <a:xfrm>
              <a:off x="290952" y="2519818"/>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sines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1" name="TextBox 10"/>
            <p:cNvSpPr txBox="1"/>
            <p:nvPr/>
          </p:nvSpPr>
          <p:spPr>
            <a:xfrm>
              <a:off x="286638" y="4033284"/>
              <a:ext cx="1239880"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Custom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pps</a:t>
              </a:r>
            </a:p>
          </p:txBody>
        </p:sp>
        <p:sp>
          <p:nvSpPr>
            <p:cNvPr id="12"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sp>
          <p:nvSpPr>
            <p:cNvPr id="13" name="TextBox 12"/>
            <p:cNvSpPr txBox="1"/>
            <p:nvPr/>
          </p:nvSpPr>
          <p:spPr>
            <a:xfrm>
              <a:off x="276231" y="5332875"/>
              <a:ext cx="1551146" cy="614018"/>
            </a:xfrm>
            <a:prstGeom prst="rect">
              <a:avLst/>
            </a:prstGeom>
            <a:noFill/>
          </p:spPr>
          <p:txBody>
            <a:bodyPr wrap="square" lIns="179235" tIns="143388" rIns="179235" bIns="143388" rtlCol="0">
              <a:spAutoFit/>
            </a:bodyPr>
            <a:lstStyle/>
            <a:p>
              <a:pPr defTabSz="914132">
                <a:lnSpc>
                  <a:spcPct val="90000"/>
                </a:lnSpc>
                <a:spcBef>
                  <a:spcPct val="0"/>
                </a:spcBef>
                <a:spcAft>
                  <a:spcPts val="588"/>
                </a:spcAft>
                <a:defRPr/>
              </a:pP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Sensors </a:t>
              </a:r>
              <a:b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br>
              <a:r>
                <a:rPr lang="en-US" sz="1127"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and devices</a:t>
              </a:r>
            </a:p>
          </p:txBody>
        </p:sp>
        <p:sp>
          <p:nvSpPr>
            <p:cNvPr id="14"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p>
              <a:pPr defTabSz="914132">
                <a:defRPr/>
              </a:pPr>
              <a:endParaRPr lang="en-US" sz="1766" kern="0">
                <a:solidFill>
                  <a:sysClr val="windowText" lastClr="000000"/>
                </a:solidFill>
                <a:latin typeface="Segoe UI"/>
                <a:ea typeface="MS PGothic" panose="020B0600070205080204" pitchFamily="34" charset="-128"/>
              </a:endParaRPr>
            </a:p>
          </p:txBody>
        </p:sp>
      </p:grpSp>
      <p:sp>
        <p:nvSpPr>
          <p:cNvPr id="16" name="Rectangle 15"/>
          <p:cNvSpPr/>
          <p:nvPr/>
        </p:nvSpPr>
        <p:spPr bwMode="auto">
          <a:xfrm>
            <a:off x="2157715" y="3503702"/>
            <a:ext cx="5838221" cy="2275401"/>
          </a:xfrm>
          <a:prstGeom prst="rect">
            <a:avLst/>
          </a:prstGeom>
          <a:solidFill>
            <a:schemeClr val="accent6"/>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8" name="Rectangle 17"/>
          <p:cNvSpPr/>
          <p:nvPr/>
        </p:nvSpPr>
        <p:spPr>
          <a:xfrm>
            <a:off x="6485277" y="5467864"/>
            <a:ext cx="1627679" cy="271428"/>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Store</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sp>
        <p:nvSpPr>
          <p:cNvPr id="37" name="Rectangle 36"/>
          <p:cNvSpPr/>
          <p:nvPr/>
        </p:nvSpPr>
        <p:spPr bwMode="auto">
          <a:xfrm>
            <a:off x="4303150" y="4685769"/>
            <a:ext cx="3287958" cy="6107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repared Data (Structured)</a:t>
            </a:r>
          </a:p>
        </p:txBody>
      </p:sp>
      <p:grpSp>
        <p:nvGrpSpPr>
          <p:cNvPr id="51" name="Group 50"/>
          <p:cNvGrpSpPr/>
          <p:nvPr/>
        </p:nvGrpSpPr>
        <p:grpSpPr>
          <a:xfrm>
            <a:off x="1023561" y="3951914"/>
            <a:ext cx="2659242" cy="1045829"/>
            <a:chOff x="1206332" y="3725862"/>
            <a:chExt cx="2712565" cy="1066800"/>
          </a:xfrm>
        </p:grpSpPr>
        <p:sp>
          <p:nvSpPr>
            <p:cNvPr id="2" name="Rectangle 1"/>
            <p:cNvSpPr/>
            <p:nvPr/>
          </p:nvSpPr>
          <p:spPr bwMode="auto">
            <a:xfrm>
              <a:off x="2494284" y="3725862"/>
              <a:ext cx="1424613" cy="1066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Raw Data</a:t>
              </a:r>
            </a:p>
          </p:txBody>
        </p:sp>
        <p:grpSp>
          <p:nvGrpSpPr>
            <p:cNvPr id="41" name="Group 40"/>
            <p:cNvGrpSpPr/>
            <p:nvPr/>
          </p:nvGrpSpPr>
          <p:grpSpPr>
            <a:xfrm>
              <a:off x="1206332" y="3785754"/>
              <a:ext cx="1283161" cy="677130"/>
              <a:chOff x="1206332" y="3785754"/>
              <a:chExt cx="1283161" cy="677130"/>
            </a:xfrm>
          </p:grpSpPr>
          <p:sp>
            <p:nvSpPr>
              <p:cNvPr id="39" name="Right Arrow 38"/>
              <p:cNvSpPr/>
              <p:nvPr/>
            </p:nvSpPr>
            <p:spPr bwMode="auto">
              <a:xfrm>
                <a:off x="1465594" y="4078179"/>
                <a:ext cx="904856" cy="384705"/>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40" name="Rectangle 39"/>
              <p:cNvSpPr/>
              <p:nvPr/>
            </p:nvSpPr>
            <p:spPr>
              <a:xfrm>
                <a:off x="1206332" y="3785754"/>
                <a:ext cx="1283161" cy="338554"/>
              </a:xfrm>
              <a:prstGeom prst="rect">
                <a:avLst/>
              </a:prstGeom>
            </p:spPr>
            <p:txBody>
              <a:bodyPr wrap="square">
                <a:spAutoFit/>
              </a:bodyPr>
              <a:lstStyle/>
              <a:p>
                <a:pPr algn="ctr" defTabSz="896328">
                  <a:defRPr/>
                </a:pPr>
                <a:r>
                  <a:rPr lang="en-US" sz="1568" kern="0" spc="-29" dirty="0">
                    <a:solidFill>
                      <a:sysClr val="windowText" lastClr="000000"/>
                    </a:solidFill>
                    <a:latin typeface="Segoe UI Semilight" panose="020B0402040204020203" pitchFamily="34" charset="0"/>
                    <a:ea typeface="MS PGothic" panose="020B0600070205080204" pitchFamily="34" charset="-128"/>
                    <a:cs typeface="Segoe UI Semilight" panose="020B0402040204020203" pitchFamily="34" charset="0"/>
                  </a:rPr>
                  <a:t>Bulk Load</a:t>
                </a:r>
                <a:endParaRPr lang="en-US" sz="1568" kern="0" dirty="0">
                  <a:solidFill>
                    <a:sysClr val="windowText" lastClr="000000"/>
                  </a:solidFill>
                  <a:latin typeface="Segoe UI"/>
                  <a:ea typeface="MS PGothic" panose="020B0600070205080204" pitchFamily="34" charset="-128"/>
                </a:endParaRPr>
              </a:p>
            </p:txBody>
          </p:sp>
        </p:grpSp>
      </p:grpSp>
      <p:sp>
        <p:nvSpPr>
          <p:cNvPr id="50" name="Left-Right Arrow 49"/>
          <p:cNvSpPr/>
          <p:nvPr/>
        </p:nvSpPr>
        <p:spPr bwMode="auto">
          <a:xfrm>
            <a:off x="1524275" y="5939899"/>
            <a:ext cx="9006696" cy="376930"/>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solidFill>
                  <a:srgbClr val="505050">
                    <a:lumMod val="75000"/>
                  </a:srgbClr>
                </a:solidFill>
                <a:latin typeface="Segoe UI"/>
              </a:rPr>
              <a:t>Azure Data Factory</a:t>
            </a:r>
          </a:p>
        </p:txBody>
      </p:sp>
      <p:grpSp>
        <p:nvGrpSpPr>
          <p:cNvPr id="122" name="Group 121"/>
          <p:cNvGrpSpPr/>
          <p:nvPr/>
        </p:nvGrpSpPr>
        <p:grpSpPr>
          <a:xfrm>
            <a:off x="2214763" y="2271118"/>
            <a:ext cx="5375278" cy="2278413"/>
            <a:chOff x="2259173" y="2316162"/>
            <a:chExt cx="5483064" cy="2324100"/>
          </a:xfrm>
        </p:grpSpPr>
        <p:sp>
          <p:nvSpPr>
            <p:cNvPr id="22" name="Rectangle 21"/>
            <p:cNvSpPr/>
            <p:nvPr/>
          </p:nvSpPr>
          <p:spPr bwMode="auto">
            <a:xfrm>
              <a:off x="4388349" y="4017232"/>
              <a:ext cx="3353888" cy="62303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568" kern="0" dirty="0">
                  <a:gradFill>
                    <a:gsLst>
                      <a:gs pos="5439">
                        <a:srgbClr val="F8F8F8"/>
                      </a:gs>
                      <a:gs pos="10000">
                        <a:srgbClr val="F8F8F8"/>
                      </a:gs>
                    </a:gsLst>
                    <a:lin ang="5400000" scaled="0"/>
                  </a:gradFill>
                  <a:latin typeface="Segoe UI"/>
                </a:rPr>
                <a:t>Prepared Data (Unstructured)</a:t>
              </a:r>
            </a:p>
          </p:txBody>
        </p:sp>
        <p:grpSp>
          <p:nvGrpSpPr>
            <p:cNvPr id="110" name="Group 109"/>
            <p:cNvGrpSpPr/>
            <p:nvPr/>
          </p:nvGrpSpPr>
          <p:grpSpPr>
            <a:xfrm>
              <a:off x="2259173" y="2316162"/>
              <a:ext cx="2421178" cy="1703239"/>
              <a:chOff x="2259173" y="2316162"/>
              <a:chExt cx="2421178" cy="1703239"/>
            </a:xfrm>
          </p:grpSpPr>
          <p:grpSp>
            <p:nvGrpSpPr>
              <p:cNvPr id="26" name="Group 25"/>
              <p:cNvGrpSpPr/>
              <p:nvPr/>
            </p:nvGrpSpPr>
            <p:grpSpPr>
              <a:xfrm>
                <a:off x="2259173" y="2316162"/>
                <a:ext cx="1424613" cy="1066800"/>
                <a:chOff x="4687973" y="1835261"/>
                <a:chExt cx="1424613" cy="1066800"/>
              </a:xfrm>
            </p:grpSpPr>
            <p:sp>
              <p:nvSpPr>
                <p:cNvPr id="29" name="Rectangle 28"/>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20" name="Picture 19"/>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09280" y="2001757"/>
                  <a:ext cx="469879" cy="469879"/>
                </a:xfrm>
                <a:prstGeom prst="rect">
                  <a:avLst/>
                </a:prstGeom>
              </p:spPr>
            </p:pic>
            <p:grpSp>
              <p:nvGrpSpPr>
                <p:cNvPr id="23" name="Group 22"/>
                <p:cNvGrpSpPr/>
                <p:nvPr/>
              </p:nvGrpSpPr>
              <p:grpSpPr>
                <a:xfrm>
                  <a:off x="5406033" y="2037850"/>
                  <a:ext cx="383886" cy="397693"/>
                  <a:chOff x="3503423" y="2196553"/>
                  <a:chExt cx="672180" cy="668881"/>
                </a:xfrm>
              </p:grpSpPr>
              <p:sp>
                <p:nvSpPr>
                  <p:cNvPr id="63"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64"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65" name="Rectangle 64"/>
                <p:cNvSpPr/>
                <p:nvPr/>
              </p:nvSpPr>
              <p:spPr>
                <a:xfrm>
                  <a:off x="4735345" y="2595545"/>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ata Preparation</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30" name="Up Arrow 29"/>
              <p:cNvSpPr/>
              <p:nvPr/>
            </p:nvSpPr>
            <p:spPr bwMode="auto">
              <a:xfrm>
                <a:off x="2791985" y="3382962"/>
                <a:ext cx="303621" cy="636439"/>
              </a:xfrm>
              <a:prstGeom prst="up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34" name="Bent-Up Arrow 33"/>
              <p:cNvSpPr/>
              <p:nvPr/>
            </p:nvSpPr>
            <p:spPr bwMode="auto">
              <a:xfrm flipV="1">
                <a:off x="3703637" y="2812952"/>
                <a:ext cx="976714" cy="1204278"/>
              </a:xfrm>
              <a:prstGeom prst="bentUpArrow">
                <a:avLst>
                  <a:gd name="adj1" fmla="val 14502"/>
                  <a:gd name="adj2" fmla="val 15077"/>
                  <a:gd name="adj3" fmla="val 2500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grpSp>
        <p:nvGrpSpPr>
          <p:cNvPr id="111" name="Group 110"/>
          <p:cNvGrpSpPr/>
          <p:nvPr/>
        </p:nvGrpSpPr>
        <p:grpSpPr>
          <a:xfrm>
            <a:off x="4826065" y="2271118"/>
            <a:ext cx="1472450" cy="1662032"/>
            <a:chOff x="4922837" y="2316162"/>
            <a:chExt cx="1501976" cy="1695359"/>
          </a:xfrm>
        </p:grpSpPr>
        <p:sp>
          <p:nvSpPr>
            <p:cNvPr id="46" name="Up-Down Arrow 45"/>
            <p:cNvSpPr/>
            <p:nvPr/>
          </p:nvSpPr>
          <p:spPr bwMode="auto">
            <a:xfrm>
              <a:off x="5487208" y="3373948"/>
              <a:ext cx="277460" cy="63757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74" name="Group 73"/>
            <p:cNvGrpSpPr/>
            <p:nvPr/>
          </p:nvGrpSpPr>
          <p:grpSpPr>
            <a:xfrm>
              <a:off x="4922837" y="2316162"/>
              <a:ext cx="1501976" cy="1066800"/>
              <a:chOff x="4687973" y="1835261"/>
              <a:chExt cx="1501976" cy="1066800"/>
            </a:xfrm>
          </p:grpSpPr>
          <p:sp>
            <p:nvSpPr>
              <p:cNvPr id="75" name="Rectangle 74"/>
              <p:cNvSpPr/>
              <p:nvPr/>
            </p:nvSpPr>
            <p:spPr bwMode="auto">
              <a:xfrm>
                <a:off x="4687973" y="1835261"/>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76" name="Picture 75"/>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09280" y="2001757"/>
                <a:ext cx="469879" cy="469879"/>
              </a:xfrm>
              <a:prstGeom prst="rect">
                <a:avLst/>
              </a:prstGeom>
            </p:spPr>
          </p:pic>
          <p:grpSp>
            <p:nvGrpSpPr>
              <p:cNvPr id="77" name="Group 76"/>
              <p:cNvGrpSpPr/>
              <p:nvPr/>
            </p:nvGrpSpPr>
            <p:grpSpPr>
              <a:xfrm>
                <a:off x="5406033" y="2037850"/>
                <a:ext cx="383886" cy="397693"/>
                <a:chOff x="3503423" y="2196553"/>
                <a:chExt cx="672180" cy="668881"/>
              </a:xfrm>
            </p:grpSpPr>
            <p:sp>
              <p:nvSpPr>
                <p:cNvPr id="79" name="Freeform 34"/>
                <p:cNvSpPr>
                  <a:spLocks/>
                </p:cNvSpPr>
                <p:nvPr/>
              </p:nvSpPr>
              <p:spPr bwMode="auto">
                <a:xfrm>
                  <a:off x="3736418" y="2363155"/>
                  <a:ext cx="205778" cy="341038"/>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sp>
              <p:nvSpPr>
                <p:cNvPr id="80" name="Freeform 35"/>
                <p:cNvSpPr>
                  <a:spLocks noEditPoints="1"/>
                </p:cNvSpPr>
                <p:nvPr/>
              </p:nvSpPr>
              <p:spPr bwMode="auto">
                <a:xfrm>
                  <a:off x="3503423" y="2196553"/>
                  <a:ext cx="672180" cy="668881"/>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ysClr val="windowText" lastClr="000000"/>
                    </a:solidFill>
                    <a:latin typeface="Segoe UI"/>
                  </a:endParaRPr>
                </a:p>
              </p:txBody>
            </p:sp>
          </p:grpSp>
          <p:sp>
            <p:nvSpPr>
              <p:cNvPr id="78" name="Rectangle 77"/>
              <p:cNvSpPr/>
              <p:nvPr/>
            </p:nvSpPr>
            <p:spPr>
              <a:xfrm>
                <a:off x="4860082" y="2595929"/>
                <a:ext cx="1329867"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Batch Analytic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grpSp>
        <p:nvGrpSpPr>
          <p:cNvPr id="101" name="Group 100"/>
          <p:cNvGrpSpPr/>
          <p:nvPr/>
        </p:nvGrpSpPr>
        <p:grpSpPr>
          <a:xfrm>
            <a:off x="6618915" y="1038745"/>
            <a:ext cx="3772865" cy="719641"/>
            <a:chOff x="7080940" y="1059077"/>
            <a:chExt cx="3848519" cy="734071"/>
          </a:xfrm>
        </p:grpSpPr>
        <p:grpSp>
          <p:nvGrpSpPr>
            <p:cNvPr id="66" name="Group 65"/>
            <p:cNvGrpSpPr/>
            <p:nvPr/>
          </p:nvGrpSpPr>
          <p:grpSpPr>
            <a:xfrm>
              <a:off x="7080940" y="1059077"/>
              <a:ext cx="3848519" cy="734071"/>
              <a:chOff x="4687973" y="1835261"/>
              <a:chExt cx="2720426" cy="734071"/>
            </a:xfrm>
          </p:grpSpPr>
          <p:sp>
            <p:nvSpPr>
              <p:cNvPr id="67" name="Rectangle 66"/>
              <p:cNvSpPr/>
              <p:nvPr/>
            </p:nvSpPr>
            <p:spPr bwMode="auto">
              <a:xfrm>
                <a:off x="4687973" y="1835261"/>
                <a:ext cx="2720426" cy="723657"/>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70" name="Rectangle 69"/>
              <p:cNvSpPr/>
              <p:nvPr/>
            </p:nvSpPr>
            <p:spPr>
              <a:xfrm>
                <a:off x="5523747" y="2292461"/>
                <a:ext cx="1670008"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teractive Analytics</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grpSp>
          <p:nvGrpSpPr>
            <p:cNvPr id="90" name="Group 89"/>
            <p:cNvGrpSpPr/>
            <p:nvPr/>
          </p:nvGrpSpPr>
          <p:grpSpPr>
            <a:xfrm>
              <a:off x="7776794" y="1162991"/>
              <a:ext cx="1089666" cy="276871"/>
              <a:chOff x="10335701" y="395090"/>
              <a:chExt cx="1089666" cy="276871"/>
            </a:xfrm>
          </p:grpSpPr>
          <p:grpSp>
            <p:nvGrpSpPr>
              <p:cNvPr id="91" name="Group 90"/>
              <p:cNvGrpSpPr/>
              <p:nvPr/>
            </p:nvGrpSpPr>
            <p:grpSpPr>
              <a:xfrm>
                <a:off x="10335701" y="408158"/>
                <a:ext cx="399053" cy="255055"/>
                <a:chOff x="4481847" y="2708926"/>
                <a:chExt cx="673103" cy="430214"/>
              </a:xfrm>
              <a:solidFill>
                <a:schemeClr val="bg1"/>
              </a:solidFill>
            </p:grpSpPr>
            <p:sp>
              <p:nvSpPr>
                <p:cNvPr id="93"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4"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5"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6"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sp>
              <p:nvSpPr>
                <p:cNvPr id="97"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896328">
                    <a:defRPr/>
                  </a:pPr>
                  <a:endParaRPr lang="en-US" sz="1766" kern="0">
                    <a:solidFill>
                      <a:srgbClr val="FFFFFF"/>
                    </a:solidFill>
                    <a:latin typeface="Segoe UI"/>
                    <a:ea typeface="MS PGothic" panose="020B0600070205080204" pitchFamily="34" charset="-128"/>
                  </a:endParaRPr>
                </a:p>
              </p:txBody>
            </p:sp>
          </p:grpSp>
          <p:sp>
            <p:nvSpPr>
              <p:cNvPr id="92" name="Rectangle 91"/>
              <p:cNvSpPr/>
              <p:nvPr/>
            </p:nvSpPr>
            <p:spPr>
              <a:xfrm>
                <a:off x="10692794" y="395090"/>
                <a:ext cx="732573"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Power BI</a:t>
                </a:r>
              </a:p>
            </p:txBody>
          </p:sp>
        </p:grpSp>
        <p:grpSp>
          <p:nvGrpSpPr>
            <p:cNvPr id="54" name="Group 53"/>
            <p:cNvGrpSpPr/>
            <p:nvPr/>
          </p:nvGrpSpPr>
          <p:grpSpPr>
            <a:xfrm>
              <a:off x="9674420" y="1135062"/>
              <a:ext cx="1219399" cy="334357"/>
              <a:chOff x="7395042" y="2409361"/>
              <a:chExt cx="1219399" cy="334357"/>
            </a:xfrm>
          </p:grpSpPr>
          <p:pic>
            <p:nvPicPr>
              <p:cNvPr id="1028" name="Picture 4" descr="http://blog.jupyter.org/content/images/2015/02/jupyter-sq-text.png"/>
              <p:cNvPicPr>
                <a:picLocks noChangeAspect="1" noChangeArrowheads="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7395042" y="2409361"/>
                <a:ext cx="334357" cy="334357"/>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a:xfrm>
                <a:off x="7738239" y="2420739"/>
                <a:ext cx="876202" cy="276871"/>
              </a:xfrm>
              <a:prstGeom prst="rect">
                <a:avLst/>
              </a:prstGeom>
            </p:spPr>
            <p:txBody>
              <a:bodyPr wrap="non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Notebooks</a:t>
                </a:r>
              </a:p>
            </p:txBody>
          </p:sp>
        </p:grpSp>
      </p:grpSp>
      <p:grpSp>
        <p:nvGrpSpPr>
          <p:cNvPr id="116" name="Group 115"/>
          <p:cNvGrpSpPr/>
          <p:nvPr/>
        </p:nvGrpSpPr>
        <p:grpSpPr>
          <a:xfrm>
            <a:off x="6618915" y="1748177"/>
            <a:ext cx="1475294" cy="2170723"/>
            <a:chOff x="6751637" y="1782734"/>
            <a:chExt cx="1504877" cy="2214251"/>
          </a:xfrm>
        </p:grpSpPr>
        <p:grpSp>
          <p:nvGrpSpPr>
            <p:cNvPr id="100" name="Group 99"/>
            <p:cNvGrpSpPr/>
            <p:nvPr/>
          </p:nvGrpSpPr>
          <p:grpSpPr>
            <a:xfrm>
              <a:off x="6751637" y="2316162"/>
              <a:ext cx="1504877" cy="1066800"/>
              <a:chOff x="7075560" y="2308539"/>
              <a:chExt cx="1504877" cy="1066800"/>
            </a:xfrm>
          </p:grpSpPr>
          <p:sp>
            <p:nvSpPr>
              <p:cNvPr id="103" name="Rectangle 102"/>
              <p:cNvSpPr/>
              <p:nvPr/>
            </p:nvSpPr>
            <p:spPr bwMode="auto">
              <a:xfrm>
                <a:off x="7075560" y="2308539"/>
                <a:ext cx="1424613" cy="10668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pic>
            <p:nvPicPr>
              <p:cNvPr id="104" name="Picture 103"/>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7196158" y="2475035"/>
                <a:ext cx="469879" cy="469879"/>
              </a:xfrm>
              <a:prstGeom prst="rect">
                <a:avLst/>
              </a:prstGeom>
            </p:spPr>
          </p:pic>
          <p:sp>
            <p:nvSpPr>
              <p:cNvPr id="106" name="Rectangle 105"/>
              <p:cNvSpPr/>
              <p:nvPr/>
            </p:nvSpPr>
            <p:spPr>
              <a:xfrm>
                <a:off x="7122932" y="3068823"/>
                <a:ext cx="1457505" cy="276871"/>
              </a:xfrm>
              <a:prstGeom prst="rect">
                <a:avLst/>
              </a:prstGeom>
            </p:spPr>
            <p:txBody>
              <a:bodyPr wrap="square">
                <a:spAutoFit/>
              </a:bodyPr>
              <a:lstStyle/>
              <a:p>
                <a:pP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Spark on HDInsight</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pic>
            <p:nvPicPr>
              <p:cNvPr id="109" name="Picture 8" descr="https://zeppelin.incubator.apache.org/assets/themes/zeppelin/img/spark_logo.jpg"/>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7801030" y="2392990"/>
                <a:ext cx="597163" cy="597163"/>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Up-Down Arrow 111"/>
            <p:cNvSpPr/>
            <p:nvPr/>
          </p:nvSpPr>
          <p:spPr bwMode="auto">
            <a:xfrm>
              <a:off x="7143472" y="3373948"/>
              <a:ext cx="277460" cy="623037"/>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sp>
          <p:nvSpPr>
            <p:cNvPr id="113" name="Up-Down Arrow 112"/>
            <p:cNvSpPr/>
            <p:nvPr/>
          </p:nvSpPr>
          <p:spPr bwMode="auto">
            <a:xfrm>
              <a:off x="7143472" y="1782734"/>
              <a:ext cx="277460" cy="514220"/>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grpSp>
        <p:nvGrpSpPr>
          <p:cNvPr id="117" name="Group 116"/>
          <p:cNvGrpSpPr/>
          <p:nvPr/>
        </p:nvGrpSpPr>
        <p:grpSpPr>
          <a:xfrm>
            <a:off x="7995936" y="3503701"/>
            <a:ext cx="2083505" cy="1093586"/>
            <a:chOff x="8156270" y="3573460"/>
            <a:chExt cx="2125284" cy="1115515"/>
          </a:xfrm>
        </p:grpSpPr>
        <p:grpSp>
          <p:nvGrpSpPr>
            <p:cNvPr id="60" name="Group 59"/>
            <p:cNvGrpSpPr/>
            <p:nvPr/>
          </p:nvGrpSpPr>
          <p:grpSpPr>
            <a:xfrm>
              <a:off x="8917817" y="3573460"/>
              <a:ext cx="1363737" cy="1115515"/>
              <a:chOff x="9185334" y="3775291"/>
              <a:chExt cx="2007135" cy="1567903"/>
            </a:xfrm>
          </p:grpSpPr>
          <p:grpSp>
            <p:nvGrpSpPr>
              <p:cNvPr id="58" name="Group 57"/>
              <p:cNvGrpSpPr/>
              <p:nvPr/>
            </p:nvGrpSpPr>
            <p:grpSpPr>
              <a:xfrm>
                <a:off x="9185334" y="3775291"/>
                <a:ext cx="2007135" cy="1567903"/>
                <a:chOff x="9185334" y="3775291"/>
                <a:chExt cx="2007135" cy="1567903"/>
              </a:xfrm>
            </p:grpSpPr>
            <p:sp>
              <p:nvSpPr>
                <p:cNvPr id="33" name="Rectangle 32"/>
                <p:cNvSpPr/>
                <p:nvPr/>
              </p:nvSpPr>
              <p:spPr bwMode="auto">
                <a:xfrm>
                  <a:off x="9185334" y="3775291"/>
                  <a:ext cx="2007135" cy="1567903"/>
                </a:xfrm>
                <a:prstGeom prst="rect">
                  <a:avLst/>
                </a:prstGeom>
                <a:solidFill>
                  <a:schemeClr val="accent1">
                    <a:lumMod val="7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9" tIns="44808" rIns="17919" bIns="89592" numCol="1" spcCol="1270" anchor="t" anchorCtr="0">
                  <a:noAutofit/>
                </a:bodyPr>
                <a:lstStyle/>
                <a:p>
                  <a:pPr algn="ctr" defTabSz="710682">
                    <a:spcBef>
                      <a:spcPct val="0"/>
                    </a:spcBef>
                    <a:spcAft>
                      <a:spcPct val="35000"/>
                    </a:spcAft>
                    <a:defRPr/>
                  </a:pP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2" name="Picture 31"/>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9664601" y="3983189"/>
                  <a:ext cx="780290" cy="780290"/>
                </a:xfrm>
                <a:prstGeom prst="rect">
                  <a:avLst/>
                </a:prstGeom>
              </p:spPr>
            </p:pic>
          </p:grpSp>
          <p:sp>
            <p:nvSpPr>
              <p:cNvPr id="35" name="Rectangle 34"/>
              <p:cNvSpPr/>
              <p:nvPr/>
            </p:nvSpPr>
            <p:spPr>
              <a:xfrm>
                <a:off x="9313945" y="4899712"/>
                <a:ext cx="1660316" cy="391625"/>
              </a:xfrm>
              <a:prstGeom prst="rect">
                <a:avLst/>
              </a:prstGeom>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SQL DW</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sp>
          <p:nvSpPr>
            <p:cNvPr id="114" name="Right Arrow 113"/>
            <p:cNvSpPr/>
            <p:nvPr/>
          </p:nvSpPr>
          <p:spPr bwMode="auto">
            <a:xfrm>
              <a:off x="8156270" y="4030662"/>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sp>
        <p:nvSpPr>
          <p:cNvPr id="115" name="Up-Down Arrow 114"/>
          <p:cNvSpPr/>
          <p:nvPr/>
        </p:nvSpPr>
        <p:spPr bwMode="auto">
          <a:xfrm>
            <a:off x="9245133" y="1732277"/>
            <a:ext cx="272006" cy="1771423"/>
          </a:xfrm>
          <a:prstGeom prst="upDownArrow">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21" name="Group 120"/>
          <p:cNvGrpSpPr/>
          <p:nvPr/>
        </p:nvGrpSpPr>
        <p:grpSpPr>
          <a:xfrm>
            <a:off x="7995935" y="4758084"/>
            <a:ext cx="2302145" cy="1045829"/>
            <a:chOff x="8156270" y="4852997"/>
            <a:chExt cx="2348308" cy="1066800"/>
          </a:xfrm>
        </p:grpSpPr>
        <p:sp>
          <p:nvSpPr>
            <p:cNvPr id="120" name="Right Arrow 119"/>
            <p:cNvSpPr/>
            <p:nvPr/>
          </p:nvSpPr>
          <p:spPr bwMode="auto">
            <a:xfrm>
              <a:off x="8156270" y="5189831"/>
              <a:ext cx="761545" cy="334066"/>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nvGrpSpPr>
            <p:cNvPr id="119" name="Group 118"/>
            <p:cNvGrpSpPr/>
            <p:nvPr/>
          </p:nvGrpSpPr>
          <p:grpSpPr>
            <a:xfrm>
              <a:off x="8844261" y="4852997"/>
              <a:ext cx="1660317" cy="1066800"/>
              <a:chOff x="8844261" y="4852997"/>
              <a:chExt cx="1660317" cy="1066800"/>
            </a:xfrm>
          </p:grpSpPr>
          <p:grpSp>
            <p:nvGrpSpPr>
              <p:cNvPr id="19" name="Group 18"/>
              <p:cNvGrpSpPr/>
              <p:nvPr/>
            </p:nvGrpSpPr>
            <p:grpSpPr>
              <a:xfrm>
                <a:off x="8844261" y="4852997"/>
                <a:ext cx="1660317" cy="1066800"/>
                <a:chOff x="4302012" y="1540624"/>
                <a:chExt cx="1660317" cy="1066800"/>
              </a:xfrm>
            </p:grpSpPr>
            <p:sp>
              <p:nvSpPr>
                <p:cNvPr id="38" name="Rectangle 37"/>
                <p:cNvSpPr/>
                <p:nvPr/>
              </p:nvSpPr>
              <p:spPr bwMode="auto">
                <a:xfrm>
                  <a:off x="4375567" y="1540624"/>
                  <a:ext cx="1424613" cy="1066800"/>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568" kern="0" dirty="0">
                    <a:gradFill>
                      <a:gsLst>
                        <a:gs pos="5439">
                          <a:srgbClr val="F8F8F8"/>
                        </a:gs>
                        <a:gs pos="10000">
                          <a:srgbClr val="F8F8F8"/>
                        </a:gs>
                      </a:gsLst>
                      <a:lin ang="5400000" scaled="0"/>
                    </a:gradFill>
                    <a:latin typeface="Segoe UI"/>
                  </a:endParaRPr>
                </a:p>
              </p:txBody>
            </p:sp>
            <p:sp>
              <p:nvSpPr>
                <p:cNvPr id="27" name="Rectangle 26"/>
                <p:cNvSpPr/>
                <p:nvPr/>
              </p:nvSpPr>
              <p:spPr>
                <a:xfrm>
                  <a:off x="4302012" y="2321358"/>
                  <a:ext cx="1660317" cy="276871"/>
                </a:xfrm>
                <a:prstGeom prst="rect">
                  <a:avLst/>
                </a:prstGeom>
                <a:noFill/>
              </p:spPr>
              <p:txBody>
                <a:bodyPr wrap="square">
                  <a:spAutoFit/>
                </a:bodyPr>
                <a:lstStyle/>
                <a:p>
                  <a:pPr algn="ctr" defTabSz="896328">
                    <a:defRPr/>
                  </a:pPr>
                  <a:r>
                    <a:rPr lang="en-US" sz="1175"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Catalog</a:t>
                  </a:r>
                  <a:endParaRPr lang="en-US" sz="1175" kern="0" dirty="0">
                    <a:gradFill>
                      <a:gsLst>
                        <a:gs pos="0">
                          <a:srgbClr val="FFFFFF"/>
                        </a:gs>
                        <a:gs pos="100000">
                          <a:srgbClr val="FFFFFF"/>
                        </a:gs>
                      </a:gsLst>
                      <a:lin ang="5400000" scaled="0"/>
                    </a:gradFill>
                    <a:latin typeface="Segoe UI"/>
                    <a:ea typeface="MS PGothic" panose="020B0600070205080204" pitchFamily="34" charset="-128"/>
                  </a:endParaRPr>
                </a:p>
              </p:txBody>
            </p:sp>
          </p:grpSp>
          <p:pic>
            <p:nvPicPr>
              <p:cNvPr id="118" name="Picture 117"/>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9339853" y="5011753"/>
                <a:ext cx="519663" cy="519663"/>
              </a:xfrm>
              <a:prstGeom prst="rect">
                <a:avLst/>
              </a:prstGeom>
            </p:spPr>
          </p:pic>
        </p:grpSp>
      </p:grpSp>
    </p:spTree>
    <p:extLst>
      <p:ext uri="{BB962C8B-B14F-4D97-AF65-F5344CB8AC3E}">
        <p14:creationId xmlns:p14="http://schemas.microsoft.com/office/powerpoint/2010/main" val="357525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1"/>
                                        </p:tgtEl>
                                        <p:attrNameLst>
                                          <p:attrName>style.visibility</p:attrName>
                                        </p:attrNameLst>
                                      </p:cBhvr>
                                      <p:to>
                                        <p:strVal val="visible"/>
                                      </p:to>
                                    </p:set>
                                    <p:animEffect transition="in" filter="fade">
                                      <p:cBhvr>
                                        <p:cTn id="22" dur="500"/>
                                        <p:tgtEl>
                                          <p:spTgt spid="1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1"/>
                                        </p:tgtEl>
                                        <p:attrNameLst>
                                          <p:attrName>style.visibility</p:attrName>
                                        </p:attrNameLst>
                                      </p:cBhvr>
                                      <p:to>
                                        <p:strVal val="visible"/>
                                      </p:to>
                                    </p:set>
                                    <p:animEffect transition="in" filter="fade">
                                      <p:cBhvr>
                                        <p:cTn id="27" dur="500"/>
                                        <p:tgtEl>
                                          <p:spTgt spid="10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7"/>
                                        </p:tgtEl>
                                        <p:attrNameLst>
                                          <p:attrName>style.visibility</p:attrName>
                                        </p:attrNameLst>
                                      </p:cBhvr>
                                      <p:to>
                                        <p:strVal val="visible"/>
                                      </p:to>
                                    </p:set>
                                    <p:animEffect transition="in" filter="fade">
                                      <p:cBhvr>
                                        <p:cTn id="37" dur="500"/>
                                        <p:tgtEl>
                                          <p:spTgt spid="11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fade">
                                      <p:cBhvr>
                                        <p:cTn id="42" dur="500"/>
                                        <p:tgtEl>
                                          <p:spTgt spid="1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1"/>
                                        </p:tgtEl>
                                        <p:attrNameLst>
                                          <p:attrName>style.visibility</p:attrName>
                                        </p:attrNameLst>
                                      </p:cBhvr>
                                      <p:to>
                                        <p:strVal val="visible"/>
                                      </p:to>
                                    </p:set>
                                    <p:animEffect transition="in" filter="fade">
                                      <p:cBhvr>
                                        <p:cTn id="47" dur="500"/>
                                        <p:tgtEl>
                                          <p:spTgt spid="12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50" grpId="0" animBg="1"/>
      <p:bldP spid="1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6198320" y="1269761"/>
            <a:ext cx="1769043" cy="5073762"/>
            <a:chOff x="6322624" y="1294414"/>
            <a:chExt cx="1804772" cy="5176236"/>
          </a:xfrm>
          <a:solidFill>
            <a:srgbClr val="EAEAEA"/>
          </a:solidFill>
        </p:grpSpPr>
        <p:sp>
          <p:nvSpPr>
            <p:cNvPr id="143" name="Rectangle 142"/>
            <p:cNvSpPr/>
            <p:nvPr/>
          </p:nvSpPr>
          <p:spPr bwMode="auto">
            <a:xfrm>
              <a:off x="6326028"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22624"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Transformation</a:t>
              </a:r>
            </a:p>
          </p:txBody>
        </p:sp>
      </p:grpSp>
      <p:grpSp>
        <p:nvGrpSpPr>
          <p:cNvPr id="237" name="Group 236"/>
          <p:cNvGrpSpPr/>
          <p:nvPr/>
        </p:nvGrpSpPr>
        <p:grpSpPr>
          <a:xfrm>
            <a:off x="2368017" y="1269761"/>
            <a:ext cx="1769043" cy="5073762"/>
            <a:chOff x="2414961" y="1294414"/>
            <a:chExt cx="1804772" cy="5176236"/>
          </a:xfrm>
          <a:solidFill>
            <a:srgbClr val="EAEAEA"/>
          </a:solidFill>
        </p:grpSpPr>
        <p:sp>
          <p:nvSpPr>
            <p:cNvPr id="141" name="Rectangle 140"/>
            <p:cNvSpPr/>
            <p:nvPr/>
          </p:nvSpPr>
          <p:spPr bwMode="auto">
            <a:xfrm>
              <a:off x="2418365"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414961"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Collection</a:t>
              </a:r>
            </a:p>
          </p:txBody>
        </p:sp>
      </p:grpSp>
      <p:grpSp>
        <p:nvGrpSpPr>
          <p:cNvPr id="241" name="Group 240"/>
          <p:cNvGrpSpPr/>
          <p:nvPr/>
        </p:nvGrpSpPr>
        <p:grpSpPr>
          <a:xfrm>
            <a:off x="9978093" y="1269762"/>
            <a:ext cx="1769043" cy="5072517"/>
            <a:chOff x="10178736" y="1294414"/>
            <a:chExt cx="1804772" cy="5174966"/>
          </a:xfrm>
        </p:grpSpPr>
        <p:sp>
          <p:nvSpPr>
            <p:cNvPr id="145" name="Rectangle 144"/>
            <p:cNvSpPr/>
            <p:nvPr/>
          </p:nvSpPr>
          <p:spPr bwMode="auto">
            <a:xfrm>
              <a:off x="10182140" y="2019176"/>
              <a:ext cx="1801368" cy="44502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10178736" y="1294414"/>
              <a:ext cx="1804772" cy="7313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Presentation and action</a:t>
              </a:r>
            </a:p>
          </p:txBody>
        </p:sp>
      </p:grpSp>
      <p:grpSp>
        <p:nvGrpSpPr>
          <p:cNvPr id="238" name="Group 237"/>
          <p:cNvGrpSpPr/>
          <p:nvPr/>
        </p:nvGrpSpPr>
        <p:grpSpPr>
          <a:xfrm>
            <a:off x="4279317" y="1295250"/>
            <a:ext cx="1769043" cy="5073762"/>
            <a:chOff x="4363096" y="1294414"/>
            <a:chExt cx="1804772" cy="5176236"/>
          </a:xfrm>
          <a:solidFill>
            <a:srgbClr val="EAEAEA"/>
          </a:solidFill>
        </p:grpSpPr>
        <p:sp>
          <p:nvSpPr>
            <p:cNvPr id="142" name="Rectangle 141"/>
            <p:cNvSpPr/>
            <p:nvPr/>
          </p:nvSpPr>
          <p:spPr bwMode="auto">
            <a:xfrm>
              <a:off x="4366500" y="202044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363096"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Queuing System</a:t>
              </a:r>
            </a:p>
          </p:txBody>
        </p:sp>
      </p:grpSp>
      <p:grpSp>
        <p:nvGrpSpPr>
          <p:cNvPr id="240" name="Group 239"/>
          <p:cNvGrpSpPr/>
          <p:nvPr/>
        </p:nvGrpSpPr>
        <p:grpSpPr>
          <a:xfrm>
            <a:off x="8096721" y="1269762"/>
            <a:ext cx="1769043" cy="5072517"/>
            <a:chOff x="8259366" y="1294414"/>
            <a:chExt cx="1804772" cy="5174966"/>
          </a:xfrm>
          <a:solidFill>
            <a:srgbClr val="EAEAEA"/>
          </a:solidFill>
        </p:grpSpPr>
        <p:sp>
          <p:nvSpPr>
            <p:cNvPr id="144" name="Rectangle 143"/>
            <p:cNvSpPr/>
            <p:nvPr/>
          </p:nvSpPr>
          <p:spPr bwMode="auto">
            <a:xfrm>
              <a:off x="8262770" y="2019176"/>
              <a:ext cx="1801368"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259366" y="1294414"/>
              <a:ext cx="1804772" cy="731312"/>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Data Storage</a:t>
              </a:r>
            </a:p>
          </p:txBody>
        </p:sp>
      </p:grpSp>
      <p:sp>
        <p:nvSpPr>
          <p:cNvPr id="4" name="Title 3"/>
          <p:cNvSpPr>
            <a:spLocks noGrp="1"/>
          </p:cNvSpPr>
          <p:nvPr>
            <p:ph type="title" idx="4294967295"/>
          </p:nvPr>
        </p:nvSpPr>
        <p:spPr>
          <a:xfrm>
            <a:off x="536923" y="289958"/>
            <a:ext cx="11655078" cy="899537"/>
          </a:xfrm>
        </p:spPr>
        <p:txBody>
          <a:bodyPr/>
          <a:lstStyle/>
          <a:p>
            <a:r>
              <a:rPr lang="en-US" b="1" dirty="0"/>
              <a:t>Big Data Lambda Architecture</a:t>
            </a:r>
          </a:p>
        </p:txBody>
      </p:sp>
      <p:sp>
        <p:nvSpPr>
          <p:cNvPr id="18" name="Slide Number Placeholder 17"/>
          <p:cNvSpPr>
            <a:spLocks noGrp="1"/>
          </p:cNvSpPr>
          <p:nvPr>
            <p:ph type="sldNum" sz="quarter" idx="4294967295"/>
          </p:nvPr>
        </p:nvSpPr>
        <p:spPr/>
        <p:txBody>
          <a:bodyPr/>
          <a:lstStyle/>
          <a:p>
            <a:pPr algn="r" defTabSz="913330" fontAlgn="base">
              <a:spcBef>
                <a:spcPct val="0"/>
              </a:spcBef>
              <a:spcAft>
                <a:spcPct val="0"/>
              </a:spcAft>
              <a:defRPr/>
            </a:pPr>
            <a:fld id="{F8A0AC42-AA1D-4944-8D96-660DE70C7E1B}" type="slidenum">
              <a:rPr lang="en-IN" sz="882">
                <a:solidFill>
                  <a:srgbClr val="000000"/>
                </a:solidFill>
                <a:latin typeface="Segoe UI"/>
              </a:rPr>
              <a:pPr algn="r" defTabSz="913330" fontAlgn="base">
                <a:spcBef>
                  <a:spcPct val="0"/>
                </a:spcBef>
                <a:spcAft>
                  <a:spcPct val="0"/>
                </a:spcAft>
                <a:defRPr/>
              </a:pPr>
              <a:t>14</a:t>
            </a:fld>
            <a:endParaRPr lang="en-IN" sz="882" dirty="0">
              <a:solidFill>
                <a:srgbClr val="000000"/>
              </a:solidFill>
              <a:latin typeface="Segoe UI"/>
            </a:endParaRPr>
          </a:p>
        </p:txBody>
      </p:sp>
      <p:grpSp>
        <p:nvGrpSpPr>
          <p:cNvPr id="233" name="Group 232"/>
          <p:cNvGrpSpPr/>
          <p:nvPr/>
        </p:nvGrpSpPr>
        <p:grpSpPr>
          <a:xfrm>
            <a:off x="10172263" y="2194475"/>
            <a:ext cx="1458733" cy="3998686"/>
            <a:chOff x="10376825" y="2237803"/>
            <a:chExt cx="1488195" cy="4079447"/>
          </a:xfrm>
          <a:solidFill>
            <a:schemeClr val="tx1"/>
          </a:solidFill>
        </p:grpSpPr>
        <p:grpSp>
          <p:nvGrpSpPr>
            <p:cNvPr id="23" name="Group 22"/>
            <p:cNvGrpSpPr/>
            <p:nvPr/>
          </p:nvGrpSpPr>
          <p:grpSpPr>
            <a:xfrm>
              <a:off x="10488761" y="3365781"/>
              <a:ext cx="1257816" cy="664789"/>
              <a:chOff x="10572234" y="3133565"/>
              <a:chExt cx="1257816" cy="664789"/>
            </a:xfrm>
            <a:grpFill/>
          </p:grpSpPr>
          <p:sp>
            <p:nvSpPr>
              <p:cNvPr id="209" name="Freeform 8"/>
              <p:cNvSpPr>
                <a:spLocks noChangeAspect="1" noEditPoints="1"/>
              </p:cNvSpPr>
              <p:nvPr/>
            </p:nvSpPr>
            <p:spPr bwMode="black">
              <a:xfrm>
                <a:off x="11011316" y="3133565"/>
                <a:ext cx="379652" cy="37955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grpFill/>
              <a:ln>
                <a:noFill/>
              </a:ln>
            </p:spPr>
            <p:txBody>
              <a:bodyPr vert="horz" wrap="square" lIns="80653" tIns="40326" rIns="80653" bIns="40326" numCol="1" anchor="t" anchorCtr="0" compatLnSpc="1">
                <a:prstTxWarp prst="textNoShape">
                  <a:avLst/>
                </a:prstTxWarp>
              </a:bodyPr>
              <a:lstStyle/>
              <a:p>
                <a:pPr defTabSz="914192">
                  <a:defRPr/>
                </a:pPr>
                <a:endParaRPr lang="en-US" sz="1567" dirty="0">
                  <a:solidFill>
                    <a:srgbClr val="000000"/>
                  </a:solidFill>
                  <a:latin typeface="Segoe UI"/>
                </a:endParaRPr>
              </a:p>
            </p:txBody>
          </p:sp>
          <p:sp>
            <p:nvSpPr>
              <p:cNvPr id="210" name="TextBox 209"/>
              <p:cNvSpPr txBox="1"/>
              <p:nvPr/>
            </p:nvSpPr>
            <p:spPr>
              <a:xfrm>
                <a:off x="10572234" y="3613790"/>
                <a:ext cx="1257816" cy="18456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914192">
                  <a:lnSpc>
                    <a:spcPct val="100000"/>
                  </a:lnSpc>
                  <a:defRPr/>
                </a:pPr>
                <a:r>
                  <a:rPr lang="en-US" sz="1175" dirty="0">
                    <a:solidFill>
                      <a:srgbClr val="FFFF00"/>
                    </a:solidFill>
                    <a:latin typeface="Segoe UI"/>
                  </a:rPr>
                  <a:t>Azure Search</a:t>
                </a:r>
              </a:p>
            </p:txBody>
          </p:sp>
        </p:grpSp>
        <p:grpSp>
          <p:nvGrpSpPr>
            <p:cNvPr id="25" name="Group 24"/>
            <p:cNvGrpSpPr/>
            <p:nvPr/>
          </p:nvGrpSpPr>
          <p:grpSpPr>
            <a:xfrm>
              <a:off x="10409768" y="4211237"/>
              <a:ext cx="1406373" cy="1065292"/>
              <a:chOff x="10452140" y="4154952"/>
              <a:chExt cx="1406373" cy="1065292"/>
            </a:xfrm>
            <a:grpFill/>
          </p:grpSpPr>
          <p:sp>
            <p:nvSpPr>
              <p:cNvPr id="211" name="Freeform 32"/>
              <p:cNvSpPr>
                <a:spLocks noEditPoints="1"/>
              </p:cNvSpPr>
              <p:nvPr/>
            </p:nvSpPr>
            <p:spPr bwMode="auto">
              <a:xfrm>
                <a:off x="10924197" y="4154952"/>
                <a:ext cx="462258" cy="439992"/>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grp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12" name="TextBox 211"/>
              <p:cNvSpPr txBox="1"/>
              <p:nvPr/>
            </p:nvSpPr>
            <p:spPr>
              <a:xfrm>
                <a:off x="10452140" y="4666552"/>
                <a:ext cx="1406373" cy="55369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Data analytics (Excel, Power BI, Looker, Tableau)</a:t>
                </a:r>
              </a:p>
            </p:txBody>
          </p:sp>
        </p:grpSp>
        <p:grpSp>
          <p:nvGrpSpPr>
            <p:cNvPr id="22" name="Group 21"/>
            <p:cNvGrpSpPr/>
            <p:nvPr/>
          </p:nvGrpSpPr>
          <p:grpSpPr>
            <a:xfrm>
              <a:off x="10547224" y="2237803"/>
              <a:ext cx="1140890" cy="797826"/>
              <a:chOff x="10576605" y="2128300"/>
              <a:chExt cx="1140890" cy="797826"/>
            </a:xfrm>
            <a:grpFill/>
          </p:grpSpPr>
          <p:sp>
            <p:nvSpPr>
              <p:cNvPr id="213" name="Freeform 27"/>
              <p:cNvSpPr>
                <a:spLocks noChangeAspect="1" noEditPoints="1"/>
              </p:cNvSpPr>
              <p:nvPr/>
            </p:nvSpPr>
            <p:spPr bwMode="black">
              <a:xfrm>
                <a:off x="10866947" y="2128300"/>
                <a:ext cx="560206" cy="36087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grpFill/>
              <a:extLst/>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14" name="TextBox 213"/>
              <p:cNvSpPr txBox="1"/>
              <p:nvPr/>
            </p:nvSpPr>
            <p:spPr>
              <a:xfrm>
                <a:off x="10576605" y="2557185"/>
                <a:ext cx="1140890" cy="368941"/>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Web/thick client </a:t>
                </a:r>
                <a:br>
                  <a:rPr lang="en-US" sz="1175" dirty="0">
                    <a:solidFill>
                      <a:srgbClr val="FFFF00"/>
                    </a:solidFill>
                    <a:latin typeface="Segoe UI"/>
                  </a:rPr>
                </a:br>
                <a:r>
                  <a:rPr lang="en-US" sz="1175" dirty="0">
                    <a:solidFill>
                      <a:srgbClr val="FFFF00"/>
                    </a:solidFill>
                    <a:latin typeface="Segoe UI"/>
                  </a:rPr>
                  <a:t>dashboards</a:t>
                </a:r>
              </a:p>
            </p:txBody>
          </p:sp>
        </p:grpSp>
        <p:grpSp>
          <p:nvGrpSpPr>
            <p:cNvPr id="31" name="Group 30"/>
            <p:cNvGrpSpPr/>
            <p:nvPr/>
          </p:nvGrpSpPr>
          <p:grpSpPr>
            <a:xfrm>
              <a:off x="10376825" y="5423405"/>
              <a:ext cx="1488195" cy="893845"/>
              <a:chOff x="10376825" y="5423405"/>
              <a:chExt cx="1488195" cy="893845"/>
            </a:xfrm>
            <a:grpFill/>
          </p:grpSpPr>
          <p:sp>
            <p:nvSpPr>
              <p:cNvPr id="81" name="TextBox 80"/>
              <p:cNvSpPr txBox="1"/>
              <p:nvPr/>
            </p:nvSpPr>
            <p:spPr>
              <a:xfrm>
                <a:off x="10376825" y="6132779"/>
                <a:ext cx="1488195" cy="184471"/>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Devices to take action</a:t>
                </a:r>
              </a:p>
            </p:txBody>
          </p:sp>
          <p:sp>
            <p:nvSpPr>
              <p:cNvPr id="99" name="TextBox 98"/>
              <p:cNvSpPr txBox="1"/>
              <p:nvPr/>
            </p:nvSpPr>
            <p:spPr>
              <a:xfrm>
                <a:off x="10779884" y="5925525"/>
                <a:ext cx="677047" cy="184471"/>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14192">
                  <a:lnSpc>
                    <a:spcPct val="100000"/>
                  </a:lnSpc>
                  <a:defRPr/>
                </a:pPr>
                <a:r>
                  <a:rPr lang="en-US" sz="1175" dirty="0">
                    <a:solidFill>
                      <a:srgbClr val="FFFF00"/>
                    </a:solidFill>
                    <a:latin typeface="Segoe UI"/>
                  </a:rPr>
                  <a:t>Event hub</a:t>
                </a:r>
              </a:p>
            </p:txBody>
          </p:sp>
          <p:grpSp>
            <p:nvGrpSpPr>
              <p:cNvPr id="178" name="Group 177"/>
              <p:cNvGrpSpPr/>
              <p:nvPr/>
            </p:nvGrpSpPr>
            <p:grpSpPr>
              <a:xfrm>
                <a:off x="10863891" y="5423405"/>
                <a:ext cx="507556" cy="422962"/>
                <a:chOff x="10407690" y="6565900"/>
                <a:chExt cx="918249" cy="774700"/>
              </a:xfrm>
              <a:grpFill/>
            </p:grpSpPr>
            <p:grpSp>
              <p:nvGrpSpPr>
                <p:cNvPr id="179" name="Group 178"/>
                <p:cNvGrpSpPr/>
                <p:nvPr/>
              </p:nvGrpSpPr>
              <p:grpSpPr>
                <a:xfrm>
                  <a:off x="10407690" y="6565900"/>
                  <a:ext cx="918249" cy="205801"/>
                  <a:chOff x="10452140" y="6610350"/>
                  <a:chExt cx="918249" cy="205801"/>
                </a:xfrm>
                <a:grpFill/>
              </p:grpSpPr>
              <p:sp>
                <p:nvSpPr>
                  <p:cNvPr id="193" name="Rectangle 192"/>
                  <p:cNvSpPr/>
                  <p:nvPr/>
                </p:nvSpPr>
                <p:spPr bwMode="auto">
                  <a:xfrm>
                    <a:off x="10452140" y="6610350"/>
                    <a:ext cx="914400" cy="1143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8" name="Rectangle 197"/>
                  <p:cNvSpPr/>
                  <p:nvPr/>
                </p:nvSpPr>
                <p:spPr bwMode="auto">
                  <a:xfrm>
                    <a:off x="10452141" y="6610350"/>
                    <a:ext cx="120094"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9" name="Rectangle 198"/>
                  <p:cNvSpPr/>
                  <p:nvPr/>
                </p:nvSpPr>
                <p:spPr bwMode="auto">
                  <a:xfrm>
                    <a:off x="11245924" y="6610350"/>
                    <a:ext cx="124465"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180" name="Group 179"/>
                <p:cNvGrpSpPr/>
                <p:nvPr/>
              </p:nvGrpSpPr>
              <p:grpSpPr>
                <a:xfrm>
                  <a:off x="10407690" y="6739951"/>
                  <a:ext cx="918249" cy="600649"/>
                  <a:chOff x="10407690" y="6739951"/>
                  <a:chExt cx="918249" cy="600649"/>
                </a:xfrm>
                <a:grpFill/>
              </p:grpSpPr>
              <p:grpSp>
                <p:nvGrpSpPr>
                  <p:cNvPr id="182" name="Group 181"/>
                  <p:cNvGrpSpPr/>
                  <p:nvPr/>
                </p:nvGrpSpPr>
                <p:grpSpPr>
                  <a:xfrm>
                    <a:off x="10407690" y="7134799"/>
                    <a:ext cx="918249" cy="205801"/>
                    <a:chOff x="10452140" y="6988749"/>
                    <a:chExt cx="918249" cy="205801"/>
                  </a:xfrm>
                  <a:grpFill/>
                </p:grpSpPr>
                <p:sp>
                  <p:nvSpPr>
                    <p:cNvPr id="190" name="Rectangle 189"/>
                    <p:cNvSpPr/>
                    <p:nvPr/>
                  </p:nvSpPr>
                  <p:spPr bwMode="auto">
                    <a:xfrm>
                      <a:off x="10452140" y="7080250"/>
                      <a:ext cx="914400" cy="1143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1" name="Rectangle 190"/>
                    <p:cNvSpPr/>
                    <p:nvPr/>
                  </p:nvSpPr>
                  <p:spPr bwMode="auto">
                    <a:xfrm>
                      <a:off x="10452141" y="6988749"/>
                      <a:ext cx="120094"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92" name="Rectangle 191"/>
                    <p:cNvSpPr/>
                    <p:nvPr/>
                  </p:nvSpPr>
                  <p:spPr bwMode="auto">
                    <a:xfrm>
                      <a:off x="11245924" y="6988749"/>
                      <a:ext cx="124465" cy="2058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183" name="Rectangle 182"/>
                  <p:cNvSpPr/>
                  <p:nvPr/>
                </p:nvSpPr>
                <p:spPr bwMode="auto">
                  <a:xfrm>
                    <a:off x="10648118" y="673995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4" name="Rectangle 183"/>
                  <p:cNvSpPr/>
                  <p:nvPr/>
                </p:nvSpPr>
                <p:spPr bwMode="auto">
                  <a:xfrm>
                    <a:off x="10648118" y="689807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6" name="Rectangle 185"/>
                  <p:cNvSpPr/>
                  <p:nvPr/>
                </p:nvSpPr>
                <p:spPr bwMode="auto">
                  <a:xfrm>
                    <a:off x="10648118" y="7055835"/>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7" name="Rectangle 186"/>
                  <p:cNvSpPr/>
                  <p:nvPr/>
                </p:nvSpPr>
                <p:spPr bwMode="auto">
                  <a:xfrm>
                    <a:off x="10833137" y="6975941"/>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8" name="Rectangle 187"/>
                  <p:cNvSpPr/>
                  <p:nvPr/>
                </p:nvSpPr>
                <p:spPr bwMode="auto">
                  <a:xfrm>
                    <a:off x="10833137" y="6819846"/>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89" name="Rectangle 188"/>
                  <p:cNvSpPr/>
                  <p:nvPr/>
                </p:nvSpPr>
                <p:spPr bwMode="auto">
                  <a:xfrm>
                    <a:off x="11018157" y="6916390"/>
                    <a:ext cx="137160" cy="1097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sp>
        <p:nvSpPr>
          <p:cNvPr id="229" name="Right Arrow 228"/>
          <p:cNvSpPr/>
          <p:nvPr/>
        </p:nvSpPr>
        <p:spPr bwMode="auto">
          <a:xfrm>
            <a:off x="11303091" y="5263414"/>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grpSp>
        <p:nvGrpSpPr>
          <p:cNvPr id="236" name="Group 235"/>
          <p:cNvGrpSpPr/>
          <p:nvPr/>
        </p:nvGrpSpPr>
        <p:grpSpPr>
          <a:xfrm>
            <a:off x="458450" y="1269761"/>
            <a:ext cx="1769043" cy="5072518"/>
            <a:chOff x="466826" y="1294412"/>
            <a:chExt cx="1804772" cy="5176238"/>
          </a:xfrm>
          <a:solidFill>
            <a:srgbClr val="EAEAEA"/>
          </a:solidFill>
        </p:grpSpPr>
        <p:sp>
          <p:nvSpPr>
            <p:cNvPr id="24" name="Rectangle 23"/>
            <p:cNvSpPr/>
            <p:nvPr/>
          </p:nvSpPr>
          <p:spPr bwMode="auto">
            <a:xfrm>
              <a:off x="466826" y="2020446"/>
              <a:ext cx="1804772" cy="44502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spcBef>
                  <a:spcPct val="0"/>
                </a:spcBef>
                <a:spcAft>
                  <a:spcPct val="0"/>
                </a:spcAft>
                <a:defRPr/>
              </a:pPr>
              <a:endParaRPr lang="en-US" sz="1961" dirty="0" err="1">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466826" y="1294412"/>
              <a:ext cx="1804772" cy="740021"/>
            </a:xfrm>
            <a:prstGeom prst="rect">
              <a:avLst/>
            </a:prstGeom>
            <a:solidFill>
              <a:srgbClr val="0028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89630" bIns="44814" numCol="1" spcCol="0" rtlCol="0" fromWordArt="0" anchor="t" anchorCtr="0" forceAA="0" compatLnSpc="1">
              <a:prstTxWarp prst="textNoShape">
                <a:avLst/>
              </a:prstTxWarp>
              <a:noAutofit/>
            </a:bodyPr>
            <a:lstStyle/>
            <a:p>
              <a:pPr algn="ctr" defTabSz="913576">
                <a:defRPr/>
              </a:pPr>
              <a:r>
                <a:rPr lang="en-US" sz="1765" dirty="0">
                  <a:solidFill>
                    <a:srgbClr val="FFFFFF"/>
                  </a:solidFill>
                  <a:latin typeface="Segoe UI"/>
                  <a:ea typeface="Segoe UI" pitchFamily="34" charset="0"/>
                  <a:cs typeface="Segoe UI" pitchFamily="34" charset="0"/>
                </a:rPr>
                <a:t>Event &amp; data producers</a:t>
              </a:r>
            </a:p>
          </p:txBody>
        </p:sp>
      </p:grpSp>
      <p:grpSp>
        <p:nvGrpSpPr>
          <p:cNvPr id="204" name="Group 203"/>
          <p:cNvGrpSpPr/>
          <p:nvPr/>
        </p:nvGrpSpPr>
        <p:grpSpPr>
          <a:xfrm>
            <a:off x="947025" y="2210713"/>
            <a:ext cx="819135" cy="699508"/>
            <a:chOff x="330332" y="2288071"/>
            <a:chExt cx="835915" cy="713836"/>
          </a:xfrm>
          <a:solidFill>
            <a:schemeClr val="accent6"/>
          </a:solidFill>
        </p:grpSpPr>
        <p:sp>
          <p:nvSpPr>
            <p:cNvPr id="202" name="Freeform 34"/>
            <p:cNvSpPr>
              <a:spLocks noChangeAspect="1" noEditPoints="1"/>
            </p:cNvSpPr>
            <p:nvPr/>
          </p:nvSpPr>
          <p:spPr bwMode="auto">
            <a:xfrm>
              <a:off x="483421" y="2288071"/>
              <a:ext cx="548241" cy="539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000000"/>
                </a:solidFill>
                <a:latin typeface="Segoe UI"/>
              </a:endParaRPr>
            </a:p>
          </p:txBody>
        </p:sp>
        <p:sp>
          <p:nvSpPr>
            <p:cNvPr id="203" name="TextBox 202"/>
            <p:cNvSpPr txBox="1"/>
            <p:nvPr/>
          </p:nvSpPr>
          <p:spPr>
            <a:xfrm>
              <a:off x="330332" y="2817384"/>
              <a:ext cx="835915" cy="184523"/>
            </a:xfrm>
            <a:prstGeom prst="rect">
              <a:avLst/>
            </a:prstGeom>
            <a:noFill/>
          </p:spPr>
          <p:txBody>
            <a:bodyPr wrap="none" lIns="0" tIns="0" rIns="0" bIns="0" rtlCol="0">
              <a:spAutoFit/>
            </a:bodyPr>
            <a:lstStyle/>
            <a:p>
              <a:pPr algn="ctr" defTabSz="914192">
                <a:spcAft>
                  <a:spcPts val="588"/>
                </a:spcAft>
                <a:defRPr/>
              </a:pPr>
              <a:r>
                <a:rPr lang="en-US" sz="1175" dirty="0">
                  <a:solidFill>
                    <a:srgbClr val="505050"/>
                  </a:solidFill>
                  <a:latin typeface="Segoe UI"/>
                </a:rPr>
                <a:t>Applications</a:t>
              </a:r>
            </a:p>
          </p:txBody>
        </p:sp>
      </p:grpSp>
      <p:grpSp>
        <p:nvGrpSpPr>
          <p:cNvPr id="14" name="Group 13"/>
          <p:cNvGrpSpPr/>
          <p:nvPr/>
        </p:nvGrpSpPr>
        <p:grpSpPr>
          <a:xfrm>
            <a:off x="735126" y="5347593"/>
            <a:ext cx="1235138" cy="729014"/>
            <a:chOff x="703443" y="5569642"/>
            <a:chExt cx="1260085" cy="743738"/>
          </a:xfrm>
        </p:grpSpPr>
        <p:sp>
          <p:nvSpPr>
            <p:cNvPr id="102" name="TextBox 101"/>
            <p:cNvSpPr txBox="1"/>
            <p:nvPr/>
          </p:nvSpPr>
          <p:spPr>
            <a:xfrm>
              <a:off x="703443" y="6128255"/>
              <a:ext cx="1260085" cy="185125"/>
            </a:xfrm>
            <a:prstGeom prst="rect">
              <a:avLst/>
            </a:prstGeom>
            <a:noFill/>
          </p:spPr>
          <p:txBody>
            <a:bodyPr wrap="square" lIns="0" tIns="0" rIns="0" bIns="0" rtlCol="0">
              <a:spAutoFit/>
            </a:bodyPr>
            <a:lstStyle/>
            <a:p>
              <a:pPr algn="ctr" defTabSz="914192">
                <a:defRPr/>
              </a:pPr>
              <a:r>
                <a:rPr lang="en-US" sz="1179" dirty="0">
                  <a:solidFill>
                    <a:srgbClr val="505050"/>
                  </a:solidFill>
                  <a:latin typeface="Segoe UI"/>
                </a:rPr>
                <a:t>Web and social</a:t>
              </a:r>
            </a:p>
          </p:txBody>
        </p:sp>
        <p:grpSp>
          <p:nvGrpSpPr>
            <p:cNvPr id="13" name="Group 12"/>
            <p:cNvGrpSpPr/>
            <p:nvPr/>
          </p:nvGrpSpPr>
          <p:grpSpPr>
            <a:xfrm>
              <a:off x="949772" y="5569642"/>
              <a:ext cx="767426" cy="428520"/>
              <a:chOff x="1157890" y="5857031"/>
              <a:chExt cx="754467" cy="356127"/>
            </a:xfrm>
            <a:solidFill>
              <a:schemeClr val="accent6"/>
            </a:solidFill>
          </p:grpSpPr>
          <p:sp>
            <p:nvSpPr>
              <p:cNvPr id="106" name="Freeform 30"/>
              <p:cNvSpPr>
                <a:spLocks noChangeAspect="1" noEditPoints="1"/>
              </p:cNvSpPr>
              <p:nvPr/>
            </p:nvSpPr>
            <p:spPr bwMode="auto">
              <a:xfrm>
                <a:off x="1157890" y="5870448"/>
                <a:ext cx="312592"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08" name="Freeform 13"/>
              <p:cNvSpPr>
                <a:spLocks noChangeAspect="1" noEditPoints="1"/>
              </p:cNvSpPr>
              <p:nvPr/>
            </p:nvSpPr>
            <p:spPr bwMode="black">
              <a:xfrm>
                <a:off x="1503079"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66" tIns="41133" rIns="82266" bIns="41133" numCol="1" rtlCol="0" anchor="ctr" anchorCtr="0" compatLnSpc="1">
                <a:prstTxWarp prst="textNoShape">
                  <a:avLst/>
                </a:prstTxWarp>
              </a:bodyPr>
              <a:lstStyle/>
              <a:p>
                <a:pPr defTabSz="740314">
                  <a:defRPr/>
                </a:pPr>
                <a:endParaRPr lang="en-US">
                  <a:solidFill>
                    <a:srgbClr val="000000">
                      <a:lumMod val="50000"/>
                    </a:srgbClr>
                  </a:solidFill>
                  <a:latin typeface="Segoe UI"/>
                </a:endParaRPr>
              </a:p>
            </p:txBody>
          </p:sp>
        </p:grpSp>
      </p:grpSp>
      <p:grpSp>
        <p:nvGrpSpPr>
          <p:cNvPr id="17" name="Group 16"/>
          <p:cNvGrpSpPr/>
          <p:nvPr/>
        </p:nvGrpSpPr>
        <p:grpSpPr>
          <a:xfrm>
            <a:off x="962569" y="3270590"/>
            <a:ext cx="811579" cy="799691"/>
            <a:chOff x="956929" y="3497259"/>
            <a:chExt cx="827970" cy="815847"/>
          </a:xfrm>
        </p:grpSpPr>
        <p:grpSp>
          <p:nvGrpSpPr>
            <p:cNvPr id="11" name="Group 10"/>
            <p:cNvGrpSpPr/>
            <p:nvPr/>
          </p:nvGrpSpPr>
          <p:grpSpPr>
            <a:xfrm>
              <a:off x="956929" y="3497259"/>
              <a:ext cx="827970" cy="520658"/>
              <a:chOff x="681416" y="4028239"/>
              <a:chExt cx="634251" cy="379977"/>
            </a:xfrm>
            <a:solidFill>
              <a:schemeClr val="accent6"/>
            </a:solidFill>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accent1"/>
              </a:solidFill>
              <a:ln>
                <a:noFill/>
              </a:ln>
            </p:spPr>
            <p:txBody>
              <a:bodyPr vert="horz" wrap="square" lIns="91397" tIns="45700" rIns="91397" bIns="45700" numCol="1" anchor="t" anchorCtr="0" compatLnSpc="1">
                <a:prstTxWarp prst="textNoShape">
                  <a:avLst/>
                </a:prstTxWarp>
              </a:bodyPr>
              <a:lstStyle/>
              <a:p>
                <a:pPr defTabSz="913657">
                  <a:defRPr/>
                </a:pPr>
                <a:endParaRPr lang="en-US" sz="1700" dirty="0">
                  <a:solidFill>
                    <a:srgbClr val="000000"/>
                  </a:solidFill>
                  <a:latin typeface="Segoe UI"/>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01" tIns="45700" rIns="91401" bIns="45700" numCol="1" anchor="t" anchorCtr="0" compatLnSpc="1">
                <a:prstTxWarp prst="textNoShape">
                  <a:avLst/>
                </a:prstTxWarp>
              </a:bodyPr>
              <a:lstStyle/>
              <a:p>
                <a:pPr defTabSz="914192">
                  <a:defRPr/>
                </a:pPr>
                <a:endParaRPr lang="en-US">
                  <a:solidFill>
                    <a:srgbClr val="000000"/>
                  </a:solidFill>
                  <a:latin typeface="Segoe UI"/>
                </a:endParaRPr>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66" tIns="41133" rIns="82266" bIns="41133" numCol="1" rtlCol="0" anchor="ctr" anchorCtr="0" compatLnSpc="1">
                <a:prstTxWarp prst="textNoShape">
                  <a:avLst/>
                </a:prstTxWarp>
              </a:bodyPr>
              <a:lstStyle/>
              <a:p>
                <a:pPr defTabSz="740314">
                  <a:defRPr/>
                </a:pPr>
                <a:endParaRPr lang="en-US" dirty="0">
                  <a:solidFill>
                    <a:srgbClr val="000000">
                      <a:lumMod val="50000"/>
                    </a:srgbClr>
                  </a:solidFill>
                  <a:latin typeface="Segoe UI"/>
                </a:endParaRPr>
              </a:p>
            </p:txBody>
          </p:sp>
        </p:grpSp>
        <p:sp>
          <p:nvSpPr>
            <p:cNvPr id="123" name="TextBox 122"/>
            <p:cNvSpPr txBox="1"/>
            <p:nvPr/>
          </p:nvSpPr>
          <p:spPr>
            <a:xfrm>
              <a:off x="1113341" y="4128634"/>
              <a:ext cx="515144" cy="184472"/>
            </a:xfrm>
            <a:prstGeom prst="rect">
              <a:avLst/>
            </a:prstGeom>
            <a:noFill/>
          </p:spPr>
          <p:txBody>
            <a:bodyPr wrap="none" lIns="0" tIns="0" rIns="0" bIns="0" rtlCol="0">
              <a:spAutoFit/>
            </a:bodyPr>
            <a:lstStyle/>
            <a:p>
              <a:pPr algn="ctr" defTabSz="914192">
                <a:spcAft>
                  <a:spcPts val="588"/>
                </a:spcAft>
                <a:defRPr/>
              </a:pPr>
              <a:r>
                <a:rPr lang="en-US" sz="1175" dirty="0">
                  <a:solidFill>
                    <a:srgbClr val="505050"/>
                  </a:solidFill>
                  <a:latin typeface="Segoe UI"/>
                </a:rPr>
                <a:t>Devices</a:t>
              </a:r>
            </a:p>
          </p:txBody>
        </p:sp>
      </p:grpSp>
      <p:sp>
        <p:nvSpPr>
          <p:cNvPr id="219" name="Right Arrow 218"/>
          <p:cNvSpPr/>
          <p:nvPr/>
        </p:nvSpPr>
        <p:spPr bwMode="auto">
          <a:xfrm>
            <a:off x="8240063" y="2139242"/>
            <a:ext cx="1482362" cy="62723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r>
              <a:rPr lang="en-US" sz="1173" dirty="0">
                <a:solidFill>
                  <a:srgbClr val="FFFFFF"/>
                </a:solidFill>
                <a:latin typeface="Segoe UI"/>
                <a:ea typeface="Segoe UI" pitchFamily="34" charset="0"/>
                <a:cs typeface="Segoe UI" pitchFamily="34" charset="0"/>
              </a:rPr>
              <a:t>Live Dashboards</a:t>
            </a:r>
          </a:p>
        </p:txBody>
      </p:sp>
      <p:sp>
        <p:nvSpPr>
          <p:cNvPr id="87" name="Rectangle 86"/>
          <p:cNvSpPr/>
          <p:nvPr/>
        </p:nvSpPr>
        <p:spPr bwMode="auto">
          <a:xfrm>
            <a:off x="8483904" y="3741838"/>
            <a:ext cx="1148703" cy="13330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92">
              <a:defRPr/>
            </a:pPr>
            <a:r>
              <a:rPr lang="en-US" sz="1175" dirty="0" err="1">
                <a:solidFill>
                  <a:srgbClr val="505050"/>
                </a:solidFill>
                <a:latin typeface="Segoe UI"/>
                <a:ea typeface="Segoe UI" pitchFamily="34" charset="0"/>
                <a:cs typeface="Segoe UI" pitchFamily="34" charset="0"/>
              </a:rPr>
              <a:t>DocumentDB</a:t>
            </a:r>
            <a:r>
              <a:rPr lang="en-US" sz="1175" dirty="0">
                <a:solidFill>
                  <a:srgbClr val="505050"/>
                </a:solidFill>
                <a:latin typeface="Segoe UI"/>
              </a:rPr>
              <a:t/>
            </a:r>
            <a:br>
              <a:rPr lang="en-US" sz="1175" dirty="0">
                <a:solidFill>
                  <a:srgbClr val="505050"/>
                </a:solidFill>
                <a:latin typeface="Segoe UI"/>
              </a:rPr>
            </a:br>
            <a:r>
              <a:rPr lang="en-US" sz="1175" dirty="0">
                <a:solidFill>
                  <a:srgbClr val="505050"/>
                </a:solidFill>
                <a:latin typeface="Segoe UI"/>
                <a:cs typeface="Segoe UI" pitchFamily="34" charset="0"/>
              </a:rPr>
              <a:t>MongoDB</a:t>
            </a:r>
          </a:p>
          <a:p>
            <a:pPr defTabSz="914192">
              <a:defRPr/>
            </a:pPr>
            <a:r>
              <a:rPr lang="en-US" sz="1175" dirty="0">
                <a:solidFill>
                  <a:srgbClr val="505050"/>
                </a:solidFill>
                <a:latin typeface="Segoe UI"/>
                <a:cs typeface="Segoe UI" pitchFamily="34" charset="0"/>
              </a:rPr>
              <a:t>SQL Azure</a:t>
            </a:r>
          </a:p>
          <a:p>
            <a:pPr defTabSz="914192">
              <a:defRPr/>
            </a:pPr>
            <a:r>
              <a:rPr lang="en-US" sz="1175" dirty="0">
                <a:solidFill>
                  <a:srgbClr val="505050"/>
                </a:solidFill>
                <a:latin typeface="Segoe UI"/>
                <a:cs typeface="Segoe UI" pitchFamily="34" charset="0"/>
              </a:rPr>
              <a:t>ADW</a:t>
            </a:r>
          </a:p>
          <a:p>
            <a:pPr defTabSz="914192">
              <a:defRPr/>
            </a:pPr>
            <a:r>
              <a:rPr lang="en-US" sz="1175" dirty="0" err="1">
                <a:solidFill>
                  <a:srgbClr val="505050"/>
                </a:solidFill>
                <a:latin typeface="Segoe UI"/>
                <a:cs typeface="Segoe UI" pitchFamily="34" charset="0"/>
              </a:rPr>
              <a:t>Hbase</a:t>
            </a:r>
            <a:endParaRPr lang="en-US" sz="1175" dirty="0">
              <a:solidFill>
                <a:srgbClr val="505050"/>
              </a:solidFill>
              <a:latin typeface="Segoe UI"/>
              <a:cs typeface="Segoe UI" pitchFamily="34" charset="0"/>
            </a:endParaRPr>
          </a:p>
          <a:p>
            <a:pPr defTabSz="914192">
              <a:defRPr/>
            </a:pPr>
            <a:r>
              <a:rPr lang="en-US" sz="1175" dirty="0">
                <a:solidFill>
                  <a:srgbClr val="505050"/>
                </a:solidFill>
                <a:latin typeface="Segoe UI"/>
                <a:cs typeface="Segoe UI" pitchFamily="34" charset="0"/>
              </a:rPr>
              <a:t>Blob Storage</a:t>
            </a:r>
            <a:endParaRPr lang="en-US" sz="1175" dirty="0">
              <a:solidFill>
                <a:srgbClr val="505050"/>
              </a:solidFill>
              <a:latin typeface="Segoe UI"/>
            </a:endParaRPr>
          </a:p>
        </p:txBody>
      </p:sp>
      <p:grpSp>
        <p:nvGrpSpPr>
          <p:cNvPr id="232" name="Group 231"/>
          <p:cNvGrpSpPr/>
          <p:nvPr/>
        </p:nvGrpSpPr>
        <p:grpSpPr>
          <a:xfrm>
            <a:off x="4335956" y="3065465"/>
            <a:ext cx="1579636" cy="1913592"/>
            <a:chOff x="4459713" y="3727180"/>
            <a:chExt cx="1611539" cy="1952241"/>
          </a:xfrm>
        </p:grpSpPr>
        <p:grpSp>
          <p:nvGrpSpPr>
            <p:cNvPr id="30" name="Group 29"/>
            <p:cNvGrpSpPr/>
            <p:nvPr/>
          </p:nvGrpSpPr>
          <p:grpSpPr>
            <a:xfrm>
              <a:off x="4459713" y="4651186"/>
              <a:ext cx="1611539" cy="1028235"/>
              <a:chOff x="4458707" y="4651186"/>
              <a:chExt cx="1611539" cy="1028235"/>
            </a:xfrm>
          </p:grpSpPr>
          <p:sp>
            <p:nvSpPr>
              <p:cNvPr id="76" name="Rectangle 75"/>
              <p:cNvSpPr/>
              <p:nvPr/>
            </p:nvSpPr>
            <p:spPr bwMode="auto">
              <a:xfrm>
                <a:off x="4458707" y="5310480"/>
                <a:ext cx="1611539" cy="368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192">
                  <a:defRPr/>
                </a:pPr>
                <a:r>
                  <a:rPr lang="en-US" sz="1175" dirty="0">
                    <a:solidFill>
                      <a:srgbClr val="505050"/>
                    </a:solidFill>
                    <a:latin typeface="Segoe UI"/>
                    <a:ea typeface="Segoe UI" pitchFamily="34" charset="0"/>
                    <a:cs typeface="Segoe UI" pitchFamily="34" charset="0"/>
                  </a:rPr>
                  <a:t>Kafka/</a:t>
                </a:r>
                <a:r>
                  <a:rPr lang="en-US" sz="1175" dirty="0" err="1">
                    <a:solidFill>
                      <a:srgbClr val="505050"/>
                    </a:solidFill>
                    <a:latin typeface="Segoe UI"/>
                  </a:rPr>
                  <a:t>RabbitMQ</a:t>
                </a:r>
                <a:r>
                  <a:rPr lang="en-US" sz="1175" dirty="0">
                    <a:solidFill>
                      <a:srgbClr val="505050"/>
                    </a:solidFill>
                    <a:latin typeface="Segoe UI"/>
                  </a:rPr>
                  <a:t>/</a:t>
                </a:r>
              </a:p>
              <a:p>
                <a:pPr algn="ctr" defTabSz="914192">
                  <a:defRPr/>
                </a:pPr>
                <a:r>
                  <a:rPr lang="en-US" sz="1175" dirty="0" err="1">
                    <a:solidFill>
                      <a:srgbClr val="505050"/>
                    </a:solidFill>
                    <a:latin typeface="Segoe UI"/>
                  </a:rPr>
                  <a:t>ActiveMQ</a:t>
                </a:r>
                <a:endParaRPr lang="en-US" sz="1175" dirty="0">
                  <a:solidFill>
                    <a:srgbClr val="505050"/>
                  </a:solidFill>
                  <a:latin typeface="Segoe UI"/>
                </a:endParaRPr>
              </a:p>
            </p:txBody>
          </p:sp>
          <p:grpSp>
            <p:nvGrpSpPr>
              <p:cNvPr id="82" name="Group 81"/>
              <p:cNvGrpSpPr/>
              <p:nvPr/>
            </p:nvGrpSpPr>
            <p:grpSpPr>
              <a:xfrm>
                <a:off x="5108817" y="4651186"/>
                <a:ext cx="311318" cy="546009"/>
                <a:chOff x="4678589" y="4672516"/>
                <a:chExt cx="402849" cy="706544"/>
              </a:xfrm>
            </p:grpSpPr>
            <p:sp>
              <p:nvSpPr>
                <p:cNvPr id="2" name="Oval 1"/>
                <p:cNvSpPr/>
                <p:nvPr/>
              </p:nvSpPr>
              <p:spPr bwMode="auto">
                <a:xfrm>
                  <a:off x="4678589" y="4925204"/>
                  <a:ext cx="201168" cy="201168"/>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2" name="Oval 91"/>
                <p:cNvSpPr/>
                <p:nvPr/>
              </p:nvSpPr>
              <p:spPr bwMode="auto">
                <a:xfrm>
                  <a:off x="4944278" y="5144975"/>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79" name="Group 78"/>
                <p:cNvGrpSpPr/>
                <p:nvPr/>
              </p:nvGrpSpPr>
              <p:grpSpPr>
                <a:xfrm>
                  <a:off x="4686778" y="4672516"/>
                  <a:ext cx="385134" cy="706544"/>
                  <a:chOff x="4710593" y="4672516"/>
                  <a:chExt cx="385134" cy="706544"/>
                </a:xfrm>
              </p:grpSpPr>
              <p:sp>
                <p:nvSpPr>
                  <p:cNvPr id="90" name="Oval 89"/>
                  <p:cNvSpPr/>
                  <p:nvPr/>
                </p:nvSpPr>
                <p:spPr bwMode="auto">
                  <a:xfrm>
                    <a:off x="4710593" y="4672516"/>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1" name="Oval 90"/>
                  <p:cNvSpPr/>
                  <p:nvPr/>
                </p:nvSpPr>
                <p:spPr bwMode="auto">
                  <a:xfrm>
                    <a:off x="4958567" y="4767057"/>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93" name="Oval 92"/>
                  <p:cNvSpPr/>
                  <p:nvPr/>
                </p:nvSpPr>
                <p:spPr bwMode="auto">
                  <a:xfrm>
                    <a:off x="4710593" y="5241900"/>
                    <a:ext cx="137160" cy="137160"/>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cxnSp>
                <p:nvCxnSpPr>
                  <p:cNvPr id="5" name="Straight Connector 4"/>
                  <p:cNvCxnSpPr>
                    <a:stCxn id="2" idx="0"/>
                    <a:endCxn id="90" idx="4"/>
                  </p:cNvCxnSpPr>
                  <p:nvPr/>
                </p:nvCxnSpPr>
                <p:spPr>
                  <a:xfrm flipV="1">
                    <a:off x="4779173" y="4809677"/>
                    <a:ext cx="0" cy="115527"/>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2" idx="7"/>
                    <a:endCxn id="91" idx="3"/>
                  </p:cNvCxnSpPr>
                  <p:nvPr/>
                </p:nvCxnSpPr>
                <p:spPr>
                  <a:xfrm flipV="1">
                    <a:off x="4874112" y="4884130"/>
                    <a:ext cx="104542" cy="70534"/>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2" idx="5"/>
                    <a:endCxn id="92" idx="1"/>
                  </p:cNvCxnSpPr>
                  <p:nvPr/>
                </p:nvCxnSpPr>
                <p:spPr>
                  <a:xfrm>
                    <a:off x="4874112" y="5096912"/>
                    <a:ext cx="114068" cy="6815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93" idx="0"/>
                    <a:endCxn id="2" idx="4"/>
                  </p:cNvCxnSpPr>
                  <p:nvPr/>
                </p:nvCxnSpPr>
                <p:spPr>
                  <a:xfrm flipV="1">
                    <a:off x="4779173" y="5126372"/>
                    <a:ext cx="0" cy="115528"/>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8" name="Group 27"/>
            <p:cNvGrpSpPr/>
            <p:nvPr/>
          </p:nvGrpSpPr>
          <p:grpSpPr>
            <a:xfrm>
              <a:off x="4496194" y="3727180"/>
              <a:ext cx="1538577" cy="814981"/>
              <a:chOff x="4495188" y="3727180"/>
              <a:chExt cx="1538577" cy="814981"/>
            </a:xfrm>
          </p:grpSpPr>
          <p:sp>
            <p:nvSpPr>
              <p:cNvPr id="80" name="Oval 79"/>
              <p:cNvSpPr/>
              <p:nvPr/>
            </p:nvSpPr>
            <p:spPr bwMode="auto">
              <a:xfrm>
                <a:off x="4495188" y="4132095"/>
                <a:ext cx="1538577" cy="4100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2" rIns="0" bIns="0" numCol="1" spcCol="0" rtlCol="0" fromWordArt="0" anchor="t" anchorCtr="0" forceAA="0" compatLnSpc="1">
                <a:prstTxWarp prst="textNoShape">
                  <a:avLst/>
                </a:prstTxWarp>
                <a:noAutofit/>
              </a:bodyPr>
              <a:lstStyle/>
              <a:p>
                <a:pPr algn="ctr" defTabSz="913576" fontAlgn="base">
                  <a:spcBef>
                    <a:spcPct val="0"/>
                  </a:spcBef>
                  <a:spcAft>
                    <a:spcPct val="0"/>
                  </a:spcAft>
                  <a:defRPr/>
                </a:pPr>
                <a:r>
                  <a:rPr lang="en-US" sz="1175" dirty="0">
                    <a:solidFill>
                      <a:srgbClr val="505050"/>
                    </a:solidFill>
                    <a:latin typeface="Segoe UI"/>
                    <a:ea typeface="Segoe UI" pitchFamily="34" charset="0"/>
                    <a:cs typeface="Segoe UI" pitchFamily="34" charset="0"/>
                  </a:rPr>
                  <a:t>Event hubs</a:t>
                </a:r>
              </a:p>
            </p:txBody>
          </p:sp>
          <p:grpSp>
            <p:nvGrpSpPr>
              <p:cNvPr id="200" name="Group 199"/>
              <p:cNvGrpSpPr/>
              <p:nvPr/>
            </p:nvGrpSpPr>
            <p:grpSpPr>
              <a:xfrm>
                <a:off x="5010698" y="3727180"/>
                <a:ext cx="507556" cy="422962"/>
                <a:chOff x="10407690" y="6565900"/>
                <a:chExt cx="918249" cy="774700"/>
              </a:xfrm>
              <a:solidFill>
                <a:schemeClr val="accent6"/>
              </a:solidFill>
            </p:grpSpPr>
            <p:grpSp>
              <p:nvGrpSpPr>
                <p:cNvPr id="201" name="Group 200"/>
                <p:cNvGrpSpPr/>
                <p:nvPr/>
              </p:nvGrpSpPr>
              <p:grpSpPr>
                <a:xfrm>
                  <a:off x="10407690" y="6565900"/>
                  <a:ext cx="918249" cy="205801"/>
                  <a:chOff x="10452140" y="6610350"/>
                  <a:chExt cx="918249" cy="205801"/>
                </a:xfrm>
                <a:grpFill/>
              </p:grpSpPr>
              <p:sp>
                <p:nvSpPr>
                  <p:cNvPr id="224" name="Rectangle 223"/>
                  <p:cNvSpPr/>
                  <p:nvPr/>
                </p:nvSpPr>
                <p:spPr bwMode="auto">
                  <a:xfrm>
                    <a:off x="10452140" y="66103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5" name="Rectangle 224"/>
                  <p:cNvSpPr/>
                  <p:nvPr/>
                </p:nvSpPr>
                <p:spPr bwMode="auto">
                  <a:xfrm>
                    <a:off x="10452141" y="6610350"/>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6" name="Rectangle 225"/>
                  <p:cNvSpPr/>
                  <p:nvPr/>
                </p:nvSpPr>
                <p:spPr bwMode="auto">
                  <a:xfrm>
                    <a:off x="11245924" y="6610350"/>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205" name="Group 204"/>
                <p:cNvGrpSpPr/>
                <p:nvPr/>
              </p:nvGrpSpPr>
              <p:grpSpPr>
                <a:xfrm>
                  <a:off x="10407690" y="6739951"/>
                  <a:ext cx="918249" cy="600649"/>
                  <a:chOff x="10407690" y="6739951"/>
                  <a:chExt cx="918249" cy="600649"/>
                </a:xfrm>
                <a:grpFill/>
              </p:grpSpPr>
              <p:grpSp>
                <p:nvGrpSpPr>
                  <p:cNvPr id="206" name="Group 205"/>
                  <p:cNvGrpSpPr/>
                  <p:nvPr/>
                </p:nvGrpSpPr>
                <p:grpSpPr>
                  <a:xfrm>
                    <a:off x="10407690" y="7134799"/>
                    <a:ext cx="918249" cy="205801"/>
                    <a:chOff x="10452140" y="6988749"/>
                    <a:chExt cx="918249" cy="205801"/>
                  </a:xfrm>
                  <a:grpFill/>
                </p:grpSpPr>
                <p:sp>
                  <p:nvSpPr>
                    <p:cNvPr id="221" name="Rectangle 220"/>
                    <p:cNvSpPr/>
                    <p:nvPr/>
                  </p:nvSpPr>
                  <p:spPr bwMode="auto">
                    <a:xfrm>
                      <a:off x="10452140" y="7080250"/>
                      <a:ext cx="914400" cy="1143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2" name="Rectangle 221"/>
                    <p:cNvSpPr/>
                    <p:nvPr/>
                  </p:nvSpPr>
                  <p:spPr bwMode="auto">
                    <a:xfrm>
                      <a:off x="10452141" y="6988749"/>
                      <a:ext cx="120094"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3" name="Rectangle 222"/>
                    <p:cNvSpPr/>
                    <p:nvPr/>
                  </p:nvSpPr>
                  <p:spPr bwMode="auto">
                    <a:xfrm>
                      <a:off x="11245924" y="6988749"/>
                      <a:ext cx="124465" cy="205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207" name="Rectangle 206"/>
                  <p:cNvSpPr/>
                  <p:nvPr/>
                </p:nvSpPr>
                <p:spPr bwMode="auto">
                  <a:xfrm>
                    <a:off x="10648118" y="673995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08" name="Rectangle 207"/>
                  <p:cNvSpPr/>
                  <p:nvPr/>
                </p:nvSpPr>
                <p:spPr bwMode="auto">
                  <a:xfrm>
                    <a:off x="10648118" y="689807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5" name="Rectangle 214"/>
                  <p:cNvSpPr/>
                  <p:nvPr/>
                </p:nvSpPr>
                <p:spPr bwMode="auto">
                  <a:xfrm>
                    <a:off x="10648118" y="7055835"/>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6" name="Rectangle 215"/>
                  <p:cNvSpPr/>
                  <p:nvPr/>
                </p:nvSpPr>
                <p:spPr bwMode="auto">
                  <a:xfrm>
                    <a:off x="10833137" y="6975941"/>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17" name="Rectangle 216"/>
                  <p:cNvSpPr/>
                  <p:nvPr/>
                </p:nvSpPr>
                <p:spPr bwMode="auto">
                  <a:xfrm>
                    <a:off x="10833137" y="6819846"/>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220" name="Rectangle 219"/>
                  <p:cNvSpPr/>
                  <p:nvPr/>
                </p:nvSpPr>
                <p:spPr bwMode="auto">
                  <a:xfrm>
                    <a:off x="11018157" y="6916390"/>
                    <a:ext cx="137160" cy="109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grpSp>
        <p:nvGrpSpPr>
          <p:cNvPr id="27" name="Group 26"/>
          <p:cNvGrpSpPr/>
          <p:nvPr/>
        </p:nvGrpSpPr>
        <p:grpSpPr>
          <a:xfrm>
            <a:off x="6416191" y="2856396"/>
            <a:ext cx="1425832" cy="2434016"/>
            <a:chOff x="6512891" y="2014690"/>
            <a:chExt cx="1454629" cy="2483175"/>
          </a:xfrm>
        </p:grpSpPr>
        <p:grpSp>
          <p:nvGrpSpPr>
            <p:cNvPr id="242" name="Group 241"/>
            <p:cNvGrpSpPr/>
            <p:nvPr/>
          </p:nvGrpSpPr>
          <p:grpSpPr>
            <a:xfrm>
              <a:off x="6685092" y="2014690"/>
              <a:ext cx="1079837" cy="852251"/>
              <a:chOff x="6830679" y="2014690"/>
              <a:chExt cx="1079837" cy="852251"/>
            </a:xfrm>
          </p:grpSpPr>
          <p:sp>
            <p:nvSpPr>
              <p:cNvPr id="89" name="Rectangle 88"/>
              <p:cNvSpPr/>
              <p:nvPr/>
            </p:nvSpPr>
            <p:spPr bwMode="auto">
              <a:xfrm>
                <a:off x="6830679" y="2680835"/>
                <a:ext cx="1079837" cy="1861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192">
                  <a:defRPr/>
                </a:pPr>
                <a:r>
                  <a:rPr lang="en-US" sz="1175" dirty="0">
                    <a:solidFill>
                      <a:srgbClr val="505050"/>
                    </a:solidFill>
                    <a:latin typeface="Segoe UI"/>
                    <a:ea typeface="Segoe UI" pitchFamily="34" charset="0"/>
                    <a:cs typeface="Segoe UI" pitchFamily="34" charset="0"/>
                  </a:rPr>
                  <a:t>Azure ML</a:t>
                </a:r>
              </a:p>
            </p:txBody>
          </p:sp>
          <p:pic>
            <p:nvPicPr>
              <p:cNvPr id="7" name="Picture 6"/>
              <p:cNvPicPr>
                <a:picLocks noChangeAspect="1"/>
              </p:cNvPicPr>
              <p:nvPr/>
            </p:nvPicPr>
            <p:blipFill>
              <a:blip r:embed="rId3" cstate="email">
                <a:extLst>
                  <a:ext uri="{BEBA8EAE-BF5A-486C-A8C5-ECC9F3942E4B}">
                    <a14:imgProps xmlns:a14="http://schemas.microsoft.com/office/drawing/2010/main">
                      <a14:imgLayer r:embed="rId4">
                        <a14:imgEffect>
                          <a14:backgroundRemoval t="481" b="100000" l="308" r="100000"/>
                        </a14:imgEffect>
                      </a14:imgLayer>
                    </a14:imgProps>
                  </a:ext>
                  <a:ext uri="{28A0092B-C50C-407E-A947-70E740481C1C}">
                    <a14:useLocalDpi xmlns:a14="http://schemas.microsoft.com/office/drawing/2010/main"/>
                  </a:ext>
                </a:extLst>
              </a:blip>
              <a:stretch>
                <a:fillRect/>
              </a:stretch>
            </p:blipFill>
            <p:spPr>
              <a:xfrm>
                <a:off x="6843004" y="2014690"/>
                <a:ext cx="1055186" cy="675320"/>
              </a:xfrm>
              <a:prstGeom prst="rect">
                <a:avLst/>
              </a:prstGeom>
              <a:noFill/>
              <a:ln>
                <a:noFill/>
              </a:ln>
            </p:spPr>
          </p:pic>
        </p:grpSp>
        <p:sp>
          <p:nvSpPr>
            <p:cNvPr id="174" name="TextBox 173"/>
            <p:cNvSpPr txBox="1"/>
            <p:nvPr/>
          </p:nvSpPr>
          <p:spPr>
            <a:xfrm>
              <a:off x="6512891" y="3854664"/>
              <a:ext cx="1454629" cy="643201"/>
            </a:xfrm>
            <a:prstGeom prst="rect">
              <a:avLst/>
            </a:prstGeom>
            <a:noFill/>
          </p:spPr>
          <p:txBody>
            <a:bodyPr wrap="square" lIns="0" tIns="0" rIns="0" bIns="0" rtlCol="0">
              <a:spAutoFit/>
            </a:bodyPr>
            <a:lstStyle/>
            <a:p>
              <a:pPr algn="ctr" defTabSz="914192">
                <a:spcAft>
                  <a:spcPts val="588"/>
                </a:spcAft>
                <a:defRPr/>
              </a:pPr>
              <a:r>
                <a:rPr lang="en-US" sz="1175" dirty="0">
                  <a:solidFill>
                    <a:srgbClr val="505050"/>
                  </a:solidFill>
                  <a:latin typeface="Segoe UI"/>
                </a:rPr>
                <a:t>Storm / Stream Analytics</a:t>
              </a:r>
            </a:p>
            <a:p>
              <a:pPr algn="ctr" defTabSz="914192">
                <a:spcAft>
                  <a:spcPts val="588"/>
                </a:spcAft>
                <a:defRPr/>
              </a:pPr>
              <a:r>
                <a:rPr lang="en-US" sz="1175" dirty="0">
                  <a:solidFill>
                    <a:srgbClr val="505050"/>
                  </a:solidFill>
                  <a:latin typeface="Segoe UI"/>
                </a:rPr>
                <a:t>Hive / U-SQL</a:t>
              </a:r>
            </a:p>
          </p:txBody>
        </p:sp>
      </p:grpSp>
      <p:sp>
        <p:nvSpPr>
          <p:cNvPr id="227" name="Right Arrow 226"/>
          <p:cNvSpPr/>
          <p:nvPr/>
        </p:nvSpPr>
        <p:spPr bwMode="auto">
          <a:xfrm>
            <a:off x="7661452" y="4217400"/>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228" name="Right Arrow 227"/>
          <p:cNvSpPr/>
          <p:nvPr/>
        </p:nvSpPr>
        <p:spPr bwMode="auto">
          <a:xfrm>
            <a:off x="9551338" y="4217400"/>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6" name="Rectangle 5"/>
          <p:cNvSpPr/>
          <p:nvPr/>
        </p:nvSpPr>
        <p:spPr bwMode="auto">
          <a:xfrm>
            <a:off x="4269754" y="5908400"/>
            <a:ext cx="5589155" cy="482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rgbClr val="FFFF00"/>
                </a:solidFill>
                <a:latin typeface="Segoe UI Light"/>
                <a:ea typeface="Segoe UI" pitchFamily="34" charset="0"/>
                <a:cs typeface="Segoe UI" pitchFamily="34" charset="0"/>
              </a:rPr>
              <a:t>Data Factory</a:t>
            </a:r>
          </a:p>
        </p:txBody>
      </p:sp>
      <p:grpSp>
        <p:nvGrpSpPr>
          <p:cNvPr id="15" name="Group 14"/>
          <p:cNvGrpSpPr/>
          <p:nvPr/>
        </p:nvGrpSpPr>
        <p:grpSpPr>
          <a:xfrm>
            <a:off x="987505" y="4417893"/>
            <a:ext cx="712536" cy="618621"/>
            <a:chOff x="994285" y="4579189"/>
            <a:chExt cx="726927" cy="631117"/>
          </a:xfrm>
        </p:grpSpPr>
        <p:sp>
          <p:nvSpPr>
            <p:cNvPr id="125" name="TextBox 124"/>
            <p:cNvSpPr txBox="1"/>
            <p:nvPr/>
          </p:nvSpPr>
          <p:spPr>
            <a:xfrm>
              <a:off x="994285" y="5025835"/>
              <a:ext cx="726927" cy="184471"/>
            </a:xfrm>
            <a:prstGeom prst="rect">
              <a:avLst/>
            </a:prstGeom>
            <a:noFill/>
          </p:spPr>
          <p:txBody>
            <a:bodyPr wrap="square" lIns="0" tIns="0" rIns="0" bIns="0" rtlCol="0">
              <a:spAutoFit/>
            </a:bodyPr>
            <a:lstStyle/>
            <a:p>
              <a:pPr algn="ctr" defTabSz="914192">
                <a:defRPr/>
              </a:pPr>
              <a:r>
                <a:rPr lang="en-US" sz="1175" dirty="0">
                  <a:solidFill>
                    <a:srgbClr val="505050"/>
                  </a:solidFill>
                  <a:latin typeface="Segoe UI"/>
                </a:rPr>
                <a:t>Sensors</a:t>
              </a:r>
            </a:p>
          </p:txBody>
        </p:sp>
        <p:grpSp>
          <p:nvGrpSpPr>
            <p:cNvPr id="126" name="Group 125"/>
            <p:cNvGrpSpPr/>
            <p:nvPr/>
          </p:nvGrpSpPr>
          <p:grpSpPr>
            <a:xfrm>
              <a:off x="1007450" y="4579189"/>
              <a:ext cx="700598" cy="349068"/>
              <a:chOff x="5416547" y="3144838"/>
              <a:chExt cx="1352553" cy="565150"/>
            </a:xfrm>
            <a:solidFill>
              <a:schemeClr val="accent6"/>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13657">
                  <a:defRPr/>
                </a:pPr>
                <a:endParaRPr lang="en-US" sz="1700">
                  <a:solidFill>
                    <a:srgbClr val="000000"/>
                  </a:solidFill>
                  <a:latin typeface="Segoe UI"/>
                </a:endParaRPr>
              </a:p>
            </p:txBody>
          </p:sp>
        </p:grpSp>
      </p:grpSp>
      <p:sp>
        <p:nvSpPr>
          <p:cNvPr id="33" name="Rectangle 32"/>
          <p:cNvSpPr/>
          <p:nvPr/>
        </p:nvSpPr>
        <p:spPr>
          <a:xfrm>
            <a:off x="6489353" y="2536162"/>
            <a:ext cx="1234902" cy="277408"/>
          </a:xfrm>
          <a:prstGeom prst="rect">
            <a:avLst/>
          </a:prstGeom>
        </p:spPr>
        <p:txBody>
          <a:bodyPr wrap="square">
            <a:spAutoFit/>
          </a:bodyPr>
          <a:lstStyle/>
          <a:p>
            <a:pPr algn="ctr" defTabSz="914367"/>
            <a:r>
              <a:rPr lang="en-US" sz="1179" dirty="0">
                <a:solidFill>
                  <a:srgbClr val="505050"/>
                </a:solidFill>
                <a:latin typeface="Segoe UI" panose="020B0502040204020203" pitchFamily="34" charset="0"/>
              </a:rPr>
              <a:t>Pig</a:t>
            </a:r>
          </a:p>
        </p:txBody>
      </p:sp>
      <p:grpSp>
        <p:nvGrpSpPr>
          <p:cNvPr id="9" name="Group 8"/>
          <p:cNvGrpSpPr/>
          <p:nvPr/>
        </p:nvGrpSpPr>
        <p:grpSpPr>
          <a:xfrm>
            <a:off x="2652926" y="3352499"/>
            <a:ext cx="1263569" cy="1394545"/>
            <a:chOff x="2746729" y="3512567"/>
            <a:chExt cx="1289088" cy="1422711"/>
          </a:xfrm>
        </p:grpSpPr>
        <p:grpSp>
          <p:nvGrpSpPr>
            <p:cNvPr id="195" name="Group 194"/>
            <p:cNvGrpSpPr/>
            <p:nvPr/>
          </p:nvGrpSpPr>
          <p:grpSpPr>
            <a:xfrm>
              <a:off x="2923947" y="3512567"/>
              <a:ext cx="1111870" cy="896382"/>
              <a:chOff x="2579112" y="3492574"/>
              <a:chExt cx="1678360" cy="1353082"/>
            </a:xfrm>
          </p:grpSpPr>
          <p:sp>
            <p:nvSpPr>
              <p:cNvPr id="181" name="TextBox 180"/>
              <p:cNvSpPr txBox="1"/>
              <p:nvPr/>
            </p:nvSpPr>
            <p:spPr>
              <a:xfrm>
                <a:off x="2640545" y="4288742"/>
                <a:ext cx="1616927" cy="556914"/>
              </a:xfrm>
              <a:prstGeom prst="rect">
                <a:avLst/>
              </a:prstGeom>
              <a:noFill/>
            </p:spPr>
            <p:txBody>
              <a:bodyPr wrap="none" lIns="0" tIns="0" rIns="0" bIns="0" rtlCol="0">
                <a:spAutoFit/>
              </a:bodyPr>
              <a:lstStyle/>
              <a:p>
                <a:pPr defTabSz="914192">
                  <a:spcAft>
                    <a:spcPts val="588"/>
                  </a:spcAft>
                  <a:defRPr/>
                </a:pPr>
                <a:r>
                  <a:rPr lang="en-US" sz="1175" dirty="0">
                    <a:solidFill>
                      <a:srgbClr val="505050"/>
                    </a:solidFill>
                    <a:latin typeface="Segoe UI"/>
                  </a:rPr>
                  <a:t>Cloud gateways</a:t>
                </a:r>
                <a:br>
                  <a:rPr lang="en-US" sz="1175" dirty="0">
                    <a:solidFill>
                      <a:srgbClr val="505050"/>
                    </a:solidFill>
                    <a:latin typeface="Segoe UI"/>
                  </a:rPr>
                </a:br>
                <a:r>
                  <a:rPr lang="en-US" sz="1175" dirty="0">
                    <a:solidFill>
                      <a:srgbClr val="505050"/>
                    </a:solidFill>
                    <a:latin typeface="Segoe UI"/>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defTabSz="914192">
                  <a:defRPr/>
                </a:pPr>
                <a:endParaRPr lang="en-US" sz="1765">
                  <a:solidFill>
                    <a:srgbClr val="FFFFFF"/>
                  </a:solidFill>
                  <a:latin typeface="Segoe UI"/>
                </a:endParaRPr>
              </a:p>
            </p:txBody>
          </p:sp>
        </p:grpSp>
        <p:grpSp>
          <p:nvGrpSpPr>
            <p:cNvPr id="197" name="Group 196"/>
            <p:cNvGrpSpPr/>
            <p:nvPr/>
          </p:nvGrpSpPr>
          <p:grpSpPr>
            <a:xfrm>
              <a:off x="2746729" y="4441630"/>
              <a:ext cx="1275487" cy="493648"/>
              <a:chOff x="2801309" y="4164148"/>
              <a:chExt cx="1275848" cy="493788"/>
            </a:xfrm>
          </p:grpSpPr>
          <p:sp>
            <p:nvSpPr>
              <p:cNvPr id="185" name="TextBox 184"/>
              <p:cNvSpPr txBox="1"/>
              <p:nvPr/>
            </p:nvSpPr>
            <p:spPr>
              <a:xfrm>
                <a:off x="3358636" y="4244797"/>
                <a:ext cx="718521" cy="369046"/>
              </a:xfrm>
              <a:prstGeom prst="rect">
                <a:avLst/>
              </a:prstGeom>
              <a:noFill/>
            </p:spPr>
            <p:txBody>
              <a:bodyPr wrap="square" lIns="0" tIns="0" rIns="0" bIns="0" rtlCol="0">
                <a:spAutoFit/>
              </a:bodyPr>
              <a:lstStyle/>
              <a:p>
                <a:pPr defTabSz="914192">
                  <a:spcAft>
                    <a:spcPts val="588"/>
                  </a:spcAft>
                  <a:defRPr/>
                </a:pPr>
                <a:r>
                  <a:rPr lang="en-US" sz="1175" dirty="0">
                    <a:solidFill>
                      <a:srgbClr val="505050"/>
                    </a:solidFill>
                    <a:latin typeface="Segoe UI"/>
                  </a:rPr>
                  <a:t>Field </a:t>
                </a:r>
                <a:br>
                  <a:rPr lang="en-US" sz="1175" dirty="0">
                    <a:solidFill>
                      <a:srgbClr val="505050"/>
                    </a:solidFill>
                    <a:latin typeface="Segoe UI"/>
                  </a:rPr>
                </a:br>
                <a:r>
                  <a:rPr lang="en-US" sz="1175" dirty="0">
                    <a:solidFill>
                      <a:srgbClr val="505050"/>
                    </a:solidFill>
                    <a:latin typeface="Segoe UI"/>
                  </a:rPr>
                  <a:t>gateways</a:t>
                </a:r>
              </a:p>
            </p:txBody>
          </p:sp>
          <p:sp>
            <p:nvSpPr>
              <p:cNvPr id="196" name="Freeform 58"/>
              <p:cNvSpPr>
                <a:spLocks noChangeAspect="1" noEditPoints="1"/>
              </p:cNvSpPr>
              <p:nvPr/>
            </p:nvSpPr>
            <p:spPr bwMode="black">
              <a:xfrm>
                <a:off x="2801309" y="4164148"/>
                <a:ext cx="460702" cy="49378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53" tIns="40326" rIns="80653" bIns="40326" numCol="1" anchor="t" anchorCtr="0" compatLnSpc="1">
                <a:prstTxWarp prst="textNoShape">
                  <a:avLst/>
                </a:prstTxWarp>
              </a:bodyPr>
              <a:lstStyle/>
              <a:p>
                <a:pPr defTabSz="914192">
                  <a:defRPr/>
                </a:pPr>
                <a:endParaRPr lang="en-US" sz="1567">
                  <a:solidFill>
                    <a:srgbClr val="000000"/>
                  </a:solidFill>
                  <a:latin typeface="Segoe UI"/>
                </a:endParaRPr>
              </a:p>
            </p:txBody>
          </p:sp>
        </p:grpSp>
      </p:grpSp>
      <p:sp>
        <p:nvSpPr>
          <p:cNvPr id="138" name="Right Arrow 137"/>
          <p:cNvSpPr/>
          <p:nvPr/>
        </p:nvSpPr>
        <p:spPr bwMode="auto">
          <a:xfrm>
            <a:off x="3875751" y="4076988"/>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6" name="Right Arrow 145"/>
          <p:cNvSpPr/>
          <p:nvPr/>
        </p:nvSpPr>
        <p:spPr bwMode="auto">
          <a:xfrm>
            <a:off x="1956093" y="3635937"/>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7" name="Right Arrow 146"/>
          <p:cNvSpPr/>
          <p:nvPr/>
        </p:nvSpPr>
        <p:spPr bwMode="auto">
          <a:xfrm rot="12481449">
            <a:off x="7702086" y="3305559"/>
            <a:ext cx="741182" cy="627231"/>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04" tIns="0" rIns="0" bIns="0" numCol="1" spcCol="0" rtlCol="0" fromWordArt="0" anchor="ctr" anchorCtr="0" forceAA="0" compatLnSpc="1">
            <a:prstTxWarp prst="textNoShape">
              <a:avLst/>
            </a:prstTxWarp>
            <a:noAutofit/>
          </a:bodyPr>
          <a:lstStyle/>
          <a:p>
            <a:pPr defTabSz="913576">
              <a:defRPr/>
            </a:pPr>
            <a:endParaRPr lang="en-US" sz="1173" dirty="0">
              <a:solidFill>
                <a:srgbClr val="FFFFFF"/>
              </a:solidFill>
              <a:latin typeface="Segoe UI"/>
              <a:ea typeface="Segoe UI" pitchFamily="34" charset="0"/>
              <a:cs typeface="Segoe UI" pitchFamily="34" charset="0"/>
            </a:endParaRPr>
          </a:p>
        </p:txBody>
      </p:sp>
      <p:sp>
        <p:nvSpPr>
          <p:cNvPr id="148" name="Freeform 84"/>
          <p:cNvSpPr>
            <a:spLocks/>
          </p:cNvSpPr>
          <p:nvPr/>
        </p:nvSpPr>
        <p:spPr bwMode="auto">
          <a:xfrm>
            <a:off x="6942209" y="2201525"/>
            <a:ext cx="359178" cy="2718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2A8EDD"/>
          </a:solidFill>
          <a:ln w="6350">
            <a:solidFill>
              <a:schemeClr val="bg1"/>
            </a:solidFill>
          </a:ln>
        </p:spPr>
        <p:txBody>
          <a:bodyPr vert="horz" wrap="square" lIns="89642" tIns="44821" rIns="89642" bIns="44821" numCol="1" anchor="t" anchorCtr="0" compatLnSpc="1">
            <a:prstTxWarp prst="textNoShape">
              <a:avLst/>
            </a:prstTxWarp>
          </a:bodyPr>
          <a:lstStyle/>
          <a:p>
            <a:pPr defTabSz="896386">
              <a:defRPr/>
            </a:pPr>
            <a:endParaRPr lang="en-US" sz="1568" kern="0" dirty="0">
              <a:solidFill>
                <a:srgbClr val="FFFFFF"/>
              </a:solidFill>
              <a:latin typeface="Segoe UI"/>
            </a:endParaRPr>
          </a:p>
        </p:txBody>
      </p:sp>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86552" y="4005330"/>
            <a:ext cx="610067" cy="608866"/>
          </a:xfrm>
          <a:prstGeom prst="rect">
            <a:avLst/>
          </a:prstGeom>
        </p:spPr>
      </p:pic>
      <p:pic>
        <p:nvPicPr>
          <p:cNvPr id="150" name="Picture 14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540622" y="3084772"/>
            <a:ext cx="745027" cy="603720"/>
          </a:xfrm>
          <a:prstGeom prst="rect">
            <a:avLst/>
          </a:prstGeom>
        </p:spPr>
      </p:pic>
      <p:pic>
        <p:nvPicPr>
          <p:cNvPr id="151" name="Picture 15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02157" y="5902334"/>
            <a:ext cx="830320" cy="466679"/>
          </a:xfrm>
          <a:prstGeom prst="rect">
            <a:avLst/>
          </a:prstGeom>
        </p:spPr>
      </p:pic>
    </p:spTree>
    <p:extLst>
      <p:ext uri="{BB962C8B-B14F-4D97-AF65-F5344CB8AC3E}">
        <p14:creationId xmlns:p14="http://schemas.microsoft.com/office/powerpoint/2010/main" val="214940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36"/>
                                        </p:tgtEl>
                                        <p:attrNameLst>
                                          <p:attrName>style.visibility</p:attrName>
                                        </p:attrNameLst>
                                      </p:cBhvr>
                                      <p:to>
                                        <p:strVal val="visible"/>
                                      </p:to>
                                    </p:set>
                                    <p:animEffect transition="in" filter="wipe(left)">
                                      <p:cBhvr>
                                        <p:cTn id="7" dur="500"/>
                                        <p:tgtEl>
                                          <p:spTgt spid="2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37"/>
                                        </p:tgtEl>
                                        <p:attrNameLst>
                                          <p:attrName>style.visibility</p:attrName>
                                        </p:attrNameLst>
                                      </p:cBhvr>
                                      <p:to>
                                        <p:strVal val="visible"/>
                                      </p:to>
                                    </p:set>
                                    <p:animEffect transition="in" filter="wipe(left)">
                                      <p:cBhvr>
                                        <p:cTn id="12" dur="500"/>
                                        <p:tgtEl>
                                          <p:spTgt spid="237"/>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8"/>
                                        </p:tgtEl>
                                        <p:attrNameLst>
                                          <p:attrName>style.visibility</p:attrName>
                                        </p:attrNameLst>
                                      </p:cBhvr>
                                      <p:to>
                                        <p:strVal val="visible"/>
                                      </p:to>
                                    </p:set>
                                    <p:animEffect transition="in" filter="wipe(left)">
                                      <p:cBhvr>
                                        <p:cTn id="21" dur="500"/>
                                        <p:tgtEl>
                                          <p:spTgt spid="238"/>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32"/>
                                        </p:tgtEl>
                                        <p:attrNameLst>
                                          <p:attrName>style.visibility</p:attrName>
                                        </p:attrNameLst>
                                      </p:cBhvr>
                                      <p:to>
                                        <p:strVal val="visible"/>
                                      </p:to>
                                    </p:set>
                                    <p:animEffect transition="in" filter="fade">
                                      <p:cBhvr>
                                        <p:cTn id="25" dur="500"/>
                                        <p:tgtEl>
                                          <p:spTgt spid="23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wipe(left)">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40"/>
                                        </p:tgtEl>
                                        <p:attrNameLst>
                                          <p:attrName>style.visibility</p:attrName>
                                        </p:attrNameLst>
                                      </p:cBhvr>
                                      <p:to>
                                        <p:strVal val="visible"/>
                                      </p:to>
                                    </p:set>
                                    <p:animEffect transition="in" filter="wipe(left)">
                                      <p:cBhvr>
                                        <p:cTn id="38" dur="500"/>
                                        <p:tgtEl>
                                          <p:spTgt spid="240"/>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19"/>
                                        </p:tgtEl>
                                        <p:attrNameLst>
                                          <p:attrName>style.visibility</p:attrName>
                                        </p:attrNameLst>
                                      </p:cBhvr>
                                      <p:to>
                                        <p:strVal val="visible"/>
                                      </p:to>
                                    </p:set>
                                    <p:animEffect transition="in" filter="fade">
                                      <p:cBhvr>
                                        <p:cTn id="42" dur="500"/>
                                        <p:tgtEl>
                                          <p:spTgt spid="219"/>
                                        </p:tgtEl>
                                      </p:cBhvr>
                                    </p:animEffect>
                                  </p:childTnLst>
                                </p:cTn>
                              </p:par>
                            </p:childTnLst>
                          </p:cTn>
                        </p:par>
                        <p:par>
                          <p:cTn id="43" fill="hold">
                            <p:stCondLst>
                              <p:cond delay="1000"/>
                            </p:stCondLst>
                            <p:childTnLst>
                              <p:par>
                                <p:cTn id="44" presetID="22" presetClass="entr" presetSubtype="8" fill="hold" grpId="0" nodeType="afterEffect">
                                  <p:stCondLst>
                                    <p:cond delay="0"/>
                                  </p:stCondLst>
                                  <p:childTnLst>
                                    <p:set>
                                      <p:cBhvr>
                                        <p:cTn id="45" dur="1" fill="hold">
                                          <p:stCondLst>
                                            <p:cond delay="0"/>
                                          </p:stCondLst>
                                        </p:cTn>
                                        <p:tgtEl>
                                          <p:spTgt spid="227"/>
                                        </p:tgtEl>
                                        <p:attrNameLst>
                                          <p:attrName>style.visibility</p:attrName>
                                        </p:attrNameLst>
                                      </p:cBhvr>
                                      <p:to>
                                        <p:strVal val="visible"/>
                                      </p:to>
                                    </p:set>
                                    <p:animEffect transition="in" filter="wipe(left)">
                                      <p:cBhvr>
                                        <p:cTn id="46" dur="500"/>
                                        <p:tgtEl>
                                          <p:spTgt spid="227"/>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241"/>
                                        </p:tgtEl>
                                        <p:attrNameLst>
                                          <p:attrName>style.visibility</p:attrName>
                                        </p:attrNameLst>
                                      </p:cBhvr>
                                      <p:to>
                                        <p:strVal val="visible"/>
                                      </p:to>
                                    </p:set>
                                    <p:animEffect transition="in" filter="wipe(left)">
                                      <p:cBhvr>
                                        <p:cTn id="51" dur="500"/>
                                        <p:tgtEl>
                                          <p:spTgt spid="241"/>
                                        </p:tgtEl>
                                      </p:cBhvr>
                                    </p:animEffect>
                                  </p:childTnLst>
                                </p:cTn>
                              </p:par>
                            </p:childTnLst>
                          </p:cTn>
                        </p:par>
                        <p:par>
                          <p:cTn id="52" fill="hold">
                            <p:stCondLst>
                              <p:cond delay="500"/>
                            </p:stCondLst>
                            <p:childTnLst>
                              <p:par>
                                <p:cTn id="53" presetID="10" presetClass="entr" presetSubtype="0" fill="hold" nodeType="afterEffect">
                                  <p:stCondLst>
                                    <p:cond delay="0"/>
                                  </p:stCondLst>
                                  <p:childTnLst>
                                    <p:set>
                                      <p:cBhvr>
                                        <p:cTn id="54" dur="1" fill="hold">
                                          <p:stCondLst>
                                            <p:cond delay="0"/>
                                          </p:stCondLst>
                                        </p:cTn>
                                        <p:tgtEl>
                                          <p:spTgt spid="233"/>
                                        </p:tgtEl>
                                        <p:attrNameLst>
                                          <p:attrName>style.visibility</p:attrName>
                                        </p:attrNameLst>
                                      </p:cBhvr>
                                      <p:to>
                                        <p:strVal val="visible"/>
                                      </p:to>
                                    </p:set>
                                    <p:animEffect transition="in" filter="fade">
                                      <p:cBhvr>
                                        <p:cTn id="55" dur="500"/>
                                        <p:tgtEl>
                                          <p:spTgt spid="233"/>
                                        </p:tgtEl>
                                      </p:cBhvr>
                                    </p:animEffect>
                                  </p:childTnLst>
                                </p:cTn>
                              </p:par>
                            </p:childTnLst>
                          </p:cTn>
                        </p:par>
                        <p:par>
                          <p:cTn id="56" fill="hold">
                            <p:stCondLst>
                              <p:cond delay="1000"/>
                            </p:stCondLst>
                            <p:childTnLst>
                              <p:par>
                                <p:cTn id="57" presetID="22" presetClass="entr" presetSubtype="8" fill="hold" grpId="0" nodeType="afterEffect">
                                  <p:stCondLst>
                                    <p:cond delay="0"/>
                                  </p:stCondLst>
                                  <p:childTnLst>
                                    <p:set>
                                      <p:cBhvr>
                                        <p:cTn id="58" dur="1" fill="hold">
                                          <p:stCondLst>
                                            <p:cond delay="0"/>
                                          </p:stCondLst>
                                        </p:cTn>
                                        <p:tgtEl>
                                          <p:spTgt spid="228"/>
                                        </p:tgtEl>
                                        <p:attrNameLst>
                                          <p:attrName>style.visibility</p:attrName>
                                        </p:attrNameLst>
                                      </p:cBhvr>
                                      <p:to>
                                        <p:strVal val="visible"/>
                                      </p:to>
                                    </p:set>
                                    <p:animEffect transition="in" filter="wipe(left)">
                                      <p:cBhvr>
                                        <p:cTn id="59" dur="500"/>
                                        <p:tgtEl>
                                          <p:spTgt spid="228"/>
                                        </p:tgtEl>
                                      </p:cBhvr>
                                    </p:animEffect>
                                  </p:childTnLst>
                                </p:cTn>
                              </p:par>
                            </p:childTnLst>
                          </p:cTn>
                        </p:par>
                        <p:par>
                          <p:cTn id="60" fill="hold">
                            <p:stCondLst>
                              <p:cond delay="1500"/>
                            </p:stCondLst>
                            <p:childTnLst>
                              <p:par>
                                <p:cTn id="61" presetID="22" presetClass="entr" presetSubtype="8" fill="hold" grpId="0" nodeType="afterEffect">
                                  <p:stCondLst>
                                    <p:cond delay="0"/>
                                  </p:stCondLst>
                                  <p:childTnLst>
                                    <p:set>
                                      <p:cBhvr>
                                        <p:cTn id="62" dur="1" fill="hold">
                                          <p:stCondLst>
                                            <p:cond delay="0"/>
                                          </p:stCondLst>
                                        </p:cTn>
                                        <p:tgtEl>
                                          <p:spTgt spid="229"/>
                                        </p:tgtEl>
                                        <p:attrNameLst>
                                          <p:attrName>style.visibility</p:attrName>
                                        </p:attrNameLst>
                                      </p:cBhvr>
                                      <p:to>
                                        <p:strVal val="visible"/>
                                      </p:to>
                                    </p:set>
                                    <p:animEffect transition="in" filter="wipe(left)">
                                      <p:cBhvr>
                                        <p:cTn id="63" dur="500"/>
                                        <p:tgtEl>
                                          <p:spTgt spid="229"/>
                                        </p:tgtEl>
                                      </p:cBhvr>
                                    </p:animEffect>
                                  </p:childTnLst>
                                </p:cTn>
                              </p:par>
                            </p:childTnLst>
                          </p:cTn>
                        </p:par>
                        <p:par>
                          <p:cTn id="64" fill="hold">
                            <p:stCondLst>
                              <p:cond delay="2000"/>
                            </p:stCondLst>
                            <p:childTnLst>
                              <p:par>
                                <p:cTn id="65" presetID="22" presetClass="entr" presetSubtype="8" fill="hold" grpId="0" nodeType="afterEffect">
                                  <p:stCondLst>
                                    <p:cond delay="0"/>
                                  </p:stCondLst>
                                  <p:childTnLst>
                                    <p:set>
                                      <p:cBhvr>
                                        <p:cTn id="66" dur="1" fill="hold">
                                          <p:stCondLst>
                                            <p:cond delay="0"/>
                                          </p:stCondLst>
                                        </p:cTn>
                                        <p:tgtEl>
                                          <p:spTgt spid="138"/>
                                        </p:tgtEl>
                                        <p:attrNameLst>
                                          <p:attrName>style.visibility</p:attrName>
                                        </p:attrNameLst>
                                      </p:cBhvr>
                                      <p:to>
                                        <p:strVal val="visible"/>
                                      </p:to>
                                    </p:set>
                                    <p:animEffect transition="in" filter="wipe(left)">
                                      <p:cBhvr>
                                        <p:cTn id="67" dur="500"/>
                                        <p:tgtEl>
                                          <p:spTgt spid="138"/>
                                        </p:tgtEl>
                                      </p:cBhvr>
                                    </p:animEffect>
                                  </p:childTnLst>
                                </p:cTn>
                              </p:par>
                            </p:childTnLst>
                          </p:cTn>
                        </p:par>
                        <p:par>
                          <p:cTn id="68" fill="hold">
                            <p:stCondLst>
                              <p:cond delay="2500"/>
                            </p:stCondLst>
                            <p:childTnLst>
                              <p:par>
                                <p:cTn id="69" presetID="22" presetClass="entr" presetSubtype="8" fill="hold" grpId="0" nodeType="afterEffect">
                                  <p:stCondLst>
                                    <p:cond delay="0"/>
                                  </p:stCondLst>
                                  <p:childTnLst>
                                    <p:set>
                                      <p:cBhvr>
                                        <p:cTn id="70" dur="1" fill="hold">
                                          <p:stCondLst>
                                            <p:cond delay="0"/>
                                          </p:stCondLst>
                                        </p:cTn>
                                        <p:tgtEl>
                                          <p:spTgt spid="146"/>
                                        </p:tgtEl>
                                        <p:attrNameLst>
                                          <p:attrName>style.visibility</p:attrName>
                                        </p:attrNameLst>
                                      </p:cBhvr>
                                      <p:to>
                                        <p:strVal val="visible"/>
                                      </p:to>
                                    </p:set>
                                    <p:animEffect transition="in" filter="wipe(left)">
                                      <p:cBhvr>
                                        <p:cTn id="71" dur="500"/>
                                        <p:tgtEl>
                                          <p:spTgt spid="146"/>
                                        </p:tgtEl>
                                      </p:cBhvr>
                                    </p:animEffect>
                                  </p:childTnLst>
                                </p:cTn>
                              </p:par>
                            </p:childTnLst>
                          </p:cTn>
                        </p:par>
                        <p:par>
                          <p:cTn id="72" fill="hold">
                            <p:stCondLst>
                              <p:cond delay="3000"/>
                            </p:stCondLst>
                            <p:childTnLst>
                              <p:par>
                                <p:cTn id="73" presetID="22" presetClass="entr" presetSubtype="8" fill="hold" grpId="0" nodeType="afterEffect">
                                  <p:stCondLst>
                                    <p:cond delay="0"/>
                                  </p:stCondLst>
                                  <p:childTnLst>
                                    <p:set>
                                      <p:cBhvr>
                                        <p:cTn id="74" dur="1" fill="hold">
                                          <p:stCondLst>
                                            <p:cond delay="0"/>
                                          </p:stCondLst>
                                        </p:cTn>
                                        <p:tgtEl>
                                          <p:spTgt spid="147"/>
                                        </p:tgtEl>
                                        <p:attrNameLst>
                                          <p:attrName>style.visibility</p:attrName>
                                        </p:attrNameLst>
                                      </p:cBhvr>
                                      <p:to>
                                        <p:strVal val="visible"/>
                                      </p:to>
                                    </p:set>
                                    <p:animEffect transition="in" filter="wipe(left)">
                                      <p:cBhvr>
                                        <p:cTn id="75"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 grpId="0" animBg="1"/>
      <p:bldP spid="219" grpId="0" animBg="1"/>
      <p:bldP spid="227" grpId="0" animBg="1"/>
      <p:bldP spid="228" grpId="0" animBg="1"/>
      <p:bldP spid="138" grpId="0" animBg="1"/>
      <p:bldP spid="146" grpId="0" animBg="1"/>
      <p:bldP spid="14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82161" y="1310560"/>
            <a:ext cx="4721631" cy="3638819"/>
          </a:xfrm>
        </p:spPr>
        <p:txBody>
          <a:bodyPr/>
          <a:lstStyle/>
          <a:p>
            <a:r>
              <a:rPr lang="en-US" sz="1961" dirty="0">
                <a:solidFill>
                  <a:srgbClr val="292929"/>
                </a:solidFill>
              </a:rPr>
              <a:t>Synchronize</a:t>
            </a:r>
          </a:p>
          <a:p>
            <a:pPr lvl="1"/>
            <a:r>
              <a:rPr lang="en-US" sz="1372" dirty="0">
                <a:solidFill>
                  <a:srgbClr val="292929"/>
                </a:solidFill>
              </a:rPr>
              <a:t>Employees</a:t>
            </a:r>
          </a:p>
          <a:p>
            <a:pPr lvl="1"/>
            <a:r>
              <a:rPr lang="en-US" sz="1372" dirty="0">
                <a:solidFill>
                  <a:srgbClr val="292929"/>
                </a:solidFill>
              </a:rPr>
              <a:t>Yearly checkup state</a:t>
            </a:r>
          </a:p>
          <a:p>
            <a:pPr lvl="1"/>
            <a:r>
              <a:rPr lang="en-US" sz="1372" dirty="0">
                <a:solidFill>
                  <a:srgbClr val="292929"/>
                </a:solidFill>
              </a:rPr>
              <a:t>Anonymous test results</a:t>
            </a:r>
          </a:p>
          <a:p>
            <a:r>
              <a:rPr lang="en-US" sz="1961" dirty="0">
                <a:solidFill>
                  <a:srgbClr val="292929"/>
                </a:solidFill>
              </a:rPr>
              <a:t>Create read/write entity</a:t>
            </a:r>
          </a:p>
          <a:p>
            <a:pPr lvl="1"/>
            <a:r>
              <a:rPr lang="en-US" sz="1372" dirty="0">
                <a:solidFill>
                  <a:srgbClr val="292929"/>
                </a:solidFill>
              </a:rPr>
              <a:t>Reward</a:t>
            </a:r>
          </a:p>
          <a:p>
            <a:r>
              <a:rPr lang="en-US" sz="1961" dirty="0">
                <a:solidFill>
                  <a:srgbClr val="292929"/>
                </a:solidFill>
              </a:rPr>
              <a:t>Relate in CDM</a:t>
            </a:r>
          </a:p>
          <a:p>
            <a:pPr lvl="1"/>
            <a:r>
              <a:rPr lang="en-US" sz="1372" dirty="0">
                <a:solidFill>
                  <a:srgbClr val="292929"/>
                </a:solidFill>
              </a:rPr>
              <a:t>Reward to Employee’’</a:t>
            </a:r>
          </a:p>
          <a:p>
            <a:pPr lvl="1"/>
            <a:r>
              <a:rPr lang="en-US" sz="1372" dirty="0">
                <a:solidFill>
                  <a:srgbClr val="292929"/>
                </a:solidFill>
              </a:rPr>
              <a:t>Checkup state to Employee’’</a:t>
            </a:r>
          </a:p>
          <a:p>
            <a:r>
              <a:rPr lang="en-US" sz="1961" dirty="0">
                <a:solidFill>
                  <a:srgbClr val="292929"/>
                </a:solidFill>
              </a:rPr>
              <a:t>Build</a:t>
            </a:r>
          </a:p>
          <a:p>
            <a:pPr lvl="1"/>
            <a:r>
              <a:rPr lang="en-US" sz="1372" dirty="0">
                <a:solidFill>
                  <a:srgbClr val="292929"/>
                </a:solidFill>
              </a:rPr>
              <a:t>Flow to notify employee on checkup state</a:t>
            </a:r>
          </a:p>
          <a:p>
            <a:pPr lvl="1"/>
            <a:r>
              <a:rPr lang="en-US" sz="1372" dirty="0">
                <a:solidFill>
                  <a:srgbClr val="292929"/>
                </a:solidFill>
              </a:rPr>
              <a:t>App to pick reward</a:t>
            </a:r>
          </a:p>
          <a:p>
            <a:endParaRPr lang="en-US" sz="1961" dirty="0">
              <a:solidFill>
                <a:srgbClr val="292929"/>
              </a:solidFill>
            </a:endParaRPr>
          </a:p>
        </p:txBody>
      </p:sp>
      <p:sp>
        <p:nvSpPr>
          <p:cNvPr id="3" name="Title 2"/>
          <p:cNvSpPr>
            <a:spLocks noGrp="1"/>
          </p:cNvSpPr>
          <p:nvPr>
            <p:ph type="title"/>
          </p:nvPr>
        </p:nvSpPr>
        <p:spPr>
          <a:xfrm>
            <a:off x="269241" y="289957"/>
            <a:ext cx="11655840" cy="980980"/>
          </a:xfrm>
          <a:solidFill>
            <a:schemeClr val="accent2"/>
          </a:solidFill>
        </p:spPr>
        <p:txBody>
          <a:bodyPr/>
          <a:lstStyle/>
          <a:p>
            <a:r>
              <a:rPr lang="en-US" sz="3137" dirty="0">
                <a:solidFill>
                  <a:schemeClr val="bg1"/>
                </a:solidFill>
              </a:rPr>
              <a:t>A real world example of Read-Only synchronized  entities and writable entities in CDM – Give employees a reward for completing a checkup</a:t>
            </a:r>
          </a:p>
        </p:txBody>
      </p:sp>
      <p:sp>
        <p:nvSpPr>
          <p:cNvPr id="20" name="TextBox 19"/>
          <p:cNvSpPr txBox="1"/>
          <p:nvPr/>
        </p:nvSpPr>
        <p:spPr>
          <a:xfrm>
            <a:off x="9921505" y="2755979"/>
            <a:ext cx="110532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PowerApps</a:t>
            </a:r>
          </a:p>
        </p:txBody>
      </p:sp>
      <p:cxnSp>
        <p:nvCxnSpPr>
          <p:cNvPr id="21" name="Straight Connector 20"/>
          <p:cNvCxnSpPr>
            <a:cxnSpLocks/>
          </p:cNvCxnSpPr>
          <p:nvPr/>
        </p:nvCxnSpPr>
        <p:spPr>
          <a:xfrm>
            <a:off x="9299962" y="4689612"/>
            <a:ext cx="0" cy="25775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2"/>
          <a:stretch>
            <a:fillRect/>
          </a:stretch>
        </p:blipFill>
        <p:spPr>
          <a:xfrm>
            <a:off x="8845110" y="4783760"/>
            <a:ext cx="985536" cy="1307731"/>
          </a:xfrm>
          <a:prstGeom prst="rect">
            <a:avLst/>
          </a:prstGeom>
        </p:spPr>
      </p:pic>
      <p:sp>
        <p:nvSpPr>
          <p:cNvPr id="23" name="TextBox 22"/>
          <p:cNvSpPr txBox="1"/>
          <p:nvPr/>
        </p:nvSpPr>
        <p:spPr>
          <a:xfrm>
            <a:off x="8439456" y="6021761"/>
            <a:ext cx="179684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Common Data Model</a:t>
            </a:r>
          </a:p>
        </p:txBody>
      </p:sp>
      <p:sp>
        <p:nvSpPr>
          <p:cNvPr id="25" name="TextBox 24"/>
          <p:cNvSpPr txBox="1"/>
          <p:nvPr/>
        </p:nvSpPr>
        <p:spPr>
          <a:xfrm>
            <a:off x="10897695" y="2778215"/>
            <a:ext cx="1339099"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Microsoft Flow</a:t>
            </a:r>
          </a:p>
        </p:txBody>
      </p:sp>
      <p:sp>
        <p:nvSpPr>
          <p:cNvPr id="26" name="Rectangle 25"/>
          <p:cNvSpPr/>
          <p:nvPr/>
        </p:nvSpPr>
        <p:spPr bwMode="auto">
          <a:xfrm>
            <a:off x="5727728" y="4026617"/>
            <a:ext cx="6222726" cy="2746542"/>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PowerApps Environment</a:t>
            </a:r>
          </a:p>
        </p:txBody>
      </p:sp>
      <p:pic>
        <p:nvPicPr>
          <p:cNvPr id="31" name="Picture 30"/>
          <p:cNvPicPr>
            <a:picLocks noChangeAspect="1"/>
          </p:cNvPicPr>
          <p:nvPr/>
        </p:nvPicPr>
        <p:blipFill rotWithShape="1">
          <a:blip r:embed="rId3"/>
          <a:srcRect b="85782"/>
          <a:stretch/>
        </p:blipFill>
        <p:spPr>
          <a:xfrm>
            <a:off x="7974226" y="4151853"/>
            <a:ext cx="2777468" cy="495169"/>
          </a:xfrm>
          <a:prstGeom prst="rect">
            <a:avLst/>
          </a:prstGeom>
        </p:spPr>
      </p:pic>
      <p:pic>
        <p:nvPicPr>
          <p:cNvPr id="33" name="Picture 32"/>
          <p:cNvPicPr>
            <a:picLocks noChangeAspect="1"/>
          </p:cNvPicPr>
          <p:nvPr/>
        </p:nvPicPr>
        <p:blipFill>
          <a:blip r:embed="rId4"/>
          <a:stretch>
            <a:fillRect/>
          </a:stretch>
        </p:blipFill>
        <p:spPr>
          <a:xfrm>
            <a:off x="10263420" y="2487195"/>
            <a:ext cx="485563" cy="404536"/>
          </a:xfrm>
          <a:prstGeom prst="rect">
            <a:avLst/>
          </a:prstGeom>
        </p:spPr>
      </p:pic>
      <p:pic>
        <p:nvPicPr>
          <p:cNvPr id="34" name="Picture 33"/>
          <p:cNvPicPr>
            <a:picLocks noChangeAspect="1"/>
          </p:cNvPicPr>
          <p:nvPr/>
        </p:nvPicPr>
        <p:blipFill>
          <a:blip r:embed="rId5"/>
          <a:stretch>
            <a:fillRect/>
          </a:stretch>
        </p:blipFill>
        <p:spPr>
          <a:xfrm>
            <a:off x="11464830" y="2508887"/>
            <a:ext cx="468830" cy="400091"/>
          </a:xfrm>
          <a:prstGeom prst="rect">
            <a:avLst/>
          </a:prstGeom>
        </p:spPr>
      </p:pic>
      <p:grpSp>
        <p:nvGrpSpPr>
          <p:cNvPr id="5" name="Group 4"/>
          <p:cNvGrpSpPr/>
          <p:nvPr/>
        </p:nvGrpSpPr>
        <p:grpSpPr>
          <a:xfrm>
            <a:off x="-253675" y="4834080"/>
            <a:ext cx="3835150" cy="1589757"/>
            <a:chOff x="4594197" y="3804270"/>
            <a:chExt cx="3912053" cy="1621635"/>
          </a:xfrm>
        </p:grpSpPr>
        <p:sp>
          <p:nvSpPr>
            <p:cNvPr id="64" name="Rectangle 63"/>
            <p:cNvSpPr/>
            <p:nvPr/>
          </p:nvSpPr>
          <p:spPr bwMode="auto">
            <a:xfrm>
              <a:off x="5303899" y="3804270"/>
              <a:ext cx="3202351" cy="1621635"/>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Employee Health System</a:t>
              </a:r>
            </a:p>
          </p:txBody>
        </p:sp>
        <p:pic>
          <p:nvPicPr>
            <p:cNvPr id="70" name="Picture 69"/>
            <p:cNvPicPr>
              <a:picLocks noChangeAspect="1"/>
            </p:cNvPicPr>
            <p:nvPr/>
          </p:nvPicPr>
          <p:blipFill rotWithShape="1">
            <a:blip r:embed="rId3"/>
            <a:srcRect b="85782"/>
            <a:stretch/>
          </p:blipFill>
          <p:spPr>
            <a:xfrm>
              <a:off x="4594197" y="3977638"/>
              <a:ext cx="2833162" cy="505098"/>
            </a:xfrm>
            <a:prstGeom prst="rect">
              <a:avLst/>
            </a:prstGeom>
          </p:spPr>
        </p:pic>
        <p:pic>
          <p:nvPicPr>
            <p:cNvPr id="71" name="Picture 70"/>
            <p:cNvPicPr>
              <a:picLocks noChangeAspect="1"/>
            </p:cNvPicPr>
            <p:nvPr/>
          </p:nvPicPr>
          <p:blipFill>
            <a:blip r:embed="rId2"/>
            <a:stretch>
              <a:fillRect/>
            </a:stretch>
          </p:blipFill>
          <p:spPr>
            <a:xfrm>
              <a:off x="5800712" y="4600446"/>
              <a:ext cx="420132" cy="557483"/>
            </a:xfrm>
            <a:prstGeom prst="rect">
              <a:avLst/>
            </a:prstGeom>
          </p:spPr>
        </p:pic>
      </p:grpSp>
      <p:grpSp>
        <p:nvGrpSpPr>
          <p:cNvPr id="72" name="Group 71"/>
          <p:cNvGrpSpPr/>
          <p:nvPr/>
        </p:nvGrpSpPr>
        <p:grpSpPr>
          <a:xfrm>
            <a:off x="4815647" y="2285955"/>
            <a:ext cx="2849098" cy="1589757"/>
            <a:chOff x="5303899" y="3804270"/>
            <a:chExt cx="3549709" cy="1621635"/>
          </a:xfrm>
        </p:grpSpPr>
        <p:sp>
          <p:nvSpPr>
            <p:cNvPr id="73" name="Rectangle 72"/>
            <p:cNvSpPr/>
            <p:nvPr/>
          </p:nvSpPr>
          <p:spPr bwMode="auto">
            <a:xfrm>
              <a:off x="5303899" y="3804270"/>
              <a:ext cx="3202351" cy="1621635"/>
            </a:xfrm>
            <a:prstGeom prst="rect">
              <a:avLst/>
            </a:prstGeom>
            <a:noFill/>
            <a:ln>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568" dirty="0">
                  <a:solidFill>
                    <a:srgbClr val="505050"/>
                  </a:solidFill>
                  <a:latin typeface="Segoe UI"/>
                </a:rPr>
                <a:t>Human Resources</a:t>
              </a:r>
            </a:p>
          </p:txBody>
        </p:sp>
        <p:pic>
          <p:nvPicPr>
            <p:cNvPr id="74" name="Picture 73"/>
            <p:cNvPicPr>
              <a:picLocks noChangeAspect="1"/>
            </p:cNvPicPr>
            <p:nvPr/>
          </p:nvPicPr>
          <p:blipFill rotWithShape="1">
            <a:blip r:embed="rId3"/>
            <a:srcRect b="85782"/>
            <a:stretch/>
          </p:blipFill>
          <p:spPr>
            <a:xfrm>
              <a:off x="6020446" y="3977638"/>
              <a:ext cx="2833162" cy="505098"/>
            </a:xfrm>
            <a:prstGeom prst="rect">
              <a:avLst/>
            </a:prstGeom>
          </p:spPr>
        </p:pic>
        <p:pic>
          <p:nvPicPr>
            <p:cNvPr id="75" name="Picture 74"/>
            <p:cNvPicPr>
              <a:picLocks noChangeAspect="1"/>
            </p:cNvPicPr>
            <p:nvPr/>
          </p:nvPicPr>
          <p:blipFill>
            <a:blip r:embed="rId2"/>
            <a:stretch>
              <a:fillRect/>
            </a:stretch>
          </p:blipFill>
          <p:spPr>
            <a:xfrm>
              <a:off x="7226961" y="4600446"/>
              <a:ext cx="420132" cy="557483"/>
            </a:xfrm>
            <a:prstGeom prst="rect">
              <a:avLst/>
            </a:prstGeom>
          </p:spPr>
        </p:pic>
      </p:grpSp>
      <p:sp>
        <p:nvSpPr>
          <p:cNvPr id="8" name="TextBox 7"/>
          <p:cNvSpPr txBox="1"/>
          <p:nvPr/>
        </p:nvSpPr>
        <p:spPr>
          <a:xfrm>
            <a:off x="6130576" y="5018612"/>
            <a:ext cx="2139371" cy="452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Stage Checkup Status’</a:t>
            </a:r>
          </a:p>
        </p:txBody>
      </p:sp>
      <p:sp>
        <p:nvSpPr>
          <p:cNvPr id="76" name="TextBox 75"/>
          <p:cNvSpPr txBox="1"/>
          <p:nvPr/>
        </p:nvSpPr>
        <p:spPr>
          <a:xfrm>
            <a:off x="10006563" y="4859406"/>
            <a:ext cx="1718018" cy="45259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Checkup State </a:t>
            </a:r>
            <a:r>
              <a:rPr lang="en-US" sz="980" dirty="0">
                <a:solidFill>
                  <a:srgbClr val="FFFFFF"/>
                </a:solidFill>
                <a:latin typeface="Segoe UI"/>
              </a:rPr>
              <a:t>(ODS)</a:t>
            </a:r>
          </a:p>
        </p:txBody>
      </p:sp>
      <p:sp>
        <p:nvSpPr>
          <p:cNvPr id="11" name="Flowchart: Process 10"/>
          <p:cNvSpPr/>
          <p:nvPr/>
        </p:nvSpPr>
        <p:spPr bwMode="auto">
          <a:xfrm>
            <a:off x="4236946" y="4783761"/>
            <a:ext cx="857274" cy="1097529"/>
          </a:xfrm>
          <a:prstGeom prst="flowChartProcess">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Data</a:t>
            </a:r>
          </a:p>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Sync</a:t>
            </a:r>
          </a:p>
        </p:txBody>
      </p:sp>
      <p:sp>
        <p:nvSpPr>
          <p:cNvPr id="79" name="TextBox 78"/>
          <p:cNvSpPr txBox="1"/>
          <p:nvPr/>
        </p:nvSpPr>
        <p:spPr>
          <a:xfrm>
            <a:off x="4879337" y="3095987"/>
            <a:ext cx="1411112" cy="45259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505050"/>
                </a:solidFill>
                <a:latin typeface="Segoe UI"/>
              </a:rPr>
              <a:t>Employee</a:t>
            </a:r>
          </a:p>
        </p:txBody>
      </p:sp>
      <p:sp>
        <p:nvSpPr>
          <p:cNvPr id="80" name="TextBox 79"/>
          <p:cNvSpPr txBox="1"/>
          <p:nvPr/>
        </p:nvSpPr>
        <p:spPr>
          <a:xfrm>
            <a:off x="1658145" y="5085700"/>
            <a:ext cx="1884450" cy="45259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Yearly Checkup Status</a:t>
            </a:r>
          </a:p>
        </p:txBody>
      </p:sp>
      <p:sp>
        <p:nvSpPr>
          <p:cNvPr id="35" name="TextBox 34"/>
          <p:cNvSpPr txBox="1"/>
          <p:nvPr/>
        </p:nvSpPr>
        <p:spPr>
          <a:xfrm>
            <a:off x="10015058" y="5397822"/>
            <a:ext cx="1718018" cy="45259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Reward </a:t>
            </a:r>
            <a:r>
              <a:rPr lang="en-US" sz="980" dirty="0">
                <a:solidFill>
                  <a:srgbClr val="FFFFFF"/>
                </a:solidFill>
                <a:latin typeface="Segoe UI"/>
              </a:rPr>
              <a:t>(TP)</a:t>
            </a:r>
          </a:p>
        </p:txBody>
      </p:sp>
      <p:cxnSp>
        <p:nvCxnSpPr>
          <p:cNvPr id="15" name="Connector: Elbow 14"/>
          <p:cNvCxnSpPr>
            <a:cxnSpLocks/>
            <a:stCxn id="35" idx="2"/>
            <a:endCxn id="61" idx="0"/>
          </p:cNvCxnSpPr>
          <p:nvPr/>
        </p:nvCxnSpPr>
        <p:spPr>
          <a:xfrm rot="5400000" flipH="1">
            <a:off x="10112760" y="5089106"/>
            <a:ext cx="1522613" cy="12450"/>
          </a:xfrm>
          <a:prstGeom prst="bentConnector5">
            <a:avLst>
              <a:gd name="adj1" fmla="val -14719"/>
              <a:gd name="adj2" fmla="val 8699480"/>
              <a:gd name="adj3" fmla="val 114719"/>
            </a:avLst>
          </a:prstGeom>
          <a:ln w="57150">
            <a:solidFill>
              <a:srgbClr val="292929"/>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6"/>
          <a:stretch>
            <a:fillRect/>
          </a:stretch>
        </p:blipFill>
        <p:spPr>
          <a:xfrm>
            <a:off x="8909033" y="2501640"/>
            <a:ext cx="452593" cy="323200"/>
          </a:xfrm>
          <a:prstGeom prst="rect">
            <a:avLst/>
          </a:prstGeom>
        </p:spPr>
      </p:pic>
      <p:sp>
        <p:nvSpPr>
          <p:cNvPr id="40" name="TextBox 39"/>
          <p:cNvSpPr txBox="1"/>
          <p:nvPr/>
        </p:nvSpPr>
        <p:spPr>
          <a:xfrm>
            <a:off x="8642904" y="2738639"/>
            <a:ext cx="93560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rgbClr val="505050"/>
                    </a:gs>
                    <a:gs pos="30000">
                      <a:srgbClr val="505050"/>
                    </a:gs>
                  </a:gsLst>
                  <a:lin ang="5400000" scaled="0"/>
                </a:gradFill>
                <a:latin typeface="Segoe UI"/>
              </a:rPr>
              <a:t>Power BI</a:t>
            </a:r>
          </a:p>
        </p:txBody>
      </p:sp>
      <p:pic>
        <p:nvPicPr>
          <p:cNvPr id="41" name="Picture 40"/>
          <p:cNvPicPr>
            <a:picLocks noChangeAspect="1"/>
          </p:cNvPicPr>
          <p:nvPr/>
        </p:nvPicPr>
        <p:blipFill>
          <a:blip r:embed="rId7"/>
          <a:stretch>
            <a:fillRect/>
          </a:stretch>
        </p:blipFill>
        <p:spPr>
          <a:xfrm>
            <a:off x="9142030" y="3116798"/>
            <a:ext cx="506920" cy="562365"/>
          </a:xfrm>
          <a:prstGeom prst="rect">
            <a:avLst/>
          </a:prstGeom>
        </p:spPr>
      </p:pic>
      <p:sp>
        <p:nvSpPr>
          <p:cNvPr id="42" name="TextBox 41"/>
          <p:cNvSpPr txBox="1"/>
          <p:nvPr/>
        </p:nvSpPr>
        <p:spPr>
          <a:xfrm>
            <a:off x="8413576" y="3591823"/>
            <a:ext cx="1363112" cy="452590"/>
          </a:xfrm>
          <a:prstGeom prst="rect">
            <a:avLst/>
          </a:prstGeom>
          <a:noFill/>
        </p:spPr>
        <p:txBody>
          <a:bodyPr wrap="none" lIns="179285" tIns="143428" rIns="179285" bIns="143428" rtlCol="0">
            <a:spAutoFit/>
          </a:bodyPr>
          <a:lstStyle>
            <a:defPPr>
              <a:defRPr lang="en-US"/>
            </a:defPPr>
            <a:lvl1pPr>
              <a:lnSpc>
                <a:spcPct val="90000"/>
              </a:lnSpc>
              <a:spcAft>
                <a:spcPts val="600"/>
              </a:spcAft>
              <a:defRPr sz="1200">
                <a:gradFill>
                  <a:gsLst>
                    <a:gs pos="2917">
                      <a:schemeClr val="tx1"/>
                    </a:gs>
                    <a:gs pos="30000">
                      <a:schemeClr val="tx1"/>
                    </a:gs>
                  </a:gsLst>
                  <a:lin ang="5400000" scaled="0"/>
                </a:gradFill>
              </a:defRPr>
            </a:lvl1pPr>
          </a:lstStyle>
          <a:p>
            <a:pPr defTabSz="896386">
              <a:spcAft>
                <a:spcPts val="588"/>
              </a:spcAft>
              <a:defRPr/>
            </a:pPr>
            <a:r>
              <a:rPr lang="en-US" sz="1176" kern="0" dirty="0">
                <a:gradFill>
                  <a:gsLst>
                    <a:gs pos="2917">
                      <a:srgbClr val="505050"/>
                    </a:gs>
                    <a:gs pos="30000">
                      <a:srgbClr val="505050"/>
                    </a:gs>
                  </a:gsLst>
                  <a:lin ang="5400000" scaled="0"/>
                </a:gradFill>
                <a:latin typeface="Segoe UI"/>
              </a:rPr>
              <a:t>Analysis Model</a:t>
            </a:r>
          </a:p>
        </p:txBody>
      </p:sp>
      <p:sp>
        <p:nvSpPr>
          <p:cNvPr id="47" name="Arrow: Down 46"/>
          <p:cNvSpPr/>
          <p:nvPr/>
        </p:nvSpPr>
        <p:spPr bwMode="auto">
          <a:xfrm>
            <a:off x="4806205" y="3462719"/>
            <a:ext cx="298808" cy="148464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765" dirty="0">
                <a:solidFill>
                  <a:srgbClr val="292929"/>
                </a:solidFill>
                <a:latin typeface="Segoe UI"/>
              </a:rPr>
              <a:t>bulk</a:t>
            </a:r>
          </a:p>
        </p:txBody>
      </p:sp>
      <p:sp>
        <p:nvSpPr>
          <p:cNvPr id="48" name="Arrow: Down 47"/>
          <p:cNvSpPr/>
          <p:nvPr/>
        </p:nvSpPr>
        <p:spPr bwMode="auto">
          <a:xfrm rot="16200000">
            <a:off x="5496913" y="4414020"/>
            <a:ext cx="298808" cy="927079"/>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transform</a:t>
            </a:r>
          </a:p>
        </p:txBody>
      </p:sp>
      <p:sp>
        <p:nvSpPr>
          <p:cNvPr id="56" name="Arrow: Down 55"/>
          <p:cNvSpPr/>
          <p:nvPr/>
        </p:nvSpPr>
        <p:spPr bwMode="auto">
          <a:xfrm rot="16200000">
            <a:off x="8875085" y="3859220"/>
            <a:ext cx="298808" cy="1504404"/>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cleanse</a:t>
            </a:r>
          </a:p>
        </p:txBody>
      </p:sp>
      <p:sp>
        <p:nvSpPr>
          <p:cNvPr id="58" name="Arrow: Down 57"/>
          <p:cNvSpPr/>
          <p:nvPr/>
        </p:nvSpPr>
        <p:spPr bwMode="auto">
          <a:xfrm rot="16200000">
            <a:off x="3541801" y="4187705"/>
            <a:ext cx="298808" cy="1730762"/>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Load with </a:t>
            </a:r>
            <a:r>
              <a:rPr lang="en-US" sz="1372" dirty="0" err="1">
                <a:solidFill>
                  <a:srgbClr val="292929"/>
                </a:solidFill>
                <a:latin typeface="Segoe UI"/>
              </a:rPr>
              <a:t>empl</a:t>
            </a:r>
            <a:r>
              <a:rPr lang="en-US" sz="1372" dirty="0">
                <a:solidFill>
                  <a:srgbClr val="292929"/>
                </a:solidFill>
                <a:latin typeface="Segoe UI"/>
              </a:rPr>
              <a:t> ID</a:t>
            </a:r>
          </a:p>
        </p:txBody>
      </p:sp>
      <p:sp>
        <p:nvSpPr>
          <p:cNvPr id="59" name="TextBox 58"/>
          <p:cNvSpPr txBox="1"/>
          <p:nvPr/>
        </p:nvSpPr>
        <p:spPr>
          <a:xfrm>
            <a:off x="6141561" y="4463888"/>
            <a:ext cx="2139371" cy="452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Stage Employee’</a:t>
            </a:r>
          </a:p>
        </p:txBody>
      </p:sp>
      <p:sp>
        <p:nvSpPr>
          <p:cNvPr id="60" name="Arrow: Down 59"/>
          <p:cNvSpPr/>
          <p:nvPr/>
        </p:nvSpPr>
        <p:spPr bwMode="auto">
          <a:xfrm rot="16200000">
            <a:off x="5404513" y="4706885"/>
            <a:ext cx="298808" cy="1182714"/>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transform</a:t>
            </a:r>
          </a:p>
        </p:txBody>
      </p:sp>
      <p:sp>
        <p:nvSpPr>
          <p:cNvPr id="61" name="TextBox 60"/>
          <p:cNvSpPr txBox="1"/>
          <p:nvPr/>
        </p:nvSpPr>
        <p:spPr>
          <a:xfrm>
            <a:off x="10015058" y="4327799"/>
            <a:ext cx="1718018" cy="45259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179285" tIns="143428" rIns="179285" bIns="143428" rtlCol="0">
            <a:spAutoFit/>
          </a:bodyPr>
          <a:lstStyle/>
          <a:p>
            <a:pPr defTabSz="914367">
              <a:lnSpc>
                <a:spcPct val="90000"/>
              </a:lnSpc>
              <a:spcAft>
                <a:spcPts val="588"/>
              </a:spcAft>
            </a:pPr>
            <a:r>
              <a:rPr lang="en-US" sz="1176" dirty="0">
                <a:solidFill>
                  <a:srgbClr val="FFFFFF"/>
                </a:solidFill>
                <a:latin typeface="Segoe UI"/>
              </a:rPr>
              <a:t>Employee’’ </a:t>
            </a:r>
            <a:r>
              <a:rPr lang="en-US" sz="980" dirty="0">
                <a:solidFill>
                  <a:srgbClr val="FFFFFF"/>
                </a:solidFill>
                <a:latin typeface="Segoe UI"/>
              </a:rPr>
              <a:t>(ODS)</a:t>
            </a:r>
          </a:p>
        </p:txBody>
      </p:sp>
      <p:cxnSp>
        <p:nvCxnSpPr>
          <p:cNvPr id="62" name="Connector: Elbow 61"/>
          <p:cNvCxnSpPr>
            <a:cxnSpLocks/>
            <a:stCxn id="76" idx="3"/>
            <a:endCxn id="61" idx="3"/>
          </p:cNvCxnSpPr>
          <p:nvPr/>
        </p:nvCxnSpPr>
        <p:spPr>
          <a:xfrm flipV="1">
            <a:off x="11724582" y="4554094"/>
            <a:ext cx="8495" cy="531607"/>
          </a:xfrm>
          <a:prstGeom prst="bentConnector3">
            <a:avLst>
              <a:gd name="adj1" fmla="val 2738200"/>
            </a:avLst>
          </a:prstGeom>
          <a:ln w="57150">
            <a:solidFill>
              <a:srgbClr val="29292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Arrow: Down 62"/>
          <p:cNvSpPr/>
          <p:nvPr/>
        </p:nvSpPr>
        <p:spPr bwMode="auto">
          <a:xfrm rot="16200000">
            <a:off x="8831472" y="4582608"/>
            <a:ext cx="298808" cy="1401652"/>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vert"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372" dirty="0">
                <a:solidFill>
                  <a:srgbClr val="292929"/>
                </a:solidFill>
                <a:latin typeface="Segoe UI"/>
              </a:rPr>
              <a:t>Cleanse</a:t>
            </a:r>
          </a:p>
        </p:txBody>
      </p:sp>
      <p:sp>
        <p:nvSpPr>
          <p:cNvPr id="16" name="Flowchart: Process 15"/>
          <p:cNvSpPr/>
          <p:nvPr/>
        </p:nvSpPr>
        <p:spPr bwMode="auto">
          <a:xfrm>
            <a:off x="8484583" y="1816706"/>
            <a:ext cx="1252245" cy="61915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5439">
                      <a:srgbClr val="F8F8F8"/>
                    </a:gs>
                    <a:gs pos="10000">
                      <a:srgbClr val="F8F8F8"/>
                    </a:gs>
                  </a:gsLst>
                  <a:lin ang="5400000" scaled="0"/>
                </a:gradFill>
                <a:latin typeface="Segoe UI"/>
              </a:rPr>
              <a:t>Gift Report</a:t>
            </a:r>
          </a:p>
        </p:txBody>
      </p:sp>
      <p:sp>
        <p:nvSpPr>
          <p:cNvPr id="66" name="Flowchart: Process 65"/>
          <p:cNvSpPr/>
          <p:nvPr/>
        </p:nvSpPr>
        <p:spPr bwMode="auto">
          <a:xfrm>
            <a:off x="9830646" y="1798943"/>
            <a:ext cx="1252245" cy="64874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Gift Selection App</a:t>
            </a:r>
          </a:p>
        </p:txBody>
      </p:sp>
      <p:sp>
        <p:nvSpPr>
          <p:cNvPr id="67" name="Flowchart: Process 66"/>
          <p:cNvSpPr/>
          <p:nvPr/>
        </p:nvSpPr>
        <p:spPr bwMode="auto">
          <a:xfrm>
            <a:off x="11176708" y="1798943"/>
            <a:ext cx="981022" cy="648744"/>
          </a:xfrm>
          <a:prstGeom prst="flowChartProces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5439">
                      <a:srgbClr val="F8F8F8"/>
                    </a:gs>
                    <a:gs pos="10000">
                      <a:srgbClr val="F8F8F8"/>
                    </a:gs>
                  </a:gsLst>
                  <a:lin ang="5400000" scaled="0"/>
                </a:gradFill>
                <a:latin typeface="Segoe UI"/>
              </a:rPr>
              <a:t>Notify of Reward</a:t>
            </a:r>
          </a:p>
        </p:txBody>
      </p:sp>
      <p:sp>
        <p:nvSpPr>
          <p:cNvPr id="17" name="Arrow: Up-Down 16"/>
          <p:cNvSpPr/>
          <p:nvPr/>
        </p:nvSpPr>
        <p:spPr bwMode="auto">
          <a:xfrm>
            <a:off x="10182906" y="3162812"/>
            <a:ext cx="566078" cy="821215"/>
          </a:xfrm>
          <a:prstGeom prst="up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69" name="TextBox 68"/>
          <p:cNvSpPr txBox="1"/>
          <p:nvPr/>
        </p:nvSpPr>
        <p:spPr>
          <a:xfrm>
            <a:off x="3726159" y="1375742"/>
            <a:ext cx="4467184" cy="908196"/>
          </a:xfrm>
          <a:prstGeom prst="rect">
            <a:avLst/>
          </a:prstGeom>
          <a:noFill/>
        </p:spPr>
        <p:txBody>
          <a:bodyPr wrap="none" lIns="179285" tIns="143428" rIns="179285" bIns="143428" rtlCol="0">
            <a:spAutoFit/>
          </a:bodyPr>
          <a:lstStyle/>
          <a:p>
            <a:pPr defTabSz="914367">
              <a:lnSpc>
                <a:spcPct val="90000"/>
              </a:lnSpc>
              <a:spcAft>
                <a:spcPts val="588"/>
              </a:spcAft>
            </a:pPr>
            <a:r>
              <a:rPr lang="en-US" sz="1961" b="1" dirty="0">
                <a:solidFill>
                  <a:srgbClr val="D83B01">
                    <a:lumMod val="60000"/>
                    <a:lumOff val="40000"/>
                  </a:srgbClr>
                </a:solidFill>
                <a:latin typeface="Segoe UI"/>
              </a:rPr>
              <a:t>Scenario: Give employees a reward</a:t>
            </a:r>
          </a:p>
          <a:p>
            <a:pPr defTabSz="914367">
              <a:lnSpc>
                <a:spcPct val="90000"/>
              </a:lnSpc>
              <a:spcAft>
                <a:spcPts val="588"/>
              </a:spcAft>
            </a:pPr>
            <a:r>
              <a:rPr lang="en-US" sz="1961" b="1" dirty="0">
                <a:solidFill>
                  <a:srgbClr val="D83B01">
                    <a:lumMod val="60000"/>
                    <a:lumOff val="40000"/>
                  </a:srgbClr>
                </a:solidFill>
                <a:latin typeface="Segoe UI"/>
              </a:rPr>
              <a:t>for getting yearly checkup</a:t>
            </a:r>
          </a:p>
        </p:txBody>
      </p:sp>
      <p:pic>
        <p:nvPicPr>
          <p:cNvPr id="77" name="Picture 76"/>
          <p:cNvPicPr>
            <a:picLocks noChangeAspect="1"/>
          </p:cNvPicPr>
          <p:nvPr/>
        </p:nvPicPr>
        <p:blipFill>
          <a:blip r:embed="rId8"/>
          <a:stretch>
            <a:fillRect/>
          </a:stretch>
        </p:blipFill>
        <p:spPr>
          <a:xfrm>
            <a:off x="8679300" y="3191445"/>
            <a:ext cx="391504" cy="433495"/>
          </a:xfrm>
          <a:prstGeom prst="rect">
            <a:avLst/>
          </a:prstGeom>
        </p:spPr>
      </p:pic>
    </p:spTree>
    <p:extLst>
      <p:ext uri="{BB962C8B-B14F-4D97-AF65-F5344CB8AC3E}">
        <p14:creationId xmlns:p14="http://schemas.microsoft.com/office/powerpoint/2010/main" val="1059360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56" grpId="0" animBg="1"/>
      <p:bldP spid="58" grpId="0" animBg="1"/>
      <p:bldP spid="60" grpId="0" animBg="1"/>
      <p:bldP spid="6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l="-7888" r="7888"/>
          <a:stretch/>
        </p:blipFill>
        <p:spPr>
          <a:xfrm>
            <a:off x="1923568" y="0"/>
            <a:ext cx="10279562" cy="6858000"/>
          </a:xfrm>
          <a:prstGeom prst="rect">
            <a:avLst/>
          </a:prstGeom>
        </p:spPr>
      </p:pic>
      <p:sp>
        <p:nvSpPr>
          <p:cNvPr id="10" name="Rectangle 9"/>
          <p:cNvSpPr/>
          <p:nvPr/>
        </p:nvSpPr>
        <p:spPr bwMode="auto">
          <a:xfrm>
            <a:off x="2681702" y="0"/>
            <a:ext cx="5835300" cy="6874042"/>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p:cNvSpPr/>
          <p:nvPr/>
        </p:nvSpPr>
        <p:spPr>
          <a:xfrm>
            <a:off x="-38100" y="0"/>
            <a:ext cx="8194417" cy="6874042"/>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bwMode="auto">
          <a:xfrm rot="10800000">
            <a:off x="0" y="5292100"/>
            <a:ext cx="12192000" cy="1581942"/>
          </a:xfrm>
          <a:prstGeom prst="rect">
            <a:avLst/>
          </a:prstGeom>
          <a:gradFill>
            <a:gsLst>
              <a:gs pos="0">
                <a:srgbClr val="000000">
                  <a:alpha val="4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grpSp>
        <p:nvGrpSpPr>
          <p:cNvPr id="3" name="Group 2"/>
          <p:cNvGrpSpPr/>
          <p:nvPr/>
        </p:nvGrpSpPr>
        <p:grpSpPr>
          <a:xfrm>
            <a:off x="1502208" y="1760463"/>
            <a:ext cx="1211267" cy="733392"/>
            <a:chOff x="-2279425" y="3855758"/>
            <a:chExt cx="1211267" cy="733392"/>
          </a:xfrm>
        </p:grpSpPr>
        <p:sp>
          <p:nvSpPr>
            <p:cNvPr id="116" name="Freeform 13"/>
            <p:cNvSpPr>
              <a:spLocks noEditPoints="1"/>
            </p:cNvSpPr>
            <p:nvPr/>
          </p:nvSpPr>
          <p:spPr bwMode="auto">
            <a:xfrm>
              <a:off x="-1900232" y="3855758"/>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TextBox 116"/>
            <p:cNvSpPr txBox="1"/>
            <p:nvPr/>
          </p:nvSpPr>
          <p:spPr>
            <a:xfrm>
              <a:off x="-2279425" y="4326001"/>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grpSp>
      <p:grpSp>
        <p:nvGrpSpPr>
          <p:cNvPr id="5" name="Group 4"/>
          <p:cNvGrpSpPr/>
          <p:nvPr/>
        </p:nvGrpSpPr>
        <p:grpSpPr>
          <a:xfrm>
            <a:off x="1775715" y="5408912"/>
            <a:ext cx="664252" cy="652502"/>
            <a:chOff x="-1986724" y="4891070"/>
            <a:chExt cx="664252" cy="652502"/>
          </a:xfrm>
        </p:grpSpPr>
        <p:grpSp>
          <p:nvGrpSpPr>
            <p:cNvPr id="119" name="Group 118"/>
            <p:cNvGrpSpPr/>
            <p:nvPr/>
          </p:nvGrpSpPr>
          <p:grpSpPr>
            <a:xfrm>
              <a:off x="-1851156" y="4891070"/>
              <a:ext cx="387391" cy="454774"/>
              <a:chOff x="1968596" y="3790350"/>
              <a:chExt cx="335351" cy="393683"/>
            </a:xfrm>
          </p:grpSpPr>
          <p:sp>
            <p:nvSpPr>
              <p:cNvPr id="120" name="Left Bracket 119"/>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Left Bracket 120"/>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p:cNvGrpSpPr/>
              <p:nvPr/>
            </p:nvGrpSpPr>
            <p:grpSpPr>
              <a:xfrm>
                <a:off x="2028183" y="3878528"/>
                <a:ext cx="247064" cy="244013"/>
                <a:chOff x="4020820" y="2536426"/>
                <a:chExt cx="1116178" cy="1102393"/>
              </a:xfrm>
            </p:grpSpPr>
            <p:sp>
              <p:nvSpPr>
                <p:cNvPr id="123" name="Rectangle 122"/>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4" name="Rectangle 123"/>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5" name="Rectangle 124"/>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6" name="Rectangle 125"/>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7" name="Rectangle 126"/>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8" name="Rectangle 127"/>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129" name="TextBox 128"/>
            <p:cNvSpPr txBox="1"/>
            <p:nvPr/>
          </p:nvSpPr>
          <p:spPr>
            <a:xfrm>
              <a:off x="-1986724" y="5411998"/>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grpSp>
      <p:grpSp>
        <p:nvGrpSpPr>
          <p:cNvPr id="6" name="Group 5"/>
          <p:cNvGrpSpPr/>
          <p:nvPr/>
        </p:nvGrpSpPr>
        <p:grpSpPr>
          <a:xfrm>
            <a:off x="5350769" y="5297968"/>
            <a:ext cx="1211267" cy="874391"/>
            <a:chOff x="-2267750" y="5744816"/>
            <a:chExt cx="1211267" cy="874391"/>
          </a:xfrm>
        </p:grpSpPr>
        <p:sp>
          <p:nvSpPr>
            <p:cNvPr id="135" name="Freeform 21"/>
            <p:cNvSpPr>
              <a:spLocks noEditPoints="1"/>
            </p:cNvSpPr>
            <p:nvPr/>
          </p:nvSpPr>
          <p:spPr bwMode="auto">
            <a:xfrm>
              <a:off x="-1930001" y="5744816"/>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TextBox 135"/>
            <p:cNvSpPr txBox="1"/>
            <p:nvPr/>
          </p:nvSpPr>
          <p:spPr>
            <a:xfrm>
              <a:off x="-2267750" y="6356058"/>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earning</a:t>
              </a:r>
            </a:p>
          </p:txBody>
        </p:sp>
      </p:grpSp>
      <p:grpSp>
        <p:nvGrpSpPr>
          <p:cNvPr id="16" name="Group 15"/>
          <p:cNvGrpSpPr/>
          <p:nvPr/>
        </p:nvGrpSpPr>
        <p:grpSpPr>
          <a:xfrm>
            <a:off x="1661695" y="4181723"/>
            <a:ext cx="886566" cy="775347"/>
            <a:chOff x="5750967" y="1478951"/>
            <a:chExt cx="886566" cy="775347"/>
          </a:xfrm>
        </p:grpSpPr>
        <p:grpSp>
          <p:nvGrpSpPr>
            <p:cNvPr id="155" name="Group 154"/>
            <p:cNvGrpSpPr>
              <a:grpSpLocks noChangeAspect="1"/>
            </p:cNvGrpSpPr>
            <p:nvPr/>
          </p:nvGrpSpPr>
          <p:grpSpPr bwMode="black">
            <a:xfrm>
              <a:off x="5874938" y="1478951"/>
              <a:ext cx="638624" cy="482738"/>
              <a:chOff x="5152725" y="4450437"/>
              <a:chExt cx="311284" cy="235362"/>
            </a:xfrm>
          </p:grpSpPr>
          <p:sp>
            <p:nvSpPr>
              <p:cNvPr id="156"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sp>
            <p:nvSpPr>
              <p:cNvPr id="157"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58" name="TextBox 157"/>
            <p:cNvSpPr txBox="1"/>
            <p:nvPr/>
          </p:nvSpPr>
          <p:spPr>
            <a:xfrm>
              <a:off x="5750967" y="1991149"/>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otification Hubs</a:t>
              </a:r>
            </a:p>
          </p:txBody>
        </p:sp>
      </p:grpSp>
      <p:sp>
        <p:nvSpPr>
          <p:cNvPr id="18" name="TextBox 17"/>
          <p:cNvSpPr txBox="1"/>
          <p:nvPr/>
        </p:nvSpPr>
        <p:spPr>
          <a:xfrm>
            <a:off x="394580" y="1331344"/>
            <a:ext cx="859582"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Patient</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5" name="TextBox 164"/>
          <p:cNvSpPr txBox="1"/>
          <p:nvPr/>
        </p:nvSpPr>
        <p:spPr>
          <a:xfrm>
            <a:off x="3346983" y="1331344"/>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charset="0"/>
                <a:ea typeface="Segoe Pro" charset="0"/>
                <a:cs typeface="Segoe Pro" charset="0"/>
              </a:rPr>
              <a:t>Azure</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6" name="TextBox 165"/>
          <p:cNvSpPr txBox="1"/>
          <p:nvPr/>
        </p:nvSpPr>
        <p:spPr>
          <a:xfrm>
            <a:off x="6468517" y="1331344"/>
            <a:ext cx="1510961"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Visualization and Integration</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cxnSp>
        <p:nvCxnSpPr>
          <p:cNvPr id="21" name="Straight Connector 20"/>
          <p:cNvCxnSpPr/>
          <p:nvPr/>
        </p:nvCxnSpPr>
        <p:spPr>
          <a:xfrm>
            <a:off x="1483718"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468517" y="1331344"/>
            <a:ext cx="0" cy="515628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6767339" y="3983495"/>
            <a:ext cx="886566" cy="788741"/>
            <a:chOff x="-2096840" y="2825851"/>
            <a:chExt cx="886566" cy="788741"/>
          </a:xfrm>
        </p:grpSpPr>
        <p:sp>
          <p:nvSpPr>
            <p:cNvPr id="179" name="Freeform 144"/>
            <p:cNvSpPr>
              <a:spLocks noChangeAspect="1" noEditPoints="1"/>
            </p:cNvSpPr>
            <p:nvPr/>
          </p:nvSpPr>
          <p:spPr bwMode="black">
            <a:xfrm>
              <a:off x="-1881548" y="2825851"/>
              <a:ext cx="455982" cy="428545"/>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chemeClr val="bg1"/>
            </a:solidFill>
            <a:ln>
              <a:noFill/>
            </a:ln>
            <a:extLst/>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TextBox 179"/>
            <p:cNvSpPr txBox="1"/>
            <p:nvPr/>
          </p:nvSpPr>
          <p:spPr>
            <a:xfrm>
              <a:off x="-2096840" y="3351443"/>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icrosoft Dynamics CRM</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81" name="Group 180"/>
          <p:cNvGrpSpPr/>
          <p:nvPr/>
        </p:nvGrpSpPr>
        <p:grpSpPr>
          <a:xfrm>
            <a:off x="6721672" y="2839442"/>
            <a:ext cx="977900" cy="768561"/>
            <a:chOff x="-22162" y="5653284"/>
            <a:chExt cx="977900" cy="768561"/>
          </a:xfrm>
        </p:grpSpPr>
        <p:grpSp>
          <p:nvGrpSpPr>
            <p:cNvPr id="182" name="Group 181"/>
            <p:cNvGrpSpPr/>
            <p:nvPr/>
          </p:nvGrpSpPr>
          <p:grpSpPr>
            <a:xfrm>
              <a:off x="44051" y="5653284"/>
              <a:ext cx="845472" cy="543924"/>
              <a:chOff x="45869" y="5715530"/>
              <a:chExt cx="1065180" cy="685270"/>
            </a:xfrm>
          </p:grpSpPr>
          <p:sp>
            <p:nvSpPr>
              <p:cNvPr id="184" name="Freeform 183"/>
              <p:cNvSpPr>
                <a:spLocks noChangeAspect="1"/>
              </p:cNvSpPr>
              <p:nvPr/>
            </p:nvSpPr>
            <p:spPr bwMode="black">
              <a:xfrm>
                <a:off x="355298" y="5870095"/>
                <a:ext cx="448096" cy="289541"/>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20"/>
              <p:cNvSpPr>
                <a:spLocks noEditPoints="1"/>
              </p:cNvSpPr>
              <p:nvPr/>
            </p:nvSpPr>
            <p:spPr bwMode="black">
              <a:xfrm>
                <a:off x="45869" y="5715530"/>
                <a:ext cx="1065180" cy="68527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83" name="TextBox 182"/>
            <p:cNvSpPr txBox="1"/>
            <p:nvPr/>
          </p:nvSpPr>
          <p:spPr>
            <a:xfrm>
              <a:off x="-22162" y="6290271"/>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Dashboards</a:t>
              </a:r>
            </a:p>
          </p:txBody>
        </p:sp>
      </p:grpSp>
      <p:grpSp>
        <p:nvGrpSpPr>
          <p:cNvPr id="189" name="Group 188"/>
          <p:cNvGrpSpPr/>
          <p:nvPr/>
        </p:nvGrpSpPr>
        <p:grpSpPr>
          <a:xfrm>
            <a:off x="2668170" y="5363749"/>
            <a:ext cx="769157" cy="742828"/>
            <a:chOff x="-1986026" y="751848"/>
            <a:chExt cx="769157" cy="742828"/>
          </a:xfrm>
        </p:grpSpPr>
        <p:sp>
          <p:nvSpPr>
            <p:cNvPr id="190"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TextBox 190"/>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98" name="Group 197"/>
          <p:cNvGrpSpPr/>
          <p:nvPr/>
        </p:nvGrpSpPr>
        <p:grpSpPr>
          <a:xfrm>
            <a:off x="2668170" y="4197982"/>
            <a:ext cx="769157" cy="742828"/>
            <a:chOff x="-1986026" y="751848"/>
            <a:chExt cx="769157" cy="742828"/>
          </a:xfrm>
        </p:grpSpPr>
        <p:sp>
          <p:nvSpPr>
            <p:cNvPr id="199"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TextBox 199"/>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27" name="Group 26"/>
          <p:cNvGrpSpPr/>
          <p:nvPr/>
        </p:nvGrpSpPr>
        <p:grpSpPr>
          <a:xfrm>
            <a:off x="334191" y="4061161"/>
            <a:ext cx="977900" cy="999981"/>
            <a:chOff x="7878349" y="8313913"/>
            <a:chExt cx="977900" cy="999981"/>
          </a:xfrm>
        </p:grpSpPr>
        <p:sp>
          <p:nvSpPr>
            <p:cNvPr id="204" name="TextBox 203"/>
            <p:cNvSpPr txBox="1"/>
            <p:nvPr/>
          </p:nvSpPr>
          <p:spPr>
            <a:xfrm>
              <a:off x="7878349" y="9182320"/>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evices</a:t>
              </a:r>
            </a:p>
          </p:txBody>
        </p:sp>
        <p:sp>
          <p:nvSpPr>
            <p:cNvPr id="205" name="Rounded Rectangle 6"/>
            <p:cNvSpPr/>
            <p:nvPr/>
          </p:nvSpPr>
          <p:spPr bwMode="black">
            <a:xfrm>
              <a:off x="8101066" y="8313913"/>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cxnSp>
        <p:nvCxnSpPr>
          <p:cNvPr id="30" name="Elbow Connector 29"/>
          <p:cNvCxnSpPr>
            <a:endCxn id="278" idx="0"/>
          </p:cNvCxnSpPr>
          <p:nvPr/>
        </p:nvCxnSpPr>
        <p:spPr>
          <a:xfrm rot="10800000" flipV="1">
            <a:off x="829263" y="3195993"/>
            <a:ext cx="908745" cy="438127"/>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1305741" y="4481210"/>
            <a:ext cx="35595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H="1">
            <a:off x="2483865" y="4481210"/>
            <a:ext cx="24958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437327" y="4481210"/>
            <a:ext cx="108879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5299770" y="4481210"/>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4491156" y="5387087"/>
            <a:ext cx="886566" cy="696153"/>
            <a:chOff x="2813078" y="2503318"/>
            <a:chExt cx="886566" cy="696153"/>
          </a:xfrm>
        </p:grpSpPr>
        <p:sp>
          <p:nvSpPr>
            <p:cNvPr id="231" name="Freeform 15"/>
            <p:cNvSpPr>
              <a:spLocks noEditPoints="1"/>
            </p:cNvSpPr>
            <p:nvPr/>
          </p:nvSpPr>
          <p:spPr bwMode="black">
            <a:xfrm>
              <a:off x="2983987" y="2503318"/>
              <a:ext cx="544748"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2813078" y="3067897"/>
              <a:ext cx="886566"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grpSp>
      <p:grpSp>
        <p:nvGrpSpPr>
          <p:cNvPr id="236" name="Group 235"/>
          <p:cNvGrpSpPr/>
          <p:nvPr/>
        </p:nvGrpSpPr>
        <p:grpSpPr>
          <a:xfrm>
            <a:off x="3526881" y="5308149"/>
            <a:ext cx="886566" cy="854029"/>
            <a:chOff x="6701974" y="7179301"/>
            <a:chExt cx="886566" cy="854029"/>
          </a:xfrm>
        </p:grpSpPr>
        <p:sp>
          <p:nvSpPr>
            <p:cNvPr id="237" name="Freeform 58"/>
            <p:cNvSpPr>
              <a:spLocks noEditPoints="1"/>
            </p:cNvSpPr>
            <p:nvPr/>
          </p:nvSpPr>
          <p:spPr bwMode="black">
            <a:xfrm>
              <a:off x="6901354" y="7179301"/>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TextBox 237"/>
            <p:cNvSpPr txBox="1"/>
            <p:nvPr/>
          </p:nvSpPr>
          <p:spPr>
            <a:xfrm>
              <a:off x="6701974" y="777018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Bus Queue</a:t>
              </a:r>
            </a:p>
          </p:txBody>
        </p:sp>
      </p:grpSp>
      <p:cxnSp>
        <p:nvCxnSpPr>
          <p:cNvPr id="46" name="Straight Arrow Connector 45"/>
          <p:cNvCxnSpPr/>
          <p:nvPr/>
        </p:nvCxnSpPr>
        <p:spPr>
          <a:xfrm>
            <a:off x="4919387" y="3662292"/>
            <a:ext cx="0" cy="479224"/>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85834" y="3157581"/>
            <a:ext cx="150205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104978" y="2493855"/>
            <a:ext cx="0" cy="345587"/>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2439967" y="3191945"/>
            <a:ext cx="1541758" cy="1289265"/>
          </a:xfrm>
          <a:prstGeom prst="bentConnector3">
            <a:avLst>
              <a:gd name="adj1" fmla="val 98735"/>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Elbow Connector 55"/>
          <p:cNvCxnSpPr>
            <a:cxnSpLocks/>
          </p:cNvCxnSpPr>
          <p:nvPr/>
        </p:nvCxnSpPr>
        <p:spPr>
          <a:xfrm flipV="1">
            <a:off x="5362671" y="5046639"/>
            <a:ext cx="584052" cy="560478"/>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a:off x="4271186"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3347738"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2424290"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5503440" y="4061161"/>
            <a:ext cx="871559"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264"/>
          <p:cNvSpPr/>
          <p:nvPr/>
        </p:nvSpPr>
        <p:spPr bwMode="auto">
          <a:xfrm>
            <a:off x="381012" y="3935549"/>
            <a:ext cx="871559" cy="120191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p:cNvSpPr/>
          <p:nvPr/>
        </p:nvSpPr>
        <p:spPr bwMode="auto">
          <a:xfrm>
            <a:off x="6653997" y="2715356"/>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ectangle 274"/>
          <p:cNvSpPr/>
          <p:nvPr/>
        </p:nvSpPr>
        <p:spPr bwMode="auto">
          <a:xfrm>
            <a:off x="6653997" y="3886117"/>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TextBox 74"/>
          <p:cNvSpPr txBox="1"/>
          <p:nvPr/>
        </p:nvSpPr>
        <p:spPr>
          <a:xfrm>
            <a:off x="637106" y="5603563"/>
            <a:ext cx="742901" cy="4270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charset="0"/>
                <a:ea typeface="Segoe Pro" charset="0"/>
                <a:cs typeface="Segoe Pro" charset="0"/>
              </a:rPr>
              <a:t>AMQP</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278" name="TextBox 277"/>
          <p:cNvSpPr txBox="1"/>
          <p:nvPr/>
        </p:nvSpPr>
        <p:spPr>
          <a:xfrm>
            <a:off x="372062" y="3634121"/>
            <a:ext cx="914400" cy="36576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rPr>
              <a:t>Field Gateway</a:t>
            </a:r>
          </a:p>
        </p:txBody>
      </p:sp>
      <p:cxnSp>
        <p:nvCxnSpPr>
          <p:cNvPr id="88" name="Elbow Connector 87"/>
          <p:cNvCxnSpPr/>
          <p:nvPr/>
        </p:nvCxnSpPr>
        <p:spPr>
          <a:xfrm>
            <a:off x="829263" y="5230368"/>
            <a:ext cx="956403" cy="413382"/>
          </a:xfrm>
          <a:prstGeom prst="bentConnector3">
            <a:avLst>
              <a:gd name="adj1" fmla="val 28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476104" y="2864055"/>
            <a:ext cx="886566" cy="783155"/>
            <a:chOff x="4476104" y="2864055"/>
            <a:chExt cx="886566" cy="783155"/>
          </a:xfrm>
        </p:grpSpPr>
        <p:pic>
          <p:nvPicPr>
            <p:cNvPr id="93" name="Picture 9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6" name="TextBox 95"/>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97" name="Group 96"/>
          <p:cNvGrpSpPr/>
          <p:nvPr/>
        </p:nvGrpSpPr>
        <p:grpSpPr>
          <a:xfrm>
            <a:off x="4476104" y="4207825"/>
            <a:ext cx="886566" cy="783155"/>
            <a:chOff x="4476104" y="2864055"/>
            <a:chExt cx="886566" cy="783155"/>
          </a:xfrm>
        </p:grpSpPr>
        <p:pic>
          <p:nvPicPr>
            <p:cNvPr id="98" name="Picture 9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9" name="TextBox 98"/>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0" name="Group 99"/>
          <p:cNvGrpSpPr/>
          <p:nvPr/>
        </p:nvGrpSpPr>
        <p:grpSpPr>
          <a:xfrm>
            <a:off x="5525676" y="4207825"/>
            <a:ext cx="886566" cy="783155"/>
            <a:chOff x="4476104" y="2864055"/>
            <a:chExt cx="886566" cy="783155"/>
          </a:xfrm>
        </p:grpSpPr>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2" name="TextBox 101"/>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3" name="Group 102"/>
          <p:cNvGrpSpPr/>
          <p:nvPr/>
        </p:nvGrpSpPr>
        <p:grpSpPr>
          <a:xfrm>
            <a:off x="1661419" y="2956807"/>
            <a:ext cx="886566" cy="783155"/>
            <a:chOff x="4476104" y="2864055"/>
            <a:chExt cx="886566" cy="783155"/>
          </a:xfrm>
        </p:grpSpPr>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5" name="TextBox 104"/>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spTree>
    <p:extLst>
      <p:ext uri="{BB962C8B-B14F-4D97-AF65-F5344CB8AC3E}">
        <p14:creationId xmlns:p14="http://schemas.microsoft.com/office/powerpoint/2010/main" val="395836485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099" y="3056"/>
            <a:ext cx="12230100" cy="6854944"/>
          </a:xfrm>
          <a:prstGeom prst="rect">
            <a:avLst/>
          </a:prstGeom>
        </p:spPr>
      </p:pic>
      <p:sp>
        <p:nvSpPr>
          <p:cNvPr id="67" name="Rectangle 66"/>
          <p:cNvSpPr/>
          <p:nvPr/>
        </p:nvSpPr>
        <p:spPr bwMode="auto">
          <a:xfrm>
            <a:off x="1" y="4626864"/>
            <a:ext cx="12192000" cy="2231136"/>
          </a:xfrm>
          <a:prstGeom prst="rect">
            <a:avLst/>
          </a:prstGeom>
          <a:gradFill>
            <a:gsLst>
              <a:gs pos="75000">
                <a:srgbClr val="000000">
                  <a:alpha val="20000"/>
                </a:srgbClr>
              </a:gs>
              <a:gs pos="0">
                <a:srgbClr val="000000">
                  <a:alpha val="0"/>
                </a:srgbClr>
              </a:gs>
              <a:gs pos="100000">
                <a:srgbClr val="000000">
                  <a:alpha val="4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10" name="Rectangle 9"/>
          <p:cNvSpPr/>
          <p:nvPr/>
        </p:nvSpPr>
        <p:spPr>
          <a:xfrm>
            <a:off x="-38100"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pc="-40" dirty="0">
                <a:cs typeface="Segoe UI Light"/>
              </a:rPr>
              <a:t>Reference Architecture</a:t>
            </a:r>
            <a:endParaRPr lang="en-US" dirty="0"/>
          </a:p>
        </p:txBody>
      </p:sp>
      <p:grpSp>
        <p:nvGrpSpPr>
          <p:cNvPr id="13" name="Group 12"/>
          <p:cNvGrpSpPr/>
          <p:nvPr/>
        </p:nvGrpSpPr>
        <p:grpSpPr>
          <a:xfrm>
            <a:off x="284659" y="1832878"/>
            <a:ext cx="819821" cy="744634"/>
            <a:chOff x="978074" y="1504378"/>
            <a:chExt cx="819821" cy="744634"/>
          </a:xfrm>
          <a:solidFill>
            <a:schemeClr val="bg1"/>
          </a:solidFill>
        </p:grpSpPr>
        <p:sp>
          <p:nvSpPr>
            <p:cNvPr id="14" name="Freeform 9"/>
            <p:cNvSpPr>
              <a:spLocks noEditPoints="1"/>
            </p:cNvSpPr>
            <p:nvPr/>
          </p:nvSpPr>
          <p:spPr bwMode="auto">
            <a:xfrm>
              <a:off x="1120490" y="1504378"/>
              <a:ext cx="518995" cy="552404"/>
            </a:xfrm>
            <a:custGeom>
              <a:avLst/>
              <a:gdLst>
                <a:gd name="T0" fmla="*/ 179 w 441"/>
                <a:gd name="T1" fmla="*/ 249 h 470"/>
                <a:gd name="T2" fmla="*/ 29 w 441"/>
                <a:gd name="T3" fmla="*/ 396 h 470"/>
                <a:gd name="T4" fmla="*/ 74 w 441"/>
                <a:gd name="T5" fmla="*/ 440 h 470"/>
                <a:gd name="T6" fmla="*/ 366 w 441"/>
                <a:gd name="T7" fmla="*/ 440 h 470"/>
                <a:gd name="T8" fmla="*/ 411 w 441"/>
                <a:gd name="T9" fmla="*/ 396 h 470"/>
                <a:gd name="T10" fmla="*/ 364 w 441"/>
                <a:gd name="T11" fmla="*/ 289 h 470"/>
                <a:gd name="T12" fmla="*/ 261 w 441"/>
                <a:gd name="T13" fmla="*/ 249 h 470"/>
                <a:gd name="T14" fmla="*/ 220 w 441"/>
                <a:gd name="T15" fmla="*/ 249 h 470"/>
                <a:gd name="T16" fmla="*/ 179 w 441"/>
                <a:gd name="T17" fmla="*/ 249 h 470"/>
                <a:gd name="T18" fmla="*/ 220 w 441"/>
                <a:gd name="T19" fmla="*/ 29 h 470"/>
                <a:gd name="T20" fmla="*/ 123 w 441"/>
                <a:gd name="T21" fmla="*/ 125 h 470"/>
                <a:gd name="T22" fmla="*/ 193 w 441"/>
                <a:gd name="T23" fmla="*/ 216 h 470"/>
                <a:gd name="T24" fmla="*/ 247 w 441"/>
                <a:gd name="T25" fmla="*/ 216 h 470"/>
                <a:gd name="T26" fmla="*/ 318 w 441"/>
                <a:gd name="T27" fmla="*/ 125 h 470"/>
                <a:gd name="T28" fmla="*/ 220 w 441"/>
                <a:gd name="T29" fmla="*/ 29 h 470"/>
                <a:gd name="T30" fmla="*/ 220 w 441"/>
                <a:gd name="T31" fmla="*/ 0 h 470"/>
                <a:gd name="T32" fmla="*/ 347 w 441"/>
                <a:gd name="T33" fmla="*/ 125 h 470"/>
                <a:gd name="T34" fmla="*/ 300 w 441"/>
                <a:gd name="T35" fmla="*/ 221 h 470"/>
                <a:gd name="T36" fmla="*/ 297 w 441"/>
                <a:gd name="T37" fmla="*/ 224 h 470"/>
                <a:gd name="T38" fmla="*/ 299 w 441"/>
                <a:gd name="T39" fmla="*/ 224 h 470"/>
                <a:gd name="T40" fmla="*/ 384 w 441"/>
                <a:gd name="T41" fmla="*/ 268 h 470"/>
                <a:gd name="T42" fmla="*/ 441 w 441"/>
                <a:gd name="T43" fmla="*/ 396 h 470"/>
                <a:gd name="T44" fmla="*/ 366 w 441"/>
                <a:gd name="T45" fmla="*/ 470 h 470"/>
                <a:gd name="T46" fmla="*/ 74 w 441"/>
                <a:gd name="T47" fmla="*/ 470 h 470"/>
                <a:gd name="T48" fmla="*/ 0 w 441"/>
                <a:gd name="T49" fmla="*/ 396 h 470"/>
                <a:gd name="T50" fmla="*/ 143 w 441"/>
                <a:gd name="T51" fmla="*/ 224 h 470"/>
                <a:gd name="T52" fmla="*/ 143 w 441"/>
                <a:gd name="T53" fmla="*/ 224 h 470"/>
                <a:gd name="T54" fmla="*/ 140 w 441"/>
                <a:gd name="T55" fmla="*/ 221 h 470"/>
                <a:gd name="T56" fmla="*/ 93 w 441"/>
                <a:gd name="T57" fmla="*/ 125 h 470"/>
                <a:gd name="T58" fmla="*/ 220 w 441"/>
                <a:gd name="T59"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470">
                  <a:moveTo>
                    <a:pt x="179" y="249"/>
                  </a:moveTo>
                  <a:cubicBezTo>
                    <a:pt x="96" y="249"/>
                    <a:pt x="29" y="315"/>
                    <a:pt x="29" y="396"/>
                  </a:cubicBezTo>
                  <a:cubicBezTo>
                    <a:pt x="29" y="421"/>
                    <a:pt x="49" y="440"/>
                    <a:pt x="74" y="440"/>
                  </a:cubicBezTo>
                  <a:cubicBezTo>
                    <a:pt x="366" y="440"/>
                    <a:pt x="366" y="440"/>
                    <a:pt x="366" y="440"/>
                  </a:cubicBezTo>
                  <a:cubicBezTo>
                    <a:pt x="391" y="440"/>
                    <a:pt x="411" y="421"/>
                    <a:pt x="411" y="396"/>
                  </a:cubicBezTo>
                  <a:cubicBezTo>
                    <a:pt x="411" y="355"/>
                    <a:pt x="394" y="317"/>
                    <a:pt x="364" y="289"/>
                  </a:cubicBezTo>
                  <a:cubicBezTo>
                    <a:pt x="336" y="264"/>
                    <a:pt x="300" y="249"/>
                    <a:pt x="261" y="249"/>
                  </a:cubicBezTo>
                  <a:cubicBezTo>
                    <a:pt x="220" y="249"/>
                    <a:pt x="220" y="249"/>
                    <a:pt x="220" y="249"/>
                  </a:cubicBezTo>
                  <a:lnTo>
                    <a:pt x="179" y="249"/>
                  </a:lnTo>
                  <a:close/>
                  <a:moveTo>
                    <a:pt x="220" y="29"/>
                  </a:moveTo>
                  <a:cubicBezTo>
                    <a:pt x="166" y="29"/>
                    <a:pt x="123" y="72"/>
                    <a:pt x="123" y="125"/>
                  </a:cubicBezTo>
                  <a:cubicBezTo>
                    <a:pt x="123" y="167"/>
                    <a:pt x="152" y="205"/>
                    <a:pt x="193" y="216"/>
                  </a:cubicBezTo>
                  <a:cubicBezTo>
                    <a:pt x="211" y="221"/>
                    <a:pt x="230" y="221"/>
                    <a:pt x="247" y="216"/>
                  </a:cubicBezTo>
                  <a:cubicBezTo>
                    <a:pt x="289" y="205"/>
                    <a:pt x="318" y="167"/>
                    <a:pt x="318" y="125"/>
                  </a:cubicBezTo>
                  <a:cubicBezTo>
                    <a:pt x="318" y="72"/>
                    <a:pt x="274" y="29"/>
                    <a:pt x="220" y="29"/>
                  </a:cubicBezTo>
                  <a:close/>
                  <a:moveTo>
                    <a:pt x="220" y="0"/>
                  </a:moveTo>
                  <a:cubicBezTo>
                    <a:pt x="290" y="0"/>
                    <a:pt x="347" y="56"/>
                    <a:pt x="347" y="125"/>
                  </a:cubicBezTo>
                  <a:cubicBezTo>
                    <a:pt x="347" y="163"/>
                    <a:pt x="329" y="198"/>
                    <a:pt x="300" y="221"/>
                  </a:cubicBezTo>
                  <a:cubicBezTo>
                    <a:pt x="297" y="224"/>
                    <a:pt x="297" y="224"/>
                    <a:pt x="297" y="224"/>
                  </a:cubicBezTo>
                  <a:cubicBezTo>
                    <a:pt x="299" y="224"/>
                    <a:pt x="299" y="224"/>
                    <a:pt x="299" y="224"/>
                  </a:cubicBezTo>
                  <a:cubicBezTo>
                    <a:pt x="331" y="231"/>
                    <a:pt x="360" y="246"/>
                    <a:pt x="384" y="268"/>
                  </a:cubicBezTo>
                  <a:cubicBezTo>
                    <a:pt x="420" y="301"/>
                    <a:pt x="441" y="348"/>
                    <a:pt x="441" y="396"/>
                  </a:cubicBezTo>
                  <a:cubicBezTo>
                    <a:pt x="441" y="437"/>
                    <a:pt x="407" y="470"/>
                    <a:pt x="366" y="470"/>
                  </a:cubicBezTo>
                  <a:cubicBezTo>
                    <a:pt x="74" y="470"/>
                    <a:pt x="74" y="470"/>
                    <a:pt x="74" y="470"/>
                  </a:cubicBezTo>
                  <a:cubicBezTo>
                    <a:pt x="33" y="470"/>
                    <a:pt x="0" y="437"/>
                    <a:pt x="0" y="396"/>
                  </a:cubicBezTo>
                  <a:cubicBezTo>
                    <a:pt x="0" y="311"/>
                    <a:pt x="61" y="240"/>
                    <a:pt x="143" y="224"/>
                  </a:cubicBezTo>
                  <a:cubicBezTo>
                    <a:pt x="143" y="224"/>
                    <a:pt x="143" y="224"/>
                    <a:pt x="143" y="224"/>
                  </a:cubicBezTo>
                  <a:cubicBezTo>
                    <a:pt x="140" y="221"/>
                    <a:pt x="140" y="221"/>
                    <a:pt x="140" y="221"/>
                  </a:cubicBezTo>
                  <a:cubicBezTo>
                    <a:pt x="111" y="198"/>
                    <a:pt x="93" y="163"/>
                    <a:pt x="93" y="125"/>
                  </a:cubicBezTo>
                  <a:cubicBezTo>
                    <a:pt x="93" y="56"/>
                    <a:pt x="150" y="0"/>
                    <a:pt x="2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p:cNvSpPr txBox="1"/>
            <p:nvPr/>
          </p:nvSpPr>
          <p:spPr>
            <a:xfrm>
              <a:off x="978074" y="2117438"/>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User</a:t>
              </a:r>
            </a:p>
          </p:txBody>
        </p:sp>
      </p:grpSp>
      <p:cxnSp>
        <p:nvCxnSpPr>
          <p:cNvPr id="17" name="Straight Arrow Connector 16"/>
          <p:cNvCxnSpPr>
            <a:cxnSpLocks/>
          </p:cNvCxnSpPr>
          <p:nvPr/>
        </p:nvCxnSpPr>
        <p:spPr>
          <a:xfrm>
            <a:off x="946070" y="2125282"/>
            <a:ext cx="34999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Freeform 69"/>
          <p:cNvSpPr>
            <a:spLocks noEditPoints="1"/>
          </p:cNvSpPr>
          <p:nvPr/>
        </p:nvSpPr>
        <p:spPr bwMode="auto">
          <a:xfrm>
            <a:off x="1559008" y="1943184"/>
            <a:ext cx="469441" cy="469190"/>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TextBox 21"/>
          <p:cNvSpPr txBox="1"/>
          <p:nvPr/>
        </p:nvSpPr>
        <p:spPr>
          <a:xfrm>
            <a:off x="2114050" y="2125282"/>
            <a:ext cx="819821" cy="131574"/>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irect Line</a:t>
            </a:r>
          </a:p>
        </p:txBody>
      </p:sp>
      <p:sp>
        <p:nvSpPr>
          <p:cNvPr id="25" name="Freeform 5"/>
          <p:cNvSpPr>
            <a:spLocks noEditPoints="1"/>
          </p:cNvSpPr>
          <p:nvPr/>
        </p:nvSpPr>
        <p:spPr bwMode="auto">
          <a:xfrm>
            <a:off x="1564131" y="2538239"/>
            <a:ext cx="464840" cy="467692"/>
          </a:xfrm>
          <a:custGeom>
            <a:avLst/>
            <a:gdLst>
              <a:gd name="T0" fmla="*/ 107 w 214"/>
              <a:gd name="T1" fmla="*/ 0 h 215"/>
              <a:gd name="T2" fmla="*/ 0 w 214"/>
              <a:gd name="T3" fmla="*/ 101 h 215"/>
              <a:gd name="T4" fmla="*/ 39 w 214"/>
              <a:gd name="T5" fmla="*/ 179 h 215"/>
              <a:gd name="T6" fmla="*/ 39 w 214"/>
              <a:gd name="T7" fmla="*/ 215 h 215"/>
              <a:gd name="T8" fmla="*/ 74 w 214"/>
              <a:gd name="T9" fmla="*/ 197 h 215"/>
              <a:gd name="T10" fmla="*/ 107 w 214"/>
              <a:gd name="T11" fmla="*/ 202 h 215"/>
              <a:gd name="T12" fmla="*/ 214 w 214"/>
              <a:gd name="T13" fmla="*/ 101 h 215"/>
              <a:gd name="T14" fmla="*/ 107 w 214"/>
              <a:gd name="T15" fmla="*/ 0 h 215"/>
              <a:gd name="T16" fmla="*/ 120 w 214"/>
              <a:gd name="T17" fmla="*/ 134 h 215"/>
              <a:gd name="T18" fmla="*/ 94 w 214"/>
              <a:gd name="T19" fmla="*/ 108 h 215"/>
              <a:gd name="T20" fmla="*/ 36 w 214"/>
              <a:gd name="T21" fmla="*/ 134 h 215"/>
              <a:gd name="T22" fmla="*/ 94 w 214"/>
              <a:gd name="T23" fmla="*/ 72 h 215"/>
              <a:gd name="T24" fmla="*/ 125 w 214"/>
              <a:gd name="T25" fmla="*/ 101 h 215"/>
              <a:gd name="T26" fmla="*/ 175 w 214"/>
              <a:gd name="T27" fmla="*/ 72 h 215"/>
              <a:gd name="T28" fmla="*/ 120 w 214"/>
              <a:gd name="T29" fmla="*/ 13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215">
                <a:moveTo>
                  <a:pt x="107" y="0"/>
                </a:moveTo>
                <a:cubicBezTo>
                  <a:pt x="48" y="0"/>
                  <a:pt x="0" y="45"/>
                  <a:pt x="0" y="101"/>
                </a:cubicBezTo>
                <a:cubicBezTo>
                  <a:pt x="0" y="132"/>
                  <a:pt x="15" y="160"/>
                  <a:pt x="39" y="179"/>
                </a:cubicBezTo>
                <a:cubicBezTo>
                  <a:pt x="39" y="215"/>
                  <a:pt x="39" y="215"/>
                  <a:pt x="39" y="215"/>
                </a:cubicBezTo>
                <a:cubicBezTo>
                  <a:pt x="74" y="197"/>
                  <a:pt x="74" y="197"/>
                  <a:pt x="74" y="197"/>
                </a:cubicBezTo>
                <a:cubicBezTo>
                  <a:pt x="84" y="200"/>
                  <a:pt x="95" y="202"/>
                  <a:pt x="107" y="202"/>
                </a:cubicBezTo>
                <a:cubicBezTo>
                  <a:pt x="166" y="202"/>
                  <a:pt x="214" y="157"/>
                  <a:pt x="214" y="101"/>
                </a:cubicBezTo>
                <a:cubicBezTo>
                  <a:pt x="214" y="45"/>
                  <a:pt x="166" y="0"/>
                  <a:pt x="107" y="0"/>
                </a:cubicBezTo>
                <a:close/>
                <a:moveTo>
                  <a:pt x="120" y="134"/>
                </a:moveTo>
                <a:cubicBezTo>
                  <a:pt x="94" y="108"/>
                  <a:pt x="94" y="108"/>
                  <a:pt x="94" y="108"/>
                </a:cubicBezTo>
                <a:cubicBezTo>
                  <a:pt x="36" y="134"/>
                  <a:pt x="36" y="134"/>
                  <a:pt x="36" y="134"/>
                </a:cubicBezTo>
                <a:cubicBezTo>
                  <a:pt x="94" y="72"/>
                  <a:pt x="94" y="72"/>
                  <a:pt x="94" y="72"/>
                </a:cubicBezTo>
                <a:cubicBezTo>
                  <a:pt x="125" y="101"/>
                  <a:pt x="125" y="101"/>
                  <a:pt x="125" y="101"/>
                </a:cubicBezTo>
                <a:cubicBezTo>
                  <a:pt x="175" y="72"/>
                  <a:pt x="175" y="72"/>
                  <a:pt x="175" y="72"/>
                </a:cubicBezTo>
                <a:lnTo>
                  <a:pt x="120" y="1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TextBox 25"/>
          <p:cNvSpPr txBox="1"/>
          <p:nvPr/>
        </p:nvSpPr>
        <p:spPr>
          <a:xfrm>
            <a:off x="2114050" y="2677063"/>
            <a:ext cx="819821" cy="2631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Facebook Messenger</a:t>
            </a:r>
          </a:p>
        </p:txBody>
      </p:sp>
      <p:sp>
        <p:nvSpPr>
          <p:cNvPr id="27" name="TextBox 26"/>
          <p:cNvSpPr txBox="1"/>
          <p:nvPr/>
        </p:nvSpPr>
        <p:spPr>
          <a:xfrm>
            <a:off x="2114050" y="3346094"/>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kype</a:t>
            </a:r>
          </a:p>
        </p:txBody>
      </p:sp>
      <p:sp>
        <p:nvSpPr>
          <p:cNvPr id="31" name="Freeform 9"/>
          <p:cNvSpPr>
            <a:spLocks noEditPoints="1"/>
          </p:cNvSpPr>
          <p:nvPr/>
        </p:nvSpPr>
        <p:spPr bwMode="auto">
          <a:xfrm>
            <a:off x="1528596" y="3147567"/>
            <a:ext cx="463202" cy="470115"/>
          </a:xfrm>
          <a:custGeom>
            <a:avLst/>
            <a:gdLst>
              <a:gd name="T0" fmla="*/ 804 w 1601"/>
              <a:gd name="T1" fmla="*/ 283 h 1624"/>
              <a:gd name="T2" fmla="*/ 580 w 1601"/>
              <a:gd name="T3" fmla="*/ 318 h 1624"/>
              <a:gd name="T4" fmla="*/ 432 w 1601"/>
              <a:gd name="T5" fmla="*/ 421 h 1624"/>
              <a:gd name="T6" fmla="*/ 380 w 1601"/>
              <a:gd name="T7" fmla="*/ 576 h 1624"/>
              <a:gd name="T8" fmla="*/ 429 w 1601"/>
              <a:gd name="T9" fmla="*/ 729 h 1624"/>
              <a:gd name="T10" fmla="*/ 560 w 1601"/>
              <a:gd name="T11" fmla="*/ 825 h 1624"/>
              <a:gd name="T12" fmla="*/ 761 w 1601"/>
              <a:gd name="T13" fmla="*/ 885 h 1624"/>
              <a:gd name="T14" fmla="*/ 901 w 1601"/>
              <a:gd name="T15" fmla="*/ 920 h 1624"/>
              <a:gd name="T16" fmla="*/ 982 w 1601"/>
              <a:gd name="T17" fmla="*/ 965 h 1624"/>
              <a:gd name="T18" fmla="*/ 1012 w 1601"/>
              <a:gd name="T19" fmla="*/ 1037 h 1624"/>
              <a:gd name="T20" fmla="*/ 955 w 1601"/>
              <a:gd name="T21" fmla="*/ 1132 h 1624"/>
              <a:gd name="T22" fmla="*/ 801 w 1601"/>
              <a:gd name="T23" fmla="*/ 1172 h 1624"/>
              <a:gd name="T24" fmla="*/ 690 w 1601"/>
              <a:gd name="T25" fmla="*/ 1153 h 1624"/>
              <a:gd name="T26" fmla="*/ 626 w 1601"/>
              <a:gd name="T27" fmla="*/ 1103 h 1624"/>
              <a:gd name="T28" fmla="*/ 583 w 1601"/>
              <a:gd name="T29" fmla="*/ 1025 h 1624"/>
              <a:gd name="T30" fmla="*/ 538 w 1601"/>
              <a:gd name="T31" fmla="*/ 960 h 1624"/>
              <a:gd name="T32" fmla="*/ 471 w 1601"/>
              <a:gd name="T33" fmla="*/ 936 h 1624"/>
              <a:gd name="T34" fmla="*/ 391 w 1601"/>
              <a:gd name="T35" fmla="*/ 966 h 1624"/>
              <a:gd name="T36" fmla="*/ 359 w 1601"/>
              <a:gd name="T37" fmla="*/ 1038 h 1624"/>
              <a:gd name="T38" fmla="*/ 408 w 1601"/>
              <a:gd name="T39" fmla="*/ 1176 h 1624"/>
              <a:gd name="T40" fmla="*/ 534 w 1601"/>
              <a:gd name="T41" fmla="*/ 1288 h 1624"/>
              <a:gd name="T42" fmla="*/ 807 w 1601"/>
              <a:gd name="T43" fmla="*/ 1345 h 1624"/>
              <a:gd name="T44" fmla="*/ 1046 w 1601"/>
              <a:gd name="T45" fmla="*/ 1303 h 1624"/>
              <a:gd name="T46" fmla="*/ 1201 w 1601"/>
              <a:gd name="T47" fmla="*/ 1186 h 1624"/>
              <a:gd name="T48" fmla="*/ 1254 w 1601"/>
              <a:gd name="T49" fmla="*/ 1015 h 1624"/>
              <a:gd name="T50" fmla="*/ 1223 w 1601"/>
              <a:gd name="T51" fmla="*/ 881 h 1624"/>
              <a:gd name="T52" fmla="*/ 1137 w 1601"/>
              <a:gd name="T53" fmla="*/ 790 h 1624"/>
              <a:gd name="T54" fmla="*/ 1006 w 1601"/>
              <a:gd name="T55" fmla="*/ 730 h 1624"/>
              <a:gd name="T56" fmla="*/ 838 w 1601"/>
              <a:gd name="T57" fmla="*/ 686 h 1624"/>
              <a:gd name="T58" fmla="*/ 732 w 1601"/>
              <a:gd name="T59" fmla="*/ 660 h 1624"/>
              <a:gd name="T60" fmla="*/ 671 w 1601"/>
              <a:gd name="T61" fmla="*/ 636 h 1624"/>
              <a:gd name="T62" fmla="*/ 625 w 1601"/>
              <a:gd name="T63" fmla="*/ 601 h 1624"/>
              <a:gd name="T64" fmla="*/ 610 w 1601"/>
              <a:gd name="T65" fmla="*/ 557 h 1624"/>
              <a:gd name="T66" fmla="*/ 657 w 1601"/>
              <a:gd name="T67" fmla="*/ 484 h 1624"/>
              <a:gd name="T68" fmla="*/ 789 w 1601"/>
              <a:gd name="T69" fmla="*/ 451 h 1624"/>
              <a:gd name="T70" fmla="*/ 917 w 1601"/>
              <a:gd name="T71" fmla="*/ 481 h 1624"/>
              <a:gd name="T72" fmla="*/ 985 w 1601"/>
              <a:gd name="T73" fmla="*/ 565 h 1624"/>
              <a:gd name="T74" fmla="*/ 1031 w 1601"/>
              <a:gd name="T75" fmla="*/ 626 h 1624"/>
              <a:gd name="T76" fmla="*/ 1097 w 1601"/>
              <a:gd name="T77" fmla="*/ 647 h 1624"/>
              <a:gd name="T78" fmla="*/ 1175 w 1601"/>
              <a:gd name="T79" fmla="*/ 614 h 1624"/>
              <a:gd name="T80" fmla="*/ 1207 w 1601"/>
              <a:gd name="T81" fmla="*/ 540 h 1624"/>
              <a:gd name="T82" fmla="*/ 1183 w 1601"/>
              <a:gd name="T83" fmla="*/ 453 h 1624"/>
              <a:gd name="T84" fmla="*/ 1108 w 1601"/>
              <a:gd name="T85" fmla="*/ 370 h 1624"/>
              <a:gd name="T86" fmla="*/ 982 w 1601"/>
              <a:gd name="T87" fmla="*/ 307 h 1624"/>
              <a:gd name="T88" fmla="*/ 804 w 1601"/>
              <a:gd name="T89" fmla="*/ 283 h 1624"/>
              <a:gd name="T90" fmla="*/ 443 w 1601"/>
              <a:gd name="T91" fmla="*/ 0 h 1624"/>
              <a:gd name="T92" fmla="*/ 679 w 1601"/>
              <a:gd name="T93" fmla="*/ 68 h 1624"/>
              <a:gd name="T94" fmla="*/ 809 w 1601"/>
              <a:gd name="T95" fmla="*/ 57 h 1624"/>
              <a:gd name="T96" fmla="*/ 1573 w 1601"/>
              <a:gd name="T97" fmla="*/ 821 h 1624"/>
              <a:gd name="T98" fmla="*/ 1555 w 1601"/>
              <a:gd name="T99" fmla="*/ 984 h 1624"/>
              <a:gd name="T100" fmla="*/ 1601 w 1601"/>
              <a:gd name="T101" fmla="*/ 1181 h 1624"/>
              <a:gd name="T102" fmla="*/ 1158 w 1601"/>
              <a:gd name="T103" fmla="*/ 1624 h 1624"/>
              <a:gd name="T104" fmla="*/ 949 w 1601"/>
              <a:gd name="T105" fmla="*/ 1571 h 1624"/>
              <a:gd name="T106" fmla="*/ 809 w 1601"/>
              <a:gd name="T107" fmla="*/ 1584 h 1624"/>
              <a:gd name="T108" fmla="*/ 45 w 1601"/>
              <a:gd name="T109" fmla="*/ 821 h 1624"/>
              <a:gd name="T110" fmla="*/ 61 w 1601"/>
              <a:gd name="T111" fmla="*/ 667 h 1624"/>
              <a:gd name="T112" fmla="*/ 0 w 1601"/>
              <a:gd name="T113" fmla="*/ 443 h 1624"/>
              <a:gd name="T114" fmla="*/ 443 w 1601"/>
              <a:gd name="T115" fmla="*/ 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1" h="1624">
                <a:moveTo>
                  <a:pt x="804" y="283"/>
                </a:moveTo>
                <a:cubicBezTo>
                  <a:pt x="719" y="283"/>
                  <a:pt x="643" y="295"/>
                  <a:pt x="580" y="318"/>
                </a:cubicBezTo>
                <a:cubicBezTo>
                  <a:pt x="516" y="342"/>
                  <a:pt x="466" y="377"/>
                  <a:pt x="432" y="421"/>
                </a:cubicBezTo>
                <a:cubicBezTo>
                  <a:pt x="397" y="466"/>
                  <a:pt x="380" y="518"/>
                  <a:pt x="380" y="576"/>
                </a:cubicBezTo>
                <a:cubicBezTo>
                  <a:pt x="380" y="636"/>
                  <a:pt x="397" y="688"/>
                  <a:pt x="429" y="729"/>
                </a:cubicBezTo>
                <a:cubicBezTo>
                  <a:pt x="462" y="769"/>
                  <a:pt x="506" y="802"/>
                  <a:pt x="560" y="825"/>
                </a:cubicBezTo>
                <a:cubicBezTo>
                  <a:pt x="614" y="848"/>
                  <a:pt x="681" y="868"/>
                  <a:pt x="761" y="885"/>
                </a:cubicBezTo>
                <a:cubicBezTo>
                  <a:pt x="819" y="897"/>
                  <a:pt x="866" y="909"/>
                  <a:pt x="901" y="920"/>
                </a:cubicBezTo>
                <a:cubicBezTo>
                  <a:pt x="934" y="930"/>
                  <a:pt x="962" y="945"/>
                  <a:pt x="982" y="965"/>
                </a:cubicBezTo>
                <a:cubicBezTo>
                  <a:pt x="1002" y="983"/>
                  <a:pt x="1012" y="1007"/>
                  <a:pt x="1012" y="1037"/>
                </a:cubicBezTo>
                <a:cubicBezTo>
                  <a:pt x="1012" y="1075"/>
                  <a:pt x="993" y="1106"/>
                  <a:pt x="955" y="1132"/>
                </a:cubicBezTo>
                <a:cubicBezTo>
                  <a:pt x="916" y="1159"/>
                  <a:pt x="865" y="1172"/>
                  <a:pt x="801" y="1172"/>
                </a:cubicBezTo>
                <a:cubicBezTo>
                  <a:pt x="755" y="1172"/>
                  <a:pt x="718" y="1166"/>
                  <a:pt x="690" y="1153"/>
                </a:cubicBezTo>
                <a:cubicBezTo>
                  <a:pt x="663" y="1140"/>
                  <a:pt x="641" y="1123"/>
                  <a:pt x="626" y="1103"/>
                </a:cubicBezTo>
                <a:cubicBezTo>
                  <a:pt x="611" y="1082"/>
                  <a:pt x="596" y="1056"/>
                  <a:pt x="583" y="1025"/>
                </a:cubicBezTo>
                <a:cubicBezTo>
                  <a:pt x="570" y="997"/>
                  <a:pt x="555" y="975"/>
                  <a:pt x="538" y="960"/>
                </a:cubicBezTo>
                <a:cubicBezTo>
                  <a:pt x="519" y="944"/>
                  <a:pt x="497" y="936"/>
                  <a:pt x="471" y="936"/>
                </a:cubicBezTo>
                <a:cubicBezTo>
                  <a:pt x="439" y="936"/>
                  <a:pt x="412" y="946"/>
                  <a:pt x="391" y="966"/>
                </a:cubicBezTo>
                <a:cubicBezTo>
                  <a:pt x="370" y="986"/>
                  <a:pt x="359" y="1010"/>
                  <a:pt x="359" y="1038"/>
                </a:cubicBezTo>
                <a:cubicBezTo>
                  <a:pt x="359" y="1083"/>
                  <a:pt x="375" y="1129"/>
                  <a:pt x="408" y="1176"/>
                </a:cubicBezTo>
                <a:cubicBezTo>
                  <a:pt x="440" y="1223"/>
                  <a:pt x="482" y="1260"/>
                  <a:pt x="534" y="1288"/>
                </a:cubicBezTo>
                <a:cubicBezTo>
                  <a:pt x="605" y="1326"/>
                  <a:pt x="697" y="1345"/>
                  <a:pt x="807" y="1345"/>
                </a:cubicBezTo>
                <a:cubicBezTo>
                  <a:pt x="898" y="1345"/>
                  <a:pt x="979" y="1331"/>
                  <a:pt x="1046" y="1303"/>
                </a:cubicBezTo>
                <a:cubicBezTo>
                  <a:pt x="1113" y="1275"/>
                  <a:pt x="1166" y="1236"/>
                  <a:pt x="1201" y="1186"/>
                </a:cubicBezTo>
                <a:cubicBezTo>
                  <a:pt x="1236" y="1135"/>
                  <a:pt x="1254" y="1078"/>
                  <a:pt x="1254" y="1015"/>
                </a:cubicBezTo>
                <a:cubicBezTo>
                  <a:pt x="1254" y="962"/>
                  <a:pt x="1244" y="917"/>
                  <a:pt x="1223" y="881"/>
                </a:cubicBezTo>
                <a:cubicBezTo>
                  <a:pt x="1203" y="844"/>
                  <a:pt x="1174" y="813"/>
                  <a:pt x="1137" y="790"/>
                </a:cubicBezTo>
                <a:cubicBezTo>
                  <a:pt x="1101" y="766"/>
                  <a:pt x="1057" y="746"/>
                  <a:pt x="1006" y="730"/>
                </a:cubicBezTo>
                <a:cubicBezTo>
                  <a:pt x="956" y="714"/>
                  <a:pt x="899" y="699"/>
                  <a:pt x="838" y="686"/>
                </a:cubicBezTo>
                <a:cubicBezTo>
                  <a:pt x="789" y="675"/>
                  <a:pt x="753" y="666"/>
                  <a:pt x="732" y="660"/>
                </a:cubicBezTo>
                <a:cubicBezTo>
                  <a:pt x="711" y="654"/>
                  <a:pt x="691" y="646"/>
                  <a:pt x="671" y="636"/>
                </a:cubicBezTo>
                <a:cubicBezTo>
                  <a:pt x="651" y="626"/>
                  <a:pt x="636" y="615"/>
                  <a:pt x="625" y="601"/>
                </a:cubicBezTo>
                <a:cubicBezTo>
                  <a:pt x="615" y="589"/>
                  <a:pt x="610" y="574"/>
                  <a:pt x="610" y="557"/>
                </a:cubicBezTo>
                <a:cubicBezTo>
                  <a:pt x="610" y="529"/>
                  <a:pt x="625" y="505"/>
                  <a:pt x="657" y="484"/>
                </a:cubicBezTo>
                <a:cubicBezTo>
                  <a:pt x="690" y="462"/>
                  <a:pt x="735" y="451"/>
                  <a:pt x="789" y="451"/>
                </a:cubicBezTo>
                <a:cubicBezTo>
                  <a:pt x="848" y="451"/>
                  <a:pt x="891" y="461"/>
                  <a:pt x="917" y="481"/>
                </a:cubicBezTo>
                <a:cubicBezTo>
                  <a:pt x="943" y="501"/>
                  <a:pt x="966" y="529"/>
                  <a:pt x="985" y="565"/>
                </a:cubicBezTo>
                <a:cubicBezTo>
                  <a:pt x="1002" y="594"/>
                  <a:pt x="1017" y="613"/>
                  <a:pt x="1031" y="626"/>
                </a:cubicBezTo>
                <a:cubicBezTo>
                  <a:pt x="1046" y="640"/>
                  <a:pt x="1069" y="647"/>
                  <a:pt x="1097" y="647"/>
                </a:cubicBezTo>
                <a:cubicBezTo>
                  <a:pt x="1128" y="647"/>
                  <a:pt x="1154" y="636"/>
                  <a:pt x="1175" y="614"/>
                </a:cubicBezTo>
                <a:cubicBezTo>
                  <a:pt x="1196" y="592"/>
                  <a:pt x="1207" y="567"/>
                  <a:pt x="1207" y="540"/>
                </a:cubicBezTo>
                <a:cubicBezTo>
                  <a:pt x="1207" y="512"/>
                  <a:pt x="1199" y="482"/>
                  <a:pt x="1183" y="453"/>
                </a:cubicBezTo>
                <a:cubicBezTo>
                  <a:pt x="1167" y="424"/>
                  <a:pt x="1142" y="396"/>
                  <a:pt x="1108" y="370"/>
                </a:cubicBezTo>
                <a:cubicBezTo>
                  <a:pt x="1075" y="343"/>
                  <a:pt x="1033" y="322"/>
                  <a:pt x="982" y="307"/>
                </a:cubicBezTo>
                <a:cubicBezTo>
                  <a:pt x="932" y="291"/>
                  <a:pt x="872" y="283"/>
                  <a:pt x="804" y="283"/>
                </a:cubicBezTo>
                <a:close/>
                <a:moveTo>
                  <a:pt x="443" y="0"/>
                </a:moveTo>
                <a:cubicBezTo>
                  <a:pt x="530" y="0"/>
                  <a:pt x="610" y="25"/>
                  <a:pt x="679" y="68"/>
                </a:cubicBezTo>
                <a:cubicBezTo>
                  <a:pt x="721" y="61"/>
                  <a:pt x="765" y="57"/>
                  <a:pt x="809" y="57"/>
                </a:cubicBezTo>
                <a:cubicBezTo>
                  <a:pt x="1231" y="57"/>
                  <a:pt x="1573" y="399"/>
                  <a:pt x="1573" y="821"/>
                </a:cubicBezTo>
                <a:cubicBezTo>
                  <a:pt x="1573" y="877"/>
                  <a:pt x="1567" y="932"/>
                  <a:pt x="1555" y="984"/>
                </a:cubicBezTo>
                <a:cubicBezTo>
                  <a:pt x="1585" y="1044"/>
                  <a:pt x="1601" y="1110"/>
                  <a:pt x="1601" y="1181"/>
                </a:cubicBezTo>
                <a:cubicBezTo>
                  <a:pt x="1601" y="1426"/>
                  <a:pt x="1403" y="1624"/>
                  <a:pt x="1158" y="1624"/>
                </a:cubicBezTo>
                <a:cubicBezTo>
                  <a:pt x="1083" y="1624"/>
                  <a:pt x="1011" y="1605"/>
                  <a:pt x="949" y="1571"/>
                </a:cubicBezTo>
                <a:cubicBezTo>
                  <a:pt x="904" y="1580"/>
                  <a:pt x="857" y="1584"/>
                  <a:pt x="809" y="1584"/>
                </a:cubicBezTo>
                <a:cubicBezTo>
                  <a:pt x="387" y="1584"/>
                  <a:pt x="45" y="1242"/>
                  <a:pt x="45" y="821"/>
                </a:cubicBezTo>
                <a:cubicBezTo>
                  <a:pt x="45" y="768"/>
                  <a:pt x="51" y="717"/>
                  <a:pt x="61" y="667"/>
                </a:cubicBezTo>
                <a:cubicBezTo>
                  <a:pt x="22" y="601"/>
                  <a:pt x="0" y="525"/>
                  <a:pt x="0" y="443"/>
                </a:cubicBezTo>
                <a:cubicBezTo>
                  <a:pt x="0" y="198"/>
                  <a:pt x="198" y="0"/>
                  <a:pt x="44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TextBox 31"/>
          <p:cNvSpPr txBox="1"/>
          <p:nvPr/>
        </p:nvSpPr>
        <p:spPr>
          <a:xfrm>
            <a:off x="2114050" y="3944749"/>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Telegram</a:t>
            </a:r>
          </a:p>
        </p:txBody>
      </p:sp>
      <p:sp>
        <p:nvSpPr>
          <p:cNvPr id="36" name="Freeform 13"/>
          <p:cNvSpPr>
            <a:spLocks/>
          </p:cNvSpPr>
          <p:nvPr/>
        </p:nvSpPr>
        <p:spPr bwMode="auto">
          <a:xfrm>
            <a:off x="1493421" y="3753602"/>
            <a:ext cx="587260" cy="395189"/>
          </a:xfrm>
          <a:custGeom>
            <a:avLst/>
            <a:gdLst>
              <a:gd name="T0" fmla="*/ 1382 w 1382"/>
              <a:gd name="T1" fmla="*/ 0 h 930"/>
              <a:gd name="T2" fmla="*/ 950 w 1382"/>
              <a:gd name="T3" fmla="*/ 727 h 930"/>
              <a:gd name="T4" fmla="*/ 457 w 1382"/>
              <a:gd name="T5" fmla="*/ 597 h 930"/>
              <a:gd name="T6" fmla="*/ 471 w 1382"/>
              <a:gd name="T7" fmla="*/ 667 h 930"/>
              <a:gd name="T8" fmla="*/ 644 w 1382"/>
              <a:gd name="T9" fmla="*/ 723 h 930"/>
              <a:gd name="T10" fmla="*/ 471 w 1382"/>
              <a:gd name="T11" fmla="*/ 930 h 930"/>
              <a:gd name="T12" fmla="*/ 376 w 1382"/>
              <a:gd name="T13" fmla="*/ 563 h 930"/>
              <a:gd name="T14" fmla="*/ 1027 w 1382"/>
              <a:gd name="T15" fmla="*/ 160 h 930"/>
              <a:gd name="T16" fmla="*/ 250 w 1382"/>
              <a:gd name="T17" fmla="*/ 472 h 930"/>
              <a:gd name="T18" fmla="*/ 0 w 1382"/>
              <a:gd name="T19" fmla="*/ 290 h 930"/>
              <a:gd name="T20" fmla="*/ 1382 w 1382"/>
              <a:gd name="T21"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2" h="930">
                <a:moveTo>
                  <a:pt x="1382" y="0"/>
                </a:moveTo>
                <a:lnTo>
                  <a:pt x="950" y="727"/>
                </a:lnTo>
                <a:lnTo>
                  <a:pt x="457" y="597"/>
                </a:lnTo>
                <a:lnTo>
                  <a:pt x="471" y="667"/>
                </a:lnTo>
                <a:lnTo>
                  <a:pt x="644" y="723"/>
                </a:lnTo>
                <a:lnTo>
                  <a:pt x="471" y="930"/>
                </a:lnTo>
                <a:lnTo>
                  <a:pt x="376" y="563"/>
                </a:lnTo>
                <a:lnTo>
                  <a:pt x="1027" y="160"/>
                </a:lnTo>
                <a:lnTo>
                  <a:pt x="250" y="472"/>
                </a:lnTo>
                <a:lnTo>
                  <a:pt x="0" y="290"/>
                </a:lnTo>
                <a:lnTo>
                  <a:pt x="138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TextBox 36"/>
          <p:cNvSpPr txBox="1"/>
          <p:nvPr/>
        </p:nvSpPr>
        <p:spPr>
          <a:xfrm>
            <a:off x="2114050" y="4491974"/>
            <a:ext cx="819821" cy="1315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Chat</a:t>
            </a:r>
          </a:p>
        </p:txBody>
      </p:sp>
      <p:grpSp>
        <p:nvGrpSpPr>
          <p:cNvPr id="40" name="Group 16"/>
          <p:cNvGrpSpPr>
            <a:grpSpLocks noChangeAspect="1"/>
          </p:cNvGrpSpPr>
          <p:nvPr/>
        </p:nvGrpSpPr>
        <p:grpSpPr bwMode="auto">
          <a:xfrm>
            <a:off x="1575519" y="4318595"/>
            <a:ext cx="439779" cy="420636"/>
            <a:chOff x="2572" y="987"/>
            <a:chExt cx="2527" cy="2417"/>
          </a:xfrm>
          <a:solidFill>
            <a:schemeClr val="bg1"/>
          </a:solidFill>
        </p:grpSpPr>
        <p:sp>
          <p:nvSpPr>
            <p:cNvPr id="42" name="Freeform 17"/>
            <p:cNvSpPr>
              <a:spLocks noEditPoints="1"/>
            </p:cNvSpPr>
            <p:nvPr/>
          </p:nvSpPr>
          <p:spPr bwMode="auto">
            <a:xfrm>
              <a:off x="2572" y="987"/>
              <a:ext cx="2527" cy="2417"/>
            </a:xfrm>
            <a:custGeom>
              <a:avLst/>
              <a:gdLst>
                <a:gd name="T0" fmla="*/ 1678 w 1678"/>
                <a:gd name="T1" fmla="*/ 139 h 1603"/>
                <a:gd name="T2" fmla="*/ 1678 w 1678"/>
                <a:gd name="T3" fmla="*/ 1462 h 1603"/>
                <a:gd name="T4" fmla="*/ 1464 w 1678"/>
                <a:gd name="T5" fmla="*/ 1602 h 1603"/>
                <a:gd name="T6" fmla="*/ 195 w 1678"/>
                <a:gd name="T7" fmla="*/ 1601 h 1603"/>
                <a:gd name="T8" fmla="*/ 1 w 1678"/>
                <a:gd name="T9" fmla="*/ 1406 h 1603"/>
                <a:gd name="T10" fmla="*/ 1 w 1678"/>
                <a:gd name="T11" fmla="*/ 193 h 1603"/>
                <a:gd name="T12" fmla="*/ 191 w 1678"/>
                <a:gd name="T13" fmla="*/ 1 h 1603"/>
                <a:gd name="T14" fmla="*/ 1493 w 1678"/>
                <a:gd name="T15" fmla="*/ 0 h 1603"/>
                <a:gd name="T16" fmla="*/ 1601 w 1678"/>
                <a:gd name="T17" fmla="*/ 32 h 1603"/>
                <a:gd name="T18" fmla="*/ 1678 w 1678"/>
                <a:gd name="T19" fmla="*/ 139 h 1603"/>
                <a:gd name="T20" fmla="*/ 838 w 1678"/>
                <a:gd name="T21" fmla="*/ 1408 h 1603"/>
                <a:gd name="T22" fmla="*/ 1440 w 1678"/>
                <a:gd name="T23" fmla="*/ 1408 h 1603"/>
                <a:gd name="T24" fmla="*/ 1487 w 1678"/>
                <a:gd name="T25" fmla="*/ 1363 h 1603"/>
                <a:gd name="T26" fmla="*/ 1487 w 1678"/>
                <a:gd name="T27" fmla="*/ 492 h 1603"/>
                <a:gd name="T28" fmla="*/ 1444 w 1678"/>
                <a:gd name="T29" fmla="*/ 449 h 1603"/>
                <a:gd name="T30" fmla="*/ 240 w 1678"/>
                <a:gd name="T31" fmla="*/ 449 h 1603"/>
                <a:gd name="T32" fmla="*/ 194 w 1678"/>
                <a:gd name="T33" fmla="*/ 496 h 1603"/>
                <a:gd name="T34" fmla="*/ 194 w 1678"/>
                <a:gd name="T35" fmla="*/ 1363 h 1603"/>
                <a:gd name="T36" fmla="*/ 239 w 1678"/>
                <a:gd name="T37" fmla="*/ 1408 h 1603"/>
                <a:gd name="T38" fmla="*/ 838 w 1678"/>
                <a:gd name="T39" fmla="*/ 1408 h 1603"/>
                <a:gd name="T40" fmla="*/ 756 w 1678"/>
                <a:gd name="T41" fmla="*/ 174 h 1603"/>
                <a:gd name="T42" fmla="*/ 693 w 1678"/>
                <a:gd name="T43" fmla="*/ 237 h 1603"/>
                <a:gd name="T44" fmla="*/ 757 w 1678"/>
                <a:gd name="T45" fmla="*/ 299 h 1603"/>
                <a:gd name="T46" fmla="*/ 819 w 1678"/>
                <a:gd name="T47" fmla="*/ 235 h 1603"/>
                <a:gd name="T48" fmla="*/ 756 w 1678"/>
                <a:gd name="T49" fmla="*/ 174 h 1603"/>
                <a:gd name="T50" fmla="*/ 507 w 1678"/>
                <a:gd name="T51" fmla="*/ 168 h 1603"/>
                <a:gd name="T52" fmla="*/ 444 w 1678"/>
                <a:gd name="T53" fmla="*/ 231 h 1603"/>
                <a:gd name="T54" fmla="*/ 507 w 1678"/>
                <a:gd name="T55" fmla="*/ 294 h 1603"/>
                <a:gd name="T56" fmla="*/ 570 w 1678"/>
                <a:gd name="T57" fmla="*/ 232 h 1603"/>
                <a:gd name="T58" fmla="*/ 507 w 1678"/>
                <a:gd name="T59" fmla="*/ 168 h 1603"/>
                <a:gd name="T60" fmla="*/ 258 w 1678"/>
                <a:gd name="T61" fmla="*/ 166 h 1603"/>
                <a:gd name="T62" fmla="*/ 195 w 1678"/>
                <a:gd name="T63" fmla="*/ 228 h 1603"/>
                <a:gd name="T64" fmla="*/ 258 w 1678"/>
                <a:gd name="T65" fmla="*/ 289 h 1603"/>
                <a:gd name="T66" fmla="*/ 321 w 1678"/>
                <a:gd name="T67" fmla="*/ 227 h 1603"/>
                <a:gd name="T68" fmla="*/ 258 w 1678"/>
                <a:gd name="T69" fmla="*/ 166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78" h="1603">
                  <a:moveTo>
                    <a:pt x="1678" y="139"/>
                  </a:moveTo>
                  <a:cubicBezTo>
                    <a:pt x="1678" y="580"/>
                    <a:pt x="1678" y="1021"/>
                    <a:pt x="1678" y="1462"/>
                  </a:cubicBezTo>
                  <a:cubicBezTo>
                    <a:pt x="1642" y="1563"/>
                    <a:pt x="1571" y="1603"/>
                    <a:pt x="1464" y="1602"/>
                  </a:cubicBezTo>
                  <a:cubicBezTo>
                    <a:pt x="1041" y="1600"/>
                    <a:pt x="618" y="1601"/>
                    <a:pt x="195" y="1601"/>
                  </a:cubicBezTo>
                  <a:cubicBezTo>
                    <a:pt x="76" y="1601"/>
                    <a:pt x="1" y="1526"/>
                    <a:pt x="1" y="1406"/>
                  </a:cubicBezTo>
                  <a:cubicBezTo>
                    <a:pt x="0" y="1002"/>
                    <a:pt x="0" y="597"/>
                    <a:pt x="1" y="193"/>
                  </a:cubicBezTo>
                  <a:cubicBezTo>
                    <a:pt x="1" y="78"/>
                    <a:pt x="77" y="1"/>
                    <a:pt x="191" y="1"/>
                  </a:cubicBezTo>
                  <a:cubicBezTo>
                    <a:pt x="625" y="0"/>
                    <a:pt x="1059" y="0"/>
                    <a:pt x="1493" y="0"/>
                  </a:cubicBezTo>
                  <a:cubicBezTo>
                    <a:pt x="1532" y="0"/>
                    <a:pt x="1568" y="11"/>
                    <a:pt x="1601" y="32"/>
                  </a:cubicBezTo>
                  <a:cubicBezTo>
                    <a:pt x="1641" y="58"/>
                    <a:pt x="1661" y="98"/>
                    <a:pt x="1678" y="139"/>
                  </a:cubicBezTo>
                  <a:close/>
                  <a:moveTo>
                    <a:pt x="838" y="1408"/>
                  </a:moveTo>
                  <a:cubicBezTo>
                    <a:pt x="1038" y="1408"/>
                    <a:pt x="1239" y="1408"/>
                    <a:pt x="1440" y="1408"/>
                  </a:cubicBezTo>
                  <a:cubicBezTo>
                    <a:pt x="1486" y="1408"/>
                    <a:pt x="1487" y="1407"/>
                    <a:pt x="1487" y="1363"/>
                  </a:cubicBezTo>
                  <a:cubicBezTo>
                    <a:pt x="1487" y="1073"/>
                    <a:pt x="1487" y="782"/>
                    <a:pt x="1487" y="492"/>
                  </a:cubicBezTo>
                  <a:cubicBezTo>
                    <a:pt x="1486" y="451"/>
                    <a:pt x="1485" y="449"/>
                    <a:pt x="1444" y="449"/>
                  </a:cubicBezTo>
                  <a:cubicBezTo>
                    <a:pt x="1043" y="449"/>
                    <a:pt x="641" y="449"/>
                    <a:pt x="240" y="449"/>
                  </a:cubicBezTo>
                  <a:cubicBezTo>
                    <a:pt x="196" y="449"/>
                    <a:pt x="194" y="451"/>
                    <a:pt x="194" y="496"/>
                  </a:cubicBezTo>
                  <a:cubicBezTo>
                    <a:pt x="194" y="785"/>
                    <a:pt x="194" y="1074"/>
                    <a:pt x="194" y="1363"/>
                  </a:cubicBezTo>
                  <a:cubicBezTo>
                    <a:pt x="194" y="1406"/>
                    <a:pt x="196" y="1408"/>
                    <a:pt x="239" y="1408"/>
                  </a:cubicBezTo>
                  <a:cubicBezTo>
                    <a:pt x="438" y="1408"/>
                    <a:pt x="638" y="1408"/>
                    <a:pt x="838" y="1408"/>
                  </a:cubicBezTo>
                  <a:close/>
                  <a:moveTo>
                    <a:pt x="756" y="174"/>
                  </a:moveTo>
                  <a:cubicBezTo>
                    <a:pt x="722" y="174"/>
                    <a:pt x="692" y="204"/>
                    <a:pt x="693" y="237"/>
                  </a:cubicBezTo>
                  <a:cubicBezTo>
                    <a:pt x="694" y="269"/>
                    <a:pt x="725" y="299"/>
                    <a:pt x="757" y="299"/>
                  </a:cubicBezTo>
                  <a:cubicBezTo>
                    <a:pt x="790" y="299"/>
                    <a:pt x="819" y="268"/>
                    <a:pt x="819" y="235"/>
                  </a:cubicBezTo>
                  <a:cubicBezTo>
                    <a:pt x="818" y="201"/>
                    <a:pt x="790" y="173"/>
                    <a:pt x="756" y="174"/>
                  </a:cubicBezTo>
                  <a:close/>
                  <a:moveTo>
                    <a:pt x="507" y="168"/>
                  </a:moveTo>
                  <a:cubicBezTo>
                    <a:pt x="476" y="168"/>
                    <a:pt x="444" y="200"/>
                    <a:pt x="444" y="231"/>
                  </a:cubicBezTo>
                  <a:cubicBezTo>
                    <a:pt x="443" y="263"/>
                    <a:pt x="475" y="294"/>
                    <a:pt x="507" y="294"/>
                  </a:cubicBezTo>
                  <a:cubicBezTo>
                    <a:pt x="539" y="295"/>
                    <a:pt x="570" y="264"/>
                    <a:pt x="570" y="232"/>
                  </a:cubicBezTo>
                  <a:cubicBezTo>
                    <a:pt x="570" y="199"/>
                    <a:pt x="540" y="168"/>
                    <a:pt x="507" y="168"/>
                  </a:cubicBezTo>
                  <a:close/>
                  <a:moveTo>
                    <a:pt x="258" y="166"/>
                  </a:moveTo>
                  <a:cubicBezTo>
                    <a:pt x="224" y="166"/>
                    <a:pt x="194" y="195"/>
                    <a:pt x="195" y="228"/>
                  </a:cubicBezTo>
                  <a:cubicBezTo>
                    <a:pt x="195" y="260"/>
                    <a:pt x="225" y="289"/>
                    <a:pt x="258" y="289"/>
                  </a:cubicBezTo>
                  <a:cubicBezTo>
                    <a:pt x="292" y="289"/>
                    <a:pt x="321" y="261"/>
                    <a:pt x="321" y="227"/>
                  </a:cubicBezTo>
                  <a:cubicBezTo>
                    <a:pt x="321" y="193"/>
                    <a:pt x="293" y="166"/>
                    <a:pt x="258"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Oval 18"/>
            <p:cNvSpPr>
              <a:spLocks noChangeArrowheads="1"/>
            </p:cNvSpPr>
            <p:nvPr/>
          </p:nvSpPr>
          <p:spPr bwMode="auto">
            <a:xfrm>
              <a:off x="3647"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19"/>
            <p:cNvSpPr>
              <a:spLocks noChangeArrowheads="1"/>
            </p:cNvSpPr>
            <p:nvPr/>
          </p:nvSpPr>
          <p:spPr bwMode="auto">
            <a:xfrm>
              <a:off x="3089"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Oval 20"/>
            <p:cNvSpPr>
              <a:spLocks noChangeArrowheads="1"/>
            </p:cNvSpPr>
            <p:nvPr/>
          </p:nvSpPr>
          <p:spPr bwMode="auto">
            <a:xfrm>
              <a:off x="4204" y="2113"/>
              <a:ext cx="375" cy="3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8" name="Rectangle 47"/>
          <p:cNvSpPr/>
          <p:nvPr/>
        </p:nvSpPr>
        <p:spPr bwMode="auto">
          <a:xfrm>
            <a:off x="2903388" y="1775630"/>
            <a:ext cx="754963" cy="31683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ot Connector</a:t>
            </a:r>
          </a:p>
        </p:txBody>
      </p:sp>
      <p:sp>
        <p:nvSpPr>
          <p:cNvPr id="54" name="Rectangle 53"/>
          <p:cNvSpPr/>
          <p:nvPr/>
        </p:nvSpPr>
        <p:spPr bwMode="auto">
          <a:xfrm>
            <a:off x="4131292" y="2280742"/>
            <a:ext cx="1967872" cy="1218521"/>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4246505" y="2445413"/>
            <a:ext cx="1752497" cy="920862"/>
            <a:chOff x="4444021" y="2558998"/>
            <a:chExt cx="1563609" cy="1891719"/>
          </a:xfrm>
        </p:grpSpPr>
        <p:sp>
          <p:nvSpPr>
            <p:cNvPr id="47" name="Rectangle 46"/>
            <p:cNvSpPr/>
            <p:nvPr/>
          </p:nvSpPr>
          <p:spPr bwMode="auto">
            <a:xfrm>
              <a:off x="4501907" y="3228342"/>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Intent Handling</a:t>
              </a:r>
            </a:p>
          </p:txBody>
        </p:sp>
        <p:sp>
          <p:nvSpPr>
            <p:cNvPr id="50" name="Rectangle 49"/>
            <p:cNvSpPr/>
            <p:nvPr/>
          </p:nvSpPr>
          <p:spPr bwMode="auto">
            <a:xfrm>
              <a:off x="4444021" y="3149694"/>
              <a:ext cx="1563609" cy="683005"/>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4501907" y="2558998"/>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ot Application</a:t>
              </a:r>
            </a:p>
          </p:txBody>
        </p:sp>
        <p:sp>
          <p:nvSpPr>
            <p:cNvPr id="53" name="Rectangle 52"/>
            <p:cNvSpPr/>
            <p:nvPr/>
          </p:nvSpPr>
          <p:spPr bwMode="auto">
            <a:xfrm>
              <a:off x="4501907" y="3925008"/>
              <a:ext cx="1447836" cy="5257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essage Response</a:t>
              </a:r>
            </a:p>
          </p:txBody>
        </p:sp>
      </p:grpSp>
      <p:sp>
        <p:nvSpPr>
          <p:cNvPr id="56" name="Rectangle 55"/>
          <p:cNvSpPr/>
          <p:nvPr/>
        </p:nvSpPr>
        <p:spPr bwMode="auto">
          <a:xfrm>
            <a:off x="4131292" y="3642415"/>
            <a:ext cx="1967872" cy="400473"/>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Cognitive Services</a:t>
            </a:r>
          </a:p>
        </p:txBody>
      </p:sp>
      <p:sp>
        <p:nvSpPr>
          <p:cNvPr id="57" name="Rectangle 56"/>
          <p:cNvSpPr/>
          <p:nvPr/>
        </p:nvSpPr>
        <p:spPr bwMode="auto">
          <a:xfrm>
            <a:off x="4131292" y="4168039"/>
            <a:ext cx="1967872" cy="1169649"/>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Knowledge Base</a:t>
            </a:r>
          </a:p>
        </p:txBody>
      </p:sp>
      <p:grpSp>
        <p:nvGrpSpPr>
          <p:cNvPr id="107" name="Group 106"/>
          <p:cNvGrpSpPr/>
          <p:nvPr/>
        </p:nvGrpSpPr>
        <p:grpSpPr>
          <a:xfrm>
            <a:off x="4264920" y="4492634"/>
            <a:ext cx="1927232" cy="736239"/>
            <a:chOff x="4512888" y="5205549"/>
            <a:chExt cx="1927232" cy="736239"/>
          </a:xfrm>
        </p:grpSpPr>
        <p:sp>
          <p:nvSpPr>
            <p:cNvPr id="60" name="TextBox 59"/>
            <p:cNvSpPr txBox="1"/>
            <p:nvPr/>
          </p:nvSpPr>
          <p:spPr>
            <a:xfrm>
              <a:off x="4512888" y="5810214"/>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Search</a:t>
              </a:r>
            </a:p>
          </p:txBody>
        </p:sp>
        <p:grpSp>
          <p:nvGrpSpPr>
            <p:cNvPr id="77" name="Group 76"/>
            <p:cNvGrpSpPr/>
            <p:nvPr/>
          </p:nvGrpSpPr>
          <p:grpSpPr>
            <a:xfrm>
              <a:off x="4574174" y="5233481"/>
              <a:ext cx="714038" cy="444894"/>
              <a:chOff x="4529956" y="5231290"/>
              <a:chExt cx="537715" cy="335033"/>
            </a:xfrm>
          </p:grpSpPr>
          <p:sp>
            <p:nvSpPr>
              <p:cNvPr id="59" name="Freeform 21"/>
              <p:cNvSpPr>
                <a:spLocks noChangeAspect="1" noEditPoints="1"/>
              </p:cNvSpPr>
              <p:nvPr/>
            </p:nvSpPr>
            <p:spPr bwMode="black">
              <a:xfrm>
                <a:off x="4529956" y="5231290"/>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Freeform 24"/>
              <p:cNvSpPr>
                <a:spLocks noEditPoints="1"/>
              </p:cNvSpPr>
              <p:nvPr/>
            </p:nvSpPr>
            <p:spPr bwMode="auto">
              <a:xfrm>
                <a:off x="4734069" y="5352797"/>
                <a:ext cx="151346" cy="151512"/>
              </a:xfrm>
              <a:custGeom>
                <a:avLst/>
                <a:gdLst>
                  <a:gd name="T0" fmla="*/ 247 w 602"/>
                  <a:gd name="T1" fmla="*/ 38 h 601"/>
                  <a:gd name="T2" fmla="*/ 38 w 602"/>
                  <a:gd name="T3" fmla="*/ 248 h 601"/>
                  <a:gd name="T4" fmla="*/ 247 w 602"/>
                  <a:gd name="T5" fmla="*/ 457 h 601"/>
                  <a:gd name="T6" fmla="*/ 457 w 602"/>
                  <a:gd name="T7" fmla="*/ 248 h 601"/>
                  <a:gd name="T8" fmla="*/ 247 w 602"/>
                  <a:gd name="T9" fmla="*/ 38 h 601"/>
                  <a:gd name="T10" fmla="*/ 247 w 602"/>
                  <a:gd name="T11" fmla="*/ 0 h 601"/>
                  <a:gd name="T12" fmla="*/ 494 w 602"/>
                  <a:gd name="T13" fmla="*/ 248 h 601"/>
                  <a:gd name="T14" fmla="*/ 438 w 602"/>
                  <a:gd name="T15" fmla="*/ 405 h 601"/>
                  <a:gd name="T16" fmla="*/ 435 w 602"/>
                  <a:gd name="T17" fmla="*/ 409 h 601"/>
                  <a:gd name="T18" fmla="*/ 595 w 602"/>
                  <a:gd name="T19" fmla="*/ 569 h 601"/>
                  <a:gd name="T20" fmla="*/ 594 w 602"/>
                  <a:gd name="T21" fmla="*/ 596 h 601"/>
                  <a:gd name="T22" fmla="*/ 581 w 602"/>
                  <a:gd name="T23" fmla="*/ 601 h 601"/>
                  <a:gd name="T24" fmla="*/ 568 w 602"/>
                  <a:gd name="T25" fmla="*/ 596 h 601"/>
                  <a:gd name="T26" fmla="*/ 408 w 602"/>
                  <a:gd name="T27" fmla="*/ 435 h 601"/>
                  <a:gd name="T28" fmla="*/ 404 w 602"/>
                  <a:gd name="T29" fmla="*/ 438 h 601"/>
                  <a:gd name="T30" fmla="*/ 247 w 602"/>
                  <a:gd name="T31" fmla="*/ 495 h 601"/>
                  <a:gd name="T32" fmla="*/ 0 w 602"/>
                  <a:gd name="T33" fmla="*/ 248 h 601"/>
                  <a:gd name="T34" fmla="*/ 247 w 602"/>
                  <a:gd name="T35"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 h="601">
                    <a:moveTo>
                      <a:pt x="247" y="38"/>
                    </a:moveTo>
                    <a:cubicBezTo>
                      <a:pt x="132" y="38"/>
                      <a:pt x="38" y="132"/>
                      <a:pt x="38" y="248"/>
                    </a:cubicBezTo>
                    <a:cubicBezTo>
                      <a:pt x="38" y="363"/>
                      <a:pt x="132" y="457"/>
                      <a:pt x="247" y="457"/>
                    </a:cubicBezTo>
                    <a:cubicBezTo>
                      <a:pt x="363" y="457"/>
                      <a:pt x="457" y="363"/>
                      <a:pt x="457" y="248"/>
                    </a:cubicBezTo>
                    <a:cubicBezTo>
                      <a:pt x="457" y="132"/>
                      <a:pt x="363" y="38"/>
                      <a:pt x="247" y="38"/>
                    </a:cubicBezTo>
                    <a:close/>
                    <a:moveTo>
                      <a:pt x="247" y="0"/>
                    </a:moveTo>
                    <a:cubicBezTo>
                      <a:pt x="383" y="0"/>
                      <a:pt x="494" y="111"/>
                      <a:pt x="494" y="248"/>
                    </a:cubicBezTo>
                    <a:cubicBezTo>
                      <a:pt x="494" y="307"/>
                      <a:pt x="473" y="362"/>
                      <a:pt x="438" y="405"/>
                    </a:cubicBezTo>
                    <a:cubicBezTo>
                      <a:pt x="435" y="409"/>
                      <a:pt x="435" y="409"/>
                      <a:pt x="435" y="409"/>
                    </a:cubicBezTo>
                    <a:cubicBezTo>
                      <a:pt x="595" y="569"/>
                      <a:pt x="595" y="569"/>
                      <a:pt x="595" y="569"/>
                    </a:cubicBezTo>
                    <a:cubicBezTo>
                      <a:pt x="602" y="577"/>
                      <a:pt x="602" y="588"/>
                      <a:pt x="594" y="596"/>
                    </a:cubicBezTo>
                    <a:cubicBezTo>
                      <a:pt x="591" y="599"/>
                      <a:pt x="586" y="601"/>
                      <a:pt x="581" y="601"/>
                    </a:cubicBezTo>
                    <a:cubicBezTo>
                      <a:pt x="576" y="601"/>
                      <a:pt x="572" y="599"/>
                      <a:pt x="568" y="596"/>
                    </a:cubicBezTo>
                    <a:cubicBezTo>
                      <a:pt x="408" y="435"/>
                      <a:pt x="408" y="435"/>
                      <a:pt x="408" y="435"/>
                    </a:cubicBezTo>
                    <a:cubicBezTo>
                      <a:pt x="404" y="438"/>
                      <a:pt x="404" y="438"/>
                      <a:pt x="404" y="438"/>
                    </a:cubicBezTo>
                    <a:cubicBezTo>
                      <a:pt x="361" y="474"/>
                      <a:pt x="307" y="495"/>
                      <a:pt x="247" y="495"/>
                    </a:cubicBezTo>
                    <a:cubicBezTo>
                      <a:pt x="111" y="495"/>
                      <a:pt x="0" y="384"/>
                      <a:pt x="0" y="248"/>
                    </a:cubicBezTo>
                    <a:cubicBezTo>
                      <a:pt x="0" y="111"/>
                      <a:pt x="111" y="0"/>
                      <a:pt x="2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1" name="Group 70"/>
            <p:cNvGrpSpPr/>
            <p:nvPr/>
          </p:nvGrpSpPr>
          <p:grpSpPr>
            <a:xfrm>
              <a:off x="5612917" y="5205549"/>
              <a:ext cx="443138" cy="543236"/>
              <a:chOff x="4096052" y="1976584"/>
              <a:chExt cx="383609" cy="470261"/>
            </a:xfrm>
            <a:solidFill>
              <a:schemeClr val="bg1"/>
            </a:solidFill>
          </p:grpSpPr>
          <p:grpSp>
            <p:nvGrpSpPr>
              <p:cNvPr id="72" name="Group 71"/>
              <p:cNvGrpSpPr/>
              <p:nvPr/>
            </p:nvGrpSpPr>
            <p:grpSpPr>
              <a:xfrm>
                <a:off x="4178949" y="2152072"/>
                <a:ext cx="226797" cy="216647"/>
                <a:chOff x="4188185" y="1976581"/>
                <a:chExt cx="371765" cy="392139"/>
              </a:xfrm>
              <a:grpFill/>
            </p:grpSpPr>
            <p:sp>
              <p:nvSpPr>
                <p:cNvPr id="74" name="Left Brace 73"/>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Left Brace 74"/>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3"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6" name="TextBox 75"/>
            <p:cNvSpPr txBox="1"/>
            <p:nvPr/>
          </p:nvSpPr>
          <p:spPr>
            <a:xfrm>
              <a:off x="5228853" y="5809172"/>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sp>
        <p:nvSpPr>
          <p:cNvPr id="81" name="Freeform 28"/>
          <p:cNvSpPr>
            <a:spLocks noEditPoints="1"/>
          </p:cNvSpPr>
          <p:nvPr/>
        </p:nvSpPr>
        <p:spPr bwMode="auto">
          <a:xfrm>
            <a:off x="4135836" y="5423219"/>
            <a:ext cx="297024" cy="431960"/>
          </a:xfrm>
          <a:custGeom>
            <a:avLst/>
            <a:gdLst>
              <a:gd name="T0" fmla="*/ 161 w 237"/>
              <a:gd name="T1" fmla="*/ 292 h 346"/>
              <a:gd name="T2" fmla="*/ 170 w 237"/>
              <a:gd name="T3" fmla="*/ 296 h 346"/>
              <a:gd name="T4" fmla="*/ 172 w 237"/>
              <a:gd name="T5" fmla="*/ 305 h 346"/>
              <a:gd name="T6" fmla="*/ 167 w 237"/>
              <a:gd name="T7" fmla="*/ 312 h 346"/>
              <a:gd name="T8" fmla="*/ 72 w 237"/>
              <a:gd name="T9" fmla="*/ 313 h 346"/>
              <a:gd name="T10" fmla="*/ 65 w 237"/>
              <a:gd name="T11" fmla="*/ 307 h 346"/>
              <a:gd name="T12" fmla="*/ 66 w 237"/>
              <a:gd name="T13" fmla="*/ 297 h 346"/>
              <a:gd name="T14" fmla="*/ 73 w 237"/>
              <a:gd name="T15" fmla="*/ 292 h 346"/>
              <a:gd name="T16" fmla="*/ 103 w 237"/>
              <a:gd name="T17" fmla="*/ 23 h 346"/>
              <a:gd name="T18" fmla="*/ 83 w 237"/>
              <a:gd name="T19" fmla="*/ 29 h 346"/>
              <a:gd name="T20" fmla="*/ 50 w 237"/>
              <a:gd name="T21" fmla="*/ 51 h 346"/>
              <a:gd name="T22" fmla="*/ 28 w 237"/>
              <a:gd name="T23" fmla="*/ 84 h 346"/>
              <a:gd name="T24" fmla="*/ 22 w 237"/>
              <a:gd name="T25" fmla="*/ 105 h 346"/>
              <a:gd name="T26" fmla="*/ 21 w 237"/>
              <a:gd name="T27" fmla="*/ 128 h 346"/>
              <a:gd name="T28" fmla="*/ 27 w 237"/>
              <a:gd name="T29" fmla="*/ 152 h 346"/>
              <a:gd name="T30" fmla="*/ 34 w 237"/>
              <a:gd name="T31" fmla="*/ 170 h 346"/>
              <a:gd name="T32" fmla="*/ 48 w 237"/>
              <a:gd name="T33" fmla="*/ 192 h 346"/>
              <a:gd name="T34" fmla="*/ 64 w 237"/>
              <a:gd name="T35" fmla="*/ 213 h 346"/>
              <a:gd name="T36" fmla="*/ 74 w 237"/>
              <a:gd name="T37" fmla="*/ 231 h 346"/>
              <a:gd name="T38" fmla="*/ 82 w 237"/>
              <a:gd name="T39" fmla="*/ 253 h 346"/>
              <a:gd name="T40" fmla="*/ 156 w 237"/>
              <a:gd name="T41" fmla="*/ 247 h 346"/>
              <a:gd name="T42" fmla="*/ 166 w 237"/>
              <a:gd name="T43" fmla="*/ 222 h 346"/>
              <a:gd name="T44" fmla="*/ 172 w 237"/>
              <a:gd name="T45" fmla="*/ 214 h 346"/>
              <a:gd name="T46" fmla="*/ 183 w 237"/>
              <a:gd name="T47" fmla="*/ 200 h 346"/>
              <a:gd name="T48" fmla="*/ 199 w 237"/>
              <a:gd name="T49" fmla="*/ 175 h 346"/>
              <a:gd name="T50" fmla="*/ 209 w 237"/>
              <a:gd name="T51" fmla="*/ 153 h 346"/>
              <a:gd name="T52" fmla="*/ 215 w 237"/>
              <a:gd name="T53" fmla="*/ 126 h 346"/>
              <a:gd name="T54" fmla="*/ 214 w 237"/>
              <a:gd name="T55" fmla="*/ 102 h 346"/>
              <a:gd name="T56" fmla="*/ 208 w 237"/>
              <a:gd name="T57" fmla="*/ 82 h 346"/>
              <a:gd name="T58" fmla="*/ 183 w 237"/>
              <a:gd name="T59" fmla="*/ 47 h 346"/>
              <a:gd name="T60" fmla="*/ 152 w 237"/>
              <a:gd name="T61" fmla="*/ 28 h 346"/>
              <a:gd name="T62" fmla="*/ 131 w 237"/>
              <a:gd name="T63" fmla="*/ 23 h 346"/>
              <a:gd name="T64" fmla="*/ 127 w 237"/>
              <a:gd name="T65" fmla="*/ 1 h 346"/>
              <a:gd name="T66" fmla="*/ 153 w 237"/>
              <a:gd name="T67" fmla="*/ 6 h 346"/>
              <a:gd name="T68" fmla="*/ 177 w 237"/>
              <a:gd name="T69" fmla="*/ 16 h 346"/>
              <a:gd name="T70" fmla="*/ 198 w 237"/>
              <a:gd name="T71" fmla="*/ 31 h 346"/>
              <a:gd name="T72" fmla="*/ 220 w 237"/>
              <a:gd name="T73" fmla="*/ 58 h 346"/>
              <a:gd name="T74" fmla="*/ 231 w 237"/>
              <a:gd name="T75" fmla="*/ 81 h 346"/>
              <a:gd name="T76" fmla="*/ 236 w 237"/>
              <a:gd name="T77" fmla="*/ 107 h 346"/>
              <a:gd name="T78" fmla="*/ 235 w 237"/>
              <a:gd name="T79" fmla="*/ 139 h 346"/>
              <a:gd name="T80" fmla="*/ 225 w 237"/>
              <a:gd name="T81" fmla="*/ 171 h 346"/>
              <a:gd name="T82" fmla="*/ 213 w 237"/>
              <a:gd name="T83" fmla="*/ 193 h 346"/>
              <a:gd name="T84" fmla="*/ 195 w 237"/>
              <a:gd name="T85" fmla="*/ 219 h 346"/>
              <a:gd name="T86" fmla="*/ 187 w 237"/>
              <a:gd name="T87" fmla="*/ 230 h 346"/>
              <a:gd name="T88" fmla="*/ 179 w 237"/>
              <a:gd name="T89" fmla="*/ 244 h 346"/>
              <a:gd name="T90" fmla="*/ 175 w 237"/>
              <a:gd name="T91" fmla="*/ 258 h 346"/>
              <a:gd name="T92" fmla="*/ 174 w 237"/>
              <a:gd name="T93" fmla="*/ 267 h 346"/>
              <a:gd name="T94" fmla="*/ 163 w 237"/>
              <a:gd name="T95" fmla="*/ 281 h 346"/>
              <a:gd name="T96" fmla="*/ 62 w 237"/>
              <a:gd name="T97" fmla="*/ 267 h 346"/>
              <a:gd name="T98" fmla="*/ 61 w 237"/>
              <a:gd name="T99" fmla="*/ 257 h 346"/>
              <a:gd name="T100" fmla="*/ 56 w 237"/>
              <a:gd name="T101" fmla="*/ 242 h 346"/>
              <a:gd name="T102" fmla="*/ 48 w 237"/>
              <a:gd name="T103" fmla="*/ 228 h 346"/>
              <a:gd name="T104" fmla="*/ 37 w 237"/>
              <a:gd name="T105" fmla="*/ 214 h 346"/>
              <a:gd name="T106" fmla="*/ 20 w 237"/>
              <a:gd name="T107" fmla="*/ 188 h 346"/>
              <a:gd name="T108" fmla="*/ 10 w 237"/>
              <a:gd name="T109" fmla="*/ 169 h 346"/>
              <a:gd name="T110" fmla="*/ 1 w 237"/>
              <a:gd name="T111" fmla="*/ 140 h 346"/>
              <a:gd name="T112" fmla="*/ 0 w 237"/>
              <a:gd name="T113" fmla="*/ 110 h 346"/>
              <a:gd name="T114" fmla="*/ 5 w 237"/>
              <a:gd name="T115" fmla="*/ 84 h 346"/>
              <a:gd name="T116" fmla="*/ 15 w 237"/>
              <a:gd name="T117" fmla="*/ 60 h 346"/>
              <a:gd name="T118" fmla="*/ 34 w 237"/>
              <a:gd name="T119" fmla="*/ 35 h 346"/>
              <a:gd name="T120" fmla="*/ 57 w 237"/>
              <a:gd name="T121" fmla="*/ 18 h 346"/>
              <a:gd name="T122" fmla="*/ 80 w 237"/>
              <a:gd name="T123" fmla="*/ 7 h 346"/>
              <a:gd name="T124" fmla="*/ 106 w 237"/>
              <a:gd name="T125" fmla="*/ 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 h="346">
                <a:moveTo>
                  <a:pt x="86" y="324"/>
                </a:moveTo>
                <a:cubicBezTo>
                  <a:pt x="151" y="324"/>
                  <a:pt x="151" y="324"/>
                  <a:pt x="151" y="324"/>
                </a:cubicBezTo>
                <a:cubicBezTo>
                  <a:pt x="157" y="324"/>
                  <a:pt x="161" y="329"/>
                  <a:pt x="161" y="335"/>
                </a:cubicBezTo>
                <a:cubicBezTo>
                  <a:pt x="161" y="341"/>
                  <a:pt x="157" y="346"/>
                  <a:pt x="151" y="346"/>
                </a:cubicBezTo>
                <a:cubicBezTo>
                  <a:pt x="86" y="346"/>
                  <a:pt x="86" y="346"/>
                  <a:pt x="86" y="346"/>
                </a:cubicBezTo>
                <a:cubicBezTo>
                  <a:pt x="80" y="346"/>
                  <a:pt x="75" y="341"/>
                  <a:pt x="75" y="335"/>
                </a:cubicBezTo>
                <a:cubicBezTo>
                  <a:pt x="75" y="329"/>
                  <a:pt x="80" y="324"/>
                  <a:pt x="86" y="324"/>
                </a:cubicBezTo>
                <a:close/>
                <a:moveTo>
                  <a:pt x="75" y="292"/>
                </a:moveTo>
                <a:cubicBezTo>
                  <a:pt x="161" y="292"/>
                  <a:pt x="161" y="292"/>
                  <a:pt x="161" y="292"/>
                </a:cubicBezTo>
                <a:cubicBezTo>
                  <a:pt x="162" y="292"/>
                  <a:pt x="162" y="292"/>
                  <a:pt x="162" y="292"/>
                </a:cubicBezTo>
                <a:cubicBezTo>
                  <a:pt x="163" y="292"/>
                  <a:pt x="163" y="292"/>
                  <a:pt x="164" y="292"/>
                </a:cubicBezTo>
                <a:cubicBezTo>
                  <a:pt x="164" y="292"/>
                  <a:pt x="164" y="292"/>
                  <a:pt x="165" y="292"/>
                </a:cubicBezTo>
                <a:cubicBezTo>
                  <a:pt x="165" y="292"/>
                  <a:pt x="165" y="292"/>
                  <a:pt x="166" y="293"/>
                </a:cubicBezTo>
                <a:cubicBezTo>
                  <a:pt x="166" y="293"/>
                  <a:pt x="166" y="293"/>
                  <a:pt x="167" y="293"/>
                </a:cubicBezTo>
                <a:cubicBezTo>
                  <a:pt x="167" y="293"/>
                  <a:pt x="167" y="293"/>
                  <a:pt x="167" y="294"/>
                </a:cubicBezTo>
                <a:cubicBezTo>
                  <a:pt x="168" y="294"/>
                  <a:pt x="168" y="294"/>
                  <a:pt x="168" y="294"/>
                </a:cubicBezTo>
                <a:cubicBezTo>
                  <a:pt x="169" y="294"/>
                  <a:pt x="169" y="295"/>
                  <a:pt x="169" y="295"/>
                </a:cubicBezTo>
                <a:cubicBezTo>
                  <a:pt x="169" y="295"/>
                  <a:pt x="169" y="295"/>
                  <a:pt x="170" y="296"/>
                </a:cubicBezTo>
                <a:cubicBezTo>
                  <a:pt x="170" y="296"/>
                  <a:pt x="170" y="296"/>
                  <a:pt x="170" y="296"/>
                </a:cubicBezTo>
                <a:cubicBezTo>
                  <a:pt x="171" y="297"/>
                  <a:pt x="171" y="297"/>
                  <a:pt x="171" y="297"/>
                </a:cubicBezTo>
                <a:cubicBezTo>
                  <a:pt x="171" y="298"/>
                  <a:pt x="171" y="298"/>
                  <a:pt x="171" y="298"/>
                </a:cubicBezTo>
                <a:cubicBezTo>
                  <a:pt x="171" y="299"/>
                  <a:pt x="172" y="299"/>
                  <a:pt x="172" y="299"/>
                </a:cubicBezTo>
                <a:cubicBezTo>
                  <a:pt x="172" y="300"/>
                  <a:pt x="172" y="300"/>
                  <a:pt x="172" y="300"/>
                </a:cubicBezTo>
                <a:cubicBezTo>
                  <a:pt x="172" y="301"/>
                  <a:pt x="172" y="301"/>
                  <a:pt x="172" y="301"/>
                </a:cubicBezTo>
                <a:cubicBezTo>
                  <a:pt x="172" y="302"/>
                  <a:pt x="172" y="302"/>
                  <a:pt x="172" y="303"/>
                </a:cubicBezTo>
                <a:cubicBezTo>
                  <a:pt x="172" y="303"/>
                  <a:pt x="172" y="303"/>
                  <a:pt x="172" y="304"/>
                </a:cubicBezTo>
                <a:cubicBezTo>
                  <a:pt x="172" y="304"/>
                  <a:pt x="172" y="304"/>
                  <a:pt x="172" y="305"/>
                </a:cubicBezTo>
                <a:cubicBezTo>
                  <a:pt x="172" y="305"/>
                  <a:pt x="172" y="305"/>
                  <a:pt x="172" y="306"/>
                </a:cubicBezTo>
                <a:cubicBezTo>
                  <a:pt x="172" y="306"/>
                  <a:pt x="171" y="306"/>
                  <a:pt x="171" y="307"/>
                </a:cubicBezTo>
                <a:cubicBezTo>
                  <a:pt x="171" y="307"/>
                  <a:pt x="171" y="307"/>
                  <a:pt x="171" y="308"/>
                </a:cubicBezTo>
                <a:cubicBezTo>
                  <a:pt x="171" y="308"/>
                  <a:pt x="171" y="308"/>
                  <a:pt x="170" y="309"/>
                </a:cubicBezTo>
                <a:cubicBezTo>
                  <a:pt x="170" y="309"/>
                  <a:pt x="170" y="309"/>
                  <a:pt x="170" y="309"/>
                </a:cubicBezTo>
                <a:cubicBezTo>
                  <a:pt x="169" y="310"/>
                  <a:pt x="169" y="310"/>
                  <a:pt x="169" y="310"/>
                </a:cubicBezTo>
                <a:cubicBezTo>
                  <a:pt x="169" y="310"/>
                  <a:pt x="169" y="311"/>
                  <a:pt x="168" y="311"/>
                </a:cubicBezTo>
                <a:cubicBezTo>
                  <a:pt x="168" y="311"/>
                  <a:pt x="168" y="311"/>
                  <a:pt x="167" y="311"/>
                </a:cubicBezTo>
                <a:cubicBezTo>
                  <a:pt x="167" y="312"/>
                  <a:pt x="167" y="312"/>
                  <a:pt x="167" y="312"/>
                </a:cubicBezTo>
                <a:cubicBezTo>
                  <a:pt x="166" y="312"/>
                  <a:pt x="166" y="312"/>
                  <a:pt x="166" y="312"/>
                </a:cubicBezTo>
                <a:cubicBezTo>
                  <a:pt x="165" y="313"/>
                  <a:pt x="165" y="313"/>
                  <a:pt x="165" y="313"/>
                </a:cubicBezTo>
                <a:cubicBezTo>
                  <a:pt x="164" y="313"/>
                  <a:pt x="164" y="313"/>
                  <a:pt x="164" y="313"/>
                </a:cubicBezTo>
                <a:cubicBezTo>
                  <a:pt x="163" y="313"/>
                  <a:pt x="163" y="313"/>
                  <a:pt x="162" y="313"/>
                </a:cubicBezTo>
                <a:cubicBezTo>
                  <a:pt x="162" y="313"/>
                  <a:pt x="162" y="313"/>
                  <a:pt x="161" y="313"/>
                </a:cubicBezTo>
                <a:cubicBezTo>
                  <a:pt x="75" y="313"/>
                  <a:pt x="75" y="313"/>
                  <a:pt x="75" y="313"/>
                </a:cubicBezTo>
                <a:cubicBezTo>
                  <a:pt x="75" y="313"/>
                  <a:pt x="74" y="313"/>
                  <a:pt x="74" y="313"/>
                </a:cubicBezTo>
                <a:cubicBezTo>
                  <a:pt x="74" y="313"/>
                  <a:pt x="73" y="313"/>
                  <a:pt x="73" y="313"/>
                </a:cubicBezTo>
                <a:cubicBezTo>
                  <a:pt x="73" y="313"/>
                  <a:pt x="72" y="313"/>
                  <a:pt x="72" y="313"/>
                </a:cubicBezTo>
                <a:cubicBezTo>
                  <a:pt x="72" y="313"/>
                  <a:pt x="71" y="313"/>
                  <a:pt x="71" y="312"/>
                </a:cubicBezTo>
                <a:cubicBezTo>
                  <a:pt x="71" y="312"/>
                  <a:pt x="70" y="312"/>
                  <a:pt x="70" y="312"/>
                </a:cubicBezTo>
                <a:cubicBezTo>
                  <a:pt x="70" y="312"/>
                  <a:pt x="69" y="312"/>
                  <a:pt x="69" y="311"/>
                </a:cubicBezTo>
                <a:cubicBezTo>
                  <a:pt x="69" y="311"/>
                  <a:pt x="68" y="311"/>
                  <a:pt x="68" y="311"/>
                </a:cubicBezTo>
                <a:cubicBezTo>
                  <a:pt x="68" y="311"/>
                  <a:pt x="68" y="310"/>
                  <a:pt x="67" y="310"/>
                </a:cubicBezTo>
                <a:cubicBezTo>
                  <a:pt x="67" y="310"/>
                  <a:pt x="67" y="310"/>
                  <a:pt x="67" y="309"/>
                </a:cubicBezTo>
                <a:cubicBezTo>
                  <a:pt x="67" y="309"/>
                  <a:pt x="66" y="309"/>
                  <a:pt x="66" y="309"/>
                </a:cubicBezTo>
                <a:cubicBezTo>
                  <a:pt x="66" y="308"/>
                  <a:pt x="66" y="308"/>
                  <a:pt x="66" y="308"/>
                </a:cubicBezTo>
                <a:cubicBezTo>
                  <a:pt x="65" y="307"/>
                  <a:pt x="65" y="307"/>
                  <a:pt x="65" y="307"/>
                </a:cubicBezTo>
                <a:cubicBezTo>
                  <a:pt x="65" y="306"/>
                  <a:pt x="65" y="306"/>
                  <a:pt x="65" y="306"/>
                </a:cubicBezTo>
                <a:cubicBezTo>
                  <a:pt x="65" y="305"/>
                  <a:pt x="65" y="305"/>
                  <a:pt x="65" y="305"/>
                </a:cubicBezTo>
                <a:cubicBezTo>
                  <a:pt x="64" y="304"/>
                  <a:pt x="64" y="304"/>
                  <a:pt x="64" y="304"/>
                </a:cubicBezTo>
                <a:cubicBezTo>
                  <a:pt x="64" y="303"/>
                  <a:pt x="64" y="303"/>
                  <a:pt x="64" y="303"/>
                </a:cubicBezTo>
                <a:cubicBezTo>
                  <a:pt x="64" y="302"/>
                  <a:pt x="64" y="302"/>
                  <a:pt x="64" y="301"/>
                </a:cubicBezTo>
                <a:cubicBezTo>
                  <a:pt x="64" y="301"/>
                  <a:pt x="64" y="301"/>
                  <a:pt x="65" y="300"/>
                </a:cubicBezTo>
                <a:cubicBezTo>
                  <a:pt x="65" y="300"/>
                  <a:pt x="65" y="300"/>
                  <a:pt x="65" y="299"/>
                </a:cubicBezTo>
                <a:cubicBezTo>
                  <a:pt x="65" y="299"/>
                  <a:pt x="65" y="299"/>
                  <a:pt x="65" y="298"/>
                </a:cubicBezTo>
                <a:cubicBezTo>
                  <a:pt x="65" y="298"/>
                  <a:pt x="65" y="298"/>
                  <a:pt x="66" y="297"/>
                </a:cubicBezTo>
                <a:cubicBezTo>
                  <a:pt x="66" y="297"/>
                  <a:pt x="66" y="297"/>
                  <a:pt x="66" y="296"/>
                </a:cubicBezTo>
                <a:cubicBezTo>
                  <a:pt x="66" y="296"/>
                  <a:pt x="67" y="296"/>
                  <a:pt x="67" y="296"/>
                </a:cubicBezTo>
                <a:cubicBezTo>
                  <a:pt x="67" y="295"/>
                  <a:pt x="67" y="295"/>
                  <a:pt x="67" y="295"/>
                </a:cubicBezTo>
                <a:cubicBezTo>
                  <a:pt x="68" y="295"/>
                  <a:pt x="68" y="294"/>
                  <a:pt x="68" y="294"/>
                </a:cubicBezTo>
                <a:cubicBezTo>
                  <a:pt x="68" y="294"/>
                  <a:pt x="69" y="294"/>
                  <a:pt x="69" y="294"/>
                </a:cubicBezTo>
                <a:cubicBezTo>
                  <a:pt x="69" y="293"/>
                  <a:pt x="70" y="293"/>
                  <a:pt x="70" y="293"/>
                </a:cubicBezTo>
                <a:cubicBezTo>
                  <a:pt x="70" y="293"/>
                  <a:pt x="71" y="293"/>
                  <a:pt x="71" y="293"/>
                </a:cubicBezTo>
                <a:cubicBezTo>
                  <a:pt x="71" y="292"/>
                  <a:pt x="72" y="292"/>
                  <a:pt x="72" y="292"/>
                </a:cubicBezTo>
                <a:cubicBezTo>
                  <a:pt x="72" y="292"/>
                  <a:pt x="73" y="292"/>
                  <a:pt x="73" y="292"/>
                </a:cubicBezTo>
                <a:cubicBezTo>
                  <a:pt x="73" y="292"/>
                  <a:pt x="74" y="292"/>
                  <a:pt x="74" y="292"/>
                </a:cubicBezTo>
                <a:cubicBezTo>
                  <a:pt x="74" y="292"/>
                  <a:pt x="75" y="292"/>
                  <a:pt x="75" y="292"/>
                </a:cubicBezTo>
                <a:close/>
                <a:moveTo>
                  <a:pt x="118" y="22"/>
                </a:moveTo>
                <a:cubicBezTo>
                  <a:pt x="117" y="22"/>
                  <a:pt x="117" y="22"/>
                  <a:pt x="116" y="22"/>
                </a:cubicBezTo>
                <a:cubicBezTo>
                  <a:pt x="115" y="22"/>
                  <a:pt x="114" y="22"/>
                  <a:pt x="113" y="22"/>
                </a:cubicBezTo>
                <a:cubicBezTo>
                  <a:pt x="112" y="22"/>
                  <a:pt x="112" y="22"/>
                  <a:pt x="111" y="22"/>
                </a:cubicBezTo>
                <a:cubicBezTo>
                  <a:pt x="110" y="22"/>
                  <a:pt x="109" y="22"/>
                  <a:pt x="108" y="23"/>
                </a:cubicBezTo>
                <a:cubicBezTo>
                  <a:pt x="107" y="23"/>
                  <a:pt x="107" y="23"/>
                  <a:pt x="106" y="23"/>
                </a:cubicBezTo>
                <a:cubicBezTo>
                  <a:pt x="105" y="23"/>
                  <a:pt x="104" y="23"/>
                  <a:pt x="103" y="23"/>
                </a:cubicBezTo>
                <a:cubicBezTo>
                  <a:pt x="103" y="23"/>
                  <a:pt x="102" y="23"/>
                  <a:pt x="101" y="24"/>
                </a:cubicBezTo>
                <a:cubicBezTo>
                  <a:pt x="100" y="24"/>
                  <a:pt x="99" y="24"/>
                  <a:pt x="99" y="24"/>
                </a:cubicBezTo>
                <a:cubicBezTo>
                  <a:pt x="98" y="24"/>
                  <a:pt x="97" y="24"/>
                  <a:pt x="96" y="25"/>
                </a:cubicBezTo>
                <a:cubicBezTo>
                  <a:pt x="96" y="25"/>
                  <a:pt x="95" y="25"/>
                  <a:pt x="94" y="25"/>
                </a:cubicBezTo>
                <a:cubicBezTo>
                  <a:pt x="93" y="25"/>
                  <a:pt x="92" y="26"/>
                  <a:pt x="92" y="26"/>
                </a:cubicBezTo>
                <a:cubicBezTo>
                  <a:pt x="91" y="26"/>
                  <a:pt x="90" y="26"/>
                  <a:pt x="89" y="26"/>
                </a:cubicBezTo>
                <a:cubicBezTo>
                  <a:pt x="89" y="27"/>
                  <a:pt x="88" y="27"/>
                  <a:pt x="87" y="27"/>
                </a:cubicBezTo>
                <a:cubicBezTo>
                  <a:pt x="86" y="27"/>
                  <a:pt x="86" y="28"/>
                  <a:pt x="85" y="28"/>
                </a:cubicBezTo>
                <a:cubicBezTo>
                  <a:pt x="84" y="28"/>
                  <a:pt x="83" y="29"/>
                  <a:pt x="83" y="29"/>
                </a:cubicBezTo>
                <a:cubicBezTo>
                  <a:pt x="82" y="29"/>
                  <a:pt x="81" y="29"/>
                  <a:pt x="80" y="30"/>
                </a:cubicBezTo>
                <a:cubicBezTo>
                  <a:pt x="79" y="30"/>
                  <a:pt x="78" y="31"/>
                  <a:pt x="76" y="32"/>
                </a:cubicBezTo>
                <a:cubicBezTo>
                  <a:pt x="75" y="32"/>
                  <a:pt x="73" y="33"/>
                  <a:pt x="72" y="34"/>
                </a:cubicBezTo>
                <a:cubicBezTo>
                  <a:pt x="71" y="35"/>
                  <a:pt x="69" y="35"/>
                  <a:pt x="68" y="36"/>
                </a:cubicBezTo>
                <a:cubicBezTo>
                  <a:pt x="67" y="37"/>
                  <a:pt x="65" y="38"/>
                  <a:pt x="64" y="39"/>
                </a:cubicBezTo>
                <a:cubicBezTo>
                  <a:pt x="63" y="40"/>
                  <a:pt x="61" y="41"/>
                  <a:pt x="60" y="41"/>
                </a:cubicBezTo>
                <a:cubicBezTo>
                  <a:pt x="59" y="42"/>
                  <a:pt x="58" y="43"/>
                  <a:pt x="56" y="44"/>
                </a:cubicBezTo>
                <a:cubicBezTo>
                  <a:pt x="55" y="45"/>
                  <a:pt x="54" y="46"/>
                  <a:pt x="53" y="47"/>
                </a:cubicBezTo>
                <a:cubicBezTo>
                  <a:pt x="52" y="48"/>
                  <a:pt x="51" y="50"/>
                  <a:pt x="50" y="51"/>
                </a:cubicBezTo>
                <a:cubicBezTo>
                  <a:pt x="48" y="52"/>
                  <a:pt x="47" y="53"/>
                  <a:pt x="46" y="54"/>
                </a:cubicBezTo>
                <a:cubicBezTo>
                  <a:pt x="45" y="55"/>
                  <a:pt x="44" y="56"/>
                  <a:pt x="43" y="58"/>
                </a:cubicBezTo>
                <a:cubicBezTo>
                  <a:pt x="42" y="59"/>
                  <a:pt x="41" y="60"/>
                  <a:pt x="40" y="61"/>
                </a:cubicBezTo>
                <a:cubicBezTo>
                  <a:pt x="39" y="63"/>
                  <a:pt x="39" y="64"/>
                  <a:pt x="38" y="65"/>
                </a:cubicBezTo>
                <a:cubicBezTo>
                  <a:pt x="37" y="66"/>
                  <a:pt x="36" y="68"/>
                  <a:pt x="35" y="69"/>
                </a:cubicBezTo>
                <a:cubicBezTo>
                  <a:pt x="34" y="70"/>
                  <a:pt x="34" y="72"/>
                  <a:pt x="33" y="73"/>
                </a:cubicBezTo>
                <a:cubicBezTo>
                  <a:pt x="32" y="75"/>
                  <a:pt x="31" y="76"/>
                  <a:pt x="31" y="77"/>
                </a:cubicBezTo>
                <a:cubicBezTo>
                  <a:pt x="30" y="79"/>
                  <a:pt x="29" y="80"/>
                  <a:pt x="29" y="82"/>
                </a:cubicBezTo>
                <a:cubicBezTo>
                  <a:pt x="28" y="82"/>
                  <a:pt x="28" y="83"/>
                  <a:pt x="28" y="84"/>
                </a:cubicBezTo>
                <a:cubicBezTo>
                  <a:pt x="28" y="85"/>
                  <a:pt x="27" y="85"/>
                  <a:pt x="27" y="86"/>
                </a:cubicBezTo>
                <a:cubicBezTo>
                  <a:pt x="27" y="87"/>
                  <a:pt x="26" y="88"/>
                  <a:pt x="26" y="88"/>
                </a:cubicBezTo>
                <a:cubicBezTo>
                  <a:pt x="26" y="89"/>
                  <a:pt x="26" y="90"/>
                  <a:pt x="25" y="91"/>
                </a:cubicBezTo>
                <a:cubicBezTo>
                  <a:pt x="25" y="91"/>
                  <a:pt x="25" y="92"/>
                  <a:pt x="25" y="93"/>
                </a:cubicBezTo>
                <a:cubicBezTo>
                  <a:pt x="25" y="94"/>
                  <a:pt x="24" y="94"/>
                  <a:pt x="24" y="95"/>
                </a:cubicBezTo>
                <a:cubicBezTo>
                  <a:pt x="24" y="96"/>
                  <a:pt x="24" y="97"/>
                  <a:pt x="24" y="98"/>
                </a:cubicBezTo>
                <a:cubicBezTo>
                  <a:pt x="23" y="98"/>
                  <a:pt x="23" y="99"/>
                  <a:pt x="23" y="100"/>
                </a:cubicBezTo>
                <a:cubicBezTo>
                  <a:pt x="23" y="101"/>
                  <a:pt x="23" y="102"/>
                  <a:pt x="23" y="102"/>
                </a:cubicBezTo>
                <a:cubicBezTo>
                  <a:pt x="22" y="103"/>
                  <a:pt x="22" y="104"/>
                  <a:pt x="22" y="105"/>
                </a:cubicBezTo>
                <a:cubicBezTo>
                  <a:pt x="22" y="106"/>
                  <a:pt x="22" y="106"/>
                  <a:pt x="22" y="107"/>
                </a:cubicBezTo>
                <a:cubicBezTo>
                  <a:pt x="22" y="108"/>
                  <a:pt x="22" y="109"/>
                  <a:pt x="22" y="110"/>
                </a:cubicBezTo>
                <a:cubicBezTo>
                  <a:pt x="22" y="110"/>
                  <a:pt x="21" y="111"/>
                  <a:pt x="21" y="112"/>
                </a:cubicBezTo>
                <a:cubicBezTo>
                  <a:pt x="21" y="113"/>
                  <a:pt x="21" y="114"/>
                  <a:pt x="21" y="115"/>
                </a:cubicBezTo>
                <a:cubicBezTo>
                  <a:pt x="21" y="115"/>
                  <a:pt x="21" y="116"/>
                  <a:pt x="21" y="117"/>
                </a:cubicBezTo>
                <a:cubicBezTo>
                  <a:pt x="21" y="118"/>
                  <a:pt x="21" y="119"/>
                  <a:pt x="21" y="120"/>
                </a:cubicBezTo>
                <a:cubicBezTo>
                  <a:pt x="21" y="121"/>
                  <a:pt x="21" y="122"/>
                  <a:pt x="21" y="122"/>
                </a:cubicBezTo>
                <a:cubicBezTo>
                  <a:pt x="21" y="123"/>
                  <a:pt x="21" y="124"/>
                  <a:pt x="21" y="125"/>
                </a:cubicBezTo>
                <a:cubicBezTo>
                  <a:pt x="21" y="126"/>
                  <a:pt x="21" y="127"/>
                  <a:pt x="21" y="128"/>
                </a:cubicBezTo>
                <a:cubicBezTo>
                  <a:pt x="22" y="129"/>
                  <a:pt x="22" y="130"/>
                  <a:pt x="22" y="131"/>
                </a:cubicBezTo>
                <a:cubicBezTo>
                  <a:pt x="22" y="132"/>
                  <a:pt x="22" y="133"/>
                  <a:pt x="22" y="134"/>
                </a:cubicBezTo>
                <a:cubicBezTo>
                  <a:pt x="22" y="134"/>
                  <a:pt x="22" y="135"/>
                  <a:pt x="23" y="136"/>
                </a:cubicBezTo>
                <a:cubicBezTo>
                  <a:pt x="23" y="137"/>
                  <a:pt x="23" y="138"/>
                  <a:pt x="23" y="139"/>
                </a:cubicBezTo>
                <a:cubicBezTo>
                  <a:pt x="23" y="140"/>
                  <a:pt x="23" y="141"/>
                  <a:pt x="24" y="142"/>
                </a:cubicBezTo>
                <a:cubicBezTo>
                  <a:pt x="24" y="143"/>
                  <a:pt x="24" y="144"/>
                  <a:pt x="24" y="144"/>
                </a:cubicBezTo>
                <a:cubicBezTo>
                  <a:pt x="25" y="145"/>
                  <a:pt x="25" y="146"/>
                  <a:pt x="25" y="147"/>
                </a:cubicBezTo>
                <a:cubicBezTo>
                  <a:pt x="25" y="148"/>
                  <a:pt x="26" y="149"/>
                  <a:pt x="26" y="150"/>
                </a:cubicBezTo>
                <a:cubicBezTo>
                  <a:pt x="26" y="151"/>
                  <a:pt x="27" y="152"/>
                  <a:pt x="27" y="152"/>
                </a:cubicBezTo>
                <a:cubicBezTo>
                  <a:pt x="27" y="153"/>
                  <a:pt x="27" y="154"/>
                  <a:pt x="28" y="155"/>
                </a:cubicBezTo>
                <a:cubicBezTo>
                  <a:pt x="28" y="156"/>
                  <a:pt x="29" y="157"/>
                  <a:pt x="29" y="158"/>
                </a:cubicBezTo>
                <a:cubicBezTo>
                  <a:pt x="29" y="159"/>
                  <a:pt x="30" y="159"/>
                  <a:pt x="30" y="160"/>
                </a:cubicBezTo>
                <a:cubicBezTo>
                  <a:pt x="30" y="161"/>
                  <a:pt x="31" y="162"/>
                  <a:pt x="31" y="163"/>
                </a:cubicBezTo>
                <a:cubicBezTo>
                  <a:pt x="32" y="164"/>
                  <a:pt x="32" y="164"/>
                  <a:pt x="32" y="164"/>
                </a:cubicBezTo>
                <a:cubicBezTo>
                  <a:pt x="32" y="165"/>
                  <a:pt x="32" y="165"/>
                  <a:pt x="32" y="165"/>
                </a:cubicBezTo>
                <a:cubicBezTo>
                  <a:pt x="32" y="166"/>
                  <a:pt x="33" y="166"/>
                  <a:pt x="33" y="167"/>
                </a:cubicBezTo>
                <a:cubicBezTo>
                  <a:pt x="33" y="167"/>
                  <a:pt x="33" y="168"/>
                  <a:pt x="34" y="168"/>
                </a:cubicBezTo>
                <a:cubicBezTo>
                  <a:pt x="34" y="169"/>
                  <a:pt x="34" y="169"/>
                  <a:pt x="34" y="170"/>
                </a:cubicBezTo>
                <a:cubicBezTo>
                  <a:pt x="35" y="170"/>
                  <a:pt x="35" y="171"/>
                  <a:pt x="35" y="171"/>
                </a:cubicBezTo>
                <a:cubicBezTo>
                  <a:pt x="35" y="172"/>
                  <a:pt x="36" y="173"/>
                  <a:pt x="36" y="173"/>
                </a:cubicBezTo>
                <a:cubicBezTo>
                  <a:pt x="36" y="174"/>
                  <a:pt x="37" y="174"/>
                  <a:pt x="37" y="175"/>
                </a:cubicBezTo>
                <a:cubicBezTo>
                  <a:pt x="37" y="175"/>
                  <a:pt x="38" y="176"/>
                  <a:pt x="38" y="177"/>
                </a:cubicBezTo>
                <a:cubicBezTo>
                  <a:pt x="38" y="177"/>
                  <a:pt x="39" y="178"/>
                  <a:pt x="39" y="179"/>
                </a:cubicBezTo>
                <a:cubicBezTo>
                  <a:pt x="40" y="179"/>
                  <a:pt x="40" y="180"/>
                  <a:pt x="40" y="180"/>
                </a:cubicBezTo>
                <a:cubicBezTo>
                  <a:pt x="41" y="182"/>
                  <a:pt x="42" y="183"/>
                  <a:pt x="43" y="184"/>
                </a:cubicBezTo>
                <a:cubicBezTo>
                  <a:pt x="44" y="186"/>
                  <a:pt x="45" y="187"/>
                  <a:pt x="45" y="188"/>
                </a:cubicBezTo>
                <a:cubicBezTo>
                  <a:pt x="46" y="189"/>
                  <a:pt x="47" y="191"/>
                  <a:pt x="48" y="192"/>
                </a:cubicBezTo>
                <a:cubicBezTo>
                  <a:pt x="49" y="193"/>
                  <a:pt x="50" y="195"/>
                  <a:pt x="51" y="196"/>
                </a:cubicBezTo>
                <a:cubicBezTo>
                  <a:pt x="52" y="197"/>
                  <a:pt x="53" y="199"/>
                  <a:pt x="54" y="200"/>
                </a:cubicBezTo>
                <a:cubicBezTo>
                  <a:pt x="54" y="201"/>
                  <a:pt x="55" y="202"/>
                  <a:pt x="56" y="203"/>
                </a:cubicBezTo>
                <a:cubicBezTo>
                  <a:pt x="57" y="204"/>
                  <a:pt x="57" y="205"/>
                  <a:pt x="58" y="205"/>
                </a:cubicBezTo>
                <a:cubicBezTo>
                  <a:pt x="58" y="206"/>
                  <a:pt x="58" y="206"/>
                  <a:pt x="59" y="207"/>
                </a:cubicBezTo>
                <a:cubicBezTo>
                  <a:pt x="59" y="208"/>
                  <a:pt x="60" y="208"/>
                  <a:pt x="60" y="209"/>
                </a:cubicBezTo>
                <a:cubicBezTo>
                  <a:pt x="60" y="209"/>
                  <a:pt x="61" y="210"/>
                  <a:pt x="61" y="210"/>
                </a:cubicBezTo>
                <a:cubicBezTo>
                  <a:pt x="62" y="211"/>
                  <a:pt x="62" y="211"/>
                  <a:pt x="62" y="212"/>
                </a:cubicBezTo>
                <a:cubicBezTo>
                  <a:pt x="63" y="212"/>
                  <a:pt x="63" y="213"/>
                  <a:pt x="64" y="213"/>
                </a:cubicBezTo>
                <a:cubicBezTo>
                  <a:pt x="64" y="214"/>
                  <a:pt x="64" y="214"/>
                  <a:pt x="65" y="214"/>
                </a:cubicBezTo>
                <a:cubicBezTo>
                  <a:pt x="65" y="215"/>
                  <a:pt x="65" y="215"/>
                  <a:pt x="66" y="216"/>
                </a:cubicBezTo>
                <a:cubicBezTo>
                  <a:pt x="66" y="216"/>
                  <a:pt x="66" y="216"/>
                  <a:pt x="66" y="217"/>
                </a:cubicBezTo>
                <a:cubicBezTo>
                  <a:pt x="67" y="217"/>
                  <a:pt x="67" y="218"/>
                  <a:pt x="67" y="218"/>
                </a:cubicBezTo>
                <a:cubicBezTo>
                  <a:pt x="68" y="219"/>
                  <a:pt x="68" y="219"/>
                  <a:pt x="68" y="219"/>
                </a:cubicBezTo>
                <a:cubicBezTo>
                  <a:pt x="69" y="220"/>
                  <a:pt x="69" y="221"/>
                  <a:pt x="70" y="222"/>
                </a:cubicBezTo>
                <a:cubicBezTo>
                  <a:pt x="70" y="223"/>
                  <a:pt x="71" y="224"/>
                  <a:pt x="71" y="225"/>
                </a:cubicBezTo>
                <a:cubicBezTo>
                  <a:pt x="72" y="226"/>
                  <a:pt x="72" y="227"/>
                  <a:pt x="73" y="228"/>
                </a:cubicBezTo>
                <a:cubicBezTo>
                  <a:pt x="73" y="229"/>
                  <a:pt x="74" y="230"/>
                  <a:pt x="74" y="231"/>
                </a:cubicBezTo>
                <a:cubicBezTo>
                  <a:pt x="75" y="232"/>
                  <a:pt x="75" y="233"/>
                  <a:pt x="76" y="234"/>
                </a:cubicBezTo>
                <a:cubicBezTo>
                  <a:pt x="76" y="235"/>
                  <a:pt x="76" y="235"/>
                  <a:pt x="77" y="236"/>
                </a:cubicBezTo>
                <a:cubicBezTo>
                  <a:pt x="77" y="237"/>
                  <a:pt x="77" y="238"/>
                  <a:pt x="78" y="239"/>
                </a:cubicBezTo>
                <a:cubicBezTo>
                  <a:pt x="78" y="240"/>
                  <a:pt x="78" y="241"/>
                  <a:pt x="79" y="242"/>
                </a:cubicBezTo>
                <a:cubicBezTo>
                  <a:pt x="79" y="243"/>
                  <a:pt x="79" y="243"/>
                  <a:pt x="80" y="244"/>
                </a:cubicBezTo>
                <a:cubicBezTo>
                  <a:pt x="80" y="245"/>
                  <a:pt x="80" y="246"/>
                  <a:pt x="80" y="247"/>
                </a:cubicBezTo>
                <a:cubicBezTo>
                  <a:pt x="81" y="247"/>
                  <a:pt x="81" y="248"/>
                  <a:pt x="81" y="249"/>
                </a:cubicBezTo>
                <a:cubicBezTo>
                  <a:pt x="81" y="250"/>
                  <a:pt x="81" y="251"/>
                  <a:pt x="82" y="251"/>
                </a:cubicBezTo>
                <a:cubicBezTo>
                  <a:pt x="82" y="252"/>
                  <a:pt x="82" y="253"/>
                  <a:pt x="82" y="253"/>
                </a:cubicBezTo>
                <a:cubicBezTo>
                  <a:pt x="82" y="254"/>
                  <a:pt x="82" y="255"/>
                  <a:pt x="82" y="256"/>
                </a:cubicBezTo>
                <a:cubicBezTo>
                  <a:pt x="83" y="256"/>
                  <a:pt x="83" y="257"/>
                  <a:pt x="83" y="258"/>
                </a:cubicBezTo>
                <a:cubicBezTo>
                  <a:pt x="83" y="258"/>
                  <a:pt x="83" y="259"/>
                  <a:pt x="83" y="259"/>
                </a:cubicBezTo>
                <a:cubicBezTo>
                  <a:pt x="153" y="259"/>
                  <a:pt x="153" y="259"/>
                  <a:pt x="153" y="259"/>
                </a:cubicBezTo>
                <a:cubicBezTo>
                  <a:pt x="153" y="258"/>
                  <a:pt x="153" y="257"/>
                  <a:pt x="153" y="256"/>
                </a:cubicBezTo>
                <a:cubicBezTo>
                  <a:pt x="154" y="255"/>
                  <a:pt x="154" y="254"/>
                  <a:pt x="154" y="253"/>
                </a:cubicBezTo>
                <a:cubicBezTo>
                  <a:pt x="154" y="253"/>
                  <a:pt x="154" y="252"/>
                  <a:pt x="154" y="251"/>
                </a:cubicBezTo>
                <a:cubicBezTo>
                  <a:pt x="155" y="251"/>
                  <a:pt x="155" y="250"/>
                  <a:pt x="155" y="249"/>
                </a:cubicBezTo>
                <a:cubicBezTo>
                  <a:pt x="155" y="248"/>
                  <a:pt x="155" y="247"/>
                  <a:pt x="156" y="247"/>
                </a:cubicBezTo>
                <a:cubicBezTo>
                  <a:pt x="156" y="246"/>
                  <a:pt x="156" y="245"/>
                  <a:pt x="156" y="244"/>
                </a:cubicBezTo>
                <a:cubicBezTo>
                  <a:pt x="157" y="243"/>
                  <a:pt x="157" y="243"/>
                  <a:pt x="157" y="242"/>
                </a:cubicBezTo>
                <a:cubicBezTo>
                  <a:pt x="157" y="241"/>
                  <a:pt x="158" y="240"/>
                  <a:pt x="158" y="239"/>
                </a:cubicBezTo>
                <a:cubicBezTo>
                  <a:pt x="158" y="238"/>
                  <a:pt x="159" y="237"/>
                  <a:pt x="159" y="236"/>
                </a:cubicBezTo>
                <a:cubicBezTo>
                  <a:pt x="160" y="235"/>
                  <a:pt x="160" y="235"/>
                  <a:pt x="160" y="234"/>
                </a:cubicBezTo>
                <a:cubicBezTo>
                  <a:pt x="161" y="233"/>
                  <a:pt x="161" y="232"/>
                  <a:pt x="162" y="231"/>
                </a:cubicBezTo>
                <a:cubicBezTo>
                  <a:pt x="162" y="230"/>
                  <a:pt x="162" y="229"/>
                  <a:pt x="163" y="228"/>
                </a:cubicBezTo>
                <a:cubicBezTo>
                  <a:pt x="163" y="227"/>
                  <a:pt x="164" y="226"/>
                  <a:pt x="164" y="225"/>
                </a:cubicBezTo>
                <a:cubicBezTo>
                  <a:pt x="165" y="224"/>
                  <a:pt x="166" y="223"/>
                  <a:pt x="166" y="222"/>
                </a:cubicBezTo>
                <a:cubicBezTo>
                  <a:pt x="167" y="221"/>
                  <a:pt x="167" y="220"/>
                  <a:pt x="168" y="219"/>
                </a:cubicBezTo>
                <a:cubicBezTo>
                  <a:pt x="169" y="218"/>
                  <a:pt x="169" y="218"/>
                  <a:pt x="169" y="218"/>
                </a:cubicBezTo>
                <a:cubicBezTo>
                  <a:pt x="169" y="218"/>
                  <a:pt x="169" y="218"/>
                  <a:pt x="169" y="218"/>
                </a:cubicBezTo>
                <a:cubicBezTo>
                  <a:pt x="169" y="218"/>
                  <a:pt x="169" y="218"/>
                  <a:pt x="169" y="217"/>
                </a:cubicBezTo>
                <a:cubicBezTo>
                  <a:pt x="169" y="217"/>
                  <a:pt x="169" y="217"/>
                  <a:pt x="169" y="217"/>
                </a:cubicBezTo>
                <a:cubicBezTo>
                  <a:pt x="170" y="217"/>
                  <a:pt x="170" y="217"/>
                  <a:pt x="170" y="216"/>
                </a:cubicBezTo>
                <a:cubicBezTo>
                  <a:pt x="170" y="216"/>
                  <a:pt x="170" y="216"/>
                  <a:pt x="170" y="216"/>
                </a:cubicBezTo>
                <a:cubicBezTo>
                  <a:pt x="171" y="215"/>
                  <a:pt x="171" y="215"/>
                  <a:pt x="171" y="215"/>
                </a:cubicBezTo>
                <a:cubicBezTo>
                  <a:pt x="171" y="214"/>
                  <a:pt x="172" y="214"/>
                  <a:pt x="172" y="214"/>
                </a:cubicBezTo>
                <a:cubicBezTo>
                  <a:pt x="172" y="213"/>
                  <a:pt x="173" y="213"/>
                  <a:pt x="173" y="212"/>
                </a:cubicBezTo>
                <a:cubicBezTo>
                  <a:pt x="173" y="212"/>
                  <a:pt x="174" y="212"/>
                  <a:pt x="174" y="211"/>
                </a:cubicBezTo>
                <a:cubicBezTo>
                  <a:pt x="174" y="211"/>
                  <a:pt x="175" y="210"/>
                  <a:pt x="175" y="210"/>
                </a:cubicBezTo>
                <a:cubicBezTo>
                  <a:pt x="175" y="209"/>
                  <a:pt x="176" y="209"/>
                  <a:pt x="176" y="208"/>
                </a:cubicBezTo>
                <a:cubicBezTo>
                  <a:pt x="176" y="208"/>
                  <a:pt x="177" y="207"/>
                  <a:pt x="177" y="207"/>
                </a:cubicBezTo>
                <a:cubicBezTo>
                  <a:pt x="178" y="206"/>
                  <a:pt x="178" y="206"/>
                  <a:pt x="179" y="205"/>
                </a:cubicBezTo>
                <a:cubicBezTo>
                  <a:pt x="179" y="204"/>
                  <a:pt x="179" y="204"/>
                  <a:pt x="180" y="203"/>
                </a:cubicBezTo>
                <a:cubicBezTo>
                  <a:pt x="180" y="203"/>
                  <a:pt x="181" y="202"/>
                  <a:pt x="181" y="201"/>
                </a:cubicBezTo>
                <a:cubicBezTo>
                  <a:pt x="182" y="201"/>
                  <a:pt x="182" y="200"/>
                  <a:pt x="183" y="200"/>
                </a:cubicBezTo>
                <a:cubicBezTo>
                  <a:pt x="183" y="199"/>
                  <a:pt x="183" y="198"/>
                  <a:pt x="184" y="198"/>
                </a:cubicBezTo>
                <a:cubicBezTo>
                  <a:pt x="184" y="197"/>
                  <a:pt x="185" y="196"/>
                  <a:pt x="185" y="196"/>
                </a:cubicBezTo>
                <a:cubicBezTo>
                  <a:pt x="186" y="194"/>
                  <a:pt x="187" y="193"/>
                  <a:pt x="188" y="192"/>
                </a:cubicBezTo>
                <a:cubicBezTo>
                  <a:pt x="189" y="190"/>
                  <a:pt x="190" y="189"/>
                  <a:pt x="191" y="187"/>
                </a:cubicBezTo>
                <a:cubicBezTo>
                  <a:pt x="192" y="186"/>
                  <a:pt x="193" y="185"/>
                  <a:pt x="194" y="183"/>
                </a:cubicBezTo>
                <a:cubicBezTo>
                  <a:pt x="194" y="183"/>
                  <a:pt x="195" y="182"/>
                  <a:pt x="195" y="181"/>
                </a:cubicBezTo>
                <a:cubicBezTo>
                  <a:pt x="195" y="181"/>
                  <a:pt x="196" y="180"/>
                  <a:pt x="196" y="179"/>
                </a:cubicBezTo>
                <a:cubicBezTo>
                  <a:pt x="197" y="179"/>
                  <a:pt x="197" y="178"/>
                  <a:pt x="198" y="177"/>
                </a:cubicBezTo>
                <a:cubicBezTo>
                  <a:pt x="198" y="177"/>
                  <a:pt x="198" y="176"/>
                  <a:pt x="199" y="175"/>
                </a:cubicBezTo>
                <a:cubicBezTo>
                  <a:pt x="199" y="175"/>
                  <a:pt x="199" y="174"/>
                  <a:pt x="200" y="173"/>
                </a:cubicBezTo>
                <a:cubicBezTo>
                  <a:pt x="200" y="173"/>
                  <a:pt x="200" y="172"/>
                  <a:pt x="201" y="171"/>
                </a:cubicBezTo>
                <a:cubicBezTo>
                  <a:pt x="201" y="171"/>
                  <a:pt x="201" y="170"/>
                  <a:pt x="202" y="170"/>
                </a:cubicBezTo>
                <a:cubicBezTo>
                  <a:pt x="202" y="169"/>
                  <a:pt x="202" y="168"/>
                  <a:pt x="203" y="168"/>
                </a:cubicBezTo>
                <a:cubicBezTo>
                  <a:pt x="203" y="167"/>
                  <a:pt x="204" y="166"/>
                  <a:pt x="204" y="165"/>
                </a:cubicBezTo>
                <a:cubicBezTo>
                  <a:pt x="205" y="164"/>
                  <a:pt x="205" y="163"/>
                  <a:pt x="206" y="162"/>
                </a:cubicBezTo>
                <a:cubicBezTo>
                  <a:pt x="206" y="161"/>
                  <a:pt x="206" y="160"/>
                  <a:pt x="207" y="159"/>
                </a:cubicBezTo>
                <a:cubicBezTo>
                  <a:pt x="207" y="158"/>
                  <a:pt x="208" y="157"/>
                  <a:pt x="208" y="156"/>
                </a:cubicBezTo>
                <a:cubicBezTo>
                  <a:pt x="209" y="155"/>
                  <a:pt x="209" y="154"/>
                  <a:pt x="209" y="153"/>
                </a:cubicBezTo>
                <a:cubicBezTo>
                  <a:pt x="210" y="152"/>
                  <a:pt x="210" y="151"/>
                  <a:pt x="210" y="150"/>
                </a:cubicBezTo>
                <a:cubicBezTo>
                  <a:pt x="211" y="149"/>
                  <a:pt x="211" y="148"/>
                  <a:pt x="211" y="147"/>
                </a:cubicBezTo>
                <a:cubicBezTo>
                  <a:pt x="212" y="146"/>
                  <a:pt x="212" y="145"/>
                  <a:pt x="212" y="144"/>
                </a:cubicBezTo>
                <a:cubicBezTo>
                  <a:pt x="212" y="143"/>
                  <a:pt x="213" y="142"/>
                  <a:pt x="213" y="141"/>
                </a:cubicBezTo>
                <a:cubicBezTo>
                  <a:pt x="213" y="140"/>
                  <a:pt x="213" y="139"/>
                  <a:pt x="213" y="138"/>
                </a:cubicBezTo>
                <a:cubicBezTo>
                  <a:pt x="214" y="137"/>
                  <a:pt x="214" y="136"/>
                  <a:pt x="214" y="135"/>
                </a:cubicBezTo>
                <a:cubicBezTo>
                  <a:pt x="214" y="134"/>
                  <a:pt x="214" y="133"/>
                  <a:pt x="214" y="132"/>
                </a:cubicBezTo>
                <a:cubicBezTo>
                  <a:pt x="215" y="131"/>
                  <a:pt x="215" y="130"/>
                  <a:pt x="215" y="129"/>
                </a:cubicBezTo>
                <a:cubicBezTo>
                  <a:pt x="215" y="128"/>
                  <a:pt x="215" y="127"/>
                  <a:pt x="215" y="126"/>
                </a:cubicBezTo>
                <a:cubicBezTo>
                  <a:pt x="215" y="125"/>
                  <a:pt x="215" y="124"/>
                  <a:pt x="215" y="123"/>
                </a:cubicBezTo>
                <a:cubicBezTo>
                  <a:pt x="215" y="122"/>
                  <a:pt x="215" y="121"/>
                  <a:pt x="215" y="120"/>
                </a:cubicBezTo>
                <a:cubicBezTo>
                  <a:pt x="215" y="119"/>
                  <a:pt x="215" y="118"/>
                  <a:pt x="215" y="117"/>
                </a:cubicBezTo>
                <a:cubicBezTo>
                  <a:pt x="215" y="116"/>
                  <a:pt x="215" y="115"/>
                  <a:pt x="215" y="115"/>
                </a:cubicBezTo>
                <a:cubicBezTo>
                  <a:pt x="215" y="114"/>
                  <a:pt x="215" y="113"/>
                  <a:pt x="215" y="112"/>
                </a:cubicBezTo>
                <a:cubicBezTo>
                  <a:pt x="215" y="111"/>
                  <a:pt x="215" y="110"/>
                  <a:pt x="215" y="110"/>
                </a:cubicBezTo>
                <a:cubicBezTo>
                  <a:pt x="215" y="109"/>
                  <a:pt x="215" y="108"/>
                  <a:pt x="214" y="107"/>
                </a:cubicBezTo>
                <a:cubicBezTo>
                  <a:pt x="214" y="106"/>
                  <a:pt x="214" y="106"/>
                  <a:pt x="214" y="105"/>
                </a:cubicBezTo>
                <a:cubicBezTo>
                  <a:pt x="214" y="104"/>
                  <a:pt x="214" y="103"/>
                  <a:pt x="214" y="102"/>
                </a:cubicBezTo>
                <a:cubicBezTo>
                  <a:pt x="214" y="102"/>
                  <a:pt x="213" y="101"/>
                  <a:pt x="213" y="100"/>
                </a:cubicBezTo>
                <a:cubicBezTo>
                  <a:pt x="213" y="99"/>
                  <a:pt x="213" y="98"/>
                  <a:pt x="213" y="98"/>
                </a:cubicBezTo>
                <a:cubicBezTo>
                  <a:pt x="213" y="97"/>
                  <a:pt x="212" y="96"/>
                  <a:pt x="212" y="95"/>
                </a:cubicBezTo>
                <a:cubicBezTo>
                  <a:pt x="212" y="94"/>
                  <a:pt x="212" y="94"/>
                  <a:pt x="212" y="93"/>
                </a:cubicBezTo>
                <a:cubicBezTo>
                  <a:pt x="211" y="92"/>
                  <a:pt x="211" y="91"/>
                  <a:pt x="211" y="91"/>
                </a:cubicBezTo>
                <a:cubicBezTo>
                  <a:pt x="211" y="90"/>
                  <a:pt x="210" y="89"/>
                  <a:pt x="210" y="88"/>
                </a:cubicBezTo>
                <a:cubicBezTo>
                  <a:pt x="210" y="88"/>
                  <a:pt x="210" y="87"/>
                  <a:pt x="209" y="86"/>
                </a:cubicBezTo>
                <a:cubicBezTo>
                  <a:pt x="209" y="85"/>
                  <a:pt x="209" y="85"/>
                  <a:pt x="209" y="84"/>
                </a:cubicBezTo>
                <a:cubicBezTo>
                  <a:pt x="208" y="83"/>
                  <a:pt x="208" y="82"/>
                  <a:pt x="208" y="82"/>
                </a:cubicBezTo>
                <a:cubicBezTo>
                  <a:pt x="207" y="80"/>
                  <a:pt x="206" y="79"/>
                  <a:pt x="206" y="77"/>
                </a:cubicBezTo>
                <a:cubicBezTo>
                  <a:pt x="205" y="76"/>
                  <a:pt x="204" y="75"/>
                  <a:pt x="204" y="73"/>
                </a:cubicBezTo>
                <a:cubicBezTo>
                  <a:pt x="203" y="72"/>
                  <a:pt x="202" y="70"/>
                  <a:pt x="201" y="69"/>
                </a:cubicBezTo>
                <a:cubicBezTo>
                  <a:pt x="200" y="68"/>
                  <a:pt x="200" y="66"/>
                  <a:pt x="199" y="65"/>
                </a:cubicBezTo>
                <a:cubicBezTo>
                  <a:pt x="198" y="64"/>
                  <a:pt x="197" y="63"/>
                  <a:pt x="196" y="61"/>
                </a:cubicBezTo>
                <a:cubicBezTo>
                  <a:pt x="195" y="60"/>
                  <a:pt x="194" y="59"/>
                  <a:pt x="193" y="58"/>
                </a:cubicBezTo>
                <a:cubicBezTo>
                  <a:pt x="192" y="56"/>
                  <a:pt x="191" y="55"/>
                  <a:pt x="190" y="54"/>
                </a:cubicBezTo>
                <a:cubicBezTo>
                  <a:pt x="189" y="53"/>
                  <a:pt x="188" y="52"/>
                  <a:pt x="187" y="51"/>
                </a:cubicBezTo>
                <a:cubicBezTo>
                  <a:pt x="186" y="50"/>
                  <a:pt x="185" y="48"/>
                  <a:pt x="183" y="47"/>
                </a:cubicBezTo>
                <a:cubicBezTo>
                  <a:pt x="182" y="46"/>
                  <a:pt x="181" y="45"/>
                  <a:pt x="180" y="44"/>
                </a:cubicBezTo>
                <a:cubicBezTo>
                  <a:pt x="179" y="43"/>
                  <a:pt x="177" y="42"/>
                  <a:pt x="176" y="41"/>
                </a:cubicBezTo>
                <a:cubicBezTo>
                  <a:pt x="175" y="41"/>
                  <a:pt x="174" y="40"/>
                  <a:pt x="172" y="39"/>
                </a:cubicBezTo>
                <a:cubicBezTo>
                  <a:pt x="171" y="38"/>
                  <a:pt x="170" y="37"/>
                  <a:pt x="168" y="36"/>
                </a:cubicBezTo>
                <a:cubicBezTo>
                  <a:pt x="167" y="35"/>
                  <a:pt x="166" y="35"/>
                  <a:pt x="164" y="34"/>
                </a:cubicBezTo>
                <a:cubicBezTo>
                  <a:pt x="163" y="33"/>
                  <a:pt x="162" y="32"/>
                  <a:pt x="160" y="32"/>
                </a:cubicBezTo>
                <a:cubicBezTo>
                  <a:pt x="159" y="31"/>
                  <a:pt x="157" y="30"/>
                  <a:pt x="156" y="30"/>
                </a:cubicBezTo>
                <a:cubicBezTo>
                  <a:pt x="155" y="29"/>
                  <a:pt x="154" y="29"/>
                  <a:pt x="154" y="29"/>
                </a:cubicBezTo>
                <a:cubicBezTo>
                  <a:pt x="153" y="29"/>
                  <a:pt x="152" y="28"/>
                  <a:pt x="152" y="28"/>
                </a:cubicBezTo>
                <a:cubicBezTo>
                  <a:pt x="151" y="28"/>
                  <a:pt x="150" y="27"/>
                  <a:pt x="149" y="27"/>
                </a:cubicBezTo>
                <a:cubicBezTo>
                  <a:pt x="149" y="27"/>
                  <a:pt x="148" y="27"/>
                  <a:pt x="147" y="26"/>
                </a:cubicBezTo>
                <a:cubicBezTo>
                  <a:pt x="146" y="26"/>
                  <a:pt x="145" y="26"/>
                  <a:pt x="145" y="26"/>
                </a:cubicBezTo>
                <a:cubicBezTo>
                  <a:pt x="144" y="26"/>
                  <a:pt x="143" y="25"/>
                  <a:pt x="142" y="25"/>
                </a:cubicBezTo>
                <a:cubicBezTo>
                  <a:pt x="142" y="25"/>
                  <a:pt x="141" y="25"/>
                  <a:pt x="140" y="25"/>
                </a:cubicBezTo>
                <a:cubicBezTo>
                  <a:pt x="139" y="24"/>
                  <a:pt x="139" y="24"/>
                  <a:pt x="138" y="24"/>
                </a:cubicBezTo>
                <a:cubicBezTo>
                  <a:pt x="137" y="24"/>
                  <a:pt x="136" y="24"/>
                  <a:pt x="135" y="24"/>
                </a:cubicBezTo>
                <a:cubicBezTo>
                  <a:pt x="135" y="23"/>
                  <a:pt x="134" y="23"/>
                  <a:pt x="133" y="23"/>
                </a:cubicBezTo>
                <a:cubicBezTo>
                  <a:pt x="132" y="23"/>
                  <a:pt x="131" y="23"/>
                  <a:pt x="131" y="23"/>
                </a:cubicBezTo>
                <a:cubicBezTo>
                  <a:pt x="130" y="23"/>
                  <a:pt x="129" y="23"/>
                  <a:pt x="128" y="23"/>
                </a:cubicBezTo>
                <a:cubicBezTo>
                  <a:pt x="127" y="22"/>
                  <a:pt x="126" y="22"/>
                  <a:pt x="126" y="22"/>
                </a:cubicBezTo>
                <a:cubicBezTo>
                  <a:pt x="125" y="22"/>
                  <a:pt x="124" y="22"/>
                  <a:pt x="123" y="22"/>
                </a:cubicBezTo>
                <a:cubicBezTo>
                  <a:pt x="122" y="22"/>
                  <a:pt x="122" y="22"/>
                  <a:pt x="121" y="22"/>
                </a:cubicBezTo>
                <a:cubicBezTo>
                  <a:pt x="120" y="22"/>
                  <a:pt x="119" y="22"/>
                  <a:pt x="118" y="22"/>
                </a:cubicBezTo>
                <a:close/>
                <a:moveTo>
                  <a:pt x="118" y="0"/>
                </a:moveTo>
                <a:cubicBezTo>
                  <a:pt x="119" y="0"/>
                  <a:pt x="120" y="0"/>
                  <a:pt x="121" y="1"/>
                </a:cubicBezTo>
                <a:cubicBezTo>
                  <a:pt x="122" y="1"/>
                  <a:pt x="123" y="1"/>
                  <a:pt x="124" y="1"/>
                </a:cubicBezTo>
                <a:cubicBezTo>
                  <a:pt x="125" y="1"/>
                  <a:pt x="126" y="1"/>
                  <a:pt x="127" y="1"/>
                </a:cubicBezTo>
                <a:cubicBezTo>
                  <a:pt x="128" y="1"/>
                  <a:pt x="129" y="1"/>
                  <a:pt x="130" y="1"/>
                </a:cubicBezTo>
                <a:cubicBezTo>
                  <a:pt x="131" y="1"/>
                  <a:pt x="132" y="1"/>
                  <a:pt x="133" y="1"/>
                </a:cubicBezTo>
                <a:cubicBezTo>
                  <a:pt x="134" y="2"/>
                  <a:pt x="135" y="2"/>
                  <a:pt x="136" y="2"/>
                </a:cubicBezTo>
                <a:cubicBezTo>
                  <a:pt x="137" y="2"/>
                  <a:pt x="138" y="2"/>
                  <a:pt x="139" y="2"/>
                </a:cubicBezTo>
                <a:cubicBezTo>
                  <a:pt x="140" y="3"/>
                  <a:pt x="141" y="3"/>
                  <a:pt x="142" y="3"/>
                </a:cubicBezTo>
                <a:cubicBezTo>
                  <a:pt x="143" y="3"/>
                  <a:pt x="144" y="3"/>
                  <a:pt x="145" y="4"/>
                </a:cubicBezTo>
                <a:cubicBezTo>
                  <a:pt x="146" y="4"/>
                  <a:pt x="147" y="4"/>
                  <a:pt x="148" y="4"/>
                </a:cubicBezTo>
                <a:cubicBezTo>
                  <a:pt x="149" y="4"/>
                  <a:pt x="150" y="5"/>
                  <a:pt x="151" y="5"/>
                </a:cubicBezTo>
                <a:cubicBezTo>
                  <a:pt x="152" y="5"/>
                  <a:pt x="152" y="6"/>
                  <a:pt x="153" y="6"/>
                </a:cubicBezTo>
                <a:cubicBezTo>
                  <a:pt x="154" y="6"/>
                  <a:pt x="155" y="6"/>
                  <a:pt x="156" y="7"/>
                </a:cubicBezTo>
                <a:cubicBezTo>
                  <a:pt x="157" y="7"/>
                  <a:pt x="158" y="7"/>
                  <a:pt x="159" y="8"/>
                </a:cubicBezTo>
                <a:cubicBezTo>
                  <a:pt x="160" y="8"/>
                  <a:pt x="161" y="8"/>
                  <a:pt x="162" y="9"/>
                </a:cubicBezTo>
                <a:cubicBezTo>
                  <a:pt x="163" y="9"/>
                  <a:pt x="163" y="9"/>
                  <a:pt x="164" y="10"/>
                </a:cubicBezTo>
                <a:cubicBezTo>
                  <a:pt x="165" y="10"/>
                  <a:pt x="166" y="11"/>
                  <a:pt x="167" y="11"/>
                </a:cubicBezTo>
                <a:cubicBezTo>
                  <a:pt x="168" y="11"/>
                  <a:pt x="169" y="12"/>
                  <a:pt x="170" y="12"/>
                </a:cubicBezTo>
                <a:cubicBezTo>
                  <a:pt x="170" y="13"/>
                  <a:pt x="171" y="13"/>
                  <a:pt x="172" y="14"/>
                </a:cubicBezTo>
                <a:cubicBezTo>
                  <a:pt x="173" y="14"/>
                  <a:pt x="174" y="14"/>
                  <a:pt x="175" y="15"/>
                </a:cubicBezTo>
                <a:cubicBezTo>
                  <a:pt x="176" y="15"/>
                  <a:pt x="176" y="16"/>
                  <a:pt x="177" y="16"/>
                </a:cubicBezTo>
                <a:cubicBezTo>
                  <a:pt x="178" y="17"/>
                  <a:pt x="179" y="17"/>
                  <a:pt x="180" y="18"/>
                </a:cubicBezTo>
                <a:cubicBezTo>
                  <a:pt x="180" y="18"/>
                  <a:pt x="181" y="19"/>
                  <a:pt x="182" y="19"/>
                </a:cubicBezTo>
                <a:cubicBezTo>
                  <a:pt x="183" y="20"/>
                  <a:pt x="184" y="20"/>
                  <a:pt x="184" y="21"/>
                </a:cubicBezTo>
                <a:cubicBezTo>
                  <a:pt x="185" y="21"/>
                  <a:pt x="186" y="22"/>
                  <a:pt x="187" y="22"/>
                </a:cubicBezTo>
                <a:cubicBezTo>
                  <a:pt x="188" y="23"/>
                  <a:pt x="188" y="24"/>
                  <a:pt x="189" y="24"/>
                </a:cubicBezTo>
                <a:cubicBezTo>
                  <a:pt x="190" y="25"/>
                  <a:pt x="191" y="25"/>
                  <a:pt x="191" y="26"/>
                </a:cubicBezTo>
                <a:cubicBezTo>
                  <a:pt x="192" y="27"/>
                  <a:pt x="193" y="27"/>
                  <a:pt x="194" y="28"/>
                </a:cubicBezTo>
                <a:cubicBezTo>
                  <a:pt x="194" y="28"/>
                  <a:pt x="195" y="29"/>
                  <a:pt x="196" y="30"/>
                </a:cubicBezTo>
                <a:cubicBezTo>
                  <a:pt x="197" y="30"/>
                  <a:pt x="197" y="31"/>
                  <a:pt x="198" y="31"/>
                </a:cubicBezTo>
                <a:cubicBezTo>
                  <a:pt x="199" y="33"/>
                  <a:pt x="201" y="34"/>
                  <a:pt x="202" y="35"/>
                </a:cubicBezTo>
                <a:cubicBezTo>
                  <a:pt x="203" y="37"/>
                  <a:pt x="205" y="38"/>
                  <a:pt x="206" y="40"/>
                </a:cubicBezTo>
                <a:cubicBezTo>
                  <a:pt x="207" y="41"/>
                  <a:pt x="208" y="42"/>
                  <a:pt x="210" y="44"/>
                </a:cubicBezTo>
                <a:cubicBezTo>
                  <a:pt x="210" y="45"/>
                  <a:pt x="211" y="45"/>
                  <a:pt x="211" y="46"/>
                </a:cubicBezTo>
                <a:cubicBezTo>
                  <a:pt x="212" y="47"/>
                  <a:pt x="213" y="48"/>
                  <a:pt x="213" y="48"/>
                </a:cubicBezTo>
                <a:cubicBezTo>
                  <a:pt x="214" y="49"/>
                  <a:pt x="214" y="50"/>
                  <a:pt x="215" y="51"/>
                </a:cubicBezTo>
                <a:cubicBezTo>
                  <a:pt x="215" y="51"/>
                  <a:pt x="216" y="52"/>
                  <a:pt x="217" y="53"/>
                </a:cubicBezTo>
                <a:cubicBezTo>
                  <a:pt x="217" y="54"/>
                  <a:pt x="218" y="55"/>
                  <a:pt x="218" y="55"/>
                </a:cubicBezTo>
                <a:cubicBezTo>
                  <a:pt x="219" y="56"/>
                  <a:pt x="219" y="57"/>
                  <a:pt x="220" y="58"/>
                </a:cubicBezTo>
                <a:cubicBezTo>
                  <a:pt x="220" y="59"/>
                  <a:pt x="221" y="60"/>
                  <a:pt x="221" y="60"/>
                </a:cubicBezTo>
                <a:cubicBezTo>
                  <a:pt x="222" y="61"/>
                  <a:pt x="222" y="62"/>
                  <a:pt x="222" y="63"/>
                </a:cubicBezTo>
                <a:cubicBezTo>
                  <a:pt x="223" y="64"/>
                  <a:pt x="223" y="65"/>
                  <a:pt x="224" y="65"/>
                </a:cubicBezTo>
                <a:cubicBezTo>
                  <a:pt x="224" y="66"/>
                  <a:pt x="225" y="67"/>
                  <a:pt x="225" y="68"/>
                </a:cubicBezTo>
                <a:cubicBezTo>
                  <a:pt x="226" y="69"/>
                  <a:pt x="226" y="70"/>
                  <a:pt x="226" y="71"/>
                </a:cubicBezTo>
                <a:cubicBezTo>
                  <a:pt x="227" y="72"/>
                  <a:pt x="227" y="72"/>
                  <a:pt x="227" y="73"/>
                </a:cubicBezTo>
                <a:cubicBezTo>
                  <a:pt x="228" y="74"/>
                  <a:pt x="228" y="75"/>
                  <a:pt x="229" y="76"/>
                </a:cubicBezTo>
                <a:cubicBezTo>
                  <a:pt x="229" y="77"/>
                  <a:pt x="229" y="78"/>
                  <a:pt x="230" y="79"/>
                </a:cubicBezTo>
                <a:cubicBezTo>
                  <a:pt x="230" y="80"/>
                  <a:pt x="230" y="81"/>
                  <a:pt x="231" y="81"/>
                </a:cubicBezTo>
                <a:cubicBezTo>
                  <a:pt x="231" y="82"/>
                  <a:pt x="231" y="83"/>
                  <a:pt x="231" y="84"/>
                </a:cubicBezTo>
                <a:cubicBezTo>
                  <a:pt x="232" y="85"/>
                  <a:pt x="232" y="86"/>
                  <a:pt x="232" y="87"/>
                </a:cubicBezTo>
                <a:cubicBezTo>
                  <a:pt x="233" y="88"/>
                  <a:pt x="233" y="89"/>
                  <a:pt x="233" y="90"/>
                </a:cubicBezTo>
                <a:cubicBezTo>
                  <a:pt x="233" y="91"/>
                  <a:pt x="234" y="92"/>
                  <a:pt x="234" y="93"/>
                </a:cubicBezTo>
                <a:cubicBezTo>
                  <a:pt x="234" y="94"/>
                  <a:pt x="234" y="95"/>
                  <a:pt x="234" y="96"/>
                </a:cubicBezTo>
                <a:cubicBezTo>
                  <a:pt x="235" y="97"/>
                  <a:pt x="235" y="98"/>
                  <a:pt x="235" y="99"/>
                </a:cubicBezTo>
                <a:cubicBezTo>
                  <a:pt x="235" y="100"/>
                  <a:pt x="235" y="101"/>
                  <a:pt x="235" y="102"/>
                </a:cubicBezTo>
                <a:cubicBezTo>
                  <a:pt x="236" y="102"/>
                  <a:pt x="236" y="103"/>
                  <a:pt x="236" y="104"/>
                </a:cubicBezTo>
                <a:cubicBezTo>
                  <a:pt x="236" y="105"/>
                  <a:pt x="236" y="106"/>
                  <a:pt x="236" y="107"/>
                </a:cubicBezTo>
                <a:cubicBezTo>
                  <a:pt x="236" y="108"/>
                  <a:pt x="236" y="109"/>
                  <a:pt x="236" y="110"/>
                </a:cubicBezTo>
                <a:cubicBezTo>
                  <a:pt x="237" y="111"/>
                  <a:pt x="237" y="112"/>
                  <a:pt x="237" y="114"/>
                </a:cubicBezTo>
                <a:cubicBezTo>
                  <a:pt x="237" y="115"/>
                  <a:pt x="237" y="116"/>
                  <a:pt x="237" y="117"/>
                </a:cubicBezTo>
                <a:cubicBezTo>
                  <a:pt x="237" y="118"/>
                  <a:pt x="237" y="119"/>
                  <a:pt x="237" y="120"/>
                </a:cubicBezTo>
                <a:cubicBezTo>
                  <a:pt x="237" y="121"/>
                  <a:pt x="237" y="122"/>
                  <a:pt x="237" y="123"/>
                </a:cubicBezTo>
                <a:cubicBezTo>
                  <a:pt x="237" y="125"/>
                  <a:pt x="237" y="126"/>
                  <a:pt x="237" y="127"/>
                </a:cubicBezTo>
                <a:cubicBezTo>
                  <a:pt x="237" y="129"/>
                  <a:pt x="236" y="130"/>
                  <a:pt x="236" y="131"/>
                </a:cubicBezTo>
                <a:cubicBezTo>
                  <a:pt x="236" y="132"/>
                  <a:pt x="236" y="134"/>
                  <a:pt x="236" y="135"/>
                </a:cubicBezTo>
                <a:cubicBezTo>
                  <a:pt x="236" y="136"/>
                  <a:pt x="236" y="137"/>
                  <a:pt x="235" y="139"/>
                </a:cubicBezTo>
                <a:cubicBezTo>
                  <a:pt x="235" y="140"/>
                  <a:pt x="235" y="141"/>
                  <a:pt x="235" y="142"/>
                </a:cubicBezTo>
                <a:cubicBezTo>
                  <a:pt x="234" y="144"/>
                  <a:pt x="234" y="145"/>
                  <a:pt x="234" y="146"/>
                </a:cubicBezTo>
                <a:cubicBezTo>
                  <a:pt x="234" y="147"/>
                  <a:pt x="233" y="148"/>
                  <a:pt x="233" y="150"/>
                </a:cubicBezTo>
                <a:cubicBezTo>
                  <a:pt x="233" y="151"/>
                  <a:pt x="232" y="152"/>
                  <a:pt x="232" y="153"/>
                </a:cubicBezTo>
                <a:cubicBezTo>
                  <a:pt x="232" y="155"/>
                  <a:pt x="231" y="156"/>
                  <a:pt x="231" y="157"/>
                </a:cubicBezTo>
                <a:cubicBezTo>
                  <a:pt x="230" y="158"/>
                  <a:pt x="230" y="159"/>
                  <a:pt x="230" y="161"/>
                </a:cubicBezTo>
                <a:cubicBezTo>
                  <a:pt x="229" y="162"/>
                  <a:pt x="229" y="163"/>
                  <a:pt x="228" y="164"/>
                </a:cubicBezTo>
                <a:cubicBezTo>
                  <a:pt x="228" y="165"/>
                  <a:pt x="227" y="166"/>
                  <a:pt x="227" y="168"/>
                </a:cubicBezTo>
                <a:cubicBezTo>
                  <a:pt x="226" y="169"/>
                  <a:pt x="226" y="170"/>
                  <a:pt x="225" y="171"/>
                </a:cubicBezTo>
                <a:cubicBezTo>
                  <a:pt x="225" y="172"/>
                  <a:pt x="224" y="173"/>
                  <a:pt x="224" y="174"/>
                </a:cubicBezTo>
                <a:cubicBezTo>
                  <a:pt x="223" y="176"/>
                  <a:pt x="222" y="177"/>
                  <a:pt x="222" y="178"/>
                </a:cubicBezTo>
                <a:cubicBezTo>
                  <a:pt x="221" y="178"/>
                  <a:pt x="221" y="179"/>
                  <a:pt x="221" y="180"/>
                </a:cubicBezTo>
                <a:cubicBezTo>
                  <a:pt x="221" y="180"/>
                  <a:pt x="220" y="181"/>
                  <a:pt x="220" y="181"/>
                </a:cubicBezTo>
                <a:cubicBezTo>
                  <a:pt x="220" y="182"/>
                  <a:pt x="219" y="183"/>
                  <a:pt x="219" y="183"/>
                </a:cubicBezTo>
                <a:cubicBezTo>
                  <a:pt x="219" y="184"/>
                  <a:pt x="218" y="185"/>
                  <a:pt x="218" y="185"/>
                </a:cubicBezTo>
                <a:cubicBezTo>
                  <a:pt x="217" y="186"/>
                  <a:pt x="217" y="186"/>
                  <a:pt x="217" y="187"/>
                </a:cubicBezTo>
                <a:cubicBezTo>
                  <a:pt x="216" y="188"/>
                  <a:pt x="216" y="188"/>
                  <a:pt x="216" y="189"/>
                </a:cubicBezTo>
                <a:cubicBezTo>
                  <a:pt x="215" y="191"/>
                  <a:pt x="214" y="192"/>
                  <a:pt x="213" y="193"/>
                </a:cubicBezTo>
                <a:cubicBezTo>
                  <a:pt x="212" y="195"/>
                  <a:pt x="211" y="196"/>
                  <a:pt x="210" y="197"/>
                </a:cubicBezTo>
                <a:cubicBezTo>
                  <a:pt x="209" y="199"/>
                  <a:pt x="208" y="200"/>
                  <a:pt x="208" y="201"/>
                </a:cubicBezTo>
                <a:cubicBezTo>
                  <a:pt x="207" y="203"/>
                  <a:pt x="206" y="204"/>
                  <a:pt x="205" y="206"/>
                </a:cubicBezTo>
                <a:cubicBezTo>
                  <a:pt x="204" y="207"/>
                  <a:pt x="203" y="208"/>
                  <a:pt x="202" y="210"/>
                </a:cubicBezTo>
                <a:cubicBezTo>
                  <a:pt x="202" y="210"/>
                  <a:pt x="201" y="211"/>
                  <a:pt x="201" y="211"/>
                </a:cubicBezTo>
                <a:cubicBezTo>
                  <a:pt x="200" y="212"/>
                  <a:pt x="200" y="213"/>
                  <a:pt x="199" y="213"/>
                </a:cubicBezTo>
                <a:cubicBezTo>
                  <a:pt x="199" y="214"/>
                  <a:pt x="198" y="215"/>
                  <a:pt x="198" y="215"/>
                </a:cubicBezTo>
                <a:cubicBezTo>
                  <a:pt x="197" y="216"/>
                  <a:pt x="197" y="216"/>
                  <a:pt x="197" y="217"/>
                </a:cubicBezTo>
                <a:cubicBezTo>
                  <a:pt x="196" y="217"/>
                  <a:pt x="196" y="218"/>
                  <a:pt x="195" y="219"/>
                </a:cubicBezTo>
                <a:cubicBezTo>
                  <a:pt x="195" y="219"/>
                  <a:pt x="195" y="220"/>
                  <a:pt x="194" y="220"/>
                </a:cubicBezTo>
                <a:cubicBezTo>
                  <a:pt x="194" y="221"/>
                  <a:pt x="193" y="221"/>
                  <a:pt x="193" y="222"/>
                </a:cubicBezTo>
                <a:cubicBezTo>
                  <a:pt x="193" y="222"/>
                  <a:pt x="192" y="223"/>
                  <a:pt x="192" y="223"/>
                </a:cubicBezTo>
                <a:cubicBezTo>
                  <a:pt x="192" y="224"/>
                  <a:pt x="191" y="224"/>
                  <a:pt x="191" y="225"/>
                </a:cubicBezTo>
                <a:cubicBezTo>
                  <a:pt x="191" y="225"/>
                  <a:pt x="190" y="225"/>
                  <a:pt x="190" y="226"/>
                </a:cubicBezTo>
                <a:cubicBezTo>
                  <a:pt x="190" y="226"/>
                  <a:pt x="189" y="227"/>
                  <a:pt x="189" y="227"/>
                </a:cubicBezTo>
                <a:cubicBezTo>
                  <a:pt x="189" y="227"/>
                  <a:pt x="188" y="228"/>
                  <a:pt x="188" y="228"/>
                </a:cubicBezTo>
                <a:cubicBezTo>
                  <a:pt x="188" y="228"/>
                  <a:pt x="188" y="229"/>
                  <a:pt x="188" y="229"/>
                </a:cubicBezTo>
                <a:cubicBezTo>
                  <a:pt x="187" y="229"/>
                  <a:pt x="187" y="229"/>
                  <a:pt x="187" y="230"/>
                </a:cubicBezTo>
                <a:cubicBezTo>
                  <a:pt x="187" y="230"/>
                  <a:pt x="187" y="230"/>
                  <a:pt x="186" y="230"/>
                </a:cubicBezTo>
                <a:cubicBezTo>
                  <a:pt x="186" y="230"/>
                  <a:pt x="186" y="231"/>
                  <a:pt x="186" y="231"/>
                </a:cubicBezTo>
                <a:cubicBezTo>
                  <a:pt x="186" y="231"/>
                  <a:pt x="185" y="232"/>
                  <a:pt x="185" y="233"/>
                </a:cubicBezTo>
                <a:cubicBezTo>
                  <a:pt x="184" y="233"/>
                  <a:pt x="184" y="234"/>
                  <a:pt x="184" y="235"/>
                </a:cubicBezTo>
                <a:cubicBezTo>
                  <a:pt x="183" y="235"/>
                  <a:pt x="183" y="236"/>
                  <a:pt x="183" y="237"/>
                </a:cubicBezTo>
                <a:cubicBezTo>
                  <a:pt x="182" y="237"/>
                  <a:pt x="182" y="238"/>
                  <a:pt x="182" y="239"/>
                </a:cubicBezTo>
                <a:cubicBezTo>
                  <a:pt x="181" y="239"/>
                  <a:pt x="181" y="240"/>
                  <a:pt x="181" y="240"/>
                </a:cubicBezTo>
                <a:cubicBezTo>
                  <a:pt x="181" y="241"/>
                  <a:pt x="180" y="242"/>
                  <a:pt x="180" y="242"/>
                </a:cubicBezTo>
                <a:cubicBezTo>
                  <a:pt x="180" y="243"/>
                  <a:pt x="180" y="243"/>
                  <a:pt x="179" y="244"/>
                </a:cubicBezTo>
                <a:cubicBezTo>
                  <a:pt x="179" y="245"/>
                  <a:pt x="179" y="245"/>
                  <a:pt x="179" y="246"/>
                </a:cubicBezTo>
                <a:cubicBezTo>
                  <a:pt x="178" y="246"/>
                  <a:pt x="178" y="247"/>
                  <a:pt x="178" y="248"/>
                </a:cubicBezTo>
                <a:cubicBezTo>
                  <a:pt x="178" y="248"/>
                  <a:pt x="178" y="249"/>
                  <a:pt x="177" y="249"/>
                </a:cubicBezTo>
                <a:cubicBezTo>
                  <a:pt x="177" y="250"/>
                  <a:pt x="177" y="250"/>
                  <a:pt x="177" y="251"/>
                </a:cubicBezTo>
                <a:cubicBezTo>
                  <a:pt x="177" y="251"/>
                  <a:pt x="177" y="252"/>
                  <a:pt x="176" y="252"/>
                </a:cubicBezTo>
                <a:cubicBezTo>
                  <a:pt x="176" y="253"/>
                  <a:pt x="176" y="253"/>
                  <a:pt x="176" y="254"/>
                </a:cubicBezTo>
                <a:cubicBezTo>
                  <a:pt x="176" y="254"/>
                  <a:pt x="176" y="255"/>
                  <a:pt x="176" y="255"/>
                </a:cubicBezTo>
                <a:cubicBezTo>
                  <a:pt x="175" y="256"/>
                  <a:pt x="175" y="256"/>
                  <a:pt x="175" y="257"/>
                </a:cubicBezTo>
                <a:cubicBezTo>
                  <a:pt x="175" y="257"/>
                  <a:pt x="175" y="258"/>
                  <a:pt x="175" y="258"/>
                </a:cubicBezTo>
                <a:cubicBezTo>
                  <a:pt x="175" y="259"/>
                  <a:pt x="175" y="259"/>
                  <a:pt x="175" y="259"/>
                </a:cubicBezTo>
                <a:cubicBezTo>
                  <a:pt x="175" y="260"/>
                  <a:pt x="175" y="260"/>
                  <a:pt x="174" y="261"/>
                </a:cubicBezTo>
                <a:cubicBezTo>
                  <a:pt x="174" y="261"/>
                  <a:pt x="174" y="261"/>
                  <a:pt x="174" y="262"/>
                </a:cubicBezTo>
                <a:cubicBezTo>
                  <a:pt x="174" y="262"/>
                  <a:pt x="174" y="263"/>
                  <a:pt x="174" y="263"/>
                </a:cubicBezTo>
                <a:cubicBezTo>
                  <a:pt x="174" y="263"/>
                  <a:pt x="174" y="264"/>
                  <a:pt x="174" y="264"/>
                </a:cubicBezTo>
                <a:cubicBezTo>
                  <a:pt x="174" y="264"/>
                  <a:pt x="174" y="265"/>
                  <a:pt x="174" y="265"/>
                </a:cubicBezTo>
                <a:cubicBezTo>
                  <a:pt x="174" y="265"/>
                  <a:pt x="174" y="265"/>
                  <a:pt x="174" y="266"/>
                </a:cubicBezTo>
                <a:cubicBezTo>
                  <a:pt x="174" y="266"/>
                  <a:pt x="174" y="266"/>
                  <a:pt x="174" y="267"/>
                </a:cubicBezTo>
                <a:cubicBezTo>
                  <a:pt x="174" y="267"/>
                  <a:pt x="174" y="267"/>
                  <a:pt x="174" y="267"/>
                </a:cubicBezTo>
                <a:cubicBezTo>
                  <a:pt x="174" y="267"/>
                  <a:pt x="174" y="268"/>
                  <a:pt x="174" y="268"/>
                </a:cubicBezTo>
                <a:cubicBezTo>
                  <a:pt x="174" y="268"/>
                  <a:pt x="174" y="268"/>
                  <a:pt x="174" y="268"/>
                </a:cubicBezTo>
                <a:cubicBezTo>
                  <a:pt x="174" y="269"/>
                  <a:pt x="174" y="269"/>
                  <a:pt x="174" y="269"/>
                </a:cubicBezTo>
                <a:cubicBezTo>
                  <a:pt x="174" y="269"/>
                  <a:pt x="174" y="269"/>
                  <a:pt x="174" y="269"/>
                </a:cubicBezTo>
                <a:cubicBezTo>
                  <a:pt x="174" y="269"/>
                  <a:pt x="174" y="269"/>
                  <a:pt x="174" y="269"/>
                </a:cubicBezTo>
                <a:cubicBezTo>
                  <a:pt x="174" y="270"/>
                  <a:pt x="174" y="270"/>
                  <a:pt x="174" y="270"/>
                </a:cubicBezTo>
                <a:cubicBezTo>
                  <a:pt x="174" y="270"/>
                  <a:pt x="174" y="270"/>
                  <a:pt x="174" y="270"/>
                </a:cubicBezTo>
                <a:cubicBezTo>
                  <a:pt x="174" y="281"/>
                  <a:pt x="174" y="281"/>
                  <a:pt x="174" y="281"/>
                </a:cubicBezTo>
                <a:cubicBezTo>
                  <a:pt x="163" y="281"/>
                  <a:pt x="163" y="281"/>
                  <a:pt x="163" y="281"/>
                </a:cubicBezTo>
                <a:cubicBezTo>
                  <a:pt x="62" y="281"/>
                  <a:pt x="62" y="281"/>
                  <a:pt x="62" y="281"/>
                </a:cubicBezTo>
                <a:cubicBezTo>
                  <a:pt x="62" y="270"/>
                  <a:pt x="62" y="270"/>
                  <a:pt x="62" y="270"/>
                </a:cubicBezTo>
                <a:cubicBezTo>
                  <a:pt x="62" y="270"/>
                  <a:pt x="62" y="270"/>
                  <a:pt x="62" y="270"/>
                </a:cubicBezTo>
                <a:cubicBezTo>
                  <a:pt x="62" y="269"/>
                  <a:pt x="62" y="269"/>
                  <a:pt x="62" y="269"/>
                </a:cubicBezTo>
                <a:cubicBezTo>
                  <a:pt x="62" y="269"/>
                  <a:pt x="62" y="269"/>
                  <a:pt x="62" y="269"/>
                </a:cubicBezTo>
                <a:cubicBezTo>
                  <a:pt x="62" y="269"/>
                  <a:pt x="62" y="269"/>
                  <a:pt x="62" y="269"/>
                </a:cubicBezTo>
                <a:cubicBezTo>
                  <a:pt x="62" y="269"/>
                  <a:pt x="62" y="268"/>
                  <a:pt x="62" y="268"/>
                </a:cubicBezTo>
                <a:cubicBezTo>
                  <a:pt x="62" y="268"/>
                  <a:pt x="62" y="268"/>
                  <a:pt x="62" y="268"/>
                </a:cubicBezTo>
                <a:cubicBezTo>
                  <a:pt x="62" y="268"/>
                  <a:pt x="62" y="267"/>
                  <a:pt x="62" y="267"/>
                </a:cubicBezTo>
                <a:cubicBezTo>
                  <a:pt x="62" y="267"/>
                  <a:pt x="62" y="267"/>
                  <a:pt x="62" y="266"/>
                </a:cubicBezTo>
                <a:cubicBezTo>
                  <a:pt x="62" y="266"/>
                  <a:pt x="62" y="266"/>
                  <a:pt x="62" y="266"/>
                </a:cubicBezTo>
                <a:cubicBezTo>
                  <a:pt x="62" y="265"/>
                  <a:pt x="62" y="265"/>
                  <a:pt x="62" y="265"/>
                </a:cubicBezTo>
                <a:cubicBezTo>
                  <a:pt x="62" y="265"/>
                  <a:pt x="62" y="264"/>
                  <a:pt x="62" y="264"/>
                </a:cubicBezTo>
                <a:cubicBezTo>
                  <a:pt x="62" y="264"/>
                  <a:pt x="62" y="263"/>
                  <a:pt x="62" y="263"/>
                </a:cubicBezTo>
                <a:cubicBezTo>
                  <a:pt x="62" y="263"/>
                  <a:pt x="62" y="262"/>
                  <a:pt x="62" y="262"/>
                </a:cubicBezTo>
                <a:cubicBezTo>
                  <a:pt x="62" y="261"/>
                  <a:pt x="62" y="261"/>
                  <a:pt x="61" y="261"/>
                </a:cubicBezTo>
                <a:cubicBezTo>
                  <a:pt x="61" y="260"/>
                  <a:pt x="61" y="260"/>
                  <a:pt x="61" y="259"/>
                </a:cubicBezTo>
                <a:cubicBezTo>
                  <a:pt x="61" y="259"/>
                  <a:pt x="61" y="258"/>
                  <a:pt x="61" y="257"/>
                </a:cubicBezTo>
                <a:cubicBezTo>
                  <a:pt x="61" y="256"/>
                  <a:pt x="60" y="256"/>
                  <a:pt x="60" y="255"/>
                </a:cubicBezTo>
                <a:cubicBezTo>
                  <a:pt x="60" y="255"/>
                  <a:pt x="60" y="254"/>
                  <a:pt x="60" y="254"/>
                </a:cubicBezTo>
                <a:cubicBezTo>
                  <a:pt x="60" y="253"/>
                  <a:pt x="60" y="253"/>
                  <a:pt x="60" y="252"/>
                </a:cubicBezTo>
                <a:cubicBezTo>
                  <a:pt x="59" y="252"/>
                  <a:pt x="59" y="251"/>
                  <a:pt x="59" y="251"/>
                </a:cubicBezTo>
                <a:cubicBezTo>
                  <a:pt x="59" y="250"/>
                  <a:pt x="59" y="250"/>
                  <a:pt x="59" y="249"/>
                </a:cubicBezTo>
                <a:cubicBezTo>
                  <a:pt x="58" y="249"/>
                  <a:pt x="58" y="248"/>
                  <a:pt x="58" y="248"/>
                </a:cubicBezTo>
                <a:cubicBezTo>
                  <a:pt x="58" y="247"/>
                  <a:pt x="58" y="246"/>
                  <a:pt x="57" y="246"/>
                </a:cubicBezTo>
                <a:cubicBezTo>
                  <a:pt x="57" y="245"/>
                  <a:pt x="57" y="245"/>
                  <a:pt x="57" y="244"/>
                </a:cubicBezTo>
                <a:cubicBezTo>
                  <a:pt x="56" y="243"/>
                  <a:pt x="56" y="243"/>
                  <a:pt x="56" y="242"/>
                </a:cubicBezTo>
                <a:cubicBezTo>
                  <a:pt x="56" y="242"/>
                  <a:pt x="55" y="241"/>
                  <a:pt x="55" y="240"/>
                </a:cubicBezTo>
                <a:cubicBezTo>
                  <a:pt x="55" y="240"/>
                  <a:pt x="54" y="239"/>
                  <a:pt x="54" y="239"/>
                </a:cubicBezTo>
                <a:cubicBezTo>
                  <a:pt x="54" y="238"/>
                  <a:pt x="54" y="237"/>
                  <a:pt x="53" y="237"/>
                </a:cubicBezTo>
                <a:cubicBezTo>
                  <a:pt x="53" y="236"/>
                  <a:pt x="53" y="235"/>
                  <a:pt x="52" y="235"/>
                </a:cubicBezTo>
                <a:cubicBezTo>
                  <a:pt x="52" y="234"/>
                  <a:pt x="51" y="233"/>
                  <a:pt x="51" y="233"/>
                </a:cubicBezTo>
                <a:cubicBezTo>
                  <a:pt x="51" y="232"/>
                  <a:pt x="50" y="231"/>
                  <a:pt x="50" y="231"/>
                </a:cubicBezTo>
                <a:cubicBezTo>
                  <a:pt x="50" y="231"/>
                  <a:pt x="50" y="230"/>
                  <a:pt x="49" y="230"/>
                </a:cubicBezTo>
                <a:cubicBezTo>
                  <a:pt x="49" y="230"/>
                  <a:pt x="49" y="230"/>
                  <a:pt x="49" y="229"/>
                </a:cubicBezTo>
                <a:cubicBezTo>
                  <a:pt x="49" y="229"/>
                  <a:pt x="48" y="229"/>
                  <a:pt x="48" y="228"/>
                </a:cubicBezTo>
                <a:cubicBezTo>
                  <a:pt x="48" y="228"/>
                  <a:pt x="47" y="228"/>
                  <a:pt x="47" y="227"/>
                </a:cubicBezTo>
                <a:cubicBezTo>
                  <a:pt x="47" y="227"/>
                  <a:pt x="47" y="226"/>
                  <a:pt x="46" y="226"/>
                </a:cubicBezTo>
                <a:cubicBezTo>
                  <a:pt x="46" y="226"/>
                  <a:pt x="46" y="225"/>
                  <a:pt x="45" y="225"/>
                </a:cubicBezTo>
                <a:cubicBezTo>
                  <a:pt x="45" y="224"/>
                  <a:pt x="44" y="224"/>
                  <a:pt x="44" y="223"/>
                </a:cubicBezTo>
                <a:cubicBezTo>
                  <a:pt x="44" y="223"/>
                  <a:pt x="43" y="222"/>
                  <a:pt x="43" y="222"/>
                </a:cubicBezTo>
                <a:cubicBezTo>
                  <a:pt x="42" y="221"/>
                  <a:pt x="42" y="221"/>
                  <a:pt x="42" y="220"/>
                </a:cubicBezTo>
                <a:cubicBezTo>
                  <a:pt x="41" y="219"/>
                  <a:pt x="41" y="219"/>
                  <a:pt x="40" y="218"/>
                </a:cubicBezTo>
                <a:cubicBezTo>
                  <a:pt x="40" y="218"/>
                  <a:pt x="39" y="217"/>
                  <a:pt x="39" y="216"/>
                </a:cubicBezTo>
                <a:cubicBezTo>
                  <a:pt x="38" y="216"/>
                  <a:pt x="38" y="215"/>
                  <a:pt x="37" y="214"/>
                </a:cubicBezTo>
                <a:cubicBezTo>
                  <a:pt x="37" y="214"/>
                  <a:pt x="37" y="213"/>
                  <a:pt x="36" y="212"/>
                </a:cubicBezTo>
                <a:cubicBezTo>
                  <a:pt x="36" y="212"/>
                  <a:pt x="35" y="211"/>
                  <a:pt x="35" y="210"/>
                </a:cubicBezTo>
                <a:cubicBezTo>
                  <a:pt x="34" y="210"/>
                  <a:pt x="34" y="209"/>
                  <a:pt x="33" y="208"/>
                </a:cubicBezTo>
                <a:cubicBezTo>
                  <a:pt x="33" y="208"/>
                  <a:pt x="32" y="207"/>
                  <a:pt x="32" y="206"/>
                </a:cubicBezTo>
                <a:cubicBezTo>
                  <a:pt x="31" y="205"/>
                  <a:pt x="29" y="203"/>
                  <a:pt x="28" y="202"/>
                </a:cubicBezTo>
                <a:cubicBezTo>
                  <a:pt x="27" y="200"/>
                  <a:pt x="26" y="199"/>
                  <a:pt x="25" y="197"/>
                </a:cubicBezTo>
                <a:cubicBezTo>
                  <a:pt x="24" y="196"/>
                  <a:pt x="23" y="194"/>
                  <a:pt x="23" y="193"/>
                </a:cubicBezTo>
                <a:cubicBezTo>
                  <a:pt x="22" y="192"/>
                  <a:pt x="22" y="191"/>
                  <a:pt x="21" y="190"/>
                </a:cubicBezTo>
                <a:cubicBezTo>
                  <a:pt x="21" y="190"/>
                  <a:pt x="20" y="189"/>
                  <a:pt x="20" y="188"/>
                </a:cubicBezTo>
                <a:cubicBezTo>
                  <a:pt x="19" y="187"/>
                  <a:pt x="19" y="187"/>
                  <a:pt x="18" y="186"/>
                </a:cubicBezTo>
                <a:cubicBezTo>
                  <a:pt x="18" y="185"/>
                  <a:pt x="18" y="184"/>
                  <a:pt x="17" y="184"/>
                </a:cubicBezTo>
                <a:cubicBezTo>
                  <a:pt x="17" y="183"/>
                  <a:pt x="16" y="182"/>
                  <a:pt x="16" y="182"/>
                </a:cubicBezTo>
                <a:cubicBezTo>
                  <a:pt x="16" y="181"/>
                  <a:pt x="15" y="180"/>
                  <a:pt x="15" y="179"/>
                </a:cubicBezTo>
                <a:cubicBezTo>
                  <a:pt x="15" y="179"/>
                  <a:pt x="14" y="178"/>
                  <a:pt x="14" y="177"/>
                </a:cubicBezTo>
                <a:cubicBezTo>
                  <a:pt x="14" y="177"/>
                  <a:pt x="13" y="176"/>
                  <a:pt x="13" y="175"/>
                </a:cubicBezTo>
                <a:cubicBezTo>
                  <a:pt x="13" y="175"/>
                  <a:pt x="13" y="174"/>
                  <a:pt x="12" y="174"/>
                </a:cubicBezTo>
                <a:cubicBezTo>
                  <a:pt x="12" y="173"/>
                  <a:pt x="12" y="172"/>
                  <a:pt x="12" y="172"/>
                </a:cubicBezTo>
                <a:cubicBezTo>
                  <a:pt x="11" y="171"/>
                  <a:pt x="11" y="170"/>
                  <a:pt x="10" y="169"/>
                </a:cubicBezTo>
                <a:cubicBezTo>
                  <a:pt x="10" y="168"/>
                  <a:pt x="9" y="167"/>
                  <a:pt x="9" y="166"/>
                </a:cubicBezTo>
                <a:cubicBezTo>
                  <a:pt x="8" y="165"/>
                  <a:pt x="8" y="163"/>
                  <a:pt x="8" y="162"/>
                </a:cubicBezTo>
                <a:cubicBezTo>
                  <a:pt x="7" y="161"/>
                  <a:pt x="7" y="160"/>
                  <a:pt x="6" y="159"/>
                </a:cubicBezTo>
                <a:cubicBezTo>
                  <a:pt x="6" y="158"/>
                  <a:pt x="6" y="157"/>
                  <a:pt x="5" y="156"/>
                </a:cubicBezTo>
                <a:cubicBezTo>
                  <a:pt x="5" y="155"/>
                  <a:pt x="5" y="154"/>
                  <a:pt x="4" y="153"/>
                </a:cubicBezTo>
                <a:cubicBezTo>
                  <a:pt x="4" y="152"/>
                  <a:pt x="4" y="151"/>
                  <a:pt x="3" y="150"/>
                </a:cubicBezTo>
                <a:cubicBezTo>
                  <a:pt x="3" y="149"/>
                  <a:pt x="3" y="147"/>
                  <a:pt x="3" y="146"/>
                </a:cubicBezTo>
                <a:cubicBezTo>
                  <a:pt x="2" y="145"/>
                  <a:pt x="2" y="144"/>
                  <a:pt x="2" y="143"/>
                </a:cubicBezTo>
                <a:cubicBezTo>
                  <a:pt x="2" y="142"/>
                  <a:pt x="1" y="141"/>
                  <a:pt x="1" y="140"/>
                </a:cubicBezTo>
                <a:cubicBezTo>
                  <a:pt x="1" y="139"/>
                  <a:pt x="1" y="138"/>
                  <a:pt x="1" y="136"/>
                </a:cubicBezTo>
                <a:cubicBezTo>
                  <a:pt x="1" y="135"/>
                  <a:pt x="0" y="134"/>
                  <a:pt x="0" y="133"/>
                </a:cubicBezTo>
                <a:cubicBezTo>
                  <a:pt x="0" y="132"/>
                  <a:pt x="0" y="131"/>
                  <a:pt x="0" y="130"/>
                </a:cubicBezTo>
                <a:cubicBezTo>
                  <a:pt x="0" y="129"/>
                  <a:pt x="0" y="128"/>
                  <a:pt x="0" y="126"/>
                </a:cubicBezTo>
                <a:cubicBezTo>
                  <a:pt x="0" y="125"/>
                  <a:pt x="0" y="124"/>
                  <a:pt x="0" y="123"/>
                </a:cubicBezTo>
                <a:cubicBezTo>
                  <a:pt x="0" y="122"/>
                  <a:pt x="0" y="121"/>
                  <a:pt x="0" y="120"/>
                </a:cubicBezTo>
                <a:cubicBezTo>
                  <a:pt x="0" y="119"/>
                  <a:pt x="0" y="118"/>
                  <a:pt x="0" y="117"/>
                </a:cubicBezTo>
                <a:cubicBezTo>
                  <a:pt x="0" y="116"/>
                  <a:pt x="0" y="115"/>
                  <a:pt x="0" y="114"/>
                </a:cubicBezTo>
                <a:cubicBezTo>
                  <a:pt x="0" y="112"/>
                  <a:pt x="0" y="111"/>
                  <a:pt x="0" y="110"/>
                </a:cubicBezTo>
                <a:cubicBezTo>
                  <a:pt x="0" y="109"/>
                  <a:pt x="0" y="108"/>
                  <a:pt x="0" y="107"/>
                </a:cubicBezTo>
                <a:cubicBezTo>
                  <a:pt x="0" y="106"/>
                  <a:pt x="0" y="105"/>
                  <a:pt x="0" y="104"/>
                </a:cubicBezTo>
                <a:cubicBezTo>
                  <a:pt x="1" y="103"/>
                  <a:pt x="1" y="102"/>
                  <a:pt x="1" y="102"/>
                </a:cubicBezTo>
                <a:cubicBezTo>
                  <a:pt x="1" y="101"/>
                  <a:pt x="1" y="100"/>
                  <a:pt x="1" y="99"/>
                </a:cubicBezTo>
                <a:cubicBezTo>
                  <a:pt x="2" y="98"/>
                  <a:pt x="2" y="97"/>
                  <a:pt x="2" y="96"/>
                </a:cubicBezTo>
                <a:cubicBezTo>
                  <a:pt x="2" y="95"/>
                  <a:pt x="2" y="94"/>
                  <a:pt x="3" y="93"/>
                </a:cubicBezTo>
                <a:cubicBezTo>
                  <a:pt x="3" y="92"/>
                  <a:pt x="3" y="91"/>
                  <a:pt x="3" y="90"/>
                </a:cubicBezTo>
                <a:cubicBezTo>
                  <a:pt x="4" y="89"/>
                  <a:pt x="4" y="88"/>
                  <a:pt x="4" y="87"/>
                </a:cubicBezTo>
                <a:cubicBezTo>
                  <a:pt x="4" y="86"/>
                  <a:pt x="5" y="85"/>
                  <a:pt x="5" y="84"/>
                </a:cubicBezTo>
                <a:cubicBezTo>
                  <a:pt x="5" y="83"/>
                  <a:pt x="5" y="82"/>
                  <a:pt x="6" y="81"/>
                </a:cubicBezTo>
                <a:cubicBezTo>
                  <a:pt x="6" y="81"/>
                  <a:pt x="6" y="80"/>
                  <a:pt x="7" y="79"/>
                </a:cubicBezTo>
                <a:cubicBezTo>
                  <a:pt x="7" y="78"/>
                  <a:pt x="7" y="77"/>
                  <a:pt x="8" y="76"/>
                </a:cubicBezTo>
                <a:cubicBezTo>
                  <a:pt x="8" y="75"/>
                  <a:pt x="8" y="74"/>
                  <a:pt x="9" y="73"/>
                </a:cubicBezTo>
                <a:cubicBezTo>
                  <a:pt x="9" y="72"/>
                  <a:pt x="10" y="72"/>
                  <a:pt x="10" y="71"/>
                </a:cubicBezTo>
                <a:cubicBezTo>
                  <a:pt x="10" y="70"/>
                  <a:pt x="11" y="69"/>
                  <a:pt x="11" y="68"/>
                </a:cubicBezTo>
                <a:cubicBezTo>
                  <a:pt x="12" y="67"/>
                  <a:pt x="12" y="66"/>
                  <a:pt x="13" y="65"/>
                </a:cubicBezTo>
                <a:cubicBezTo>
                  <a:pt x="13" y="65"/>
                  <a:pt x="13" y="64"/>
                  <a:pt x="14" y="63"/>
                </a:cubicBezTo>
                <a:cubicBezTo>
                  <a:pt x="14" y="62"/>
                  <a:pt x="15" y="61"/>
                  <a:pt x="15" y="60"/>
                </a:cubicBezTo>
                <a:cubicBezTo>
                  <a:pt x="16" y="60"/>
                  <a:pt x="16" y="59"/>
                  <a:pt x="17" y="58"/>
                </a:cubicBezTo>
                <a:cubicBezTo>
                  <a:pt x="17" y="57"/>
                  <a:pt x="18" y="56"/>
                  <a:pt x="18" y="55"/>
                </a:cubicBezTo>
                <a:cubicBezTo>
                  <a:pt x="19" y="55"/>
                  <a:pt x="19" y="54"/>
                  <a:pt x="20" y="53"/>
                </a:cubicBezTo>
                <a:cubicBezTo>
                  <a:pt x="20" y="52"/>
                  <a:pt x="21" y="51"/>
                  <a:pt x="21" y="51"/>
                </a:cubicBezTo>
                <a:cubicBezTo>
                  <a:pt x="22" y="50"/>
                  <a:pt x="23" y="49"/>
                  <a:pt x="23" y="48"/>
                </a:cubicBezTo>
                <a:cubicBezTo>
                  <a:pt x="24" y="48"/>
                  <a:pt x="24" y="47"/>
                  <a:pt x="25" y="46"/>
                </a:cubicBezTo>
                <a:cubicBezTo>
                  <a:pt x="25" y="45"/>
                  <a:pt x="26" y="45"/>
                  <a:pt x="27" y="44"/>
                </a:cubicBezTo>
                <a:cubicBezTo>
                  <a:pt x="28" y="42"/>
                  <a:pt x="29" y="41"/>
                  <a:pt x="30" y="40"/>
                </a:cubicBezTo>
                <a:cubicBezTo>
                  <a:pt x="32" y="38"/>
                  <a:pt x="33" y="37"/>
                  <a:pt x="34" y="35"/>
                </a:cubicBezTo>
                <a:cubicBezTo>
                  <a:pt x="36" y="34"/>
                  <a:pt x="37" y="33"/>
                  <a:pt x="38" y="31"/>
                </a:cubicBezTo>
                <a:cubicBezTo>
                  <a:pt x="39" y="31"/>
                  <a:pt x="40" y="30"/>
                  <a:pt x="41" y="30"/>
                </a:cubicBezTo>
                <a:cubicBezTo>
                  <a:pt x="41" y="29"/>
                  <a:pt x="42" y="28"/>
                  <a:pt x="43" y="28"/>
                </a:cubicBezTo>
                <a:cubicBezTo>
                  <a:pt x="43" y="27"/>
                  <a:pt x="44" y="27"/>
                  <a:pt x="45" y="26"/>
                </a:cubicBezTo>
                <a:cubicBezTo>
                  <a:pt x="46" y="25"/>
                  <a:pt x="46" y="25"/>
                  <a:pt x="47" y="24"/>
                </a:cubicBezTo>
                <a:cubicBezTo>
                  <a:pt x="48" y="24"/>
                  <a:pt x="49" y="23"/>
                  <a:pt x="50" y="22"/>
                </a:cubicBezTo>
                <a:cubicBezTo>
                  <a:pt x="50" y="22"/>
                  <a:pt x="51" y="21"/>
                  <a:pt x="52" y="21"/>
                </a:cubicBezTo>
                <a:cubicBezTo>
                  <a:pt x="53" y="20"/>
                  <a:pt x="53" y="20"/>
                  <a:pt x="54" y="19"/>
                </a:cubicBezTo>
                <a:cubicBezTo>
                  <a:pt x="55" y="19"/>
                  <a:pt x="56" y="18"/>
                  <a:pt x="57" y="18"/>
                </a:cubicBezTo>
                <a:cubicBezTo>
                  <a:pt x="58" y="17"/>
                  <a:pt x="58" y="17"/>
                  <a:pt x="59" y="16"/>
                </a:cubicBezTo>
                <a:cubicBezTo>
                  <a:pt x="60" y="16"/>
                  <a:pt x="61" y="15"/>
                  <a:pt x="62" y="15"/>
                </a:cubicBezTo>
                <a:cubicBezTo>
                  <a:pt x="63" y="14"/>
                  <a:pt x="63" y="14"/>
                  <a:pt x="64" y="14"/>
                </a:cubicBezTo>
                <a:cubicBezTo>
                  <a:pt x="65" y="13"/>
                  <a:pt x="66" y="13"/>
                  <a:pt x="67" y="12"/>
                </a:cubicBezTo>
                <a:cubicBezTo>
                  <a:pt x="68" y="12"/>
                  <a:pt x="69" y="11"/>
                  <a:pt x="69" y="11"/>
                </a:cubicBezTo>
                <a:cubicBezTo>
                  <a:pt x="70" y="11"/>
                  <a:pt x="71" y="10"/>
                  <a:pt x="72" y="10"/>
                </a:cubicBezTo>
                <a:cubicBezTo>
                  <a:pt x="73" y="9"/>
                  <a:pt x="74" y="9"/>
                  <a:pt x="75" y="9"/>
                </a:cubicBezTo>
                <a:cubicBezTo>
                  <a:pt x="76" y="8"/>
                  <a:pt x="77" y="8"/>
                  <a:pt x="77" y="8"/>
                </a:cubicBezTo>
                <a:cubicBezTo>
                  <a:pt x="78" y="7"/>
                  <a:pt x="79" y="7"/>
                  <a:pt x="80" y="7"/>
                </a:cubicBezTo>
                <a:cubicBezTo>
                  <a:pt x="81" y="6"/>
                  <a:pt x="82" y="6"/>
                  <a:pt x="83" y="6"/>
                </a:cubicBezTo>
                <a:cubicBezTo>
                  <a:pt x="84" y="6"/>
                  <a:pt x="85" y="5"/>
                  <a:pt x="86" y="5"/>
                </a:cubicBezTo>
                <a:cubicBezTo>
                  <a:pt x="87" y="5"/>
                  <a:pt x="88" y="4"/>
                  <a:pt x="89" y="4"/>
                </a:cubicBezTo>
                <a:cubicBezTo>
                  <a:pt x="90" y="4"/>
                  <a:pt x="90" y="4"/>
                  <a:pt x="91" y="4"/>
                </a:cubicBezTo>
                <a:cubicBezTo>
                  <a:pt x="92" y="3"/>
                  <a:pt x="93" y="3"/>
                  <a:pt x="94" y="3"/>
                </a:cubicBezTo>
                <a:cubicBezTo>
                  <a:pt x="95" y="3"/>
                  <a:pt x="96" y="3"/>
                  <a:pt x="97" y="2"/>
                </a:cubicBezTo>
                <a:cubicBezTo>
                  <a:pt x="98" y="2"/>
                  <a:pt x="99" y="2"/>
                  <a:pt x="100" y="2"/>
                </a:cubicBezTo>
                <a:cubicBezTo>
                  <a:pt x="101" y="2"/>
                  <a:pt x="102" y="2"/>
                  <a:pt x="103" y="1"/>
                </a:cubicBezTo>
                <a:cubicBezTo>
                  <a:pt x="104" y="1"/>
                  <a:pt x="105" y="1"/>
                  <a:pt x="106" y="1"/>
                </a:cubicBezTo>
                <a:cubicBezTo>
                  <a:pt x="107" y="1"/>
                  <a:pt x="108" y="1"/>
                  <a:pt x="109" y="1"/>
                </a:cubicBezTo>
                <a:cubicBezTo>
                  <a:pt x="110" y="1"/>
                  <a:pt x="111" y="1"/>
                  <a:pt x="112" y="1"/>
                </a:cubicBezTo>
                <a:cubicBezTo>
                  <a:pt x="113" y="1"/>
                  <a:pt x="114" y="1"/>
                  <a:pt x="115" y="1"/>
                </a:cubicBezTo>
                <a:cubicBezTo>
                  <a:pt x="116" y="0"/>
                  <a:pt x="117" y="0"/>
                  <a:pt x="11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TextBox 81"/>
          <p:cNvSpPr txBox="1"/>
          <p:nvPr/>
        </p:nvSpPr>
        <p:spPr>
          <a:xfrm>
            <a:off x="4515625" y="5476677"/>
            <a:ext cx="1574592" cy="5262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lication Insights Telemetry collects customer activity, effectiveness and technical information</a:t>
            </a:r>
          </a:p>
        </p:txBody>
      </p:sp>
      <p:sp>
        <p:nvSpPr>
          <p:cNvPr id="84" name="Rectangle 83"/>
          <p:cNvSpPr/>
          <p:nvPr/>
        </p:nvSpPr>
        <p:spPr bwMode="auto">
          <a:xfrm>
            <a:off x="3890576" y="1765307"/>
            <a:ext cx="2444421" cy="4331140"/>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Functions</a:t>
            </a:r>
            <a:endParaRPr kumimoji="0" lang="en-US" sz="950" b="0" i="0" u="none" strike="noStrike" kern="1200" cap="none" spc="0" normalizeH="0" baseline="0" noProof="0" dirty="0">
              <a:ln>
                <a:noFill/>
              </a:ln>
              <a:solidFill>
                <a:srgbClr val="FFFFFF"/>
              </a:solidFill>
              <a:effectLst/>
              <a:highlight>
                <a:srgbClr val="00FF00"/>
              </a:highlight>
              <a:uLnTx/>
              <a:uFillTx/>
              <a:latin typeface="Segoe Pro Semibold" panose="020B0702040504020203" pitchFamily="34" charset="0"/>
              <a:ea typeface="+mn-ea"/>
              <a:cs typeface="+mn-cs"/>
            </a:endParaRPr>
          </a:p>
        </p:txBody>
      </p:sp>
      <p:sp>
        <p:nvSpPr>
          <p:cNvPr id="86" name="Freeform 21"/>
          <p:cNvSpPr>
            <a:spLocks noChangeAspect="1" noEditPoints="1"/>
          </p:cNvSpPr>
          <p:nvPr/>
        </p:nvSpPr>
        <p:spPr bwMode="black">
          <a:xfrm>
            <a:off x="5843555" y="5826954"/>
            <a:ext cx="714038" cy="44489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3" name="Straight Arrow Connector 112"/>
          <p:cNvCxnSpPr>
            <a:cxnSpLocks/>
          </p:cNvCxnSpPr>
          <p:nvPr/>
        </p:nvCxnSpPr>
        <p:spPr>
          <a:xfrm>
            <a:off x="3673772" y="2915695"/>
            <a:ext cx="45720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cxnSpLocks/>
          </p:cNvCxnSpPr>
          <p:nvPr/>
        </p:nvCxnSpPr>
        <p:spPr>
          <a:xfrm>
            <a:off x="6107008" y="2915695"/>
            <a:ext cx="457200" cy="0"/>
          </a:xfrm>
          <a:prstGeom prst="straightConnector1">
            <a:avLst/>
          </a:prstGeom>
          <a:ln w="12700">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auto">
          <a:xfrm>
            <a:off x="6580027" y="2445413"/>
            <a:ext cx="1091638" cy="900681"/>
          </a:xfrm>
          <a:prstGeom prst="rect">
            <a:avLst/>
          </a:prstGeom>
          <a:solidFill>
            <a:schemeClr val="accent2"/>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ackend Services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g. Dynamics CRM)</a:t>
            </a:r>
          </a:p>
        </p:txBody>
      </p:sp>
      <p:sp>
        <p:nvSpPr>
          <p:cNvPr id="46" name="Rectangle 45"/>
          <p:cNvSpPr/>
          <p:nvPr/>
        </p:nvSpPr>
        <p:spPr bwMode="auto">
          <a:xfrm>
            <a:off x="1379351" y="1775630"/>
            <a:ext cx="2280957" cy="316832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TextBox 78"/>
          <p:cNvSpPr txBox="1"/>
          <p:nvPr/>
        </p:nvSpPr>
        <p:spPr>
          <a:xfrm>
            <a:off x="5398395" y="753899"/>
            <a:ext cx="115919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Functions</a:t>
            </a:r>
          </a:p>
        </p:txBody>
      </p:sp>
      <p:grpSp>
        <p:nvGrpSpPr>
          <p:cNvPr id="7" name="Group 6"/>
          <p:cNvGrpSpPr/>
          <p:nvPr/>
        </p:nvGrpSpPr>
        <p:grpSpPr>
          <a:xfrm>
            <a:off x="5719932" y="1733700"/>
            <a:ext cx="714038" cy="444894"/>
            <a:chOff x="6555173" y="495146"/>
            <a:chExt cx="714038" cy="444894"/>
          </a:xfrm>
        </p:grpSpPr>
        <p:sp>
          <p:nvSpPr>
            <p:cNvPr id="6" name="Freeform 5"/>
            <p:cNvSpPr>
              <a:spLocks noEditPoints="1"/>
            </p:cNvSpPr>
            <p:nvPr/>
          </p:nvSpPr>
          <p:spPr bwMode="auto">
            <a:xfrm>
              <a:off x="6863904" y="614920"/>
              <a:ext cx="241746" cy="241977"/>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21"/>
            <p:cNvSpPr>
              <a:spLocks noChangeAspect="1" noEditPoints="1"/>
            </p:cNvSpPr>
            <p:nvPr/>
          </p:nvSpPr>
          <p:spPr bwMode="black">
            <a:xfrm>
              <a:off x="6555173" y="495146"/>
              <a:ext cx="714038" cy="44489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7374115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100" y="0"/>
            <a:ext cx="12230099" cy="6857764"/>
            <a:chOff x="-38100" y="0"/>
            <a:chExt cx="12230099" cy="6857764"/>
          </a:xfrm>
        </p:grpSpPr>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l="-45943"/>
            <a:stretch/>
          </p:blipFill>
          <p:spPr>
            <a:xfrm>
              <a:off x="1897434" y="0"/>
              <a:ext cx="10294565" cy="6857764"/>
            </a:xfrm>
            <a:prstGeom prst="rect">
              <a:avLst/>
            </a:prstGeom>
          </p:spPr>
        </p:pic>
        <p:sp>
          <p:nvSpPr>
            <p:cNvPr id="4" name="Rectangle 3"/>
            <p:cNvSpPr/>
            <p:nvPr/>
          </p:nvSpPr>
          <p:spPr bwMode="auto">
            <a:xfrm>
              <a:off x="-38100" y="0"/>
              <a:ext cx="5179726" cy="68577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auto">
            <a:xfrm rot="10800000">
              <a:off x="5133506" y="0"/>
              <a:ext cx="2091753" cy="6857764"/>
            </a:xfrm>
            <a:prstGeom prst="rect">
              <a:avLst/>
            </a:prstGeom>
            <a:gradFill flip="none" rotWithShape="1">
              <a:gsLst>
                <a:gs pos="0">
                  <a:schemeClr val="tx1">
                    <a:alpha val="0"/>
                  </a:schemeClr>
                </a:gs>
                <a:gs pos="100000">
                  <a:schemeClr val="tx1">
                    <a:shade val="100000"/>
                    <a:satMod val="11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 name="Rectangle 15"/>
          <p:cNvSpPr/>
          <p:nvPr/>
        </p:nvSpPr>
        <p:spPr bwMode="auto">
          <a:xfrm>
            <a:off x="1" y="4626864"/>
            <a:ext cx="12192000" cy="2231136"/>
          </a:xfrm>
          <a:prstGeom prst="rect">
            <a:avLst/>
          </a:prstGeom>
          <a:gradFill>
            <a:gsLst>
              <a:gs pos="75000">
                <a:srgbClr val="000000">
                  <a:alpha val="20000"/>
                </a:srgbClr>
              </a:gs>
              <a:gs pos="0">
                <a:srgbClr val="000000">
                  <a:alpha val="0"/>
                </a:srgbClr>
              </a:gs>
              <a:gs pos="100000">
                <a:srgbClr val="000000">
                  <a:alpha val="4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a:xfrm>
            <a:off x="-38100"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8" name="TextBox 7"/>
          <p:cNvSpPr txBox="1"/>
          <p:nvPr/>
        </p:nvSpPr>
        <p:spPr>
          <a:xfrm>
            <a:off x="434052" y="1216359"/>
            <a:ext cx="3238538" cy="482667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Bot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web service that interacts with users in a conversational format. The Bot Framework is a comprehensive offering that you use to build and deploy high quality Bo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Intent Hand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istens for a specific keyword or phrase to determine what the user is intending to do.</a:t>
            </a:r>
            <a:endParaRPr kumimoji="0" lang="en-US" sz="1200" b="0" i="0" u="none" strike="noStrike" kern="1200" cap="none" spc="-13"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Message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Bot's logic is implemented by composing </a:t>
            </a:r>
            <a:r>
              <a:rPr kumimoji="0" lang="en-US" sz="12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essage handlers</a:t>
            </a: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Each message handler is responsible for handling a category of user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Cognitive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collection of artificial intelligence APIs for </a:t>
            </a:r>
            <a:r>
              <a:rPr kumimoji="0" lang="en-US" sz="1200" b="0" i="1"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emocratizing</a:t>
            </a: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rtificial intelligence spanning vision, speech, language, knowledge, and 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Azure 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search-as-a-service solution that allows developers to incorporate search capabilities into their applications</a:t>
            </a:r>
            <a:endParaRPr kumimoji="0" lang="en-US" sz="12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9" name="TextBox 8"/>
          <p:cNvSpPr txBox="1"/>
          <p:nvPr/>
        </p:nvSpPr>
        <p:spPr>
          <a:xfrm>
            <a:off x="4295184" y="1228720"/>
            <a:ext cx="3294654" cy="496323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err="1">
                <a:ln>
                  <a:noFill/>
                </a:ln>
                <a:solidFill>
                  <a:srgbClr val="FFFFFF"/>
                </a:solidFill>
                <a:effectLst/>
                <a:uLnTx/>
                <a:uFillTx/>
                <a:latin typeface="Segoe UI Light"/>
                <a:ea typeface="+mn-ea"/>
                <a:cs typeface="Segoe UI Light"/>
              </a:rPr>
              <a:t>DocumentDB</a:t>
            </a: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 NoSQL service for highly available, globally distributed apps—take full advantage of SQL and JavaScript over document and key-value data without the hassles of on-premises or virtual machine-based cloud database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Application Insigh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elps to track availability, performance, and success of your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3"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dirty="0">
                <a:ln>
                  <a:noFill/>
                </a:ln>
                <a:solidFill>
                  <a:srgbClr val="FFFFFF"/>
                </a:solidFill>
                <a:effectLst/>
                <a:uLnTx/>
                <a:uFillTx/>
                <a:latin typeface="Segoe UI Light"/>
                <a:ea typeface="+mn-ea"/>
                <a:cs typeface="Segoe UI Light"/>
              </a:rPr>
              <a:t>Teleme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pplication telemetry, such as key performance counters and customer metrics, can provide an up-to-date picture of site health, performance, and user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a:endParaRPr>
          </a:p>
        </p:txBody>
      </p:sp>
      <p:sp>
        <p:nvSpPr>
          <p:cNvPr id="2" name="Title 1"/>
          <p:cNvSpPr>
            <a:spLocks noGrp="1"/>
          </p:cNvSpPr>
          <p:nvPr>
            <p:ph type="title"/>
          </p:nvPr>
        </p:nvSpPr>
        <p:spPr/>
        <p:txBody>
          <a:bodyPr/>
          <a:lstStyle/>
          <a:p>
            <a:r>
              <a:rPr lang="en-US" spc="-40" dirty="0">
                <a:cs typeface="Segoe UI Light"/>
              </a:rPr>
              <a:t>Reference Architecture</a:t>
            </a:r>
          </a:p>
        </p:txBody>
      </p:sp>
    </p:spTree>
    <p:extLst>
      <p:ext uri="{BB962C8B-B14F-4D97-AF65-F5344CB8AC3E}">
        <p14:creationId xmlns:p14="http://schemas.microsoft.com/office/powerpoint/2010/main" val="247289289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66"/>
            <a:ext cx="12192000" cy="6836163"/>
          </a:xfrm>
          <a:prstGeom prst="rect">
            <a:avLst/>
          </a:prstGeom>
        </p:spPr>
      </p:pic>
      <p:sp>
        <p:nvSpPr>
          <p:cNvPr id="4" name="Rectangle 3"/>
          <p:cNvSpPr/>
          <p:nvPr/>
        </p:nvSpPr>
        <p:spPr>
          <a:xfrm>
            <a:off x="-38100" y="0"/>
            <a:ext cx="12230100" cy="6858000"/>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a:xfrm>
            <a:off x="269240" y="289511"/>
            <a:ext cx="7414928" cy="899665"/>
          </a:xfrm>
        </p:spPr>
        <p:txBody>
          <a:bodyPr/>
          <a:lstStyle/>
          <a:p>
            <a:r>
              <a:rPr lang="en-US" dirty="0">
                <a:solidFill>
                  <a:schemeClr val="bg1"/>
                </a:solidFill>
              </a:rPr>
              <a:t>Solution Reference Architecture</a:t>
            </a:r>
          </a:p>
        </p:txBody>
      </p:sp>
      <p:sp>
        <p:nvSpPr>
          <p:cNvPr id="2" name="Slide Number Placeholder 1"/>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176"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Box 8"/>
          <p:cNvSpPr txBox="1"/>
          <p:nvPr/>
        </p:nvSpPr>
        <p:spPr>
          <a:xfrm>
            <a:off x="333011" y="1496905"/>
            <a:ext cx="1272264"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charset="0"/>
                <a:ea typeface="Segoe Pro" charset="0"/>
                <a:cs typeface="Segoe Pro" charset="0"/>
              </a:rPr>
              <a:t>On Premise</a:t>
            </a:r>
          </a:p>
        </p:txBody>
      </p:sp>
      <p:sp>
        <p:nvSpPr>
          <p:cNvPr id="10" name="TextBox 9"/>
          <p:cNvSpPr txBox="1"/>
          <p:nvPr/>
        </p:nvSpPr>
        <p:spPr>
          <a:xfrm>
            <a:off x="1697571" y="1525070"/>
            <a:ext cx="2436591" cy="337306"/>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charset="0"/>
                <a:ea typeface="Segoe Pro" charset="0"/>
                <a:cs typeface="Segoe Pro" charset="0"/>
              </a:rPr>
              <a:t>Microsoft Cloud Services</a:t>
            </a:r>
          </a:p>
        </p:txBody>
      </p:sp>
      <p:cxnSp>
        <p:nvCxnSpPr>
          <p:cNvPr id="11" name="Straight Connector 10"/>
          <p:cNvCxnSpPr/>
          <p:nvPr/>
        </p:nvCxnSpPr>
        <p:spPr>
          <a:xfrm>
            <a:off x="1704009"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auto">
          <a:xfrm>
            <a:off x="408457" y="3291586"/>
            <a:ext cx="1094709" cy="2420077"/>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p:cNvSpPr txBox="1"/>
          <p:nvPr/>
        </p:nvSpPr>
        <p:spPr>
          <a:xfrm>
            <a:off x="360678" y="2964465"/>
            <a:ext cx="1172818" cy="30501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Devices, Sensors, Actuators</a:t>
            </a:r>
          </a:p>
        </p:txBody>
      </p:sp>
      <p:grpSp>
        <p:nvGrpSpPr>
          <p:cNvPr id="25" name="Group 24"/>
          <p:cNvGrpSpPr/>
          <p:nvPr/>
        </p:nvGrpSpPr>
        <p:grpSpPr>
          <a:xfrm>
            <a:off x="6642084" y="4006678"/>
            <a:ext cx="387391" cy="454774"/>
            <a:chOff x="1968596" y="3790350"/>
            <a:chExt cx="335351" cy="393683"/>
          </a:xfrm>
        </p:grpSpPr>
        <p:sp>
          <p:nvSpPr>
            <p:cNvPr id="26" name="Left Bracket 25"/>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Left Bracket 26"/>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2028183" y="3878528"/>
              <a:ext cx="247064" cy="244013"/>
              <a:chOff x="4020820" y="2536426"/>
              <a:chExt cx="1116178" cy="1102393"/>
            </a:xfrm>
          </p:grpSpPr>
          <p:sp>
            <p:nvSpPr>
              <p:cNvPr id="29" name="Rectangle 28"/>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0" name="Rectangle 29"/>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1" name="Rectangle 30"/>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2" name="Rectangle 31"/>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3" name="Rectangle 32"/>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 name="Rectangle 33"/>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grpSp>
        <p:nvGrpSpPr>
          <p:cNvPr id="37" name="Group 36"/>
          <p:cNvGrpSpPr/>
          <p:nvPr/>
        </p:nvGrpSpPr>
        <p:grpSpPr>
          <a:xfrm>
            <a:off x="4141501" y="3393309"/>
            <a:ext cx="633076" cy="578021"/>
            <a:chOff x="4138212" y="2416951"/>
            <a:chExt cx="410499" cy="374800"/>
          </a:xfrm>
        </p:grpSpPr>
        <p:pic>
          <p:nvPicPr>
            <p:cNvPr id="36" name="Picture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73911" y="2416951"/>
              <a:ext cx="374800" cy="374800"/>
            </a:xfrm>
            <a:prstGeom prst="rect">
              <a:avLst/>
            </a:prstGeom>
          </p:spPr>
        </p:pic>
        <p:sp>
          <p:nvSpPr>
            <p:cNvPr id="17" name="Left Bracket 16"/>
            <p:cNvSpPr/>
            <p:nvPr/>
          </p:nvSpPr>
          <p:spPr>
            <a:xfrm rot="5400000" flipV="1">
              <a:off x="4361758" y="241650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Left Bracket 16"/>
            <p:cNvSpPr/>
            <p:nvPr/>
          </p:nvSpPr>
          <p:spPr>
            <a:xfrm rot="16200000" flipV="1">
              <a:off x="4138659" y="263725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8" name="Group 37"/>
          <p:cNvGrpSpPr/>
          <p:nvPr/>
        </p:nvGrpSpPr>
        <p:grpSpPr>
          <a:xfrm>
            <a:off x="5031294" y="3962689"/>
            <a:ext cx="769157" cy="748110"/>
            <a:chOff x="2383968" y="3896012"/>
            <a:chExt cx="769157" cy="748110"/>
          </a:xfrm>
        </p:grpSpPr>
        <p:grpSp>
          <p:nvGrpSpPr>
            <p:cNvPr id="39" name="Group 38"/>
            <p:cNvGrpSpPr/>
            <p:nvPr/>
          </p:nvGrpSpPr>
          <p:grpSpPr>
            <a:xfrm rot="1141916">
              <a:off x="2470483" y="3896012"/>
              <a:ext cx="624947" cy="440033"/>
              <a:chOff x="-1246065" y="3506417"/>
              <a:chExt cx="540995" cy="380921"/>
            </a:xfrm>
          </p:grpSpPr>
          <p:sp>
            <p:nvSpPr>
              <p:cNvPr id="41" name="Arrow: Pentagon 40"/>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2"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43"/>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 name="Oval 44"/>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40" name="TextBox 39"/>
            <p:cNvSpPr txBox="1"/>
            <p:nvPr/>
          </p:nvSpPr>
          <p:spPr>
            <a:xfrm>
              <a:off x="2383968" y="4380973"/>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ream Analytics</a:t>
              </a:r>
            </a:p>
          </p:txBody>
        </p:sp>
      </p:grpSp>
      <p:sp>
        <p:nvSpPr>
          <p:cNvPr id="51" name="Freeform 82"/>
          <p:cNvSpPr>
            <a:spLocks noEditPoints="1"/>
          </p:cNvSpPr>
          <p:nvPr/>
        </p:nvSpPr>
        <p:spPr bwMode="auto">
          <a:xfrm>
            <a:off x="7905778" y="3889871"/>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58" name="Group 57"/>
          <p:cNvGrpSpPr/>
          <p:nvPr/>
        </p:nvGrpSpPr>
        <p:grpSpPr>
          <a:xfrm>
            <a:off x="7724521" y="1706200"/>
            <a:ext cx="819821" cy="965692"/>
            <a:chOff x="2081124" y="2296666"/>
            <a:chExt cx="819821" cy="965692"/>
          </a:xfrm>
        </p:grpSpPr>
        <p:sp>
          <p:nvSpPr>
            <p:cNvPr id="59" name="Freeform 69"/>
            <p:cNvSpPr>
              <a:spLocks noEditPoints="1"/>
            </p:cNvSpPr>
            <p:nvPr/>
          </p:nvSpPr>
          <p:spPr bwMode="auto">
            <a:xfrm>
              <a:off x="2211822" y="2296666"/>
              <a:ext cx="503615" cy="503345"/>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TextBox 59"/>
            <p:cNvSpPr txBox="1"/>
            <p:nvPr/>
          </p:nvSpPr>
          <p:spPr>
            <a:xfrm>
              <a:off x="2081124" y="2867635"/>
              <a:ext cx="819821" cy="39472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 </a:t>
              </a: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MobileApp</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Service)</a:t>
              </a:r>
            </a:p>
          </p:txBody>
        </p:sp>
      </p:grpSp>
      <p:sp>
        <p:nvSpPr>
          <p:cNvPr id="64" name="Freeform 5"/>
          <p:cNvSpPr>
            <a:spLocks noEditPoints="1"/>
          </p:cNvSpPr>
          <p:nvPr/>
        </p:nvSpPr>
        <p:spPr bwMode="auto">
          <a:xfrm>
            <a:off x="9307087" y="3953180"/>
            <a:ext cx="528371" cy="526288"/>
          </a:xfrm>
          <a:custGeom>
            <a:avLst/>
            <a:gdLst>
              <a:gd name="T0" fmla="*/ 303 w 503"/>
              <a:gd name="T1" fmla="*/ 330 h 501"/>
              <a:gd name="T2" fmla="*/ 234 w 503"/>
              <a:gd name="T3" fmla="*/ 364 h 501"/>
              <a:gd name="T4" fmla="*/ 256 w 503"/>
              <a:gd name="T5" fmla="*/ 423 h 501"/>
              <a:gd name="T6" fmla="*/ 300 w 503"/>
              <a:gd name="T7" fmla="*/ 380 h 501"/>
              <a:gd name="T8" fmla="*/ 270 w 503"/>
              <a:gd name="T9" fmla="*/ 204 h 501"/>
              <a:gd name="T10" fmla="*/ 289 w 503"/>
              <a:gd name="T11" fmla="*/ 250 h 501"/>
              <a:gd name="T12" fmla="*/ 251 w 503"/>
              <a:gd name="T13" fmla="*/ 212 h 501"/>
              <a:gd name="T14" fmla="*/ 149 w 503"/>
              <a:gd name="T15" fmla="*/ 189 h 501"/>
              <a:gd name="T16" fmla="*/ 77 w 503"/>
              <a:gd name="T17" fmla="*/ 245 h 501"/>
              <a:gd name="T18" fmla="*/ 136 w 503"/>
              <a:gd name="T19" fmla="*/ 266 h 501"/>
              <a:gd name="T20" fmla="*/ 138 w 503"/>
              <a:gd name="T21" fmla="*/ 265 h 501"/>
              <a:gd name="T22" fmla="*/ 172 w 503"/>
              <a:gd name="T23" fmla="*/ 196 h 501"/>
              <a:gd name="T24" fmla="*/ 149 w 503"/>
              <a:gd name="T25" fmla="*/ 189 h 501"/>
              <a:gd name="T26" fmla="*/ 342 w 503"/>
              <a:gd name="T27" fmla="*/ 159 h 501"/>
              <a:gd name="T28" fmla="*/ 304 w 503"/>
              <a:gd name="T29" fmla="*/ 196 h 501"/>
              <a:gd name="T30" fmla="*/ 323 w 503"/>
              <a:gd name="T31" fmla="*/ 151 h 501"/>
              <a:gd name="T32" fmla="*/ 395 w 503"/>
              <a:gd name="T33" fmla="*/ 106 h 501"/>
              <a:gd name="T34" fmla="*/ 358 w 503"/>
              <a:gd name="T35" fmla="*/ 143 h 501"/>
              <a:gd name="T36" fmla="*/ 376 w 503"/>
              <a:gd name="T37" fmla="*/ 98 h 501"/>
              <a:gd name="T38" fmla="*/ 284 w 503"/>
              <a:gd name="T39" fmla="*/ 104 h 501"/>
              <a:gd name="T40" fmla="*/ 147 w 503"/>
              <a:gd name="T41" fmla="*/ 326 h 501"/>
              <a:gd name="T42" fmla="*/ 395 w 503"/>
              <a:gd name="T43" fmla="*/ 219 h 501"/>
              <a:gd name="T44" fmla="*/ 469 w 503"/>
              <a:gd name="T45" fmla="*/ 32 h 501"/>
              <a:gd name="T46" fmla="*/ 486 w 503"/>
              <a:gd name="T47" fmla="*/ 0 h 501"/>
              <a:gd name="T48" fmla="*/ 501 w 503"/>
              <a:gd name="T49" fmla="*/ 15 h 501"/>
              <a:gd name="T50" fmla="*/ 420 w 503"/>
              <a:gd name="T51" fmla="*/ 238 h 501"/>
              <a:gd name="T52" fmla="*/ 332 w 503"/>
              <a:gd name="T53" fmla="*/ 313 h 501"/>
              <a:gd name="T54" fmla="*/ 322 w 503"/>
              <a:gd name="T55" fmla="*/ 402 h 501"/>
              <a:gd name="T56" fmla="*/ 225 w 503"/>
              <a:gd name="T57" fmla="*/ 499 h 501"/>
              <a:gd name="T58" fmla="*/ 223 w 503"/>
              <a:gd name="T59" fmla="*/ 501 h 501"/>
              <a:gd name="T60" fmla="*/ 201 w 503"/>
              <a:gd name="T61" fmla="*/ 478 h 501"/>
              <a:gd name="T62" fmla="*/ 205 w 503"/>
              <a:gd name="T63" fmla="*/ 474 h 501"/>
              <a:gd name="T64" fmla="*/ 203 w 503"/>
              <a:gd name="T65" fmla="*/ 377 h 501"/>
              <a:gd name="T66" fmla="*/ 176 w 503"/>
              <a:gd name="T67" fmla="*/ 387 h 501"/>
              <a:gd name="T68" fmla="*/ 110 w 503"/>
              <a:gd name="T69" fmla="*/ 334 h 501"/>
              <a:gd name="T70" fmla="*/ 124 w 503"/>
              <a:gd name="T71" fmla="*/ 299 h 501"/>
              <a:gd name="T72" fmla="*/ 121 w 503"/>
              <a:gd name="T73" fmla="*/ 295 h 501"/>
              <a:gd name="T74" fmla="*/ 25 w 503"/>
              <a:gd name="T75" fmla="*/ 297 h 501"/>
              <a:gd name="T76" fmla="*/ 18 w 503"/>
              <a:gd name="T77" fmla="*/ 295 h 501"/>
              <a:gd name="T78" fmla="*/ 2 w 503"/>
              <a:gd name="T79" fmla="*/ 276 h 501"/>
              <a:gd name="T80" fmla="*/ 99 w 503"/>
              <a:gd name="T81" fmla="*/ 179 h 501"/>
              <a:gd name="T82" fmla="*/ 188 w 503"/>
              <a:gd name="T83" fmla="*/ 168 h 501"/>
              <a:gd name="T84" fmla="*/ 189 w 503"/>
              <a:gd name="T85" fmla="*/ 166 h 501"/>
              <a:gd name="T86" fmla="*/ 264 w 503"/>
              <a:gd name="T87" fmla="*/ 79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3" h="501">
                <a:moveTo>
                  <a:pt x="305" y="329"/>
                </a:moveTo>
                <a:cubicBezTo>
                  <a:pt x="303" y="330"/>
                  <a:pt x="303" y="330"/>
                  <a:pt x="303" y="330"/>
                </a:cubicBezTo>
                <a:cubicBezTo>
                  <a:pt x="282" y="342"/>
                  <a:pt x="260" y="353"/>
                  <a:pt x="236" y="363"/>
                </a:cubicBezTo>
                <a:cubicBezTo>
                  <a:pt x="234" y="364"/>
                  <a:pt x="234" y="364"/>
                  <a:pt x="234" y="364"/>
                </a:cubicBezTo>
                <a:cubicBezTo>
                  <a:pt x="235" y="365"/>
                  <a:pt x="235" y="365"/>
                  <a:pt x="235" y="365"/>
                </a:cubicBezTo>
                <a:cubicBezTo>
                  <a:pt x="248" y="382"/>
                  <a:pt x="255" y="402"/>
                  <a:pt x="256" y="423"/>
                </a:cubicBezTo>
                <a:cubicBezTo>
                  <a:pt x="256" y="424"/>
                  <a:pt x="256" y="424"/>
                  <a:pt x="256" y="424"/>
                </a:cubicBezTo>
                <a:cubicBezTo>
                  <a:pt x="300" y="380"/>
                  <a:pt x="300" y="380"/>
                  <a:pt x="300" y="380"/>
                </a:cubicBezTo>
                <a:cubicBezTo>
                  <a:pt x="314" y="366"/>
                  <a:pt x="316" y="344"/>
                  <a:pt x="305" y="329"/>
                </a:cubicBezTo>
                <a:close/>
                <a:moveTo>
                  <a:pt x="270" y="204"/>
                </a:moveTo>
                <a:cubicBezTo>
                  <a:pt x="277" y="204"/>
                  <a:pt x="284" y="207"/>
                  <a:pt x="289" y="212"/>
                </a:cubicBezTo>
                <a:cubicBezTo>
                  <a:pt x="299" y="222"/>
                  <a:pt x="299" y="239"/>
                  <a:pt x="289" y="250"/>
                </a:cubicBezTo>
                <a:cubicBezTo>
                  <a:pt x="278" y="260"/>
                  <a:pt x="262" y="260"/>
                  <a:pt x="251" y="250"/>
                </a:cubicBezTo>
                <a:cubicBezTo>
                  <a:pt x="241" y="239"/>
                  <a:pt x="241" y="222"/>
                  <a:pt x="251" y="212"/>
                </a:cubicBezTo>
                <a:cubicBezTo>
                  <a:pt x="256" y="207"/>
                  <a:pt x="263" y="204"/>
                  <a:pt x="270" y="204"/>
                </a:cubicBezTo>
                <a:close/>
                <a:moveTo>
                  <a:pt x="149" y="189"/>
                </a:moveTo>
                <a:cubicBezTo>
                  <a:pt x="139" y="189"/>
                  <a:pt x="129" y="193"/>
                  <a:pt x="121" y="201"/>
                </a:cubicBezTo>
                <a:cubicBezTo>
                  <a:pt x="77" y="245"/>
                  <a:pt x="77" y="245"/>
                  <a:pt x="77" y="245"/>
                </a:cubicBezTo>
                <a:cubicBezTo>
                  <a:pt x="78" y="245"/>
                  <a:pt x="78" y="245"/>
                  <a:pt x="78" y="245"/>
                </a:cubicBezTo>
                <a:cubicBezTo>
                  <a:pt x="99" y="246"/>
                  <a:pt x="119" y="253"/>
                  <a:pt x="136" y="266"/>
                </a:cubicBezTo>
                <a:cubicBezTo>
                  <a:pt x="137" y="267"/>
                  <a:pt x="137" y="267"/>
                  <a:pt x="137" y="267"/>
                </a:cubicBezTo>
                <a:cubicBezTo>
                  <a:pt x="138" y="265"/>
                  <a:pt x="138" y="265"/>
                  <a:pt x="138" y="265"/>
                </a:cubicBezTo>
                <a:cubicBezTo>
                  <a:pt x="148" y="241"/>
                  <a:pt x="159" y="218"/>
                  <a:pt x="171" y="198"/>
                </a:cubicBezTo>
                <a:cubicBezTo>
                  <a:pt x="172" y="196"/>
                  <a:pt x="172" y="196"/>
                  <a:pt x="172" y="196"/>
                </a:cubicBezTo>
                <a:cubicBezTo>
                  <a:pt x="170" y="195"/>
                  <a:pt x="170" y="195"/>
                  <a:pt x="170" y="195"/>
                </a:cubicBezTo>
                <a:cubicBezTo>
                  <a:pt x="164" y="191"/>
                  <a:pt x="157" y="189"/>
                  <a:pt x="149" y="189"/>
                </a:cubicBezTo>
                <a:close/>
                <a:moveTo>
                  <a:pt x="323" y="151"/>
                </a:moveTo>
                <a:cubicBezTo>
                  <a:pt x="330" y="151"/>
                  <a:pt x="337" y="154"/>
                  <a:pt x="342" y="159"/>
                </a:cubicBezTo>
                <a:cubicBezTo>
                  <a:pt x="352" y="169"/>
                  <a:pt x="352" y="186"/>
                  <a:pt x="342" y="196"/>
                </a:cubicBezTo>
                <a:cubicBezTo>
                  <a:pt x="332" y="207"/>
                  <a:pt x="315" y="207"/>
                  <a:pt x="304" y="196"/>
                </a:cubicBezTo>
                <a:cubicBezTo>
                  <a:pt x="294" y="186"/>
                  <a:pt x="294" y="169"/>
                  <a:pt x="304" y="159"/>
                </a:cubicBezTo>
                <a:cubicBezTo>
                  <a:pt x="310" y="154"/>
                  <a:pt x="316" y="151"/>
                  <a:pt x="323" y="151"/>
                </a:cubicBezTo>
                <a:close/>
                <a:moveTo>
                  <a:pt x="376" y="98"/>
                </a:moveTo>
                <a:cubicBezTo>
                  <a:pt x="383" y="98"/>
                  <a:pt x="390" y="100"/>
                  <a:pt x="395" y="106"/>
                </a:cubicBezTo>
                <a:cubicBezTo>
                  <a:pt x="406" y="116"/>
                  <a:pt x="406" y="133"/>
                  <a:pt x="395" y="143"/>
                </a:cubicBezTo>
                <a:cubicBezTo>
                  <a:pt x="385" y="154"/>
                  <a:pt x="368" y="154"/>
                  <a:pt x="358" y="143"/>
                </a:cubicBezTo>
                <a:cubicBezTo>
                  <a:pt x="347" y="133"/>
                  <a:pt x="347" y="116"/>
                  <a:pt x="358" y="106"/>
                </a:cubicBezTo>
                <a:cubicBezTo>
                  <a:pt x="363" y="100"/>
                  <a:pt x="370" y="98"/>
                  <a:pt x="376" y="98"/>
                </a:cubicBezTo>
                <a:close/>
                <a:moveTo>
                  <a:pt x="469" y="32"/>
                </a:moveTo>
                <a:cubicBezTo>
                  <a:pt x="436" y="35"/>
                  <a:pt x="356" y="47"/>
                  <a:pt x="284" y="104"/>
                </a:cubicBezTo>
                <a:cubicBezTo>
                  <a:pt x="283" y="104"/>
                  <a:pt x="282" y="105"/>
                  <a:pt x="281" y="106"/>
                </a:cubicBezTo>
                <a:cubicBezTo>
                  <a:pt x="236" y="140"/>
                  <a:pt x="187" y="221"/>
                  <a:pt x="147" y="326"/>
                </a:cubicBezTo>
                <a:cubicBezTo>
                  <a:pt x="174" y="354"/>
                  <a:pt x="174" y="354"/>
                  <a:pt x="174" y="354"/>
                </a:cubicBezTo>
                <a:cubicBezTo>
                  <a:pt x="280" y="314"/>
                  <a:pt x="360" y="265"/>
                  <a:pt x="395" y="219"/>
                </a:cubicBezTo>
                <a:cubicBezTo>
                  <a:pt x="396" y="219"/>
                  <a:pt x="396" y="218"/>
                  <a:pt x="397" y="217"/>
                </a:cubicBezTo>
                <a:cubicBezTo>
                  <a:pt x="454" y="145"/>
                  <a:pt x="466" y="65"/>
                  <a:pt x="469" y="32"/>
                </a:cubicBezTo>
                <a:close/>
                <a:moveTo>
                  <a:pt x="484" y="0"/>
                </a:moveTo>
                <a:cubicBezTo>
                  <a:pt x="485" y="0"/>
                  <a:pt x="485" y="0"/>
                  <a:pt x="486" y="0"/>
                </a:cubicBezTo>
                <a:cubicBezTo>
                  <a:pt x="501" y="0"/>
                  <a:pt x="501" y="0"/>
                  <a:pt x="501" y="0"/>
                </a:cubicBezTo>
                <a:cubicBezTo>
                  <a:pt x="501" y="15"/>
                  <a:pt x="501" y="15"/>
                  <a:pt x="501" y="15"/>
                </a:cubicBezTo>
                <a:cubicBezTo>
                  <a:pt x="501" y="20"/>
                  <a:pt x="503" y="133"/>
                  <a:pt x="422" y="237"/>
                </a:cubicBezTo>
                <a:cubicBezTo>
                  <a:pt x="420" y="238"/>
                  <a:pt x="420" y="238"/>
                  <a:pt x="420" y="238"/>
                </a:cubicBezTo>
                <a:cubicBezTo>
                  <a:pt x="402" y="263"/>
                  <a:pt x="373" y="288"/>
                  <a:pt x="335" y="311"/>
                </a:cubicBezTo>
                <a:cubicBezTo>
                  <a:pt x="332" y="313"/>
                  <a:pt x="332" y="313"/>
                  <a:pt x="332" y="313"/>
                </a:cubicBezTo>
                <a:cubicBezTo>
                  <a:pt x="333" y="313"/>
                  <a:pt x="333" y="313"/>
                  <a:pt x="333" y="313"/>
                </a:cubicBezTo>
                <a:cubicBezTo>
                  <a:pt x="350" y="340"/>
                  <a:pt x="347" y="378"/>
                  <a:pt x="322" y="402"/>
                </a:cubicBezTo>
                <a:cubicBezTo>
                  <a:pt x="226" y="498"/>
                  <a:pt x="226" y="498"/>
                  <a:pt x="226" y="498"/>
                </a:cubicBezTo>
                <a:cubicBezTo>
                  <a:pt x="225" y="499"/>
                  <a:pt x="225" y="499"/>
                  <a:pt x="225" y="499"/>
                </a:cubicBezTo>
                <a:cubicBezTo>
                  <a:pt x="223" y="501"/>
                  <a:pt x="223" y="501"/>
                  <a:pt x="223" y="501"/>
                </a:cubicBezTo>
                <a:cubicBezTo>
                  <a:pt x="223" y="501"/>
                  <a:pt x="223" y="501"/>
                  <a:pt x="223" y="501"/>
                </a:cubicBezTo>
                <a:cubicBezTo>
                  <a:pt x="223" y="501"/>
                  <a:pt x="223" y="501"/>
                  <a:pt x="223" y="501"/>
                </a:cubicBezTo>
                <a:cubicBezTo>
                  <a:pt x="201" y="478"/>
                  <a:pt x="201" y="478"/>
                  <a:pt x="201" y="478"/>
                </a:cubicBezTo>
                <a:cubicBezTo>
                  <a:pt x="203" y="476"/>
                  <a:pt x="203" y="476"/>
                  <a:pt x="203" y="476"/>
                </a:cubicBezTo>
                <a:cubicBezTo>
                  <a:pt x="205" y="474"/>
                  <a:pt x="205" y="474"/>
                  <a:pt x="205" y="474"/>
                </a:cubicBezTo>
                <a:cubicBezTo>
                  <a:pt x="231" y="446"/>
                  <a:pt x="231" y="405"/>
                  <a:pt x="206" y="380"/>
                </a:cubicBezTo>
                <a:cubicBezTo>
                  <a:pt x="203" y="377"/>
                  <a:pt x="203" y="377"/>
                  <a:pt x="203" y="377"/>
                </a:cubicBezTo>
                <a:cubicBezTo>
                  <a:pt x="202" y="377"/>
                  <a:pt x="202" y="377"/>
                  <a:pt x="202" y="377"/>
                </a:cubicBezTo>
                <a:cubicBezTo>
                  <a:pt x="194" y="381"/>
                  <a:pt x="185" y="384"/>
                  <a:pt x="176" y="387"/>
                </a:cubicBezTo>
                <a:cubicBezTo>
                  <a:pt x="166" y="391"/>
                  <a:pt x="166" y="391"/>
                  <a:pt x="166" y="391"/>
                </a:cubicBezTo>
                <a:cubicBezTo>
                  <a:pt x="110" y="334"/>
                  <a:pt x="110" y="334"/>
                  <a:pt x="110" y="334"/>
                </a:cubicBezTo>
                <a:cubicBezTo>
                  <a:pt x="114" y="325"/>
                  <a:pt x="114" y="325"/>
                  <a:pt x="114" y="325"/>
                </a:cubicBezTo>
                <a:cubicBezTo>
                  <a:pt x="117" y="316"/>
                  <a:pt x="120" y="307"/>
                  <a:pt x="124" y="299"/>
                </a:cubicBezTo>
                <a:cubicBezTo>
                  <a:pt x="124" y="298"/>
                  <a:pt x="124" y="298"/>
                  <a:pt x="124" y="298"/>
                </a:cubicBezTo>
                <a:cubicBezTo>
                  <a:pt x="121" y="295"/>
                  <a:pt x="121" y="295"/>
                  <a:pt x="121" y="295"/>
                </a:cubicBezTo>
                <a:cubicBezTo>
                  <a:pt x="96" y="270"/>
                  <a:pt x="54" y="270"/>
                  <a:pt x="27" y="295"/>
                </a:cubicBezTo>
                <a:cubicBezTo>
                  <a:pt x="25" y="297"/>
                  <a:pt x="25" y="297"/>
                  <a:pt x="25" y="297"/>
                </a:cubicBezTo>
                <a:cubicBezTo>
                  <a:pt x="22" y="300"/>
                  <a:pt x="22" y="300"/>
                  <a:pt x="22" y="300"/>
                </a:cubicBezTo>
                <a:cubicBezTo>
                  <a:pt x="18" y="295"/>
                  <a:pt x="18" y="295"/>
                  <a:pt x="18" y="295"/>
                </a:cubicBezTo>
                <a:cubicBezTo>
                  <a:pt x="0" y="277"/>
                  <a:pt x="0" y="277"/>
                  <a:pt x="0" y="277"/>
                </a:cubicBezTo>
                <a:cubicBezTo>
                  <a:pt x="2" y="276"/>
                  <a:pt x="2" y="276"/>
                  <a:pt x="2" y="276"/>
                </a:cubicBezTo>
                <a:cubicBezTo>
                  <a:pt x="3" y="275"/>
                  <a:pt x="3" y="275"/>
                  <a:pt x="3" y="275"/>
                </a:cubicBezTo>
                <a:cubicBezTo>
                  <a:pt x="99" y="179"/>
                  <a:pt x="99" y="179"/>
                  <a:pt x="99" y="179"/>
                </a:cubicBezTo>
                <a:cubicBezTo>
                  <a:pt x="112" y="165"/>
                  <a:pt x="130" y="158"/>
                  <a:pt x="149" y="157"/>
                </a:cubicBezTo>
                <a:cubicBezTo>
                  <a:pt x="163" y="157"/>
                  <a:pt x="176" y="161"/>
                  <a:pt x="188" y="168"/>
                </a:cubicBezTo>
                <a:cubicBezTo>
                  <a:pt x="188" y="168"/>
                  <a:pt x="188" y="168"/>
                  <a:pt x="188" y="168"/>
                </a:cubicBezTo>
                <a:cubicBezTo>
                  <a:pt x="189" y="166"/>
                  <a:pt x="189" y="166"/>
                  <a:pt x="189" y="166"/>
                </a:cubicBezTo>
                <a:cubicBezTo>
                  <a:pt x="213" y="128"/>
                  <a:pt x="238" y="99"/>
                  <a:pt x="262" y="81"/>
                </a:cubicBezTo>
                <a:cubicBezTo>
                  <a:pt x="264" y="79"/>
                  <a:pt x="264" y="79"/>
                  <a:pt x="264" y="79"/>
                </a:cubicBezTo>
                <a:cubicBezTo>
                  <a:pt x="361" y="3"/>
                  <a:pt x="467" y="0"/>
                  <a:pt x="48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85" name="Group 84"/>
          <p:cNvGrpSpPr/>
          <p:nvPr/>
        </p:nvGrpSpPr>
        <p:grpSpPr>
          <a:xfrm>
            <a:off x="557293" y="3651414"/>
            <a:ext cx="300377" cy="1882993"/>
            <a:chOff x="1786151" y="1343921"/>
            <a:chExt cx="300377" cy="1882993"/>
          </a:xfrm>
        </p:grpSpPr>
        <p:pic>
          <p:nvPicPr>
            <p:cNvPr id="80" name="Picture 79"/>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1739575"/>
              <a:ext cx="300377" cy="300377"/>
            </a:xfrm>
            <a:prstGeom prst="rect">
              <a:avLst/>
            </a:prstGeom>
          </p:spPr>
        </p:pic>
        <p:pic>
          <p:nvPicPr>
            <p:cNvPr id="81" name="Picture 80"/>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135229"/>
              <a:ext cx="300377" cy="300377"/>
            </a:xfrm>
            <a:prstGeom prst="rect">
              <a:avLst/>
            </a:prstGeom>
          </p:spPr>
        </p:pic>
        <p:pic>
          <p:nvPicPr>
            <p:cNvPr id="82" name="Picture 81"/>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530883"/>
              <a:ext cx="300377" cy="300377"/>
            </a:xfrm>
            <a:prstGeom prst="rect">
              <a:avLst/>
            </a:prstGeom>
          </p:spPr>
        </p:pic>
        <p:pic>
          <p:nvPicPr>
            <p:cNvPr id="83" name="Picture 82"/>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2926537"/>
              <a:ext cx="300377" cy="300377"/>
            </a:xfrm>
            <a:prstGeom prst="rect">
              <a:avLst/>
            </a:prstGeom>
          </p:spPr>
        </p:pic>
        <p:pic>
          <p:nvPicPr>
            <p:cNvPr id="84" name="Picture 83"/>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1786151" y="1343921"/>
              <a:ext cx="300377" cy="300377"/>
            </a:xfrm>
            <a:prstGeom prst="rect">
              <a:avLst/>
            </a:prstGeom>
          </p:spPr>
        </p:pic>
      </p:grpSp>
      <p:pic>
        <p:nvPicPr>
          <p:cNvPr id="86" name="Picture 85"/>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98162" y="4453617"/>
            <a:ext cx="336186" cy="336186"/>
          </a:xfrm>
          <a:prstGeom prst="rect">
            <a:avLst/>
          </a:prstGeom>
        </p:spPr>
      </p:pic>
      <p:sp>
        <p:nvSpPr>
          <p:cNvPr id="98" name="TextBox 97"/>
          <p:cNvSpPr txBox="1"/>
          <p:nvPr/>
        </p:nvSpPr>
        <p:spPr>
          <a:xfrm>
            <a:off x="4114664" y="4087975"/>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Hub</a:t>
            </a:r>
          </a:p>
        </p:txBody>
      </p:sp>
      <p:sp>
        <p:nvSpPr>
          <p:cNvPr id="99" name="TextBox 98"/>
          <p:cNvSpPr txBox="1"/>
          <p:nvPr/>
        </p:nvSpPr>
        <p:spPr>
          <a:xfrm>
            <a:off x="6257435" y="4569213"/>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Event Hub</a:t>
            </a:r>
          </a:p>
        </p:txBody>
      </p:sp>
      <p:grpSp>
        <p:nvGrpSpPr>
          <p:cNvPr id="152" name="Group 151"/>
          <p:cNvGrpSpPr/>
          <p:nvPr/>
        </p:nvGrpSpPr>
        <p:grpSpPr>
          <a:xfrm>
            <a:off x="6386585" y="2909016"/>
            <a:ext cx="599143" cy="696872"/>
            <a:chOff x="7660703" y="2811089"/>
            <a:chExt cx="708593" cy="824175"/>
          </a:xfrm>
        </p:grpSpPr>
        <p:grpSp>
          <p:nvGrpSpPr>
            <p:cNvPr id="46" name="Group 45"/>
            <p:cNvGrpSpPr/>
            <p:nvPr/>
          </p:nvGrpSpPr>
          <p:grpSpPr>
            <a:xfrm>
              <a:off x="7719310" y="2811089"/>
              <a:ext cx="587487" cy="506454"/>
              <a:chOff x="4535184" y="4753986"/>
              <a:chExt cx="508567" cy="438420"/>
            </a:xfrm>
          </p:grpSpPr>
          <p:sp>
            <p:nvSpPr>
              <p:cNvPr id="47" name="Hexagon 46"/>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48" name="Group 47"/>
              <p:cNvGrpSpPr/>
              <p:nvPr/>
            </p:nvGrpSpPr>
            <p:grpSpPr>
              <a:xfrm>
                <a:off x="4597600" y="4844315"/>
                <a:ext cx="383610" cy="279642"/>
                <a:chOff x="4604634" y="4851349"/>
                <a:chExt cx="383610" cy="279642"/>
              </a:xfrm>
            </p:grpSpPr>
            <p:sp>
              <p:nvSpPr>
                <p:cNvPr id="49" name="TextBox 48"/>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01</a:t>
                  </a:r>
                </a:p>
              </p:txBody>
            </p:sp>
            <p:sp>
              <p:nvSpPr>
                <p:cNvPr id="50"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0" name="TextBox 99"/>
            <p:cNvSpPr txBox="1"/>
            <p:nvPr/>
          </p:nvSpPr>
          <p:spPr>
            <a:xfrm>
              <a:off x="7660703" y="3383852"/>
              <a:ext cx="708593" cy="25141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grpSp>
      <p:grpSp>
        <p:nvGrpSpPr>
          <p:cNvPr id="151" name="Group 150"/>
          <p:cNvGrpSpPr/>
          <p:nvPr/>
        </p:nvGrpSpPr>
        <p:grpSpPr>
          <a:xfrm>
            <a:off x="6904907" y="2958615"/>
            <a:ext cx="763418" cy="780232"/>
            <a:chOff x="7653891" y="2337975"/>
            <a:chExt cx="763418" cy="780232"/>
          </a:xfrm>
        </p:grpSpPr>
        <p:grpSp>
          <p:nvGrpSpPr>
            <p:cNvPr id="72" name="Group 71"/>
            <p:cNvGrpSpPr/>
            <p:nvPr/>
          </p:nvGrpSpPr>
          <p:grpSpPr>
            <a:xfrm>
              <a:off x="7846383" y="2337975"/>
              <a:ext cx="434764" cy="388337"/>
              <a:chOff x="7846383" y="2337975"/>
              <a:chExt cx="434764" cy="388337"/>
            </a:xfrm>
          </p:grpSpPr>
          <p:sp>
            <p:nvSpPr>
              <p:cNvPr id="66" name="Hexagon 65"/>
              <p:cNvSpPr/>
              <p:nvPr/>
            </p:nvSpPr>
            <p:spPr bwMode="auto">
              <a:xfrm>
                <a:off x="8072191" y="2546177"/>
                <a:ext cx="208956" cy="180135"/>
              </a:xfrm>
              <a:prstGeom prst="hexagon">
                <a:avLst/>
              </a:prstGeom>
              <a:solidFill>
                <a:schemeClr val="bg1"/>
              </a:solidFill>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pic>
            <p:nvPicPr>
              <p:cNvPr id="70" name="Picture 69"/>
              <p:cNvPicPr>
                <a:picLocks noChangeAspect="1"/>
              </p:cNvPicPr>
              <p:nvPr/>
            </p:nvPicPr>
            <p:blipFill>
              <a:blip r:embed="rId7" cstate="screen">
                <a:lum bright="100000" contrast="100000"/>
                <a:extLst>
                  <a:ext uri="{28A0092B-C50C-407E-A947-70E740481C1C}">
                    <a14:useLocalDpi xmlns:a14="http://schemas.microsoft.com/office/drawing/2010/main"/>
                  </a:ext>
                </a:extLst>
              </a:blip>
              <a:stretch>
                <a:fillRect/>
              </a:stretch>
            </p:blipFill>
            <p:spPr>
              <a:xfrm>
                <a:off x="7846383" y="2337975"/>
                <a:ext cx="349051" cy="327506"/>
              </a:xfrm>
              <a:prstGeom prst="rect">
                <a:avLst/>
              </a:prstGeom>
            </p:spPr>
          </p:pic>
        </p:grpSp>
        <p:sp>
          <p:nvSpPr>
            <p:cNvPr id="101" name="TextBox 100"/>
            <p:cNvSpPr txBox="1"/>
            <p:nvPr/>
          </p:nvSpPr>
          <p:spPr>
            <a:xfrm>
              <a:off x="7653891" y="2779761"/>
              <a:ext cx="763418" cy="338446"/>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Storage (Azure)</a:t>
              </a:r>
            </a:p>
          </p:txBody>
        </p:sp>
      </p:grpSp>
      <p:grpSp>
        <p:nvGrpSpPr>
          <p:cNvPr id="150" name="Group 149"/>
          <p:cNvGrpSpPr/>
          <p:nvPr/>
        </p:nvGrpSpPr>
        <p:grpSpPr>
          <a:xfrm>
            <a:off x="5642970" y="2950130"/>
            <a:ext cx="803264" cy="688041"/>
            <a:chOff x="5607844" y="2051585"/>
            <a:chExt cx="1010102" cy="865209"/>
          </a:xfrm>
        </p:grpSpPr>
        <p:sp>
          <p:nvSpPr>
            <p:cNvPr id="76" name="Freeform 9"/>
            <p:cNvSpPr>
              <a:spLocks noEditPoints="1"/>
            </p:cNvSpPr>
            <p:nvPr/>
          </p:nvSpPr>
          <p:spPr bwMode="auto">
            <a:xfrm>
              <a:off x="5838148" y="2051585"/>
              <a:ext cx="586460" cy="458969"/>
            </a:xfrm>
            <a:custGeom>
              <a:avLst/>
              <a:gdLst>
                <a:gd name="T0" fmla="*/ 112 w 792"/>
                <a:gd name="T1" fmla="*/ 198 h 619"/>
                <a:gd name="T2" fmla="*/ 211 w 792"/>
                <a:gd name="T3" fmla="*/ 198 h 619"/>
                <a:gd name="T4" fmla="*/ 236 w 792"/>
                <a:gd name="T5" fmla="*/ 223 h 619"/>
                <a:gd name="T6" fmla="*/ 211 w 792"/>
                <a:gd name="T7" fmla="*/ 248 h 619"/>
                <a:gd name="T8" fmla="*/ 112 w 792"/>
                <a:gd name="T9" fmla="*/ 248 h 619"/>
                <a:gd name="T10" fmla="*/ 87 w 792"/>
                <a:gd name="T11" fmla="*/ 223 h 619"/>
                <a:gd name="T12" fmla="*/ 112 w 792"/>
                <a:gd name="T13" fmla="*/ 198 h 619"/>
                <a:gd name="T14" fmla="*/ 50 w 792"/>
                <a:gd name="T15" fmla="*/ 149 h 619"/>
                <a:gd name="T16" fmla="*/ 50 w 792"/>
                <a:gd name="T17" fmla="*/ 569 h 619"/>
                <a:gd name="T18" fmla="*/ 644 w 792"/>
                <a:gd name="T19" fmla="*/ 569 h 619"/>
                <a:gd name="T20" fmla="*/ 644 w 792"/>
                <a:gd name="T21" fmla="*/ 248 h 619"/>
                <a:gd name="T22" fmla="*/ 364 w 792"/>
                <a:gd name="T23" fmla="*/ 248 h 619"/>
                <a:gd name="T24" fmla="*/ 274 w 792"/>
                <a:gd name="T25" fmla="*/ 174 h 619"/>
                <a:gd name="T26" fmla="*/ 269 w 792"/>
                <a:gd name="T27" fmla="*/ 149 h 619"/>
                <a:gd name="T28" fmla="*/ 50 w 792"/>
                <a:gd name="T29" fmla="*/ 149 h 619"/>
                <a:gd name="T30" fmla="*/ 110 w 792"/>
                <a:gd name="T31" fmla="*/ 50 h 619"/>
                <a:gd name="T32" fmla="*/ 91 w 792"/>
                <a:gd name="T33" fmla="*/ 69 h 619"/>
                <a:gd name="T34" fmla="*/ 91 w 792"/>
                <a:gd name="T35" fmla="*/ 99 h 619"/>
                <a:gd name="T36" fmla="*/ 300 w 792"/>
                <a:gd name="T37" fmla="*/ 99 h 619"/>
                <a:gd name="T38" fmla="*/ 311 w 792"/>
                <a:gd name="T39" fmla="*/ 107 h 619"/>
                <a:gd name="T40" fmla="*/ 322 w 792"/>
                <a:gd name="T41" fmla="*/ 164 h 619"/>
                <a:gd name="T42" fmla="*/ 364 w 792"/>
                <a:gd name="T43" fmla="*/ 198 h 619"/>
                <a:gd name="T44" fmla="*/ 649 w 792"/>
                <a:gd name="T45" fmla="*/ 198 h 619"/>
                <a:gd name="T46" fmla="*/ 693 w 792"/>
                <a:gd name="T47" fmla="*/ 242 h 619"/>
                <a:gd name="T48" fmla="*/ 693 w 792"/>
                <a:gd name="T49" fmla="*/ 528 h 619"/>
                <a:gd name="T50" fmla="*/ 694 w 792"/>
                <a:gd name="T51" fmla="*/ 528 h 619"/>
                <a:gd name="T52" fmla="*/ 725 w 792"/>
                <a:gd name="T53" fmla="*/ 528 h 619"/>
                <a:gd name="T54" fmla="*/ 742 w 792"/>
                <a:gd name="T55" fmla="*/ 509 h 619"/>
                <a:gd name="T56" fmla="*/ 742 w 792"/>
                <a:gd name="T57" fmla="*/ 168 h 619"/>
                <a:gd name="T58" fmla="*/ 723 w 792"/>
                <a:gd name="T59" fmla="*/ 149 h 619"/>
                <a:gd name="T60" fmla="*/ 429 w 792"/>
                <a:gd name="T61" fmla="*/ 149 h 619"/>
                <a:gd name="T62" fmla="*/ 364 w 792"/>
                <a:gd name="T63" fmla="*/ 95 h 619"/>
                <a:gd name="T64" fmla="*/ 355 w 792"/>
                <a:gd name="T65" fmla="*/ 50 h 619"/>
                <a:gd name="T66" fmla="*/ 110 w 792"/>
                <a:gd name="T67" fmla="*/ 50 h 619"/>
                <a:gd name="T68" fmla="*/ 110 w 792"/>
                <a:gd name="T69" fmla="*/ 0 h 619"/>
                <a:gd name="T70" fmla="*/ 366 w 792"/>
                <a:gd name="T71" fmla="*/ 0 h 619"/>
                <a:gd name="T72" fmla="*/ 401 w 792"/>
                <a:gd name="T73" fmla="*/ 28 h 619"/>
                <a:gd name="T74" fmla="*/ 412 w 792"/>
                <a:gd name="T75" fmla="*/ 85 h 619"/>
                <a:gd name="T76" fmla="*/ 429 w 792"/>
                <a:gd name="T77" fmla="*/ 99 h 619"/>
                <a:gd name="T78" fmla="*/ 723 w 792"/>
                <a:gd name="T79" fmla="*/ 99 h 619"/>
                <a:gd name="T80" fmla="*/ 792 w 792"/>
                <a:gd name="T81" fmla="*/ 168 h 619"/>
                <a:gd name="T82" fmla="*/ 792 w 792"/>
                <a:gd name="T83" fmla="*/ 509 h 619"/>
                <a:gd name="T84" fmla="*/ 727 w 792"/>
                <a:gd name="T85" fmla="*/ 577 h 619"/>
                <a:gd name="T86" fmla="*/ 695 w 792"/>
                <a:gd name="T87" fmla="*/ 577 h 619"/>
                <a:gd name="T88" fmla="*/ 693 w 792"/>
                <a:gd name="T89" fmla="*/ 577 h 619"/>
                <a:gd name="T90" fmla="*/ 693 w 792"/>
                <a:gd name="T91" fmla="*/ 579 h 619"/>
                <a:gd name="T92" fmla="*/ 649 w 792"/>
                <a:gd name="T93" fmla="*/ 619 h 619"/>
                <a:gd name="T94" fmla="*/ 44 w 792"/>
                <a:gd name="T95" fmla="*/ 619 h 619"/>
                <a:gd name="T96" fmla="*/ 0 w 792"/>
                <a:gd name="T97" fmla="*/ 575 h 619"/>
                <a:gd name="T98" fmla="*/ 0 w 792"/>
                <a:gd name="T99" fmla="*/ 143 h 619"/>
                <a:gd name="T100" fmla="*/ 39 w 792"/>
                <a:gd name="T101" fmla="*/ 99 h 619"/>
                <a:gd name="T102" fmla="*/ 41 w 792"/>
                <a:gd name="T103" fmla="*/ 99 h 619"/>
                <a:gd name="T104" fmla="*/ 41 w 792"/>
                <a:gd name="T105" fmla="*/ 69 h 619"/>
                <a:gd name="T106" fmla="*/ 110 w 792"/>
                <a:gd name="T107"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2" h="619">
                  <a:moveTo>
                    <a:pt x="112" y="198"/>
                  </a:moveTo>
                  <a:cubicBezTo>
                    <a:pt x="211" y="198"/>
                    <a:pt x="211" y="198"/>
                    <a:pt x="211" y="198"/>
                  </a:cubicBezTo>
                  <a:cubicBezTo>
                    <a:pt x="225" y="198"/>
                    <a:pt x="236" y="209"/>
                    <a:pt x="236" y="223"/>
                  </a:cubicBezTo>
                  <a:cubicBezTo>
                    <a:pt x="236" y="236"/>
                    <a:pt x="225" y="248"/>
                    <a:pt x="211" y="248"/>
                  </a:cubicBezTo>
                  <a:cubicBezTo>
                    <a:pt x="112" y="248"/>
                    <a:pt x="112" y="248"/>
                    <a:pt x="112" y="248"/>
                  </a:cubicBezTo>
                  <a:cubicBezTo>
                    <a:pt x="98" y="248"/>
                    <a:pt x="87" y="236"/>
                    <a:pt x="87" y="223"/>
                  </a:cubicBezTo>
                  <a:cubicBezTo>
                    <a:pt x="87" y="209"/>
                    <a:pt x="98" y="198"/>
                    <a:pt x="112" y="198"/>
                  </a:cubicBezTo>
                  <a:close/>
                  <a:moveTo>
                    <a:pt x="50" y="149"/>
                  </a:moveTo>
                  <a:cubicBezTo>
                    <a:pt x="50" y="569"/>
                    <a:pt x="50" y="569"/>
                    <a:pt x="50" y="569"/>
                  </a:cubicBezTo>
                  <a:cubicBezTo>
                    <a:pt x="644" y="569"/>
                    <a:pt x="644" y="569"/>
                    <a:pt x="644" y="569"/>
                  </a:cubicBezTo>
                  <a:cubicBezTo>
                    <a:pt x="644" y="248"/>
                    <a:pt x="644" y="248"/>
                    <a:pt x="644" y="248"/>
                  </a:cubicBezTo>
                  <a:cubicBezTo>
                    <a:pt x="364" y="248"/>
                    <a:pt x="364" y="248"/>
                    <a:pt x="364" y="248"/>
                  </a:cubicBezTo>
                  <a:cubicBezTo>
                    <a:pt x="320" y="248"/>
                    <a:pt x="282" y="217"/>
                    <a:pt x="274" y="174"/>
                  </a:cubicBezTo>
                  <a:cubicBezTo>
                    <a:pt x="269" y="149"/>
                    <a:pt x="269" y="149"/>
                    <a:pt x="269" y="149"/>
                  </a:cubicBezTo>
                  <a:lnTo>
                    <a:pt x="50" y="149"/>
                  </a:lnTo>
                  <a:close/>
                  <a:moveTo>
                    <a:pt x="110" y="50"/>
                  </a:moveTo>
                  <a:cubicBezTo>
                    <a:pt x="99" y="50"/>
                    <a:pt x="91" y="58"/>
                    <a:pt x="91" y="69"/>
                  </a:cubicBezTo>
                  <a:cubicBezTo>
                    <a:pt x="91" y="99"/>
                    <a:pt x="91" y="99"/>
                    <a:pt x="91" y="99"/>
                  </a:cubicBezTo>
                  <a:cubicBezTo>
                    <a:pt x="300" y="99"/>
                    <a:pt x="300" y="99"/>
                    <a:pt x="300" y="99"/>
                  </a:cubicBezTo>
                  <a:cubicBezTo>
                    <a:pt x="305" y="99"/>
                    <a:pt x="310" y="103"/>
                    <a:pt x="311" y="107"/>
                  </a:cubicBezTo>
                  <a:cubicBezTo>
                    <a:pt x="322" y="164"/>
                    <a:pt x="322" y="164"/>
                    <a:pt x="322" y="164"/>
                  </a:cubicBezTo>
                  <a:cubicBezTo>
                    <a:pt x="326" y="184"/>
                    <a:pt x="343" y="198"/>
                    <a:pt x="364" y="198"/>
                  </a:cubicBezTo>
                  <a:cubicBezTo>
                    <a:pt x="649" y="198"/>
                    <a:pt x="649" y="198"/>
                    <a:pt x="649" y="198"/>
                  </a:cubicBezTo>
                  <a:cubicBezTo>
                    <a:pt x="673" y="198"/>
                    <a:pt x="693" y="218"/>
                    <a:pt x="693" y="242"/>
                  </a:cubicBezTo>
                  <a:cubicBezTo>
                    <a:pt x="693" y="528"/>
                    <a:pt x="693" y="528"/>
                    <a:pt x="693" y="528"/>
                  </a:cubicBezTo>
                  <a:cubicBezTo>
                    <a:pt x="694" y="528"/>
                    <a:pt x="694" y="528"/>
                    <a:pt x="694" y="528"/>
                  </a:cubicBezTo>
                  <a:cubicBezTo>
                    <a:pt x="706" y="528"/>
                    <a:pt x="723" y="528"/>
                    <a:pt x="725" y="528"/>
                  </a:cubicBezTo>
                  <a:cubicBezTo>
                    <a:pt x="735" y="527"/>
                    <a:pt x="742" y="519"/>
                    <a:pt x="742" y="509"/>
                  </a:cubicBezTo>
                  <a:cubicBezTo>
                    <a:pt x="742" y="168"/>
                    <a:pt x="742" y="168"/>
                    <a:pt x="742" y="168"/>
                  </a:cubicBezTo>
                  <a:cubicBezTo>
                    <a:pt x="742" y="157"/>
                    <a:pt x="734" y="149"/>
                    <a:pt x="723" y="149"/>
                  </a:cubicBezTo>
                  <a:cubicBezTo>
                    <a:pt x="429" y="149"/>
                    <a:pt x="429" y="149"/>
                    <a:pt x="429" y="149"/>
                  </a:cubicBezTo>
                  <a:cubicBezTo>
                    <a:pt x="398" y="149"/>
                    <a:pt x="370" y="126"/>
                    <a:pt x="364" y="95"/>
                  </a:cubicBezTo>
                  <a:cubicBezTo>
                    <a:pt x="355" y="50"/>
                    <a:pt x="355" y="50"/>
                    <a:pt x="355" y="50"/>
                  </a:cubicBezTo>
                  <a:lnTo>
                    <a:pt x="110" y="50"/>
                  </a:lnTo>
                  <a:close/>
                  <a:moveTo>
                    <a:pt x="110" y="0"/>
                  </a:moveTo>
                  <a:cubicBezTo>
                    <a:pt x="366" y="0"/>
                    <a:pt x="366" y="0"/>
                    <a:pt x="366" y="0"/>
                  </a:cubicBezTo>
                  <a:cubicBezTo>
                    <a:pt x="383" y="0"/>
                    <a:pt x="397" y="11"/>
                    <a:pt x="401" y="28"/>
                  </a:cubicBezTo>
                  <a:cubicBezTo>
                    <a:pt x="412" y="85"/>
                    <a:pt x="412" y="85"/>
                    <a:pt x="412" y="85"/>
                  </a:cubicBezTo>
                  <a:cubicBezTo>
                    <a:pt x="414" y="93"/>
                    <a:pt x="421" y="99"/>
                    <a:pt x="429" y="99"/>
                  </a:cubicBezTo>
                  <a:cubicBezTo>
                    <a:pt x="723" y="99"/>
                    <a:pt x="723" y="99"/>
                    <a:pt x="723" y="99"/>
                  </a:cubicBezTo>
                  <a:cubicBezTo>
                    <a:pt x="761" y="99"/>
                    <a:pt x="792" y="130"/>
                    <a:pt x="792" y="168"/>
                  </a:cubicBezTo>
                  <a:cubicBezTo>
                    <a:pt x="792" y="509"/>
                    <a:pt x="792" y="509"/>
                    <a:pt x="792" y="509"/>
                  </a:cubicBezTo>
                  <a:cubicBezTo>
                    <a:pt x="792" y="545"/>
                    <a:pt x="764" y="575"/>
                    <a:pt x="727" y="577"/>
                  </a:cubicBezTo>
                  <a:cubicBezTo>
                    <a:pt x="727" y="577"/>
                    <a:pt x="709" y="577"/>
                    <a:pt x="695" y="577"/>
                  </a:cubicBezTo>
                  <a:cubicBezTo>
                    <a:pt x="693" y="577"/>
                    <a:pt x="693" y="577"/>
                    <a:pt x="693" y="577"/>
                  </a:cubicBezTo>
                  <a:cubicBezTo>
                    <a:pt x="693" y="579"/>
                    <a:pt x="693" y="579"/>
                    <a:pt x="693" y="579"/>
                  </a:cubicBezTo>
                  <a:cubicBezTo>
                    <a:pt x="691" y="601"/>
                    <a:pt x="672" y="619"/>
                    <a:pt x="649" y="619"/>
                  </a:cubicBezTo>
                  <a:cubicBezTo>
                    <a:pt x="44" y="619"/>
                    <a:pt x="44" y="619"/>
                    <a:pt x="44" y="619"/>
                  </a:cubicBezTo>
                  <a:cubicBezTo>
                    <a:pt x="20" y="619"/>
                    <a:pt x="0" y="599"/>
                    <a:pt x="0" y="575"/>
                  </a:cubicBezTo>
                  <a:cubicBezTo>
                    <a:pt x="0" y="143"/>
                    <a:pt x="0" y="143"/>
                    <a:pt x="0" y="143"/>
                  </a:cubicBezTo>
                  <a:cubicBezTo>
                    <a:pt x="0" y="120"/>
                    <a:pt x="17" y="101"/>
                    <a:pt x="39" y="99"/>
                  </a:cubicBezTo>
                  <a:cubicBezTo>
                    <a:pt x="41" y="99"/>
                    <a:pt x="41" y="99"/>
                    <a:pt x="41" y="99"/>
                  </a:cubicBezTo>
                  <a:cubicBezTo>
                    <a:pt x="41" y="69"/>
                    <a:pt x="41" y="69"/>
                    <a:pt x="41" y="69"/>
                  </a:cubicBezTo>
                  <a:cubicBezTo>
                    <a:pt x="41" y="31"/>
                    <a:pt x="72" y="0"/>
                    <a:pt x="1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TextBox 101"/>
            <p:cNvSpPr txBox="1"/>
            <p:nvPr/>
          </p:nvSpPr>
          <p:spPr>
            <a:xfrm>
              <a:off x="5607844" y="2587537"/>
              <a:ext cx="1010102" cy="329257"/>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Azure Data Lake</a:t>
              </a:r>
            </a:p>
          </p:txBody>
        </p:sp>
      </p:grpSp>
      <p:grpSp>
        <p:nvGrpSpPr>
          <p:cNvPr id="139" name="Group 138"/>
          <p:cNvGrpSpPr/>
          <p:nvPr/>
        </p:nvGrpSpPr>
        <p:grpSpPr>
          <a:xfrm>
            <a:off x="8592287" y="2963716"/>
            <a:ext cx="766239" cy="753097"/>
            <a:chOff x="9647656" y="2268749"/>
            <a:chExt cx="766239" cy="753097"/>
          </a:xfrm>
        </p:grpSpPr>
        <p:grpSp>
          <p:nvGrpSpPr>
            <p:cNvPr id="52" name="Group 51"/>
            <p:cNvGrpSpPr/>
            <p:nvPr/>
          </p:nvGrpSpPr>
          <p:grpSpPr>
            <a:xfrm>
              <a:off x="9781864" y="2268749"/>
              <a:ext cx="443138" cy="543236"/>
              <a:chOff x="4096052" y="1976584"/>
              <a:chExt cx="383609" cy="470261"/>
            </a:xfrm>
            <a:solidFill>
              <a:schemeClr val="bg1"/>
            </a:solidFill>
          </p:grpSpPr>
          <p:grpSp>
            <p:nvGrpSpPr>
              <p:cNvPr id="53" name="Group 52"/>
              <p:cNvGrpSpPr/>
              <p:nvPr/>
            </p:nvGrpSpPr>
            <p:grpSpPr>
              <a:xfrm>
                <a:off x="4178949" y="2152072"/>
                <a:ext cx="226797" cy="216647"/>
                <a:chOff x="4188185" y="1976581"/>
                <a:chExt cx="371765" cy="392139"/>
              </a:xfrm>
              <a:grpFill/>
            </p:grpSpPr>
            <p:sp>
              <p:nvSpPr>
                <p:cNvPr id="55" name="Left Brace 54"/>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Left Brace 55"/>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4"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5" name="TextBox 104"/>
            <p:cNvSpPr txBox="1"/>
            <p:nvPr/>
          </p:nvSpPr>
          <p:spPr>
            <a:xfrm>
              <a:off x="9647656" y="2859583"/>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sp>
        <p:nvSpPr>
          <p:cNvPr id="106" name="TextBox 105"/>
          <p:cNvSpPr txBox="1"/>
          <p:nvPr/>
        </p:nvSpPr>
        <p:spPr>
          <a:xfrm>
            <a:off x="9121035" y="4520961"/>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sp>
        <p:nvSpPr>
          <p:cNvPr id="107" name="TextBox 106"/>
          <p:cNvSpPr txBox="1"/>
          <p:nvPr/>
        </p:nvSpPr>
        <p:spPr>
          <a:xfrm>
            <a:off x="7801814" y="4523167"/>
            <a:ext cx="766239"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Service)</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sp>
        <p:nvSpPr>
          <p:cNvPr id="108" name="TextBox 107"/>
          <p:cNvSpPr txBox="1"/>
          <p:nvPr/>
        </p:nvSpPr>
        <p:spPr>
          <a:xfrm>
            <a:off x="10358151" y="3912135"/>
            <a:ext cx="745637" cy="271017"/>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Business Integration Connectors and Gateways</a:t>
            </a:r>
          </a:p>
        </p:txBody>
      </p:sp>
      <p:sp>
        <p:nvSpPr>
          <p:cNvPr id="109" name="TextBox 108"/>
          <p:cNvSpPr txBox="1"/>
          <p:nvPr/>
        </p:nvSpPr>
        <p:spPr>
          <a:xfrm>
            <a:off x="11185394" y="2174157"/>
            <a:ext cx="766239" cy="162263"/>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Remote Monitoring Dashboard</a:t>
            </a:r>
          </a:p>
        </p:txBody>
      </p:sp>
      <p:sp>
        <p:nvSpPr>
          <p:cNvPr id="111" name="TextBox 110"/>
          <p:cNvSpPr txBox="1"/>
          <p:nvPr/>
        </p:nvSpPr>
        <p:spPr>
          <a:xfrm>
            <a:off x="2827344" y="3792954"/>
            <a:ext cx="182880" cy="182880"/>
          </a:xfrm>
          <a:prstGeom prst="rect">
            <a:avLst/>
          </a:prstGeom>
          <a:solidFill>
            <a:schemeClr val="bg2"/>
          </a:solidFill>
          <a:ln>
            <a:noFill/>
          </a:ln>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1</a:t>
            </a:r>
          </a:p>
        </p:txBody>
      </p:sp>
      <p:sp>
        <p:nvSpPr>
          <p:cNvPr id="112" name="TextBox 111"/>
          <p:cNvSpPr txBox="1"/>
          <p:nvPr/>
        </p:nvSpPr>
        <p:spPr>
          <a:xfrm>
            <a:off x="4952652"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2</a:t>
            </a:r>
          </a:p>
        </p:txBody>
      </p:sp>
      <p:sp>
        <p:nvSpPr>
          <p:cNvPr id="113" name="TextBox 112"/>
          <p:cNvSpPr txBox="1"/>
          <p:nvPr/>
        </p:nvSpPr>
        <p:spPr>
          <a:xfrm>
            <a:off x="7427685"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3</a:t>
            </a:r>
          </a:p>
        </p:txBody>
      </p:sp>
      <p:sp>
        <p:nvSpPr>
          <p:cNvPr id="114" name="TextBox 113"/>
          <p:cNvSpPr txBox="1"/>
          <p:nvPr/>
        </p:nvSpPr>
        <p:spPr>
          <a:xfrm>
            <a:off x="9986841" y="4701251"/>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4</a:t>
            </a:r>
          </a:p>
        </p:txBody>
      </p:sp>
      <p:sp>
        <p:nvSpPr>
          <p:cNvPr id="115" name="TextBox 114"/>
          <p:cNvSpPr txBox="1"/>
          <p:nvPr/>
        </p:nvSpPr>
        <p:spPr>
          <a:xfrm>
            <a:off x="9095884" y="2648370"/>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5</a:t>
            </a:r>
          </a:p>
        </p:txBody>
      </p:sp>
      <p:sp>
        <p:nvSpPr>
          <p:cNvPr id="116" name="TextBox 115"/>
          <p:cNvSpPr txBox="1"/>
          <p:nvPr/>
        </p:nvSpPr>
        <p:spPr>
          <a:xfrm>
            <a:off x="5413122" y="2803524"/>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6</a:t>
            </a:r>
          </a:p>
        </p:txBody>
      </p:sp>
      <p:sp>
        <p:nvSpPr>
          <p:cNvPr id="117" name="TextBox 116"/>
          <p:cNvSpPr txBox="1"/>
          <p:nvPr/>
        </p:nvSpPr>
        <p:spPr>
          <a:xfrm>
            <a:off x="8542800" y="1900448"/>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7</a:t>
            </a:r>
          </a:p>
        </p:txBody>
      </p:sp>
      <p:grpSp>
        <p:nvGrpSpPr>
          <p:cNvPr id="167" name="Group 166"/>
          <p:cNvGrpSpPr/>
          <p:nvPr/>
        </p:nvGrpSpPr>
        <p:grpSpPr>
          <a:xfrm>
            <a:off x="5581034" y="1628835"/>
            <a:ext cx="1172818" cy="618803"/>
            <a:chOff x="6151949" y="1302388"/>
            <a:chExt cx="1172818" cy="618803"/>
          </a:xfrm>
        </p:grpSpPr>
        <p:sp>
          <p:nvSpPr>
            <p:cNvPr id="57" name="Freeform 21"/>
            <p:cNvSpPr>
              <a:spLocks noEditPoints="1"/>
            </p:cNvSpPr>
            <p:nvPr/>
          </p:nvSpPr>
          <p:spPr bwMode="auto">
            <a:xfrm>
              <a:off x="6536982" y="1302388"/>
              <a:ext cx="370400" cy="419073"/>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TextBox 102"/>
            <p:cNvSpPr txBox="1"/>
            <p:nvPr/>
          </p:nvSpPr>
          <p:spPr>
            <a:xfrm>
              <a:off x="6151949" y="1758928"/>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Machine Learning</a:t>
              </a:r>
            </a:p>
          </p:txBody>
        </p:sp>
      </p:grpSp>
      <p:sp>
        <p:nvSpPr>
          <p:cNvPr id="104" name="TextBox 103"/>
          <p:cNvSpPr txBox="1"/>
          <p:nvPr/>
        </p:nvSpPr>
        <p:spPr>
          <a:xfrm>
            <a:off x="6748451" y="2083328"/>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Power BI</a:t>
            </a:r>
          </a:p>
        </p:txBody>
      </p:sp>
      <p:sp>
        <p:nvSpPr>
          <p:cNvPr id="118" name="TextBox 117"/>
          <p:cNvSpPr txBox="1"/>
          <p:nvPr/>
        </p:nvSpPr>
        <p:spPr>
          <a:xfrm>
            <a:off x="6578460" y="1783776"/>
            <a:ext cx="182880" cy="182880"/>
          </a:xfrm>
          <a:prstGeom prst="rect">
            <a:avLst/>
          </a:prstGeom>
          <a:solidFill>
            <a:schemeClr val="bg2"/>
          </a:solidFill>
        </p:spPr>
        <p:txBody>
          <a:bodyPr wrap="square" lIns="91440" tIns="0" rIns="9144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2050"/>
                </a:solidFill>
                <a:effectLst/>
                <a:uLnTx/>
                <a:uFillTx/>
                <a:latin typeface="Segoe UI"/>
                <a:ea typeface="+mn-ea"/>
                <a:cs typeface="+mn-cs"/>
              </a:rPr>
              <a:t>8</a:t>
            </a:r>
          </a:p>
        </p:txBody>
      </p:sp>
      <p:cxnSp>
        <p:nvCxnSpPr>
          <p:cNvPr id="119" name="Connector: Elbow 118"/>
          <p:cNvCxnSpPr>
            <a:cxnSpLocks/>
          </p:cNvCxnSpPr>
          <p:nvPr/>
        </p:nvCxnSpPr>
        <p:spPr>
          <a:xfrm rot="10800000" flipV="1">
            <a:off x="4390658" y="2293866"/>
            <a:ext cx="3291840" cy="1066353"/>
          </a:xfrm>
          <a:prstGeom prst="bentConnector3">
            <a:avLst>
              <a:gd name="adj1" fmla="val 99889"/>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7" name="Group 156"/>
          <p:cNvGrpSpPr/>
          <p:nvPr/>
        </p:nvGrpSpPr>
        <p:grpSpPr>
          <a:xfrm>
            <a:off x="1853454" y="3643990"/>
            <a:ext cx="862765" cy="918970"/>
            <a:chOff x="1784874" y="3317543"/>
            <a:chExt cx="862765" cy="918970"/>
          </a:xfrm>
        </p:grpSpPr>
        <p:sp>
          <p:nvSpPr>
            <p:cNvPr id="94" name="TextBox 93"/>
            <p:cNvSpPr txBox="1"/>
            <p:nvPr/>
          </p:nvSpPr>
          <p:spPr>
            <a:xfrm>
              <a:off x="1784874" y="3426791"/>
              <a:ext cx="862765" cy="30501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Field Gateway</a:t>
              </a:r>
            </a:p>
          </p:txBody>
        </p:sp>
        <p:sp>
          <p:nvSpPr>
            <p:cNvPr id="95" name="TextBox 94"/>
            <p:cNvSpPr txBox="1"/>
            <p:nvPr/>
          </p:nvSpPr>
          <p:spPr>
            <a:xfrm>
              <a:off x="1900413" y="3794085"/>
              <a:ext cx="646441" cy="395625"/>
            </a:xfrm>
            <a:prstGeom prst="rect">
              <a:avLst/>
            </a:prstGeom>
            <a:solidFill>
              <a:schemeClr val="accent2"/>
            </a:solidFill>
          </p:spPr>
          <p:txBody>
            <a:bodyPr wrap="square" lIns="0" tIns="0" rIns="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Device Library</a:t>
              </a:r>
            </a:p>
          </p:txBody>
        </p:sp>
        <p:sp>
          <p:nvSpPr>
            <p:cNvPr id="120" name="Rectangle 119"/>
            <p:cNvSpPr/>
            <p:nvPr/>
          </p:nvSpPr>
          <p:spPr bwMode="auto">
            <a:xfrm>
              <a:off x="1841503" y="3317543"/>
              <a:ext cx="764261" cy="918970"/>
            </a:xfrm>
            <a:prstGeom prst="rect">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22" name="Straight Arrow Connector 121"/>
          <p:cNvCxnSpPr/>
          <p:nvPr/>
        </p:nvCxnSpPr>
        <p:spPr>
          <a:xfrm>
            <a:off x="1574131" y="3495502"/>
            <a:ext cx="2533087"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cxnSpLocks/>
          </p:cNvCxnSpPr>
          <p:nvPr/>
        </p:nvCxnSpPr>
        <p:spPr>
          <a:xfrm>
            <a:off x="1574131" y="4736300"/>
            <a:ext cx="1374439"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cxnSpLocks/>
          </p:cNvCxnSpPr>
          <p:nvPr/>
        </p:nvCxnSpPr>
        <p:spPr>
          <a:xfrm>
            <a:off x="1574130" y="4153527"/>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cxnSpLocks/>
          </p:cNvCxnSpPr>
          <p:nvPr/>
        </p:nvCxnSpPr>
        <p:spPr>
          <a:xfrm>
            <a:off x="2719480" y="4153527"/>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3033972" y="4022062"/>
            <a:ext cx="794695" cy="918970"/>
            <a:chOff x="3033972" y="3821745"/>
            <a:chExt cx="794695" cy="918970"/>
          </a:xfrm>
        </p:grpSpPr>
        <p:sp>
          <p:nvSpPr>
            <p:cNvPr id="96" name="TextBox 95"/>
            <p:cNvSpPr txBox="1"/>
            <p:nvPr/>
          </p:nvSpPr>
          <p:spPr>
            <a:xfrm>
              <a:off x="3033972" y="3937034"/>
              <a:ext cx="794695" cy="25172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Protocol Gateway</a:t>
              </a:r>
            </a:p>
          </p:txBody>
        </p:sp>
        <p:sp>
          <p:nvSpPr>
            <p:cNvPr id="128" name="TextBox 127"/>
            <p:cNvSpPr txBox="1"/>
            <p:nvPr/>
          </p:nvSpPr>
          <p:spPr>
            <a:xfrm>
              <a:off x="3096824" y="4298287"/>
              <a:ext cx="646441" cy="395625"/>
            </a:xfrm>
            <a:prstGeom prst="rect">
              <a:avLst/>
            </a:prstGeom>
            <a:solidFill>
              <a:schemeClr val="accent2"/>
            </a:solidFill>
          </p:spPr>
          <p:txBody>
            <a:bodyPr wrap="square" lIns="0" tIns="0" rIns="0" bIns="0"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IoT Device Library</a:t>
              </a:r>
            </a:p>
          </p:txBody>
        </p:sp>
        <p:sp>
          <p:nvSpPr>
            <p:cNvPr id="129" name="Rectangle 128"/>
            <p:cNvSpPr/>
            <p:nvPr/>
          </p:nvSpPr>
          <p:spPr bwMode="auto">
            <a:xfrm>
              <a:off x="3037914" y="3821745"/>
              <a:ext cx="764261" cy="918970"/>
            </a:xfrm>
            <a:prstGeom prst="rect">
              <a:avLst/>
            </a:prstGeom>
            <a:no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30" name="Straight Arrow Connector 129"/>
          <p:cNvCxnSpPr>
            <a:cxnSpLocks/>
          </p:cNvCxnSpPr>
          <p:nvPr/>
        </p:nvCxnSpPr>
        <p:spPr>
          <a:xfrm>
            <a:off x="3838766" y="4164625"/>
            <a:ext cx="27432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a:cxnSpLocks/>
          </p:cNvCxnSpPr>
          <p:nvPr/>
        </p:nvCxnSpPr>
        <p:spPr>
          <a:xfrm>
            <a:off x="4715197" y="4164625"/>
            <a:ext cx="2743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cxnSpLocks/>
          </p:cNvCxnSpPr>
          <p:nvPr/>
        </p:nvCxnSpPr>
        <p:spPr>
          <a:xfrm>
            <a:off x="5800451"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cxnSpLocks/>
          </p:cNvCxnSpPr>
          <p:nvPr/>
        </p:nvCxnSpPr>
        <p:spPr>
          <a:xfrm>
            <a:off x="7135988"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cxnSpLocks/>
          </p:cNvCxnSpPr>
          <p:nvPr/>
        </p:nvCxnSpPr>
        <p:spPr>
          <a:xfrm>
            <a:off x="8532498" y="4164625"/>
            <a:ext cx="73152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a:cxnSpLocks/>
          </p:cNvCxnSpPr>
          <p:nvPr/>
        </p:nvCxnSpPr>
        <p:spPr>
          <a:xfrm rot="16200000">
            <a:off x="8753397" y="3965312"/>
            <a:ext cx="36576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a:cxnSpLocks/>
          </p:cNvCxnSpPr>
          <p:nvPr/>
        </p:nvCxnSpPr>
        <p:spPr>
          <a:xfrm>
            <a:off x="8492794" y="2182001"/>
            <a:ext cx="251460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3" name="Connector: Elbow 142"/>
          <p:cNvCxnSpPr/>
          <p:nvPr/>
        </p:nvCxnSpPr>
        <p:spPr>
          <a:xfrm rot="16200000" flipH="1">
            <a:off x="8454241" y="2346450"/>
            <a:ext cx="534309" cy="457200"/>
          </a:xfrm>
          <a:prstGeom prst="bentConnector3">
            <a:avLst>
              <a:gd name="adj1" fmla="val 418"/>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a:cxnSpLocks/>
          </p:cNvCxnSpPr>
          <p:nvPr/>
        </p:nvCxnSpPr>
        <p:spPr>
          <a:xfrm>
            <a:off x="9848352" y="4164625"/>
            <a:ext cx="365760" cy="0"/>
          </a:xfrm>
          <a:prstGeom prst="straightConnector1">
            <a:avLst/>
          </a:prstGeom>
          <a:ln w="127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bwMode="auto">
          <a:xfrm>
            <a:off x="11101956" y="1783776"/>
            <a:ext cx="766688" cy="3927887"/>
          </a:xfrm>
          <a:prstGeom prst="rect">
            <a:avLst/>
          </a:prstGeom>
          <a:no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7" name="Straight Arrow Connector 146"/>
          <p:cNvCxnSpPr>
            <a:cxnSpLocks/>
          </p:cNvCxnSpPr>
          <p:nvPr/>
        </p:nvCxnSpPr>
        <p:spPr>
          <a:xfrm flipV="1">
            <a:off x="8132667" y="2679666"/>
            <a:ext cx="0" cy="107357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9" name="TextBox 148"/>
          <p:cNvSpPr txBox="1"/>
          <p:nvPr/>
        </p:nvSpPr>
        <p:spPr>
          <a:xfrm>
            <a:off x="6100644" y="2669743"/>
            <a:ext cx="1172818"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Long term store</a:t>
            </a:r>
          </a:p>
        </p:txBody>
      </p:sp>
      <p:sp>
        <p:nvSpPr>
          <p:cNvPr id="154" name="Rectangle 153"/>
          <p:cNvSpPr/>
          <p:nvPr/>
        </p:nvSpPr>
        <p:spPr bwMode="auto">
          <a:xfrm>
            <a:off x="5668520" y="2564954"/>
            <a:ext cx="1999805" cy="1164355"/>
          </a:xfrm>
          <a:prstGeom prst="rect">
            <a:avLst/>
          </a:prstGeom>
          <a:noFill/>
          <a:ln w="12700">
            <a:solidFill>
              <a:schemeClr val="bg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TextBox 154"/>
          <p:cNvSpPr txBox="1"/>
          <p:nvPr/>
        </p:nvSpPr>
        <p:spPr>
          <a:xfrm>
            <a:off x="130045" y="3396918"/>
            <a:ext cx="1172818" cy="282891"/>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Display Semibold" panose="020B0702040504020203" pitchFamily="34" charset="0"/>
                <a:ea typeface="Segoe Pro" charset="0"/>
                <a:cs typeface="Segoe Pro" charset="0"/>
              </a:rPr>
              <a:t>Devices</a:t>
            </a:r>
          </a:p>
        </p:txBody>
      </p:sp>
      <p:cxnSp>
        <p:nvCxnSpPr>
          <p:cNvPr id="160" name="Connector: Elbow 159"/>
          <p:cNvCxnSpPr>
            <a:cxnSpLocks/>
          </p:cNvCxnSpPr>
          <p:nvPr/>
        </p:nvCxnSpPr>
        <p:spPr>
          <a:xfrm rot="5400000" flipH="1" flipV="1">
            <a:off x="5116865" y="3396201"/>
            <a:ext cx="771182" cy="193491"/>
          </a:xfrm>
          <a:prstGeom prst="bentConnector3">
            <a:avLst>
              <a:gd name="adj1" fmla="val 100165"/>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1" name="Picture 170" descr="Microsoft Logo.eps"/>
          <p:cNvPicPr>
            <a:picLocks noChangeAspect="1"/>
          </p:cNvPicPr>
          <p:nvPr/>
        </p:nvPicPr>
        <p:blipFill rotWithShape="1">
          <a:blip r:embed="rId8"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grpSp>
        <p:nvGrpSpPr>
          <p:cNvPr id="18" name="Group 17"/>
          <p:cNvGrpSpPr/>
          <p:nvPr/>
        </p:nvGrpSpPr>
        <p:grpSpPr>
          <a:xfrm>
            <a:off x="1000125" y="4869970"/>
            <a:ext cx="379413" cy="168274"/>
            <a:chOff x="1604963" y="5128117"/>
            <a:chExt cx="379413" cy="168274"/>
          </a:xfrm>
          <a:solidFill>
            <a:schemeClr val="bg1"/>
          </a:solidFill>
        </p:grpSpPr>
        <p:sp>
          <p:nvSpPr>
            <p:cNvPr id="133" name="Freeform 5"/>
            <p:cNvSpPr>
              <a:spLocks noEditPoints="1"/>
            </p:cNvSpPr>
            <p:nvPr/>
          </p:nvSpPr>
          <p:spPr bwMode="auto">
            <a:xfrm>
              <a:off x="1604963" y="5128117"/>
              <a:ext cx="379413" cy="168274"/>
            </a:xfrm>
            <a:custGeom>
              <a:avLst/>
              <a:gdLst>
                <a:gd name="T0" fmla="*/ 768 w 768"/>
                <a:gd name="T1" fmla="*/ 241 h 339"/>
                <a:gd name="T2" fmla="*/ 735 w 768"/>
                <a:gd name="T3" fmla="*/ 241 h 339"/>
                <a:gd name="T4" fmla="*/ 720 w 768"/>
                <a:gd name="T5" fmla="*/ 257 h 339"/>
                <a:gd name="T6" fmla="*/ 721 w 768"/>
                <a:gd name="T7" fmla="*/ 318 h 339"/>
                <a:gd name="T8" fmla="*/ 702 w 768"/>
                <a:gd name="T9" fmla="*/ 338 h 339"/>
                <a:gd name="T10" fmla="*/ 654 w 768"/>
                <a:gd name="T11" fmla="*/ 338 h 339"/>
                <a:gd name="T12" fmla="*/ 22 w 768"/>
                <a:gd name="T13" fmla="*/ 338 h 339"/>
                <a:gd name="T14" fmla="*/ 0 w 768"/>
                <a:gd name="T15" fmla="*/ 337 h 339"/>
                <a:gd name="T16" fmla="*/ 0 w 768"/>
                <a:gd name="T17" fmla="*/ 1 h 339"/>
                <a:gd name="T18" fmla="*/ 18 w 768"/>
                <a:gd name="T19" fmla="*/ 0 h 339"/>
                <a:gd name="T20" fmla="*/ 697 w 768"/>
                <a:gd name="T21" fmla="*/ 0 h 339"/>
                <a:gd name="T22" fmla="*/ 721 w 768"/>
                <a:gd name="T23" fmla="*/ 24 h 339"/>
                <a:gd name="T24" fmla="*/ 721 w 768"/>
                <a:gd name="T25" fmla="*/ 81 h 339"/>
                <a:gd name="T26" fmla="*/ 735 w 768"/>
                <a:gd name="T27" fmla="*/ 97 h 339"/>
                <a:gd name="T28" fmla="*/ 768 w 768"/>
                <a:gd name="T29" fmla="*/ 97 h 339"/>
                <a:gd name="T30" fmla="*/ 768 w 768"/>
                <a:gd name="T31" fmla="*/ 241 h 339"/>
                <a:gd name="T32" fmla="*/ 360 w 768"/>
                <a:gd name="T33" fmla="*/ 50 h 339"/>
                <a:gd name="T34" fmla="*/ 67 w 768"/>
                <a:gd name="T35" fmla="*/ 49 h 339"/>
                <a:gd name="T36" fmla="*/ 48 w 768"/>
                <a:gd name="T37" fmla="*/ 67 h 339"/>
                <a:gd name="T38" fmla="*/ 48 w 768"/>
                <a:gd name="T39" fmla="*/ 271 h 339"/>
                <a:gd name="T40" fmla="*/ 67 w 768"/>
                <a:gd name="T41" fmla="*/ 289 h 339"/>
                <a:gd name="T42" fmla="*/ 653 w 768"/>
                <a:gd name="T43" fmla="*/ 289 h 339"/>
                <a:gd name="T44" fmla="*/ 672 w 768"/>
                <a:gd name="T45" fmla="*/ 270 h 339"/>
                <a:gd name="T46" fmla="*/ 672 w 768"/>
                <a:gd name="T47" fmla="*/ 68 h 339"/>
                <a:gd name="T48" fmla="*/ 653 w 768"/>
                <a:gd name="T49" fmla="*/ 49 h 339"/>
                <a:gd name="T50" fmla="*/ 360 w 768"/>
                <a:gd name="T51" fmla="*/ 5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8" h="339">
                  <a:moveTo>
                    <a:pt x="768" y="241"/>
                  </a:moveTo>
                  <a:cubicBezTo>
                    <a:pt x="757" y="241"/>
                    <a:pt x="746" y="242"/>
                    <a:pt x="735" y="241"/>
                  </a:cubicBezTo>
                  <a:cubicBezTo>
                    <a:pt x="724" y="241"/>
                    <a:pt x="720" y="246"/>
                    <a:pt x="720" y="257"/>
                  </a:cubicBezTo>
                  <a:cubicBezTo>
                    <a:pt x="721" y="277"/>
                    <a:pt x="720" y="298"/>
                    <a:pt x="721" y="318"/>
                  </a:cubicBezTo>
                  <a:cubicBezTo>
                    <a:pt x="722" y="333"/>
                    <a:pt x="717" y="339"/>
                    <a:pt x="702" y="338"/>
                  </a:cubicBezTo>
                  <a:cubicBezTo>
                    <a:pt x="686" y="337"/>
                    <a:pt x="670" y="338"/>
                    <a:pt x="654" y="338"/>
                  </a:cubicBezTo>
                  <a:cubicBezTo>
                    <a:pt x="443" y="338"/>
                    <a:pt x="233" y="338"/>
                    <a:pt x="22" y="338"/>
                  </a:cubicBezTo>
                  <a:cubicBezTo>
                    <a:pt x="15" y="338"/>
                    <a:pt x="7" y="337"/>
                    <a:pt x="0" y="337"/>
                  </a:cubicBezTo>
                  <a:cubicBezTo>
                    <a:pt x="0" y="225"/>
                    <a:pt x="0" y="113"/>
                    <a:pt x="0" y="1"/>
                  </a:cubicBezTo>
                  <a:cubicBezTo>
                    <a:pt x="6" y="1"/>
                    <a:pt x="12" y="0"/>
                    <a:pt x="18" y="0"/>
                  </a:cubicBezTo>
                  <a:cubicBezTo>
                    <a:pt x="244" y="0"/>
                    <a:pt x="471" y="0"/>
                    <a:pt x="697" y="0"/>
                  </a:cubicBezTo>
                  <a:cubicBezTo>
                    <a:pt x="721" y="0"/>
                    <a:pt x="721" y="0"/>
                    <a:pt x="721" y="24"/>
                  </a:cubicBezTo>
                  <a:cubicBezTo>
                    <a:pt x="721" y="43"/>
                    <a:pt x="721" y="62"/>
                    <a:pt x="721" y="81"/>
                  </a:cubicBezTo>
                  <a:cubicBezTo>
                    <a:pt x="720" y="92"/>
                    <a:pt x="724" y="97"/>
                    <a:pt x="735" y="97"/>
                  </a:cubicBezTo>
                  <a:cubicBezTo>
                    <a:pt x="746" y="96"/>
                    <a:pt x="757" y="97"/>
                    <a:pt x="768" y="97"/>
                  </a:cubicBezTo>
                  <a:cubicBezTo>
                    <a:pt x="768" y="145"/>
                    <a:pt x="768" y="193"/>
                    <a:pt x="768" y="241"/>
                  </a:cubicBezTo>
                  <a:close/>
                  <a:moveTo>
                    <a:pt x="360" y="50"/>
                  </a:moveTo>
                  <a:cubicBezTo>
                    <a:pt x="262" y="50"/>
                    <a:pt x="164" y="50"/>
                    <a:pt x="67" y="49"/>
                  </a:cubicBezTo>
                  <a:cubicBezTo>
                    <a:pt x="53" y="49"/>
                    <a:pt x="48" y="53"/>
                    <a:pt x="48" y="67"/>
                  </a:cubicBezTo>
                  <a:cubicBezTo>
                    <a:pt x="49" y="135"/>
                    <a:pt x="49" y="203"/>
                    <a:pt x="48" y="271"/>
                  </a:cubicBezTo>
                  <a:cubicBezTo>
                    <a:pt x="48" y="285"/>
                    <a:pt x="53" y="289"/>
                    <a:pt x="67" y="289"/>
                  </a:cubicBezTo>
                  <a:cubicBezTo>
                    <a:pt x="262" y="288"/>
                    <a:pt x="457" y="288"/>
                    <a:pt x="653" y="289"/>
                  </a:cubicBezTo>
                  <a:cubicBezTo>
                    <a:pt x="667" y="289"/>
                    <a:pt x="672" y="285"/>
                    <a:pt x="672" y="270"/>
                  </a:cubicBezTo>
                  <a:cubicBezTo>
                    <a:pt x="671" y="203"/>
                    <a:pt x="671" y="135"/>
                    <a:pt x="672" y="68"/>
                  </a:cubicBezTo>
                  <a:cubicBezTo>
                    <a:pt x="672" y="53"/>
                    <a:pt x="667" y="49"/>
                    <a:pt x="653" y="49"/>
                  </a:cubicBezTo>
                  <a:cubicBezTo>
                    <a:pt x="555" y="50"/>
                    <a:pt x="458" y="50"/>
                    <a:pt x="36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6"/>
            <p:cNvSpPr>
              <a:spLocks/>
            </p:cNvSpPr>
            <p:nvPr/>
          </p:nvSpPr>
          <p:spPr bwMode="auto">
            <a:xfrm>
              <a:off x="1660526" y="5174154"/>
              <a:ext cx="30163" cy="74612"/>
            </a:xfrm>
            <a:custGeom>
              <a:avLst/>
              <a:gdLst>
                <a:gd name="T0" fmla="*/ 56 w 61"/>
                <a:gd name="T1" fmla="*/ 76 h 152"/>
                <a:gd name="T2" fmla="*/ 56 w 61"/>
                <a:gd name="T3" fmla="*/ 134 h 152"/>
                <a:gd name="T4" fmla="*/ 42 w 61"/>
                <a:gd name="T5" fmla="*/ 149 h 152"/>
                <a:gd name="T6" fmla="*/ 6 w 61"/>
                <a:gd name="T7" fmla="*/ 116 h 152"/>
                <a:gd name="T8" fmla="*/ 6 w 61"/>
                <a:gd name="T9" fmla="*/ 20 h 152"/>
                <a:gd name="T10" fmla="*/ 22 w 61"/>
                <a:gd name="T11" fmla="*/ 3 h 152"/>
                <a:gd name="T12" fmla="*/ 56 w 61"/>
                <a:gd name="T13" fmla="*/ 36 h 152"/>
                <a:gd name="T14" fmla="*/ 56 w 61"/>
                <a:gd name="T15" fmla="*/ 76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52">
                  <a:moveTo>
                    <a:pt x="56" y="76"/>
                  </a:moveTo>
                  <a:cubicBezTo>
                    <a:pt x="56" y="95"/>
                    <a:pt x="55" y="115"/>
                    <a:pt x="56" y="134"/>
                  </a:cubicBezTo>
                  <a:cubicBezTo>
                    <a:pt x="56" y="144"/>
                    <a:pt x="52" y="149"/>
                    <a:pt x="42" y="149"/>
                  </a:cubicBezTo>
                  <a:cubicBezTo>
                    <a:pt x="0" y="148"/>
                    <a:pt x="7" y="152"/>
                    <a:pt x="6" y="116"/>
                  </a:cubicBezTo>
                  <a:cubicBezTo>
                    <a:pt x="6" y="84"/>
                    <a:pt x="7" y="52"/>
                    <a:pt x="6" y="20"/>
                  </a:cubicBezTo>
                  <a:cubicBezTo>
                    <a:pt x="6" y="8"/>
                    <a:pt x="10" y="3"/>
                    <a:pt x="22" y="3"/>
                  </a:cubicBezTo>
                  <a:cubicBezTo>
                    <a:pt x="61" y="4"/>
                    <a:pt x="55" y="0"/>
                    <a:pt x="56" y="36"/>
                  </a:cubicBezTo>
                  <a:cubicBezTo>
                    <a:pt x="56" y="49"/>
                    <a:pt x="56" y="63"/>
                    <a:pt x="5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7"/>
            <p:cNvSpPr>
              <a:spLocks/>
            </p:cNvSpPr>
            <p:nvPr/>
          </p:nvSpPr>
          <p:spPr bwMode="auto">
            <a:xfrm>
              <a:off x="1719263" y="5174154"/>
              <a:ext cx="31750" cy="74612"/>
            </a:xfrm>
            <a:custGeom>
              <a:avLst/>
              <a:gdLst>
                <a:gd name="T0" fmla="*/ 57 w 62"/>
                <a:gd name="T1" fmla="*/ 77 h 152"/>
                <a:gd name="T2" fmla="*/ 57 w 62"/>
                <a:gd name="T3" fmla="*/ 135 h 152"/>
                <a:gd name="T4" fmla="*/ 44 w 62"/>
                <a:gd name="T5" fmla="*/ 149 h 152"/>
                <a:gd name="T6" fmla="*/ 7 w 62"/>
                <a:gd name="T7" fmla="*/ 115 h 152"/>
                <a:gd name="T8" fmla="*/ 7 w 62"/>
                <a:gd name="T9" fmla="*/ 19 h 152"/>
                <a:gd name="T10" fmla="*/ 23 w 62"/>
                <a:gd name="T11" fmla="*/ 3 h 152"/>
                <a:gd name="T12" fmla="*/ 57 w 62"/>
                <a:gd name="T13" fmla="*/ 36 h 152"/>
                <a:gd name="T14" fmla="*/ 57 w 62"/>
                <a:gd name="T15" fmla="*/ 77 h 152"/>
                <a:gd name="T16" fmla="*/ 57 w 62"/>
                <a:gd name="T17" fmla="*/ 7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57" y="77"/>
                  </a:moveTo>
                  <a:cubicBezTo>
                    <a:pt x="57" y="96"/>
                    <a:pt x="56" y="116"/>
                    <a:pt x="57" y="135"/>
                  </a:cubicBezTo>
                  <a:cubicBezTo>
                    <a:pt x="57" y="144"/>
                    <a:pt x="53" y="149"/>
                    <a:pt x="44" y="149"/>
                  </a:cubicBezTo>
                  <a:cubicBezTo>
                    <a:pt x="0" y="148"/>
                    <a:pt x="8" y="152"/>
                    <a:pt x="7" y="115"/>
                  </a:cubicBezTo>
                  <a:cubicBezTo>
                    <a:pt x="7" y="83"/>
                    <a:pt x="8" y="51"/>
                    <a:pt x="7" y="19"/>
                  </a:cubicBezTo>
                  <a:cubicBezTo>
                    <a:pt x="7" y="8"/>
                    <a:pt x="11" y="3"/>
                    <a:pt x="23" y="3"/>
                  </a:cubicBezTo>
                  <a:cubicBezTo>
                    <a:pt x="62" y="4"/>
                    <a:pt x="56" y="0"/>
                    <a:pt x="57" y="36"/>
                  </a:cubicBezTo>
                  <a:cubicBezTo>
                    <a:pt x="57" y="50"/>
                    <a:pt x="57" y="63"/>
                    <a:pt x="57" y="77"/>
                  </a:cubicBezTo>
                  <a:cubicBezTo>
                    <a:pt x="57" y="77"/>
                    <a:pt x="57" y="77"/>
                    <a:pt x="5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8"/>
            <p:cNvSpPr>
              <a:spLocks/>
            </p:cNvSpPr>
            <p:nvPr/>
          </p:nvSpPr>
          <p:spPr bwMode="auto">
            <a:xfrm>
              <a:off x="1779588" y="5174154"/>
              <a:ext cx="30163" cy="74612"/>
            </a:xfrm>
            <a:custGeom>
              <a:avLst/>
              <a:gdLst>
                <a:gd name="T0" fmla="*/ 56 w 60"/>
                <a:gd name="T1" fmla="*/ 77 h 152"/>
                <a:gd name="T2" fmla="*/ 56 w 60"/>
                <a:gd name="T3" fmla="*/ 134 h 152"/>
                <a:gd name="T4" fmla="*/ 42 w 60"/>
                <a:gd name="T5" fmla="*/ 149 h 152"/>
                <a:gd name="T6" fmla="*/ 6 w 60"/>
                <a:gd name="T7" fmla="*/ 114 h 152"/>
                <a:gd name="T8" fmla="*/ 6 w 60"/>
                <a:gd name="T9" fmla="*/ 20 h 152"/>
                <a:gd name="T10" fmla="*/ 24 w 60"/>
                <a:gd name="T11" fmla="*/ 3 h 152"/>
                <a:gd name="T12" fmla="*/ 56 w 60"/>
                <a:gd name="T13" fmla="*/ 35 h 152"/>
                <a:gd name="T14" fmla="*/ 56 w 60"/>
                <a:gd name="T15" fmla="*/ 77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52">
                  <a:moveTo>
                    <a:pt x="56" y="77"/>
                  </a:moveTo>
                  <a:cubicBezTo>
                    <a:pt x="56" y="96"/>
                    <a:pt x="55" y="115"/>
                    <a:pt x="56" y="134"/>
                  </a:cubicBezTo>
                  <a:cubicBezTo>
                    <a:pt x="56" y="144"/>
                    <a:pt x="53" y="149"/>
                    <a:pt x="42" y="149"/>
                  </a:cubicBezTo>
                  <a:cubicBezTo>
                    <a:pt x="0" y="148"/>
                    <a:pt x="7" y="152"/>
                    <a:pt x="6" y="114"/>
                  </a:cubicBezTo>
                  <a:cubicBezTo>
                    <a:pt x="6" y="83"/>
                    <a:pt x="7" y="52"/>
                    <a:pt x="6" y="20"/>
                  </a:cubicBezTo>
                  <a:cubicBezTo>
                    <a:pt x="6" y="7"/>
                    <a:pt x="11" y="3"/>
                    <a:pt x="24" y="3"/>
                  </a:cubicBezTo>
                  <a:cubicBezTo>
                    <a:pt x="60" y="4"/>
                    <a:pt x="55" y="0"/>
                    <a:pt x="56" y="35"/>
                  </a:cubicBezTo>
                  <a:cubicBezTo>
                    <a:pt x="56" y="49"/>
                    <a:pt x="56" y="63"/>
                    <a:pt x="56"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3" name="Group 62"/>
          <p:cNvGrpSpPr/>
          <p:nvPr/>
        </p:nvGrpSpPr>
        <p:grpSpPr>
          <a:xfrm>
            <a:off x="1001749" y="4157560"/>
            <a:ext cx="384924" cy="207266"/>
            <a:chOff x="1001749" y="4157560"/>
            <a:chExt cx="384924" cy="207266"/>
          </a:xfrm>
        </p:grpSpPr>
        <p:pic>
          <p:nvPicPr>
            <p:cNvPr id="90" name="Picture 8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1105903" y="4157560"/>
              <a:ext cx="280770" cy="207266"/>
            </a:xfrm>
            <a:prstGeom prst="rect">
              <a:avLst/>
            </a:prstGeom>
          </p:spPr>
        </p:pic>
        <p:sp>
          <p:nvSpPr>
            <p:cNvPr id="62" name="Freeform 17"/>
            <p:cNvSpPr>
              <a:spLocks/>
            </p:cNvSpPr>
            <p:nvPr/>
          </p:nvSpPr>
          <p:spPr bwMode="auto">
            <a:xfrm flipH="1">
              <a:off x="1001749" y="4196959"/>
              <a:ext cx="166201" cy="160012"/>
            </a:xfrm>
            <a:custGeom>
              <a:avLst/>
              <a:gdLst>
                <a:gd name="T0" fmla="*/ 0 w 729"/>
                <a:gd name="T1" fmla="*/ 390 h 701"/>
                <a:gd name="T2" fmla="*/ 0 w 729"/>
                <a:gd name="T3" fmla="*/ 337 h 701"/>
                <a:gd name="T4" fmla="*/ 3 w 729"/>
                <a:gd name="T5" fmla="*/ 331 h 701"/>
                <a:gd name="T6" fmla="*/ 47 w 729"/>
                <a:gd name="T7" fmla="*/ 220 h 701"/>
                <a:gd name="T8" fmla="*/ 239 w 729"/>
                <a:gd name="T9" fmla="*/ 72 h 701"/>
                <a:gd name="T10" fmla="*/ 499 w 729"/>
                <a:gd name="T11" fmla="*/ 7 h 701"/>
                <a:gd name="T12" fmla="*/ 564 w 729"/>
                <a:gd name="T13" fmla="*/ 0 h 701"/>
                <a:gd name="T14" fmla="*/ 563 w 729"/>
                <a:gd name="T15" fmla="*/ 6 h 701"/>
                <a:gd name="T16" fmla="*/ 558 w 729"/>
                <a:gd name="T17" fmla="*/ 20 h 701"/>
                <a:gd name="T18" fmla="*/ 523 w 729"/>
                <a:gd name="T19" fmla="*/ 209 h 701"/>
                <a:gd name="T20" fmla="*/ 574 w 729"/>
                <a:gd name="T21" fmla="*/ 303 h 701"/>
                <a:gd name="T22" fmla="*/ 617 w 729"/>
                <a:gd name="T23" fmla="*/ 335 h 701"/>
                <a:gd name="T24" fmla="*/ 708 w 729"/>
                <a:gd name="T25" fmla="*/ 453 h 701"/>
                <a:gd name="T26" fmla="*/ 653 w 729"/>
                <a:gd name="T27" fmla="*/ 631 h 701"/>
                <a:gd name="T28" fmla="*/ 457 w 729"/>
                <a:gd name="T29" fmla="*/ 700 h 701"/>
                <a:gd name="T30" fmla="*/ 469 w 729"/>
                <a:gd name="T31" fmla="*/ 690 h 701"/>
                <a:gd name="T32" fmla="*/ 515 w 729"/>
                <a:gd name="T33" fmla="*/ 648 h 701"/>
                <a:gd name="T34" fmla="*/ 512 w 729"/>
                <a:gd name="T35" fmla="*/ 571 h 701"/>
                <a:gd name="T36" fmla="*/ 463 w 729"/>
                <a:gd name="T37" fmla="*/ 530 h 701"/>
                <a:gd name="T38" fmla="*/ 429 w 729"/>
                <a:gd name="T39" fmla="*/ 505 h 701"/>
                <a:gd name="T40" fmla="*/ 401 w 729"/>
                <a:gd name="T41" fmla="*/ 429 h 701"/>
                <a:gd name="T42" fmla="*/ 289 w 729"/>
                <a:gd name="T43" fmla="*/ 489 h 701"/>
                <a:gd name="T44" fmla="*/ 293 w 729"/>
                <a:gd name="T45" fmla="*/ 598 h 701"/>
                <a:gd name="T46" fmla="*/ 352 w 729"/>
                <a:gd name="T47" fmla="*/ 645 h 701"/>
                <a:gd name="T48" fmla="*/ 399 w 729"/>
                <a:gd name="T49" fmla="*/ 682 h 701"/>
                <a:gd name="T50" fmla="*/ 411 w 729"/>
                <a:gd name="T51" fmla="*/ 699 h 701"/>
                <a:gd name="T52" fmla="*/ 404 w 729"/>
                <a:gd name="T53" fmla="*/ 701 h 701"/>
                <a:gd name="T54" fmla="*/ 388 w 729"/>
                <a:gd name="T55" fmla="*/ 698 h 701"/>
                <a:gd name="T56" fmla="*/ 98 w 729"/>
                <a:gd name="T57" fmla="*/ 566 h 701"/>
                <a:gd name="T58" fmla="*/ 10 w 729"/>
                <a:gd name="T59" fmla="*/ 436 h 701"/>
                <a:gd name="T60" fmla="*/ 0 w 729"/>
                <a:gd name="T61" fmla="*/ 39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9" h="701">
                  <a:moveTo>
                    <a:pt x="0" y="390"/>
                  </a:moveTo>
                  <a:cubicBezTo>
                    <a:pt x="0" y="372"/>
                    <a:pt x="0" y="355"/>
                    <a:pt x="0" y="337"/>
                  </a:cubicBezTo>
                  <a:cubicBezTo>
                    <a:pt x="1" y="335"/>
                    <a:pt x="2" y="333"/>
                    <a:pt x="3" y="331"/>
                  </a:cubicBezTo>
                  <a:cubicBezTo>
                    <a:pt x="9" y="290"/>
                    <a:pt x="24" y="254"/>
                    <a:pt x="47" y="220"/>
                  </a:cubicBezTo>
                  <a:cubicBezTo>
                    <a:pt x="95" y="149"/>
                    <a:pt x="162" y="105"/>
                    <a:pt x="239" y="72"/>
                  </a:cubicBezTo>
                  <a:cubicBezTo>
                    <a:pt x="322" y="36"/>
                    <a:pt x="410" y="18"/>
                    <a:pt x="499" y="7"/>
                  </a:cubicBezTo>
                  <a:cubicBezTo>
                    <a:pt x="521" y="4"/>
                    <a:pt x="542" y="3"/>
                    <a:pt x="564" y="0"/>
                  </a:cubicBezTo>
                  <a:cubicBezTo>
                    <a:pt x="564" y="4"/>
                    <a:pt x="564" y="5"/>
                    <a:pt x="563" y="6"/>
                  </a:cubicBezTo>
                  <a:cubicBezTo>
                    <a:pt x="562" y="10"/>
                    <a:pt x="560" y="15"/>
                    <a:pt x="558" y="20"/>
                  </a:cubicBezTo>
                  <a:cubicBezTo>
                    <a:pt x="536" y="81"/>
                    <a:pt x="518" y="143"/>
                    <a:pt x="523" y="209"/>
                  </a:cubicBezTo>
                  <a:cubicBezTo>
                    <a:pt x="527" y="248"/>
                    <a:pt x="541" y="281"/>
                    <a:pt x="574" y="303"/>
                  </a:cubicBezTo>
                  <a:cubicBezTo>
                    <a:pt x="589" y="313"/>
                    <a:pt x="603" y="324"/>
                    <a:pt x="617" y="335"/>
                  </a:cubicBezTo>
                  <a:cubicBezTo>
                    <a:pt x="658" y="366"/>
                    <a:pt x="692" y="402"/>
                    <a:pt x="708" y="453"/>
                  </a:cubicBezTo>
                  <a:cubicBezTo>
                    <a:pt x="729" y="525"/>
                    <a:pt x="712" y="588"/>
                    <a:pt x="653" y="631"/>
                  </a:cubicBezTo>
                  <a:cubicBezTo>
                    <a:pt x="595" y="675"/>
                    <a:pt x="527" y="689"/>
                    <a:pt x="457" y="700"/>
                  </a:cubicBezTo>
                  <a:cubicBezTo>
                    <a:pt x="460" y="696"/>
                    <a:pt x="465" y="694"/>
                    <a:pt x="469" y="690"/>
                  </a:cubicBezTo>
                  <a:cubicBezTo>
                    <a:pt x="484" y="677"/>
                    <a:pt x="502" y="664"/>
                    <a:pt x="515" y="648"/>
                  </a:cubicBezTo>
                  <a:cubicBezTo>
                    <a:pt x="535" y="623"/>
                    <a:pt x="534" y="595"/>
                    <a:pt x="512" y="571"/>
                  </a:cubicBezTo>
                  <a:cubicBezTo>
                    <a:pt x="498" y="555"/>
                    <a:pt x="480" y="543"/>
                    <a:pt x="463" y="530"/>
                  </a:cubicBezTo>
                  <a:cubicBezTo>
                    <a:pt x="452" y="521"/>
                    <a:pt x="440" y="515"/>
                    <a:pt x="429" y="505"/>
                  </a:cubicBezTo>
                  <a:cubicBezTo>
                    <a:pt x="407" y="486"/>
                    <a:pt x="388" y="464"/>
                    <a:pt x="401" y="429"/>
                  </a:cubicBezTo>
                  <a:cubicBezTo>
                    <a:pt x="357" y="441"/>
                    <a:pt x="318" y="455"/>
                    <a:pt x="289" y="489"/>
                  </a:cubicBezTo>
                  <a:cubicBezTo>
                    <a:pt x="261" y="522"/>
                    <a:pt x="262" y="569"/>
                    <a:pt x="293" y="598"/>
                  </a:cubicBezTo>
                  <a:cubicBezTo>
                    <a:pt x="311" y="615"/>
                    <a:pt x="333" y="629"/>
                    <a:pt x="352" y="645"/>
                  </a:cubicBezTo>
                  <a:cubicBezTo>
                    <a:pt x="368" y="657"/>
                    <a:pt x="384" y="669"/>
                    <a:pt x="399" y="682"/>
                  </a:cubicBezTo>
                  <a:cubicBezTo>
                    <a:pt x="404" y="686"/>
                    <a:pt x="407" y="693"/>
                    <a:pt x="411" y="699"/>
                  </a:cubicBezTo>
                  <a:cubicBezTo>
                    <a:pt x="407" y="700"/>
                    <a:pt x="405" y="701"/>
                    <a:pt x="404" y="701"/>
                  </a:cubicBezTo>
                  <a:cubicBezTo>
                    <a:pt x="398" y="700"/>
                    <a:pt x="393" y="699"/>
                    <a:pt x="388" y="698"/>
                  </a:cubicBezTo>
                  <a:cubicBezTo>
                    <a:pt x="282" y="674"/>
                    <a:pt x="182" y="637"/>
                    <a:pt x="98" y="566"/>
                  </a:cubicBezTo>
                  <a:cubicBezTo>
                    <a:pt x="57" y="531"/>
                    <a:pt x="26" y="489"/>
                    <a:pt x="10" y="436"/>
                  </a:cubicBezTo>
                  <a:cubicBezTo>
                    <a:pt x="6" y="421"/>
                    <a:pt x="4" y="405"/>
                    <a:pt x="0" y="39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9" name="Freeform 21"/>
          <p:cNvSpPr>
            <a:spLocks/>
          </p:cNvSpPr>
          <p:nvPr/>
        </p:nvSpPr>
        <p:spPr bwMode="auto">
          <a:xfrm>
            <a:off x="5961110" y="3140071"/>
            <a:ext cx="169134" cy="176567"/>
          </a:xfrm>
          <a:custGeom>
            <a:avLst/>
            <a:gdLst>
              <a:gd name="T0" fmla="*/ 347 w 859"/>
              <a:gd name="T1" fmla="*/ 496 h 897"/>
              <a:gd name="T2" fmla="*/ 9 w 859"/>
              <a:gd name="T3" fmla="*/ 496 h 897"/>
              <a:gd name="T4" fmla="*/ 17 w 859"/>
              <a:gd name="T5" fmla="*/ 484 h 897"/>
              <a:gd name="T6" fmla="*/ 429 w 859"/>
              <a:gd name="T7" fmla="*/ 9 h 897"/>
              <a:gd name="T8" fmla="*/ 444 w 859"/>
              <a:gd name="T9" fmla="*/ 1 h 897"/>
              <a:gd name="T10" fmla="*/ 808 w 859"/>
              <a:gd name="T11" fmla="*/ 0 h 897"/>
              <a:gd name="T12" fmla="*/ 815 w 859"/>
              <a:gd name="T13" fmla="*/ 2 h 897"/>
              <a:gd name="T14" fmla="*/ 529 w 859"/>
              <a:gd name="T15" fmla="*/ 332 h 897"/>
              <a:gd name="T16" fmla="*/ 858 w 859"/>
              <a:gd name="T17" fmla="*/ 332 h 897"/>
              <a:gd name="T18" fmla="*/ 859 w 859"/>
              <a:gd name="T19" fmla="*/ 335 h 897"/>
              <a:gd name="T20" fmla="*/ 2 w 859"/>
              <a:gd name="T21" fmla="*/ 897 h 897"/>
              <a:gd name="T22" fmla="*/ 0 w 859"/>
              <a:gd name="T23" fmla="*/ 895 h 897"/>
              <a:gd name="T24" fmla="*/ 347 w 859"/>
              <a:gd name="T25" fmla="*/ 49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9" h="897">
                <a:moveTo>
                  <a:pt x="347" y="496"/>
                </a:moveTo>
                <a:cubicBezTo>
                  <a:pt x="233" y="496"/>
                  <a:pt x="123" y="496"/>
                  <a:pt x="9" y="496"/>
                </a:cubicBezTo>
                <a:cubicBezTo>
                  <a:pt x="12" y="490"/>
                  <a:pt x="15" y="487"/>
                  <a:pt x="17" y="484"/>
                </a:cubicBezTo>
                <a:cubicBezTo>
                  <a:pt x="154" y="326"/>
                  <a:pt x="291" y="167"/>
                  <a:pt x="429" y="9"/>
                </a:cubicBezTo>
                <a:cubicBezTo>
                  <a:pt x="432" y="5"/>
                  <a:pt x="439" y="1"/>
                  <a:pt x="444" y="1"/>
                </a:cubicBezTo>
                <a:cubicBezTo>
                  <a:pt x="565" y="0"/>
                  <a:pt x="687" y="0"/>
                  <a:pt x="808" y="0"/>
                </a:cubicBezTo>
                <a:cubicBezTo>
                  <a:pt x="810" y="0"/>
                  <a:pt x="811" y="1"/>
                  <a:pt x="815" y="2"/>
                </a:cubicBezTo>
                <a:cubicBezTo>
                  <a:pt x="719" y="111"/>
                  <a:pt x="625" y="220"/>
                  <a:pt x="529" y="332"/>
                </a:cubicBezTo>
                <a:cubicBezTo>
                  <a:pt x="640" y="332"/>
                  <a:pt x="749" y="332"/>
                  <a:pt x="858" y="332"/>
                </a:cubicBezTo>
                <a:cubicBezTo>
                  <a:pt x="859" y="333"/>
                  <a:pt x="859" y="334"/>
                  <a:pt x="859" y="335"/>
                </a:cubicBezTo>
                <a:cubicBezTo>
                  <a:pt x="573" y="522"/>
                  <a:pt x="288" y="709"/>
                  <a:pt x="2" y="897"/>
                </a:cubicBezTo>
                <a:cubicBezTo>
                  <a:pt x="1" y="896"/>
                  <a:pt x="1" y="895"/>
                  <a:pt x="0" y="895"/>
                </a:cubicBezTo>
                <a:cubicBezTo>
                  <a:pt x="115" y="762"/>
                  <a:pt x="230" y="630"/>
                  <a:pt x="347" y="4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1" name="Group 24"/>
          <p:cNvGrpSpPr>
            <a:grpSpLocks noChangeAspect="1"/>
          </p:cNvGrpSpPr>
          <p:nvPr/>
        </p:nvGrpSpPr>
        <p:grpSpPr bwMode="auto">
          <a:xfrm>
            <a:off x="6877042" y="1593763"/>
            <a:ext cx="444267" cy="477925"/>
            <a:chOff x="4332" y="1021"/>
            <a:chExt cx="264" cy="284"/>
          </a:xfrm>
          <a:solidFill>
            <a:schemeClr val="bg1"/>
          </a:solidFill>
        </p:grpSpPr>
        <p:sp>
          <p:nvSpPr>
            <p:cNvPr id="74" name="Freeform 25"/>
            <p:cNvSpPr>
              <a:spLocks/>
            </p:cNvSpPr>
            <p:nvPr/>
          </p:nvSpPr>
          <p:spPr bwMode="auto">
            <a:xfrm>
              <a:off x="4340" y="1021"/>
              <a:ext cx="256" cy="265"/>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26"/>
            <p:cNvSpPr>
              <a:spLocks/>
            </p:cNvSpPr>
            <p:nvPr/>
          </p:nvSpPr>
          <p:spPr bwMode="auto">
            <a:xfrm>
              <a:off x="4478" y="1119"/>
              <a:ext cx="37" cy="186"/>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27"/>
            <p:cNvSpPr>
              <a:spLocks/>
            </p:cNvSpPr>
            <p:nvPr/>
          </p:nvSpPr>
          <p:spPr bwMode="auto">
            <a:xfrm>
              <a:off x="4425" y="1140"/>
              <a:ext cx="38" cy="142"/>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28"/>
            <p:cNvSpPr>
              <a:spLocks/>
            </p:cNvSpPr>
            <p:nvPr/>
          </p:nvSpPr>
          <p:spPr bwMode="auto">
            <a:xfrm>
              <a:off x="4378" y="1152"/>
              <a:ext cx="39" cy="110"/>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29"/>
            <p:cNvSpPr>
              <a:spLocks/>
            </p:cNvSpPr>
            <p:nvPr/>
          </p:nvSpPr>
          <p:spPr bwMode="auto">
            <a:xfrm>
              <a:off x="4332" y="1172"/>
              <a:ext cx="39" cy="7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293142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269240" y="284522"/>
          <a:ext cx="11653523" cy="6274973"/>
        </p:xfrm>
        <a:graphic>
          <a:graphicData uri="http://schemas.openxmlformats.org/drawingml/2006/table">
            <a:tbl>
              <a:tblPr>
                <a:tableStyleId>{5C22544A-7EE6-4342-B048-85BDC9FD1C3A}</a:tableStyleId>
              </a:tblPr>
              <a:tblGrid>
                <a:gridCol w="680224">
                  <a:extLst>
                    <a:ext uri="{9D8B030D-6E8A-4147-A177-3AD203B41FA5}">
                      <a16:colId xmlns:a16="http://schemas.microsoft.com/office/drawing/2014/main" val="1418653371"/>
                    </a:ext>
                  </a:extLst>
                </a:gridCol>
                <a:gridCol w="2601292">
                  <a:extLst>
                    <a:ext uri="{9D8B030D-6E8A-4147-A177-3AD203B41FA5}">
                      <a16:colId xmlns:a16="http://schemas.microsoft.com/office/drawing/2014/main" val="133692856"/>
                    </a:ext>
                  </a:extLst>
                </a:gridCol>
                <a:gridCol w="2545248">
                  <a:extLst>
                    <a:ext uri="{9D8B030D-6E8A-4147-A177-3AD203B41FA5}">
                      <a16:colId xmlns:a16="http://schemas.microsoft.com/office/drawing/2014/main" val="814114161"/>
                    </a:ext>
                  </a:extLst>
                </a:gridCol>
                <a:gridCol w="1942253">
                  <a:extLst>
                    <a:ext uri="{9D8B030D-6E8A-4147-A177-3AD203B41FA5}">
                      <a16:colId xmlns:a16="http://schemas.microsoft.com/office/drawing/2014/main" val="351326256"/>
                    </a:ext>
                  </a:extLst>
                </a:gridCol>
                <a:gridCol w="1942253">
                  <a:extLst>
                    <a:ext uri="{9D8B030D-6E8A-4147-A177-3AD203B41FA5}">
                      <a16:colId xmlns:a16="http://schemas.microsoft.com/office/drawing/2014/main" val="3538621009"/>
                    </a:ext>
                  </a:extLst>
                </a:gridCol>
                <a:gridCol w="1942253">
                  <a:extLst>
                    <a:ext uri="{9D8B030D-6E8A-4147-A177-3AD203B41FA5}">
                      <a16:colId xmlns:a16="http://schemas.microsoft.com/office/drawing/2014/main" val="3013308615"/>
                    </a:ext>
                  </a:extLst>
                </a:gridCol>
              </a:tblGrid>
              <a:tr h="688322">
                <a:tc>
                  <a:txBody>
                    <a:bodyPr/>
                    <a:lstStyle/>
                    <a:p>
                      <a:pPr algn="r">
                        <a:lnSpc>
                          <a:spcPct val="90000"/>
                        </a:lnSpc>
                      </a:pPr>
                      <a:endParaRPr lang="en-US" sz="1800" b="1" spc="0" baseline="0" dirty="0">
                        <a:solidFill>
                          <a:schemeClr val="accent4"/>
                        </a:solidFill>
                        <a:latin typeface="+mn-lt"/>
                      </a:endParaRPr>
                    </a:p>
                  </a:txBody>
                  <a:tcPr marL="91427" marR="182854" marT="45713" marB="45713">
                    <a:lnL w="317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6350" cap="flat" cmpd="sng" algn="ctr">
                      <a:solidFill>
                        <a:schemeClr val="bg1"/>
                      </a:solidFill>
                      <a:prstDash val="solid"/>
                      <a:round/>
                      <a:headEnd type="none" w="med" len="med"/>
                      <a:tailEnd type="none" w="med" len="med"/>
                    </a:lnTlToBr>
                    <a:lnBlToTr w="12700" cmpd="sng">
                      <a:noFill/>
                      <a:prstDash val="solid"/>
                    </a:lnBlToTr>
                    <a:solidFill>
                      <a:schemeClr val="accent3"/>
                    </a:solidFill>
                  </a:tcPr>
                </a:tc>
                <a:tc>
                  <a:txBody>
                    <a:bodyPr/>
                    <a:lstStyle/>
                    <a:p>
                      <a:pPr algn="r">
                        <a:lnSpc>
                          <a:spcPct val="90000"/>
                        </a:lnSpc>
                      </a:pPr>
                      <a:endParaRPr lang="en-US" sz="1800" spc="0" baseline="0" dirty="0">
                        <a:solidFill>
                          <a:schemeClr val="bg1"/>
                        </a:solidFill>
                        <a:latin typeface="+mj-lt"/>
                      </a:endParaRPr>
                    </a:p>
                  </a:txBody>
                  <a:tcPr marL="91427" marR="182854" marT="45713" marB="45713">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3"/>
                    </a:solidFill>
                  </a:tcPr>
                </a:tc>
                <a:tc gridSpan="4">
                  <a:txBody>
                    <a:bodyPr/>
                    <a:lstStyle/>
                    <a:p>
                      <a:pPr algn="ctr"/>
                      <a:r>
                        <a:rPr lang="en-US" sz="3200" b="0" dirty="0" smtClean="0">
                          <a:gradFill>
                            <a:gsLst>
                              <a:gs pos="100000">
                                <a:schemeClr val="bg1"/>
                              </a:gs>
                              <a:gs pos="1250">
                                <a:schemeClr val="bg1"/>
                              </a:gs>
                            </a:gsLst>
                            <a:lin ang="5400000" scaled="0"/>
                          </a:gradFill>
                          <a:latin typeface="Segoe Pro Semibold" panose="020B0702040504020203" pitchFamily="34" charset="0"/>
                        </a:rPr>
                        <a:t>Era</a:t>
                      </a:r>
                      <a:endParaRPr lang="en-US" sz="3200" b="0" dirty="0">
                        <a:gradFill>
                          <a:gsLst>
                            <a:gs pos="100000">
                              <a:schemeClr val="bg1"/>
                            </a:gs>
                            <a:gs pos="1250">
                              <a:schemeClr val="bg1"/>
                            </a:gs>
                          </a:gsLst>
                          <a:lin ang="5400000" scaled="0"/>
                        </a:gradFill>
                        <a:latin typeface="Segoe Pro Semibold" panose="020B0702040504020203" pitchFamily="34" charset="0"/>
                      </a:endParaRPr>
                    </a:p>
                  </a:txBody>
                  <a:tcPr marL="91427" marR="91427" marT="45713" marB="45713"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endParaRPr lang="en-US" sz="1800"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899838312"/>
                  </a:ext>
                </a:extLst>
              </a:tr>
              <a:tr h="565147">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endParaRPr lang="en-US" sz="2800" b="1" spc="0" baseline="0" dirty="0" smtClean="0">
                        <a:solidFill>
                          <a:schemeClr val="bg1"/>
                        </a:solidFill>
                        <a:latin typeface="+mn-lt"/>
                      </a:endParaRPr>
                    </a:p>
                  </a:txBody>
                  <a:tcPr marL="91427" marR="182854" marT="45713" marB="45713">
                    <a:lnL w="31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3"/>
                    </a:solidFill>
                  </a:tcPr>
                </a:tc>
                <a:tc>
                  <a:txBody>
                    <a:bodyPr/>
                    <a:lstStyle/>
                    <a:p>
                      <a:pPr algn="r">
                        <a:lnSpc>
                          <a:spcPct val="90000"/>
                        </a:lnSpc>
                      </a:pPr>
                      <a:endParaRPr lang="en-US" sz="1800" spc="0" baseline="0" dirty="0">
                        <a:solidFill>
                          <a:schemeClr val="bg1"/>
                        </a:solidFill>
                        <a:latin typeface="+mj-lt"/>
                      </a:endParaRPr>
                    </a:p>
                  </a:txBody>
                  <a:tcPr marL="91427" marR="182854" marT="45713" marB="45713">
                    <a:lnL w="2857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Mainframe</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63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PC</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Smartphone</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b="0" dirty="0" smtClean="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rPr>
                        <a:t>Things</a:t>
                      </a:r>
                      <a:endParaRPr lang="en-US" sz="2000" b="0" dirty="0">
                        <a:gradFill>
                          <a:gsLst>
                            <a:gs pos="100000">
                              <a:schemeClr val="bg1"/>
                            </a:gs>
                            <a:gs pos="1250">
                              <a:schemeClr val="bg1"/>
                            </a:gs>
                          </a:gsLst>
                          <a:lin ang="5400000" scaled="0"/>
                        </a:gradFill>
                        <a:latin typeface="Segoe Pro SemiLight" panose="020B0402040204020203" pitchFamily="34" charset="0"/>
                        <a:cs typeface="Segoe UI" panose="020B0502040204020203" pitchFamily="34" charset="0"/>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4942511"/>
                  </a:ext>
                </a:extLst>
              </a:tr>
              <a:tr h="593456">
                <a:tc rowSpan="8">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3200" b="0" kern="1200" dirty="0" smtClean="0">
                          <a:gradFill>
                            <a:gsLst>
                              <a:gs pos="100000">
                                <a:schemeClr val="bg1"/>
                              </a:gs>
                              <a:gs pos="1250">
                                <a:schemeClr val="bg1"/>
                              </a:gs>
                            </a:gsLst>
                            <a:lin ang="5400000" scaled="0"/>
                          </a:gradFill>
                          <a:latin typeface="Segoe Pro Semibold" panose="020B0702040504020203" pitchFamily="34" charset="0"/>
                          <a:ea typeface="+mn-ea"/>
                          <a:cs typeface="+mn-cs"/>
                        </a:rPr>
                        <a:t>Disruption vectors</a:t>
                      </a:r>
                    </a:p>
                  </a:txBody>
                  <a:tcPr marL="137141" marR="137141" marT="137141" marB="137141" vert="vert270" anchor="ctr">
                    <a:lnL w="31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Form factor</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600" dirty="0"/>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6628824"/>
                  </a:ext>
                </a:extLst>
              </a:tr>
              <a:tr h="626951">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Compute paradigm</a:t>
                      </a:r>
                      <a:endParaRPr lang="en-US" sz="20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Local</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Client-server</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baseline="0" dirty="0" smtClean="0">
                          <a:gradFill>
                            <a:gsLst>
                              <a:gs pos="100000">
                                <a:schemeClr val="tx1"/>
                              </a:gs>
                              <a:gs pos="1250">
                                <a:schemeClr val="tx1"/>
                              </a:gs>
                            </a:gsLst>
                            <a:lin ang="5400000" scaled="0"/>
                          </a:gradFill>
                        </a:rPr>
                        <a:t>Apps and cloud</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Ubiquitous computing</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56179158"/>
                  </a:ext>
                </a:extLst>
              </a:tr>
              <a:tr h="565147">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Connectivity</a:t>
                      </a:r>
                      <a:endParaRPr lang="en-US" sz="20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Wired</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Wired/</a:t>
                      </a:r>
                      <a:r>
                        <a:rPr lang="en-US" sz="1400" kern="1200" dirty="0" smtClean="0">
                          <a:gradFill>
                            <a:gsLst>
                              <a:gs pos="100000">
                                <a:schemeClr val="tx1"/>
                              </a:gs>
                              <a:gs pos="1250">
                                <a:schemeClr val="tx1"/>
                              </a:gs>
                            </a:gsLst>
                            <a:lin ang="5400000" scaled="0"/>
                          </a:gradFill>
                          <a:latin typeface="+mn-lt"/>
                          <a:ea typeface="+mn-ea"/>
                          <a:cs typeface="+mn-cs"/>
                        </a:rPr>
                        <a:t>Wi-Fi</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kern="1200" dirty="0" smtClean="0">
                          <a:gradFill>
                            <a:gsLst>
                              <a:gs pos="100000">
                                <a:schemeClr val="tx1"/>
                              </a:gs>
                              <a:gs pos="1250">
                                <a:schemeClr val="tx1"/>
                              </a:gs>
                            </a:gsLst>
                            <a:lin ang="5400000" scaled="0"/>
                          </a:gradFill>
                          <a:latin typeface="+mn-lt"/>
                          <a:ea typeface="+mn-ea"/>
                          <a:cs typeface="+mn-cs"/>
                        </a:rPr>
                        <a:t>Wi-Fi/cellular</a:t>
                      </a:r>
                      <a:endParaRPr lang="en-US" sz="1400" kern="1200" dirty="0">
                        <a:gradFill>
                          <a:gsLst>
                            <a:gs pos="100000">
                              <a:schemeClr val="tx1"/>
                            </a:gs>
                            <a:gs pos="1250">
                              <a:schemeClr val="tx1"/>
                            </a:gs>
                          </a:gsLst>
                          <a:lin ang="5400000" scaled="0"/>
                        </a:gradFill>
                        <a:latin typeface="+mn-lt"/>
                        <a:ea typeface="+mn-ea"/>
                        <a:cs typeface="+mn-cs"/>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kern="1200" dirty="0" smtClean="0">
                          <a:gradFill>
                            <a:gsLst>
                              <a:gs pos="100000">
                                <a:schemeClr val="tx1"/>
                              </a:gs>
                              <a:gs pos="1250">
                                <a:schemeClr val="tx1"/>
                              </a:gs>
                            </a:gsLst>
                            <a:lin ang="5400000" scaled="0"/>
                          </a:gradFill>
                          <a:latin typeface="+mn-lt"/>
                          <a:ea typeface="+mn-ea"/>
                          <a:cs typeface="+mn-cs"/>
                        </a:rPr>
                        <a:t>Low power </a:t>
                      </a:r>
                      <a:br>
                        <a:rPr lang="en-US" sz="1400" kern="1200" dirty="0" smtClean="0">
                          <a:gradFill>
                            <a:gsLst>
                              <a:gs pos="100000">
                                <a:schemeClr val="tx1"/>
                              </a:gs>
                              <a:gs pos="1250">
                                <a:schemeClr val="tx1"/>
                              </a:gs>
                            </a:gsLst>
                            <a:lin ang="5400000" scaled="0"/>
                          </a:gradFill>
                          <a:latin typeface="+mn-lt"/>
                          <a:ea typeface="+mn-ea"/>
                          <a:cs typeface="+mn-cs"/>
                        </a:rPr>
                      </a:br>
                      <a:r>
                        <a:rPr lang="en-US" sz="1400" kern="1200" dirty="0" smtClean="0">
                          <a:gradFill>
                            <a:gsLst>
                              <a:gs pos="100000">
                                <a:schemeClr val="tx1"/>
                              </a:gs>
                              <a:gs pos="1250">
                                <a:schemeClr val="tx1"/>
                              </a:gs>
                            </a:gsLst>
                            <a:lin ang="5400000" scaled="0"/>
                          </a:gradFill>
                          <a:latin typeface="+mn-lt"/>
                          <a:ea typeface="+mn-ea"/>
                          <a:cs typeface="+mn-cs"/>
                        </a:rPr>
                        <a:t>near-field</a:t>
                      </a:r>
                      <a:endParaRPr lang="en-US" sz="1400" kern="1200" dirty="0">
                        <a:gradFill>
                          <a:gsLst>
                            <a:gs pos="100000">
                              <a:schemeClr val="tx1"/>
                            </a:gs>
                            <a:gs pos="1250">
                              <a:schemeClr val="tx1"/>
                            </a:gs>
                          </a:gsLst>
                          <a:lin ang="5400000" scaled="0"/>
                        </a:gradFill>
                        <a:latin typeface="+mn-lt"/>
                        <a:ea typeface="+mn-ea"/>
                        <a:cs typeface="+mn-cs"/>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06512062"/>
                  </a:ext>
                </a:extLst>
              </a:tr>
              <a:tr h="626951">
                <a:tc vMerge="1">
                  <a:txBody>
                    <a:bodyPr/>
                    <a:lstStyle/>
                    <a:p>
                      <a:pPr algn="r">
                        <a:lnSpc>
                          <a:spcPct val="90000"/>
                        </a:lnSpc>
                      </a:pPr>
                      <a:endParaRPr lang="en-US" sz="1800" spc="0" baseline="0" dirty="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r">
                        <a:lnSpc>
                          <a:spcPct val="90000"/>
                        </a:lnSpc>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User interface </a:t>
                      </a:r>
                      <a:br>
                        <a:rPr lang="en-US" sz="2000" b="0" spc="0" baseline="0" dirty="0" smtClean="0">
                          <a:gradFill>
                            <a:gsLst>
                              <a:gs pos="100000">
                                <a:schemeClr val="bg1"/>
                              </a:gs>
                              <a:gs pos="1250">
                                <a:schemeClr val="bg1"/>
                              </a:gs>
                            </a:gsLst>
                            <a:lin ang="5400000" scaled="0"/>
                          </a:gradFill>
                          <a:latin typeface="Segoe Pro SemiLight" panose="020B0402040204020203" pitchFamily="34" charset="0"/>
                        </a:rPr>
                      </a:br>
                      <a:r>
                        <a:rPr lang="en-US" sz="1600" b="0" spc="0" baseline="0" dirty="0" smtClean="0">
                          <a:gradFill>
                            <a:gsLst>
                              <a:gs pos="100000">
                                <a:schemeClr val="bg1"/>
                              </a:gs>
                              <a:gs pos="1250">
                                <a:schemeClr val="bg1"/>
                              </a:gs>
                            </a:gsLst>
                            <a:lin ang="5400000" scaled="0"/>
                          </a:gradFill>
                          <a:latin typeface="Segoe Pro SemiLight" panose="020B0402040204020203" pitchFamily="34" charset="0"/>
                        </a:rPr>
                        <a:t>(how)</a:t>
                      </a:r>
                      <a:endParaRPr lang="en-US" sz="1600" b="0" spc="0" baseline="0" dirty="0">
                        <a:gradFill>
                          <a:gsLst>
                            <a:gs pos="100000">
                              <a:schemeClr val="bg1"/>
                            </a:gs>
                            <a:gs pos="1250">
                              <a:schemeClr val="bg1"/>
                            </a:gs>
                          </a:gsLst>
                          <a:lin ang="5400000" scaled="0"/>
                        </a:gradFill>
                        <a:latin typeface="Segoe Pro SemiLight" panose="020B0402040204020203" pitchFamily="34" charset="0"/>
                      </a:endParaRP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Mechanic</a:t>
                      </a:r>
                    </a:p>
                    <a:p>
                      <a:pPr algn="ctr">
                        <a:lnSpc>
                          <a:spcPct val="90000"/>
                        </a:lnSpc>
                      </a:pPr>
                      <a:r>
                        <a:rPr lang="en-US" sz="1000" dirty="0" smtClean="0">
                          <a:gradFill>
                            <a:gsLst>
                              <a:gs pos="100000">
                                <a:schemeClr val="tx1"/>
                              </a:gs>
                              <a:gs pos="1250">
                                <a:schemeClr val="tx1"/>
                              </a:gs>
                            </a:gsLst>
                            <a:lin ang="5400000" scaled="0"/>
                          </a:gradFill>
                        </a:rPr>
                        <a:t>(punch card</a:t>
                      </a:r>
                      <a:r>
                        <a:rPr lang="en-US" sz="1000" baseline="0" dirty="0" smtClean="0">
                          <a:gradFill>
                            <a:gsLst>
                              <a:gs pos="100000">
                                <a:schemeClr val="tx1"/>
                              </a:gs>
                              <a:gs pos="1250">
                                <a:schemeClr val="tx1"/>
                              </a:gs>
                            </a:gsLst>
                            <a:lin ang="5400000" scaled="0"/>
                          </a:gradFill>
                        </a:rPr>
                        <a:t> &gt; </a:t>
                      </a:r>
                      <a:r>
                        <a:rPr lang="en-US" sz="1000" dirty="0" smtClean="0">
                          <a:gradFill>
                            <a:gsLst>
                              <a:gs pos="100000">
                                <a:schemeClr val="tx1"/>
                              </a:gs>
                              <a:gs pos="1250">
                                <a:schemeClr val="tx1"/>
                              </a:gs>
                            </a:gsLst>
                            <a:lin ang="5400000" scaled="0"/>
                          </a:gradFill>
                        </a:rPr>
                        <a:t>tape</a:t>
                      </a:r>
                      <a:r>
                        <a:rPr lang="en-US" sz="1000" baseline="0" dirty="0" smtClean="0">
                          <a:gradFill>
                            <a:gsLst>
                              <a:gs pos="100000">
                                <a:schemeClr val="tx1"/>
                              </a:gs>
                              <a:gs pos="1250">
                                <a:schemeClr val="tx1"/>
                              </a:gs>
                            </a:gsLst>
                            <a:lin ang="5400000" scaled="0"/>
                          </a:gradFill>
                        </a:rPr>
                        <a:t> &gt; disk</a:t>
                      </a:r>
                      <a:r>
                        <a:rPr lang="en-US" sz="1000" dirty="0" smtClean="0">
                          <a:gradFill>
                            <a:gsLst>
                              <a:gs pos="100000">
                                <a:schemeClr val="tx1"/>
                              </a:gs>
                              <a:gs pos="1250">
                                <a:schemeClr val="tx1"/>
                              </a:gs>
                            </a:gsLst>
                            <a:lin ang="5400000" scaled="0"/>
                          </a:gradFill>
                        </a:rPr>
                        <a:t>)</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Haptic </a:t>
                      </a:r>
                      <a:br>
                        <a:rPr lang="en-US" sz="14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keyboard and mouse)</a:t>
                      </a:r>
                      <a:endParaRPr lang="en-US" sz="11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Touch</a:t>
                      </a:r>
                    </a:p>
                    <a:p>
                      <a:pPr algn="ctr">
                        <a:lnSpc>
                          <a:spcPct val="90000"/>
                        </a:lnSpc>
                      </a:pPr>
                      <a:r>
                        <a:rPr lang="en-US" sz="1000" dirty="0" smtClean="0">
                          <a:gradFill>
                            <a:gsLst>
                              <a:gs pos="100000">
                                <a:schemeClr val="tx1"/>
                              </a:gs>
                              <a:gs pos="1250">
                                <a:schemeClr val="tx1"/>
                              </a:gs>
                            </a:gsLst>
                            <a:lin ang="5400000" scaled="0"/>
                          </a:gradFill>
                        </a:rPr>
                        <a:t>(Swipe</a:t>
                      </a:r>
                      <a:r>
                        <a:rPr lang="en-US" sz="1000" baseline="0" dirty="0" smtClean="0">
                          <a:gradFill>
                            <a:gsLst>
                              <a:gs pos="100000">
                                <a:schemeClr val="tx1"/>
                              </a:gs>
                              <a:gs pos="1250">
                                <a:schemeClr val="tx1"/>
                              </a:gs>
                            </a:gsLst>
                            <a:lin ang="5400000" scaled="0"/>
                          </a:gradFill>
                        </a:rPr>
                        <a:t> and gestures)</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MPC</a:t>
                      </a:r>
                    </a:p>
                    <a:p>
                      <a:pPr algn="ctr">
                        <a:lnSpc>
                          <a:spcPct val="90000"/>
                        </a:lnSpc>
                      </a:pPr>
                      <a:r>
                        <a:rPr lang="en-US" sz="1000" dirty="0" smtClean="0">
                          <a:gradFill>
                            <a:gsLst>
                              <a:gs pos="100000">
                                <a:schemeClr val="tx1"/>
                              </a:gs>
                              <a:gs pos="1250">
                                <a:schemeClr val="tx1"/>
                              </a:gs>
                            </a:gsLst>
                            <a:lin ang="5400000" scaled="0"/>
                          </a:gradFill>
                        </a:rPr>
                        <a:t>(Contextual, NUI)</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95748004"/>
                  </a:ext>
                </a:extLst>
              </a:tr>
              <a:tr h="626951">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User interface </a:t>
                      </a:r>
                      <a:br>
                        <a:rPr lang="en-US" sz="2000" b="0" spc="0" baseline="0" dirty="0" smtClean="0">
                          <a:gradFill>
                            <a:gsLst>
                              <a:gs pos="100000">
                                <a:schemeClr val="bg1"/>
                              </a:gs>
                              <a:gs pos="1250">
                                <a:schemeClr val="bg1"/>
                              </a:gs>
                            </a:gsLst>
                            <a:lin ang="5400000" scaled="0"/>
                          </a:gradFill>
                          <a:latin typeface="Segoe Pro SemiLight" panose="020B0402040204020203" pitchFamily="34" charset="0"/>
                        </a:rPr>
                      </a:br>
                      <a:r>
                        <a:rPr lang="en-US" sz="1600" b="0" spc="0" baseline="0" dirty="0" smtClean="0">
                          <a:gradFill>
                            <a:gsLst>
                              <a:gs pos="100000">
                                <a:schemeClr val="bg1"/>
                              </a:gs>
                              <a:gs pos="1250">
                                <a:schemeClr val="bg1"/>
                              </a:gs>
                            </a:gsLst>
                            <a:lin ang="5400000" scaled="0"/>
                          </a:gradFill>
                          <a:latin typeface="Segoe Pro SemiLight" panose="020B0402040204020203" pitchFamily="34" charset="0"/>
                        </a:rPr>
                        <a:t>(where)</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erver room</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Desk</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Pocket</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Ambient</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593456">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Differentiators</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I/O and </a:t>
                      </a:r>
                      <a:br>
                        <a:rPr lang="en-US" sz="140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data</a:t>
                      </a:r>
                      <a:r>
                        <a:rPr lang="en-US" sz="1400" baseline="0" dirty="0" smtClean="0">
                          <a:gradFill>
                            <a:gsLst>
                              <a:gs pos="100000">
                                <a:schemeClr val="tx1"/>
                              </a:gs>
                              <a:gs pos="1250">
                                <a:schemeClr val="tx1"/>
                              </a:gs>
                            </a:gsLst>
                            <a:lin ang="5400000" scaled="0"/>
                          </a:gradFill>
                        </a:rPr>
                        <a:t> proces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Feature wars and</a:t>
                      </a:r>
                      <a:r>
                        <a:rPr lang="en-US" sz="1400" baseline="0" dirty="0" smtClean="0">
                          <a:gradFill>
                            <a:gsLst>
                              <a:gs pos="100000">
                                <a:schemeClr val="tx1"/>
                              </a:gs>
                              <a:gs pos="1250">
                                <a:schemeClr val="tx1"/>
                              </a:gs>
                            </a:gsLst>
                            <a:lin ang="5400000" scaled="0"/>
                          </a:gradFill>
                        </a:rPr>
                        <a:t> </a:t>
                      </a:r>
                      <a:br>
                        <a:rPr lang="en-US" sz="1400" baseline="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WYSIWY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implicity and</a:t>
                      </a:r>
                      <a:r>
                        <a:rPr lang="en-US" sz="1400" baseline="0" dirty="0" smtClean="0">
                          <a:gradFill>
                            <a:gsLst>
                              <a:gs pos="100000">
                                <a:schemeClr val="tx1"/>
                              </a:gs>
                              <a:gs pos="1250">
                                <a:schemeClr val="tx1"/>
                              </a:gs>
                            </a:gsLst>
                            <a:lin ang="5400000" scaled="0"/>
                          </a:gradFill>
                        </a:rPr>
                        <a:t> d</a:t>
                      </a:r>
                      <a:r>
                        <a:rPr lang="en-US" sz="1400" dirty="0" smtClean="0">
                          <a:gradFill>
                            <a:gsLst>
                              <a:gs pos="100000">
                                <a:schemeClr val="tx1"/>
                              </a:gs>
                              <a:gs pos="1250">
                                <a:schemeClr val="tx1"/>
                              </a:gs>
                            </a:gsLst>
                            <a:lin ang="5400000" scaled="0"/>
                          </a:gradFill>
                        </a:rPr>
                        <a:t>esign</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Intelligence</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8748495"/>
                  </a:ext>
                </a:extLst>
              </a:tr>
              <a:tr h="660420">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High value activities</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Raw data </a:t>
                      </a:r>
                      <a:br>
                        <a:rPr lang="en-US" sz="1400" dirty="0" smtClean="0">
                          <a:gradFill>
                            <a:gsLst>
                              <a:gs pos="100000">
                                <a:schemeClr val="tx1"/>
                              </a:gs>
                              <a:gs pos="1250">
                                <a:schemeClr val="tx1"/>
                              </a:gs>
                            </a:gsLst>
                            <a:lin ang="5400000" scaled="0"/>
                          </a:gradFill>
                        </a:rPr>
                      </a:br>
                      <a:r>
                        <a:rPr lang="en-US" sz="1400" dirty="0" smtClean="0">
                          <a:gradFill>
                            <a:gsLst>
                              <a:gs pos="100000">
                                <a:schemeClr val="tx1"/>
                              </a:gs>
                              <a:gs pos="1250">
                                <a:schemeClr val="tx1"/>
                              </a:gs>
                            </a:gsLst>
                            <a:lin ang="5400000" scaled="0"/>
                          </a:gradFill>
                        </a:rPr>
                        <a:t>proces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Productivity</a:t>
                      </a:r>
                    </a:p>
                    <a:p>
                      <a:pPr algn="ctr">
                        <a:lnSpc>
                          <a:spcPct val="90000"/>
                        </a:lnSpc>
                      </a:pPr>
                      <a:r>
                        <a:rPr lang="en-US" sz="1000" dirty="0" smtClean="0">
                          <a:gradFill>
                            <a:gsLst>
                              <a:gs pos="100000">
                                <a:schemeClr val="tx1"/>
                              </a:gs>
                              <a:gs pos="1250">
                                <a:schemeClr val="tx1"/>
                              </a:gs>
                            </a:gsLst>
                            <a:lin ang="5400000" scaled="0"/>
                          </a:gradFill>
                        </a:rPr>
                        <a:t>(Microsoft</a:t>
                      </a:r>
                      <a:r>
                        <a:rPr lang="en-US" sz="1000" baseline="0" dirty="0" smtClean="0">
                          <a:gradFill>
                            <a:gsLst>
                              <a:gs pos="100000">
                                <a:schemeClr val="tx1"/>
                              </a:gs>
                              <a:gs pos="1250">
                                <a:schemeClr val="tx1"/>
                              </a:gs>
                            </a:gsLst>
                            <a:lin ang="5400000" scaled="0"/>
                          </a:gradFill>
                        </a:rPr>
                        <a:t> </a:t>
                      </a:r>
                      <a:r>
                        <a:rPr lang="en-US" sz="1000" dirty="0" smtClean="0">
                          <a:gradFill>
                            <a:gsLst>
                              <a:gs pos="100000">
                                <a:schemeClr val="tx1"/>
                              </a:gs>
                              <a:gs pos="1250">
                                <a:schemeClr val="tx1"/>
                              </a:gs>
                            </a:gsLst>
                            <a:lin ang="5400000" scaled="0"/>
                          </a:gradFill>
                        </a:rPr>
                        <a:t>office)</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Social</a:t>
                      </a:r>
                    </a:p>
                    <a:p>
                      <a:pPr algn="ctr">
                        <a:lnSpc>
                          <a:spcPct val="90000"/>
                        </a:lnSpc>
                      </a:pPr>
                      <a:r>
                        <a:rPr lang="en-US" sz="1000" dirty="0" smtClean="0">
                          <a:gradFill>
                            <a:gsLst>
                              <a:gs pos="100000">
                                <a:schemeClr val="tx1"/>
                              </a:gs>
                              <a:gs pos="1250">
                                <a:schemeClr val="tx1"/>
                              </a:gs>
                            </a:gsLst>
                            <a:lin ang="5400000" scaled="0"/>
                          </a:gradFill>
                        </a:rPr>
                        <a:t>(Facebook)</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auto" latinLnBrk="0" hangingPunct="1">
                        <a:lnSpc>
                          <a:spcPct val="90000"/>
                        </a:lnSpc>
                        <a:spcBef>
                          <a:spcPts val="0"/>
                        </a:spcBef>
                        <a:spcAft>
                          <a:spcPts val="0"/>
                        </a:spcAft>
                        <a:buClrTx/>
                        <a:buSzTx/>
                        <a:buFontTx/>
                        <a:buNone/>
                        <a:tabLst/>
                        <a:defRPr/>
                      </a:pPr>
                      <a:r>
                        <a:rPr lang="en-US" sz="1400" dirty="0" smtClean="0">
                          <a:gradFill>
                            <a:gsLst>
                              <a:gs pos="100000">
                                <a:schemeClr val="tx1"/>
                              </a:gs>
                              <a:gs pos="1250">
                                <a:schemeClr val="tx1"/>
                              </a:gs>
                            </a:gsLst>
                            <a:lin ang="5400000" scaled="0"/>
                          </a:gradFill>
                        </a:rPr>
                        <a:t>Intelligent</a:t>
                      </a:r>
                      <a:r>
                        <a:rPr lang="en-US" sz="1400" baseline="0" dirty="0" smtClean="0">
                          <a:gradFill>
                            <a:gsLst>
                              <a:gs pos="100000">
                                <a:schemeClr val="tx1"/>
                              </a:gs>
                              <a:gs pos="1250">
                                <a:schemeClr val="tx1"/>
                              </a:gs>
                            </a:gsLst>
                            <a:lin ang="5400000" scaled="0"/>
                          </a:gradFill>
                        </a:rPr>
                        <a:t> systems</a:t>
                      </a:r>
                      <a:endParaRPr lang="en-US" sz="1400" dirty="0" smtClean="0">
                        <a:gradFill>
                          <a:gsLst>
                            <a:gs pos="100000">
                              <a:schemeClr val="tx1"/>
                            </a:gs>
                            <a:gs pos="1250">
                              <a:schemeClr val="tx1"/>
                            </a:gs>
                          </a:gsLst>
                          <a:lin ang="5400000" scaled="0"/>
                        </a:gradFill>
                      </a:endParaRPr>
                    </a:p>
                    <a:p>
                      <a:pPr marL="0" marR="0" indent="0" algn="ctr" defTabSz="914363" rtl="0" eaLnBrk="1" fontAlgn="auto" latinLnBrk="0" hangingPunct="1">
                        <a:lnSpc>
                          <a:spcPct val="90000"/>
                        </a:lnSpc>
                        <a:spcBef>
                          <a:spcPts val="0"/>
                        </a:spcBef>
                        <a:spcAft>
                          <a:spcPts val="0"/>
                        </a:spcAft>
                        <a:buClrTx/>
                        <a:buSzTx/>
                        <a:buFontTx/>
                        <a:buNone/>
                        <a:tabLst/>
                        <a:defRPr/>
                      </a:pPr>
                      <a:r>
                        <a:rPr lang="en-US" sz="1000" dirty="0" smtClean="0">
                          <a:gradFill>
                            <a:gsLst>
                              <a:gs pos="100000">
                                <a:schemeClr val="tx1"/>
                              </a:gs>
                              <a:gs pos="1250">
                                <a:schemeClr val="tx1"/>
                              </a:gs>
                            </a:gsLst>
                            <a:lin ang="5400000" scaled="0"/>
                          </a:gradFill>
                        </a:rPr>
                        <a:t>(Optimize</a:t>
                      </a:r>
                      <a:r>
                        <a:rPr lang="en-US" sz="1000" baseline="0" dirty="0" smtClean="0">
                          <a:gradFill>
                            <a:gsLst>
                              <a:gs pos="100000">
                                <a:schemeClr val="tx1"/>
                              </a:gs>
                              <a:gs pos="1250">
                                <a:schemeClr val="tx1"/>
                              </a:gs>
                            </a:gsLst>
                            <a:lin ang="5400000" scaled="0"/>
                          </a:gradFill>
                        </a:rPr>
                        <a:t> </a:t>
                      </a:r>
                      <a:r>
                        <a:rPr lang="en-US" sz="1000" dirty="0" smtClean="0">
                          <a:gradFill>
                            <a:gsLst>
                              <a:gs pos="100000">
                                <a:schemeClr val="tx1"/>
                              </a:gs>
                              <a:gs pos="1250">
                                <a:schemeClr val="tx1"/>
                              </a:gs>
                            </a:gsLst>
                            <a:lin ang="5400000" scaled="0"/>
                          </a:gradFill>
                        </a:rPr>
                        <a:t>your </a:t>
                      </a:r>
                      <a:br>
                        <a:rPr lang="en-US" sz="10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life and business)</a:t>
                      </a: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05221761"/>
                  </a:ext>
                </a:extLst>
              </a:tr>
              <a:tr h="728172">
                <a:tc vMerge="1">
                  <a:txBody>
                    <a:bodyPr/>
                    <a:lstStyle/>
                    <a:p>
                      <a:pPr marL="0" marR="0" indent="0" algn="r" defTabSz="914363" rtl="0" eaLnBrk="1" fontAlgn="auto" latinLnBrk="0" hangingPunct="1">
                        <a:lnSpc>
                          <a:spcPct val="90000"/>
                        </a:lnSpc>
                        <a:spcBef>
                          <a:spcPts val="0"/>
                        </a:spcBef>
                        <a:spcAft>
                          <a:spcPts val="0"/>
                        </a:spcAft>
                        <a:buClrTx/>
                        <a:buSzTx/>
                        <a:buFontTx/>
                        <a:buNone/>
                        <a:tabLst/>
                        <a:defRPr/>
                      </a:pPr>
                      <a:endParaRPr lang="en-US" sz="1800" spc="0" baseline="0" dirty="0" smtClean="0">
                        <a:solidFill>
                          <a:schemeClr val="bg1"/>
                        </a:solidFill>
                        <a:latin typeface="+mj-lt"/>
                      </a:endParaRPr>
                    </a:p>
                  </a:txBody>
                  <a:tcPr marR="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2000" b="0" spc="0" baseline="0" dirty="0" smtClean="0">
                          <a:gradFill>
                            <a:gsLst>
                              <a:gs pos="100000">
                                <a:schemeClr val="bg1"/>
                              </a:gs>
                              <a:gs pos="1250">
                                <a:schemeClr val="bg1"/>
                              </a:gs>
                            </a:gsLst>
                            <a:lin ang="5400000" scaled="0"/>
                          </a:gradFill>
                          <a:latin typeface="Segoe Pro SemiLight" panose="020B0402040204020203" pitchFamily="34" charset="0"/>
                        </a:rPr>
                        <a:t>Business model</a:t>
                      </a:r>
                    </a:p>
                  </a:txBody>
                  <a:tcPr marL="91427" marR="182854"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Real estate”/ leasing</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OS/SW licensing</a:t>
                      </a:r>
                    </a:p>
                    <a:p>
                      <a:pPr algn="ctr">
                        <a:lnSpc>
                          <a:spcPct val="90000"/>
                        </a:lnSpc>
                      </a:pPr>
                      <a:r>
                        <a:rPr lang="en-US" sz="1400" dirty="0" smtClean="0">
                          <a:gradFill>
                            <a:gsLst>
                              <a:gs pos="100000">
                                <a:schemeClr val="tx1"/>
                              </a:gs>
                              <a:gs pos="1250">
                                <a:schemeClr val="tx1"/>
                              </a:gs>
                            </a:gsLst>
                            <a:lin ang="5400000" scaled="0"/>
                          </a:gradFill>
                        </a:rPr>
                        <a:t>HW sales</a:t>
                      </a:r>
                      <a:endParaRPr lang="en-US" sz="14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Advertisement</a:t>
                      </a:r>
                      <a:r>
                        <a:rPr lang="en-US" sz="1400" baseline="0" dirty="0" smtClean="0">
                          <a:gradFill>
                            <a:gsLst>
                              <a:gs pos="100000">
                                <a:schemeClr val="tx1"/>
                              </a:gs>
                              <a:gs pos="1250">
                                <a:schemeClr val="tx1"/>
                              </a:gs>
                            </a:gsLst>
                            <a:lin ang="5400000" scaled="0"/>
                          </a:gradFill>
                        </a:rPr>
                        <a:t> (SW)</a:t>
                      </a:r>
                    </a:p>
                    <a:p>
                      <a:pPr algn="ctr">
                        <a:lnSpc>
                          <a:spcPct val="90000"/>
                        </a:lnSpc>
                      </a:pPr>
                      <a:r>
                        <a:rPr lang="en-US" sz="1400" dirty="0" smtClean="0">
                          <a:gradFill>
                            <a:gsLst>
                              <a:gs pos="100000">
                                <a:schemeClr val="tx1"/>
                              </a:gs>
                              <a:gs pos="1250">
                                <a:schemeClr val="tx1"/>
                              </a:gs>
                            </a:gsLst>
                            <a:lin ang="5400000" scaled="0"/>
                          </a:gradFill>
                        </a:rPr>
                        <a:t>HW sales, apps</a:t>
                      </a:r>
                      <a:br>
                        <a:rPr lang="en-US" sz="1400" dirty="0" smtClean="0">
                          <a:gradFill>
                            <a:gsLst>
                              <a:gs pos="100000">
                                <a:schemeClr val="tx1"/>
                              </a:gs>
                              <a:gs pos="1250">
                                <a:schemeClr val="tx1"/>
                              </a:gs>
                            </a:gsLst>
                            <a:lin ang="5400000" scaled="0"/>
                          </a:gradFill>
                        </a:rPr>
                      </a:br>
                      <a:r>
                        <a:rPr lang="en-US" sz="1000" dirty="0" smtClean="0">
                          <a:gradFill>
                            <a:gsLst>
                              <a:gs pos="100000">
                                <a:schemeClr val="tx1"/>
                              </a:gs>
                              <a:gs pos="1250">
                                <a:schemeClr val="tx1"/>
                              </a:gs>
                            </a:gsLst>
                            <a:lin ang="5400000" scaled="0"/>
                          </a:gradFill>
                        </a:rPr>
                        <a:t>(“SW</a:t>
                      </a:r>
                      <a:r>
                        <a:rPr lang="en-US" sz="1000" baseline="0" dirty="0" smtClean="0">
                          <a:gradFill>
                            <a:gsLst>
                              <a:gs pos="100000">
                                <a:schemeClr val="tx1"/>
                              </a:gs>
                              <a:gs pos="1250">
                                <a:schemeClr val="tx1"/>
                              </a:gs>
                            </a:gsLst>
                            <a:lin ang="5400000" scaled="0"/>
                          </a:gradFill>
                        </a:rPr>
                        <a:t> open source”</a:t>
                      </a:r>
                      <a:r>
                        <a:rPr lang="en-US" sz="1000" dirty="0" smtClean="0">
                          <a:gradFill>
                            <a:gsLst>
                              <a:gs pos="100000">
                                <a:schemeClr val="tx1"/>
                              </a:gs>
                              <a:gs pos="1250">
                                <a:schemeClr val="tx1"/>
                              </a:gs>
                            </a:gsLst>
                            <a:lin ang="5400000" scaled="0"/>
                          </a:gradFill>
                        </a:rPr>
                        <a:t>)</a:t>
                      </a:r>
                      <a:endParaRPr lang="en-US" sz="1000" dirty="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90000"/>
                        </a:lnSpc>
                      </a:pPr>
                      <a:r>
                        <a:rPr lang="en-US" sz="1400" dirty="0" smtClean="0">
                          <a:gradFill>
                            <a:gsLst>
                              <a:gs pos="100000">
                                <a:schemeClr val="tx1"/>
                              </a:gs>
                              <a:gs pos="1250">
                                <a:schemeClr val="tx1"/>
                              </a:gs>
                            </a:gsLst>
                            <a:lin ang="5400000" scaled="0"/>
                          </a:gradFill>
                        </a:rPr>
                        <a:t>3</a:t>
                      </a:r>
                      <a:r>
                        <a:rPr lang="en-US" sz="1400" baseline="30000" dirty="0" smtClean="0">
                          <a:gradFill>
                            <a:gsLst>
                              <a:gs pos="100000">
                                <a:schemeClr val="tx1"/>
                              </a:gs>
                              <a:gs pos="1250">
                                <a:schemeClr val="tx1"/>
                              </a:gs>
                            </a:gsLst>
                            <a:lin ang="5400000" scaled="0"/>
                          </a:gradFill>
                        </a:rPr>
                        <a:t>rd</a:t>
                      </a:r>
                      <a:r>
                        <a:rPr lang="en-US" sz="1400" dirty="0" smtClean="0">
                          <a:gradFill>
                            <a:gsLst>
                              <a:gs pos="100000">
                                <a:schemeClr val="tx1"/>
                              </a:gs>
                              <a:gs pos="1250">
                                <a:schemeClr val="tx1"/>
                              </a:gs>
                            </a:gsLst>
                            <a:lin ang="5400000" scaled="0"/>
                          </a:gradFill>
                        </a:rPr>
                        <a:t> level monetization</a:t>
                      </a:r>
                      <a:r>
                        <a:rPr lang="en-US" sz="1400" baseline="0" dirty="0" smtClean="0">
                          <a:gradFill>
                            <a:gsLst>
                              <a:gs pos="100000">
                                <a:schemeClr val="tx1"/>
                              </a:gs>
                              <a:gs pos="1250">
                                <a:schemeClr val="tx1"/>
                              </a:gs>
                            </a:gsLst>
                            <a:lin ang="5400000" scaled="0"/>
                          </a:gradFill>
                        </a:rPr>
                        <a:t> and freemium</a:t>
                      </a:r>
                    </a:p>
                    <a:p>
                      <a:pPr algn="ctr">
                        <a:lnSpc>
                          <a:spcPct val="90000"/>
                        </a:lnSpc>
                      </a:pPr>
                      <a:r>
                        <a:rPr lang="en-US" sz="1000" baseline="0" dirty="0" smtClean="0">
                          <a:gradFill>
                            <a:gsLst>
                              <a:gs pos="100000">
                                <a:schemeClr val="tx1"/>
                              </a:gs>
                              <a:gs pos="1250">
                                <a:schemeClr val="tx1"/>
                              </a:gs>
                            </a:gsLst>
                            <a:lin ang="5400000" scaled="0"/>
                          </a:gradFill>
                        </a:rPr>
                        <a:t>(“SW and HW open source”?)</a:t>
                      </a:r>
                      <a:endParaRPr lang="en-US" sz="1000" dirty="0" smtClean="0">
                        <a:gradFill>
                          <a:gsLst>
                            <a:gs pos="100000">
                              <a:schemeClr val="tx1"/>
                            </a:gs>
                            <a:gs pos="1250">
                              <a:schemeClr val="tx1"/>
                            </a:gs>
                          </a:gsLst>
                          <a:lin ang="5400000" scaled="0"/>
                        </a:gradFill>
                      </a:endParaRPr>
                    </a:p>
                  </a:txBody>
                  <a:tcPr marL="91427" marR="91427" marT="45713" marB="45713" anchor="ctr">
                    <a:lnL w="285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14114688"/>
                  </a:ext>
                </a:extLst>
              </a:tr>
            </a:tbl>
          </a:graphicData>
        </a:graphic>
      </p:graphicFrame>
      <p:pic>
        <p:nvPicPr>
          <p:cNvPr id="10" name="Picture 80"/>
          <p:cNvPicPr>
            <a:picLocks noChangeAspect="1"/>
          </p:cNvPicPr>
          <p:nvPr/>
        </p:nvPicPr>
        <p:blipFill>
          <a:blip r:embed="rId3" cstate="email">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4518811" y="1594273"/>
            <a:ext cx="496541" cy="496541"/>
          </a:xfrm>
          <a:prstGeom prst="rect">
            <a:avLst/>
          </a:prstGeom>
        </p:spPr>
      </p:pic>
      <p:grpSp>
        <p:nvGrpSpPr>
          <p:cNvPr id="13" name="Group 12"/>
          <p:cNvGrpSpPr/>
          <p:nvPr/>
        </p:nvGrpSpPr>
        <p:grpSpPr>
          <a:xfrm>
            <a:off x="10967718" y="1690918"/>
            <a:ext cx="315136" cy="303251"/>
            <a:chOff x="9973791" y="1203449"/>
            <a:chExt cx="552450" cy="531614"/>
          </a:xfrm>
          <a:solidFill>
            <a:schemeClr val="bg1">
              <a:lumMod val="50000"/>
            </a:schemeClr>
          </a:solidFill>
        </p:grpSpPr>
        <p:sp>
          <p:nvSpPr>
            <p:cNvPr id="12" name="Oval 11"/>
            <p:cNvSpPr/>
            <p:nvPr/>
          </p:nvSpPr>
          <p:spPr bwMode="auto">
            <a:xfrm>
              <a:off x="9998556" y="1237751"/>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p:cNvSpPr/>
            <p:nvPr/>
          </p:nvSpPr>
          <p:spPr bwMode="auto">
            <a:xfrm>
              <a:off x="10135254" y="1389387"/>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p:cNvSpPr/>
            <p:nvPr/>
          </p:nvSpPr>
          <p:spPr bwMode="auto">
            <a:xfrm>
              <a:off x="10168101" y="1512071"/>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Oval 22"/>
            <p:cNvSpPr/>
            <p:nvPr/>
          </p:nvSpPr>
          <p:spPr bwMode="auto">
            <a:xfrm>
              <a:off x="10167158" y="1261344"/>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Oval 23"/>
            <p:cNvSpPr/>
            <p:nvPr/>
          </p:nvSpPr>
          <p:spPr bwMode="auto">
            <a:xfrm>
              <a:off x="9973791" y="1438862"/>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Oval 24"/>
            <p:cNvSpPr/>
            <p:nvPr/>
          </p:nvSpPr>
          <p:spPr bwMode="auto">
            <a:xfrm>
              <a:off x="10295986" y="1396873"/>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p:cNvSpPr/>
            <p:nvPr/>
          </p:nvSpPr>
          <p:spPr bwMode="auto">
            <a:xfrm>
              <a:off x="10434801" y="1311284"/>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Oval 26"/>
            <p:cNvSpPr/>
            <p:nvPr/>
          </p:nvSpPr>
          <p:spPr bwMode="auto">
            <a:xfrm>
              <a:off x="10296929" y="1203449"/>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Oval 27"/>
            <p:cNvSpPr/>
            <p:nvPr/>
          </p:nvSpPr>
          <p:spPr bwMode="auto">
            <a:xfrm>
              <a:off x="10324311" y="1555996"/>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Oval 28"/>
            <p:cNvSpPr/>
            <p:nvPr/>
          </p:nvSpPr>
          <p:spPr bwMode="auto">
            <a:xfrm>
              <a:off x="10043814" y="1577385"/>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Oval 29"/>
            <p:cNvSpPr/>
            <p:nvPr/>
          </p:nvSpPr>
          <p:spPr bwMode="auto">
            <a:xfrm>
              <a:off x="10434801" y="1489535"/>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Oval 30"/>
            <p:cNvSpPr/>
            <p:nvPr/>
          </p:nvSpPr>
          <p:spPr bwMode="auto">
            <a:xfrm>
              <a:off x="10242877" y="1647213"/>
              <a:ext cx="91440" cy="878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defRPr/>
              </a:pPr>
              <a:endParaRPr lang="en-US" sz="22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33" name="Picture 8" descr="http://images.all-free-download.com/images/graphiclarge/b_w_cartoon_computer_base_monitor_clip_art_10170.jpg"/>
          <p:cNvPicPr>
            <a:picLocks noChangeAspect="1" noChangeArrowheads="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backgroundRemoval t="0" b="100000" l="0" r="100000">
                        <a14:foregroundMark x1="17778" y1="19059" x2="17778" y2="19059"/>
                        <a14:foregroundMark x1="19012" y1="70588" x2="19012" y2="70588"/>
                        <a14:foregroundMark x1="8642" y1="79529" x2="8642" y2="79529"/>
                        <a14:foregroundMark x1="10617" y1="85176" x2="10617" y2="85176"/>
                        <a14:foregroundMark x1="9136" y1="91059" x2="9136" y2="91059"/>
                        <a14:foregroundMark x1="16296" y1="90353" x2="16296" y2="90353"/>
                        <a14:foregroundMark x1="16296" y1="84471" x2="16296" y2="84471"/>
                        <a14:foregroundMark x1="16790" y1="79059" x2="16790" y2="79059"/>
                        <a14:foregroundMark x1="22222" y1="79529" x2="22222" y2="79529"/>
                        <a14:foregroundMark x1="23210" y1="84706" x2="23210" y2="84706"/>
                        <a14:foregroundMark x1="22469" y1="90353" x2="22469" y2="90353"/>
                        <a14:foregroundMark x1="68395" y1="82588" x2="68395" y2="82588"/>
                      </a14:backgroundRemoval>
                    </a14:imgEffect>
                  </a14:imgLayer>
                </a14:imgProps>
              </a:ext>
              <a:ext uri="{28A0092B-C50C-407E-A947-70E740481C1C}">
                <a14:useLocalDpi xmlns:a14="http://schemas.microsoft.com/office/drawing/2010/main" val="0"/>
              </a:ext>
            </a:extLst>
          </a:blip>
          <a:srcRect/>
          <a:stretch>
            <a:fillRect/>
          </a:stretch>
        </p:blipFill>
        <p:spPr bwMode="auto">
          <a:xfrm>
            <a:off x="6904787" y="1665562"/>
            <a:ext cx="365052" cy="3539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7">
            <a:duotone>
              <a:schemeClr val="bg2">
                <a:shade val="45000"/>
                <a:satMod val="135000"/>
              </a:schemeClr>
              <a:prstClr val="white"/>
            </a:duotone>
          </a:blip>
          <a:stretch>
            <a:fillRect/>
          </a:stretch>
        </p:blipFill>
        <p:spPr>
          <a:xfrm>
            <a:off x="9012104" y="1662722"/>
            <a:ext cx="213348" cy="359644"/>
          </a:xfrm>
          <a:prstGeom prst="rect">
            <a:avLst/>
          </a:prstGeom>
        </p:spPr>
      </p:pic>
    </p:spTree>
    <p:extLst>
      <p:ext uri="{BB962C8B-B14F-4D97-AF65-F5344CB8AC3E}">
        <p14:creationId xmlns:p14="http://schemas.microsoft.com/office/powerpoint/2010/main" val="21382708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89" y="0"/>
            <a:ext cx="12179377" cy="6858000"/>
          </a:xfrm>
          <a:prstGeom prst="rect">
            <a:avLst/>
          </a:prstGeom>
        </p:spPr>
      </p:pic>
      <p:pic>
        <p:nvPicPr>
          <p:cNvPr id="66" name="Picture 65"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64" name="Rectangle 63"/>
          <p:cNvSpPr/>
          <p:nvPr/>
        </p:nvSpPr>
        <p:spPr>
          <a:xfrm>
            <a:off x="-7274" y="0"/>
            <a:ext cx="8194417" cy="6858000"/>
          </a:xfrm>
          <a:prstGeom prst="rect">
            <a:avLst/>
          </a:prstGeom>
          <a:solidFill>
            <a:schemeClr val="accent2">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p:txBody>
          <a:bodyPr/>
          <a:lstStyle/>
          <a:p>
            <a:r>
              <a:rPr lang="en-US"/>
              <a:t>Solution Reference Architecture</a:t>
            </a:r>
          </a:p>
        </p:txBody>
      </p:sp>
      <p:sp>
        <p:nvSpPr>
          <p:cNvPr id="65" name="TextBox 64"/>
          <p:cNvSpPr txBox="1"/>
          <p:nvPr/>
        </p:nvSpPr>
        <p:spPr>
          <a:xfrm>
            <a:off x="219765" y="1235088"/>
            <a:ext cx="1318694" cy="37810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Devices Depot - Infrastructure</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sp>
        <p:nvSpPr>
          <p:cNvPr id="67" name="TextBox 66"/>
          <p:cNvSpPr txBox="1"/>
          <p:nvPr/>
        </p:nvSpPr>
        <p:spPr>
          <a:xfrm>
            <a:off x="3346983" y="1235088"/>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Microsoft Azure</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sp>
        <p:nvSpPr>
          <p:cNvPr id="68" name="TextBox 67"/>
          <p:cNvSpPr txBox="1"/>
          <p:nvPr/>
        </p:nvSpPr>
        <p:spPr>
          <a:xfrm>
            <a:off x="6860836" y="1235088"/>
            <a:ext cx="1293367" cy="378105"/>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rPr>
              <a:t>Devices; Customer - Front End; Management – Front End</a:t>
            </a:r>
            <a:endPar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Pro" charset="0"/>
              <a:cs typeface="Segoe Pro" charset="0"/>
            </a:endParaRPr>
          </a:p>
        </p:txBody>
      </p:sp>
      <p:cxnSp>
        <p:nvCxnSpPr>
          <p:cNvPr id="69" name="Straight Connector 68"/>
          <p:cNvCxnSpPr/>
          <p:nvPr/>
        </p:nvCxnSpPr>
        <p:spPr>
          <a:xfrm>
            <a:off x="1411047" y="1244848"/>
            <a:ext cx="0" cy="5394960"/>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857917" y="1244848"/>
            <a:ext cx="0" cy="5394960"/>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7096157" y="2815892"/>
            <a:ext cx="707120" cy="282338"/>
            <a:chOff x="7137862" y="1756303"/>
            <a:chExt cx="707120" cy="282338"/>
          </a:xfrm>
        </p:grpSpPr>
        <p:sp>
          <p:nvSpPr>
            <p:cNvPr id="72" name="TextBox 71"/>
            <p:cNvSpPr txBox="1"/>
            <p:nvPr/>
          </p:nvSpPr>
          <p:spPr>
            <a:xfrm>
              <a:off x="7137862" y="1756303"/>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Power BI</a:t>
              </a:r>
            </a:p>
          </p:txBody>
        </p:sp>
        <p:sp>
          <p:nvSpPr>
            <p:cNvPr id="376" name="TextBox 375"/>
            <p:cNvSpPr txBox="1"/>
            <p:nvPr/>
          </p:nvSpPr>
          <p:spPr>
            <a:xfrm>
              <a:off x="7137862" y="1904536"/>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ashboard</a:t>
              </a:r>
            </a:p>
          </p:txBody>
        </p:sp>
      </p:grpSp>
      <p:grpSp>
        <p:nvGrpSpPr>
          <p:cNvPr id="74" name="Group 73"/>
          <p:cNvGrpSpPr/>
          <p:nvPr/>
        </p:nvGrpSpPr>
        <p:grpSpPr>
          <a:xfrm>
            <a:off x="6038122" y="2446072"/>
            <a:ext cx="707120" cy="288154"/>
            <a:chOff x="7137862" y="1756303"/>
            <a:chExt cx="707120" cy="288154"/>
          </a:xfrm>
        </p:grpSpPr>
        <p:sp>
          <p:nvSpPr>
            <p:cNvPr id="75" name="TextBox 74"/>
            <p:cNvSpPr txBox="1"/>
            <p:nvPr/>
          </p:nvSpPr>
          <p:spPr>
            <a:xfrm>
              <a:off x="7137862" y="1756303"/>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Power BI</a:t>
              </a:r>
            </a:p>
          </p:txBody>
        </p:sp>
        <p:sp>
          <p:nvSpPr>
            <p:cNvPr id="375" name="TextBox 374"/>
            <p:cNvSpPr txBox="1"/>
            <p:nvPr/>
          </p:nvSpPr>
          <p:spPr>
            <a:xfrm>
              <a:off x="7137862" y="1910352"/>
              <a:ext cx="707120" cy="13410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Service/SRV</a:t>
              </a:r>
            </a:p>
          </p:txBody>
        </p:sp>
      </p:grpSp>
      <p:grpSp>
        <p:nvGrpSpPr>
          <p:cNvPr id="6" name="Group 5"/>
          <p:cNvGrpSpPr/>
          <p:nvPr/>
        </p:nvGrpSpPr>
        <p:grpSpPr>
          <a:xfrm>
            <a:off x="2405553" y="4359660"/>
            <a:ext cx="769157" cy="782177"/>
            <a:chOff x="3566802" y="3523319"/>
            <a:chExt cx="769157" cy="782177"/>
          </a:xfrm>
        </p:grpSpPr>
        <p:sp>
          <p:nvSpPr>
            <p:cNvPr id="77" name="TextBox 76"/>
            <p:cNvSpPr txBox="1"/>
            <p:nvPr/>
          </p:nvSpPr>
          <p:spPr>
            <a:xfrm>
              <a:off x="3566802" y="4062361"/>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HDInsight</a:t>
              </a:r>
            </a:p>
          </p:txBody>
        </p:sp>
        <p:grpSp>
          <p:nvGrpSpPr>
            <p:cNvPr id="78" name="Group 77"/>
            <p:cNvGrpSpPr/>
            <p:nvPr/>
          </p:nvGrpSpPr>
          <p:grpSpPr>
            <a:xfrm>
              <a:off x="3638134" y="3523319"/>
              <a:ext cx="620828" cy="480264"/>
              <a:chOff x="-2193925" y="3687514"/>
              <a:chExt cx="1093787" cy="846137"/>
            </a:xfrm>
            <a:solidFill>
              <a:schemeClr val="bg1"/>
            </a:solidFill>
          </p:grpSpPr>
          <p:sp>
            <p:nvSpPr>
              <p:cNvPr id="79" name="Freeform 57"/>
              <p:cNvSpPr>
                <a:spLocks noEditPoints="1"/>
              </p:cNvSpPr>
              <p:nvPr/>
            </p:nvSpPr>
            <p:spPr bwMode="auto">
              <a:xfrm>
                <a:off x="-2193925" y="3687514"/>
                <a:ext cx="1093787" cy="846137"/>
              </a:xfrm>
              <a:custGeom>
                <a:avLst/>
                <a:gdLst>
                  <a:gd name="T0" fmla="*/ 1385 w 1623"/>
                  <a:gd name="T1" fmla="*/ 277 h 1253"/>
                  <a:gd name="T2" fmla="*/ 983 w 1623"/>
                  <a:gd name="T3" fmla="*/ 4 h 1253"/>
                  <a:gd name="T4" fmla="*/ 531 w 1623"/>
                  <a:gd name="T5" fmla="*/ 253 h 1253"/>
                  <a:gd name="T6" fmla="*/ 145 w 1623"/>
                  <a:gd name="T7" fmla="*/ 436 h 1253"/>
                  <a:gd name="T8" fmla="*/ 7 w 1623"/>
                  <a:gd name="T9" fmla="*/ 524 h 1253"/>
                  <a:gd name="T10" fmla="*/ 111 w 1623"/>
                  <a:gd name="T11" fmla="*/ 785 h 1253"/>
                  <a:gd name="T12" fmla="*/ 188 w 1623"/>
                  <a:gd name="T13" fmla="*/ 1101 h 1253"/>
                  <a:gd name="T14" fmla="*/ 478 w 1623"/>
                  <a:gd name="T15" fmla="*/ 1103 h 1253"/>
                  <a:gd name="T16" fmla="*/ 713 w 1623"/>
                  <a:gd name="T17" fmla="*/ 1251 h 1253"/>
                  <a:gd name="T18" fmla="*/ 1004 w 1623"/>
                  <a:gd name="T19" fmla="*/ 1148 h 1253"/>
                  <a:gd name="T20" fmla="*/ 1060 w 1623"/>
                  <a:gd name="T21" fmla="*/ 953 h 1253"/>
                  <a:gd name="T22" fmla="*/ 1264 w 1623"/>
                  <a:gd name="T23" fmla="*/ 814 h 1253"/>
                  <a:gd name="T24" fmla="*/ 1566 w 1623"/>
                  <a:gd name="T25" fmla="*/ 249 h 1253"/>
                  <a:gd name="T26" fmla="*/ 893 w 1623"/>
                  <a:gd name="T27" fmla="*/ 1098 h 1253"/>
                  <a:gd name="T28" fmla="*/ 1183 w 1623"/>
                  <a:gd name="T29" fmla="*/ 850 h 1253"/>
                  <a:gd name="T30" fmla="*/ 1221 w 1623"/>
                  <a:gd name="T31" fmla="*/ 793 h 1253"/>
                  <a:gd name="T32" fmla="*/ 1108 w 1623"/>
                  <a:gd name="T33" fmla="*/ 684 h 1253"/>
                  <a:gd name="T34" fmla="*/ 1100 w 1623"/>
                  <a:gd name="T35" fmla="*/ 782 h 1253"/>
                  <a:gd name="T36" fmla="*/ 967 w 1623"/>
                  <a:gd name="T37" fmla="*/ 759 h 1253"/>
                  <a:gd name="T38" fmla="*/ 908 w 1623"/>
                  <a:gd name="T39" fmla="*/ 749 h 1253"/>
                  <a:gd name="T40" fmla="*/ 815 w 1623"/>
                  <a:gd name="T41" fmla="*/ 1106 h 1253"/>
                  <a:gd name="T42" fmla="*/ 601 w 1623"/>
                  <a:gd name="T43" fmla="*/ 1092 h 1253"/>
                  <a:gd name="T44" fmla="*/ 679 w 1623"/>
                  <a:gd name="T45" fmla="*/ 918 h 1253"/>
                  <a:gd name="T46" fmla="*/ 484 w 1623"/>
                  <a:gd name="T47" fmla="*/ 964 h 1253"/>
                  <a:gd name="T48" fmla="*/ 458 w 1623"/>
                  <a:gd name="T49" fmla="*/ 929 h 1253"/>
                  <a:gd name="T50" fmla="*/ 408 w 1623"/>
                  <a:gd name="T51" fmla="*/ 1176 h 1253"/>
                  <a:gd name="T52" fmla="*/ 253 w 1623"/>
                  <a:gd name="T53" fmla="*/ 989 h 1253"/>
                  <a:gd name="T54" fmla="*/ 489 w 1623"/>
                  <a:gd name="T55" fmla="*/ 325 h 1253"/>
                  <a:gd name="T56" fmla="*/ 418 w 1623"/>
                  <a:gd name="T57" fmla="*/ 757 h 1253"/>
                  <a:gd name="T58" fmla="*/ 796 w 1623"/>
                  <a:gd name="T59" fmla="*/ 760 h 1253"/>
                  <a:gd name="T60" fmla="*/ 806 w 1623"/>
                  <a:gd name="T61" fmla="*/ 354 h 1253"/>
                  <a:gd name="T62" fmla="*/ 783 w 1623"/>
                  <a:gd name="T63" fmla="*/ 709 h 1253"/>
                  <a:gd name="T64" fmla="*/ 473 w 1623"/>
                  <a:gd name="T65" fmla="*/ 706 h 1253"/>
                  <a:gd name="T66" fmla="*/ 449 w 1623"/>
                  <a:gd name="T67" fmla="*/ 632 h 1253"/>
                  <a:gd name="T68" fmla="*/ 690 w 1623"/>
                  <a:gd name="T69" fmla="*/ 206 h 1253"/>
                  <a:gd name="T70" fmla="*/ 779 w 1623"/>
                  <a:gd name="T71" fmla="*/ 117 h 1253"/>
                  <a:gd name="T72" fmla="*/ 1215 w 1623"/>
                  <a:gd name="T73" fmla="*/ 191 h 1253"/>
                  <a:gd name="T74" fmla="*/ 1270 w 1623"/>
                  <a:gd name="T75" fmla="*/ 320 h 1253"/>
                  <a:gd name="T76" fmla="*/ 1328 w 1623"/>
                  <a:gd name="T77" fmla="*/ 366 h 1253"/>
                  <a:gd name="T78" fmla="*/ 1234 w 1623"/>
                  <a:gd name="T79" fmla="*/ 442 h 1253"/>
                  <a:gd name="T80" fmla="*/ 1278 w 1623"/>
                  <a:gd name="T81" fmla="*/ 465 h 1253"/>
                  <a:gd name="T82" fmla="*/ 1305 w 1623"/>
                  <a:gd name="T83" fmla="*/ 455 h 1253"/>
                  <a:gd name="T84" fmla="*/ 1342 w 1623"/>
                  <a:gd name="T85" fmla="*/ 498 h 1253"/>
                  <a:gd name="T86" fmla="*/ 1360 w 1623"/>
                  <a:gd name="T87" fmla="*/ 521 h 1253"/>
                  <a:gd name="T88" fmla="*/ 1553 w 1623"/>
                  <a:gd name="T89" fmla="*/ 560 h 1253"/>
                  <a:gd name="T90" fmla="*/ 1108 w 1623"/>
                  <a:gd name="T91" fmla="*/ 684 h 1253"/>
                  <a:gd name="T92" fmla="*/ 1306 w 1623"/>
                  <a:gd name="T93" fmla="*/ 338 h 1253"/>
                  <a:gd name="T94" fmla="*/ 1407 w 1623"/>
                  <a:gd name="T95" fmla="*/ 319 h 1253"/>
                  <a:gd name="T96" fmla="*/ 189 w 1623"/>
                  <a:gd name="T97" fmla="*/ 1037 h 1253"/>
                  <a:gd name="T98" fmla="*/ 144 w 1623"/>
                  <a:gd name="T99" fmla="*/ 869 h 1253"/>
                  <a:gd name="T100" fmla="*/ 189 w 1623"/>
                  <a:gd name="T101" fmla="*/ 1037 h 1253"/>
                  <a:gd name="T102" fmla="*/ 101 w 1623"/>
                  <a:gd name="T103" fmla="*/ 572 h 1253"/>
                  <a:gd name="T104" fmla="*/ 47 w 1623"/>
                  <a:gd name="T105" fmla="*/ 519 h 1253"/>
                  <a:gd name="T106" fmla="*/ 118 w 1623"/>
                  <a:gd name="T107" fmla="*/ 521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3" h="1253">
                    <a:moveTo>
                      <a:pt x="1566" y="249"/>
                    </a:moveTo>
                    <a:cubicBezTo>
                      <a:pt x="1557" y="224"/>
                      <a:pt x="1536" y="208"/>
                      <a:pt x="1504" y="200"/>
                    </a:cubicBezTo>
                    <a:cubicBezTo>
                      <a:pt x="1482" y="194"/>
                      <a:pt x="1463" y="201"/>
                      <a:pt x="1450" y="219"/>
                    </a:cubicBezTo>
                    <a:cubicBezTo>
                      <a:pt x="1442" y="230"/>
                      <a:pt x="1434" y="242"/>
                      <a:pt x="1425" y="253"/>
                    </a:cubicBezTo>
                    <a:cubicBezTo>
                      <a:pt x="1416" y="266"/>
                      <a:pt x="1403" y="275"/>
                      <a:pt x="1387" y="280"/>
                    </a:cubicBezTo>
                    <a:cubicBezTo>
                      <a:pt x="1386" y="279"/>
                      <a:pt x="1385" y="278"/>
                      <a:pt x="1385" y="277"/>
                    </a:cubicBezTo>
                    <a:cubicBezTo>
                      <a:pt x="1361" y="228"/>
                      <a:pt x="1329" y="193"/>
                      <a:pt x="1288" y="168"/>
                    </a:cubicBezTo>
                    <a:cubicBezTo>
                      <a:pt x="1273" y="159"/>
                      <a:pt x="1258" y="148"/>
                      <a:pt x="1244" y="136"/>
                    </a:cubicBezTo>
                    <a:cubicBezTo>
                      <a:pt x="1239" y="132"/>
                      <a:pt x="1239" y="132"/>
                      <a:pt x="1239" y="132"/>
                    </a:cubicBezTo>
                    <a:cubicBezTo>
                      <a:pt x="1227" y="123"/>
                      <a:pt x="1215" y="113"/>
                      <a:pt x="1204" y="103"/>
                    </a:cubicBezTo>
                    <a:cubicBezTo>
                      <a:pt x="1183" y="86"/>
                      <a:pt x="1163" y="69"/>
                      <a:pt x="1141" y="53"/>
                    </a:cubicBezTo>
                    <a:cubicBezTo>
                      <a:pt x="1090" y="17"/>
                      <a:pt x="1037" y="0"/>
                      <a:pt x="983" y="4"/>
                    </a:cubicBezTo>
                    <a:cubicBezTo>
                      <a:pt x="841" y="15"/>
                      <a:pt x="743" y="64"/>
                      <a:pt x="676" y="158"/>
                    </a:cubicBezTo>
                    <a:cubicBezTo>
                      <a:pt x="671" y="164"/>
                      <a:pt x="665" y="168"/>
                      <a:pt x="655" y="171"/>
                    </a:cubicBezTo>
                    <a:cubicBezTo>
                      <a:pt x="636" y="177"/>
                      <a:pt x="618" y="185"/>
                      <a:pt x="604" y="196"/>
                    </a:cubicBezTo>
                    <a:cubicBezTo>
                      <a:pt x="593" y="204"/>
                      <a:pt x="583" y="214"/>
                      <a:pt x="573" y="223"/>
                    </a:cubicBezTo>
                    <a:cubicBezTo>
                      <a:pt x="566" y="229"/>
                      <a:pt x="560" y="236"/>
                      <a:pt x="553" y="242"/>
                    </a:cubicBezTo>
                    <a:cubicBezTo>
                      <a:pt x="546" y="247"/>
                      <a:pt x="538" y="252"/>
                      <a:pt x="531" y="253"/>
                    </a:cubicBezTo>
                    <a:cubicBezTo>
                      <a:pt x="517" y="257"/>
                      <a:pt x="503" y="259"/>
                      <a:pt x="490" y="262"/>
                    </a:cubicBezTo>
                    <a:cubicBezTo>
                      <a:pt x="473" y="265"/>
                      <a:pt x="455" y="269"/>
                      <a:pt x="438" y="273"/>
                    </a:cubicBezTo>
                    <a:cubicBezTo>
                      <a:pt x="315" y="305"/>
                      <a:pt x="225" y="370"/>
                      <a:pt x="163" y="470"/>
                    </a:cubicBezTo>
                    <a:cubicBezTo>
                      <a:pt x="159" y="478"/>
                      <a:pt x="153" y="485"/>
                      <a:pt x="147" y="491"/>
                    </a:cubicBezTo>
                    <a:cubicBezTo>
                      <a:pt x="148" y="489"/>
                      <a:pt x="148" y="486"/>
                      <a:pt x="148" y="484"/>
                    </a:cubicBezTo>
                    <a:cubicBezTo>
                      <a:pt x="150" y="467"/>
                      <a:pt x="151" y="450"/>
                      <a:pt x="145" y="436"/>
                    </a:cubicBezTo>
                    <a:cubicBezTo>
                      <a:pt x="136" y="416"/>
                      <a:pt x="136" y="401"/>
                      <a:pt x="144" y="381"/>
                    </a:cubicBezTo>
                    <a:cubicBezTo>
                      <a:pt x="146" y="378"/>
                      <a:pt x="144" y="375"/>
                      <a:pt x="143" y="374"/>
                    </a:cubicBezTo>
                    <a:cubicBezTo>
                      <a:pt x="141" y="370"/>
                      <a:pt x="141" y="370"/>
                      <a:pt x="141" y="370"/>
                    </a:cubicBezTo>
                    <a:cubicBezTo>
                      <a:pt x="137" y="371"/>
                      <a:pt x="137" y="371"/>
                      <a:pt x="137" y="371"/>
                    </a:cubicBezTo>
                    <a:cubicBezTo>
                      <a:pt x="86" y="372"/>
                      <a:pt x="10" y="437"/>
                      <a:pt x="2" y="486"/>
                    </a:cubicBezTo>
                    <a:cubicBezTo>
                      <a:pt x="0" y="501"/>
                      <a:pt x="4" y="517"/>
                      <a:pt x="7" y="524"/>
                    </a:cubicBezTo>
                    <a:cubicBezTo>
                      <a:pt x="12" y="538"/>
                      <a:pt x="19" y="552"/>
                      <a:pt x="25" y="565"/>
                    </a:cubicBezTo>
                    <a:cubicBezTo>
                      <a:pt x="28" y="571"/>
                      <a:pt x="30" y="577"/>
                      <a:pt x="33" y="582"/>
                    </a:cubicBezTo>
                    <a:cubicBezTo>
                      <a:pt x="46" y="611"/>
                      <a:pt x="69" y="626"/>
                      <a:pt x="101" y="625"/>
                    </a:cubicBezTo>
                    <a:cubicBezTo>
                      <a:pt x="103" y="625"/>
                      <a:pt x="106" y="625"/>
                      <a:pt x="108" y="625"/>
                    </a:cubicBezTo>
                    <a:cubicBezTo>
                      <a:pt x="103" y="672"/>
                      <a:pt x="104" y="721"/>
                      <a:pt x="112" y="775"/>
                    </a:cubicBezTo>
                    <a:cubicBezTo>
                      <a:pt x="112" y="778"/>
                      <a:pt x="112" y="782"/>
                      <a:pt x="111" y="785"/>
                    </a:cubicBezTo>
                    <a:cubicBezTo>
                      <a:pt x="102" y="811"/>
                      <a:pt x="93" y="836"/>
                      <a:pt x="71" y="853"/>
                    </a:cubicBezTo>
                    <a:cubicBezTo>
                      <a:pt x="66" y="857"/>
                      <a:pt x="62" y="861"/>
                      <a:pt x="57" y="866"/>
                    </a:cubicBezTo>
                    <a:cubicBezTo>
                      <a:pt x="53" y="870"/>
                      <a:pt x="50" y="874"/>
                      <a:pt x="45" y="877"/>
                    </a:cubicBezTo>
                    <a:cubicBezTo>
                      <a:pt x="21" y="896"/>
                      <a:pt x="22" y="920"/>
                      <a:pt x="26" y="943"/>
                    </a:cubicBezTo>
                    <a:cubicBezTo>
                      <a:pt x="39" y="1008"/>
                      <a:pt x="112" y="1082"/>
                      <a:pt x="193" y="1088"/>
                    </a:cubicBezTo>
                    <a:cubicBezTo>
                      <a:pt x="192" y="1093"/>
                      <a:pt x="190" y="1097"/>
                      <a:pt x="188" y="1101"/>
                    </a:cubicBezTo>
                    <a:cubicBezTo>
                      <a:pt x="177" y="1128"/>
                      <a:pt x="176" y="1147"/>
                      <a:pt x="183" y="1163"/>
                    </a:cubicBezTo>
                    <a:cubicBezTo>
                      <a:pt x="190" y="1178"/>
                      <a:pt x="205" y="1189"/>
                      <a:pt x="229" y="1197"/>
                    </a:cubicBezTo>
                    <a:cubicBezTo>
                      <a:pt x="280" y="1213"/>
                      <a:pt x="327" y="1224"/>
                      <a:pt x="371" y="1231"/>
                    </a:cubicBezTo>
                    <a:cubicBezTo>
                      <a:pt x="403" y="1235"/>
                      <a:pt x="426" y="1231"/>
                      <a:pt x="441" y="1218"/>
                    </a:cubicBezTo>
                    <a:cubicBezTo>
                      <a:pt x="456" y="1205"/>
                      <a:pt x="464" y="1182"/>
                      <a:pt x="464" y="1149"/>
                    </a:cubicBezTo>
                    <a:cubicBezTo>
                      <a:pt x="464" y="1130"/>
                      <a:pt x="468" y="1116"/>
                      <a:pt x="478" y="1103"/>
                    </a:cubicBezTo>
                    <a:cubicBezTo>
                      <a:pt x="498" y="1077"/>
                      <a:pt x="505" y="1053"/>
                      <a:pt x="502" y="1027"/>
                    </a:cubicBezTo>
                    <a:cubicBezTo>
                      <a:pt x="559" y="1027"/>
                      <a:pt x="559" y="1027"/>
                      <a:pt x="559" y="1027"/>
                    </a:cubicBezTo>
                    <a:cubicBezTo>
                      <a:pt x="544" y="1043"/>
                      <a:pt x="539" y="1063"/>
                      <a:pt x="546" y="1085"/>
                    </a:cubicBezTo>
                    <a:cubicBezTo>
                      <a:pt x="565" y="1148"/>
                      <a:pt x="598" y="1198"/>
                      <a:pt x="645" y="1236"/>
                    </a:cubicBezTo>
                    <a:cubicBezTo>
                      <a:pt x="659" y="1247"/>
                      <a:pt x="677" y="1253"/>
                      <a:pt x="697" y="1253"/>
                    </a:cubicBezTo>
                    <a:cubicBezTo>
                      <a:pt x="702" y="1253"/>
                      <a:pt x="707" y="1252"/>
                      <a:pt x="713" y="1251"/>
                    </a:cubicBezTo>
                    <a:cubicBezTo>
                      <a:pt x="739" y="1247"/>
                      <a:pt x="762" y="1233"/>
                      <a:pt x="774" y="1213"/>
                    </a:cubicBezTo>
                    <a:cubicBezTo>
                      <a:pt x="786" y="1194"/>
                      <a:pt x="802" y="1180"/>
                      <a:pt x="819" y="1165"/>
                    </a:cubicBezTo>
                    <a:cubicBezTo>
                      <a:pt x="822" y="1162"/>
                      <a:pt x="822" y="1162"/>
                      <a:pt x="822" y="1162"/>
                    </a:cubicBezTo>
                    <a:cubicBezTo>
                      <a:pt x="841" y="1145"/>
                      <a:pt x="856" y="1137"/>
                      <a:pt x="884" y="1143"/>
                    </a:cubicBezTo>
                    <a:cubicBezTo>
                      <a:pt x="912" y="1149"/>
                      <a:pt x="941" y="1149"/>
                      <a:pt x="969" y="1148"/>
                    </a:cubicBezTo>
                    <a:cubicBezTo>
                      <a:pt x="980" y="1148"/>
                      <a:pt x="992" y="1147"/>
                      <a:pt x="1004" y="1148"/>
                    </a:cubicBezTo>
                    <a:cubicBezTo>
                      <a:pt x="1028" y="1148"/>
                      <a:pt x="1047" y="1141"/>
                      <a:pt x="1059" y="1127"/>
                    </a:cubicBezTo>
                    <a:cubicBezTo>
                      <a:pt x="1073" y="1111"/>
                      <a:pt x="1077" y="1085"/>
                      <a:pt x="1071" y="1052"/>
                    </a:cubicBezTo>
                    <a:cubicBezTo>
                      <a:pt x="1070" y="1047"/>
                      <a:pt x="1070" y="1042"/>
                      <a:pt x="1069" y="1037"/>
                    </a:cubicBezTo>
                    <a:cubicBezTo>
                      <a:pt x="1066" y="1026"/>
                      <a:pt x="1064" y="1014"/>
                      <a:pt x="1063" y="1002"/>
                    </a:cubicBezTo>
                    <a:cubicBezTo>
                      <a:pt x="1062" y="996"/>
                      <a:pt x="1062" y="990"/>
                      <a:pt x="1062" y="983"/>
                    </a:cubicBezTo>
                    <a:cubicBezTo>
                      <a:pt x="1063" y="973"/>
                      <a:pt x="1063" y="963"/>
                      <a:pt x="1060" y="953"/>
                    </a:cubicBezTo>
                    <a:cubicBezTo>
                      <a:pt x="1053" y="926"/>
                      <a:pt x="1043" y="899"/>
                      <a:pt x="1035" y="872"/>
                    </a:cubicBezTo>
                    <a:cubicBezTo>
                      <a:pt x="1031" y="863"/>
                      <a:pt x="1028" y="854"/>
                      <a:pt x="1025" y="844"/>
                    </a:cubicBezTo>
                    <a:cubicBezTo>
                      <a:pt x="1035" y="852"/>
                      <a:pt x="1045" y="861"/>
                      <a:pt x="1054" y="869"/>
                    </a:cubicBezTo>
                    <a:cubicBezTo>
                      <a:pt x="1057" y="872"/>
                      <a:pt x="1060" y="875"/>
                      <a:pt x="1063" y="877"/>
                    </a:cubicBezTo>
                    <a:cubicBezTo>
                      <a:pt x="1091" y="902"/>
                      <a:pt x="1121" y="912"/>
                      <a:pt x="1154" y="905"/>
                    </a:cubicBezTo>
                    <a:cubicBezTo>
                      <a:pt x="1210" y="895"/>
                      <a:pt x="1247" y="864"/>
                      <a:pt x="1264" y="814"/>
                    </a:cubicBezTo>
                    <a:cubicBezTo>
                      <a:pt x="1266" y="807"/>
                      <a:pt x="1268" y="801"/>
                      <a:pt x="1270" y="794"/>
                    </a:cubicBezTo>
                    <a:cubicBezTo>
                      <a:pt x="1270" y="792"/>
                      <a:pt x="1271" y="791"/>
                      <a:pt x="1271" y="790"/>
                    </a:cubicBezTo>
                    <a:cubicBezTo>
                      <a:pt x="1275" y="790"/>
                      <a:pt x="1278" y="790"/>
                      <a:pt x="1282" y="791"/>
                    </a:cubicBezTo>
                    <a:cubicBezTo>
                      <a:pt x="1293" y="792"/>
                      <a:pt x="1303" y="793"/>
                      <a:pt x="1313" y="793"/>
                    </a:cubicBezTo>
                    <a:cubicBezTo>
                      <a:pt x="1451" y="803"/>
                      <a:pt x="1553" y="734"/>
                      <a:pt x="1591" y="604"/>
                    </a:cubicBezTo>
                    <a:cubicBezTo>
                      <a:pt x="1623" y="492"/>
                      <a:pt x="1615" y="376"/>
                      <a:pt x="1566" y="249"/>
                    </a:cubicBezTo>
                    <a:close/>
                    <a:moveTo>
                      <a:pt x="1023" y="1090"/>
                    </a:moveTo>
                    <a:cubicBezTo>
                      <a:pt x="1018" y="1098"/>
                      <a:pt x="1008" y="1102"/>
                      <a:pt x="994" y="1102"/>
                    </a:cubicBezTo>
                    <a:cubicBezTo>
                      <a:pt x="994" y="1102"/>
                      <a:pt x="994" y="1102"/>
                      <a:pt x="994" y="1102"/>
                    </a:cubicBezTo>
                    <a:cubicBezTo>
                      <a:pt x="967" y="1102"/>
                      <a:pt x="938" y="1101"/>
                      <a:pt x="909" y="1100"/>
                    </a:cubicBezTo>
                    <a:cubicBezTo>
                      <a:pt x="904" y="1100"/>
                      <a:pt x="899" y="1099"/>
                      <a:pt x="893" y="1098"/>
                    </a:cubicBezTo>
                    <a:cubicBezTo>
                      <a:pt x="893" y="1098"/>
                      <a:pt x="893" y="1098"/>
                      <a:pt x="893" y="1098"/>
                    </a:cubicBezTo>
                    <a:cubicBezTo>
                      <a:pt x="939" y="1043"/>
                      <a:pt x="972" y="978"/>
                      <a:pt x="996" y="897"/>
                    </a:cubicBezTo>
                    <a:cubicBezTo>
                      <a:pt x="1009" y="927"/>
                      <a:pt x="1016" y="958"/>
                      <a:pt x="1016" y="994"/>
                    </a:cubicBezTo>
                    <a:cubicBezTo>
                      <a:pt x="1016" y="999"/>
                      <a:pt x="1016" y="999"/>
                      <a:pt x="1016" y="999"/>
                    </a:cubicBezTo>
                    <a:cubicBezTo>
                      <a:pt x="1016" y="1020"/>
                      <a:pt x="1016" y="1041"/>
                      <a:pt x="1024" y="1063"/>
                    </a:cubicBezTo>
                    <a:cubicBezTo>
                      <a:pt x="1028" y="1074"/>
                      <a:pt x="1028" y="1084"/>
                      <a:pt x="1023" y="1090"/>
                    </a:cubicBezTo>
                    <a:close/>
                    <a:moveTo>
                      <a:pt x="1183" y="850"/>
                    </a:moveTo>
                    <a:cubicBezTo>
                      <a:pt x="1196" y="841"/>
                      <a:pt x="1196" y="841"/>
                      <a:pt x="1196" y="841"/>
                    </a:cubicBezTo>
                    <a:cubicBezTo>
                      <a:pt x="1191" y="845"/>
                      <a:pt x="1186" y="849"/>
                      <a:pt x="1180" y="852"/>
                    </a:cubicBezTo>
                    <a:cubicBezTo>
                      <a:pt x="1181" y="851"/>
                      <a:pt x="1182" y="850"/>
                      <a:pt x="1183" y="850"/>
                    </a:cubicBezTo>
                    <a:close/>
                    <a:moveTo>
                      <a:pt x="1196" y="841"/>
                    </a:moveTo>
                    <a:cubicBezTo>
                      <a:pt x="1182" y="839"/>
                      <a:pt x="1182" y="839"/>
                      <a:pt x="1182" y="839"/>
                    </a:cubicBezTo>
                    <a:cubicBezTo>
                      <a:pt x="1203" y="833"/>
                      <a:pt x="1217" y="817"/>
                      <a:pt x="1221" y="793"/>
                    </a:cubicBezTo>
                    <a:cubicBezTo>
                      <a:pt x="1222" y="791"/>
                      <a:pt x="1222" y="791"/>
                      <a:pt x="1222" y="791"/>
                    </a:cubicBezTo>
                    <a:cubicBezTo>
                      <a:pt x="1223" y="786"/>
                      <a:pt x="1223" y="781"/>
                      <a:pt x="1225" y="777"/>
                    </a:cubicBezTo>
                    <a:cubicBezTo>
                      <a:pt x="1226" y="777"/>
                      <a:pt x="1227" y="776"/>
                      <a:pt x="1228" y="775"/>
                    </a:cubicBezTo>
                    <a:cubicBezTo>
                      <a:pt x="1229" y="776"/>
                      <a:pt x="1229" y="777"/>
                      <a:pt x="1230" y="778"/>
                    </a:cubicBezTo>
                    <a:cubicBezTo>
                      <a:pt x="1224" y="806"/>
                      <a:pt x="1213" y="826"/>
                      <a:pt x="1196" y="841"/>
                    </a:cubicBezTo>
                    <a:close/>
                    <a:moveTo>
                      <a:pt x="1108" y="684"/>
                    </a:moveTo>
                    <a:cubicBezTo>
                      <a:pt x="1108" y="693"/>
                      <a:pt x="1108" y="693"/>
                      <a:pt x="1108" y="693"/>
                    </a:cubicBezTo>
                    <a:cubicBezTo>
                      <a:pt x="1108" y="695"/>
                      <a:pt x="1108" y="697"/>
                      <a:pt x="1108" y="699"/>
                    </a:cubicBezTo>
                    <a:cubicBezTo>
                      <a:pt x="1108" y="702"/>
                      <a:pt x="1108" y="704"/>
                      <a:pt x="1108" y="707"/>
                    </a:cubicBezTo>
                    <a:cubicBezTo>
                      <a:pt x="1108" y="712"/>
                      <a:pt x="1107" y="716"/>
                      <a:pt x="1107" y="721"/>
                    </a:cubicBezTo>
                    <a:cubicBezTo>
                      <a:pt x="1106" y="735"/>
                      <a:pt x="1105" y="749"/>
                      <a:pt x="1104" y="763"/>
                    </a:cubicBezTo>
                    <a:cubicBezTo>
                      <a:pt x="1103" y="769"/>
                      <a:pt x="1101" y="775"/>
                      <a:pt x="1100" y="782"/>
                    </a:cubicBezTo>
                    <a:cubicBezTo>
                      <a:pt x="1098" y="790"/>
                      <a:pt x="1096" y="799"/>
                      <a:pt x="1095" y="807"/>
                    </a:cubicBezTo>
                    <a:cubicBezTo>
                      <a:pt x="1094" y="831"/>
                      <a:pt x="1102" y="847"/>
                      <a:pt x="1120" y="855"/>
                    </a:cubicBezTo>
                    <a:cubicBezTo>
                      <a:pt x="1134" y="861"/>
                      <a:pt x="1146" y="863"/>
                      <a:pt x="1158" y="860"/>
                    </a:cubicBezTo>
                    <a:cubicBezTo>
                      <a:pt x="1134" y="867"/>
                      <a:pt x="1112" y="860"/>
                      <a:pt x="1086" y="838"/>
                    </a:cubicBezTo>
                    <a:cubicBezTo>
                      <a:pt x="1084" y="836"/>
                      <a:pt x="1082" y="835"/>
                      <a:pt x="1080" y="833"/>
                    </a:cubicBezTo>
                    <a:cubicBezTo>
                      <a:pt x="1049" y="804"/>
                      <a:pt x="1014" y="774"/>
                      <a:pt x="967" y="759"/>
                    </a:cubicBezTo>
                    <a:cubicBezTo>
                      <a:pt x="954" y="755"/>
                      <a:pt x="941" y="747"/>
                      <a:pt x="927" y="739"/>
                    </a:cubicBezTo>
                    <a:cubicBezTo>
                      <a:pt x="921" y="735"/>
                      <a:pt x="914" y="730"/>
                      <a:pt x="906" y="726"/>
                    </a:cubicBezTo>
                    <a:cubicBezTo>
                      <a:pt x="886" y="715"/>
                      <a:pt x="886" y="715"/>
                      <a:pt x="886" y="715"/>
                    </a:cubicBezTo>
                    <a:cubicBezTo>
                      <a:pt x="898" y="735"/>
                      <a:pt x="898" y="735"/>
                      <a:pt x="898" y="735"/>
                    </a:cubicBezTo>
                    <a:cubicBezTo>
                      <a:pt x="900" y="737"/>
                      <a:pt x="901" y="738"/>
                      <a:pt x="901" y="740"/>
                    </a:cubicBezTo>
                    <a:cubicBezTo>
                      <a:pt x="903" y="743"/>
                      <a:pt x="905" y="746"/>
                      <a:pt x="908" y="749"/>
                    </a:cubicBezTo>
                    <a:cubicBezTo>
                      <a:pt x="912" y="753"/>
                      <a:pt x="917" y="756"/>
                      <a:pt x="921" y="760"/>
                    </a:cubicBezTo>
                    <a:cubicBezTo>
                      <a:pt x="935" y="772"/>
                      <a:pt x="950" y="785"/>
                      <a:pt x="966" y="795"/>
                    </a:cubicBezTo>
                    <a:cubicBezTo>
                      <a:pt x="975" y="801"/>
                      <a:pt x="978" y="806"/>
                      <a:pt x="975" y="815"/>
                    </a:cubicBezTo>
                    <a:cubicBezTo>
                      <a:pt x="953" y="919"/>
                      <a:pt x="918" y="998"/>
                      <a:pt x="866" y="1064"/>
                    </a:cubicBezTo>
                    <a:cubicBezTo>
                      <a:pt x="862" y="1069"/>
                      <a:pt x="857" y="1074"/>
                      <a:pt x="852" y="1078"/>
                    </a:cubicBezTo>
                    <a:cubicBezTo>
                      <a:pt x="840" y="1087"/>
                      <a:pt x="827" y="1097"/>
                      <a:pt x="815" y="1106"/>
                    </a:cubicBezTo>
                    <a:cubicBezTo>
                      <a:pt x="796" y="1121"/>
                      <a:pt x="776" y="1137"/>
                      <a:pt x="757" y="1153"/>
                    </a:cubicBezTo>
                    <a:cubicBezTo>
                      <a:pt x="750" y="1158"/>
                      <a:pt x="745" y="1165"/>
                      <a:pt x="740" y="1172"/>
                    </a:cubicBezTo>
                    <a:cubicBezTo>
                      <a:pt x="739" y="1174"/>
                      <a:pt x="738" y="1175"/>
                      <a:pt x="737" y="1177"/>
                    </a:cubicBezTo>
                    <a:cubicBezTo>
                      <a:pt x="725" y="1193"/>
                      <a:pt x="711" y="1202"/>
                      <a:pt x="697" y="1202"/>
                    </a:cubicBezTo>
                    <a:cubicBezTo>
                      <a:pt x="684" y="1203"/>
                      <a:pt x="671" y="1196"/>
                      <a:pt x="660" y="1183"/>
                    </a:cubicBezTo>
                    <a:cubicBezTo>
                      <a:pt x="640" y="1158"/>
                      <a:pt x="620" y="1128"/>
                      <a:pt x="601" y="1092"/>
                    </a:cubicBezTo>
                    <a:cubicBezTo>
                      <a:pt x="590" y="1071"/>
                      <a:pt x="593" y="1064"/>
                      <a:pt x="616" y="1051"/>
                    </a:cubicBezTo>
                    <a:cubicBezTo>
                      <a:pt x="629" y="1043"/>
                      <a:pt x="642" y="1035"/>
                      <a:pt x="655" y="1028"/>
                    </a:cubicBezTo>
                    <a:cubicBezTo>
                      <a:pt x="659" y="1025"/>
                      <a:pt x="664" y="1022"/>
                      <a:pt x="668" y="1019"/>
                    </a:cubicBezTo>
                    <a:cubicBezTo>
                      <a:pt x="690" y="1044"/>
                      <a:pt x="690" y="1044"/>
                      <a:pt x="690" y="1044"/>
                    </a:cubicBezTo>
                    <a:cubicBezTo>
                      <a:pt x="690" y="924"/>
                      <a:pt x="690" y="924"/>
                      <a:pt x="690" y="924"/>
                    </a:cubicBezTo>
                    <a:cubicBezTo>
                      <a:pt x="679" y="918"/>
                      <a:pt x="679" y="918"/>
                      <a:pt x="679" y="918"/>
                    </a:cubicBezTo>
                    <a:cubicBezTo>
                      <a:pt x="676" y="924"/>
                      <a:pt x="676" y="924"/>
                      <a:pt x="676" y="924"/>
                    </a:cubicBezTo>
                    <a:cubicBezTo>
                      <a:pt x="675" y="928"/>
                      <a:pt x="673" y="932"/>
                      <a:pt x="672" y="936"/>
                    </a:cubicBezTo>
                    <a:cubicBezTo>
                      <a:pt x="668" y="945"/>
                      <a:pt x="665" y="955"/>
                      <a:pt x="660" y="963"/>
                    </a:cubicBezTo>
                    <a:cubicBezTo>
                      <a:pt x="658" y="968"/>
                      <a:pt x="652" y="973"/>
                      <a:pt x="649" y="974"/>
                    </a:cubicBezTo>
                    <a:cubicBezTo>
                      <a:pt x="599" y="983"/>
                      <a:pt x="547" y="984"/>
                      <a:pt x="493" y="976"/>
                    </a:cubicBezTo>
                    <a:cubicBezTo>
                      <a:pt x="491" y="975"/>
                      <a:pt x="486" y="969"/>
                      <a:pt x="484" y="964"/>
                    </a:cubicBezTo>
                    <a:cubicBezTo>
                      <a:pt x="481" y="955"/>
                      <a:pt x="479" y="945"/>
                      <a:pt x="477" y="935"/>
                    </a:cubicBezTo>
                    <a:cubicBezTo>
                      <a:pt x="477" y="931"/>
                      <a:pt x="476" y="927"/>
                      <a:pt x="475" y="923"/>
                    </a:cubicBezTo>
                    <a:cubicBezTo>
                      <a:pt x="474" y="918"/>
                      <a:pt x="474" y="918"/>
                      <a:pt x="474" y="918"/>
                    </a:cubicBezTo>
                    <a:cubicBezTo>
                      <a:pt x="459" y="918"/>
                      <a:pt x="459" y="918"/>
                      <a:pt x="459" y="918"/>
                    </a:cubicBezTo>
                    <a:cubicBezTo>
                      <a:pt x="459" y="924"/>
                      <a:pt x="459" y="924"/>
                      <a:pt x="459" y="924"/>
                    </a:cubicBezTo>
                    <a:cubicBezTo>
                      <a:pt x="458" y="925"/>
                      <a:pt x="458" y="927"/>
                      <a:pt x="458" y="929"/>
                    </a:cubicBezTo>
                    <a:cubicBezTo>
                      <a:pt x="458" y="933"/>
                      <a:pt x="457" y="937"/>
                      <a:pt x="457" y="941"/>
                    </a:cubicBezTo>
                    <a:cubicBezTo>
                      <a:pt x="457" y="947"/>
                      <a:pt x="457" y="953"/>
                      <a:pt x="457" y="959"/>
                    </a:cubicBezTo>
                    <a:cubicBezTo>
                      <a:pt x="457" y="980"/>
                      <a:pt x="457" y="1001"/>
                      <a:pt x="457" y="1022"/>
                    </a:cubicBezTo>
                    <a:cubicBezTo>
                      <a:pt x="458" y="1041"/>
                      <a:pt x="453" y="1058"/>
                      <a:pt x="441" y="1075"/>
                    </a:cubicBezTo>
                    <a:cubicBezTo>
                      <a:pt x="425" y="1098"/>
                      <a:pt x="410" y="1124"/>
                      <a:pt x="412" y="1158"/>
                    </a:cubicBezTo>
                    <a:cubicBezTo>
                      <a:pt x="412" y="1167"/>
                      <a:pt x="411" y="1173"/>
                      <a:pt x="408" y="1176"/>
                    </a:cubicBezTo>
                    <a:cubicBezTo>
                      <a:pt x="405" y="1180"/>
                      <a:pt x="398" y="1181"/>
                      <a:pt x="387" y="1181"/>
                    </a:cubicBezTo>
                    <a:cubicBezTo>
                      <a:pt x="387" y="1181"/>
                      <a:pt x="387" y="1181"/>
                      <a:pt x="387" y="1181"/>
                    </a:cubicBezTo>
                    <a:cubicBezTo>
                      <a:pt x="339" y="1181"/>
                      <a:pt x="295" y="1168"/>
                      <a:pt x="255" y="1154"/>
                    </a:cubicBezTo>
                    <a:cubicBezTo>
                      <a:pt x="233" y="1147"/>
                      <a:pt x="230" y="1139"/>
                      <a:pt x="237" y="1113"/>
                    </a:cubicBezTo>
                    <a:cubicBezTo>
                      <a:pt x="245" y="1085"/>
                      <a:pt x="253" y="1054"/>
                      <a:pt x="260" y="1016"/>
                    </a:cubicBezTo>
                    <a:cubicBezTo>
                      <a:pt x="262" y="1006"/>
                      <a:pt x="255" y="993"/>
                      <a:pt x="253" y="989"/>
                    </a:cubicBezTo>
                    <a:cubicBezTo>
                      <a:pt x="203" y="910"/>
                      <a:pt x="172" y="841"/>
                      <a:pt x="157" y="771"/>
                    </a:cubicBezTo>
                    <a:cubicBezTo>
                      <a:pt x="136" y="673"/>
                      <a:pt x="153" y="573"/>
                      <a:pt x="207" y="489"/>
                    </a:cubicBezTo>
                    <a:cubicBezTo>
                      <a:pt x="263" y="403"/>
                      <a:pt x="353" y="340"/>
                      <a:pt x="453" y="319"/>
                    </a:cubicBezTo>
                    <a:cubicBezTo>
                      <a:pt x="470" y="315"/>
                      <a:pt x="485" y="312"/>
                      <a:pt x="500" y="311"/>
                    </a:cubicBezTo>
                    <a:cubicBezTo>
                      <a:pt x="499" y="313"/>
                      <a:pt x="498" y="314"/>
                      <a:pt x="496" y="315"/>
                    </a:cubicBezTo>
                    <a:cubicBezTo>
                      <a:pt x="489" y="325"/>
                      <a:pt x="489" y="325"/>
                      <a:pt x="489" y="325"/>
                    </a:cubicBezTo>
                    <a:cubicBezTo>
                      <a:pt x="446" y="375"/>
                      <a:pt x="401" y="426"/>
                      <a:pt x="371" y="488"/>
                    </a:cubicBezTo>
                    <a:cubicBezTo>
                      <a:pt x="347" y="537"/>
                      <a:pt x="351" y="577"/>
                      <a:pt x="383" y="618"/>
                    </a:cubicBezTo>
                    <a:cubicBezTo>
                      <a:pt x="400" y="639"/>
                      <a:pt x="413" y="663"/>
                      <a:pt x="427" y="687"/>
                    </a:cubicBezTo>
                    <a:cubicBezTo>
                      <a:pt x="430" y="692"/>
                      <a:pt x="428" y="702"/>
                      <a:pt x="427" y="709"/>
                    </a:cubicBezTo>
                    <a:cubicBezTo>
                      <a:pt x="426" y="717"/>
                      <a:pt x="424" y="724"/>
                      <a:pt x="423" y="732"/>
                    </a:cubicBezTo>
                    <a:cubicBezTo>
                      <a:pt x="421" y="740"/>
                      <a:pt x="419" y="748"/>
                      <a:pt x="418" y="757"/>
                    </a:cubicBezTo>
                    <a:cubicBezTo>
                      <a:pt x="417" y="764"/>
                      <a:pt x="421" y="773"/>
                      <a:pt x="426" y="778"/>
                    </a:cubicBezTo>
                    <a:cubicBezTo>
                      <a:pt x="440" y="793"/>
                      <a:pt x="453" y="807"/>
                      <a:pt x="468" y="819"/>
                    </a:cubicBezTo>
                    <a:cubicBezTo>
                      <a:pt x="512" y="856"/>
                      <a:pt x="561" y="861"/>
                      <a:pt x="614" y="835"/>
                    </a:cubicBezTo>
                    <a:cubicBezTo>
                      <a:pt x="625" y="829"/>
                      <a:pt x="636" y="823"/>
                      <a:pt x="647" y="817"/>
                    </a:cubicBezTo>
                    <a:cubicBezTo>
                      <a:pt x="663" y="808"/>
                      <a:pt x="680" y="798"/>
                      <a:pt x="697" y="791"/>
                    </a:cubicBezTo>
                    <a:cubicBezTo>
                      <a:pt x="729" y="778"/>
                      <a:pt x="764" y="768"/>
                      <a:pt x="796" y="760"/>
                    </a:cubicBezTo>
                    <a:cubicBezTo>
                      <a:pt x="807" y="757"/>
                      <a:pt x="815" y="753"/>
                      <a:pt x="820" y="740"/>
                    </a:cubicBezTo>
                    <a:cubicBezTo>
                      <a:pt x="840" y="685"/>
                      <a:pt x="846" y="627"/>
                      <a:pt x="838" y="569"/>
                    </a:cubicBezTo>
                    <a:cubicBezTo>
                      <a:pt x="832" y="519"/>
                      <a:pt x="824" y="469"/>
                      <a:pt x="817" y="421"/>
                    </a:cubicBezTo>
                    <a:cubicBezTo>
                      <a:pt x="815" y="404"/>
                      <a:pt x="812" y="387"/>
                      <a:pt x="810" y="370"/>
                    </a:cubicBezTo>
                    <a:cubicBezTo>
                      <a:pt x="810" y="367"/>
                      <a:pt x="809" y="365"/>
                      <a:pt x="808" y="361"/>
                    </a:cubicBezTo>
                    <a:cubicBezTo>
                      <a:pt x="807" y="359"/>
                      <a:pt x="807" y="357"/>
                      <a:pt x="806" y="354"/>
                    </a:cubicBezTo>
                    <a:cubicBezTo>
                      <a:pt x="800" y="330"/>
                      <a:pt x="800" y="330"/>
                      <a:pt x="800" y="330"/>
                    </a:cubicBezTo>
                    <a:cubicBezTo>
                      <a:pt x="794" y="354"/>
                      <a:pt x="794" y="354"/>
                      <a:pt x="794" y="354"/>
                    </a:cubicBezTo>
                    <a:cubicBezTo>
                      <a:pt x="782" y="402"/>
                      <a:pt x="779" y="444"/>
                      <a:pt x="784" y="488"/>
                    </a:cubicBezTo>
                    <a:cubicBezTo>
                      <a:pt x="786" y="504"/>
                      <a:pt x="788" y="520"/>
                      <a:pt x="790" y="535"/>
                    </a:cubicBezTo>
                    <a:cubicBezTo>
                      <a:pt x="793" y="561"/>
                      <a:pt x="796" y="587"/>
                      <a:pt x="799" y="613"/>
                    </a:cubicBezTo>
                    <a:cubicBezTo>
                      <a:pt x="802" y="648"/>
                      <a:pt x="796" y="681"/>
                      <a:pt x="783" y="709"/>
                    </a:cubicBezTo>
                    <a:cubicBezTo>
                      <a:pt x="781" y="714"/>
                      <a:pt x="775" y="720"/>
                      <a:pt x="771" y="720"/>
                    </a:cubicBezTo>
                    <a:cubicBezTo>
                      <a:pt x="729" y="727"/>
                      <a:pt x="692" y="744"/>
                      <a:pt x="659" y="763"/>
                    </a:cubicBezTo>
                    <a:cubicBezTo>
                      <a:pt x="651" y="767"/>
                      <a:pt x="644" y="771"/>
                      <a:pt x="637" y="775"/>
                    </a:cubicBezTo>
                    <a:cubicBezTo>
                      <a:pt x="625" y="781"/>
                      <a:pt x="613" y="787"/>
                      <a:pt x="601" y="794"/>
                    </a:cubicBezTo>
                    <a:cubicBezTo>
                      <a:pt x="560" y="815"/>
                      <a:pt x="520" y="810"/>
                      <a:pt x="486" y="779"/>
                    </a:cubicBezTo>
                    <a:cubicBezTo>
                      <a:pt x="458" y="752"/>
                      <a:pt x="456" y="740"/>
                      <a:pt x="473" y="706"/>
                    </a:cubicBezTo>
                    <a:cubicBezTo>
                      <a:pt x="489" y="675"/>
                      <a:pt x="507" y="644"/>
                      <a:pt x="524" y="613"/>
                    </a:cubicBezTo>
                    <a:cubicBezTo>
                      <a:pt x="532" y="600"/>
                      <a:pt x="539" y="587"/>
                      <a:pt x="547" y="573"/>
                    </a:cubicBezTo>
                    <a:cubicBezTo>
                      <a:pt x="548" y="571"/>
                      <a:pt x="551" y="566"/>
                      <a:pt x="548" y="558"/>
                    </a:cubicBezTo>
                    <a:cubicBezTo>
                      <a:pt x="544" y="548"/>
                      <a:pt x="544" y="548"/>
                      <a:pt x="544" y="548"/>
                    </a:cubicBezTo>
                    <a:cubicBezTo>
                      <a:pt x="461" y="650"/>
                      <a:pt x="461" y="650"/>
                      <a:pt x="461" y="650"/>
                    </a:cubicBezTo>
                    <a:cubicBezTo>
                      <a:pt x="449" y="632"/>
                      <a:pt x="449" y="632"/>
                      <a:pt x="449" y="632"/>
                    </a:cubicBezTo>
                    <a:cubicBezTo>
                      <a:pt x="435" y="614"/>
                      <a:pt x="422" y="596"/>
                      <a:pt x="409" y="578"/>
                    </a:cubicBezTo>
                    <a:cubicBezTo>
                      <a:pt x="396" y="560"/>
                      <a:pt x="394" y="542"/>
                      <a:pt x="403" y="521"/>
                    </a:cubicBezTo>
                    <a:cubicBezTo>
                      <a:pt x="427" y="468"/>
                      <a:pt x="452" y="428"/>
                      <a:pt x="482" y="396"/>
                    </a:cubicBezTo>
                    <a:cubicBezTo>
                      <a:pt x="515" y="361"/>
                      <a:pt x="548" y="324"/>
                      <a:pt x="580" y="288"/>
                    </a:cubicBezTo>
                    <a:cubicBezTo>
                      <a:pt x="593" y="273"/>
                      <a:pt x="607" y="258"/>
                      <a:pt x="620" y="243"/>
                    </a:cubicBezTo>
                    <a:cubicBezTo>
                      <a:pt x="639" y="222"/>
                      <a:pt x="662" y="210"/>
                      <a:pt x="690" y="206"/>
                    </a:cubicBezTo>
                    <a:cubicBezTo>
                      <a:pt x="716" y="203"/>
                      <a:pt x="741" y="199"/>
                      <a:pt x="765" y="194"/>
                    </a:cubicBezTo>
                    <a:cubicBezTo>
                      <a:pt x="776" y="192"/>
                      <a:pt x="787" y="190"/>
                      <a:pt x="798" y="188"/>
                    </a:cubicBezTo>
                    <a:cubicBezTo>
                      <a:pt x="804" y="187"/>
                      <a:pt x="804" y="187"/>
                      <a:pt x="804" y="187"/>
                    </a:cubicBezTo>
                    <a:cubicBezTo>
                      <a:pt x="801" y="174"/>
                      <a:pt x="801" y="174"/>
                      <a:pt x="801" y="174"/>
                    </a:cubicBezTo>
                    <a:cubicBezTo>
                      <a:pt x="723" y="174"/>
                      <a:pt x="723" y="174"/>
                      <a:pt x="723" y="174"/>
                    </a:cubicBezTo>
                    <a:cubicBezTo>
                      <a:pt x="740" y="151"/>
                      <a:pt x="757" y="131"/>
                      <a:pt x="779" y="117"/>
                    </a:cubicBezTo>
                    <a:cubicBezTo>
                      <a:pt x="852" y="74"/>
                      <a:pt x="917" y="53"/>
                      <a:pt x="983" y="50"/>
                    </a:cubicBezTo>
                    <a:cubicBezTo>
                      <a:pt x="1028" y="48"/>
                      <a:pt x="1067" y="58"/>
                      <a:pt x="1099" y="80"/>
                    </a:cubicBezTo>
                    <a:cubicBezTo>
                      <a:pt x="1130" y="101"/>
                      <a:pt x="1159" y="124"/>
                      <a:pt x="1190" y="149"/>
                    </a:cubicBezTo>
                    <a:cubicBezTo>
                      <a:pt x="1201" y="157"/>
                      <a:pt x="1212" y="166"/>
                      <a:pt x="1223" y="175"/>
                    </a:cubicBezTo>
                    <a:cubicBezTo>
                      <a:pt x="1189" y="190"/>
                      <a:pt x="1189" y="190"/>
                      <a:pt x="1189" y="190"/>
                    </a:cubicBezTo>
                    <a:cubicBezTo>
                      <a:pt x="1215" y="191"/>
                      <a:pt x="1215" y="191"/>
                      <a:pt x="1215" y="191"/>
                    </a:cubicBezTo>
                    <a:cubicBezTo>
                      <a:pt x="1244" y="192"/>
                      <a:pt x="1270" y="203"/>
                      <a:pt x="1289" y="222"/>
                    </a:cubicBezTo>
                    <a:cubicBezTo>
                      <a:pt x="1306" y="239"/>
                      <a:pt x="1320" y="260"/>
                      <a:pt x="1332" y="280"/>
                    </a:cubicBezTo>
                    <a:cubicBezTo>
                      <a:pt x="1313" y="279"/>
                      <a:pt x="1298" y="287"/>
                      <a:pt x="1283" y="295"/>
                    </a:cubicBezTo>
                    <a:cubicBezTo>
                      <a:pt x="1275" y="299"/>
                      <a:pt x="1267" y="303"/>
                      <a:pt x="1259" y="305"/>
                    </a:cubicBezTo>
                    <a:cubicBezTo>
                      <a:pt x="1240" y="311"/>
                      <a:pt x="1240" y="311"/>
                      <a:pt x="1240" y="311"/>
                    </a:cubicBezTo>
                    <a:cubicBezTo>
                      <a:pt x="1270" y="320"/>
                      <a:pt x="1270" y="320"/>
                      <a:pt x="1270" y="320"/>
                    </a:cubicBezTo>
                    <a:cubicBezTo>
                      <a:pt x="1273" y="350"/>
                      <a:pt x="1273" y="350"/>
                      <a:pt x="1273" y="350"/>
                    </a:cubicBezTo>
                    <a:cubicBezTo>
                      <a:pt x="1271" y="351"/>
                      <a:pt x="1271" y="351"/>
                      <a:pt x="1271" y="351"/>
                    </a:cubicBezTo>
                    <a:cubicBezTo>
                      <a:pt x="1273" y="366"/>
                      <a:pt x="1273" y="366"/>
                      <a:pt x="1273" y="366"/>
                    </a:cubicBezTo>
                    <a:cubicBezTo>
                      <a:pt x="1279" y="366"/>
                      <a:pt x="1279" y="366"/>
                      <a:pt x="1279" y="366"/>
                    </a:cubicBezTo>
                    <a:cubicBezTo>
                      <a:pt x="1283" y="366"/>
                      <a:pt x="1288" y="366"/>
                      <a:pt x="1293" y="366"/>
                    </a:cubicBezTo>
                    <a:cubicBezTo>
                      <a:pt x="1305" y="366"/>
                      <a:pt x="1316" y="366"/>
                      <a:pt x="1328" y="366"/>
                    </a:cubicBezTo>
                    <a:cubicBezTo>
                      <a:pt x="1331" y="365"/>
                      <a:pt x="1336" y="366"/>
                      <a:pt x="1338" y="368"/>
                    </a:cubicBezTo>
                    <a:cubicBezTo>
                      <a:pt x="1339" y="369"/>
                      <a:pt x="1340" y="371"/>
                      <a:pt x="1340" y="372"/>
                    </a:cubicBezTo>
                    <a:cubicBezTo>
                      <a:pt x="1338" y="372"/>
                      <a:pt x="1335" y="372"/>
                      <a:pt x="1333" y="372"/>
                    </a:cubicBezTo>
                    <a:cubicBezTo>
                      <a:pt x="1323" y="372"/>
                      <a:pt x="1312" y="371"/>
                      <a:pt x="1302" y="373"/>
                    </a:cubicBezTo>
                    <a:cubicBezTo>
                      <a:pt x="1269" y="376"/>
                      <a:pt x="1247" y="396"/>
                      <a:pt x="1238" y="428"/>
                    </a:cubicBezTo>
                    <a:cubicBezTo>
                      <a:pt x="1237" y="433"/>
                      <a:pt x="1236" y="438"/>
                      <a:pt x="1234" y="442"/>
                    </a:cubicBezTo>
                    <a:cubicBezTo>
                      <a:pt x="1232" y="449"/>
                      <a:pt x="1230" y="455"/>
                      <a:pt x="1228" y="462"/>
                    </a:cubicBezTo>
                    <a:cubicBezTo>
                      <a:pt x="1223" y="488"/>
                      <a:pt x="1223" y="488"/>
                      <a:pt x="1223" y="488"/>
                    </a:cubicBezTo>
                    <a:cubicBezTo>
                      <a:pt x="1239" y="467"/>
                      <a:pt x="1239" y="467"/>
                      <a:pt x="1239" y="467"/>
                    </a:cubicBezTo>
                    <a:cubicBezTo>
                      <a:pt x="1244" y="460"/>
                      <a:pt x="1249" y="452"/>
                      <a:pt x="1254" y="444"/>
                    </a:cubicBezTo>
                    <a:cubicBezTo>
                      <a:pt x="1264" y="425"/>
                      <a:pt x="1274" y="409"/>
                      <a:pt x="1294" y="403"/>
                    </a:cubicBezTo>
                    <a:cubicBezTo>
                      <a:pt x="1281" y="422"/>
                      <a:pt x="1280" y="444"/>
                      <a:pt x="1278" y="465"/>
                    </a:cubicBezTo>
                    <a:cubicBezTo>
                      <a:pt x="1277" y="477"/>
                      <a:pt x="1276" y="489"/>
                      <a:pt x="1273" y="500"/>
                    </a:cubicBezTo>
                    <a:cubicBezTo>
                      <a:pt x="1271" y="505"/>
                      <a:pt x="1271" y="505"/>
                      <a:pt x="1271" y="505"/>
                    </a:cubicBezTo>
                    <a:cubicBezTo>
                      <a:pt x="1286" y="510"/>
                      <a:pt x="1286" y="510"/>
                      <a:pt x="1286" y="510"/>
                    </a:cubicBezTo>
                    <a:cubicBezTo>
                      <a:pt x="1288" y="505"/>
                      <a:pt x="1288" y="505"/>
                      <a:pt x="1288" y="505"/>
                    </a:cubicBezTo>
                    <a:cubicBezTo>
                      <a:pt x="1290" y="500"/>
                      <a:pt x="1292" y="495"/>
                      <a:pt x="1293" y="490"/>
                    </a:cubicBezTo>
                    <a:cubicBezTo>
                      <a:pt x="1297" y="478"/>
                      <a:pt x="1301" y="467"/>
                      <a:pt x="1305" y="455"/>
                    </a:cubicBezTo>
                    <a:cubicBezTo>
                      <a:pt x="1310" y="437"/>
                      <a:pt x="1316" y="422"/>
                      <a:pt x="1331" y="413"/>
                    </a:cubicBezTo>
                    <a:cubicBezTo>
                      <a:pt x="1335" y="411"/>
                      <a:pt x="1339" y="410"/>
                      <a:pt x="1344" y="409"/>
                    </a:cubicBezTo>
                    <a:cubicBezTo>
                      <a:pt x="1345" y="409"/>
                      <a:pt x="1345" y="409"/>
                      <a:pt x="1346" y="409"/>
                    </a:cubicBezTo>
                    <a:cubicBezTo>
                      <a:pt x="1346" y="409"/>
                      <a:pt x="1346" y="409"/>
                      <a:pt x="1346" y="409"/>
                    </a:cubicBezTo>
                    <a:cubicBezTo>
                      <a:pt x="1347" y="413"/>
                      <a:pt x="1349" y="417"/>
                      <a:pt x="1349" y="420"/>
                    </a:cubicBezTo>
                    <a:cubicBezTo>
                      <a:pt x="1347" y="446"/>
                      <a:pt x="1345" y="472"/>
                      <a:pt x="1342" y="498"/>
                    </a:cubicBezTo>
                    <a:cubicBezTo>
                      <a:pt x="1340" y="518"/>
                      <a:pt x="1340" y="518"/>
                      <a:pt x="1340" y="518"/>
                    </a:cubicBezTo>
                    <a:cubicBezTo>
                      <a:pt x="1340" y="522"/>
                      <a:pt x="1339" y="528"/>
                      <a:pt x="1342" y="535"/>
                    </a:cubicBezTo>
                    <a:cubicBezTo>
                      <a:pt x="1347" y="547"/>
                      <a:pt x="1347" y="547"/>
                      <a:pt x="1347" y="547"/>
                    </a:cubicBezTo>
                    <a:cubicBezTo>
                      <a:pt x="1353" y="535"/>
                      <a:pt x="1353" y="535"/>
                      <a:pt x="1353" y="535"/>
                    </a:cubicBezTo>
                    <a:cubicBezTo>
                      <a:pt x="1354" y="534"/>
                      <a:pt x="1354" y="533"/>
                      <a:pt x="1355" y="532"/>
                    </a:cubicBezTo>
                    <a:cubicBezTo>
                      <a:pt x="1357" y="528"/>
                      <a:pt x="1359" y="525"/>
                      <a:pt x="1360" y="521"/>
                    </a:cubicBezTo>
                    <a:cubicBezTo>
                      <a:pt x="1375" y="476"/>
                      <a:pt x="1389" y="423"/>
                      <a:pt x="1380" y="365"/>
                    </a:cubicBezTo>
                    <a:cubicBezTo>
                      <a:pt x="1377" y="347"/>
                      <a:pt x="1376" y="338"/>
                      <a:pt x="1381" y="332"/>
                    </a:cubicBezTo>
                    <a:cubicBezTo>
                      <a:pt x="1435" y="365"/>
                      <a:pt x="1506" y="301"/>
                      <a:pt x="1508" y="247"/>
                    </a:cubicBezTo>
                    <a:cubicBezTo>
                      <a:pt x="1515" y="252"/>
                      <a:pt x="1520" y="261"/>
                      <a:pt x="1524" y="269"/>
                    </a:cubicBezTo>
                    <a:cubicBezTo>
                      <a:pt x="1532" y="286"/>
                      <a:pt x="1538" y="307"/>
                      <a:pt x="1544" y="331"/>
                    </a:cubicBezTo>
                    <a:cubicBezTo>
                      <a:pt x="1564" y="419"/>
                      <a:pt x="1567" y="492"/>
                      <a:pt x="1553" y="560"/>
                    </a:cubicBezTo>
                    <a:cubicBezTo>
                      <a:pt x="1543" y="606"/>
                      <a:pt x="1524" y="647"/>
                      <a:pt x="1496" y="680"/>
                    </a:cubicBezTo>
                    <a:cubicBezTo>
                      <a:pt x="1454" y="729"/>
                      <a:pt x="1398" y="751"/>
                      <a:pt x="1325" y="747"/>
                    </a:cubicBezTo>
                    <a:cubicBezTo>
                      <a:pt x="1268" y="744"/>
                      <a:pt x="1213" y="727"/>
                      <a:pt x="1161" y="709"/>
                    </a:cubicBezTo>
                    <a:cubicBezTo>
                      <a:pt x="1151" y="706"/>
                      <a:pt x="1141" y="701"/>
                      <a:pt x="1132" y="696"/>
                    </a:cubicBezTo>
                    <a:cubicBezTo>
                      <a:pt x="1127" y="693"/>
                      <a:pt x="1122" y="691"/>
                      <a:pt x="1117" y="688"/>
                    </a:cubicBezTo>
                    <a:lnTo>
                      <a:pt x="1108" y="684"/>
                    </a:lnTo>
                    <a:close/>
                    <a:moveTo>
                      <a:pt x="1283" y="343"/>
                    </a:moveTo>
                    <a:cubicBezTo>
                      <a:pt x="1285" y="342"/>
                      <a:pt x="1286" y="340"/>
                      <a:pt x="1287" y="338"/>
                    </a:cubicBezTo>
                    <a:cubicBezTo>
                      <a:pt x="1288" y="336"/>
                      <a:pt x="1289" y="334"/>
                      <a:pt x="1290" y="334"/>
                    </a:cubicBezTo>
                    <a:cubicBezTo>
                      <a:pt x="1293" y="332"/>
                      <a:pt x="1297" y="332"/>
                      <a:pt x="1299" y="332"/>
                    </a:cubicBezTo>
                    <a:cubicBezTo>
                      <a:pt x="1300" y="332"/>
                      <a:pt x="1301" y="332"/>
                      <a:pt x="1302" y="332"/>
                    </a:cubicBezTo>
                    <a:cubicBezTo>
                      <a:pt x="1304" y="333"/>
                      <a:pt x="1306" y="337"/>
                      <a:pt x="1306" y="338"/>
                    </a:cubicBezTo>
                    <a:cubicBezTo>
                      <a:pt x="1305" y="339"/>
                      <a:pt x="1302" y="341"/>
                      <a:pt x="1298" y="343"/>
                    </a:cubicBezTo>
                    <a:cubicBezTo>
                      <a:pt x="1293" y="345"/>
                      <a:pt x="1288" y="346"/>
                      <a:pt x="1283" y="348"/>
                    </a:cubicBezTo>
                    <a:cubicBezTo>
                      <a:pt x="1282" y="348"/>
                      <a:pt x="1280" y="348"/>
                      <a:pt x="1279" y="349"/>
                    </a:cubicBezTo>
                    <a:lnTo>
                      <a:pt x="1283" y="343"/>
                    </a:lnTo>
                    <a:close/>
                    <a:moveTo>
                      <a:pt x="1382" y="331"/>
                    </a:moveTo>
                    <a:cubicBezTo>
                      <a:pt x="1387" y="327"/>
                      <a:pt x="1395" y="323"/>
                      <a:pt x="1407" y="319"/>
                    </a:cubicBezTo>
                    <a:cubicBezTo>
                      <a:pt x="1428" y="312"/>
                      <a:pt x="1445" y="299"/>
                      <a:pt x="1459" y="281"/>
                    </a:cubicBezTo>
                    <a:cubicBezTo>
                      <a:pt x="1464" y="275"/>
                      <a:pt x="1469" y="269"/>
                      <a:pt x="1474" y="263"/>
                    </a:cubicBezTo>
                    <a:cubicBezTo>
                      <a:pt x="1481" y="254"/>
                      <a:pt x="1492" y="244"/>
                      <a:pt x="1502" y="245"/>
                    </a:cubicBezTo>
                    <a:cubicBezTo>
                      <a:pt x="1504" y="246"/>
                      <a:pt x="1506" y="246"/>
                      <a:pt x="1507" y="247"/>
                    </a:cubicBezTo>
                    <a:cubicBezTo>
                      <a:pt x="1477" y="291"/>
                      <a:pt x="1445" y="333"/>
                      <a:pt x="1382" y="331"/>
                    </a:cubicBezTo>
                    <a:close/>
                    <a:moveTo>
                      <a:pt x="189" y="1037"/>
                    </a:moveTo>
                    <a:cubicBezTo>
                      <a:pt x="186" y="1037"/>
                      <a:pt x="184" y="1037"/>
                      <a:pt x="181" y="1036"/>
                    </a:cubicBezTo>
                    <a:cubicBezTo>
                      <a:pt x="148" y="1027"/>
                      <a:pt x="84" y="985"/>
                      <a:pt x="76" y="932"/>
                    </a:cubicBezTo>
                    <a:cubicBezTo>
                      <a:pt x="74" y="921"/>
                      <a:pt x="76" y="915"/>
                      <a:pt x="82" y="909"/>
                    </a:cubicBezTo>
                    <a:cubicBezTo>
                      <a:pt x="97" y="895"/>
                      <a:pt x="111" y="880"/>
                      <a:pt x="126" y="865"/>
                    </a:cubicBezTo>
                    <a:cubicBezTo>
                      <a:pt x="130" y="860"/>
                      <a:pt x="133" y="856"/>
                      <a:pt x="137" y="851"/>
                    </a:cubicBezTo>
                    <a:cubicBezTo>
                      <a:pt x="139" y="857"/>
                      <a:pt x="142" y="863"/>
                      <a:pt x="144" y="869"/>
                    </a:cubicBezTo>
                    <a:cubicBezTo>
                      <a:pt x="153" y="890"/>
                      <a:pt x="162" y="912"/>
                      <a:pt x="172" y="933"/>
                    </a:cubicBezTo>
                    <a:cubicBezTo>
                      <a:pt x="181" y="951"/>
                      <a:pt x="191" y="969"/>
                      <a:pt x="201" y="985"/>
                    </a:cubicBezTo>
                    <a:cubicBezTo>
                      <a:pt x="204" y="991"/>
                      <a:pt x="207" y="996"/>
                      <a:pt x="210" y="1001"/>
                    </a:cubicBezTo>
                    <a:cubicBezTo>
                      <a:pt x="215" y="1009"/>
                      <a:pt x="215" y="1018"/>
                      <a:pt x="211" y="1025"/>
                    </a:cubicBezTo>
                    <a:cubicBezTo>
                      <a:pt x="206" y="1032"/>
                      <a:pt x="199" y="1037"/>
                      <a:pt x="190" y="1037"/>
                    </a:cubicBezTo>
                    <a:lnTo>
                      <a:pt x="189" y="1037"/>
                    </a:lnTo>
                    <a:close/>
                    <a:moveTo>
                      <a:pt x="85" y="442"/>
                    </a:moveTo>
                    <a:cubicBezTo>
                      <a:pt x="83" y="459"/>
                      <a:pt x="81" y="475"/>
                      <a:pt x="78" y="492"/>
                    </a:cubicBezTo>
                    <a:cubicBezTo>
                      <a:pt x="75" y="505"/>
                      <a:pt x="72" y="514"/>
                      <a:pt x="67" y="519"/>
                    </a:cubicBezTo>
                    <a:cubicBezTo>
                      <a:pt x="53" y="532"/>
                      <a:pt x="61" y="544"/>
                      <a:pt x="65" y="552"/>
                    </a:cubicBezTo>
                    <a:cubicBezTo>
                      <a:pt x="67" y="554"/>
                      <a:pt x="68" y="556"/>
                      <a:pt x="69" y="558"/>
                    </a:cubicBezTo>
                    <a:cubicBezTo>
                      <a:pt x="75" y="572"/>
                      <a:pt x="87" y="577"/>
                      <a:pt x="101" y="572"/>
                    </a:cubicBezTo>
                    <a:cubicBezTo>
                      <a:pt x="111" y="569"/>
                      <a:pt x="121" y="565"/>
                      <a:pt x="131" y="560"/>
                    </a:cubicBezTo>
                    <a:cubicBezTo>
                      <a:pt x="131" y="560"/>
                      <a:pt x="132" y="560"/>
                      <a:pt x="132" y="560"/>
                    </a:cubicBezTo>
                    <a:cubicBezTo>
                      <a:pt x="132" y="560"/>
                      <a:pt x="132" y="560"/>
                      <a:pt x="132" y="560"/>
                    </a:cubicBezTo>
                    <a:cubicBezTo>
                      <a:pt x="129" y="571"/>
                      <a:pt x="127" y="579"/>
                      <a:pt x="113" y="582"/>
                    </a:cubicBezTo>
                    <a:cubicBezTo>
                      <a:pt x="83" y="589"/>
                      <a:pt x="73" y="583"/>
                      <a:pt x="63" y="555"/>
                    </a:cubicBezTo>
                    <a:cubicBezTo>
                      <a:pt x="58" y="543"/>
                      <a:pt x="52" y="531"/>
                      <a:pt x="47" y="519"/>
                    </a:cubicBezTo>
                    <a:cubicBezTo>
                      <a:pt x="46" y="518"/>
                      <a:pt x="46" y="518"/>
                      <a:pt x="46" y="518"/>
                    </a:cubicBezTo>
                    <a:cubicBezTo>
                      <a:pt x="40" y="506"/>
                      <a:pt x="40" y="493"/>
                      <a:pt x="48" y="479"/>
                    </a:cubicBezTo>
                    <a:cubicBezTo>
                      <a:pt x="56" y="462"/>
                      <a:pt x="68" y="448"/>
                      <a:pt x="86" y="434"/>
                    </a:cubicBezTo>
                    <a:cubicBezTo>
                      <a:pt x="86" y="437"/>
                      <a:pt x="85" y="439"/>
                      <a:pt x="85" y="442"/>
                    </a:cubicBezTo>
                    <a:close/>
                    <a:moveTo>
                      <a:pt x="126" y="514"/>
                    </a:moveTo>
                    <a:cubicBezTo>
                      <a:pt x="123" y="516"/>
                      <a:pt x="120" y="519"/>
                      <a:pt x="118" y="521"/>
                    </a:cubicBezTo>
                    <a:cubicBezTo>
                      <a:pt x="115" y="524"/>
                      <a:pt x="111" y="526"/>
                      <a:pt x="107" y="528"/>
                    </a:cubicBezTo>
                    <a:cubicBezTo>
                      <a:pt x="118" y="495"/>
                      <a:pt x="118" y="495"/>
                      <a:pt x="118" y="495"/>
                    </a:cubicBezTo>
                    <a:cubicBezTo>
                      <a:pt x="130" y="510"/>
                      <a:pt x="130" y="510"/>
                      <a:pt x="130" y="510"/>
                    </a:cubicBezTo>
                    <a:cubicBezTo>
                      <a:pt x="128" y="511"/>
                      <a:pt x="127" y="512"/>
                      <a:pt x="126"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58"/>
              <p:cNvSpPr>
                <a:spLocks/>
              </p:cNvSpPr>
              <p:nvPr/>
            </p:nvSpPr>
            <p:spPr bwMode="auto">
              <a:xfrm>
                <a:off x="-1524000" y="3909767"/>
                <a:ext cx="119062" cy="95250"/>
              </a:xfrm>
              <a:custGeom>
                <a:avLst/>
                <a:gdLst>
                  <a:gd name="T0" fmla="*/ 150 w 175"/>
                  <a:gd name="T1" fmla="*/ 54 h 141"/>
                  <a:gd name="T2" fmla="*/ 136 w 175"/>
                  <a:gd name="T3" fmla="*/ 49 h 141"/>
                  <a:gd name="T4" fmla="*/ 113 w 175"/>
                  <a:gd name="T5" fmla="*/ 16 h 141"/>
                  <a:gd name="T6" fmla="*/ 128 w 175"/>
                  <a:gd name="T7" fmla="*/ 3 h 141"/>
                  <a:gd name="T8" fmla="*/ 0 w 175"/>
                  <a:gd name="T9" fmla="*/ 91 h 141"/>
                  <a:gd name="T10" fmla="*/ 29 w 175"/>
                  <a:gd name="T11" fmla="*/ 75 h 141"/>
                  <a:gd name="T12" fmla="*/ 44 w 175"/>
                  <a:gd name="T13" fmla="*/ 101 h 141"/>
                  <a:gd name="T14" fmla="*/ 63 w 175"/>
                  <a:gd name="T15" fmla="*/ 71 h 141"/>
                  <a:gd name="T16" fmla="*/ 91 w 175"/>
                  <a:gd name="T17" fmla="*/ 79 h 141"/>
                  <a:gd name="T18" fmla="*/ 49 w 175"/>
                  <a:gd name="T19" fmla="*/ 141 h 141"/>
                  <a:gd name="T20" fmla="*/ 175 w 175"/>
                  <a:gd name="T21" fmla="*/ 54 h 141"/>
                  <a:gd name="T22" fmla="*/ 150 w 175"/>
                  <a:gd name="T23" fmla="*/ 5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41">
                    <a:moveTo>
                      <a:pt x="150" y="54"/>
                    </a:moveTo>
                    <a:cubicBezTo>
                      <a:pt x="145" y="54"/>
                      <a:pt x="139" y="52"/>
                      <a:pt x="136" y="49"/>
                    </a:cubicBezTo>
                    <a:cubicBezTo>
                      <a:pt x="128" y="39"/>
                      <a:pt x="121" y="27"/>
                      <a:pt x="113" y="16"/>
                    </a:cubicBezTo>
                    <a:cubicBezTo>
                      <a:pt x="118" y="12"/>
                      <a:pt x="123" y="8"/>
                      <a:pt x="128" y="3"/>
                    </a:cubicBezTo>
                    <a:cubicBezTo>
                      <a:pt x="63" y="0"/>
                      <a:pt x="30" y="43"/>
                      <a:pt x="0" y="91"/>
                    </a:cubicBezTo>
                    <a:cubicBezTo>
                      <a:pt x="9" y="86"/>
                      <a:pt x="19" y="80"/>
                      <a:pt x="29" y="75"/>
                    </a:cubicBezTo>
                    <a:cubicBezTo>
                      <a:pt x="34" y="85"/>
                      <a:pt x="39" y="93"/>
                      <a:pt x="44" y="101"/>
                    </a:cubicBezTo>
                    <a:cubicBezTo>
                      <a:pt x="46" y="87"/>
                      <a:pt x="47" y="73"/>
                      <a:pt x="63" y="71"/>
                    </a:cubicBezTo>
                    <a:cubicBezTo>
                      <a:pt x="71" y="70"/>
                      <a:pt x="80" y="76"/>
                      <a:pt x="91" y="79"/>
                    </a:cubicBezTo>
                    <a:cubicBezTo>
                      <a:pt x="48" y="125"/>
                      <a:pt x="48" y="125"/>
                      <a:pt x="49" y="141"/>
                    </a:cubicBezTo>
                    <a:cubicBezTo>
                      <a:pt x="84" y="101"/>
                      <a:pt x="128" y="75"/>
                      <a:pt x="175" y="54"/>
                    </a:cubicBezTo>
                    <a:cubicBezTo>
                      <a:pt x="166" y="53"/>
                      <a:pt x="158" y="55"/>
                      <a:pt x="1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60"/>
              <p:cNvSpPr>
                <a:spLocks/>
              </p:cNvSpPr>
              <p:nvPr/>
            </p:nvSpPr>
            <p:spPr bwMode="auto">
              <a:xfrm>
                <a:off x="-1566863" y="3849442"/>
                <a:ext cx="58737" cy="63500"/>
              </a:xfrm>
              <a:custGeom>
                <a:avLst/>
                <a:gdLst>
                  <a:gd name="T0" fmla="*/ 20 w 88"/>
                  <a:gd name="T1" fmla="*/ 93 h 93"/>
                  <a:gd name="T2" fmla="*/ 88 w 88"/>
                  <a:gd name="T3" fmla="*/ 0 h 93"/>
                  <a:gd name="T4" fmla="*/ 20 w 88"/>
                  <a:gd name="T5" fmla="*/ 93 h 93"/>
                </a:gdLst>
                <a:ahLst/>
                <a:cxnLst>
                  <a:cxn ang="0">
                    <a:pos x="T0" y="T1"/>
                  </a:cxn>
                  <a:cxn ang="0">
                    <a:pos x="T2" y="T3"/>
                  </a:cxn>
                  <a:cxn ang="0">
                    <a:pos x="T4" y="T5"/>
                  </a:cxn>
                </a:cxnLst>
                <a:rect l="0" t="0" r="r" b="b"/>
                <a:pathLst>
                  <a:path w="88" h="93">
                    <a:moveTo>
                      <a:pt x="20" y="93"/>
                    </a:moveTo>
                    <a:cubicBezTo>
                      <a:pt x="30" y="50"/>
                      <a:pt x="53" y="21"/>
                      <a:pt x="88" y="0"/>
                    </a:cubicBezTo>
                    <a:cubicBezTo>
                      <a:pt x="39" y="4"/>
                      <a:pt x="0" y="44"/>
                      <a:pt x="2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89" name="TextBox 388"/>
            <p:cNvSpPr txBox="1"/>
            <p:nvPr/>
          </p:nvSpPr>
          <p:spPr>
            <a:xfrm>
              <a:off x="3566802" y="4208546"/>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Big Data Analytics</a:t>
              </a:r>
            </a:p>
          </p:txBody>
        </p:sp>
      </p:grpSp>
      <p:grpSp>
        <p:nvGrpSpPr>
          <p:cNvPr id="83" name="Group 82"/>
          <p:cNvGrpSpPr/>
          <p:nvPr/>
        </p:nvGrpSpPr>
        <p:grpSpPr>
          <a:xfrm>
            <a:off x="2391739" y="5654647"/>
            <a:ext cx="796784" cy="739589"/>
            <a:chOff x="7543831" y="2811089"/>
            <a:chExt cx="942339" cy="874694"/>
          </a:xfrm>
        </p:grpSpPr>
        <p:grpSp>
          <p:nvGrpSpPr>
            <p:cNvPr id="84" name="Group 83"/>
            <p:cNvGrpSpPr/>
            <p:nvPr/>
          </p:nvGrpSpPr>
          <p:grpSpPr>
            <a:xfrm>
              <a:off x="7719310" y="2811089"/>
              <a:ext cx="587487" cy="506454"/>
              <a:chOff x="4535184" y="4753986"/>
              <a:chExt cx="508567" cy="438420"/>
            </a:xfrm>
          </p:grpSpPr>
          <p:sp>
            <p:nvSpPr>
              <p:cNvPr id="86" name="Hexagon 85"/>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87" name="Group 86"/>
              <p:cNvGrpSpPr/>
              <p:nvPr/>
            </p:nvGrpSpPr>
            <p:grpSpPr>
              <a:xfrm>
                <a:off x="4597600" y="4844315"/>
                <a:ext cx="383610" cy="279642"/>
                <a:chOff x="4604634" y="4851349"/>
                <a:chExt cx="383610" cy="279642"/>
              </a:xfrm>
            </p:grpSpPr>
            <p:sp>
              <p:nvSpPr>
                <p:cNvPr id="88" name="TextBox 87"/>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a:ea typeface="+mn-ea"/>
                      <a:cs typeface="+mn-cs"/>
                    </a:rPr>
                    <a:t>01</a:t>
                  </a:r>
                </a:p>
              </p:txBody>
            </p:sp>
            <p:sp>
              <p:nvSpPr>
                <p:cNvPr id="89"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85" name="TextBox 84"/>
            <p:cNvSpPr txBox="1"/>
            <p:nvPr/>
          </p:nvSpPr>
          <p:spPr>
            <a:xfrm>
              <a:off x="7543831" y="3383852"/>
              <a:ext cx="942339" cy="11930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sp>
          <p:nvSpPr>
            <p:cNvPr id="392" name="TextBox 391"/>
            <p:cNvSpPr txBox="1"/>
            <p:nvPr/>
          </p:nvSpPr>
          <p:spPr>
            <a:xfrm>
              <a:off x="7543831" y="3566481"/>
              <a:ext cx="942339" cy="11930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Raw Store</a:t>
              </a:r>
            </a:p>
          </p:txBody>
        </p:sp>
      </p:grpSp>
      <p:grpSp>
        <p:nvGrpSpPr>
          <p:cNvPr id="181" name="Group 180"/>
          <p:cNvGrpSpPr/>
          <p:nvPr/>
        </p:nvGrpSpPr>
        <p:grpSpPr>
          <a:xfrm>
            <a:off x="4214150" y="5647769"/>
            <a:ext cx="769157" cy="740039"/>
            <a:chOff x="4535300" y="5564210"/>
            <a:chExt cx="769157" cy="740039"/>
          </a:xfrm>
        </p:grpSpPr>
        <p:grpSp>
          <p:nvGrpSpPr>
            <p:cNvPr id="100" name="Group 99"/>
            <p:cNvGrpSpPr/>
            <p:nvPr/>
          </p:nvGrpSpPr>
          <p:grpSpPr>
            <a:xfrm>
              <a:off x="4671506" y="5564210"/>
              <a:ext cx="496744" cy="428226"/>
              <a:chOff x="4462854" y="3792560"/>
              <a:chExt cx="587487" cy="506454"/>
            </a:xfrm>
          </p:grpSpPr>
          <p:grpSp>
            <p:nvGrpSpPr>
              <p:cNvPr id="101" name="Group 100"/>
              <p:cNvGrpSpPr/>
              <p:nvPr/>
            </p:nvGrpSpPr>
            <p:grpSpPr>
              <a:xfrm>
                <a:off x="4618517" y="3926660"/>
                <a:ext cx="271972" cy="271972"/>
                <a:chOff x="5074886" y="3859261"/>
                <a:chExt cx="292608" cy="292608"/>
              </a:xfrm>
            </p:grpSpPr>
            <p:grpSp>
              <p:nvGrpSpPr>
                <p:cNvPr id="103" name="Group 102"/>
                <p:cNvGrpSpPr/>
                <p:nvPr/>
              </p:nvGrpSpPr>
              <p:grpSpPr>
                <a:xfrm>
                  <a:off x="5120430" y="3864374"/>
                  <a:ext cx="247064" cy="244013"/>
                  <a:chOff x="4020820" y="2536426"/>
                  <a:chExt cx="1116178" cy="1102393"/>
                </a:xfrm>
              </p:grpSpPr>
              <p:sp>
                <p:nvSpPr>
                  <p:cNvPr id="105" name="Rectangle 104"/>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6" name="Rectangle 105"/>
                  <p:cNvSpPr/>
                  <p:nvPr/>
                </p:nvSpPr>
                <p:spPr bwMode="auto">
                  <a:xfrm>
                    <a:off x="4402203"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7" name="Rectangle 106"/>
                  <p:cNvSpPr/>
                  <p:nvPr/>
                </p:nvSpPr>
                <p:spPr bwMode="auto">
                  <a:xfrm>
                    <a:off x="4788181"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8" name="Rectangle 107"/>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09" name="Rectangle 108"/>
                  <p:cNvSpPr/>
                  <p:nvPr/>
                </p:nvSpPr>
                <p:spPr bwMode="auto">
                  <a:xfrm>
                    <a:off x="4402203"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0" name="Rectangle 109"/>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1" name="Rectangle 110"/>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2" name="Rectangle 111"/>
                  <p:cNvSpPr/>
                  <p:nvPr/>
                </p:nvSpPr>
                <p:spPr bwMode="auto">
                  <a:xfrm>
                    <a:off x="4402203"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13" name="Rectangle 112"/>
                  <p:cNvSpPr/>
                  <p:nvPr/>
                </p:nvSpPr>
                <p:spPr bwMode="auto">
                  <a:xfrm>
                    <a:off x="4788181"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cxnSp>
              <p:nvCxnSpPr>
                <p:cNvPr id="104" name="Connector: Elbow 52"/>
                <p:cNvCxnSpPr>
                  <a:cxnSpLocks/>
                </p:cNvCxnSpPr>
                <p:nvPr/>
              </p:nvCxnSpPr>
              <p:spPr>
                <a:xfrm rot="16200000" flipH="1">
                  <a:off x="5074886" y="3859261"/>
                  <a:ext cx="292608" cy="292608"/>
                </a:xfrm>
                <a:prstGeom prst="bentConnector3">
                  <a:avLst>
                    <a:gd name="adj1" fmla="val 100311"/>
                  </a:avLst>
                </a:prstGeom>
                <a:ln w="254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2" name="Hexagon 101"/>
              <p:cNvSpPr/>
              <p:nvPr/>
            </p:nvSpPr>
            <p:spPr bwMode="auto">
              <a:xfrm>
                <a:off x="4462854" y="3792560"/>
                <a:ext cx="587487" cy="506454"/>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grpSp>
        <p:sp>
          <p:nvSpPr>
            <p:cNvPr id="114" name="TextBox 113"/>
            <p:cNvSpPr txBox="1"/>
            <p:nvPr/>
          </p:nvSpPr>
          <p:spPr>
            <a:xfrm>
              <a:off x="4535300" y="6059936"/>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orage table</a:t>
              </a:r>
            </a:p>
          </p:txBody>
        </p:sp>
        <p:sp>
          <p:nvSpPr>
            <p:cNvPr id="394" name="TextBox 393"/>
            <p:cNvSpPr txBox="1"/>
            <p:nvPr/>
          </p:nvSpPr>
          <p:spPr>
            <a:xfrm>
              <a:off x="4535300" y="620729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isplay Cache</a:t>
              </a:r>
            </a:p>
          </p:txBody>
        </p:sp>
      </p:grpSp>
      <p:grpSp>
        <p:nvGrpSpPr>
          <p:cNvPr id="9" name="Group 8"/>
          <p:cNvGrpSpPr/>
          <p:nvPr/>
        </p:nvGrpSpPr>
        <p:grpSpPr>
          <a:xfrm>
            <a:off x="3368261" y="4282627"/>
            <a:ext cx="634688" cy="860076"/>
            <a:chOff x="4761097" y="3670939"/>
            <a:chExt cx="634688" cy="860076"/>
          </a:xfrm>
        </p:grpSpPr>
        <p:sp>
          <p:nvSpPr>
            <p:cNvPr id="115" name="Freeform 21"/>
            <p:cNvSpPr>
              <a:spLocks noEditPoints="1"/>
            </p:cNvSpPr>
            <p:nvPr/>
          </p:nvSpPr>
          <p:spPr bwMode="auto">
            <a:xfrm>
              <a:off x="4884186" y="3670939"/>
              <a:ext cx="387607" cy="43854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TextBox 115"/>
            <p:cNvSpPr txBox="1"/>
            <p:nvPr/>
          </p:nvSpPr>
          <p:spPr>
            <a:xfrm>
              <a:off x="4761097" y="4161015"/>
              <a:ext cx="634688"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Learning</a:t>
              </a:r>
            </a:p>
          </p:txBody>
        </p:sp>
        <p:sp>
          <p:nvSpPr>
            <p:cNvPr id="390" name="TextBox 389"/>
            <p:cNvSpPr txBox="1"/>
            <p:nvPr/>
          </p:nvSpPr>
          <p:spPr>
            <a:xfrm>
              <a:off x="4761097" y="4434065"/>
              <a:ext cx="634688"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Predictions</a:t>
              </a:r>
            </a:p>
          </p:txBody>
        </p:sp>
      </p:grpSp>
      <p:grpSp>
        <p:nvGrpSpPr>
          <p:cNvPr id="10" name="Group 9"/>
          <p:cNvGrpSpPr/>
          <p:nvPr/>
        </p:nvGrpSpPr>
        <p:grpSpPr>
          <a:xfrm>
            <a:off x="3328637" y="1905525"/>
            <a:ext cx="769157" cy="814287"/>
            <a:chOff x="3186414" y="2126223"/>
            <a:chExt cx="769157" cy="814287"/>
          </a:xfrm>
        </p:grpSpPr>
        <p:grpSp>
          <p:nvGrpSpPr>
            <p:cNvPr id="118" name="Group 117"/>
            <p:cNvGrpSpPr/>
            <p:nvPr/>
          </p:nvGrpSpPr>
          <p:grpSpPr>
            <a:xfrm rot="1141916">
              <a:off x="3319187" y="2126223"/>
              <a:ext cx="532432" cy="374892"/>
              <a:chOff x="-1246065" y="3506417"/>
              <a:chExt cx="540995" cy="380921"/>
            </a:xfrm>
          </p:grpSpPr>
          <p:sp>
            <p:nvSpPr>
              <p:cNvPr id="120" name="Arrow: Pentagon 32"/>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21"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Rectangle 122"/>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24" name="Oval 123"/>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19" name="TextBox 118"/>
            <p:cNvSpPr txBox="1"/>
            <p:nvPr/>
          </p:nvSpPr>
          <p:spPr>
            <a:xfrm>
              <a:off x="3186414" y="2554022"/>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ream Analytics</a:t>
              </a:r>
            </a:p>
          </p:txBody>
        </p:sp>
        <p:sp>
          <p:nvSpPr>
            <p:cNvPr id="382" name="TextBox 381"/>
            <p:cNvSpPr txBox="1"/>
            <p:nvPr/>
          </p:nvSpPr>
          <p:spPr>
            <a:xfrm>
              <a:off x="3186414" y="2843560"/>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rchive Job</a:t>
              </a:r>
            </a:p>
          </p:txBody>
        </p:sp>
      </p:grpSp>
      <p:grpSp>
        <p:nvGrpSpPr>
          <p:cNvPr id="141" name="Group 140"/>
          <p:cNvGrpSpPr/>
          <p:nvPr/>
        </p:nvGrpSpPr>
        <p:grpSpPr>
          <a:xfrm>
            <a:off x="4276577" y="1905525"/>
            <a:ext cx="769157" cy="808187"/>
            <a:chOff x="3186414" y="2126223"/>
            <a:chExt cx="769157" cy="808187"/>
          </a:xfrm>
        </p:grpSpPr>
        <p:grpSp>
          <p:nvGrpSpPr>
            <p:cNvPr id="142" name="Group 141"/>
            <p:cNvGrpSpPr/>
            <p:nvPr/>
          </p:nvGrpSpPr>
          <p:grpSpPr>
            <a:xfrm rot="1141916">
              <a:off x="3319187" y="2126223"/>
              <a:ext cx="532432" cy="374892"/>
              <a:chOff x="-1246065" y="3506417"/>
              <a:chExt cx="540995" cy="380921"/>
            </a:xfrm>
          </p:grpSpPr>
          <p:sp>
            <p:nvSpPr>
              <p:cNvPr id="144" name="Arrow: Pentagon 32"/>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5"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46"/>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48" name="Oval 147"/>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43" name="TextBox 142"/>
            <p:cNvSpPr txBox="1"/>
            <p:nvPr/>
          </p:nvSpPr>
          <p:spPr>
            <a:xfrm>
              <a:off x="3186414" y="2554022"/>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tream Analytics</a:t>
              </a:r>
            </a:p>
          </p:txBody>
        </p:sp>
        <p:sp>
          <p:nvSpPr>
            <p:cNvPr id="383" name="TextBox 382"/>
            <p:cNvSpPr txBox="1"/>
            <p:nvPr/>
          </p:nvSpPr>
          <p:spPr>
            <a:xfrm>
              <a:off x="3186414" y="2837460"/>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Live Trace</a:t>
              </a:r>
            </a:p>
          </p:txBody>
        </p:sp>
      </p:grpSp>
      <p:grpSp>
        <p:nvGrpSpPr>
          <p:cNvPr id="11" name="Group 10"/>
          <p:cNvGrpSpPr/>
          <p:nvPr/>
        </p:nvGrpSpPr>
        <p:grpSpPr>
          <a:xfrm>
            <a:off x="1509183" y="3098230"/>
            <a:ext cx="634823" cy="917823"/>
            <a:chOff x="1952501" y="2012184"/>
            <a:chExt cx="634823" cy="917823"/>
          </a:xfrm>
        </p:grpSpPr>
        <p:grpSp>
          <p:nvGrpSpPr>
            <p:cNvPr id="149" name="Group 148"/>
            <p:cNvGrpSpPr/>
            <p:nvPr/>
          </p:nvGrpSpPr>
          <p:grpSpPr>
            <a:xfrm>
              <a:off x="2013191" y="2012184"/>
              <a:ext cx="513442" cy="468790"/>
              <a:chOff x="4138212" y="2416951"/>
              <a:chExt cx="410499" cy="374800"/>
            </a:xfrm>
          </p:grpSpPr>
          <p:pic>
            <p:nvPicPr>
              <p:cNvPr id="150" name="Picture 14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73911" y="2416951"/>
                <a:ext cx="374800" cy="374800"/>
              </a:xfrm>
              <a:prstGeom prst="rect">
                <a:avLst/>
              </a:prstGeom>
            </p:spPr>
          </p:pic>
          <p:sp>
            <p:nvSpPr>
              <p:cNvPr id="151" name="Left Bracket 16"/>
              <p:cNvSpPr/>
              <p:nvPr/>
            </p:nvSpPr>
            <p:spPr>
              <a:xfrm rot="5400000" flipV="1">
                <a:off x="4361758" y="241650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Left Bracket 16"/>
              <p:cNvSpPr/>
              <p:nvPr/>
            </p:nvSpPr>
            <p:spPr>
              <a:xfrm rot="16200000" flipV="1">
                <a:off x="4138659" y="2637255"/>
                <a:ext cx="150284" cy="151177"/>
              </a:xfrm>
              <a:custGeom>
                <a:avLst/>
                <a:gdLst>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4" fmla="*/ 121554 w 121554"/>
                  <a:gd name="connsiteY4" fmla="*/ 150829 h 150829"/>
                  <a:gd name="connsiteX0" fmla="*/ 121554 w 121554"/>
                  <a:gd name="connsiteY0" fmla="*/ 150829 h 150829"/>
                  <a:gd name="connsiteX1" fmla="*/ 0 w 121554"/>
                  <a:gd name="connsiteY1" fmla="*/ 150828 h 150829"/>
                  <a:gd name="connsiteX2" fmla="*/ 0 w 121554"/>
                  <a:gd name="connsiteY2" fmla="*/ 1 h 150829"/>
                  <a:gd name="connsiteX3" fmla="*/ 121554 w 121554"/>
                  <a:gd name="connsiteY3" fmla="*/ 0 h 150829"/>
                  <a:gd name="connsiteX0" fmla="*/ 149809 w 149809"/>
                  <a:gd name="connsiteY0" fmla="*/ 150829 h 150829"/>
                  <a:gd name="connsiteX1" fmla="*/ 28255 w 149809"/>
                  <a:gd name="connsiteY1" fmla="*/ 150828 h 150829"/>
                  <a:gd name="connsiteX2" fmla="*/ 28255 w 149809"/>
                  <a:gd name="connsiteY2" fmla="*/ 1 h 150829"/>
                  <a:gd name="connsiteX3" fmla="*/ 149809 w 149809"/>
                  <a:gd name="connsiteY3" fmla="*/ 0 h 150829"/>
                  <a:gd name="connsiteX4" fmla="*/ 149809 w 149809"/>
                  <a:gd name="connsiteY4" fmla="*/ 150829 h 150829"/>
                  <a:gd name="connsiteX0" fmla="*/ 149809 w 149809"/>
                  <a:gd name="connsiteY0" fmla="*/ 150829 h 150829"/>
                  <a:gd name="connsiteX1" fmla="*/ 28255 w 149809"/>
                  <a:gd name="connsiteY1" fmla="*/ 150828 h 150829"/>
                  <a:gd name="connsiteX2" fmla="*/ 28255 w 149809"/>
                  <a:gd name="connsiteY2" fmla="*/ 1 h 150829"/>
                  <a:gd name="connsiteX3" fmla="*/ 30403 w 149809"/>
                  <a:gd name="connsiteY3" fmla="*/ 3145 h 150829"/>
                  <a:gd name="connsiteX0" fmla="*/ 137010 w 137010"/>
                  <a:gd name="connsiteY0" fmla="*/ 241952 h 241952"/>
                  <a:gd name="connsiteX1" fmla="*/ 15456 w 137010"/>
                  <a:gd name="connsiteY1" fmla="*/ 241951 h 241952"/>
                  <a:gd name="connsiteX2" fmla="*/ 15456 w 137010"/>
                  <a:gd name="connsiteY2" fmla="*/ 91124 h 241952"/>
                  <a:gd name="connsiteX3" fmla="*/ 137010 w 137010"/>
                  <a:gd name="connsiteY3" fmla="*/ 91123 h 241952"/>
                  <a:gd name="connsiteX4" fmla="*/ 137010 w 137010"/>
                  <a:gd name="connsiteY4" fmla="*/ 241952 h 241952"/>
                  <a:gd name="connsiteX0" fmla="*/ 137010 w 137010"/>
                  <a:gd name="connsiteY0" fmla="*/ 241952 h 241952"/>
                  <a:gd name="connsiteX1" fmla="*/ 15456 w 137010"/>
                  <a:gd name="connsiteY1" fmla="*/ 241951 h 241952"/>
                  <a:gd name="connsiteX2" fmla="*/ 15456 w 137010"/>
                  <a:gd name="connsiteY2" fmla="*/ 91124 h 241952"/>
                  <a:gd name="connsiteX3" fmla="*/ 36458 w 137010"/>
                  <a:gd name="connsiteY3" fmla="*/ 0 h 241952"/>
                  <a:gd name="connsiteX0" fmla="*/ 121554 w 121554"/>
                  <a:gd name="connsiteY0" fmla="*/ 259261 h 259261"/>
                  <a:gd name="connsiteX1" fmla="*/ 0 w 121554"/>
                  <a:gd name="connsiteY1" fmla="*/ 259260 h 259261"/>
                  <a:gd name="connsiteX2" fmla="*/ 0 w 121554"/>
                  <a:gd name="connsiteY2" fmla="*/ 108433 h 259261"/>
                  <a:gd name="connsiteX3" fmla="*/ 121554 w 121554"/>
                  <a:gd name="connsiteY3" fmla="*/ 108432 h 259261"/>
                  <a:gd name="connsiteX4" fmla="*/ 121554 w 121554"/>
                  <a:gd name="connsiteY4" fmla="*/ 259261 h 259261"/>
                  <a:gd name="connsiteX0" fmla="*/ 121554 w 121554"/>
                  <a:gd name="connsiteY0" fmla="*/ 259261 h 259261"/>
                  <a:gd name="connsiteX1" fmla="*/ 0 w 121554"/>
                  <a:gd name="connsiteY1" fmla="*/ 259260 h 259261"/>
                  <a:gd name="connsiteX2" fmla="*/ 0 w 121554"/>
                  <a:gd name="connsiteY2" fmla="*/ 108433 h 259261"/>
                  <a:gd name="connsiteX3" fmla="*/ 21002 w 121554"/>
                  <a:gd name="connsiteY3" fmla="*/ 17309 h 259261"/>
                  <a:gd name="connsiteX0" fmla="*/ 121554 w 121554"/>
                  <a:gd name="connsiteY0" fmla="*/ 174776 h 174776"/>
                  <a:gd name="connsiteX1" fmla="*/ 0 w 121554"/>
                  <a:gd name="connsiteY1" fmla="*/ 174775 h 174776"/>
                  <a:gd name="connsiteX2" fmla="*/ 0 w 121554"/>
                  <a:gd name="connsiteY2" fmla="*/ 23948 h 174776"/>
                  <a:gd name="connsiteX3" fmla="*/ 121554 w 121554"/>
                  <a:gd name="connsiteY3" fmla="*/ 23947 h 174776"/>
                  <a:gd name="connsiteX4" fmla="*/ 121554 w 121554"/>
                  <a:gd name="connsiteY4" fmla="*/ 174776 h 174776"/>
                  <a:gd name="connsiteX0" fmla="*/ 121554 w 121554"/>
                  <a:gd name="connsiteY0" fmla="*/ 174776 h 174776"/>
                  <a:gd name="connsiteX1" fmla="*/ 0 w 121554"/>
                  <a:gd name="connsiteY1" fmla="*/ 174775 h 174776"/>
                  <a:gd name="connsiteX2" fmla="*/ 0 w 121554"/>
                  <a:gd name="connsiteY2" fmla="*/ 23948 h 174776"/>
                  <a:gd name="connsiteX3" fmla="*/ 2148 w 121554"/>
                  <a:gd name="connsiteY3" fmla="*/ 33376 h 174776"/>
                  <a:gd name="connsiteX0" fmla="*/ 121554 w 121554"/>
                  <a:gd name="connsiteY0" fmla="*/ 151178 h 151178"/>
                  <a:gd name="connsiteX1" fmla="*/ 0 w 121554"/>
                  <a:gd name="connsiteY1" fmla="*/ 151177 h 151178"/>
                  <a:gd name="connsiteX2" fmla="*/ 0 w 121554"/>
                  <a:gd name="connsiteY2" fmla="*/ 350 h 151178"/>
                  <a:gd name="connsiteX3" fmla="*/ 121554 w 121554"/>
                  <a:gd name="connsiteY3" fmla="*/ 349 h 151178"/>
                  <a:gd name="connsiteX4" fmla="*/ 121554 w 121554"/>
                  <a:gd name="connsiteY4" fmla="*/ 151178 h 151178"/>
                  <a:gd name="connsiteX0" fmla="*/ 121554 w 121554"/>
                  <a:gd name="connsiteY0" fmla="*/ 151178 h 151178"/>
                  <a:gd name="connsiteX1" fmla="*/ 0 w 121554"/>
                  <a:gd name="connsiteY1" fmla="*/ 151177 h 151178"/>
                  <a:gd name="connsiteX2" fmla="*/ 0 w 121554"/>
                  <a:gd name="connsiteY2" fmla="*/ 350 h 151178"/>
                  <a:gd name="connsiteX3" fmla="*/ 2148 w 121554"/>
                  <a:gd name="connsiteY3" fmla="*/ 9778 h 151178"/>
                </a:gdLst>
                <a:ahLst/>
                <a:cxnLst>
                  <a:cxn ang="0">
                    <a:pos x="connsiteX0" y="connsiteY0"/>
                  </a:cxn>
                  <a:cxn ang="0">
                    <a:pos x="connsiteX1" y="connsiteY1"/>
                  </a:cxn>
                  <a:cxn ang="0">
                    <a:pos x="connsiteX2" y="connsiteY2"/>
                  </a:cxn>
                  <a:cxn ang="0">
                    <a:pos x="connsiteX3" y="connsiteY3"/>
                  </a:cxn>
                </a:cxnLst>
                <a:rect l="l" t="t" r="r" b="b"/>
                <a:pathLst>
                  <a:path w="121554" h="151178" stroke="0" extrusionOk="0">
                    <a:moveTo>
                      <a:pt x="121554" y="151178"/>
                    </a:moveTo>
                    <a:lnTo>
                      <a:pt x="0" y="151177"/>
                    </a:lnTo>
                    <a:lnTo>
                      <a:pt x="0" y="350"/>
                    </a:lnTo>
                    <a:cubicBezTo>
                      <a:pt x="0" y="349"/>
                      <a:pt x="54422" y="349"/>
                      <a:pt x="121554" y="349"/>
                    </a:cubicBezTo>
                    <a:lnTo>
                      <a:pt x="121554" y="151178"/>
                    </a:lnTo>
                    <a:close/>
                  </a:path>
                  <a:path w="121554" h="151178" fill="none">
                    <a:moveTo>
                      <a:pt x="121554" y="151178"/>
                    </a:moveTo>
                    <a:lnTo>
                      <a:pt x="0" y="151177"/>
                    </a:lnTo>
                    <a:lnTo>
                      <a:pt x="0" y="350"/>
                    </a:lnTo>
                    <a:cubicBezTo>
                      <a:pt x="0" y="349"/>
                      <a:pt x="1004" y="-2791"/>
                      <a:pt x="2148" y="9778"/>
                    </a:cubicBezTo>
                  </a:path>
                </a:pathLst>
              </a:cu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3" name="TextBox 152"/>
            <p:cNvSpPr txBox="1"/>
            <p:nvPr/>
          </p:nvSpPr>
          <p:spPr>
            <a:xfrm>
              <a:off x="1952501" y="2595512"/>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IoT Hub</a:t>
              </a:r>
            </a:p>
          </p:txBody>
        </p:sp>
        <p:sp>
          <p:nvSpPr>
            <p:cNvPr id="373" name="TextBox 372"/>
            <p:cNvSpPr txBox="1"/>
            <p:nvPr/>
          </p:nvSpPr>
          <p:spPr>
            <a:xfrm>
              <a:off x="1952501" y="2767744"/>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loud Gateway</a:t>
              </a:r>
            </a:p>
          </p:txBody>
        </p:sp>
      </p:grpSp>
      <p:grpSp>
        <p:nvGrpSpPr>
          <p:cNvPr id="19" name="Group 18"/>
          <p:cNvGrpSpPr/>
          <p:nvPr/>
        </p:nvGrpSpPr>
        <p:grpSpPr>
          <a:xfrm>
            <a:off x="1567091" y="1772176"/>
            <a:ext cx="634823" cy="660568"/>
            <a:chOff x="1884262" y="2462396"/>
            <a:chExt cx="634823" cy="660568"/>
          </a:xfrm>
        </p:grpSpPr>
        <p:sp>
          <p:nvSpPr>
            <p:cNvPr id="154" name="Freeform 58"/>
            <p:cNvSpPr>
              <a:spLocks noEditPoints="1"/>
            </p:cNvSpPr>
            <p:nvPr/>
          </p:nvSpPr>
          <p:spPr bwMode="black">
            <a:xfrm rot="1800000">
              <a:off x="1990080" y="2462396"/>
              <a:ext cx="423188" cy="4535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TextBox 154"/>
            <p:cNvSpPr txBox="1"/>
            <p:nvPr/>
          </p:nvSpPr>
          <p:spPr>
            <a:xfrm>
              <a:off x="1884262" y="2960701"/>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Traffic Manager</a:t>
              </a:r>
            </a:p>
          </p:txBody>
        </p:sp>
      </p:grpSp>
      <p:grpSp>
        <p:nvGrpSpPr>
          <p:cNvPr id="368" name="Group 367"/>
          <p:cNvGrpSpPr/>
          <p:nvPr/>
        </p:nvGrpSpPr>
        <p:grpSpPr>
          <a:xfrm>
            <a:off x="3312103" y="5577533"/>
            <a:ext cx="750380" cy="810275"/>
            <a:chOff x="3545420" y="5442404"/>
            <a:chExt cx="796784" cy="860383"/>
          </a:xfrm>
        </p:grpSpPr>
        <p:grpSp>
          <p:nvGrpSpPr>
            <p:cNvPr id="7" name="Group 6"/>
            <p:cNvGrpSpPr/>
            <p:nvPr/>
          </p:nvGrpSpPr>
          <p:grpSpPr>
            <a:xfrm>
              <a:off x="3545420" y="5442404"/>
              <a:ext cx="796784" cy="860383"/>
              <a:chOff x="3641718" y="4978301"/>
              <a:chExt cx="796784" cy="860383"/>
            </a:xfrm>
          </p:grpSpPr>
          <p:sp>
            <p:nvSpPr>
              <p:cNvPr id="92" name="TextBox 91"/>
              <p:cNvSpPr txBox="1"/>
              <p:nvPr/>
            </p:nvSpPr>
            <p:spPr>
              <a:xfrm>
                <a:off x="3641718" y="5585354"/>
                <a:ext cx="796784" cy="10087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torage blob</a:t>
                </a:r>
              </a:p>
            </p:txBody>
          </p:sp>
          <p:grpSp>
            <p:nvGrpSpPr>
              <p:cNvPr id="97" name="Group 96"/>
              <p:cNvGrpSpPr/>
              <p:nvPr/>
            </p:nvGrpSpPr>
            <p:grpSpPr>
              <a:xfrm>
                <a:off x="3815558" y="4978301"/>
                <a:ext cx="449104" cy="547666"/>
                <a:chOff x="7270290" y="4865632"/>
                <a:chExt cx="385630" cy="470261"/>
              </a:xfrm>
            </p:grpSpPr>
            <p:sp>
              <p:nvSpPr>
                <p:cNvPr id="98"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TextBox 98"/>
                <p:cNvSpPr txBox="1"/>
                <p:nvPr/>
              </p:nvSpPr>
              <p:spPr>
                <a:xfrm>
                  <a:off x="7272310" y="5061276"/>
                  <a:ext cx="383610" cy="12588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egoe UI"/>
                      <a:ea typeface="+mn-ea"/>
                      <a:cs typeface="+mn-cs"/>
                    </a:rPr>
                    <a:t>SQL</a:t>
                  </a:r>
                </a:p>
              </p:txBody>
            </p:sp>
          </p:grpSp>
          <p:sp>
            <p:nvSpPr>
              <p:cNvPr id="393" name="TextBox 392"/>
              <p:cNvSpPr txBox="1"/>
              <p:nvPr/>
            </p:nvSpPr>
            <p:spPr>
              <a:xfrm>
                <a:off x="3641718" y="5737809"/>
                <a:ext cx="796784" cy="100875"/>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Relational Store</a:t>
                </a:r>
              </a:p>
            </p:txBody>
          </p:sp>
        </p:grpSp>
        <p:grpSp>
          <p:nvGrpSpPr>
            <p:cNvPr id="179" name="Group 178"/>
            <p:cNvGrpSpPr/>
            <p:nvPr/>
          </p:nvGrpSpPr>
          <p:grpSpPr>
            <a:xfrm>
              <a:off x="3934268" y="5811960"/>
              <a:ext cx="315300" cy="194014"/>
              <a:chOff x="4005484" y="5811960"/>
              <a:chExt cx="315300" cy="194014"/>
            </a:xfrm>
          </p:grpSpPr>
          <p:sp>
            <p:nvSpPr>
              <p:cNvPr id="168"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70" name="Group 169"/>
              <p:cNvGrpSpPr/>
              <p:nvPr/>
            </p:nvGrpSpPr>
            <p:grpSpPr>
              <a:xfrm>
                <a:off x="4005484" y="5811961"/>
                <a:ext cx="315300" cy="194013"/>
                <a:chOff x="5162540" y="3922860"/>
                <a:chExt cx="337921" cy="207933"/>
              </a:xfrm>
            </p:grpSpPr>
            <p:sp>
              <p:nvSpPr>
                <p:cNvPr id="171"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Oval 171"/>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Oval 172"/>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Oval 173"/>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Oval 174"/>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91" name="Group 190"/>
          <p:cNvGrpSpPr/>
          <p:nvPr/>
        </p:nvGrpSpPr>
        <p:grpSpPr>
          <a:xfrm>
            <a:off x="5178112" y="3724650"/>
            <a:ext cx="634823" cy="811836"/>
            <a:chOff x="4631136" y="3376094"/>
            <a:chExt cx="634823" cy="811836"/>
          </a:xfrm>
        </p:grpSpPr>
        <p:grpSp>
          <p:nvGrpSpPr>
            <p:cNvPr id="184" name="Group 183"/>
            <p:cNvGrpSpPr/>
            <p:nvPr/>
          </p:nvGrpSpPr>
          <p:grpSpPr>
            <a:xfrm>
              <a:off x="4679690" y="3376094"/>
              <a:ext cx="537715" cy="335033"/>
              <a:chOff x="4678003" y="3376094"/>
              <a:chExt cx="537715" cy="335033"/>
            </a:xfrm>
          </p:grpSpPr>
          <p:sp>
            <p:nvSpPr>
              <p:cNvPr id="180" name="Freeform 21"/>
              <p:cNvSpPr>
                <a:spLocks noChangeAspect="1" noEditPoints="1"/>
              </p:cNvSpPr>
              <p:nvPr/>
            </p:nvSpPr>
            <p:spPr bwMode="black">
              <a:xfrm>
                <a:off x="4678003" y="3376094"/>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ight Arrow 182"/>
              <p:cNvSpPr/>
              <p:nvPr/>
            </p:nvSpPr>
            <p:spPr bwMode="auto">
              <a:xfrm>
                <a:off x="4705580" y="3557360"/>
                <a:ext cx="395809" cy="9398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5" name="TextBox 184"/>
            <p:cNvSpPr txBox="1"/>
            <p:nvPr/>
          </p:nvSpPr>
          <p:spPr>
            <a:xfrm>
              <a:off x="4631136" y="3768970"/>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ervice Bus Topic</a:t>
              </a:r>
            </a:p>
          </p:txBody>
        </p:sp>
        <p:sp>
          <p:nvSpPr>
            <p:cNvPr id="380" name="TextBox 379"/>
            <p:cNvSpPr txBox="1"/>
            <p:nvPr/>
          </p:nvSpPr>
          <p:spPr>
            <a:xfrm>
              <a:off x="4631136" y="4052330"/>
              <a:ext cx="634823" cy="13560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ase Queue</a:t>
              </a:r>
            </a:p>
          </p:txBody>
        </p:sp>
      </p:grpSp>
      <p:grpSp>
        <p:nvGrpSpPr>
          <p:cNvPr id="190" name="Group 189"/>
          <p:cNvGrpSpPr/>
          <p:nvPr/>
        </p:nvGrpSpPr>
        <p:grpSpPr>
          <a:xfrm>
            <a:off x="1513305" y="4459747"/>
            <a:ext cx="634823" cy="701205"/>
            <a:chOff x="2756820" y="3445279"/>
            <a:chExt cx="634823" cy="701205"/>
          </a:xfrm>
        </p:grpSpPr>
        <p:grpSp>
          <p:nvGrpSpPr>
            <p:cNvPr id="186" name="Group 185"/>
            <p:cNvGrpSpPr/>
            <p:nvPr/>
          </p:nvGrpSpPr>
          <p:grpSpPr>
            <a:xfrm>
              <a:off x="2805374" y="3445279"/>
              <a:ext cx="537715" cy="335033"/>
              <a:chOff x="4678003" y="3396719"/>
              <a:chExt cx="537715" cy="335033"/>
            </a:xfrm>
          </p:grpSpPr>
          <p:sp>
            <p:nvSpPr>
              <p:cNvPr id="187" name="Freeform 21"/>
              <p:cNvSpPr>
                <a:spLocks noChangeAspect="1" noEditPoints="1"/>
              </p:cNvSpPr>
              <p:nvPr/>
            </p:nvSpPr>
            <p:spPr bwMode="black">
              <a:xfrm>
                <a:off x="4678003" y="3396719"/>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Right Arrow 187"/>
              <p:cNvSpPr/>
              <p:nvPr/>
            </p:nvSpPr>
            <p:spPr bwMode="auto">
              <a:xfrm>
                <a:off x="4705580" y="3571110"/>
                <a:ext cx="395809" cy="9398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9" name="TextBox 188"/>
            <p:cNvSpPr txBox="1"/>
            <p:nvPr/>
          </p:nvSpPr>
          <p:spPr>
            <a:xfrm>
              <a:off x="2756820" y="3838076"/>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Display Semibold" panose="020B0702040504020203" pitchFamily="34" charset="0"/>
                  <a:ea typeface="Segoe Pro" charset="0"/>
                  <a:cs typeface="Segoe Pro" charset="0"/>
                </a:rPr>
                <a:t>Service Bus</a:t>
              </a:r>
            </a:p>
          </p:txBody>
        </p:sp>
        <p:sp>
          <p:nvSpPr>
            <p:cNvPr id="386" name="TextBox 385"/>
            <p:cNvSpPr txBox="1"/>
            <p:nvPr/>
          </p:nvSpPr>
          <p:spPr>
            <a:xfrm>
              <a:off x="2756820" y="3984221"/>
              <a:ext cx="634823" cy="162263"/>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Display Semibold" panose="020B0702040504020203" pitchFamily="34" charset="0"/>
                  <a:ea typeface="Segoe Pro" charset="0"/>
                  <a:cs typeface="Segoe Pro" charset="0"/>
                </a:rPr>
                <a:t>Cloud Gateway</a:t>
              </a:r>
            </a:p>
          </p:txBody>
        </p:sp>
      </p:grpSp>
      <p:grpSp>
        <p:nvGrpSpPr>
          <p:cNvPr id="200" name="Group 199"/>
          <p:cNvGrpSpPr/>
          <p:nvPr/>
        </p:nvGrpSpPr>
        <p:grpSpPr>
          <a:xfrm>
            <a:off x="2382840" y="3121056"/>
            <a:ext cx="814582" cy="789186"/>
            <a:chOff x="3979645" y="3150751"/>
            <a:chExt cx="814582" cy="789186"/>
          </a:xfrm>
        </p:grpSpPr>
        <p:grpSp>
          <p:nvGrpSpPr>
            <p:cNvPr id="198" name="Group 197"/>
            <p:cNvGrpSpPr/>
            <p:nvPr/>
          </p:nvGrpSpPr>
          <p:grpSpPr>
            <a:xfrm>
              <a:off x="4128399" y="3150751"/>
              <a:ext cx="517073" cy="491209"/>
              <a:chOff x="4341228" y="3150751"/>
              <a:chExt cx="517073" cy="491209"/>
            </a:xfrm>
          </p:grpSpPr>
          <p:sp>
            <p:nvSpPr>
              <p:cNvPr id="192" name="Regular Pentagon 191"/>
              <p:cNvSpPr/>
              <p:nvPr/>
            </p:nvSpPr>
            <p:spPr bwMode="auto">
              <a:xfrm>
                <a:off x="4404521" y="3197024"/>
                <a:ext cx="398604" cy="379622"/>
              </a:xfrm>
              <a:prstGeom prst="pentagon">
                <a:avLst/>
              </a:prstGeom>
              <a:no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Oval 192"/>
              <p:cNvSpPr/>
              <p:nvPr/>
            </p:nvSpPr>
            <p:spPr bwMode="auto">
              <a:xfrm>
                <a:off x="4538509" y="315075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p:cNvSpPr/>
              <p:nvPr/>
            </p:nvSpPr>
            <p:spPr bwMode="auto">
              <a:xfrm>
                <a:off x="4727672"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5" name="Oval 194"/>
              <p:cNvSpPr/>
              <p:nvPr/>
            </p:nvSpPr>
            <p:spPr bwMode="auto">
              <a:xfrm>
                <a:off x="4341228"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Oval 195"/>
              <p:cNvSpPr/>
              <p:nvPr/>
            </p:nvSpPr>
            <p:spPr bwMode="auto">
              <a:xfrm>
                <a:off x="4413420"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p:cNvSpPr/>
              <p:nvPr/>
            </p:nvSpPr>
            <p:spPr bwMode="auto">
              <a:xfrm>
                <a:off x="4663531"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9" name="TextBox 198"/>
            <p:cNvSpPr txBox="1"/>
            <p:nvPr/>
          </p:nvSpPr>
          <p:spPr>
            <a:xfrm>
              <a:off x="3979645" y="3706354"/>
              <a:ext cx="81458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ervice Fabric</a:t>
              </a:r>
            </a:p>
          </p:txBody>
        </p:sp>
        <p:sp>
          <p:nvSpPr>
            <p:cNvPr id="385" name="TextBox 384"/>
            <p:cNvSpPr txBox="1"/>
            <p:nvPr/>
          </p:nvSpPr>
          <p:spPr>
            <a:xfrm>
              <a:off x="3979645" y="3842987"/>
              <a:ext cx="814582"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ctors</a:t>
              </a:r>
            </a:p>
          </p:txBody>
        </p:sp>
      </p:grpSp>
      <p:grpSp>
        <p:nvGrpSpPr>
          <p:cNvPr id="201" name="Group 200"/>
          <p:cNvGrpSpPr/>
          <p:nvPr/>
        </p:nvGrpSpPr>
        <p:grpSpPr>
          <a:xfrm>
            <a:off x="3316669" y="3121056"/>
            <a:ext cx="814582" cy="791272"/>
            <a:chOff x="3979645" y="3150751"/>
            <a:chExt cx="814582" cy="791272"/>
          </a:xfrm>
        </p:grpSpPr>
        <p:grpSp>
          <p:nvGrpSpPr>
            <p:cNvPr id="202" name="Group 201"/>
            <p:cNvGrpSpPr/>
            <p:nvPr/>
          </p:nvGrpSpPr>
          <p:grpSpPr>
            <a:xfrm>
              <a:off x="4128399" y="3150751"/>
              <a:ext cx="517073" cy="491209"/>
              <a:chOff x="4341228" y="3150751"/>
              <a:chExt cx="517073" cy="491209"/>
            </a:xfrm>
          </p:grpSpPr>
          <p:sp>
            <p:nvSpPr>
              <p:cNvPr id="204" name="Regular Pentagon 203"/>
              <p:cNvSpPr/>
              <p:nvPr/>
            </p:nvSpPr>
            <p:spPr bwMode="auto">
              <a:xfrm>
                <a:off x="4404521" y="3197024"/>
                <a:ext cx="398604" cy="379622"/>
              </a:xfrm>
              <a:prstGeom prst="pentagon">
                <a:avLst/>
              </a:prstGeom>
              <a:noFill/>
              <a:ln w="317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p:cNvSpPr/>
              <p:nvPr/>
            </p:nvSpPr>
            <p:spPr bwMode="auto">
              <a:xfrm>
                <a:off x="4538509" y="315075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p:cNvSpPr/>
              <p:nvPr/>
            </p:nvSpPr>
            <p:spPr bwMode="auto">
              <a:xfrm>
                <a:off x="4727672"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p:cNvSpPr/>
              <p:nvPr/>
            </p:nvSpPr>
            <p:spPr bwMode="auto">
              <a:xfrm>
                <a:off x="4341228" y="329344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p:cNvSpPr/>
              <p:nvPr/>
            </p:nvSpPr>
            <p:spPr bwMode="auto">
              <a:xfrm>
                <a:off x="4413420"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p:cNvSpPr/>
              <p:nvPr/>
            </p:nvSpPr>
            <p:spPr bwMode="auto">
              <a:xfrm>
                <a:off x="4663531" y="3511331"/>
                <a:ext cx="130629" cy="1306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3" name="TextBox 202"/>
            <p:cNvSpPr txBox="1"/>
            <p:nvPr/>
          </p:nvSpPr>
          <p:spPr>
            <a:xfrm>
              <a:off x="3979645" y="3706354"/>
              <a:ext cx="81458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Service Fabric</a:t>
              </a:r>
            </a:p>
          </p:txBody>
        </p:sp>
        <p:sp>
          <p:nvSpPr>
            <p:cNvPr id="384" name="TextBox 383"/>
            <p:cNvSpPr txBox="1"/>
            <p:nvPr/>
          </p:nvSpPr>
          <p:spPr>
            <a:xfrm>
              <a:off x="3979645" y="3845073"/>
              <a:ext cx="814582"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Reliable SRV</a:t>
              </a:r>
            </a:p>
          </p:txBody>
        </p:sp>
      </p:grpSp>
      <p:grpSp>
        <p:nvGrpSpPr>
          <p:cNvPr id="2" name="Group 1"/>
          <p:cNvGrpSpPr/>
          <p:nvPr/>
        </p:nvGrpSpPr>
        <p:grpSpPr>
          <a:xfrm>
            <a:off x="4205952" y="4359659"/>
            <a:ext cx="769157" cy="786850"/>
            <a:chOff x="4205952" y="4359659"/>
            <a:chExt cx="769157" cy="786850"/>
          </a:xfrm>
        </p:grpSpPr>
        <p:grpSp>
          <p:nvGrpSpPr>
            <p:cNvPr id="232" name="Group 231"/>
            <p:cNvGrpSpPr/>
            <p:nvPr/>
          </p:nvGrpSpPr>
          <p:grpSpPr>
            <a:xfrm>
              <a:off x="4335692" y="4359659"/>
              <a:ext cx="513938" cy="461605"/>
              <a:chOff x="6863101" y="4047468"/>
              <a:chExt cx="518199" cy="465432"/>
            </a:xfrm>
          </p:grpSpPr>
          <p:sp>
            <p:nvSpPr>
              <p:cNvPr id="221" name="Rectangle 220"/>
              <p:cNvSpPr/>
              <p:nvPr/>
            </p:nvSpPr>
            <p:spPr bwMode="auto">
              <a:xfrm>
                <a:off x="6863101" y="4078224"/>
                <a:ext cx="162467" cy="434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ight Triangle 221"/>
              <p:cNvSpPr/>
              <p:nvPr/>
            </p:nvSpPr>
            <p:spPr bwMode="auto">
              <a:xfrm flipH="1">
                <a:off x="6916403" y="4153869"/>
                <a:ext cx="277824" cy="27782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ight Triangle 222"/>
              <p:cNvSpPr/>
              <p:nvPr/>
            </p:nvSpPr>
            <p:spPr bwMode="auto">
              <a:xfrm flipH="1">
                <a:off x="7103476" y="4153869"/>
                <a:ext cx="277824" cy="27782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223"/>
              <p:cNvSpPr/>
              <p:nvPr/>
            </p:nvSpPr>
            <p:spPr bwMode="auto">
              <a:xfrm>
                <a:off x="6896734" y="4352589"/>
                <a:ext cx="484565" cy="1603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p:cNvSpPr/>
              <p:nvPr/>
            </p:nvSpPr>
            <p:spPr bwMode="auto">
              <a:xfrm>
                <a:off x="6863101" y="4047468"/>
                <a:ext cx="162467" cy="45719"/>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226"/>
              <p:cNvSpPr/>
              <p:nvPr/>
            </p:nvSpPr>
            <p:spPr bwMode="auto">
              <a:xfrm>
                <a:off x="7025568"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Rectangle 227"/>
              <p:cNvSpPr/>
              <p:nvPr/>
            </p:nvSpPr>
            <p:spPr bwMode="auto">
              <a:xfrm>
                <a:off x="7103835"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p:cNvSpPr/>
              <p:nvPr/>
            </p:nvSpPr>
            <p:spPr bwMode="auto">
              <a:xfrm>
                <a:off x="7182103" y="4383575"/>
                <a:ext cx="45719"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3" name="TextBox 232"/>
            <p:cNvSpPr txBox="1"/>
            <p:nvPr/>
          </p:nvSpPr>
          <p:spPr>
            <a:xfrm>
              <a:off x="4205952" y="4906405"/>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Data Factory</a:t>
              </a:r>
            </a:p>
          </p:txBody>
        </p:sp>
        <p:sp>
          <p:nvSpPr>
            <p:cNvPr id="391" name="TextBox 390"/>
            <p:cNvSpPr txBox="1"/>
            <p:nvPr/>
          </p:nvSpPr>
          <p:spPr>
            <a:xfrm>
              <a:off x="4205952" y="504955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Orchestration</a:t>
              </a:r>
            </a:p>
          </p:txBody>
        </p:sp>
      </p:grpSp>
      <p:grpSp>
        <p:nvGrpSpPr>
          <p:cNvPr id="276" name="Group 275"/>
          <p:cNvGrpSpPr/>
          <p:nvPr/>
        </p:nvGrpSpPr>
        <p:grpSpPr>
          <a:xfrm>
            <a:off x="6015936" y="4420782"/>
            <a:ext cx="769157" cy="771922"/>
            <a:chOff x="5504477" y="4330749"/>
            <a:chExt cx="769157" cy="771922"/>
          </a:xfrm>
        </p:grpSpPr>
        <p:grpSp>
          <p:nvGrpSpPr>
            <p:cNvPr id="274" name="Group 273"/>
            <p:cNvGrpSpPr/>
            <p:nvPr/>
          </p:nvGrpSpPr>
          <p:grpSpPr>
            <a:xfrm>
              <a:off x="5656386" y="4330749"/>
              <a:ext cx="465338" cy="458354"/>
              <a:chOff x="5675085" y="4371493"/>
              <a:chExt cx="465338" cy="458354"/>
            </a:xfrm>
          </p:grpSpPr>
          <p:grpSp>
            <p:nvGrpSpPr>
              <p:cNvPr id="259" name="Group 258"/>
              <p:cNvGrpSpPr/>
              <p:nvPr/>
            </p:nvGrpSpPr>
            <p:grpSpPr>
              <a:xfrm>
                <a:off x="5675085" y="4371493"/>
                <a:ext cx="465338" cy="458354"/>
                <a:chOff x="6746789" y="3838377"/>
                <a:chExt cx="971013" cy="956441"/>
              </a:xfrm>
            </p:grpSpPr>
            <p:sp>
              <p:nvSpPr>
                <p:cNvPr id="260" name="Rectangle 259"/>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260"/>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261"/>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ectangle 262"/>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4" name="Group 263"/>
              <p:cNvGrpSpPr/>
              <p:nvPr/>
            </p:nvGrpSpPr>
            <p:grpSpPr>
              <a:xfrm>
                <a:off x="5741272" y="4491540"/>
                <a:ext cx="315300" cy="194014"/>
                <a:chOff x="4005484" y="5811960"/>
                <a:chExt cx="315300" cy="194014"/>
              </a:xfrm>
            </p:grpSpPr>
            <p:sp>
              <p:nvSpPr>
                <p:cNvPr id="265"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66" name="Group 265"/>
                <p:cNvGrpSpPr/>
                <p:nvPr/>
              </p:nvGrpSpPr>
              <p:grpSpPr>
                <a:xfrm>
                  <a:off x="4005484" y="5811961"/>
                  <a:ext cx="315300" cy="194013"/>
                  <a:chOff x="5162540" y="3922860"/>
                  <a:chExt cx="337921" cy="207933"/>
                </a:xfrm>
              </p:grpSpPr>
              <p:sp>
                <p:nvSpPr>
                  <p:cNvPr id="267"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8" name="Oval 267"/>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Oval 268"/>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Oval 269"/>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Oval 270"/>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Oval 271"/>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3" name="Oval 272"/>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75" name="TextBox 274"/>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8" name="TextBox 377"/>
            <p:cNvSpPr txBox="1"/>
            <p:nvPr/>
          </p:nvSpPr>
          <p:spPr>
            <a:xfrm>
              <a:off x="5504477" y="5005721"/>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API Host</a:t>
              </a:r>
            </a:p>
          </p:txBody>
        </p:sp>
      </p:grpSp>
      <p:grpSp>
        <p:nvGrpSpPr>
          <p:cNvPr id="277" name="Group 276"/>
          <p:cNvGrpSpPr/>
          <p:nvPr/>
        </p:nvGrpSpPr>
        <p:grpSpPr>
          <a:xfrm>
            <a:off x="6015936" y="3205499"/>
            <a:ext cx="769157" cy="787946"/>
            <a:chOff x="5504477" y="4330749"/>
            <a:chExt cx="769157" cy="787946"/>
          </a:xfrm>
        </p:grpSpPr>
        <p:grpSp>
          <p:nvGrpSpPr>
            <p:cNvPr id="278" name="Group 277"/>
            <p:cNvGrpSpPr/>
            <p:nvPr/>
          </p:nvGrpSpPr>
          <p:grpSpPr>
            <a:xfrm>
              <a:off x="5656386" y="4330749"/>
              <a:ext cx="465338" cy="458354"/>
              <a:chOff x="5675085" y="4371493"/>
              <a:chExt cx="465338" cy="458354"/>
            </a:xfrm>
          </p:grpSpPr>
          <p:grpSp>
            <p:nvGrpSpPr>
              <p:cNvPr id="280" name="Group 279"/>
              <p:cNvGrpSpPr/>
              <p:nvPr/>
            </p:nvGrpSpPr>
            <p:grpSpPr>
              <a:xfrm>
                <a:off x="5675085" y="4371493"/>
                <a:ext cx="465338" cy="458354"/>
                <a:chOff x="6746789" y="3838377"/>
                <a:chExt cx="971013" cy="956441"/>
              </a:xfrm>
            </p:grpSpPr>
            <p:sp>
              <p:nvSpPr>
                <p:cNvPr id="291" name="Rectangle 290"/>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Rectangle 293"/>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p:cNvGrpSpPr/>
              <p:nvPr/>
            </p:nvGrpSpPr>
            <p:grpSpPr>
              <a:xfrm>
                <a:off x="5741272" y="4491540"/>
                <a:ext cx="315300" cy="194014"/>
                <a:chOff x="4005484" y="5811960"/>
                <a:chExt cx="315300" cy="194014"/>
              </a:xfrm>
            </p:grpSpPr>
            <p:sp>
              <p:nvSpPr>
                <p:cNvPr id="282"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83" name="Group 282"/>
                <p:cNvGrpSpPr/>
                <p:nvPr/>
              </p:nvGrpSpPr>
              <p:grpSpPr>
                <a:xfrm>
                  <a:off x="4005484" y="5811961"/>
                  <a:ext cx="315300" cy="194013"/>
                  <a:chOff x="5162540" y="3922860"/>
                  <a:chExt cx="337921" cy="207933"/>
                </a:xfrm>
              </p:grpSpPr>
              <p:sp>
                <p:nvSpPr>
                  <p:cNvPr id="284"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5" name="Oval 284"/>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Oval 285"/>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Oval 286"/>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Oval 287"/>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Oval 288"/>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Oval 289"/>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79" name="TextBox 278"/>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7" name="TextBox 376"/>
            <p:cNvSpPr txBox="1"/>
            <p:nvPr/>
          </p:nvSpPr>
          <p:spPr>
            <a:xfrm>
              <a:off x="5504477" y="5021745"/>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Push Host</a:t>
              </a:r>
            </a:p>
          </p:txBody>
        </p:sp>
      </p:grpSp>
      <p:grpSp>
        <p:nvGrpSpPr>
          <p:cNvPr id="313" name="Group 312"/>
          <p:cNvGrpSpPr/>
          <p:nvPr/>
        </p:nvGrpSpPr>
        <p:grpSpPr>
          <a:xfrm>
            <a:off x="6015936" y="5597179"/>
            <a:ext cx="769157" cy="774840"/>
            <a:chOff x="5504477" y="4330749"/>
            <a:chExt cx="769157" cy="774840"/>
          </a:xfrm>
        </p:grpSpPr>
        <p:grpSp>
          <p:nvGrpSpPr>
            <p:cNvPr id="314" name="Group 313"/>
            <p:cNvGrpSpPr/>
            <p:nvPr/>
          </p:nvGrpSpPr>
          <p:grpSpPr>
            <a:xfrm>
              <a:off x="5656386" y="4330749"/>
              <a:ext cx="465338" cy="458354"/>
              <a:chOff x="5675085" y="4371493"/>
              <a:chExt cx="465338" cy="458354"/>
            </a:xfrm>
          </p:grpSpPr>
          <p:grpSp>
            <p:nvGrpSpPr>
              <p:cNvPr id="316" name="Group 315"/>
              <p:cNvGrpSpPr/>
              <p:nvPr/>
            </p:nvGrpSpPr>
            <p:grpSpPr>
              <a:xfrm>
                <a:off x="5675085" y="4371493"/>
                <a:ext cx="465338" cy="458354"/>
                <a:chOff x="6746789" y="3838377"/>
                <a:chExt cx="971013" cy="956441"/>
              </a:xfrm>
            </p:grpSpPr>
            <p:sp>
              <p:nvSpPr>
                <p:cNvPr id="327" name="Rectangle 326"/>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8" name="Rectangle 327"/>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9" name="Rectangle 328"/>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Rectangle 329"/>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17" name="Group 316"/>
              <p:cNvGrpSpPr/>
              <p:nvPr/>
            </p:nvGrpSpPr>
            <p:grpSpPr>
              <a:xfrm>
                <a:off x="5741272" y="4491540"/>
                <a:ext cx="315300" cy="194014"/>
                <a:chOff x="4005484" y="5811960"/>
                <a:chExt cx="315300" cy="194014"/>
              </a:xfrm>
            </p:grpSpPr>
            <p:sp>
              <p:nvSpPr>
                <p:cNvPr id="318"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19" name="Group 318"/>
                <p:cNvGrpSpPr/>
                <p:nvPr/>
              </p:nvGrpSpPr>
              <p:grpSpPr>
                <a:xfrm>
                  <a:off x="4005484" y="5811961"/>
                  <a:ext cx="315300" cy="194013"/>
                  <a:chOff x="5162540" y="3922860"/>
                  <a:chExt cx="337921" cy="207933"/>
                </a:xfrm>
              </p:grpSpPr>
              <p:sp>
                <p:nvSpPr>
                  <p:cNvPr id="320"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Oval 320"/>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Oval 321"/>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3" name="Oval 322"/>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5" name="Oval 324"/>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6" name="Oval 325"/>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15" name="TextBox 314"/>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9" name="TextBox 378"/>
            <p:cNvSpPr txBox="1"/>
            <p:nvPr/>
          </p:nvSpPr>
          <p:spPr>
            <a:xfrm>
              <a:off x="5504477" y="500863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HTML UI</a:t>
              </a:r>
            </a:p>
          </p:txBody>
        </p:sp>
      </p:grpSp>
      <p:grpSp>
        <p:nvGrpSpPr>
          <p:cNvPr id="332" name="Group 331"/>
          <p:cNvGrpSpPr/>
          <p:nvPr/>
        </p:nvGrpSpPr>
        <p:grpSpPr>
          <a:xfrm>
            <a:off x="2250554" y="1751461"/>
            <a:ext cx="769157" cy="780260"/>
            <a:chOff x="5504477" y="4330749"/>
            <a:chExt cx="769157" cy="780260"/>
          </a:xfrm>
        </p:grpSpPr>
        <p:grpSp>
          <p:nvGrpSpPr>
            <p:cNvPr id="333" name="Group 332"/>
            <p:cNvGrpSpPr/>
            <p:nvPr/>
          </p:nvGrpSpPr>
          <p:grpSpPr>
            <a:xfrm>
              <a:off x="5656386" y="4330749"/>
              <a:ext cx="465338" cy="458354"/>
              <a:chOff x="5675085" y="4371493"/>
              <a:chExt cx="465338" cy="458354"/>
            </a:xfrm>
          </p:grpSpPr>
          <p:grpSp>
            <p:nvGrpSpPr>
              <p:cNvPr id="335" name="Group 334"/>
              <p:cNvGrpSpPr/>
              <p:nvPr/>
            </p:nvGrpSpPr>
            <p:grpSpPr>
              <a:xfrm>
                <a:off x="5675085" y="4371493"/>
                <a:ext cx="465338" cy="458354"/>
                <a:chOff x="6746789" y="3838377"/>
                <a:chExt cx="971013" cy="956441"/>
              </a:xfrm>
            </p:grpSpPr>
            <p:sp>
              <p:nvSpPr>
                <p:cNvPr id="346" name="Rectangle 345"/>
                <p:cNvSpPr/>
                <p:nvPr/>
              </p:nvSpPr>
              <p:spPr bwMode="auto">
                <a:xfrm>
                  <a:off x="6746789"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p:cNvSpPr/>
                <p:nvPr/>
              </p:nvSpPr>
              <p:spPr bwMode="auto">
                <a:xfrm>
                  <a:off x="7273494" y="3838377"/>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p:cNvSpPr/>
                <p:nvPr/>
              </p:nvSpPr>
              <p:spPr bwMode="auto">
                <a:xfrm>
                  <a:off x="6746789"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Rectangle 348"/>
                <p:cNvSpPr/>
                <p:nvPr/>
              </p:nvSpPr>
              <p:spPr bwMode="auto">
                <a:xfrm>
                  <a:off x="7273494" y="4350510"/>
                  <a:ext cx="444308" cy="44430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p:cNvGrpSpPr/>
              <p:nvPr/>
            </p:nvGrpSpPr>
            <p:grpSpPr>
              <a:xfrm>
                <a:off x="5741272" y="4491540"/>
                <a:ext cx="315300" cy="194014"/>
                <a:chOff x="4005484" y="5811960"/>
                <a:chExt cx="315300" cy="194014"/>
              </a:xfrm>
            </p:grpSpPr>
            <p:sp>
              <p:nvSpPr>
                <p:cNvPr id="337"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accent2"/>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338" name="Group 337"/>
                <p:cNvGrpSpPr/>
                <p:nvPr/>
              </p:nvGrpSpPr>
              <p:grpSpPr>
                <a:xfrm>
                  <a:off x="4005484" y="5811961"/>
                  <a:ext cx="315300" cy="194013"/>
                  <a:chOff x="5162540" y="3922860"/>
                  <a:chExt cx="337921" cy="207933"/>
                </a:xfrm>
              </p:grpSpPr>
              <p:sp>
                <p:nvSpPr>
                  <p:cNvPr id="339"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0" name="Oval 339"/>
                  <p:cNvSpPr/>
                  <p:nvPr/>
                </p:nvSpPr>
                <p:spPr bwMode="auto">
                  <a:xfrm>
                    <a:off x="5162540" y="3995755"/>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Oval 340"/>
                  <p:cNvSpPr/>
                  <p:nvPr/>
                </p:nvSpPr>
                <p:spPr bwMode="auto">
                  <a:xfrm>
                    <a:off x="5318410" y="3922860"/>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Oval 341"/>
                  <p:cNvSpPr/>
                  <p:nvPr/>
                </p:nvSpPr>
                <p:spPr bwMode="auto">
                  <a:xfrm>
                    <a:off x="5365423" y="3994184"/>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Oval 342"/>
                  <p:cNvSpPr/>
                  <p:nvPr/>
                </p:nvSpPr>
                <p:spPr bwMode="auto">
                  <a:xfrm>
                    <a:off x="5230059" y="395606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Oval 343"/>
                  <p:cNvSpPr/>
                  <p:nvPr/>
                </p:nvSpPr>
                <p:spPr bwMode="auto">
                  <a:xfrm>
                    <a:off x="5234257"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Oval 344"/>
                  <p:cNvSpPr/>
                  <p:nvPr/>
                </p:nvSpPr>
                <p:spPr bwMode="auto">
                  <a:xfrm>
                    <a:off x="5285353" y="3990379"/>
                    <a:ext cx="135038" cy="1350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34" name="TextBox 333"/>
            <p:cNvSpPr txBox="1"/>
            <p:nvPr/>
          </p:nvSpPr>
          <p:spPr>
            <a:xfrm>
              <a:off x="5504477" y="4858029"/>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App Service</a:t>
              </a:r>
            </a:p>
          </p:txBody>
        </p:sp>
        <p:sp>
          <p:nvSpPr>
            <p:cNvPr id="374" name="TextBox 373"/>
            <p:cNvSpPr txBox="1"/>
            <p:nvPr/>
          </p:nvSpPr>
          <p:spPr>
            <a:xfrm>
              <a:off x="5504477" y="5014059"/>
              <a:ext cx="769157" cy="969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BCF2"/>
                  </a:solidFill>
                  <a:effectLst/>
                  <a:uLnTx/>
                  <a:uFillTx/>
                  <a:latin typeface="Segoe Pro Semibold" panose="020B0702040504020203" pitchFamily="34" charset="0"/>
                  <a:ea typeface="+mn-ea"/>
                  <a:cs typeface="+mn-cs"/>
                </a:rPr>
                <a:t>Discovery Service</a:t>
              </a:r>
            </a:p>
          </p:txBody>
        </p:sp>
      </p:grpSp>
      <p:sp>
        <p:nvSpPr>
          <p:cNvPr id="352" name="TextBox 351"/>
          <p:cNvSpPr txBox="1"/>
          <p:nvPr/>
        </p:nvSpPr>
        <p:spPr>
          <a:xfrm>
            <a:off x="4224251" y="3676048"/>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Web Jobs</a:t>
            </a:r>
          </a:p>
        </p:txBody>
      </p:sp>
      <p:sp>
        <p:nvSpPr>
          <p:cNvPr id="369" name="Rectangle 368"/>
          <p:cNvSpPr/>
          <p:nvPr/>
        </p:nvSpPr>
        <p:spPr bwMode="auto">
          <a:xfrm>
            <a:off x="3316669" y="1829761"/>
            <a:ext cx="1729065" cy="112662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p:cNvSpPr/>
          <p:nvPr/>
        </p:nvSpPr>
        <p:spPr bwMode="auto">
          <a:xfrm>
            <a:off x="2302609" y="3038606"/>
            <a:ext cx="2743126" cy="1098244"/>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p:cNvSpPr/>
          <p:nvPr/>
        </p:nvSpPr>
        <p:spPr bwMode="auto">
          <a:xfrm>
            <a:off x="2302609" y="4216541"/>
            <a:ext cx="2743126" cy="1167750"/>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p:cNvSpPr/>
          <p:nvPr/>
        </p:nvSpPr>
        <p:spPr bwMode="auto">
          <a:xfrm>
            <a:off x="2302609" y="5469167"/>
            <a:ext cx="2743126" cy="1166306"/>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TextBox 394"/>
          <p:cNvSpPr txBox="1"/>
          <p:nvPr/>
        </p:nvSpPr>
        <p:spPr>
          <a:xfrm>
            <a:off x="3596052" y="2816352"/>
            <a:ext cx="1312681" cy="4062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UI"/>
              <a:ea typeface="+mn-ea"/>
              <a:cs typeface="+mn-cs"/>
            </a:endParaRPr>
          </a:p>
        </p:txBody>
      </p:sp>
      <p:sp>
        <p:nvSpPr>
          <p:cNvPr id="396" name="TextBox 395"/>
          <p:cNvSpPr txBox="1"/>
          <p:nvPr/>
        </p:nvSpPr>
        <p:spPr>
          <a:xfrm>
            <a:off x="3329953" y="2746788"/>
            <a:ext cx="1704023" cy="195458"/>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Steam Processing</a:t>
            </a:r>
          </a:p>
        </p:txBody>
      </p:sp>
      <p:sp>
        <p:nvSpPr>
          <p:cNvPr id="397" name="TextBox 396"/>
          <p:cNvSpPr txBox="1"/>
          <p:nvPr/>
        </p:nvSpPr>
        <p:spPr>
          <a:xfrm>
            <a:off x="2316076" y="3929675"/>
            <a:ext cx="2714009" cy="193537"/>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Custom BL</a:t>
            </a:r>
          </a:p>
        </p:txBody>
      </p:sp>
      <p:sp>
        <p:nvSpPr>
          <p:cNvPr id="398" name="TextBox 397"/>
          <p:cNvSpPr txBox="1"/>
          <p:nvPr/>
        </p:nvSpPr>
        <p:spPr>
          <a:xfrm>
            <a:off x="2317022" y="5182033"/>
            <a:ext cx="2718663" cy="195588"/>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Big Data Functionality / Orchestration</a:t>
            </a:r>
          </a:p>
        </p:txBody>
      </p:sp>
      <p:sp>
        <p:nvSpPr>
          <p:cNvPr id="399" name="TextBox 398"/>
          <p:cNvSpPr txBox="1"/>
          <p:nvPr/>
        </p:nvSpPr>
        <p:spPr>
          <a:xfrm>
            <a:off x="2317022" y="6455810"/>
            <a:ext cx="2718663" cy="170909"/>
          </a:xfrm>
          <a:prstGeom prst="rect">
            <a:avLst/>
          </a:prstGeom>
          <a:solidFill>
            <a:schemeClr val="accent2"/>
          </a:solidFill>
        </p:spPr>
        <p:txBody>
          <a:bodyPr wrap="square" lIns="0" tIns="0" rIns="0" bIns="0" rtlCol="0" anchor="ctr" anchorCtr="0">
            <a:noAutofit/>
          </a:bodyPr>
          <a:lstStyle>
            <a:defPPr>
              <a:defRPr lang="en-US"/>
            </a:defPPr>
            <a:lvl1pPr algn="ctr">
              <a:lnSpc>
                <a:spcPct val="90000"/>
              </a:lnSpc>
              <a:spcAft>
                <a:spcPts val="600"/>
              </a:spcAft>
              <a:defRPr sz="900">
                <a:solidFill>
                  <a:schemeClr val="bg1"/>
                </a:soli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Data Store</a:t>
            </a:r>
          </a:p>
        </p:txBody>
      </p:sp>
      <p:sp>
        <p:nvSpPr>
          <p:cNvPr id="400" name="Rectangle 399"/>
          <p:cNvSpPr/>
          <p:nvPr/>
        </p:nvSpPr>
        <p:spPr bwMode="auto">
          <a:xfrm>
            <a:off x="381737" y="3183756"/>
            <a:ext cx="83441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UI" pitchFamily="34" charset="0"/>
                <a:cs typeface="Segoe UI" pitchFamily="34" charset="0"/>
              </a:rPr>
              <a:t>Depot Infrastructure</a:t>
            </a:r>
          </a:p>
        </p:txBody>
      </p:sp>
      <p:sp>
        <p:nvSpPr>
          <p:cNvPr id="402" name="Rectangle 401"/>
          <p:cNvSpPr/>
          <p:nvPr/>
        </p:nvSpPr>
        <p:spPr bwMode="auto">
          <a:xfrm>
            <a:off x="381737" y="4723592"/>
            <a:ext cx="83441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Segoe UI" pitchFamily="34" charset="0"/>
                <a:cs typeface="Segoe UI" pitchFamily="34" charset="0"/>
              </a:rPr>
              <a:t>Mobile Devices</a:t>
            </a:r>
          </a:p>
        </p:txBody>
      </p:sp>
      <p:sp>
        <p:nvSpPr>
          <p:cNvPr id="403" name="Rectangle 402"/>
          <p:cNvSpPr/>
          <p:nvPr/>
        </p:nvSpPr>
        <p:spPr bwMode="auto">
          <a:xfrm>
            <a:off x="6998443" y="4459731"/>
            <a:ext cx="79286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pitchFamily="34" charset="0"/>
              </a:rPr>
              <a:t>Mobile Devices</a:t>
            </a:r>
          </a:p>
        </p:txBody>
      </p:sp>
      <p:sp>
        <p:nvSpPr>
          <p:cNvPr id="404" name="Rectangle 403"/>
          <p:cNvSpPr/>
          <p:nvPr/>
        </p:nvSpPr>
        <p:spPr bwMode="auto">
          <a:xfrm>
            <a:off x="6998443" y="5626477"/>
            <a:ext cx="792866" cy="393339"/>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Segoe UI" pitchFamily="34" charset="0"/>
              </a:rPr>
              <a:t>Browser (Customers)</a:t>
            </a:r>
          </a:p>
        </p:txBody>
      </p:sp>
      <p:cxnSp>
        <p:nvCxnSpPr>
          <p:cNvPr id="413" name="Elbow Connector 412"/>
          <p:cNvCxnSpPr>
            <a:cxnSpLocks/>
            <a:stCxn id="400" idx="0"/>
          </p:cNvCxnSpPr>
          <p:nvPr/>
        </p:nvCxnSpPr>
        <p:spPr>
          <a:xfrm rot="5400000" flipH="1" flipV="1">
            <a:off x="721362" y="2244339"/>
            <a:ext cx="1017001" cy="861834"/>
          </a:xfrm>
          <a:prstGeom prst="bentConnector3">
            <a:avLst>
              <a:gd name="adj1" fmla="val 99816"/>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0" name="Elbow Connector 429"/>
          <p:cNvCxnSpPr/>
          <p:nvPr/>
        </p:nvCxnSpPr>
        <p:spPr>
          <a:xfrm rot="10800000" flipV="1">
            <a:off x="2075622" y="2783097"/>
            <a:ext cx="1241542" cy="877375"/>
          </a:xfrm>
          <a:prstGeom prst="bentConnector3">
            <a:avLst>
              <a:gd name="adj1" fmla="val 88738"/>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H="1">
            <a:off x="2201914" y="3658913"/>
            <a:ext cx="100695"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2" name="Straight Arrow Connector 441"/>
          <p:cNvCxnSpPr/>
          <p:nvPr/>
        </p:nvCxnSpPr>
        <p:spPr>
          <a:xfrm flipH="1">
            <a:off x="2099574" y="4789045"/>
            <a:ext cx="20303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a:off x="2218314" y="3491507"/>
            <a:ext cx="0" cy="1297538"/>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Elbow Connector 448"/>
          <p:cNvCxnSpPr>
            <a:cxnSpLocks/>
            <a:stCxn id="400" idx="3"/>
            <a:endCxn id="189" idx="1"/>
          </p:cNvCxnSpPr>
          <p:nvPr/>
        </p:nvCxnSpPr>
        <p:spPr>
          <a:xfrm>
            <a:off x="1216153" y="3380426"/>
            <a:ext cx="297152" cy="1553250"/>
          </a:xfrm>
          <a:prstGeom prst="bentConnector3">
            <a:avLst>
              <a:gd name="adj1" fmla="val 50000"/>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p:nvPr/>
        </p:nvCxnSpPr>
        <p:spPr>
          <a:xfrm>
            <a:off x="1224415" y="4935634"/>
            <a:ext cx="239103"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6" name="Straight Arrow Connector 455"/>
          <p:cNvCxnSpPr/>
          <p:nvPr/>
        </p:nvCxnSpPr>
        <p:spPr>
          <a:xfrm>
            <a:off x="1343966" y="3663853"/>
            <a:ext cx="21789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0" name="TextBox 459"/>
          <p:cNvSpPr txBox="1"/>
          <p:nvPr/>
        </p:nvSpPr>
        <p:spPr>
          <a:xfrm rot="16200000">
            <a:off x="824328" y="4147975"/>
            <a:ext cx="794847" cy="1246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AMQP</a:t>
            </a:r>
          </a:p>
        </p:txBody>
      </p:sp>
      <p:sp>
        <p:nvSpPr>
          <p:cNvPr id="461" name="TextBox 460"/>
          <p:cNvSpPr txBox="1"/>
          <p:nvPr/>
        </p:nvSpPr>
        <p:spPr>
          <a:xfrm rot="16200000">
            <a:off x="248256" y="2620631"/>
            <a:ext cx="794847" cy="12465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HTTP(s)</a:t>
            </a:r>
          </a:p>
        </p:txBody>
      </p:sp>
      <p:sp>
        <p:nvSpPr>
          <p:cNvPr id="462" name="Bent-Up Arrow 461"/>
          <p:cNvSpPr/>
          <p:nvPr/>
        </p:nvSpPr>
        <p:spPr bwMode="auto">
          <a:xfrm rot="10800000" flipH="1">
            <a:off x="5058524" y="2389555"/>
            <a:ext cx="464358" cy="1288178"/>
          </a:xfrm>
          <a:prstGeom prst="bentUpArrow">
            <a:avLst>
              <a:gd name="adj1" fmla="val 2486"/>
              <a:gd name="adj2" fmla="val 11491"/>
              <a:gd name="adj3" fmla="val 23031"/>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6" name="Straight Arrow Connector 465"/>
          <p:cNvCxnSpPr/>
          <p:nvPr/>
        </p:nvCxnSpPr>
        <p:spPr>
          <a:xfrm>
            <a:off x="5045733" y="3940386"/>
            <a:ext cx="14311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7" name="Bent-Up Arrow 466"/>
          <p:cNvSpPr/>
          <p:nvPr/>
        </p:nvSpPr>
        <p:spPr bwMode="auto">
          <a:xfrm rot="10800000" flipH="1" flipV="1">
            <a:off x="5058524" y="4543616"/>
            <a:ext cx="464358" cy="274573"/>
          </a:xfrm>
          <a:prstGeom prst="bentUpArrow">
            <a:avLst>
              <a:gd name="adj1" fmla="val 2486"/>
              <a:gd name="adj2" fmla="val 14478"/>
              <a:gd name="adj3" fmla="val 29004"/>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0" name="Elbow Connector 469"/>
          <p:cNvCxnSpPr>
            <a:cxnSpLocks/>
          </p:cNvCxnSpPr>
          <p:nvPr/>
        </p:nvCxnSpPr>
        <p:spPr>
          <a:xfrm flipV="1">
            <a:off x="5453449" y="1992157"/>
            <a:ext cx="923875" cy="397398"/>
          </a:xfrm>
          <a:prstGeom prst="bentConnector4">
            <a:avLst>
              <a:gd name="adj1" fmla="val 1165"/>
              <a:gd name="adj2" fmla="val 15752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6" name="Straight Connector 475"/>
          <p:cNvCxnSpPr/>
          <p:nvPr/>
        </p:nvCxnSpPr>
        <p:spPr>
          <a:xfrm>
            <a:off x="5971264" y="2285532"/>
            <a:ext cx="0" cy="3540322"/>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8" name="Straight Connector 477"/>
          <p:cNvCxnSpPr/>
          <p:nvPr/>
        </p:nvCxnSpPr>
        <p:spPr>
          <a:xfrm>
            <a:off x="5965333" y="2285532"/>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a:off x="5965333" y="3450928"/>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a:off x="5934852" y="5836441"/>
            <a:ext cx="182880"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2" name="Straight Connector 481"/>
          <p:cNvCxnSpPr/>
          <p:nvPr/>
        </p:nvCxnSpPr>
        <p:spPr>
          <a:xfrm>
            <a:off x="5995813" y="4660770"/>
            <a:ext cx="110497"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4" name="Straight Arrow Connector 483"/>
          <p:cNvCxnSpPr/>
          <p:nvPr/>
        </p:nvCxnSpPr>
        <p:spPr>
          <a:xfrm flipH="1">
            <a:off x="5812935" y="3937135"/>
            <a:ext cx="152398"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7" name="Elbow Connector 486"/>
          <p:cNvCxnSpPr/>
          <p:nvPr/>
        </p:nvCxnSpPr>
        <p:spPr>
          <a:xfrm rot="10800000">
            <a:off x="6678108" y="2270481"/>
            <a:ext cx="546882" cy="306960"/>
          </a:xfrm>
          <a:prstGeom prst="bentConnector3">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0" name="Straight Arrow Connector 489"/>
          <p:cNvCxnSpPr/>
          <p:nvPr/>
        </p:nvCxnSpPr>
        <p:spPr>
          <a:xfrm>
            <a:off x="2144006" y="5226727"/>
            <a:ext cx="15860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p:cNvCxnSpPr/>
          <p:nvPr/>
        </p:nvCxnSpPr>
        <p:spPr>
          <a:xfrm>
            <a:off x="2144006" y="5649996"/>
            <a:ext cx="158603"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4" name="Straight Connector 493"/>
          <p:cNvCxnSpPr/>
          <p:nvPr/>
        </p:nvCxnSpPr>
        <p:spPr>
          <a:xfrm flipV="1">
            <a:off x="2144006" y="5226727"/>
            <a:ext cx="0" cy="421042"/>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6" name="Straight Arrow Connector 495"/>
          <p:cNvCxnSpPr>
            <a:cxnSpLocks/>
            <a:stCxn id="404" idx="1"/>
          </p:cNvCxnSpPr>
          <p:nvPr/>
        </p:nvCxnSpPr>
        <p:spPr>
          <a:xfrm flipH="1" flipV="1">
            <a:off x="6693255" y="5821201"/>
            <a:ext cx="305188" cy="1946"/>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0" name="Straight Arrow Connector 499"/>
          <p:cNvCxnSpPr/>
          <p:nvPr/>
        </p:nvCxnSpPr>
        <p:spPr>
          <a:xfrm flipH="1">
            <a:off x="6693254" y="4660770"/>
            <a:ext cx="305189"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1" name="Straight Arrow Connector 500"/>
          <p:cNvCxnSpPr/>
          <p:nvPr/>
        </p:nvCxnSpPr>
        <p:spPr>
          <a:xfrm flipH="1">
            <a:off x="6693256" y="3440844"/>
            <a:ext cx="231045"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5" name="Straight Connector 504"/>
          <p:cNvCxnSpPr/>
          <p:nvPr/>
        </p:nvCxnSpPr>
        <p:spPr>
          <a:xfrm flipV="1">
            <a:off x="6924301" y="3440844"/>
            <a:ext cx="0" cy="1219926"/>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1" name="Elbow Connector 510"/>
          <p:cNvCxnSpPr/>
          <p:nvPr/>
        </p:nvCxnSpPr>
        <p:spPr>
          <a:xfrm rot="10800000" flipV="1">
            <a:off x="5178114" y="5830720"/>
            <a:ext cx="735295" cy="185296"/>
          </a:xfrm>
          <a:prstGeom prst="bentConnector3">
            <a:avLst>
              <a:gd name="adj1" fmla="val 21257"/>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flipV="1">
            <a:off x="5760068" y="4660770"/>
            <a:ext cx="0" cy="116995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4" name="Straight Connector 523"/>
          <p:cNvCxnSpPr/>
          <p:nvPr/>
        </p:nvCxnSpPr>
        <p:spPr>
          <a:xfrm>
            <a:off x="5760068" y="4666592"/>
            <a:ext cx="15334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5" name="Freeform 82"/>
          <p:cNvSpPr>
            <a:spLocks noEditPoints="1"/>
          </p:cNvSpPr>
          <p:nvPr/>
        </p:nvSpPr>
        <p:spPr bwMode="auto">
          <a:xfrm>
            <a:off x="4365568" y="3133247"/>
            <a:ext cx="499423" cy="501008"/>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96" name="Group 295"/>
          <p:cNvGrpSpPr>
            <a:grpSpLocks noChangeAspect="1"/>
          </p:cNvGrpSpPr>
          <p:nvPr/>
        </p:nvGrpSpPr>
        <p:grpSpPr bwMode="auto">
          <a:xfrm>
            <a:off x="6241332" y="2052467"/>
            <a:ext cx="313667" cy="336282"/>
            <a:chOff x="-947" y="929"/>
            <a:chExt cx="2136" cy="2290"/>
          </a:xfrm>
          <a:solidFill>
            <a:schemeClr val="bg1"/>
          </a:solidFill>
        </p:grpSpPr>
        <p:sp>
          <p:nvSpPr>
            <p:cNvPr id="297" name="Freeform 5"/>
            <p:cNvSpPr>
              <a:spLocks/>
            </p:cNvSpPr>
            <p:nvPr/>
          </p:nvSpPr>
          <p:spPr bwMode="auto">
            <a:xfrm>
              <a:off x="-885" y="929"/>
              <a:ext cx="2074" cy="2133"/>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8" name="Freeform 6"/>
            <p:cNvSpPr>
              <a:spLocks/>
            </p:cNvSpPr>
            <p:nvPr/>
          </p:nvSpPr>
          <p:spPr bwMode="auto">
            <a:xfrm>
              <a:off x="234" y="1718"/>
              <a:ext cx="301" cy="1501"/>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7"/>
            <p:cNvSpPr>
              <a:spLocks/>
            </p:cNvSpPr>
            <p:nvPr/>
          </p:nvSpPr>
          <p:spPr bwMode="auto">
            <a:xfrm>
              <a:off x="-193" y="1888"/>
              <a:ext cx="304" cy="1144"/>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8"/>
            <p:cNvSpPr>
              <a:spLocks/>
            </p:cNvSpPr>
            <p:nvPr/>
          </p:nvSpPr>
          <p:spPr bwMode="auto">
            <a:xfrm>
              <a:off x="-577" y="1988"/>
              <a:ext cx="321" cy="887"/>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9"/>
            <p:cNvSpPr>
              <a:spLocks/>
            </p:cNvSpPr>
            <p:nvPr/>
          </p:nvSpPr>
          <p:spPr bwMode="auto">
            <a:xfrm>
              <a:off x="-947" y="2150"/>
              <a:ext cx="318" cy="61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2" name="Group 301"/>
          <p:cNvGrpSpPr>
            <a:grpSpLocks noChangeAspect="1"/>
          </p:cNvGrpSpPr>
          <p:nvPr/>
        </p:nvGrpSpPr>
        <p:grpSpPr bwMode="auto">
          <a:xfrm>
            <a:off x="7276171" y="2418613"/>
            <a:ext cx="313667" cy="336282"/>
            <a:chOff x="-947" y="929"/>
            <a:chExt cx="2136" cy="2290"/>
          </a:xfrm>
          <a:solidFill>
            <a:schemeClr val="bg1"/>
          </a:solidFill>
        </p:grpSpPr>
        <p:sp>
          <p:nvSpPr>
            <p:cNvPr id="303" name="Freeform 5"/>
            <p:cNvSpPr>
              <a:spLocks/>
            </p:cNvSpPr>
            <p:nvPr/>
          </p:nvSpPr>
          <p:spPr bwMode="auto">
            <a:xfrm>
              <a:off x="-885" y="929"/>
              <a:ext cx="2074" cy="2133"/>
            </a:xfrm>
            <a:custGeom>
              <a:avLst/>
              <a:gdLst>
                <a:gd name="T0" fmla="*/ 1280 w 1376"/>
                <a:gd name="T1" fmla="*/ 853 h 1415"/>
                <a:gd name="T2" fmla="*/ 1281 w 1376"/>
                <a:gd name="T3" fmla="*/ 573 h 1415"/>
                <a:gd name="T4" fmla="*/ 1176 w 1376"/>
                <a:gd name="T5" fmla="*/ 426 h 1415"/>
                <a:gd name="T6" fmla="*/ 218 w 1376"/>
                <a:gd name="T7" fmla="*/ 127 h 1415"/>
                <a:gd name="T8" fmla="*/ 99 w 1376"/>
                <a:gd name="T9" fmla="*/ 215 h 1415"/>
                <a:gd name="T10" fmla="*/ 97 w 1376"/>
                <a:gd name="T11" fmla="*/ 627 h 1415"/>
                <a:gd name="T12" fmla="*/ 53 w 1376"/>
                <a:gd name="T13" fmla="*/ 707 h 1415"/>
                <a:gd name="T14" fmla="*/ 3 w 1376"/>
                <a:gd name="T15" fmla="*/ 628 h 1415"/>
                <a:gd name="T16" fmla="*/ 4 w 1376"/>
                <a:gd name="T17" fmla="*/ 199 h 1415"/>
                <a:gd name="T18" fmla="*/ 241 w 1376"/>
                <a:gd name="T19" fmla="*/ 34 h 1415"/>
                <a:gd name="T20" fmla="*/ 1177 w 1376"/>
                <a:gd name="T21" fmla="*/ 319 h 1415"/>
                <a:gd name="T22" fmla="*/ 1373 w 1376"/>
                <a:gd name="T23" fmla="*/ 579 h 1415"/>
                <a:gd name="T24" fmla="*/ 1372 w 1376"/>
                <a:gd name="T25" fmla="*/ 1157 h 1415"/>
                <a:gd name="T26" fmla="*/ 1070 w 1376"/>
                <a:gd name="T27" fmla="*/ 1335 h 1415"/>
                <a:gd name="T28" fmla="*/ 1035 w 1376"/>
                <a:gd name="T29" fmla="*/ 1266 h 1415"/>
                <a:gd name="T30" fmla="*/ 1109 w 1376"/>
                <a:gd name="T31" fmla="*/ 1241 h 1415"/>
                <a:gd name="T32" fmla="*/ 1280 w 1376"/>
                <a:gd name="T33" fmla="*/ 1107 h 1415"/>
                <a:gd name="T34" fmla="*/ 1280 w 1376"/>
                <a:gd name="T35" fmla="*/ 8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6" h="1415">
                  <a:moveTo>
                    <a:pt x="1280" y="853"/>
                  </a:moveTo>
                  <a:cubicBezTo>
                    <a:pt x="1280" y="760"/>
                    <a:pt x="1278" y="666"/>
                    <a:pt x="1281" y="573"/>
                  </a:cubicBezTo>
                  <a:cubicBezTo>
                    <a:pt x="1283" y="496"/>
                    <a:pt x="1256" y="451"/>
                    <a:pt x="1176" y="426"/>
                  </a:cubicBezTo>
                  <a:cubicBezTo>
                    <a:pt x="856" y="330"/>
                    <a:pt x="537" y="227"/>
                    <a:pt x="218" y="127"/>
                  </a:cubicBezTo>
                  <a:cubicBezTo>
                    <a:pt x="140" y="103"/>
                    <a:pt x="100" y="132"/>
                    <a:pt x="99" y="215"/>
                  </a:cubicBezTo>
                  <a:cubicBezTo>
                    <a:pt x="96" y="352"/>
                    <a:pt x="99" y="490"/>
                    <a:pt x="97" y="627"/>
                  </a:cubicBezTo>
                  <a:cubicBezTo>
                    <a:pt x="97" y="660"/>
                    <a:pt x="103" y="707"/>
                    <a:pt x="53" y="707"/>
                  </a:cubicBezTo>
                  <a:cubicBezTo>
                    <a:pt x="7" y="707"/>
                    <a:pt x="4" y="664"/>
                    <a:pt x="3" y="628"/>
                  </a:cubicBezTo>
                  <a:cubicBezTo>
                    <a:pt x="3" y="485"/>
                    <a:pt x="0" y="342"/>
                    <a:pt x="4" y="199"/>
                  </a:cubicBezTo>
                  <a:cubicBezTo>
                    <a:pt x="9" y="82"/>
                    <a:pt x="129" y="0"/>
                    <a:pt x="241" y="34"/>
                  </a:cubicBezTo>
                  <a:cubicBezTo>
                    <a:pt x="553" y="129"/>
                    <a:pt x="865" y="223"/>
                    <a:pt x="1177" y="319"/>
                  </a:cubicBezTo>
                  <a:cubicBezTo>
                    <a:pt x="1327" y="365"/>
                    <a:pt x="1371" y="422"/>
                    <a:pt x="1373" y="579"/>
                  </a:cubicBezTo>
                  <a:cubicBezTo>
                    <a:pt x="1375" y="771"/>
                    <a:pt x="1376" y="964"/>
                    <a:pt x="1372" y="1157"/>
                  </a:cubicBezTo>
                  <a:cubicBezTo>
                    <a:pt x="1369" y="1323"/>
                    <a:pt x="1209" y="1415"/>
                    <a:pt x="1070" y="1335"/>
                  </a:cubicBezTo>
                  <a:cubicBezTo>
                    <a:pt x="1042" y="1319"/>
                    <a:pt x="1019" y="1303"/>
                    <a:pt x="1035" y="1266"/>
                  </a:cubicBezTo>
                  <a:cubicBezTo>
                    <a:pt x="1050" y="1232"/>
                    <a:pt x="1079" y="1234"/>
                    <a:pt x="1109" y="1241"/>
                  </a:cubicBezTo>
                  <a:cubicBezTo>
                    <a:pt x="1263" y="1277"/>
                    <a:pt x="1280" y="1264"/>
                    <a:pt x="1280" y="1107"/>
                  </a:cubicBezTo>
                  <a:cubicBezTo>
                    <a:pt x="1280" y="1022"/>
                    <a:pt x="1280" y="938"/>
                    <a:pt x="1280"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6"/>
            <p:cNvSpPr>
              <a:spLocks/>
            </p:cNvSpPr>
            <p:nvPr/>
          </p:nvSpPr>
          <p:spPr bwMode="auto">
            <a:xfrm>
              <a:off x="234" y="1718"/>
              <a:ext cx="301" cy="1501"/>
            </a:xfrm>
            <a:custGeom>
              <a:avLst/>
              <a:gdLst>
                <a:gd name="T0" fmla="*/ 200 w 200"/>
                <a:gd name="T1" fmla="*/ 480 h 996"/>
                <a:gd name="T2" fmla="*/ 200 w 200"/>
                <a:gd name="T3" fmla="*/ 831 h 996"/>
                <a:gd name="T4" fmla="*/ 165 w 200"/>
                <a:gd name="T5" fmla="*/ 944 h 996"/>
                <a:gd name="T6" fmla="*/ 23 w 200"/>
                <a:gd name="T7" fmla="*/ 926 h 996"/>
                <a:gd name="T8" fmla="*/ 0 w 200"/>
                <a:gd name="T9" fmla="*/ 807 h 996"/>
                <a:gd name="T10" fmla="*/ 1 w 200"/>
                <a:gd name="T11" fmla="*/ 168 h 996"/>
                <a:gd name="T12" fmla="*/ 8 w 200"/>
                <a:gd name="T13" fmla="*/ 90 h 996"/>
                <a:gd name="T14" fmla="*/ 100 w 200"/>
                <a:gd name="T15" fmla="*/ 3 h 996"/>
                <a:gd name="T16" fmla="*/ 199 w 200"/>
                <a:gd name="T17" fmla="*/ 104 h 996"/>
                <a:gd name="T18" fmla="*/ 199 w 200"/>
                <a:gd name="T19" fmla="*/ 480 h 996"/>
                <a:gd name="T20" fmla="*/ 200 w 200"/>
                <a:gd name="T21" fmla="*/ 48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996">
                  <a:moveTo>
                    <a:pt x="200" y="480"/>
                  </a:moveTo>
                  <a:cubicBezTo>
                    <a:pt x="200" y="597"/>
                    <a:pt x="200" y="714"/>
                    <a:pt x="200" y="831"/>
                  </a:cubicBezTo>
                  <a:cubicBezTo>
                    <a:pt x="200" y="872"/>
                    <a:pt x="197" y="912"/>
                    <a:pt x="165" y="944"/>
                  </a:cubicBezTo>
                  <a:cubicBezTo>
                    <a:pt x="116" y="996"/>
                    <a:pt x="56" y="989"/>
                    <a:pt x="23" y="926"/>
                  </a:cubicBezTo>
                  <a:cubicBezTo>
                    <a:pt x="3" y="889"/>
                    <a:pt x="0" y="848"/>
                    <a:pt x="0" y="807"/>
                  </a:cubicBezTo>
                  <a:cubicBezTo>
                    <a:pt x="0" y="594"/>
                    <a:pt x="1" y="381"/>
                    <a:pt x="1" y="168"/>
                  </a:cubicBezTo>
                  <a:cubicBezTo>
                    <a:pt x="2" y="142"/>
                    <a:pt x="4" y="115"/>
                    <a:pt x="8" y="90"/>
                  </a:cubicBezTo>
                  <a:cubicBezTo>
                    <a:pt x="16" y="37"/>
                    <a:pt x="44" y="0"/>
                    <a:pt x="100" y="3"/>
                  </a:cubicBezTo>
                  <a:cubicBezTo>
                    <a:pt x="160" y="7"/>
                    <a:pt x="198" y="41"/>
                    <a:pt x="199" y="104"/>
                  </a:cubicBezTo>
                  <a:cubicBezTo>
                    <a:pt x="200" y="230"/>
                    <a:pt x="199" y="355"/>
                    <a:pt x="199" y="480"/>
                  </a:cubicBezTo>
                  <a:cubicBezTo>
                    <a:pt x="199" y="480"/>
                    <a:pt x="200" y="480"/>
                    <a:pt x="2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7"/>
            <p:cNvSpPr>
              <a:spLocks/>
            </p:cNvSpPr>
            <p:nvPr/>
          </p:nvSpPr>
          <p:spPr bwMode="auto">
            <a:xfrm>
              <a:off x="-193" y="1888"/>
              <a:ext cx="304" cy="1144"/>
            </a:xfrm>
            <a:custGeom>
              <a:avLst/>
              <a:gdLst>
                <a:gd name="T0" fmla="*/ 202 w 202"/>
                <a:gd name="T1" fmla="*/ 381 h 759"/>
                <a:gd name="T2" fmla="*/ 202 w 202"/>
                <a:gd name="T3" fmla="*/ 643 h 759"/>
                <a:gd name="T4" fmla="*/ 113 w 202"/>
                <a:gd name="T5" fmla="*/ 759 h 759"/>
                <a:gd name="T6" fmla="*/ 2 w 202"/>
                <a:gd name="T7" fmla="*/ 650 h 759"/>
                <a:gd name="T8" fmla="*/ 4 w 202"/>
                <a:gd name="T9" fmla="*/ 109 h 759"/>
                <a:gd name="T10" fmla="*/ 115 w 202"/>
                <a:gd name="T11" fmla="*/ 2 h 759"/>
                <a:gd name="T12" fmla="*/ 201 w 202"/>
                <a:gd name="T13" fmla="*/ 111 h 759"/>
                <a:gd name="T14" fmla="*/ 201 w 202"/>
                <a:gd name="T15" fmla="*/ 381 h 759"/>
                <a:gd name="T16" fmla="*/ 202 w 202"/>
                <a:gd name="T17" fmla="*/ 3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759">
                  <a:moveTo>
                    <a:pt x="202" y="381"/>
                  </a:moveTo>
                  <a:cubicBezTo>
                    <a:pt x="202" y="469"/>
                    <a:pt x="201" y="556"/>
                    <a:pt x="202" y="643"/>
                  </a:cubicBezTo>
                  <a:cubicBezTo>
                    <a:pt x="202" y="705"/>
                    <a:pt x="185" y="758"/>
                    <a:pt x="113" y="759"/>
                  </a:cubicBezTo>
                  <a:cubicBezTo>
                    <a:pt x="46" y="759"/>
                    <a:pt x="3" y="720"/>
                    <a:pt x="2" y="650"/>
                  </a:cubicBezTo>
                  <a:cubicBezTo>
                    <a:pt x="0" y="470"/>
                    <a:pt x="1" y="290"/>
                    <a:pt x="4" y="109"/>
                  </a:cubicBezTo>
                  <a:cubicBezTo>
                    <a:pt x="5" y="40"/>
                    <a:pt x="47" y="0"/>
                    <a:pt x="115" y="2"/>
                  </a:cubicBezTo>
                  <a:cubicBezTo>
                    <a:pt x="181" y="4"/>
                    <a:pt x="201" y="52"/>
                    <a:pt x="201" y="111"/>
                  </a:cubicBezTo>
                  <a:cubicBezTo>
                    <a:pt x="202" y="201"/>
                    <a:pt x="201" y="291"/>
                    <a:pt x="201" y="381"/>
                  </a:cubicBezTo>
                  <a:cubicBezTo>
                    <a:pt x="201" y="381"/>
                    <a:pt x="202" y="381"/>
                    <a:pt x="20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6" name="Freeform 8"/>
            <p:cNvSpPr>
              <a:spLocks/>
            </p:cNvSpPr>
            <p:nvPr/>
          </p:nvSpPr>
          <p:spPr bwMode="auto">
            <a:xfrm>
              <a:off x="-577" y="1988"/>
              <a:ext cx="321" cy="887"/>
            </a:xfrm>
            <a:custGeom>
              <a:avLst/>
              <a:gdLst>
                <a:gd name="T0" fmla="*/ 210 w 213"/>
                <a:gd name="T1" fmla="*/ 315 h 589"/>
                <a:gd name="T2" fmla="*/ 210 w 213"/>
                <a:gd name="T3" fmla="*/ 490 h 589"/>
                <a:gd name="T4" fmla="*/ 120 w 213"/>
                <a:gd name="T5" fmla="*/ 587 h 589"/>
                <a:gd name="T6" fmla="*/ 15 w 213"/>
                <a:gd name="T7" fmla="*/ 503 h 589"/>
                <a:gd name="T8" fmla="*/ 18 w 213"/>
                <a:gd name="T9" fmla="*/ 102 h 589"/>
                <a:gd name="T10" fmla="*/ 125 w 213"/>
                <a:gd name="T11" fmla="*/ 7 h 589"/>
                <a:gd name="T12" fmla="*/ 208 w 213"/>
                <a:gd name="T13" fmla="*/ 114 h 589"/>
                <a:gd name="T14" fmla="*/ 209 w 213"/>
                <a:gd name="T15" fmla="*/ 315 h 589"/>
                <a:gd name="T16" fmla="*/ 210 w 213"/>
                <a:gd name="T17" fmla="*/ 3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589">
                  <a:moveTo>
                    <a:pt x="210" y="315"/>
                  </a:moveTo>
                  <a:cubicBezTo>
                    <a:pt x="210" y="373"/>
                    <a:pt x="211" y="432"/>
                    <a:pt x="210" y="490"/>
                  </a:cubicBezTo>
                  <a:cubicBezTo>
                    <a:pt x="208" y="547"/>
                    <a:pt x="181" y="586"/>
                    <a:pt x="120" y="587"/>
                  </a:cubicBezTo>
                  <a:cubicBezTo>
                    <a:pt x="64" y="589"/>
                    <a:pt x="19" y="559"/>
                    <a:pt x="15" y="503"/>
                  </a:cubicBezTo>
                  <a:cubicBezTo>
                    <a:pt x="4" y="370"/>
                    <a:pt x="0" y="235"/>
                    <a:pt x="18" y="102"/>
                  </a:cubicBezTo>
                  <a:cubicBezTo>
                    <a:pt x="25" y="50"/>
                    <a:pt x="59" y="0"/>
                    <a:pt x="125" y="7"/>
                  </a:cubicBezTo>
                  <a:cubicBezTo>
                    <a:pt x="185" y="12"/>
                    <a:pt x="204" y="64"/>
                    <a:pt x="208" y="114"/>
                  </a:cubicBezTo>
                  <a:cubicBezTo>
                    <a:pt x="213" y="181"/>
                    <a:pt x="209" y="248"/>
                    <a:pt x="209" y="315"/>
                  </a:cubicBezTo>
                  <a:cubicBezTo>
                    <a:pt x="209" y="315"/>
                    <a:pt x="210" y="315"/>
                    <a:pt x="210"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7" name="Freeform 9"/>
            <p:cNvSpPr>
              <a:spLocks/>
            </p:cNvSpPr>
            <p:nvPr/>
          </p:nvSpPr>
          <p:spPr bwMode="auto">
            <a:xfrm>
              <a:off x="-947" y="2150"/>
              <a:ext cx="318" cy="617"/>
            </a:xfrm>
            <a:custGeom>
              <a:avLst/>
              <a:gdLst>
                <a:gd name="T0" fmla="*/ 207 w 211"/>
                <a:gd name="T1" fmla="*/ 201 h 409"/>
                <a:gd name="T2" fmla="*/ 206 w 211"/>
                <a:gd name="T3" fmla="*/ 314 h 409"/>
                <a:gd name="T4" fmla="*/ 118 w 211"/>
                <a:gd name="T5" fmla="*/ 406 h 409"/>
                <a:gd name="T6" fmla="*/ 18 w 211"/>
                <a:gd name="T7" fmla="*/ 326 h 409"/>
                <a:gd name="T8" fmla="*/ 16 w 211"/>
                <a:gd name="T9" fmla="*/ 75 h 409"/>
                <a:gd name="T10" fmla="*/ 122 w 211"/>
                <a:gd name="T11" fmla="*/ 3 h 409"/>
                <a:gd name="T12" fmla="*/ 206 w 211"/>
                <a:gd name="T13" fmla="*/ 87 h 409"/>
                <a:gd name="T14" fmla="*/ 207 w 211"/>
                <a:gd name="T15" fmla="*/ 201 h 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409">
                  <a:moveTo>
                    <a:pt x="207" y="201"/>
                  </a:moveTo>
                  <a:cubicBezTo>
                    <a:pt x="207" y="239"/>
                    <a:pt x="211" y="277"/>
                    <a:pt x="206" y="314"/>
                  </a:cubicBezTo>
                  <a:cubicBezTo>
                    <a:pt x="200" y="365"/>
                    <a:pt x="173" y="404"/>
                    <a:pt x="118" y="406"/>
                  </a:cubicBezTo>
                  <a:cubicBezTo>
                    <a:pt x="65" y="409"/>
                    <a:pt x="28" y="376"/>
                    <a:pt x="18" y="326"/>
                  </a:cubicBezTo>
                  <a:cubicBezTo>
                    <a:pt x="0" y="243"/>
                    <a:pt x="1" y="157"/>
                    <a:pt x="16" y="75"/>
                  </a:cubicBezTo>
                  <a:cubicBezTo>
                    <a:pt x="25" y="24"/>
                    <a:pt x="70" y="0"/>
                    <a:pt x="122" y="3"/>
                  </a:cubicBezTo>
                  <a:cubicBezTo>
                    <a:pt x="174" y="6"/>
                    <a:pt x="201" y="39"/>
                    <a:pt x="206" y="87"/>
                  </a:cubicBezTo>
                  <a:cubicBezTo>
                    <a:pt x="210" y="125"/>
                    <a:pt x="207" y="163"/>
                    <a:pt x="20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1255013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100" y="0"/>
            <a:ext cx="12230100" cy="6858000"/>
          </a:xfrm>
          <a:prstGeom prst="rect">
            <a:avLst/>
          </a:prstGeom>
        </p:spPr>
      </p:pic>
      <p:sp>
        <p:nvSpPr>
          <p:cNvPr id="13" name="Rectangle 12"/>
          <p:cNvSpPr/>
          <p:nvPr/>
        </p:nvSpPr>
        <p:spPr>
          <a:xfrm>
            <a:off x="-38100" y="0"/>
            <a:ext cx="8194417" cy="6858000"/>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sp>
        <p:nvSpPr>
          <p:cNvPr id="283" name="Freeform 13"/>
          <p:cNvSpPr>
            <a:spLocks noEditPoints="1"/>
          </p:cNvSpPr>
          <p:nvPr/>
        </p:nvSpPr>
        <p:spPr bwMode="auto">
          <a:xfrm>
            <a:off x="6900128" y="2685140"/>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4" name="Group 283"/>
          <p:cNvGrpSpPr/>
          <p:nvPr/>
        </p:nvGrpSpPr>
        <p:grpSpPr>
          <a:xfrm>
            <a:off x="5451819" y="1516154"/>
            <a:ext cx="443138" cy="543236"/>
            <a:chOff x="4096052" y="1976584"/>
            <a:chExt cx="383609" cy="470261"/>
          </a:xfrm>
          <a:solidFill>
            <a:schemeClr val="bg1"/>
          </a:solidFill>
        </p:grpSpPr>
        <p:grpSp>
          <p:nvGrpSpPr>
            <p:cNvPr id="381" name="Group 380"/>
            <p:cNvGrpSpPr/>
            <p:nvPr/>
          </p:nvGrpSpPr>
          <p:grpSpPr>
            <a:xfrm>
              <a:off x="4178949" y="2152072"/>
              <a:ext cx="226797" cy="216647"/>
              <a:chOff x="4188185" y="1976581"/>
              <a:chExt cx="371765" cy="392139"/>
            </a:xfrm>
            <a:grpFill/>
          </p:grpSpPr>
          <p:sp>
            <p:nvSpPr>
              <p:cNvPr id="383" name="Left Brace 382"/>
              <p:cNvSpPr/>
              <p:nvPr/>
            </p:nvSpPr>
            <p:spPr>
              <a:xfrm>
                <a:off x="4188185"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4" name="Left Brace 383"/>
              <p:cNvSpPr/>
              <p:nvPr/>
            </p:nvSpPr>
            <p:spPr>
              <a:xfrm rot="10800000">
                <a:off x="4446803" y="1976581"/>
                <a:ext cx="113147" cy="392139"/>
              </a:xfrm>
              <a:prstGeom prst="leftBrace">
                <a:avLst>
                  <a:gd name="adj1" fmla="val 36058"/>
                  <a:gd name="adj2" fmla="val 50000"/>
                </a:avLst>
              </a:prstGeom>
              <a:noFill/>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82" name="Freeform 17"/>
            <p:cNvSpPr>
              <a:spLocks noEditPoints="1"/>
            </p:cNvSpPr>
            <p:nvPr/>
          </p:nvSpPr>
          <p:spPr bwMode="auto">
            <a:xfrm>
              <a:off x="4096052" y="1976584"/>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5" name="Freeform 21"/>
          <p:cNvSpPr>
            <a:spLocks noEditPoints="1"/>
          </p:cNvSpPr>
          <p:nvPr/>
        </p:nvSpPr>
        <p:spPr bwMode="auto">
          <a:xfrm>
            <a:off x="5730432" y="3237518"/>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86" name="Group 285"/>
          <p:cNvGrpSpPr/>
          <p:nvPr/>
        </p:nvGrpSpPr>
        <p:grpSpPr>
          <a:xfrm>
            <a:off x="6276199" y="4084960"/>
            <a:ext cx="763492" cy="590627"/>
            <a:chOff x="-2193925" y="3687517"/>
            <a:chExt cx="1093787" cy="846138"/>
          </a:xfrm>
          <a:solidFill>
            <a:schemeClr val="bg1"/>
          </a:solidFill>
        </p:grpSpPr>
        <p:sp>
          <p:nvSpPr>
            <p:cNvPr id="378" name="Freeform 57"/>
            <p:cNvSpPr>
              <a:spLocks noEditPoints="1"/>
            </p:cNvSpPr>
            <p:nvPr/>
          </p:nvSpPr>
          <p:spPr bwMode="auto">
            <a:xfrm>
              <a:off x="-2193925" y="3687517"/>
              <a:ext cx="1093787" cy="846138"/>
            </a:xfrm>
            <a:custGeom>
              <a:avLst/>
              <a:gdLst>
                <a:gd name="T0" fmla="*/ 1385 w 1623"/>
                <a:gd name="T1" fmla="*/ 277 h 1253"/>
                <a:gd name="T2" fmla="*/ 983 w 1623"/>
                <a:gd name="T3" fmla="*/ 4 h 1253"/>
                <a:gd name="T4" fmla="*/ 531 w 1623"/>
                <a:gd name="T5" fmla="*/ 253 h 1253"/>
                <a:gd name="T6" fmla="*/ 145 w 1623"/>
                <a:gd name="T7" fmla="*/ 436 h 1253"/>
                <a:gd name="T8" fmla="*/ 7 w 1623"/>
                <a:gd name="T9" fmla="*/ 524 h 1253"/>
                <a:gd name="T10" fmla="*/ 111 w 1623"/>
                <a:gd name="T11" fmla="*/ 785 h 1253"/>
                <a:gd name="T12" fmla="*/ 188 w 1623"/>
                <a:gd name="T13" fmla="*/ 1101 h 1253"/>
                <a:gd name="T14" fmla="*/ 478 w 1623"/>
                <a:gd name="T15" fmla="*/ 1103 h 1253"/>
                <a:gd name="T16" fmla="*/ 713 w 1623"/>
                <a:gd name="T17" fmla="*/ 1251 h 1253"/>
                <a:gd name="T18" fmla="*/ 1004 w 1623"/>
                <a:gd name="T19" fmla="*/ 1148 h 1253"/>
                <a:gd name="T20" fmla="*/ 1060 w 1623"/>
                <a:gd name="T21" fmla="*/ 953 h 1253"/>
                <a:gd name="T22" fmla="*/ 1264 w 1623"/>
                <a:gd name="T23" fmla="*/ 814 h 1253"/>
                <a:gd name="T24" fmla="*/ 1566 w 1623"/>
                <a:gd name="T25" fmla="*/ 249 h 1253"/>
                <a:gd name="T26" fmla="*/ 893 w 1623"/>
                <a:gd name="T27" fmla="*/ 1098 h 1253"/>
                <a:gd name="T28" fmla="*/ 1183 w 1623"/>
                <a:gd name="T29" fmla="*/ 850 h 1253"/>
                <a:gd name="T30" fmla="*/ 1221 w 1623"/>
                <a:gd name="T31" fmla="*/ 793 h 1253"/>
                <a:gd name="T32" fmla="*/ 1108 w 1623"/>
                <a:gd name="T33" fmla="*/ 684 h 1253"/>
                <a:gd name="T34" fmla="*/ 1100 w 1623"/>
                <a:gd name="T35" fmla="*/ 782 h 1253"/>
                <a:gd name="T36" fmla="*/ 967 w 1623"/>
                <a:gd name="T37" fmla="*/ 759 h 1253"/>
                <a:gd name="T38" fmla="*/ 908 w 1623"/>
                <a:gd name="T39" fmla="*/ 749 h 1253"/>
                <a:gd name="T40" fmla="*/ 815 w 1623"/>
                <a:gd name="T41" fmla="*/ 1106 h 1253"/>
                <a:gd name="T42" fmla="*/ 601 w 1623"/>
                <a:gd name="T43" fmla="*/ 1092 h 1253"/>
                <a:gd name="T44" fmla="*/ 679 w 1623"/>
                <a:gd name="T45" fmla="*/ 918 h 1253"/>
                <a:gd name="T46" fmla="*/ 484 w 1623"/>
                <a:gd name="T47" fmla="*/ 964 h 1253"/>
                <a:gd name="T48" fmla="*/ 458 w 1623"/>
                <a:gd name="T49" fmla="*/ 929 h 1253"/>
                <a:gd name="T50" fmla="*/ 408 w 1623"/>
                <a:gd name="T51" fmla="*/ 1176 h 1253"/>
                <a:gd name="T52" fmla="*/ 253 w 1623"/>
                <a:gd name="T53" fmla="*/ 989 h 1253"/>
                <a:gd name="T54" fmla="*/ 489 w 1623"/>
                <a:gd name="T55" fmla="*/ 325 h 1253"/>
                <a:gd name="T56" fmla="*/ 418 w 1623"/>
                <a:gd name="T57" fmla="*/ 757 h 1253"/>
                <a:gd name="T58" fmla="*/ 796 w 1623"/>
                <a:gd name="T59" fmla="*/ 760 h 1253"/>
                <a:gd name="T60" fmla="*/ 806 w 1623"/>
                <a:gd name="T61" fmla="*/ 354 h 1253"/>
                <a:gd name="T62" fmla="*/ 783 w 1623"/>
                <a:gd name="T63" fmla="*/ 709 h 1253"/>
                <a:gd name="T64" fmla="*/ 473 w 1623"/>
                <a:gd name="T65" fmla="*/ 706 h 1253"/>
                <a:gd name="T66" fmla="*/ 449 w 1623"/>
                <a:gd name="T67" fmla="*/ 632 h 1253"/>
                <a:gd name="T68" fmla="*/ 690 w 1623"/>
                <a:gd name="T69" fmla="*/ 206 h 1253"/>
                <a:gd name="T70" fmla="*/ 779 w 1623"/>
                <a:gd name="T71" fmla="*/ 117 h 1253"/>
                <a:gd name="T72" fmla="*/ 1215 w 1623"/>
                <a:gd name="T73" fmla="*/ 191 h 1253"/>
                <a:gd name="T74" fmla="*/ 1270 w 1623"/>
                <a:gd name="T75" fmla="*/ 320 h 1253"/>
                <a:gd name="T76" fmla="*/ 1328 w 1623"/>
                <a:gd name="T77" fmla="*/ 366 h 1253"/>
                <a:gd name="T78" fmla="*/ 1234 w 1623"/>
                <a:gd name="T79" fmla="*/ 442 h 1253"/>
                <a:gd name="T80" fmla="*/ 1278 w 1623"/>
                <a:gd name="T81" fmla="*/ 465 h 1253"/>
                <a:gd name="T82" fmla="*/ 1305 w 1623"/>
                <a:gd name="T83" fmla="*/ 455 h 1253"/>
                <a:gd name="T84" fmla="*/ 1342 w 1623"/>
                <a:gd name="T85" fmla="*/ 498 h 1253"/>
                <a:gd name="T86" fmla="*/ 1360 w 1623"/>
                <a:gd name="T87" fmla="*/ 521 h 1253"/>
                <a:gd name="T88" fmla="*/ 1553 w 1623"/>
                <a:gd name="T89" fmla="*/ 560 h 1253"/>
                <a:gd name="T90" fmla="*/ 1108 w 1623"/>
                <a:gd name="T91" fmla="*/ 684 h 1253"/>
                <a:gd name="T92" fmla="*/ 1306 w 1623"/>
                <a:gd name="T93" fmla="*/ 338 h 1253"/>
                <a:gd name="T94" fmla="*/ 1407 w 1623"/>
                <a:gd name="T95" fmla="*/ 319 h 1253"/>
                <a:gd name="T96" fmla="*/ 189 w 1623"/>
                <a:gd name="T97" fmla="*/ 1037 h 1253"/>
                <a:gd name="T98" fmla="*/ 144 w 1623"/>
                <a:gd name="T99" fmla="*/ 869 h 1253"/>
                <a:gd name="T100" fmla="*/ 189 w 1623"/>
                <a:gd name="T101" fmla="*/ 1037 h 1253"/>
                <a:gd name="T102" fmla="*/ 101 w 1623"/>
                <a:gd name="T103" fmla="*/ 572 h 1253"/>
                <a:gd name="T104" fmla="*/ 47 w 1623"/>
                <a:gd name="T105" fmla="*/ 519 h 1253"/>
                <a:gd name="T106" fmla="*/ 118 w 1623"/>
                <a:gd name="T107" fmla="*/ 521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3" h="1253">
                  <a:moveTo>
                    <a:pt x="1566" y="249"/>
                  </a:moveTo>
                  <a:cubicBezTo>
                    <a:pt x="1557" y="224"/>
                    <a:pt x="1536" y="208"/>
                    <a:pt x="1504" y="200"/>
                  </a:cubicBezTo>
                  <a:cubicBezTo>
                    <a:pt x="1482" y="194"/>
                    <a:pt x="1463" y="201"/>
                    <a:pt x="1450" y="219"/>
                  </a:cubicBezTo>
                  <a:cubicBezTo>
                    <a:pt x="1442" y="230"/>
                    <a:pt x="1434" y="242"/>
                    <a:pt x="1425" y="253"/>
                  </a:cubicBezTo>
                  <a:cubicBezTo>
                    <a:pt x="1416" y="266"/>
                    <a:pt x="1403" y="275"/>
                    <a:pt x="1387" y="280"/>
                  </a:cubicBezTo>
                  <a:cubicBezTo>
                    <a:pt x="1386" y="279"/>
                    <a:pt x="1385" y="278"/>
                    <a:pt x="1385" y="277"/>
                  </a:cubicBezTo>
                  <a:cubicBezTo>
                    <a:pt x="1361" y="228"/>
                    <a:pt x="1329" y="193"/>
                    <a:pt x="1288" y="168"/>
                  </a:cubicBezTo>
                  <a:cubicBezTo>
                    <a:pt x="1273" y="159"/>
                    <a:pt x="1258" y="148"/>
                    <a:pt x="1244" y="136"/>
                  </a:cubicBezTo>
                  <a:cubicBezTo>
                    <a:pt x="1239" y="132"/>
                    <a:pt x="1239" y="132"/>
                    <a:pt x="1239" y="132"/>
                  </a:cubicBezTo>
                  <a:cubicBezTo>
                    <a:pt x="1227" y="123"/>
                    <a:pt x="1215" y="113"/>
                    <a:pt x="1204" y="103"/>
                  </a:cubicBezTo>
                  <a:cubicBezTo>
                    <a:pt x="1183" y="86"/>
                    <a:pt x="1163" y="69"/>
                    <a:pt x="1141" y="53"/>
                  </a:cubicBezTo>
                  <a:cubicBezTo>
                    <a:pt x="1090" y="17"/>
                    <a:pt x="1037" y="0"/>
                    <a:pt x="983" y="4"/>
                  </a:cubicBezTo>
                  <a:cubicBezTo>
                    <a:pt x="841" y="15"/>
                    <a:pt x="743" y="64"/>
                    <a:pt x="676" y="158"/>
                  </a:cubicBezTo>
                  <a:cubicBezTo>
                    <a:pt x="671" y="164"/>
                    <a:pt x="665" y="168"/>
                    <a:pt x="655" y="171"/>
                  </a:cubicBezTo>
                  <a:cubicBezTo>
                    <a:pt x="636" y="177"/>
                    <a:pt x="618" y="185"/>
                    <a:pt x="604" y="196"/>
                  </a:cubicBezTo>
                  <a:cubicBezTo>
                    <a:pt x="593" y="204"/>
                    <a:pt x="583" y="214"/>
                    <a:pt x="573" y="223"/>
                  </a:cubicBezTo>
                  <a:cubicBezTo>
                    <a:pt x="566" y="229"/>
                    <a:pt x="560" y="236"/>
                    <a:pt x="553" y="242"/>
                  </a:cubicBezTo>
                  <a:cubicBezTo>
                    <a:pt x="546" y="247"/>
                    <a:pt x="538" y="252"/>
                    <a:pt x="531" y="253"/>
                  </a:cubicBezTo>
                  <a:cubicBezTo>
                    <a:pt x="517" y="257"/>
                    <a:pt x="503" y="259"/>
                    <a:pt x="490" y="262"/>
                  </a:cubicBezTo>
                  <a:cubicBezTo>
                    <a:pt x="473" y="265"/>
                    <a:pt x="455" y="269"/>
                    <a:pt x="438" y="273"/>
                  </a:cubicBezTo>
                  <a:cubicBezTo>
                    <a:pt x="315" y="305"/>
                    <a:pt x="225" y="370"/>
                    <a:pt x="163" y="470"/>
                  </a:cubicBezTo>
                  <a:cubicBezTo>
                    <a:pt x="159" y="478"/>
                    <a:pt x="153" y="485"/>
                    <a:pt x="147" y="491"/>
                  </a:cubicBezTo>
                  <a:cubicBezTo>
                    <a:pt x="148" y="489"/>
                    <a:pt x="148" y="486"/>
                    <a:pt x="148" y="484"/>
                  </a:cubicBezTo>
                  <a:cubicBezTo>
                    <a:pt x="150" y="467"/>
                    <a:pt x="151" y="450"/>
                    <a:pt x="145" y="436"/>
                  </a:cubicBezTo>
                  <a:cubicBezTo>
                    <a:pt x="136" y="416"/>
                    <a:pt x="136" y="401"/>
                    <a:pt x="144" y="381"/>
                  </a:cubicBezTo>
                  <a:cubicBezTo>
                    <a:pt x="146" y="378"/>
                    <a:pt x="144" y="375"/>
                    <a:pt x="143" y="374"/>
                  </a:cubicBezTo>
                  <a:cubicBezTo>
                    <a:pt x="141" y="370"/>
                    <a:pt x="141" y="370"/>
                    <a:pt x="141" y="370"/>
                  </a:cubicBezTo>
                  <a:cubicBezTo>
                    <a:pt x="137" y="371"/>
                    <a:pt x="137" y="371"/>
                    <a:pt x="137" y="371"/>
                  </a:cubicBezTo>
                  <a:cubicBezTo>
                    <a:pt x="86" y="372"/>
                    <a:pt x="10" y="437"/>
                    <a:pt x="2" y="486"/>
                  </a:cubicBezTo>
                  <a:cubicBezTo>
                    <a:pt x="0" y="501"/>
                    <a:pt x="4" y="517"/>
                    <a:pt x="7" y="524"/>
                  </a:cubicBezTo>
                  <a:cubicBezTo>
                    <a:pt x="12" y="538"/>
                    <a:pt x="19" y="552"/>
                    <a:pt x="25" y="565"/>
                  </a:cubicBezTo>
                  <a:cubicBezTo>
                    <a:pt x="28" y="571"/>
                    <a:pt x="30" y="577"/>
                    <a:pt x="33" y="582"/>
                  </a:cubicBezTo>
                  <a:cubicBezTo>
                    <a:pt x="46" y="611"/>
                    <a:pt x="69" y="626"/>
                    <a:pt x="101" y="625"/>
                  </a:cubicBezTo>
                  <a:cubicBezTo>
                    <a:pt x="103" y="625"/>
                    <a:pt x="106" y="625"/>
                    <a:pt x="108" y="625"/>
                  </a:cubicBezTo>
                  <a:cubicBezTo>
                    <a:pt x="103" y="672"/>
                    <a:pt x="104" y="721"/>
                    <a:pt x="112" y="775"/>
                  </a:cubicBezTo>
                  <a:cubicBezTo>
                    <a:pt x="112" y="778"/>
                    <a:pt x="112" y="782"/>
                    <a:pt x="111" y="785"/>
                  </a:cubicBezTo>
                  <a:cubicBezTo>
                    <a:pt x="102" y="811"/>
                    <a:pt x="93" y="836"/>
                    <a:pt x="71" y="853"/>
                  </a:cubicBezTo>
                  <a:cubicBezTo>
                    <a:pt x="66" y="857"/>
                    <a:pt x="62" y="861"/>
                    <a:pt x="57" y="866"/>
                  </a:cubicBezTo>
                  <a:cubicBezTo>
                    <a:pt x="53" y="870"/>
                    <a:pt x="50" y="874"/>
                    <a:pt x="45" y="877"/>
                  </a:cubicBezTo>
                  <a:cubicBezTo>
                    <a:pt x="21" y="896"/>
                    <a:pt x="22" y="920"/>
                    <a:pt x="26" y="943"/>
                  </a:cubicBezTo>
                  <a:cubicBezTo>
                    <a:pt x="39" y="1008"/>
                    <a:pt x="112" y="1082"/>
                    <a:pt x="193" y="1088"/>
                  </a:cubicBezTo>
                  <a:cubicBezTo>
                    <a:pt x="192" y="1093"/>
                    <a:pt x="190" y="1097"/>
                    <a:pt x="188" y="1101"/>
                  </a:cubicBezTo>
                  <a:cubicBezTo>
                    <a:pt x="177" y="1128"/>
                    <a:pt x="176" y="1147"/>
                    <a:pt x="183" y="1163"/>
                  </a:cubicBezTo>
                  <a:cubicBezTo>
                    <a:pt x="190" y="1178"/>
                    <a:pt x="205" y="1189"/>
                    <a:pt x="229" y="1197"/>
                  </a:cubicBezTo>
                  <a:cubicBezTo>
                    <a:pt x="280" y="1213"/>
                    <a:pt x="327" y="1224"/>
                    <a:pt x="371" y="1231"/>
                  </a:cubicBezTo>
                  <a:cubicBezTo>
                    <a:pt x="403" y="1235"/>
                    <a:pt x="426" y="1231"/>
                    <a:pt x="441" y="1218"/>
                  </a:cubicBezTo>
                  <a:cubicBezTo>
                    <a:pt x="456" y="1205"/>
                    <a:pt x="464" y="1182"/>
                    <a:pt x="464" y="1149"/>
                  </a:cubicBezTo>
                  <a:cubicBezTo>
                    <a:pt x="464" y="1130"/>
                    <a:pt x="468" y="1116"/>
                    <a:pt x="478" y="1103"/>
                  </a:cubicBezTo>
                  <a:cubicBezTo>
                    <a:pt x="498" y="1077"/>
                    <a:pt x="505" y="1053"/>
                    <a:pt x="502" y="1027"/>
                  </a:cubicBezTo>
                  <a:cubicBezTo>
                    <a:pt x="559" y="1027"/>
                    <a:pt x="559" y="1027"/>
                    <a:pt x="559" y="1027"/>
                  </a:cubicBezTo>
                  <a:cubicBezTo>
                    <a:pt x="544" y="1043"/>
                    <a:pt x="539" y="1063"/>
                    <a:pt x="546" y="1085"/>
                  </a:cubicBezTo>
                  <a:cubicBezTo>
                    <a:pt x="565" y="1148"/>
                    <a:pt x="598" y="1198"/>
                    <a:pt x="645" y="1236"/>
                  </a:cubicBezTo>
                  <a:cubicBezTo>
                    <a:pt x="659" y="1247"/>
                    <a:pt x="677" y="1253"/>
                    <a:pt x="697" y="1253"/>
                  </a:cubicBezTo>
                  <a:cubicBezTo>
                    <a:pt x="702" y="1253"/>
                    <a:pt x="707" y="1252"/>
                    <a:pt x="713" y="1251"/>
                  </a:cubicBezTo>
                  <a:cubicBezTo>
                    <a:pt x="739" y="1247"/>
                    <a:pt x="762" y="1233"/>
                    <a:pt x="774" y="1213"/>
                  </a:cubicBezTo>
                  <a:cubicBezTo>
                    <a:pt x="786" y="1194"/>
                    <a:pt x="802" y="1180"/>
                    <a:pt x="819" y="1165"/>
                  </a:cubicBezTo>
                  <a:cubicBezTo>
                    <a:pt x="822" y="1162"/>
                    <a:pt x="822" y="1162"/>
                    <a:pt x="822" y="1162"/>
                  </a:cubicBezTo>
                  <a:cubicBezTo>
                    <a:pt x="841" y="1145"/>
                    <a:pt x="856" y="1137"/>
                    <a:pt x="884" y="1143"/>
                  </a:cubicBezTo>
                  <a:cubicBezTo>
                    <a:pt x="912" y="1149"/>
                    <a:pt x="941" y="1149"/>
                    <a:pt x="969" y="1148"/>
                  </a:cubicBezTo>
                  <a:cubicBezTo>
                    <a:pt x="980" y="1148"/>
                    <a:pt x="992" y="1147"/>
                    <a:pt x="1004" y="1148"/>
                  </a:cubicBezTo>
                  <a:cubicBezTo>
                    <a:pt x="1028" y="1148"/>
                    <a:pt x="1047" y="1141"/>
                    <a:pt x="1059" y="1127"/>
                  </a:cubicBezTo>
                  <a:cubicBezTo>
                    <a:pt x="1073" y="1111"/>
                    <a:pt x="1077" y="1085"/>
                    <a:pt x="1071" y="1052"/>
                  </a:cubicBezTo>
                  <a:cubicBezTo>
                    <a:pt x="1070" y="1047"/>
                    <a:pt x="1070" y="1042"/>
                    <a:pt x="1069" y="1037"/>
                  </a:cubicBezTo>
                  <a:cubicBezTo>
                    <a:pt x="1066" y="1026"/>
                    <a:pt x="1064" y="1014"/>
                    <a:pt x="1063" y="1002"/>
                  </a:cubicBezTo>
                  <a:cubicBezTo>
                    <a:pt x="1062" y="996"/>
                    <a:pt x="1062" y="990"/>
                    <a:pt x="1062" y="983"/>
                  </a:cubicBezTo>
                  <a:cubicBezTo>
                    <a:pt x="1063" y="973"/>
                    <a:pt x="1063" y="963"/>
                    <a:pt x="1060" y="953"/>
                  </a:cubicBezTo>
                  <a:cubicBezTo>
                    <a:pt x="1053" y="926"/>
                    <a:pt x="1043" y="899"/>
                    <a:pt x="1035" y="872"/>
                  </a:cubicBezTo>
                  <a:cubicBezTo>
                    <a:pt x="1031" y="863"/>
                    <a:pt x="1028" y="854"/>
                    <a:pt x="1025" y="844"/>
                  </a:cubicBezTo>
                  <a:cubicBezTo>
                    <a:pt x="1035" y="852"/>
                    <a:pt x="1045" y="861"/>
                    <a:pt x="1054" y="869"/>
                  </a:cubicBezTo>
                  <a:cubicBezTo>
                    <a:pt x="1057" y="872"/>
                    <a:pt x="1060" y="875"/>
                    <a:pt x="1063" y="877"/>
                  </a:cubicBezTo>
                  <a:cubicBezTo>
                    <a:pt x="1091" y="902"/>
                    <a:pt x="1121" y="912"/>
                    <a:pt x="1154" y="905"/>
                  </a:cubicBezTo>
                  <a:cubicBezTo>
                    <a:pt x="1210" y="895"/>
                    <a:pt x="1247" y="864"/>
                    <a:pt x="1264" y="814"/>
                  </a:cubicBezTo>
                  <a:cubicBezTo>
                    <a:pt x="1266" y="807"/>
                    <a:pt x="1268" y="801"/>
                    <a:pt x="1270" y="794"/>
                  </a:cubicBezTo>
                  <a:cubicBezTo>
                    <a:pt x="1270" y="792"/>
                    <a:pt x="1271" y="791"/>
                    <a:pt x="1271" y="790"/>
                  </a:cubicBezTo>
                  <a:cubicBezTo>
                    <a:pt x="1275" y="790"/>
                    <a:pt x="1278" y="790"/>
                    <a:pt x="1282" y="791"/>
                  </a:cubicBezTo>
                  <a:cubicBezTo>
                    <a:pt x="1293" y="792"/>
                    <a:pt x="1303" y="793"/>
                    <a:pt x="1313" y="793"/>
                  </a:cubicBezTo>
                  <a:cubicBezTo>
                    <a:pt x="1451" y="803"/>
                    <a:pt x="1553" y="734"/>
                    <a:pt x="1591" y="604"/>
                  </a:cubicBezTo>
                  <a:cubicBezTo>
                    <a:pt x="1623" y="492"/>
                    <a:pt x="1615" y="376"/>
                    <a:pt x="1566" y="249"/>
                  </a:cubicBezTo>
                  <a:close/>
                  <a:moveTo>
                    <a:pt x="1023" y="1090"/>
                  </a:moveTo>
                  <a:cubicBezTo>
                    <a:pt x="1018" y="1098"/>
                    <a:pt x="1008" y="1102"/>
                    <a:pt x="994" y="1102"/>
                  </a:cubicBezTo>
                  <a:cubicBezTo>
                    <a:pt x="994" y="1102"/>
                    <a:pt x="994" y="1102"/>
                    <a:pt x="994" y="1102"/>
                  </a:cubicBezTo>
                  <a:cubicBezTo>
                    <a:pt x="967" y="1102"/>
                    <a:pt x="938" y="1101"/>
                    <a:pt x="909" y="1100"/>
                  </a:cubicBezTo>
                  <a:cubicBezTo>
                    <a:pt x="904" y="1100"/>
                    <a:pt x="899" y="1099"/>
                    <a:pt x="893" y="1098"/>
                  </a:cubicBezTo>
                  <a:cubicBezTo>
                    <a:pt x="893" y="1098"/>
                    <a:pt x="893" y="1098"/>
                    <a:pt x="893" y="1098"/>
                  </a:cubicBezTo>
                  <a:cubicBezTo>
                    <a:pt x="939" y="1043"/>
                    <a:pt x="972" y="978"/>
                    <a:pt x="996" y="897"/>
                  </a:cubicBezTo>
                  <a:cubicBezTo>
                    <a:pt x="1009" y="927"/>
                    <a:pt x="1016" y="958"/>
                    <a:pt x="1016" y="994"/>
                  </a:cubicBezTo>
                  <a:cubicBezTo>
                    <a:pt x="1016" y="999"/>
                    <a:pt x="1016" y="999"/>
                    <a:pt x="1016" y="999"/>
                  </a:cubicBezTo>
                  <a:cubicBezTo>
                    <a:pt x="1016" y="1020"/>
                    <a:pt x="1016" y="1041"/>
                    <a:pt x="1024" y="1063"/>
                  </a:cubicBezTo>
                  <a:cubicBezTo>
                    <a:pt x="1028" y="1074"/>
                    <a:pt x="1028" y="1084"/>
                    <a:pt x="1023" y="1090"/>
                  </a:cubicBezTo>
                  <a:close/>
                  <a:moveTo>
                    <a:pt x="1183" y="850"/>
                  </a:moveTo>
                  <a:cubicBezTo>
                    <a:pt x="1196" y="841"/>
                    <a:pt x="1196" y="841"/>
                    <a:pt x="1196" y="841"/>
                  </a:cubicBezTo>
                  <a:cubicBezTo>
                    <a:pt x="1191" y="845"/>
                    <a:pt x="1186" y="849"/>
                    <a:pt x="1180" y="852"/>
                  </a:cubicBezTo>
                  <a:cubicBezTo>
                    <a:pt x="1181" y="851"/>
                    <a:pt x="1182" y="850"/>
                    <a:pt x="1183" y="850"/>
                  </a:cubicBezTo>
                  <a:close/>
                  <a:moveTo>
                    <a:pt x="1196" y="841"/>
                  </a:moveTo>
                  <a:cubicBezTo>
                    <a:pt x="1182" y="839"/>
                    <a:pt x="1182" y="839"/>
                    <a:pt x="1182" y="839"/>
                  </a:cubicBezTo>
                  <a:cubicBezTo>
                    <a:pt x="1203" y="833"/>
                    <a:pt x="1217" y="817"/>
                    <a:pt x="1221" y="793"/>
                  </a:cubicBezTo>
                  <a:cubicBezTo>
                    <a:pt x="1222" y="791"/>
                    <a:pt x="1222" y="791"/>
                    <a:pt x="1222" y="791"/>
                  </a:cubicBezTo>
                  <a:cubicBezTo>
                    <a:pt x="1223" y="786"/>
                    <a:pt x="1223" y="781"/>
                    <a:pt x="1225" y="777"/>
                  </a:cubicBezTo>
                  <a:cubicBezTo>
                    <a:pt x="1226" y="777"/>
                    <a:pt x="1227" y="776"/>
                    <a:pt x="1228" y="775"/>
                  </a:cubicBezTo>
                  <a:cubicBezTo>
                    <a:pt x="1229" y="776"/>
                    <a:pt x="1229" y="777"/>
                    <a:pt x="1230" y="778"/>
                  </a:cubicBezTo>
                  <a:cubicBezTo>
                    <a:pt x="1224" y="806"/>
                    <a:pt x="1213" y="826"/>
                    <a:pt x="1196" y="841"/>
                  </a:cubicBezTo>
                  <a:close/>
                  <a:moveTo>
                    <a:pt x="1108" y="684"/>
                  </a:moveTo>
                  <a:cubicBezTo>
                    <a:pt x="1108" y="693"/>
                    <a:pt x="1108" y="693"/>
                    <a:pt x="1108" y="693"/>
                  </a:cubicBezTo>
                  <a:cubicBezTo>
                    <a:pt x="1108" y="695"/>
                    <a:pt x="1108" y="697"/>
                    <a:pt x="1108" y="699"/>
                  </a:cubicBezTo>
                  <a:cubicBezTo>
                    <a:pt x="1108" y="702"/>
                    <a:pt x="1108" y="704"/>
                    <a:pt x="1108" y="707"/>
                  </a:cubicBezTo>
                  <a:cubicBezTo>
                    <a:pt x="1108" y="712"/>
                    <a:pt x="1107" y="716"/>
                    <a:pt x="1107" y="721"/>
                  </a:cubicBezTo>
                  <a:cubicBezTo>
                    <a:pt x="1106" y="735"/>
                    <a:pt x="1105" y="749"/>
                    <a:pt x="1104" y="763"/>
                  </a:cubicBezTo>
                  <a:cubicBezTo>
                    <a:pt x="1103" y="769"/>
                    <a:pt x="1101" y="775"/>
                    <a:pt x="1100" y="782"/>
                  </a:cubicBezTo>
                  <a:cubicBezTo>
                    <a:pt x="1098" y="790"/>
                    <a:pt x="1096" y="799"/>
                    <a:pt x="1095" y="807"/>
                  </a:cubicBezTo>
                  <a:cubicBezTo>
                    <a:pt x="1094" y="831"/>
                    <a:pt x="1102" y="847"/>
                    <a:pt x="1120" y="855"/>
                  </a:cubicBezTo>
                  <a:cubicBezTo>
                    <a:pt x="1134" y="861"/>
                    <a:pt x="1146" y="863"/>
                    <a:pt x="1158" y="860"/>
                  </a:cubicBezTo>
                  <a:cubicBezTo>
                    <a:pt x="1134" y="867"/>
                    <a:pt x="1112" y="860"/>
                    <a:pt x="1086" y="838"/>
                  </a:cubicBezTo>
                  <a:cubicBezTo>
                    <a:pt x="1084" y="836"/>
                    <a:pt x="1082" y="835"/>
                    <a:pt x="1080" y="833"/>
                  </a:cubicBezTo>
                  <a:cubicBezTo>
                    <a:pt x="1049" y="804"/>
                    <a:pt x="1014" y="774"/>
                    <a:pt x="967" y="759"/>
                  </a:cubicBezTo>
                  <a:cubicBezTo>
                    <a:pt x="954" y="755"/>
                    <a:pt x="941" y="747"/>
                    <a:pt x="927" y="739"/>
                  </a:cubicBezTo>
                  <a:cubicBezTo>
                    <a:pt x="921" y="735"/>
                    <a:pt x="914" y="730"/>
                    <a:pt x="906" y="726"/>
                  </a:cubicBezTo>
                  <a:cubicBezTo>
                    <a:pt x="886" y="715"/>
                    <a:pt x="886" y="715"/>
                    <a:pt x="886" y="715"/>
                  </a:cubicBezTo>
                  <a:cubicBezTo>
                    <a:pt x="898" y="735"/>
                    <a:pt x="898" y="735"/>
                    <a:pt x="898" y="735"/>
                  </a:cubicBezTo>
                  <a:cubicBezTo>
                    <a:pt x="900" y="737"/>
                    <a:pt x="901" y="738"/>
                    <a:pt x="901" y="740"/>
                  </a:cubicBezTo>
                  <a:cubicBezTo>
                    <a:pt x="903" y="743"/>
                    <a:pt x="905" y="746"/>
                    <a:pt x="908" y="749"/>
                  </a:cubicBezTo>
                  <a:cubicBezTo>
                    <a:pt x="912" y="753"/>
                    <a:pt x="917" y="756"/>
                    <a:pt x="921" y="760"/>
                  </a:cubicBezTo>
                  <a:cubicBezTo>
                    <a:pt x="935" y="772"/>
                    <a:pt x="950" y="785"/>
                    <a:pt x="966" y="795"/>
                  </a:cubicBezTo>
                  <a:cubicBezTo>
                    <a:pt x="975" y="801"/>
                    <a:pt x="978" y="806"/>
                    <a:pt x="975" y="815"/>
                  </a:cubicBezTo>
                  <a:cubicBezTo>
                    <a:pt x="953" y="919"/>
                    <a:pt x="918" y="998"/>
                    <a:pt x="866" y="1064"/>
                  </a:cubicBezTo>
                  <a:cubicBezTo>
                    <a:pt x="862" y="1069"/>
                    <a:pt x="857" y="1074"/>
                    <a:pt x="852" y="1078"/>
                  </a:cubicBezTo>
                  <a:cubicBezTo>
                    <a:pt x="840" y="1087"/>
                    <a:pt x="827" y="1097"/>
                    <a:pt x="815" y="1106"/>
                  </a:cubicBezTo>
                  <a:cubicBezTo>
                    <a:pt x="796" y="1121"/>
                    <a:pt x="776" y="1137"/>
                    <a:pt x="757" y="1153"/>
                  </a:cubicBezTo>
                  <a:cubicBezTo>
                    <a:pt x="750" y="1158"/>
                    <a:pt x="745" y="1165"/>
                    <a:pt x="740" y="1172"/>
                  </a:cubicBezTo>
                  <a:cubicBezTo>
                    <a:pt x="739" y="1174"/>
                    <a:pt x="738" y="1175"/>
                    <a:pt x="737" y="1177"/>
                  </a:cubicBezTo>
                  <a:cubicBezTo>
                    <a:pt x="725" y="1193"/>
                    <a:pt x="711" y="1202"/>
                    <a:pt x="697" y="1202"/>
                  </a:cubicBezTo>
                  <a:cubicBezTo>
                    <a:pt x="684" y="1203"/>
                    <a:pt x="671" y="1196"/>
                    <a:pt x="660" y="1183"/>
                  </a:cubicBezTo>
                  <a:cubicBezTo>
                    <a:pt x="640" y="1158"/>
                    <a:pt x="620" y="1128"/>
                    <a:pt x="601" y="1092"/>
                  </a:cubicBezTo>
                  <a:cubicBezTo>
                    <a:pt x="590" y="1071"/>
                    <a:pt x="593" y="1064"/>
                    <a:pt x="616" y="1051"/>
                  </a:cubicBezTo>
                  <a:cubicBezTo>
                    <a:pt x="629" y="1043"/>
                    <a:pt x="642" y="1035"/>
                    <a:pt x="655" y="1028"/>
                  </a:cubicBezTo>
                  <a:cubicBezTo>
                    <a:pt x="659" y="1025"/>
                    <a:pt x="664" y="1022"/>
                    <a:pt x="668" y="1019"/>
                  </a:cubicBezTo>
                  <a:cubicBezTo>
                    <a:pt x="690" y="1044"/>
                    <a:pt x="690" y="1044"/>
                    <a:pt x="690" y="1044"/>
                  </a:cubicBezTo>
                  <a:cubicBezTo>
                    <a:pt x="690" y="924"/>
                    <a:pt x="690" y="924"/>
                    <a:pt x="690" y="924"/>
                  </a:cubicBezTo>
                  <a:cubicBezTo>
                    <a:pt x="679" y="918"/>
                    <a:pt x="679" y="918"/>
                    <a:pt x="679" y="918"/>
                  </a:cubicBezTo>
                  <a:cubicBezTo>
                    <a:pt x="676" y="924"/>
                    <a:pt x="676" y="924"/>
                    <a:pt x="676" y="924"/>
                  </a:cubicBezTo>
                  <a:cubicBezTo>
                    <a:pt x="675" y="928"/>
                    <a:pt x="673" y="932"/>
                    <a:pt x="672" y="936"/>
                  </a:cubicBezTo>
                  <a:cubicBezTo>
                    <a:pt x="668" y="945"/>
                    <a:pt x="665" y="955"/>
                    <a:pt x="660" y="963"/>
                  </a:cubicBezTo>
                  <a:cubicBezTo>
                    <a:pt x="658" y="968"/>
                    <a:pt x="652" y="973"/>
                    <a:pt x="649" y="974"/>
                  </a:cubicBezTo>
                  <a:cubicBezTo>
                    <a:pt x="599" y="983"/>
                    <a:pt x="547" y="984"/>
                    <a:pt x="493" y="976"/>
                  </a:cubicBezTo>
                  <a:cubicBezTo>
                    <a:pt x="491" y="975"/>
                    <a:pt x="486" y="969"/>
                    <a:pt x="484" y="964"/>
                  </a:cubicBezTo>
                  <a:cubicBezTo>
                    <a:pt x="481" y="955"/>
                    <a:pt x="479" y="945"/>
                    <a:pt x="477" y="935"/>
                  </a:cubicBezTo>
                  <a:cubicBezTo>
                    <a:pt x="477" y="931"/>
                    <a:pt x="476" y="927"/>
                    <a:pt x="475" y="923"/>
                  </a:cubicBezTo>
                  <a:cubicBezTo>
                    <a:pt x="474" y="918"/>
                    <a:pt x="474" y="918"/>
                    <a:pt x="474" y="918"/>
                  </a:cubicBezTo>
                  <a:cubicBezTo>
                    <a:pt x="459" y="918"/>
                    <a:pt x="459" y="918"/>
                    <a:pt x="459" y="918"/>
                  </a:cubicBezTo>
                  <a:cubicBezTo>
                    <a:pt x="459" y="924"/>
                    <a:pt x="459" y="924"/>
                    <a:pt x="459" y="924"/>
                  </a:cubicBezTo>
                  <a:cubicBezTo>
                    <a:pt x="458" y="925"/>
                    <a:pt x="458" y="927"/>
                    <a:pt x="458" y="929"/>
                  </a:cubicBezTo>
                  <a:cubicBezTo>
                    <a:pt x="458" y="933"/>
                    <a:pt x="457" y="937"/>
                    <a:pt x="457" y="941"/>
                  </a:cubicBezTo>
                  <a:cubicBezTo>
                    <a:pt x="457" y="947"/>
                    <a:pt x="457" y="953"/>
                    <a:pt x="457" y="959"/>
                  </a:cubicBezTo>
                  <a:cubicBezTo>
                    <a:pt x="457" y="980"/>
                    <a:pt x="457" y="1001"/>
                    <a:pt x="457" y="1022"/>
                  </a:cubicBezTo>
                  <a:cubicBezTo>
                    <a:pt x="458" y="1041"/>
                    <a:pt x="453" y="1058"/>
                    <a:pt x="441" y="1075"/>
                  </a:cubicBezTo>
                  <a:cubicBezTo>
                    <a:pt x="425" y="1098"/>
                    <a:pt x="410" y="1124"/>
                    <a:pt x="412" y="1158"/>
                  </a:cubicBezTo>
                  <a:cubicBezTo>
                    <a:pt x="412" y="1167"/>
                    <a:pt x="411" y="1173"/>
                    <a:pt x="408" y="1176"/>
                  </a:cubicBezTo>
                  <a:cubicBezTo>
                    <a:pt x="405" y="1180"/>
                    <a:pt x="398" y="1181"/>
                    <a:pt x="387" y="1181"/>
                  </a:cubicBezTo>
                  <a:cubicBezTo>
                    <a:pt x="387" y="1181"/>
                    <a:pt x="387" y="1181"/>
                    <a:pt x="387" y="1181"/>
                  </a:cubicBezTo>
                  <a:cubicBezTo>
                    <a:pt x="339" y="1181"/>
                    <a:pt x="295" y="1168"/>
                    <a:pt x="255" y="1154"/>
                  </a:cubicBezTo>
                  <a:cubicBezTo>
                    <a:pt x="233" y="1147"/>
                    <a:pt x="230" y="1139"/>
                    <a:pt x="237" y="1113"/>
                  </a:cubicBezTo>
                  <a:cubicBezTo>
                    <a:pt x="245" y="1085"/>
                    <a:pt x="253" y="1054"/>
                    <a:pt x="260" y="1016"/>
                  </a:cubicBezTo>
                  <a:cubicBezTo>
                    <a:pt x="262" y="1006"/>
                    <a:pt x="255" y="993"/>
                    <a:pt x="253" y="989"/>
                  </a:cubicBezTo>
                  <a:cubicBezTo>
                    <a:pt x="203" y="910"/>
                    <a:pt x="172" y="841"/>
                    <a:pt x="157" y="771"/>
                  </a:cubicBezTo>
                  <a:cubicBezTo>
                    <a:pt x="136" y="673"/>
                    <a:pt x="153" y="573"/>
                    <a:pt x="207" y="489"/>
                  </a:cubicBezTo>
                  <a:cubicBezTo>
                    <a:pt x="263" y="403"/>
                    <a:pt x="353" y="340"/>
                    <a:pt x="453" y="319"/>
                  </a:cubicBezTo>
                  <a:cubicBezTo>
                    <a:pt x="470" y="315"/>
                    <a:pt x="485" y="312"/>
                    <a:pt x="500" y="311"/>
                  </a:cubicBezTo>
                  <a:cubicBezTo>
                    <a:pt x="499" y="313"/>
                    <a:pt x="498" y="314"/>
                    <a:pt x="496" y="315"/>
                  </a:cubicBezTo>
                  <a:cubicBezTo>
                    <a:pt x="489" y="325"/>
                    <a:pt x="489" y="325"/>
                    <a:pt x="489" y="325"/>
                  </a:cubicBezTo>
                  <a:cubicBezTo>
                    <a:pt x="446" y="375"/>
                    <a:pt x="401" y="426"/>
                    <a:pt x="371" y="488"/>
                  </a:cubicBezTo>
                  <a:cubicBezTo>
                    <a:pt x="347" y="537"/>
                    <a:pt x="351" y="577"/>
                    <a:pt x="383" y="618"/>
                  </a:cubicBezTo>
                  <a:cubicBezTo>
                    <a:pt x="400" y="639"/>
                    <a:pt x="413" y="663"/>
                    <a:pt x="427" y="687"/>
                  </a:cubicBezTo>
                  <a:cubicBezTo>
                    <a:pt x="430" y="692"/>
                    <a:pt x="428" y="702"/>
                    <a:pt x="427" y="709"/>
                  </a:cubicBezTo>
                  <a:cubicBezTo>
                    <a:pt x="426" y="717"/>
                    <a:pt x="424" y="724"/>
                    <a:pt x="423" y="732"/>
                  </a:cubicBezTo>
                  <a:cubicBezTo>
                    <a:pt x="421" y="740"/>
                    <a:pt x="419" y="748"/>
                    <a:pt x="418" y="757"/>
                  </a:cubicBezTo>
                  <a:cubicBezTo>
                    <a:pt x="417" y="764"/>
                    <a:pt x="421" y="773"/>
                    <a:pt x="426" y="778"/>
                  </a:cubicBezTo>
                  <a:cubicBezTo>
                    <a:pt x="440" y="793"/>
                    <a:pt x="453" y="807"/>
                    <a:pt x="468" y="819"/>
                  </a:cubicBezTo>
                  <a:cubicBezTo>
                    <a:pt x="512" y="856"/>
                    <a:pt x="561" y="861"/>
                    <a:pt x="614" y="835"/>
                  </a:cubicBezTo>
                  <a:cubicBezTo>
                    <a:pt x="625" y="829"/>
                    <a:pt x="636" y="823"/>
                    <a:pt x="647" y="817"/>
                  </a:cubicBezTo>
                  <a:cubicBezTo>
                    <a:pt x="663" y="808"/>
                    <a:pt x="680" y="798"/>
                    <a:pt x="697" y="791"/>
                  </a:cubicBezTo>
                  <a:cubicBezTo>
                    <a:pt x="729" y="778"/>
                    <a:pt x="764" y="768"/>
                    <a:pt x="796" y="760"/>
                  </a:cubicBezTo>
                  <a:cubicBezTo>
                    <a:pt x="807" y="757"/>
                    <a:pt x="815" y="753"/>
                    <a:pt x="820" y="740"/>
                  </a:cubicBezTo>
                  <a:cubicBezTo>
                    <a:pt x="840" y="685"/>
                    <a:pt x="846" y="627"/>
                    <a:pt x="838" y="569"/>
                  </a:cubicBezTo>
                  <a:cubicBezTo>
                    <a:pt x="832" y="519"/>
                    <a:pt x="824" y="469"/>
                    <a:pt x="817" y="421"/>
                  </a:cubicBezTo>
                  <a:cubicBezTo>
                    <a:pt x="815" y="404"/>
                    <a:pt x="812" y="387"/>
                    <a:pt x="810" y="370"/>
                  </a:cubicBezTo>
                  <a:cubicBezTo>
                    <a:pt x="810" y="367"/>
                    <a:pt x="809" y="365"/>
                    <a:pt x="808" y="361"/>
                  </a:cubicBezTo>
                  <a:cubicBezTo>
                    <a:pt x="807" y="359"/>
                    <a:pt x="807" y="357"/>
                    <a:pt x="806" y="354"/>
                  </a:cubicBezTo>
                  <a:cubicBezTo>
                    <a:pt x="800" y="330"/>
                    <a:pt x="800" y="330"/>
                    <a:pt x="800" y="330"/>
                  </a:cubicBezTo>
                  <a:cubicBezTo>
                    <a:pt x="794" y="354"/>
                    <a:pt x="794" y="354"/>
                    <a:pt x="794" y="354"/>
                  </a:cubicBezTo>
                  <a:cubicBezTo>
                    <a:pt x="782" y="402"/>
                    <a:pt x="779" y="444"/>
                    <a:pt x="784" y="488"/>
                  </a:cubicBezTo>
                  <a:cubicBezTo>
                    <a:pt x="786" y="504"/>
                    <a:pt x="788" y="520"/>
                    <a:pt x="790" y="535"/>
                  </a:cubicBezTo>
                  <a:cubicBezTo>
                    <a:pt x="793" y="561"/>
                    <a:pt x="796" y="587"/>
                    <a:pt x="799" y="613"/>
                  </a:cubicBezTo>
                  <a:cubicBezTo>
                    <a:pt x="802" y="648"/>
                    <a:pt x="796" y="681"/>
                    <a:pt x="783" y="709"/>
                  </a:cubicBezTo>
                  <a:cubicBezTo>
                    <a:pt x="781" y="714"/>
                    <a:pt x="775" y="720"/>
                    <a:pt x="771" y="720"/>
                  </a:cubicBezTo>
                  <a:cubicBezTo>
                    <a:pt x="729" y="727"/>
                    <a:pt x="692" y="744"/>
                    <a:pt x="659" y="763"/>
                  </a:cubicBezTo>
                  <a:cubicBezTo>
                    <a:pt x="651" y="767"/>
                    <a:pt x="644" y="771"/>
                    <a:pt x="637" y="775"/>
                  </a:cubicBezTo>
                  <a:cubicBezTo>
                    <a:pt x="625" y="781"/>
                    <a:pt x="613" y="787"/>
                    <a:pt x="601" y="794"/>
                  </a:cubicBezTo>
                  <a:cubicBezTo>
                    <a:pt x="560" y="815"/>
                    <a:pt x="520" y="810"/>
                    <a:pt x="486" y="779"/>
                  </a:cubicBezTo>
                  <a:cubicBezTo>
                    <a:pt x="458" y="752"/>
                    <a:pt x="456" y="740"/>
                    <a:pt x="473" y="706"/>
                  </a:cubicBezTo>
                  <a:cubicBezTo>
                    <a:pt x="489" y="675"/>
                    <a:pt x="507" y="644"/>
                    <a:pt x="524" y="613"/>
                  </a:cubicBezTo>
                  <a:cubicBezTo>
                    <a:pt x="532" y="600"/>
                    <a:pt x="539" y="587"/>
                    <a:pt x="547" y="573"/>
                  </a:cubicBezTo>
                  <a:cubicBezTo>
                    <a:pt x="548" y="571"/>
                    <a:pt x="551" y="566"/>
                    <a:pt x="548" y="558"/>
                  </a:cubicBezTo>
                  <a:cubicBezTo>
                    <a:pt x="544" y="548"/>
                    <a:pt x="544" y="548"/>
                    <a:pt x="544" y="548"/>
                  </a:cubicBezTo>
                  <a:cubicBezTo>
                    <a:pt x="461" y="650"/>
                    <a:pt x="461" y="650"/>
                    <a:pt x="461" y="650"/>
                  </a:cubicBezTo>
                  <a:cubicBezTo>
                    <a:pt x="449" y="632"/>
                    <a:pt x="449" y="632"/>
                    <a:pt x="449" y="632"/>
                  </a:cubicBezTo>
                  <a:cubicBezTo>
                    <a:pt x="435" y="614"/>
                    <a:pt x="422" y="596"/>
                    <a:pt x="409" y="578"/>
                  </a:cubicBezTo>
                  <a:cubicBezTo>
                    <a:pt x="396" y="560"/>
                    <a:pt x="394" y="542"/>
                    <a:pt x="403" y="521"/>
                  </a:cubicBezTo>
                  <a:cubicBezTo>
                    <a:pt x="427" y="468"/>
                    <a:pt x="452" y="428"/>
                    <a:pt x="482" y="396"/>
                  </a:cubicBezTo>
                  <a:cubicBezTo>
                    <a:pt x="515" y="361"/>
                    <a:pt x="548" y="324"/>
                    <a:pt x="580" y="288"/>
                  </a:cubicBezTo>
                  <a:cubicBezTo>
                    <a:pt x="593" y="273"/>
                    <a:pt x="607" y="258"/>
                    <a:pt x="620" y="243"/>
                  </a:cubicBezTo>
                  <a:cubicBezTo>
                    <a:pt x="639" y="222"/>
                    <a:pt x="662" y="210"/>
                    <a:pt x="690" y="206"/>
                  </a:cubicBezTo>
                  <a:cubicBezTo>
                    <a:pt x="716" y="203"/>
                    <a:pt x="741" y="199"/>
                    <a:pt x="765" y="194"/>
                  </a:cubicBezTo>
                  <a:cubicBezTo>
                    <a:pt x="776" y="192"/>
                    <a:pt x="787" y="190"/>
                    <a:pt x="798" y="188"/>
                  </a:cubicBezTo>
                  <a:cubicBezTo>
                    <a:pt x="804" y="187"/>
                    <a:pt x="804" y="187"/>
                    <a:pt x="804" y="187"/>
                  </a:cubicBezTo>
                  <a:cubicBezTo>
                    <a:pt x="801" y="174"/>
                    <a:pt x="801" y="174"/>
                    <a:pt x="801" y="174"/>
                  </a:cubicBezTo>
                  <a:cubicBezTo>
                    <a:pt x="723" y="174"/>
                    <a:pt x="723" y="174"/>
                    <a:pt x="723" y="174"/>
                  </a:cubicBezTo>
                  <a:cubicBezTo>
                    <a:pt x="740" y="151"/>
                    <a:pt x="757" y="131"/>
                    <a:pt x="779" y="117"/>
                  </a:cubicBezTo>
                  <a:cubicBezTo>
                    <a:pt x="852" y="74"/>
                    <a:pt x="917" y="53"/>
                    <a:pt x="983" y="50"/>
                  </a:cubicBezTo>
                  <a:cubicBezTo>
                    <a:pt x="1028" y="48"/>
                    <a:pt x="1067" y="58"/>
                    <a:pt x="1099" y="80"/>
                  </a:cubicBezTo>
                  <a:cubicBezTo>
                    <a:pt x="1130" y="101"/>
                    <a:pt x="1159" y="124"/>
                    <a:pt x="1190" y="149"/>
                  </a:cubicBezTo>
                  <a:cubicBezTo>
                    <a:pt x="1201" y="157"/>
                    <a:pt x="1212" y="166"/>
                    <a:pt x="1223" y="175"/>
                  </a:cubicBezTo>
                  <a:cubicBezTo>
                    <a:pt x="1189" y="190"/>
                    <a:pt x="1189" y="190"/>
                    <a:pt x="1189" y="190"/>
                  </a:cubicBezTo>
                  <a:cubicBezTo>
                    <a:pt x="1215" y="191"/>
                    <a:pt x="1215" y="191"/>
                    <a:pt x="1215" y="191"/>
                  </a:cubicBezTo>
                  <a:cubicBezTo>
                    <a:pt x="1244" y="192"/>
                    <a:pt x="1270" y="203"/>
                    <a:pt x="1289" y="222"/>
                  </a:cubicBezTo>
                  <a:cubicBezTo>
                    <a:pt x="1306" y="239"/>
                    <a:pt x="1320" y="260"/>
                    <a:pt x="1332" y="280"/>
                  </a:cubicBezTo>
                  <a:cubicBezTo>
                    <a:pt x="1313" y="279"/>
                    <a:pt x="1298" y="287"/>
                    <a:pt x="1283" y="295"/>
                  </a:cubicBezTo>
                  <a:cubicBezTo>
                    <a:pt x="1275" y="299"/>
                    <a:pt x="1267" y="303"/>
                    <a:pt x="1259" y="305"/>
                  </a:cubicBezTo>
                  <a:cubicBezTo>
                    <a:pt x="1240" y="311"/>
                    <a:pt x="1240" y="311"/>
                    <a:pt x="1240" y="311"/>
                  </a:cubicBezTo>
                  <a:cubicBezTo>
                    <a:pt x="1270" y="320"/>
                    <a:pt x="1270" y="320"/>
                    <a:pt x="1270" y="320"/>
                  </a:cubicBezTo>
                  <a:cubicBezTo>
                    <a:pt x="1273" y="350"/>
                    <a:pt x="1273" y="350"/>
                    <a:pt x="1273" y="350"/>
                  </a:cubicBezTo>
                  <a:cubicBezTo>
                    <a:pt x="1271" y="351"/>
                    <a:pt x="1271" y="351"/>
                    <a:pt x="1271" y="351"/>
                  </a:cubicBezTo>
                  <a:cubicBezTo>
                    <a:pt x="1273" y="366"/>
                    <a:pt x="1273" y="366"/>
                    <a:pt x="1273" y="366"/>
                  </a:cubicBezTo>
                  <a:cubicBezTo>
                    <a:pt x="1279" y="366"/>
                    <a:pt x="1279" y="366"/>
                    <a:pt x="1279" y="366"/>
                  </a:cubicBezTo>
                  <a:cubicBezTo>
                    <a:pt x="1283" y="366"/>
                    <a:pt x="1288" y="366"/>
                    <a:pt x="1293" y="366"/>
                  </a:cubicBezTo>
                  <a:cubicBezTo>
                    <a:pt x="1305" y="366"/>
                    <a:pt x="1316" y="366"/>
                    <a:pt x="1328" y="366"/>
                  </a:cubicBezTo>
                  <a:cubicBezTo>
                    <a:pt x="1331" y="365"/>
                    <a:pt x="1336" y="366"/>
                    <a:pt x="1338" y="368"/>
                  </a:cubicBezTo>
                  <a:cubicBezTo>
                    <a:pt x="1339" y="369"/>
                    <a:pt x="1340" y="371"/>
                    <a:pt x="1340" y="372"/>
                  </a:cubicBezTo>
                  <a:cubicBezTo>
                    <a:pt x="1338" y="372"/>
                    <a:pt x="1335" y="372"/>
                    <a:pt x="1333" y="372"/>
                  </a:cubicBezTo>
                  <a:cubicBezTo>
                    <a:pt x="1323" y="372"/>
                    <a:pt x="1312" y="371"/>
                    <a:pt x="1302" y="373"/>
                  </a:cubicBezTo>
                  <a:cubicBezTo>
                    <a:pt x="1269" y="376"/>
                    <a:pt x="1247" y="396"/>
                    <a:pt x="1238" y="428"/>
                  </a:cubicBezTo>
                  <a:cubicBezTo>
                    <a:pt x="1237" y="433"/>
                    <a:pt x="1236" y="438"/>
                    <a:pt x="1234" y="442"/>
                  </a:cubicBezTo>
                  <a:cubicBezTo>
                    <a:pt x="1232" y="449"/>
                    <a:pt x="1230" y="455"/>
                    <a:pt x="1228" y="462"/>
                  </a:cubicBezTo>
                  <a:cubicBezTo>
                    <a:pt x="1223" y="488"/>
                    <a:pt x="1223" y="488"/>
                    <a:pt x="1223" y="488"/>
                  </a:cubicBezTo>
                  <a:cubicBezTo>
                    <a:pt x="1239" y="467"/>
                    <a:pt x="1239" y="467"/>
                    <a:pt x="1239" y="467"/>
                  </a:cubicBezTo>
                  <a:cubicBezTo>
                    <a:pt x="1244" y="460"/>
                    <a:pt x="1249" y="452"/>
                    <a:pt x="1254" y="444"/>
                  </a:cubicBezTo>
                  <a:cubicBezTo>
                    <a:pt x="1264" y="425"/>
                    <a:pt x="1274" y="409"/>
                    <a:pt x="1294" y="403"/>
                  </a:cubicBezTo>
                  <a:cubicBezTo>
                    <a:pt x="1281" y="422"/>
                    <a:pt x="1280" y="444"/>
                    <a:pt x="1278" y="465"/>
                  </a:cubicBezTo>
                  <a:cubicBezTo>
                    <a:pt x="1277" y="477"/>
                    <a:pt x="1276" y="489"/>
                    <a:pt x="1273" y="500"/>
                  </a:cubicBezTo>
                  <a:cubicBezTo>
                    <a:pt x="1271" y="505"/>
                    <a:pt x="1271" y="505"/>
                    <a:pt x="1271" y="505"/>
                  </a:cubicBezTo>
                  <a:cubicBezTo>
                    <a:pt x="1286" y="510"/>
                    <a:pt x="1286" y="510"/>
                    <a:pt x="1286" y="510"/>
                  </a:cubicBezTo>
                  <a:cubicBezTo>
                    <a:pt x="1288" y="505"/>
                    <a:pt x="1288" y="505"/>
                    <a:pt x="1288" y="505"/>
                  </a:cubicBezTo>
                  <a:cubicBezTo>
                    <a:pt x="1290" y="500"/>
                    <a:pt x="1292" y="495"/>
                    <a:pt x="1293" y="490"/>
                  </a:cubicBezTo>
                  <a:cubicBezTo>
                    <a:pt x="1297" y="478"/>
                    <a:pt x="1301" y="467"/>
                    <a:pt x="1305" y="455"/>
                  </a:cubicBezTo>
                  <a:cubicBezTo>
                    <a:pt x="1310" y="437"/>
                    <a:pt x="1316" y="422"/>
                    <a:pt x="1331" y="413"/>
                  </a:cubicBezTo>
                  <a:cubicBezTo>
                    <a:pt x="1335" y="411"/>
                    <a:pt x="1339" y="410"/>
                    <a:pt x="1344" y="409"/>
                  </a:cubicBezTo>
                  <a:cubicBezTo>
                    <a:pt x="1345" y="409"/>
                    <a:pt x="1345" y="409"/>
                    <a:pt x="1346" y="409"/>
                  </a:cubicBezTo>
                  <a:cubicBezTo>
                    <a:pt x="1346" y="409"/>
                    <a:pt x="1346" y="409"/>
                    <a:pt x="1346" y="409"/>
                  </a:cubicBezTo>
                  <a:cubicBezTo>
                    <a:pt x="1347" y="413"/>
                    <a:pt x="1349" y="417"/>
                    <a:pt x="1349" y="420"/>
                  </a:cubicBezTo>
                  <a:cubicBezTo>
                    <a:pt x="1347" y="446"/>
                    <a:pt x="1345" y="472"/>
                    <a:pt x="1342" y="498"/>
                  </a:cubicBezTo>
                  <a:cubicBezTo>
                    <a:pt x="1340" y="518"/>
                    <a:pt x="1340" y="518"/>
                    <a:pt x="1340" y="518"/>
                  </a:cubicBezTo>
                  <a:cubicBezTo>
                    <a:pt x="1340" y="522"/>
                    <a:pt x="1339" y="528"/>
                    <a:pt x="1342" y="535"/>
                  </a:cubicBezTo>
                  <a:cubicBezTo>
                    <a:pt x="1347" y="547"/>
                    <a:pt x="1347" y="547"/>
                    <a:pt x="1347" y="547"/>
                  </a:cubicBezTo>
                  <a:cubicBezTo>
                    <a:pt x="1353" y="535"/>
                    <a:pt x="1353" y="535"/>
                    <a:pt x="1353" y="535"/>
                  </a:cubicBezTo>
                  <a:cubicBezTo>
                    <a:pt x="1354" y="534"/>
                    <a:pt x="1354" y="533"/>
                    <a:pt x="1355" y="532"/>
                  </a:cubicBezTo>
                  <a:cubicBezTo>
                    <a:pt x="1357" y="528"/>
                    <a:pt x="1359" y="525"/>
                    <a:pt x="1360" y="521"/>
                  </a:cubicBezTo>
                  <a:cubicBezTo>
                    <a:pt x="1375" y="476"/>
                    <a:pt x="1389" y="423"/>
                    <a:pt x="1380" y="365"/>
                  </a:cubicBezTo>
                  <a:cubicBezTo>
                    <a:pt x="1377" y="347"/>
                    <a:pt x="1376" y="338"/>
                    <a:pt x="1381" y="332"/>
                  </a:cubicBezTo>
                  <a:cubicBezTo>
                    <a:pt x="1435" y="365"/>
                    <a:pt x="1506" y="301"/>
                    <a:pt x="1508" y="247"/>
                  </a:cubicBezTo>
                  <a:cubicBezTo>
                    <a:pt x="1515" y="252"/>
                    <a:pt x="1520" y="261"/>
                    <a:pt x="1524" y="269"/>
                  </a:cubicBezTo>
                  <a:cubicBezTo>
                    <a:pt x="1532" y="286"/>
                    <a:pt x="1538" y="307"/>
                    <a:pt x="1544" y="331"/>
                  </a:cubicBezTo>
                  <a:cubicBezTo>
                    <a:pt x="1564" y="419"/>
                    <a:pt x="1567" y="492"/>
                    <a:pt x="1553" y="560"/>
                  </a:cubicBezTo>
                  <a:cubicBezTo>
                    <a:pt x="1543" y="606"/>
                    <a:pt x="1524" y="647"/>
                    <a:pt x="1496" y="680"/>
                  </a:cubicBezTo>
                  <a:cubicBezTo>
                    <a:pt x="1454" y="729"/>
                    <a:pt x="1398" y="751"/>
                    <a:pt x="1325" y="747"/>
                  </a:cubicBezTo>
                  <a:cubicBezTo>
                    <a:pt x="1268" y="744"/>
                    <a:pt x="1213" y="727"/>
                    <a:pt x="1161" y="709"/>
                  </a:cubicBezTo>
                  <a:cubicBezTo>
                    <a:pt x="1151" y="706"/>
                    <a:pt x="1141" y="701"/>
                    <a:pt x="1132" y="696"/>
                  </a:cubicBezTo>
                  <a:cubicBezTo>
                    <a:pt x="1127" y="693"/>
                    <a:pt x="1122" y="691"/>
                    <a:pt x="1117" y="688"/>
                  </a:cubicBezTo>
                  <a:lnTo>
                    <a:pt x="1108" y="684"/>
                  </a:lnTo>
                  <a:close/>
                  <a:moveTo>
                    <a:pt x="1283" y="343"/>
                  </a:moveTo>
                  <a:cubicBezTo>
                    <a:pt x="1285" y="342"/>
                    <a:pt x="1286" y="340"/>
                    <a:pt x="1287" y="338"/>
                  </a:cubicBezTo>
                  <a:cubicBezTo>
                    <a:pt x="1288" y="336"/>
                    <a:pt x="1289" y="334"/>
                    <a:pt x="1290" y="334"/>
                  </a:cubicBezTo>
                  <a:cubicBezTo>
                    <a:pt x="1293" y="332"/>
                    <a:pt x="1297" y="332"/>
                    <a:pt x="1299" y="332"/>
                  </a:cubicBezTo>
                  <a:cubicBezTo>
                    <a:pt x="1300" y="332"/>
                    <a:pt x="1301" y="332"/>
                    <a:pt x="1302" y="332"/>
                  </a:cubicBezTo>
                  <a:cubicBezTo>
                    <a:pt x="1304" y="333"/>
                    <a:pt x="1306" y="337"/>
                    <a:pt x="1306" y="338"/>
                  </a:cubicBezTo>
                  <a:cubicBezTo>
                    <a:pt x="1305" y="339"/>
                    <a:pt x="1302" y="341"/>
                    <a:pt x="1298" y="343"/>
                  </a:cubicBezTo>
                  <a:cubicBezTo>
                    <a:pt x="1293" y="345"/>
                    <a:pt x="1288" y="346"/>
                    <a:pt x="1283" y="348"/>
                  </a:cubicBezTo>
                  <a:cubicBezTo>
                    <a:pt x="1282" y="348"/>
                    <a:pt x="1280" y="348"/>
                    <a:pt x="1279" y="349"/>
                  </a:cubicBezTo>
                  <a:lnTo>
                    <a:pt x="1283" y="343"/>
                  </a:lnTo>
                  <a:close/>
                  <a:moveTo>
                    <a:pt x="1382" y="331"/>
                  </a:moveTo>
                  <a:cubicBezTo>
                    <a:pt x="1387" y="327"/>
                    <a:pt x="1395" y="323"/>
                    <a:pt x="1407" y="319"/>
                  </a:cubicBezTo>
                  <a:cubicBezTo>
                    <a:pt x="1428" y="312"/>
                    <a:pt x="1445" y="299"/>
                    <a:pt x="1459" y="281"/>
                  </a:cubicBezTo>
                  <a:cubicBezTo>
                    <a:pt x="1464" y="275"/>
                    <a:pt x="1469" y="269"/>
                    <a:pt x="1474" y="263"/>
                  </a:cubicBezTo>
                  <a:cubicBezTo>
                    <a:pt x="1481" y="254"/>
                    <a:pt x="1492" y="244"/>
                    <a:pt x="1502" y="245"/>
                  </a:cubicBezTo>
                  <a:cubicBezTo>
                    <a:pt x="1504" y="246"/>
                    <a:pt x="1506" y="246"/>
                    <a:pt x="1507" y="247"/>
                  </a:cubicBezTo>
                  <a:cubicBezTo>
                    <a:pt x="1477" y="291"/>
                    <a:pt x="1445" y="333"/>
                    <a:pt x="1382" y="331"/>
                  </a:cubicBezTo>
                  <a:close/>
                  <a:moveTo>
                    <a:pt x="189" y="1037"/>
                  </a:moveTo>
                  <a:cubicBezTo>
                    <a:pt x="186" y="1037"/>
                    <a:pt x="184" y="1037"/>
                    <a:pt x="181" y="1036"/>
                  </a:cubicBezTo>
                  <a:cubicBezTo>
                    <a:pt x="148" y="1027"/>
                    <a:pt x="84" y="985"/>
                    <a:pt x="76" y="932"/>
                  </a:cubicBezTo>
                  <a:cubicBezTo>
                    <a:pt x="74" y="921"/>
                    <a:pt x="76" y="915"/>
                    <a:pt x="82" y="909"/>
                  </a:cubicBezTo>
                  <a:cubicBezTo>
                    <a:pt x="97" y="895"/>
                    <a:pt x="111" y="880"/>
                    <a:pt x="126" y="865"/>
                  </a:cubicBezTo>
                  <a:cubicBezTo>
                    <a:pt x="130" y="860"/>
                    <a:pt x="133" y="856"/>
                    <a:pt x="137" y="851"/>
                  </a:cubicBezTo>
                  <a:cubicBezTo>
                    <a:pt x="139" y="857"/>
                    <a:pt x="142" y="863"/>
                    <a:pt x="144" y="869"/>
                  </a:cubicBezTo>
                  <a:cubicBezTo>
                    <a:pt x="153" y="890"/>
                    <a:pt x="162" y="912"/>
                    <a:pt x="172" y="933"/>
                  </a:cubicBezTo>
                  <a:cubicBezTo>
                    <a:pt x="181" y="951"/>
                    <a:pt x="191" y="969"/>
                    <a:pt x="201" y="985"/>
                  </a:cubicBezTo>
                  <a:cubicBezTo>
                    <a:pt x="204" y="991"/>
                    <a:pt x="207" y="996"/>
                    <a:pt x="210" y="1001"/>
                  </a:cubicBezTo>
                  <a:cubicBezTo>
                    <a:pt x="215" y="1009"/>
                    <a:pt x="215" y="1018"/>
                    <a:pt x="211" y="1025"/>
                  </a:cubicBezTo>
                  <a:cubicBezTo>
                    <a:pt x="206" y="1032"/>
                    <a:pt x="199" y="1037"/>
                    <a:pt x="190" y="1037"/>
                  </a:cubicBezTo>
                  <a:lnTo>
                    <a:pt x="189" y="1037"/>
                  </a:lnTo>
                  <a:close/>
                  <a:moveTo>
                    <a:pt x="85" y="442"/>
                  </a:moveTo>
                  <a:cubicBezTo>
                    <a:pt x="83" y="459"/>
                    <a:pt x="81" y="475"/>
                    <a:pt x="78" y="492"/>
                  </a:cubicBezTo>
                  <a:cubicBezTo>
                    <a:pt x="75" y="505"/>
                    <a:pt x="72" y="514"/>
                    <a:pt x="67" y="519"/>
                  </a:cubicBezTo>
                  <a:cubicBezTo>
                    <a:pt x="53" y="532"/>
                    <a:pt x="61" y="544"/>
                    <a:pt x="65" y="552"/>
                  </a:cubicBezTo>
                  <a:cubicBezTo>
                    <a:pt x="67" y="554"/>
                    <a:pt x="68" y="556"/>
                    <a:pt x="69" y="558"/>
                  </a:cubicBezTo>
                  <a:cubicBezTo>
                    <a:pt x="75" y="572"/>
                    <a:pt x="87" y="577"/>
                    <a:pt x="101" y="572"/>
                  </a:cubicBezTo>
                  <a:cubicBezTo>
                    <a:pt x="111" y="569"/>
                    <a:pt x="121" y="565"/>
                    <a:pt x="131" y="560"/>
                  </a:cubicBezTo>
                  <a:cubicBezTo>
                    <a:pt x="131" y="560"/>
                    <a:pt x="132" y="560"/>
                    <a:pt x="132" y="560"/>
                  </a:cubicBezTo>
                  <a:cubicBezTo>
                    <a:pt x="132" y="560"/>
                    <a:pt x="132" y="560"/>
                    <a:pt x="132" y="560"/>
                  </a:cubicBezTo>
                  <a:cubicBezTo>
                    <a:pt x="129" y="571"/>
                    <a:pt x="127" y="579"/>
                    <a:pt x="113" y="582"/>
                  </a:cubicBezTo>
                  <a:cubicBezTo>
                    <a:pt x="83" y="589"/>
                    <a:pt x="73" y="583"/>
                    <a:pt x="63" y="555"/>
                  </a:cubicBezTo>
                  <a:cubicBezTo>
                    <a:pt x="58" y="543"/>
                    <a:pt x="52" y="531"/>
                    <a:pt x="47" y="519"/>
                  </a:cubicBezTo>
                  <a:cubicBezTo>
                    <a:pt x="46" y="518"/>
                    <a:pt x="46" y="518"/>
                    <a:pt x="46" y="518"/>
                  </a:cubicBezTo>
                  <a:cubicBezTo>
                    <a:pt x="40" y="506"/>
                    <a:pt x="40" y="493"/>
                    <a:pt x="48" y="479"/>
                  </a:cubicBezTo>
                  <a:cubicBezTo>
                    <a:pt x="56" y="462"/>
                    <a:pt x="68" y="448"/>
                    <a:pt x="86" y="434"/>
                  </a:cubicBezTo>
                  <a:cubicBezTo>
                    <a:pt x="86" y="437"/>
                    <a:pt x="85" y="439"/>
                    <a:pt x="85" y="442"/>
                  </a:cubicBezTo>
                  <a:close/>
                  <a:moveTo>
                    <a:pt x="126" y="514"/>
                  </a:moveTo>
                  <a:cubicBezTo>
                    <a:pt x="123" y="516"/>
                    <a:pt x="120" y="519"/>
                    <a:pt x="118" y="521"/>
                  </a:cubicBezTo>
                  <a:cubicBezTo>
                    <a:pt x="115" y="524"/>
                    <a:pt x="111" y="526"/>
                    <a:pt x="107" y="528"/>
                  </a:cubicBezTo>
                  <a:cubicBezTo>
                    <a:pt x="118" y="495"/>
                    <a:pt x="118" y="495"/>
                    <a:pt x="118" y="495"/>
                  </a:cubicBezTo>
                  <a:cubicBezTo>
                    <a:pt x="130" y="510"/>
                    <a:pt x="130" y="510"/>
                    <a:pt x="130" y="510"/>
                  </a:cubicBezTo>
                  <a:cubicBezTo>
                    <a:pt x="128" y="511"/>
                    <a:pt x="127" y="512"/>
                    <a:pt x="126"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9" name="Freeform 58"/>
            <p:cNvSpPr>
              <a:spLocks/>
            </p:cNvSpPr>
            <p:nvPr/>
          </p:nvSpPr>
          <p:spPr bwMode="auto">
            <a:xfrm>
              <a:off x="-1524000" y="3909767"/>
              <a:ext cx="119062" cy="95250"/>
            </a:xfrm>
            <a:custGeom>
              <a:avLst/>
              <a:gdLst>
                <a:gd name="T0" fmla="*/ 150 w 175"/>
                <a:gd name="T1" fmla="*/ 54 h 141"/>
                <a:gd name="T2" fmla="*/ 136 w 175"/>
                <a:gd name="T3" fmla="*/ 49 h 141"/>
                <a:gd name="T4" fmla="*/ 113 w 175"/>
                <a:gd name="T5" fmla="*/ 16 h 141"/>
                <a:gd name="T6" fmla="*/ 128 w 175"/>
                <a:gd name="T7" fmla="*/ 3 h 141"/>
                <a:gd name="T8" fmla="*/ 0 w 175"/>
                <a:gd name="T9" fmla="*/ 91 h 141"/>
                <a:gd name="T10" fmla="*/ 29 w 175"/>
                <a:gd name="T11" fmla="*/ 75 h 141"/>
                <a:gd name="T12" fmla="*/ 44 w 175"/>
                <a:gd name="T13" fmla="*/ 101 h 141"/>
                <a:gd name="T14" fmla="*/ 63 w 175"/>
                <a:gd name="T15" fmla="*/ 71 h 141"/>
                <a:gd name="T16" fmla="*/ 91 w 175"/>
                <a:gd name="T17" fmla="*/ 79 h 141"/>
                <a:gd name="T18" fmla="*/ 49 w 175"/>
                <a:gd name="T19" fmla="*/ 141 h 141"/>
                <a:gd name="T20" fmla="*/ 175 w 175"/>
                <a:gd name="T21" fmla="*/ 54 h 141"/>
                <a:gd name="T22" fmla="*/ 150 w 175"/>
                <a:gd name="T23" fmla="*/ 5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41">
                  <a:moveTo>
                    <a:pt x="150" y="54"/>
                  </a:moveTo>
                  <a:cubicBezTo>
                    <a:pt x="145" y="54"/>
                    <a:pt x="139" y="52"/>
                    <a:pt x="136" y="49"/>
                  </a:cubicBezTo>
                  <a:cubicBezTo>
                    <a:pt x="128" y="39"/>
                    <a:pt x="121" y="27"/>
                    <a:pt x="113" y="16"/>
                  </a:cubicBezTo>
                  <a:cubicBezTo>
                    <a:pt x="118" y="12"/>
                    <a:pt x="123" y="8"/>
                    <a:pt x="128" y="3"/>
                  </a:cubicBezTo>
                  <a:cubicBezTo>
                    <a:pt x="63" y="0"/>
                    <a:pt x="30" y="43"/>
                    <a:pt x="0" y="91"/>
                  </a:cubicBezTo>
                  <a:cubicBezTo>
                    <a:pt x="9" y="86"/>
                    <a:pt x="19" y="80"/>
                    <a:pt x="29" y="75"/>
                  </a:cubicBezTo>
                  <a:cubicBezTo>
                    <a:pt x="34" y="85"/>
                    <a:pt x="39" y="93"/>
                    <a:pt x="44" y="101"/>
                  </a:cubicBezTo>
                  <a:cubicBezTo>
                    <a:pt x="46" y="87"/>
                    <a:pt x="47" y="73"/>
                    <a:pt x="63" y="71"/>
                  </a:cubicBezTo>
                  <a:cubicBezTo>
                    <a:pt x="71" y="70"/>
                    <a:pt x="80" y="76"/>
                    <a:pt x="91" y="79"/>
                  </a:cubicBezTo>
                  <a:cubicBezTo>
                    <a:pt x="48" y="125"/>
                    <a:pt x="48" y="125"/>
                    <a:pt x="49" y="141"/>
                  </a:cubicBezTo>
                  <a:cubicBezTo>
                    <a:pt x="84" y="101"/>
                    <a:pt x="128" y="75"/>
                    <a:pt x="175" y="54"/>
                  </a:cubicBezTo>
                  <a:cubicBezTo>
                    <a:pt x="166" y="53"/>
                    <a:pt x="158" y="55"/>
                    <a:pt x="15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0" name="Freeform 60"/>
            <p:cNvSpPr>
              <a:spLocks/>
            </p:cNvSpPr>
            <p:nvPr/>
          </p:nvSpPr>
          <p:spPr bwMode="auto">
            <a:xfrm>
              <a:off x="-1566863" y="3849442"/>
              <a:ext cx="58737" cy="63500"/>
            </a:xfrm>
            <a:custGeom>
              <a:avLst/>
              <a:gdLst>
                <a:gd name="T0" fmla="*/ 20 w 88"/>
                <a:gd name="T1" fmla="*/ 93 h 93"/>
                <a:gd name="T2" fmla="*/ 88 w 88"/>
                <a:gd name="T3" fmla="*/ 0 h 93"/>
                <a:gd name="T4" fmla="*/ 20 w 88"/>
                <a:gd name="T5" fmla="*/ 93 h 93"/>
              </a:gdLst>
              <a:ahLst/>
              <a:cxnLst>
                <a:cxn ang="0">
                  <a:pos x="T0" y="T1"/>
                </a:cxn>
                <a:cxn ang="0">
                  <a:pos x="T2" y="T3"/>
                </a:cxn>
                <a:cxn ang="0">
                  <a:pos x="T4" y="T5"/>
                </a:cxn>
              </a:cxnLst>
              <a:rect l="0" t="0" r="r" b="b"/>
              <a:pathLst>
                <a:path w="88" h="93">
                  <a:moveTo>
                    <a:pt x="20" y="93"/>
                  </a:moveTo>
                  <a:cubicBezTo>
                    <a:pt x="30" y="50"/>
                    <a:pt x="53" y="21"/>
                    <a:pt x="88" y="0"/>
                  </a:cubicBezTo>
                  <a:cubicBezTo>
                    <a:pt x="39" y="4"/>
                    <a:pt x="0" y="44"/>
                    <a:pt x="2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88" name="Group 287"/>
          <p:cNvGrpSpPr/>
          <p:nvPr/>
        </p:nvGrpSpPr>
        <p:grpSpPr>
          <a:xfrm>
            <a:off x="1527474" y="3837185"/>
            <a:ext cx="387391" cy="454774"/>
            <a:chOff x="1968596" y="3790350"/>
            <a:chExt cx="335351" cy="393683"/>
          </a:xfrm>
        </p:grpSpPr>
        <p:sp>
          <p:nvSpPr>
            <p:cNvPr id="369" name="Left Bracket 368"/>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0" name="Left Bracket 369"/>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71" name="Group 370"/>
            <p:cNvGrpSpPr/>
            <p:nvPr/>
          </p:nvGrpSpPr>
          <p:grpSpPr>
            <a:xfrm>
              <a:off x="2028183" y="3878528"/>
              <a:ext cx="247064" cy="244013"/>
              <a:chOff x="4020820" y="2536426"/>
              <a:chExt cx="1116178" cy="1102393"/>
            </a:xfrm>
          </p:grpSpPr>
          <p:sp>
            <p:nvSpPr>
              <p:cNvPr id="372" name="Rectangle 371"/>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3" name="Rectangle 372"/>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4" name="Rectangle 373"/>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5" name="Rectangle 374"/>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6" name="Rectangle 375"/>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7" name="Rectangle 376"/>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289" name="Freeform 98"/>
          <p:cNvSpPr>
            <a:spLocks noEditPoints="1"/>
          </p:cNvSpPr>
          <p:nvPr/>
        </p:nvSpPr>
        <p:spPr bwMode="auto">
          <a:xfrm>
            <a:off x="579346" y="3897961"/>
            <a:ext cx="604106" cy="378336"/>
          </a:xfrm>
          <a:custGeom>
            <a:avLst/>
            <a:gdLst>
              <a:gd name="T0" fmla="*/ 841 w 1368"/>
              <a:gd name="T1" fmla="*/ 607 h 855"/>
              <a:gd name="T2" fmla="*/ 361 w 1368"/>
              <a:gd name="T3" fmla="*/ 681 h 855"/>
              <a:gd name="T4" fmla="*/ 640 w 1368"/>
              <a:gd name="T5" fmla="*/ 769 h 855"/>
              <a:gd name="T6" fmla="*/ 1127 w 1368"/>
              <a:gd name="T7" fmla="*/ 684 h 855"/>
              <a:gd name="T8" fmla="*/ 841 w 1368"/>
              <a:gd name="T9" fmla="*/ 607 h 855"/>
              <a:gd name="T10" fmla="*/ 681 w 1368"/>
              <a:gd name="T11" fmla="*/ 86 h 855"/>
              <a:gd name="T12" fmla="*/ 96 w 1368"/>
              <a:gd name="T13" fmla="*/ 98 h 855"/>
              <a:gd name="T14" fmla="*/ 206 w 1368"/>
              <a:gd name="T15" fmla="*/ 618 h 855"/>
              <a:gd name="T16" fmla="*/ 791 w 1368"/>
              <a:gd name="T17" fmla="*/ 528 h 855"/>
              <a:gd name="T18" fmla="*/ 681 w 1368"/>
              <a:gd name="T19" fmla="*/ 86 h 855"/>
              <a:gd name="T20" fmla="*/ 713 w 1368"/>
              <a:gd name="T21" fmla="*/ 0 h 855"/>
              <a:gd name="T22" fmla="*/ 756 w 1368"/>
              <a:gd name="T23" fmla="*/ 33 h 855"/>
              <a:gd name="T24" fmla="*/ 879 w 1368"/>
              <a:gd name="T25" fmla="*/ 529 h 855"/>
              <a:gd name="T26" fmla="*/ 1335 w 1368"/>
              <a:gd name="T27" fmla="*/ 652 h 855"/>
              <a:gd name="T28" fmla="*/ 1367 w 1368"/>
              <a:gd name="T29" fmla="*/ 695 h 855"/>
              <a:gd name="T30" fmla="*/ 1331 w 1368"/>
              <a:gd name="T31" fmla="*/ 735 h 855"/>
              <a:gd name="T32" fmla="*/ 645 w 1368"/>
              <a:gd name="T33" fmla="*/ 855 h 855"/>
              <a:gd name="T34" fmla="*/ 637 w 1368"/>
              <a:gd name="T35" fmla="*/ 855 h 855"/>
              <a:gd name="T36" fmla="*/ 624 w 1368"/>
              <a:gd name="T37" fmla="*/ 853 h 855"/>
              <a:gd name="T38" fmla="*/ 160 w 1368"/>
              <a:gd name="T39" fmla="*/ 707 h 855"/>
              <a:gd name="T40" fmla="*/ 160 w 1368"/>
              <a:gd name="T41" fmla="*/ 707 h 855"/>
              <a:gd name="T42" fmla="*/ 159 w 1368"/>
              <a:gd name="T43" fmla="*/ 706 h 855"/>
              <a:gd name="T44" fmla="*/ 131 w 1368"/>
              <a:gd name="T45" fmla="*/ 675 h 855"/>
              <a:gd name="T46" fmla="*/ 2 w 1368"/>
              <a:gd name="T47" fmla="*/ 65 h 855"/>
              <a:gd name="T48" fmla="*/ 11 w 1368"/>
              <a:gd name="T49" fmla="*/ 30 h 855"/>
              <a:gd name="T50" fmla="*/ 43 w 1368"/>
              <a:gd name="T51" fmla="*/ 14 h 855"/>
              <a:gd name="T52" fmla="*/ 713 w 1368"/>
              <a:gd name="T53" fmla="*/ 0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8" h="855">
                <a:moveTo>
                  <a:pt x="841" y="607"/>
                </a:moveTo>
                <a:cubicBezTo>
                  <a:pt x="361" y="681"/>
                  <a:pt x="361" y="681"/>
                  <a:pt x="361" y="681"/>
                </a:cubicBezTo>
                <a:cubicBezTo>
                  <a:pt x="640" y="769"/>
                  <a:pt x="640" y="769"/>
                  <a:pt x="640" y="769"/>
                </a:cubicBezTo>
                <a:cubicBezTo>
                  <a:pt x="1127" y="684"/>
                  <a:pt x="1127" y="684"/>
                  <a:pt x="1127" y="684"/>
                </a:cubicBezTo>
                <a:lnTo>
                  <a:pt x="841" y="607"/>
                </a:lnTo>
                <a:close/>
                <a:moveTo>
                  <a:pt x="681" y="86"/>
                </a:moveTo>
                <a:cubicBezTo>
                  <a:pt x="96" y="98"/>
                  <a:pt x="96" y="98"/>
                  <a:pt x="96" y="98"/>
                </a:cubicBezTo>
                <a:cubicBezTo>
                  <a:pt x="206" y="618"/>
                  <a:pt x="206" y="618"/>
                  <a:pt x="206" y="618"/>
                </a:cubicBezTo>
                <a:cubicBezTo>
                  <a:pt x="791" y="528"/>
                  <a:pt x="791" y="528"/>
                  <a:pt x="791" y="528"/>
                </a:cubicBezTo>
                <a:lnTo>
                  <a:pt x="681" y="86"/>
                </a:lnTo>
                <a:close/>
                <a:moveTo>
                  <a:pt x="713" y="0"/>
                </a:moveTo>
                <a:cubicBezTo>
                  <a:pt x="734" y="0"/>
                  <a:pt x="751" y="13"/>
                  <a:pt x="756" y="33"/>
                </a:cubicBezTo>
                <a:cubicBezTo>
                  <a:pt x="879" y="529"/>
                  <a:pt x="879" y="529"/>
                  <a:pt x="879" y="529"/>
                </a:cubicBezTo>
                <a:cubicBezTo>
                  <a:pt x="1335" y="652"/>
                  <a:pt x="1335" y="652"/>
                  <a:pt x="1335" y="652"/>
                </a:cubicBezTo>
                <a:cubicBezTo>
                  <a:pt x="1354" y="657"/>
                  <a:pt x="1368" y="675"/>
                  <a:pt x="1367" y="695"/>
                </a:cubicBezTo>
                <a:cubicBezTo>
                  <a:pt x="1366" y="715"/>
                  <a:pt x="1351" y="732"/>
                  <a:pt x="1331" y="735"/>
                </a:cubicBezTo>
                <a:cubicBezTo>
                  <a:pt x="645" y="855"/>
                  <a:pt x="645" y="855"/>
                  <a:pt x="645" y="855"/>
                </a:cubicBezTo>
                <a:cubicBezTo>
                  <a:pt x="642" y="855"/>
                  <a:pt x="640" y="855"/>
                  <a:pt x="637" y="855"/>
                </a:cubicBezTo>
                <a:cubicBezTo>
                  <a:pt x="633" y="855"/>
                  <a:pt x="629" y="855"/>
                  <a:pt x="624" y="853"/>
                </a:cubicBezTo>
                <a:cubicBezTo>
                  <a:pt x="160" y="707"/>
                  <a:pt x="160" y="707"/>
                  <a:pt x="160" y="707"/>
                </a:cubicBezTo>
                <a:cubicBezTo>
                  <a:pt x="160" y="707"/>
                  <a:pt x="160" y="707"/>
                  <a:pt x="160" y="707"/>
                </a:cubicBezTo>
                <a:cubicBezTo>
                  <a:pt x="159" y="706"/>
                  <a:pt x="159" y="706"/>
                  <a:pt x="159" y="706"/>
                </a:cubicBezTo>
                <a:cubicBezTo>
                  <a:pt x="145" y="701"/>
                  <a:pt x="134" y="690"/>
                  <a:pt x="131" y="675"/>
                </a:cubicBezTo>
                <a:cubicBezTo>
                  <a:pt x="2" y="65"/>
                  <a:pt x="2" y="65"/>
                  <a:pt x="2" y="65"/>
                </a:cubicBezTo>
                <a:cubicBezTo>
                  <a:pt x="0" y="53"/>
                  <a:pt x="3" y="40"/>
                  <a:pt x="11" y="30"/>
                </a:cubicBezTo>
                <a:cubicBezTo>
                  <a:pt x="19" y="20"/>
                  <a:pt x="30" y="14"/>
                  <a:pt x="43" y="14"/>
                </a:cubicBezTo>
                <a:lnTo>
                  <a:pt x="71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85" name="Group 384"/>
          <p:cNvGrpSpPr/>
          <p:nvPr/>
        </p:nvGrpSpPr>
        <p:grpSpPr>
          <a:xfrm>
            <a:off x="4462854" y="3792560"/>
            <a:ext cx="587487" cy="506454"/>
            <a:chOff x="4462854" y="3792560"/>
            <a:chExt cx="587487" cy="506454"/>
          </a:xfrm>
        </p:grpSpPr>
        <p:grpSp>
          <p:nvGrpSpPr>
            <p:cNvPr id="356" name="Group 355"/>
            <p:cNvGrpSpPr/>
            <p:nvPr/>
          </p:nvGrpSpPr>
          <p:grpSpPr>
            <a:xfrm>
              <a:off x="4618517" y="3926660"/>
              <a:ext cx="271972" cy="271972"/>
              <a:chOff x="5074886" y="3859261"/>
              <a:chExt cx="292608" cy="292608"/>
            </a:xfrm>
          </p:grpSpPr>
          <p:grpSp>
            <p:nvGrpSpPr>
              <p:cNvPr id="358" name="Group 357"/>
              <p:cNvGrpSpPr/>
              <p:nvPr/>
            </p:nvGrpSpPr>
            <p:grpSpPr>
              <a:xfrm>
                <a:off x="5120430" y="3864374"/>
                <a:ext cx="247064" cy="244013"/>
                <a:chOff x="4020820" y="2536426"/>
                <a:chExt cx="1116178" cy="1102393"/>
              </a:xfrm>
            </p:grpSpPr>
            <p:sp>
              <p:nvSpPr>
                <p:cNvPr id="360" name="Rectangle 359"/>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1" name="Rectangle 360"/>
                <p:cNvSpPr/>
                <p:nvPr/>
              </p:nvSpPr>
              <p:spPr bwMode="auto">
                <a:xfrm>
                  <a:off x="4402203"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2" name="Rectangle 361"/>
                <p:cNvSpPr/>
                <p:nvPr/>
              </p:nvSpPr>
              <p:spPr bwMode="auto">
                <a:xfrm>
                  <a:off x="4788181"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3" name="Rectangle 362"/>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4" name="Rectangle 363"/>
                <p:cNvSpPr/>
                <p:nvPr/>
              </p:nvSpPr>
              <p:spPr bwMode="auto">
                <a:xfrm>
                  <a:off x="4402203"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5" name="Rectangle 364"/>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6" name="Rectangle 365"/>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7" name="Rectangle 366"/>
                <p:cNvSpPr/>
                <p:nvPr/>
              </p:nvSpPr>
              <p:spPr bwMode="auto">
                <a:xfrm>
                  <a:off x="4402203"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68" name="Rectangle 367"/>
                <p:cNvSpPr/>
                <p:nvPr/>
              </p:nvSpPr>
              <p:spPr bwMode="auto">
                <a:xfrm>
                  <a:off x="4788181"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cxnSp>
            <p:nvCxnSpPr>
              <p:cNvPr id="359" name="Connector: Elbow 358"/>
              <p:cNvCxnSpPr>
                <a:cxnSpLocks/>
              </p:cNvCxnSpPr>
              <p:nvPr/>
            </p:nvCxnSpPr>
            <p:spPr>
              <a:xfrm rot="16200000" flipH="1">
                <a:off x="5074886" y="3859261"/>
                <a:ext cx="292608" cy="292608"/>
              </a:xfrm>
              <a:prstGeom prst="bentConnector3">
                <a:avLst>
                  <a:gd name="adj1" fmla="val 100311"/>
                </a:avLst>
              </a:prstGeom>
              <a:ln w="2540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57" name="Hexagon 356"/>
            <p:cNvSpPr/>
            <p:nvPr/>
          </p:nvSpPr>
          <p:spPr bwMode="auto">
            <a:xfrm>
              <a:off x="4462854" y="3792560"/>
              <a:ext cx="587487" cy="506454"/>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nvGrpSpPr>
          <p:cNvPr id="291" name="Group 290"/>
          <p:cNvGrpSpPr/>
          <p:nvPr/>
        </p:nvGrpSpPr>
        <p:grpSpPr>
          <a:xfrm>
            <a:off x="4016277" y="4905927"/>
            <a:ext cx="587487" cy="506454"/>
            <a:chOff x="4535184" y="4753986"/>
            <a:chExt cx="508567" cy="438420"/>
          </a:xfrm>
        </p:grpSpPr>
        <p:sp>
          <p:nvSpPr>
            <p:cNvPr id="352" name="Hexagon 351"/>
            <p:cNvSpPr/>
            <p:nvPr/>
          </p:nvSpPr>
          <p:spPr bwMode="auto">
            <a:xfrm>
              <a:off x="4535184" y="4753986"/>
              <a:ext cx="508567" cy="438420"/>
            </a:xfrm>
            <a:prstGeom prst="hexagon">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353" name="Group 352"/>
            <p:cNvGrpSpPr/>
            <p:nvPr/>
          </p:nvGrpSpPr>
          <p:grpSpPr>
            <a:xfrm>
              <a:off x="4597600" y="4844315"/>
              <a:ext cx="383610" cy="279642"/>
              <a:chOff x="4604634" y="4851349"/>
              <a:chExt cx="383610" cy="279642"/>
            </a:xfrm>
          </p:grpSpPr>
          <p:sp>
            <p:nvSpPr>
              <p:cNvPr id="354" name="TextBox 353"/>
              <p:cNvSpPr txBox="1"/>
              <p:nvPr/>
            </p:nvSpPr>
            <p:spPr>
              <a:xfrm>
                <a:off x="4604634" y="4921697"/>
                <a:ext cx="383610" cy="14920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a:ea typeface="+mn-ea"/>
                    <a:cs typeface="+mn-cs"/>
                  </a:rPr>
                  <a:t>01</a:t>
                </a:r>
              </a:p>
            </p:txBody>
          </p:sp>
          <p:sp>
            <p:nvSpPr>
              <p:cNvPr id="355"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92" name="TextBox 291"/>
          <p:cNvSpPr txBox="1"/>
          <p:nvPr/>
        </p:nvSpPr>
        <p:spPr>
          <a:xfrm>
            <a:off x="6520935" y="3155383"/>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sp>
        <p:nvSpPr>
          <p:cNvPr id="293" name="TextBox 292"/>
          <p:cNvSpPr txBox="1"/>
          <p:nvPr/>
        </p:nvSpPr>
        <p:spPr>
          <a:xfrm>
            <a:off x="5067755" y="2119777"/>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DocumentDB</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sp>
        <p:nvSpPr>
          <p:cNvPr id="294" name="TextBox 293"/>
          <p:cNvSpPr txBox="1"/>
          <p:nvPr/>
        </p:nvSpPr>
        <p:spPr>
          <a:xfrm>
            <a:off x="5392683" y="3848760"/>
            <a:ext cx="121126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Learning*</a:t>
            </a:r>
          </a:p>
        </p:txBody>
      </p:sp>
      <p:sp>
        <p:nvSpPr>
          <p:cNvPr id="295" name="TextBox 294"/>
          <p:cNvSpPr txBox="1"/>
          <p:nvPr/>
        </p:nvSpPr>
        <p:spPr>
          <a:xfrm>
            <a:off x="6273368" y="470456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HDInsight*</a:t>
            </a:r>
          </a:p>
        </p:txBody>
      </p:sp>
      <p:grpSp>
        <p:nvGrpSpPr>
          <p:cNvPr id="296" name="Group 295"/>
          <p:cNvGrpSpPr/>
          <p:nvPr/>
        </p:nvGrpSpPr>
        <p:grpSpPr>
          <a:xfrm>
            <a:off x="6754905" y="4783125"/>
            <a:ext cx="814250" cy="834628"/>
            <a:chOff x="6520180" y="4796089"/>
            <a:chExt cx="704868" cy="722509"/>
          </a:xfrm>
        </p:grpSpPr>
        <p:sp>
          <p:nvSpPr>
            <p:cNvPr id="347" name="Hexagon 346"/>
            <p:cNvSpPr/>
            <p:nvPr/>
          </p:nvSpPr>
          <p:spPr bwMode="auto">
            <a:xfrm rot="5400000">
              <a:off x="6527143" y="4880396"/>
              <a:ext cx="681494" cy="512879"/>
            </a:xfrm>
            <a:prstGeom prst="hexagon">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8" name="Rectangle 347"/>
            <p:cNvSpPr/>
            <p:nvPr/>
          </p:nvSpPr>
          <p:spPr bwMode="auto">
            <a:xfrm>
              <a:off x="6520180" y="5312536"/>
              <a:ext cx="704868" cy="206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349" name="Group 348"/>
            <p:cNvGrpSpPr/>
            <p:nvPr/>
          </p:nvGrpSpPr>
          <p:grpSpPr>
            <a:xfrm>
              <a:off x="6675962" y="4905467"/>
              <a:ext cx="385630" cy="470261"/>
              <a:chOff x="7270290" y="4865632"/>
              <a:chExt cx="385630" cy="470261"/>
            </a:xfrm>
          </p:grpSpPr>
          <p:sp>
            <p:nvSpPr>
              <p:cNvPr id="350"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1" name="TextBox 350"/>
              <p:cNvSpPr txBox="1"/>
              <p:nvPr/>
            </p:nvSpPr>
            <p:spPr>
              <a:xfrm>
                <a:off x="7272310" y="5061276"/>
                <a:ext cx="383610" cy="12588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Segoe UI"/>
                    <a:ea typeface="+mn-ea"/>
                    <a:cs typeface="+mn-cs"/>
                  </a:rPr>
                  <a:t>SQL</a:t>
                </a:r>
              </a:p>
            </p:txBody>
          </p:sp>
        </p:grpSp>
      </p:grpSp>
      <p:sp>
        <p:nvSpPr>
          <p:cNvPr id="297" name="TextBox 296"/>
          <p:cNvSpPr txBox="1"/>
          <p:nvPr/>
        </p:nvSpPr>
        <p:spPr>
          <a:xfrm>
            <a:off x="6771851" y="5492381"/>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QL Data Warehouse</a:t>
            </a:r>
          </a:p>
        </p:txBody>
      </p:sp>
      <p:sp>
        <p:nvSpPr>
          <p:cNvPr id="298" name="TextBox 297"/>
          <p:cNvSpPr txBox="1"/>
          <p:nvPr/>
        </p:nvSpPr>
        <p:spPr>
          <a:xfrm>
            <a:off x="3930521" y="5492381"/>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orage blob</a:t>
            </a:r>
          </a:p>
        </p:txBody>
      </p:sp>
      <p:grpSp>
        <p:nvGrpSpPr>
          <p:cNvPr id="300" name="Group 299"/>
          <p:cNvGrpSpPr/>
          <p:nvPr/>
        </p:nvGrpSpPr>
        <p:grpSpPr>
          <a:xfrm>
            <a:off x="2299560" y="3896012"/>
            <a:ext cx="769157" cy="725250"/>
            <a:chOff x="2383968" y="3896012"/>
            <a:chExt cx="769157" cy="725250"/>
          </a:xfrm>
        </p:grpSpPr>
        <p:grpSp>
          <p:nvGrpSpPr>
            <p:cNvPr id="340" name="Group 339"/>
            <p:cNvGrpSpPr/>
            <p:nvPr/>
          </p:nvGrpSpPr>
          <p:grpSpPr>
            <a:xfrm rot="1141916">
              <a:off x="2470483" y="3896012"/>
              <a:ext cx="624947" cy="440033"/>
              <a:chOff x="-1246065" y="3506417"/>
              <a:chExt cx="540995" cy="380921"/>
            </a:xfrm>
          </p:grpSpPr>
          <p:sp>
            <p:nvSpPr>
              <p:cNvPr id="342" name="Arrow: Pentagon 341"/>
              <p:cNvSpPr/>
              <p:nvPr/>
            </p:nvSpPr>
            <p:spPr bwMode="auto">
              <a:xfrm rot="20505789">
                <a:off x="-884259" y="3594700"/>
                <a:ext cx="179189" cy="69909"/>
              </a:xfrm>
              <a:prstGeom prst="homePlate">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3" name="Freeform 90"/>
              <p:cNvSpPr>
                <a:spLocks noEditPoints="1"/>
              </p:cNvSpPr>
              <p:nvPr/>
            </p:nvSpPr>
            <p:spPr bwMode="auto">
              <a:xfrm>
                <a:off x="-1189038" y="3506417"/>
                <a:ext cx="366713" cy="365125"/>
              </a:xfrm>
              <a:custGeom>
                <a:avLst/>
                <a:gdLst>
                  <a:gd name="T0" fmla="*/ 498 w 1389"/>
                  <a:gd name="T1" fmla="*/ 495 h 1390"/>
                  <a:gd name="T2" fmla="*/ 498 w 1389"/>
                  <a:gd name="T3" fmla="*/ 894 h 1390"/>
                  <a:gd name="T4" fmla="*/ 897 w 1389"/>
                  <a:gd name="T5" fmla="*/ 894 h 1390"/>
                  <a:gd name="T6" fmla="*/ 897 w 1389"/>
                  <a:gd name="T7" fmla="*/ 495 h 1390"/>
                  <a:gd name="T8" fmla="*/ 698 w 1389"/>
                  <a:gd name="T9" fmla="*/ 326 h 1390"/>
                  <a:gd name="T10" fmla="*/ 1067 w 1389"/>
                  <a:gd name="T11" fmla="*/ 694 h 1390"/>
                  <a:gd name="T12" fmla="*/ 698 w 1389"/>
                  <a:gd name="T13" fmla="*/ 1063 h 1390"/>
                  <a:gd name="T14" fmla="*/ 328 w 1389"/>
                  <a:gd name="T15" fmla="*/ 694 h 1390"/>
                  <a:gd name="T16" fmla="*/ 698 w 1389"/>
                  <a:gd name="T17" fmla="*/ 326 h 1390"/>
                  <a:gd name="T18" fmla="*/ 750 w 1389"/>
                  <a:gd name="T19" fmla="*/ 0 h 1390"/>
                  <a:gd name="T20" fmla="*/ 875 w 1389"/>
                  <a:gd name="T21" fmla="*/ 180 h 1390"/>
                  <a:gd name="T22" fmla="*/ 938 w 1389"/>
                  <a:gd name="T23" fmla="*/ 202 h 1390"/>
                  <a:gd name="T24" fmla="*/ 1152 w 1389"/>
                  <a:gd name="T25" fmla="*/ 168 h 1390"/>
                  <a:gd name="T26" fmla="*/ 1265 w 1389"/>
                  <a:gd name="T27" fmla="*/ 333 h 1390"/>
                  <a:gd name="T28" fmla="*/ 1194 w 1389"/>
                  <a:gd name="T29" fmla="*/ 456 h 1390"/>
                  <a:gd name="T30" fmla="*/ 1215 w 1389"/>
                  <a:gd name="T31" fmla="*/ 515 h 1390"/>
                  <a:gd name="T32" fmla="*/ 1389 w 1389"/>
                  <a:gd name="T33" fmla="*/ 643 h 1390"/>
                  <a:gd name="T34" fmla="*/ 1267 w 1389"/>
                  <a:gd name="T35" fmla="*/ 871 h 1390"/>
                  <a:gd name="T36" fmla="*/ 1181 w 1389"/>
                  <a:gd name="T37" fmla="*/ 908 h 1390"/>
                  <a:gd name="T38" fmla="*/ 1227 w 1389"/>
                  <a:gd name="T39" fmla="*/ 966 h 1390"/>
                  <a:gd name="T40" fmla="*/ 1227 w 1389"/>
                  <a:gd name="T41" fmla="*/ 1146 h 1390"/>
                  <a:gd name="T42" fmla="*/ 972 w 1389"/>
                  <a:gd name="T43" fmla="*/ 1222 h 1390"/>
                  <a:gd name="T44" fmla="*/ 877 w 1389"/>
                  <a:gd name="T45" fmla="*/ 1209 h 1390"/>
                  <a:gd name="T46" fmla="*/ 749 w 1389"/>
                  <a:gd name="T47" fmla="*/ 1390 h 1390"/>
                  <a:gd name="T48" fmla="*/ 519 w 1389"/>
                  <a:gd name="T49" fmla="*/ 1261 h 1390"/>
                  <a:gd name="T50" fmla="*/ 483 w 1389"/>
                  <a:gd name="T51" fmla="*/ 1176 h 1390"/>
                  <a:gd name="T52" fmla="*/ 424 w 1389"/>
                  <a:gd name="T53" fmla="*/ 1221 h 1390"/>
                  <a:gd name="T54" fmla="*/ 169 w 1389"/>
                  <a:gd name="T55" fmla="*/ 1146 h 1390"/>
                  <a:gd name="T56" fmla="*/ 169 w 1389"/>
                  <a:gd name="T57" fmla="*/ 966 h 1390"/>
                  <a:gd name="T58" fmla="*/ 214 w 1389"/>
                  <a:gd name="T59" fmla="*/ 909 h 1390"/>
                  <a:gd name="T60" fmla="*/ 129 w 1389"/>
                  <a:gd name="T61" fmla="*/ 873 h 1390"/>
                  <a:gd name="T62" fmla="*/ 0 w 1389"/>
                  <a:gd name="T63" fmla="*/ 643 h 1390"/>
                  <a:gd name="T64" fmla="*/ 129 w 1389"/>
                  <a:gd name="T65" fmla="*/ 516 h 1390"/>
                  <a:gd name="T66" fmla="*/ 214 w 1389"/>
                  <a:gd name="T67" fmla="*/ 480 h 1390"/>
                  <a:gd name="T68" fmla="*/ 169 w 1389"/>
                  <a:gd name="T69" fmla="*/ 423 h 1390"/>
                  <a:gd name="T70" fmla="*/ 169 w 1389"/>
                  <a:gd name="T71" fmla="*/ 243 h 1390"/>
                  <a:gd name="T72" fmla="*/ 425 w 1389"/>
                  <a:gd name="T73" fmla="*/ 169 h 1390"/>
                  <a:gd name="T74" fmla="*/ 519 w 1389"/>
                  <a:gd name="T75" fmla="*/ 180 h 1390"/>
                  <a:gd name="T76" fmla="*/ 647 w 1389"/>
                  <a:gd name="T7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44" name="Freeform 86"/>
              <p:cNvSpPr>
                <a:spLocks noEditPoints="1"/>
              </p:cNvSpPr>
              <p:nvPr/>
            </p:nvSpPr>
            <p:spPr bwMode="auto">
              <a:xfrm>
                <a:off x="-1190559" y="3506417"/>
                <a:ext cx="380558" cy="380921"/>
              </a:xfrm>
              <a:custGeom>
                <a:avLst/>
                <a:gdLst>
                  <a:gd name="T0" fmla="*/ 415 w 1389"/>
                  <a:gd name="T1" fmla="*/ 694 h 1390"/>
                  <a:gd name="T2" fmla="*/ 897 w 1389"/>
                  <a:gd name="T3" fmla="*/ 894 h 1390"/>
                  <a:gd name="T4" fmla="*/ 698 w 1389"/>
                  <a:gd name="T5" fmla="*/ 412 h 1390"/>
                  <a:gd name="T6" fmla="*/ 1067 w 1389"/>
                  <a:gd name="T7" fmla="*/ 694 h 1390"/>
                  <a:gd name="T8" fmla="*/ 437 w 1389"/>
                  <a:gd name="T9" fmla="*/ 955 h 1390"/>
                  <a:gd name="T10" fmla="*/ 698 w 1389"/>
                  <a:gd name="T11" fmla="*/ 326 h 1390"/>
                  <a:gd name="T12" fmla="*/ 606 w 1389"/>
                  <a:gd name="T13" fmla="*/ 180 h 1390"/>
                  <a:gd name="T14" fmla="*/ 363 w 1389"/>
                  <a:gd name="T15" fmla="*/ 230 h 1390"/>
                  <a:gd name="T16" fmla="*/ 218 w 1389"/>
                  <a:gd name="T17" fmla="*/ 333 h 1390"/>
                  <a:gd name="T18" fmla="*/ 301 w 1389"/>
                  <a:gd name="T19" fmla="*/ 480 h 1390"/>
                  <a:gd name="T20" fmla="*/ 99 w 1389"/>
                  <a:gd name="T21" fmla="*/ 615 h 1390"/>
                  <a:gd name="T22" fmla="*/ 129 w 1389"/>
                  <a:gd name="T23" fmla="*/ 787 h 1390"/>
                  <a:gd name="T24" fmla="*/ 260 w 1389"/>
                  <a:gd name="T25" fmla="*/ 998 h 1390"/>
                  <a:gd name="T26" fmla="*/ 230 w 1389"/>
                  <a:gd name="T27" fmla="*/ 1084 h 1390"/>
                  <a:gd name="T28" fmla="*/ 396 w 1389"/>
                  <a:gd name="T29" fmla="*/ 1127 h 1390"/>
                  <a:gd name="T30" fmla="*/ 606 w 1389"/>
                  <a:gd name="T31" fmla="*/ 1261 h 1390"/>
                  <a:gd name="T32" fmla="*/ 790 w 1389"/>
                  <a:gd name="T33" fmla="*/ 1261 h 1390"/>
                  <a:gd name="T34" fmla="*/ 1002 w 1389"/>
                  <a:gd name="T35" fmla="*/ 1129 h 1390"/>
                  <a:gd name="T36" fmla="*/ 1166 w 1389"/>
                  <a:gd name="T37" fmla="*/ 1084 h 1390"/>
                  <a:gd name="T38" fmla="*/ 1133 w 1389"/>
                  <a:gd name="T39" fmla="*/ 995 h 1390"/>
                  <a:gd name="T40" fmla="*/ 1267 w 1389"/>
                  <a:gd name="T41" fmla="*/ 784 h 1390"/>
                  <a:gd name="T42" fmla="*/ 1267 w 1389"/>
                  <a:gd name="T43" fmla="*/ 602 h 1390"/>
                  <a:gd name="T44" fmla="*/ 1134 w 1389"/>
                  <a:gd name="T45" fmla="*/ 392 h 1390"/>
                  <a:gd name="T46" fmla="*/ 1166 w 1389"/>
                  <a:gd name="T47" fmla="*/ 304 h 1390"/>
                  <a:gd name="T48" fmla="*/ 1001 w 1389"/>
                  <a:gd name="T49" fmla="*/ 261 h 1390"/>
                  <a:gd name="T50" fmla="*/ 788 w 1389"/>
                  <a:gd name="T51" fmla="*/ 129 h 1390"/>
                  <a:gd name="T52" fmla="*/ 647 w 1389"/>
                  <a:gd name="T53" fmla="*/ 0 h 1390"/>
                  <a:gd name="T54" fmla="*/ 875 w 1389"/>
                  <a:gd name="T55" fmla="*/ 180 h 1390"/>
                  <a:gd name="T56" fmla="*/ 971 w 1389"/>
                  <a:gd name="T57" fmla="*/ 168 h 1390"/>
                  <a:gd name="T58" fmla="*/ 1265 w 1389"/>
                  <a:gd name="T59" fmla="*/ 333 h 1390"/>
                  <a:gd name="T60" fmla="*/ 1181 w 1389"/>
                  <a:gd name="T61" fmla="*/ 480 h 1390"/>
                  <a:gd name="T62" fmla="*/ 1389 w 1389"/>
                  <a:gd name="T63" fmla="*/ 643 h 1390"/>
                  <a:gd name="T64" fmla="*/ 1215 w 1389"/>
                  <a:gd name="T65" fmla="*/ 871 h 1390"/>
                  <a:gd name="T66" fmla="*/ 1227 w 1389"/>
                  <a:gd name="T67" fmla="*/ 966 h 1390"/>
                  <a:gd name="T68" fmla="*/ 1152 w 1389"/>
                  <a:gd name="T69" fmla="*/ 1221 h 1390"/>
                  <a:gd name="T70" fmla="*/ 877 w 1389"/>
                  <a:gd name="T71" fmla="*/ 1209 h 1390"/>
                  <a:gd name="T72" fmla="*/ 646 w 1389"/>
                  <a:gd name="T73" fmla="*/ 1390 h 1390"/>
                  <a:gd name="T74" fmla="*/ 483 w 1389"/>
                  <a:gd name="T75" fmla="*/ 1176 h 1390"/>
                  <a:gd name="T76" fmla="*/ 244 w 1389"/>
                  <a:gd name="T77" fmla="*/ 1221 h 1390"/>
                  <a:gd name="T78" fmla="*/ 169 w 1389"/>
                  <a:gd name="T79" fmla="*/ 966 h 1390"/>
                  <a:gd name="T80" fmla="*/ 180 w 1389"/>
                  <a:gd name="T81" fmla="*/ 873 h 1390"/>
                  <a:gd name="T82" fmla="*/ 0 w 1389"/>
                  <a:gd name="T83" fmla="*/ 643 h 1390"/>
                  <a:gd name="T84" fmla="*/ 180 w 1389"/>
                  <a:gd name="T85" fmla="*/ 516 h 1390"/>
                  <a:gd name="T86" fmla="*/ 169 w 1389"/>
                  <a:gd name="T87" fmla="*/ 423 h 1390"/>
                  <a:gd name="T88" fmla="*/ 245 w 1389"/>
                  <a:gd name="T89" fmla="*/ 169 h 1390"/>
                  <a:gd name="T90" fmla="*/ 519 w 1389"/>
                  <a:gd name="T91" fmla="*/ 18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9" h="1390">
                    <a:moveTo>
                      <a:pt x="698" y="412"/>
                    </a:moveTo>
                    <a:cubicBezTo>
                      <a:pt x="622" y="412"/>
                      <a:pt x="551" y="442"/>
                      <a:pt x="498" y="495"/>
                    </a:cubicBezTo>
                    <a:cubicBezTo>
                      <a:pt x="445" y="548"/>
                      <a:pt x="415" y="619"/>
                      <a:pt x="415" y="694"/>
                    </a:cubicBezTo>
                    <a:cubicBezTo>
                      <a:pt x="415" y="770"/>
                      <a:pt x="445" y="840"/>
                      <a:pt x="498" y="894"/>
                    </a:cubicBezTo>
                    <a:cubicBezTo>
                      <a:pt x="551" y="947"/>
                      <a:pt x="622" y="977"/>
                      <a:pt x="698" y="977"/>
                    </a:cubicBezTo>
                    <a:cubicBezTo>
                      <a:pt x="773" y="977"/>
                      <a:pt x="844" y="947"/>
                      <a:pt x="897" y="894"/>
                    </a:cubicBezTo>
                    <a:cubicBezTo>
                      <a:pt x="951" y="841"/>
                      <a:pt x="980" y="770"/>
                      <a:pt x="980" y="694"/>
                    </a:cubicBezTo>
                    <a:cubicBezTo>
                      <a:pt x="980" y="619"/>
                      <a:pt x="951" y="548"/>
                      <a:pt x="897" y="495"/>
                    </a:cubicBezTo>
                    <a:cubicBezTo>
                      <a:pt x="844" y="442"/>
                      <a:pt x="773" y="412"/>
                      <a:pt x="698" y="412"/>
                    </a:cubicBezTo>
                    <a:close/>
                    <a:moveTo>
                      <a:pt x="698" y="326"/>
                    </a:moveTo>
                    <a:cubicBezTo>
                      <a:pt x="796" y="326"/>
                      <a:pt x="889" y="364"/>
                      <a:pt x="959" y="434"/>
                    </a:cubicBezTo>
                    <a:cubicBezTo>
                      <a:pt x="1029" y="504"/>
                      <a:pt x="1067" y="596"/>
                      <a:pt x="1067" y="694"/>
                    </a:cubicBezTo>
                    <a:cubicBezTo>
                      <a:pt x="1067" y="793"/>
                      <a:pt x="1029" y="886"/>
                      <a:pt x="959" y="955"/>
                    </a:cubicBezTo>
                    <a:cubicBezTo>
                      <a:pt x="889" y="1025"/>
                      <a:pt x="796" y="1063"/>
                      <a:pt x="698" y="1063"/>
                    </a:cubicBezTo>
                    <a:cubicBezTo>
                      <a:pt x="599" y="1063"/>
                      <a:pt x="506" y="1025"/>
                      <a:pt x="437" y="955"/>
                    </a:cubicBezTo>
                    <a:cubicBezTo>
                      <a:pt x="367" y="885"/>
                      <a:pt x="328" y="793"/>
                      <a:pt x="328" y="694"/>
                    </a:cubicBezTo>
                    <a:cubicBezTo>
                      <a:pt x="328" y="596"/>
                      <a:pt x="367" y="503"/>
                      <a:pt x="437" y="434"/>
                    </a:cubicBezTo>
                    <a:cubicBezTo>
                      <a:pt x="506" y="364"/>
                      <a:pt x="599" y="326"/>
                      <a:pt x="698" y="326"/>
                    </a:cubicBezTo>
                    <a:close/>
                    <a:moveTo>
                      <a:pt x="647" y="87"/>
                    </a:moveTo>
                    <a:cubicBezTo>
                      <a:pt x="625" y="87"/>
                      <a:pt x="606" y="106"/>
                      <a:pt x="606" y="129"/>
                    </a:cubicBezTo>
                    <a:cubicBezTo>
                      <a:pt x="606" y="180"/>
                      <a:pt x="606" y="180"/>
                      <a:pt x="606" y="180"/>
                    </a:cubicBezTo>
                    <a:cubicBezTo>
                      <a:pt x="606" y="246"/>
                      <a:pt x="551" y="301"/>
                      <a:pt x="483" y="301"/>
                    </a:cubicBezTo>
                    <a:cubicBezTo>
                      <a:pt x="450" y="301"/>
                      <a:pt x="419" y="287"/>
                      <a:pt x="395" y="262"/>
                    </a:cubicBezTo>
                    <a:cubicBezTo>
                      <a:pt x="363" y="230"/>
                      <a:pt x="363" y="230"/>
                      <a:pt x="363" y="230"/>
                    </a:cubicBezTo>
                    <a:cubicBezTo>
                      <a:pt x="350" y="216"/>
                      <a:pt x="320" y="216"/>
                      <a:pt x="305" y="231"/>
                    </a:cubicBezTo>
                    <a:cubicBezTo>
                      <a:pt x="230" y="305"/>
                      <a:pt x="230" y="305"/>
                      <a:pt x="230" y="305"/>
                    </a:cubicBezTo>
                    <a:cubicBezTo>
                      <a:pt x="223" y="312"/>
                      <a:pt x="218" y="322"/>
                      <a:pt x="218" y="333"/>
                    </a:cubicBezTo>
                    <a:cubicBezTo>
                      <a:pt x="218" y="344"/>
                      <a:pt x="223" y="354"/>
                      <a:pt x="230" y="361"/>
                    </a:cubicBezTo>
                    <a:cubicBezTo>
                      <a:pt x="262" y="393"/>
                      <a:pt x="262" y="393"/>
                      <a:pt x="262" y="393"/>
                    </a:cubicBezTo>
                    <a:cubicBezTo>
                      <a:pt x="287" y="415"/>
                      <a:pt x="301" y="447"/>
                      <a:pt x="301" y="480"/>
                    </a:cubicBezTo>
                    <a:cubicBezTo>
                      <a:pt x="301" y="548"/>
                      <a:pt x="247" y="603"/>
                      <a:pt x="180" y="603"/>
                    </a:cubicBezTo>
                    <a:cubicBezTo>
                      <a:pt x="129" y="603"/>
                      <a:pt x="129" y="603"/>
                      <a:pt x="129" y="603"/>
                    </a:cubicBezTo>
                    <a:cubicBezTo>
                      <a:pt x="117" y="603"/>
                      <a:pt x="107" y="607"/>
                      <a:pt x="99" y="615"/>
                    </a:cubicBezTo>
                    <a:cubicBezTo>
                      <a:pt x="91" y="623"/>
                      <a:pt x="87" y="633"/>
                      <a:pt x="87" y="643"/>
                    </a:cubicBezTo>
                    <a:cubicBezTo>
                      <a:pt x="87" y="746"/>
                      <a:pt x="87" y="746"/>
                      <a:pt x="87" y="746"/>
                    </a:cubicBezTo>
                    <a:cubicBezTo>
                      <a:pt x="87" y="768"/>
                      <a:pt x="106" y="787"/>
                      <a:pt x="129" y="787"/>
                    </a:cubicBezTo>
                    <a:cubicBezTo>
                      <a:pt x="180" y="787"/>
                      <a:pt x="180" y="787"/>
                      <a:pt x="180" y="787"/>
                    </a:cubicBezTo>
                    <a:cubicBezTo>
                      <a:pt x="247" y="787"/>
                      <a:pt x="301" y="841"/>
                      <a:pt x="301" y="909"/>
                    </a:cubicBezTo>
                    <a:cubicBezTo>
                      <a:pt x="301" y="943"/>
                      <a:pt x="287" y="974"/>
                      <a:pt x="260" y="998"/>
                    </a:cubicBezTo>
                    <a:cubicBezTo>
                      <a:pt x="230" y="1028"/>
                      <a:pt x="230" y="1028"/>
                      <a:pt x="230" y="1028"/>
                    </a:cubicBezTo>
                    <a:cubicBezTo>
                      <a:pt x="223" y="1035"/>
                      <a:pt x="218" y="1045"/>
                      <a:pt x="218" y="1056"/>
                    </a:cubicBezTo>
                    <a:cubicBezTo>
                      <a:pt x="218" y="1067"/>
                      <a:pt x="223" y="1077"/>
                      <a:pt x="230" y="1084"/>
                    </a:cubicBezTo>
                    <a:cubicBezTo>
                      <a:pt x="306" y="1159"/>
                      <a:pt x="306" y="1159"/>
                      <a:pt x="306" y="1159"/>
                    </a:cubicBezTo>
                    <a:cubicBezTo>
                      <a:pt x="319" y="1173"/>
                      <a:pt x="349" y="1173"/>
                      <a:pt x="364" y="1159"/>
                    </a:cubicBezTo>
                    <a:cubicBezTo>
                      <a:pt x="396" y="1127"/>
                      <a:pt x="396" y="1127"/>
                      <a:pt x="396" y="1127"/>
                    </a:cubicBezTo>
                    <a:cubicBezTo>
                      <a:pt x="417" y="1103"/>
                      <a:pt x="449" y="1089"/>
                      <a:pt x="483" y="1089"/>
                    </a:cubicBezTo>
                    <a:cubicBezTo>
                      <a:pt x="551" y="1089"/>
                      <a:pt x="606" y="1143"/>
                      <a:pt x="606" y="1209"/>
                    </a:cubicBezTo>
                    <a:cubicBezTo>
                      <a:pt x="606" y="1261"/>
                      <a:pt x="606" y="1261"/>
                      <a:pt x="606" y="1261"/>
                    </a:cubicBezTo>
                    <a:cubicBezTo>
                      <a:pt x="606" y="1284"/>
                      <a:pt x="624" y="1303"/>
                      <a:pt x="646" y="1303"/>
                    </a:cubicBezTo>
                    <a:cubicBezTo>
                      <a:pt x="749" y="1303"/>
                      <a:pt x="749" y="1303"/>
                      <a:pt x="749" y="1303"/>
                    </a:cubicBezTo>
                    <a:cubicBezTo>
                      <a:pt x="771" y="1303"/>
                      <a:pt x="790" y="1283"/>
                      <a:pt x="790" y="1261"/>
                    </a:cubicBezTo>
                    <a:cubicBezTo>
                      <a:pt x="790" y="1209"/>
                      <a:pt x="790" y="1209"/>
                      <a:pt x="790" y="1209"/>
                    </a:cubicBezTo>
                    <a:cubicBezTo>
                      <a:pt x="790" y="1143"/>
                      <a:pt x="845" y="1089"/>
                      <a:pt x="913" y="1089"/>
                    </a:cubicBezTo>
                    <a:cubicBezTo>
                      <a:pt x="946" y="1089"/>
                      <a:pt x="978" y="1103"/>
                      <a:pt x="1002" y="1129"/>
                    </a:cubicBezTo>
                    <a:cubicBezTo>
                      <a:pt x="1033" y="1160"/>
                      <a:pt x="1033" y="1160"/>
                      <a:pt x="1033" y="1160"/>
                    </a:cubicBezTo>
                    <a:cubicBezTo>
                      <a:pt x="1047" y="1173"/>
                      <a:pt x="1076" y="1174"/>
                      <a:pt x="1091" y="1159"/>
                    </a:cubicBezTo>
                    <a:cubicBezTo>
                      <a:pt x="1166" y="1084"/>
                      <a:pt x="1166" y="1084"/>
                      <a:pt x="1166" y="1084"/>
                    </a:cubicBezTo>
                    <a:cubicBezTo>
                      <a:pt x="1173" y="1077"/>
                      <a:pt x="1178" y="1067"/>
                      <a:pt x="1178" y="1056"/>
                    </a:cubicBezTo>
                    <a:cubicBezTo>
                      <a:pt x="1178" y="1045"/>
                      <a:pt x="1173" y="1035"/>
                      <a:pt x="1166" y="1028"/>
                    </a:cubicBezTo>
                    <a:cubicBezTo>
                      <a:pt x="1133" y="995"/>
                      <a:pt x="1133" y="995"/>
                      <a:pt x="1133" y="995"/>
                    </a:cubicBezTo>
                    <a:cubicBezTo>
                      <a:pt x="1109" y="974"/>
                      <a:pt x="1094" y="942"/>
                      <a:pt x="1094" y="908"/>
                    </a:cubicBezTo>
                    <a:cubicBezTo>
                      <a:pt x="1094" y="841"/>
                      <a:pt x="1150" y="784"/>
                      <a:pt x="1215" y="784"/>
                    </a:cubicBezTo>
                    <a:cubicBezTo>
                      <a:pt x="1267" y="784"/>
                      <a:pt x="1267" y="784"/>
                      <a:pt x="1267" y="784"/>
                    </a:cubicBezTo>
                    <a:cubicBezTo>
                      <a:pt x="1289" y="784"/>
                      <a:pt x="1303" y="770"/>
                      <a:pt x="1303" y="747"/>
                    </a:cubicBezTo>
                    <a:cubicBezTo>
                      <a:pt x="1303" y="643"/>
                      <a:pt x="1303" y="643"/>
                      <a:pt x="1303" y="643"/>
                    </a:cubicBezTo>
                    <a:cubicBezTo>
                      <a:pt x="1303" y="623"/>
                      <a:pt x="1290" y="602"/>
                      <a:pt x="1267" y="602"/>
                    </a:cubicBezTo>
                    <a:cubicBezTo>
                      <a:pt x="1215" y="602"/>
                      <a:pt x="1215" y="602"/>
                      <a:pt x="1215" y="602"/>
                    </a:cubicBezTo>
                    <a:cubicBezTo>
                      <a:pt x="1149" y="602"/>
                      <a:pt x="1094" y="547"/>
                      <a:pt x="1094" y="480"/>
                    </a:cubicBezTo>
                    <a:cubicBezTo>
                      <a:pt x="1094" y="446"/>
                      <a:pt x="1109" y="415"/>
                      <a:pt x="1134" y="392"/>
                    </a:cubicBezTo>
                    <a:cubicBezTo>
                      <a:pt x="1166" y="361"/>
                      <a:pt x="1166" y="361"/>
                      <a:pt x="1166" y="361"/>
                    </a:cubicBezTo>
                    <a:cubicBezTo>
                      <a:pt x="1174" y="354"/>
                      <a:pt x="1178" y="344"/>
                      <a:pt x="1178" y="333"/>
                    </a:cubicBezTo>
                    <a:cubicBezTo>
                      <a:pt x="1178" y="322"/>
                      <a:pt x="1174" y="312"/>
                      <a:pt x="1166" y="304"/>
                    </a:cubicBezTo>
                    <a:cubicBezTo>
                      <a:pt x="1090" y="230"/>
                      <a:pt x="1090" y="230"/>
                      <a:pt x="1090" y="230"/>
                    </a:cubicBezTo>
                    <a:cubicBezTo>
                      <a:pt x="1077" y="216"/>
                      <a:pt x="1047" y="216"/>
                      <a:pt x="1032" y="230"/>
                    </a:cubicBezTo>
                    <a:cubicBezTo>
                      <a:pt x="1001" y="261"/>
                      <a:pt x="1001" y="261"/>
                      <a:pt x="1001" y="261"/>
                    </a:cubicBezTo>
                    <a:cubicBezTo>
                      <a:pt x="979" y="285"/>
                      <a:pt x="946" y="300"/>
                      <a:pt x="912" y="300"/>
                    </a:cubicBezTo>
                    <a:cubicBezTo>
                      <a:pt x="845" y="300"/>
                      <a:pt x="788" y="245"/>
                      <a:pt x="788" y="180"/>
                    </a:cubicBezTo>
                    <a:cubicBezTo>
                      <a:pt x="788" y="129"/>
                      <a:pt x="788" y="129"/>
                      <a:pt x="788" y="129"/>
                    </a:cubicBezTo>
                    <a:cubicBezTo>
                      <a:pt x="788" y="106"/>
                      <a:pt x="771" y="87"/>
                      <a:pt x="750" y="87"/>
                    </a:cubicBezTo>
                    <a:lnTo>
                      <a:pt x="647" y="87"/>
                    </a:lnTo>
                    <a:close/>
                    <a:moveTo>
                      <a:pt x="647" y="0"/>
                    </a:moveTo>
                    <a:cubicBezTo>
                      <a:pt x="750" y="0"/>
                      <a:pt x="750" y="0"/>
                      <a:pt x="750" y="0"/>
                    </a:cubicBezTo>
                    <a:cubicBezTo>
                      <a:pt x="819" y="0"/>
                      <a:pt x="875" y="58"/>
                      <a:pt x="875" y="129"/>
                    </a:cubicBezTo>
                    <a:cubicBezTo>
                      <a:pt x="875" y="180"/>
                      <a:pt x="875" y="180"/>
                      <a:pt x="875" y="180"/>
                    </a:cubicBezTo>
                    <a:cubicBezTo>
                      <a:pt x="875" y="197"/>
                      <a:pt x="892" y="213"/>
                      <a:pt x="912" y="213"/>
                    </a:cubicBezTo>
                    <a:cubicBezTo>
                      <a:pt x="922" y="213"/>
                      <a:pt x="931" y="209"/>
                      <a:pt x="938" y="202"/>
                    </a:cubicBezTo>
                    <a:cubicBezTo>
                      <a:pt x="971" y="168"/>
                      <a:pt x="971" y="168"/>
                      <a:pt x="971" y="168"/>
                    </a:cubicBezTo>
                    <a:cubicBezTo>
                      <a:pt x="1019" y="121"/>
                      <a:pt x="1106" y="122"/>
                      <a:pt x="1152" y="168"/>
                    </a:cubicBezTo>
                    <a:cubicBezTo>
                      <a:pt x="1227" y="243"/>
                      <a:pt x="1227" y="243"/>
                      <a:pt x="1227" y="243"/>
                    </a:cubicBezTo>
                    <a:cubicBezTo>
                      <a:pt x="1252" y="267"/>
                      <a:pt x="1265" y="299"/>
                      <a:pt x="1265" y="333"/>
                    </a:cubicBezTo>
                    <a:cubicBezTo>
                      <a:pt x="1265" y="367"/>
                      <a:pt x="1251" y="399"/>
                      <a:pt x="1227" y="423"/>
                    </a:cubicBezTo>
                    <a:cubicBezTo>
                      <a:pt x="1194" y="456"/>
                      <a:pt x="1194" y="456"/>
                      <a:pt x="1194" y="456"/>
                    </a:cubicBezTo>
                    <a:cubicBezTo>
                      <a:pt x="1185" y="464"/>
                      <a:pt x="1181" y="471"/>
                      <a:pt x="1181" y="480"/>
                    </a:cubicBezTo>
                    <a:cubicBezTo>
                      <a:pt x="1181" y="499"/>
                      <a:pt x="1197" y="515"/>
                      <a:pt x="1215" y="515"/>
                    </a:cubicBezTo>
                    <a:cubicBezTo>
                      <a:pt x="1267" y="515"/>
                      <a:pt x="1267" y="515"/>
                      <a:pt x="1267" y="515"/>
                    </a:cubicBezTo>
                    <a:cubicBezTo>
                      <a:pt x="1336" y="515"/>
                      <a:pt x="1389" y="571"/>
                      <a:pt x="1389" y="643"/>
                    </a:cubicBezTo>
                    <a:cubicBezTo>
                      <a:pt x="1389" y="747"/>
                      <a:pt x="1389" y="747"/>
                      <a:pt x="1389" y="747"/>
                    </a:cubicBezTo>
                    <a:cubicBezTo>
                      <a:pt x="1389" y="818"/>
                      <a:pt x="1337" y="871"/>
                      <a:pt x="1267" y="871"/>
                    </a:cubicBezTo>
                    <a:cubicBezTo>
                      <a:pt x="1215" y="871"/>
                      <a:pt x="1215" y="871"/>
                      <a:pt x="1215" y="871"/>
                    </a:cubicBezTo>
                    <a:cubicBezTo>
                      <a:pt x="1197" y="871"/>
                      <a:pt x="1181" y="888"/>
                      <a:pt x="1181" y="908"/>
                    </a:cubicBezTo>
                    <a:cubicBezTo>
                      <a:pt x="1181" y="917"/>
                      <a:pt x="1185" y="926"/>
                      <a:pt x="1192" y="932"/>
                    </a:cubicBezTo>
                    <a:cubicBezTo>
                      <a:pt x="1227" y="966"/>
                      <a:pt x="1227" y="966"/>
                      <a:pt x="1227" y="966"/>
                    </a:cubicBezTo>
                    <a:cubicBezTo>
                      <a:pt x="1251" y="990"/>
                      <a:pt x="1264" y="1022"/>
                      <a:pt x="1264" y="1056"/>
                    </a:cubicBezTo>
                    <a:cubicBezTo>
                      <a:pt x="1264" y="1090"/>
                      <a:pt x="1251" y="1122"/>
                      <a:pt x="1227" y="1146"/>
                    </a:cubicBezTo>
                    <a:cubicBezTo>
                      <a:pt x="1152" y="1221"/>
                      <a:pt x="1152" y="1221"/>
                      <a:pt x="1152" y="1221"/>
                    </a:cubicBezTo>
                    <a:cubicBezTo>
                      <a:pt x="1104" y="1268"/>
                      <a:pt x="1019" y="1267"/>
                      <a:pt x="972" y="1222"/>
                    </a:cubicBezTo>
                    <a:cubicBezTo>
                      <a:pt x="940" y="1189"/>
                      <a:pt x="940" y="1189"/>
                      <a:pt x="940" y="1189"/>
                    </a:cubicBezTo>
                    <a:cubicBezTo>
                      <a:pt x="913" y="1161"/>
                      <a:pt x="877" y="1183"/>
                      <a:pt x="877" y="1209"/>
                    </a:cubicBezTo>
                    <a:cubicBezTo>
                      <a:pt x="877" y="1261"/>
                      <a:pt x="877" y="1261"/>
                      <a:pt x="877" y="1261"/>
                    </a:cubicBezTo>
                    <a:cubicBezTo>
                      <a:pt x="877" y="1332"/>
                      <a:pt x="820" y="1390"/>
                      <a:pt x="749" y="1390"/>
                    </a:cubicBezTo>
                    <a:cubicBezTo>
                      <a:pt x="646" y="1390"/>
                      <a:pt x="646" y="1390"/>
                      <a:pt x="646" y="1390"/>
                    </a:cubicBezTo>
                    <a:cubicBezTo>
                      <a:pt x="576" y="1390"/>
                      <a:pt x="519" y="1332"/>
                      <a:pt x="519" y="1261"/>
                    </a:cubicBezTo>
                    <a:cubicBezTo>
                      <a:pt x="519" y="1209"/>
                      <a:pt x="519" y="1209"/>
                      <a:pt x="519" y="1209"/>
                    </a:cubicBezTo>
                    <a:cubicBezTo>
                      <a:pt x="519" y="1192"/>
                      <a:pt x="502" y="1176"/>
                      <a:pt x="483" y="1176"/>
                    </a:cubicBezTo>
                    <a:cubicBezTo>
                      <a:pt x="474" y="1176"/>
                      <a:pt x="465" y="1180"/>
                      <a:pt x="459" y="1187"/>
                    </a:cubicBezTo>
                    <a:cubicBezTo>
                      <a:pt x="424" y="1221"/>
                      <a:pt x="424" y="1221"/>
                      <a:pt x="424" y="1221"/>
                    </a:cubicBezTo>
                    <a:cubicBezTo>
                      <a:pt x="376" y="1268"/>
                      <a:pt x="289" y="1267"/>
                      <a:pt x="244" y="1221"/>
                    </a:cubicBezTo>
                    <a:cubicBezTo>
                      <a:pt x="169" y="1146"/>
                      <a:pt x="169" y="1146"/>
                      <a:pt x="169" y="1146"/>
                    </a:cubicBezTo>
                    <a:cubicBezTo>
                      <a:pt x="145" y="1122"/>
                      <a:pt x="132" y="1090"/>
                      <a:pt x="132" y="1056"/>
                    </a:cubicBezTo>
                    <a:cubicBezTo>
                      <a:pt x="132" y="1022"/>
                      <a:pt x="145" y="990"/>
                      <a:pt x="169" y="966"/>
                    </a:cubicBezTo>
                    <a:cubicBezTo>
                      <a:pt x="201" y="935"/>
                      <a:pt x="201" y="935"/>
                      <a:pt x="201" y="935"/>
                    </a:cubicBezTo>
                    <a:cubicBezTo>
                      <a:pt x="210" y="926"/>
                      <a:pt x="214" y="918"/>
                      <a:pt x="214" y="909"/>
                    </a:cubicBezTo>
                    <a:cubicBezTo>
                      <a:pt x="214" y="890"/>
                      <a:pt x="199" y="873"/>
                      <a:pt x="180" y="873"/>
                    </a:cubicBezTo>
                    <a:cubicBezTo>
                      <a:pt x="129" y="873"/>
                      <a:pt x="129" y="873"/>
                      <a:pt x="129" y="873"/>
                    </a:cubicBezTo>
                    <a:cubicBezTo>
                      <a:pt x="58" y="873"/>
                      <a:pt x="0" y="816"/>
                      <a:pt x="0" y="746"/>
                    </a:cubicBezTo>
                    <a:cubicBezTo>
                      <a:pt x="0" y="643"/>
                      <a:pt x="0" y="643"/>
                      <a:pt x="0" y="643"/>
                    </a:cubicBezTo>
                    <a:cubicBezTo>
                      <a:pt x="0" y="609"/>
                      <a:pt x="13" y="577"/>
                      <a:pt x="38" y="553"/>
                    </a:cubicBezTo>
                    <a:cubicBezTo>
                      <a:pt x="62" y="529"/>
                      <a:pt x="94" y="515"/>
                      <a:pt x="129" y="516"/>
                    </a:cubicBezTo>
                    <a:cubicBezTo>
                      <a:pt x="180" y="516"/>
                      <a:pt x="180" y="516"/>
                      <a:pt x="180" y="516"/>
                    </a:cubicBezTo>
                    <a:cubicBezTo>
                      <a:pt x="199" y="516"/>
                      <a:pt x="214" y="500"/>
                      <a:pt x="214" y="480"/>
                    </a:cubicBezTo>
                    <a:cubicBezTo>
                      <a:pt x="214" y="475"/>
                      <a:pt x="213" y="466"/>
                      <a:pt x="202" y="456"/>
                    </a:cubicBezTo>
                    <a:cubicBezTo>
                      <a:pt x="169" y="423"/>
                      <a:pt x="169" y="423"/>
                      <a:pt x="169" y="423"/>
                    </a:cubicBezTo>
                    <a:cubicBezTo>
                      <a:pt x="145" y="399"/>
                      <a:pt x="132" y="367"/>
                      <a:pt x="132" y="334"/>
                    </a:cubicBezTo>
                    <a:cubicBezTo>
                      <a:pt x="131" y="299"/>
                      <a:pt x="145" y="267"/>
                      <a:pt x="169" y="243"/>
                    </a:cubicBezTo>
                    <a:cubicBezTo>
                      <a:pt x="245" y="169"/>
                      <a:pt x="245" y="169"/>
                      <a:pt x="245" y="169"/>
                    </a:cubicBezTo>
                    <a:cubicBezTo>
                      <a:pt x="293" y="122"/>
                      <a:pt x="380" y="123"/>
                      <a:pt x="425" y="169"/>
                    </a:cubicBezTo>
                    <a:cubicBezTo>
                      <a:pt x="457" y="201"/>
                      <a:pt x="457" y="201"/>
                      <a:pt x="457" y="201"/>
                    </a:cubicBezTo>
                    <a:cubicBezTo>
                      <a:pt x="483" y="228"/>
                      <a:pt x="519" y="207"/>
                      <a:pt x="519" y="180"/>
                    </a:cubicBezTo>
                    <a:cubicBezTo>
                      <a:pt x="519" y="129"/>
                      <a:pt x="519" y="129"/>
                      <a:pt x="519" y="129"/>
                    </a:cubicBezTo>
                    <a:cubicBezTo>
                      <a:pt x="519" y="58"/>
                      <a:pt x="576" y="0"/>
                      <a:pt x="64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5" name="Rectangle 344"/>
              <p:cNvSpPr/>
              <p:nvPr/>
            </p:nvSpPr>
            <p:spPr bwMode="auto">
              <a:xfrm rot="20505789">
                <a:off x="-1246065" y="3702545"/>
                <a:ext cx="248191" cy="69909"/>
              </a:xfrm>
              <a:prstGeom prst="rect">
                <a:avLst/>
              </a:prstGeom>
              <a:solidFill>
                <a:schemeClr val="accent2"/>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6" name="Oval 345"/>
              <p:cNvSpPr/>
              <p:nvPr/>
            </p:nvSpPr>
            <p:spPr bwMode="auto">
              <a:xfrm>
                <a:off x="-1077852" y="3617493"/>
                <a:ext cx="156411" cy="1564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341" name="TextBox 340"/>
            <p:cNvSpPr txBox="1"/>
            <p:nvPr/>
          </p:nvSpPr>
          <p:spPr>
            <a:xfrm>
              <a:off x="2383968" y="4358113"/>
              <a:ext cx="76915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ream Analytics</a:t>
              </a:r>
            </a:p>
          </p:txBody>
        </p:sp>
      </p:grpSp>
      <p:sp>
        <p:nvSpPr>
          <p:cNvPr id="301" name="TextBox 300"/>
          <p:cNvSpPr txBox="1"/>
          <p:nvPr/>
        </p:nvSpPr>
        <p:spPr>
          <a:xfrm>
            <a:off x="4369923" y="4358113"/>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torage table</a:t>
            </a:r>
          </a:p>
        </p:txBody>
      </p:sp>
      <p:sp>
        <p:nvSpPr>
          <p:cNvPr id="339" name="TextBox 338"/>
          <p:cNvSpPr txBox="1"/>
          <p:nvPr/>
        </p:nvSpPr>
        <p:spPr>
          <a:xfrm>
            <a:off x="3038329" y="3532415"/>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Cloud Service</a:t>
            </a:r>
            <a:endParaRPr kumimoji="0" lang="en-US" sz="950" b="0" i="0" u="none" strike="noStrike" kern="1200" cap="none" spc="0" normalizeH="0" baseline="0" noProof="0" dirty="0">
              <a:ln>
                <a:noFill/>
              </a:ln>
              <a:solidFill>
                <a:srgbClr val="FFFFFF"/>
              </a:solidFill>
              <a:effectLst/>
              <a:highlight>
                <a:srgbClr val="00FF00"/>
              </a:highlight>
              <a:uLnTx/>
              <a:uFillTx/>
              <a:latin typeface="Segoe Pro Semibold" panose="020B0702040504020203" pitchFamily="34" charset="0"/>
              <a:ea typeface="+mn-ea"/>
              <a:cs typeface="+mn-cs"/>
            </a:endParaRPr>
          </a:p>
        </p:txBody>
      </p:sp>
      <p:grpSp>
        <p:nvGrpSpPr>
          <p:cNvPr id="303" name="Group 302"/>
          <p:cNvGrpSpPr/>
          <p:nvPr/>
        </p:nvGrpSpPr>
        <p:grpSpPr>
          <a:xfrm>
            <a:off x="1029682" y="2707178"/>
            <a:ext cx="819821" cy="741347"/>
            <a:chOff x="1114090" y="2707178"/>
            <a:chExt cx="819821" cy="741347"/>
          </a:xfrm>
        </p:grpSpPr>
        <p:sp>
          <p:nvSpPr>
            <p:cNvPr id="336" name="Freeform 73"/>
            <p:cNvSpPr>
              <a:spLocks/>
            </p:cNvSpPr>
            <p:nvPr/>
          </p:nvSpPr>
          <p:spPr bwMode="auto">
            <a:xfrm>
              <a:off x="1287641" y="2707178"/>
              <a:ext cx="459563" cy="556804"/>
            </a:xfrm>
            <a:custGeom>
              <a:avLst/>
              <a:gdLst>
                <a:gd name="T0" fmla="*/ 221 w 345"/>
                <a:gd name="T1" fmla="*/ 0 h 418"/>
                <a:gd name="T2" fmla="*/ 345 w 345"/>
                <a:gd name="T3" fmla="*/ 38 h 418"/>
                <a:gd name="T4" fmla="*/ 345 w 345"/>
                <a:gd name="T5" fmla="*/ 382 h 418"/>
                <a:gd name="T6" fmla="*/ 219 w 345"/>
                <a:gd name="T7" fmla="*/ 418 h 418"/>
                <a:gd name="T8" fmla="*/ 0 w 345"/>
                <a:gd name="T9" fmla="*/ 336 h 418"/>
                <a:gd name="T10" fmla="*/ 222 w 345"/>
                <a:gd name="T11" fmla="*/ 365 h 418"/>
                <a:gd name="T12" fmla="*/ 222 w 345"/>
                <a:gd name="T13" fmla="*/ 67 h 418"/>
                <a:gd name="T14" fmla="*/ 75 w 345"/>
                <a:gd name="T15" fmla="*/ 102 h 418"/>
                <a:gd name="T16" fmla="*/ 75 w 345"/>
                <a:gd name="T17" fmla="*/ 305 h 418"/>
                <a:gd name="T18" fmla="*/ 0 w 345"/>
                <a:gd name="T19" fmla="*/ 336 h 418"/>
                <a:gd name="T20" fmla="*/ 0 w 345"/>
                <a:gd name="T21" fmla="*/ 85 h 418"/>
                <a:gd name="T22" fmla="*/ 221 w 345"/>
                <a:gd name="T2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5" h="418">
                  <a:moveTo>
                    <a:pt x="221" y="0"/>
                  </a:moveTo>
                  <a:lnTo>
                    <a:pt x="345" y="38"/>
                  </a:lnTo>
                  <a:lnTo>
                    <a:pt x="345" y="382"/>
                  </a:lnTo>
                  <a:lnTo>
                    <a:pt x="219" y="418"/>
                  </a:lnTo>
                  <a:lnTo>
                    <a:pt x="0" y="336"/>
                  </a:lnTo>
                  <a:lnTo>
                    <a:pt x="222" y="365"/>
                  </a:lnTo>
                  <a:lnTo>
                    <a:pt x="222" y="67"/>
                  </a:lnTo>
                  <a:lnTo>
                    <a:pt x="75" y="102"/>
                  </a:lnTo>
                  <a:lnTo>
                    <a:pt x="75" y="305"/>
                  </a:lnTo>
                  <a:lnTo>
                    <a:pt x="0" y="336"/>
                  </a:lnTo>
                  <a:lnTo>
                    <a:pt x="0" y="85"/>
                  </a:lnTo>
                  <a:lnTo>
                    <a:pt x="22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7" name="TextBox 336"/>
            <p:cNvSpPr txBox="1"/>
            <p:nvPr/>
          </p:nvSpPr>
          <p:spPr>
            <a:xfrm>
              <a:off x="1114090" y="3316951"/>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Power BI</a:t>
              </a:r>
            </a:p>
          </p:txBody>
        </p:sp>
      </p:grpSp>
      <p:grpSp>
        <p:nvGrpSpPr>
          <p:cNvPr id="305" name="Group 304"/>
          <p:cNvGrpSpPr/>
          <p:nvPr/>
        </p:nvGrpSpPr>
        <p:grpSpPr>
          <a:xfrm>
            <a:off x="893666" y="1504378"/>
            <a:ext cx="819821" cy="744634"/>
            <a:chOff x="978074" y="1504378"/>
            <a:chExt cx="819821" cy="744634"/>
          </a:xfrm>
          <a:solidFill>
            <a:schemeClr val="bg1"/>
          </a:solidFill>
        </p:grpSpPr>
        <p:sp>
          <p:nvSpPr>
            <p:cNvPr id="332" name="Freeform 9"/>
            <p:cNvSpPr>
              <a:spLocks noEditPoints="1"/>
            </p:cNvSpPr>
            <p:nvPr/>
          </p:nvSpPr>
          <p:spPr bwMode="auto">
            <a:xfrm>
              <a:off x="1120490" y="1504378"/>
              <a:ext cx="518995" cy="552404"/>
            </a:xfrm>
            <a:custGeom>
              <a:avLst/>
              <a:gdLst>
                <a:gd name="T0" fmla="*/ 179 w 441"/>
                <a:gd name="T1" fmla="*/ 249 h 470"/>
                <a:gd name="T2" fmla="*/ 29 w 441"/>
                <a:gd name="T3" fmla="*/ 396 h 470"/>
                <a:gd name="T4" fmla="*/ 74 w 441"/>
                <a:gd name="T5" fmla="*/ 440 h 470"/>
                <a:gd name="T6" fmla="*/ 366 w 441"/>
                <a:gd name="T7" fmla="*/ 440 h 470"/>
                <a:gd name="T8" fmla="*/ 411 w 441"/>
                <a:gd name="T9" fmla="*/ 396 h 470"/>
                <a:gd name="T10" fmla="*/ 364 w 441"/>
                <a:gd name="T11" fmla="*/ 289 h 470"/>
                <a:gd name="T12" fmla="*/ 261 w 441"/>
                <a:gd name="T13" fmla="*/ 249 h 470"/>
                <a:gd name="T14" fmla="*/ 220 w 441"/>
                <a:gd name="T15" fmla="*/ 249 h 470"/>
                <a:gd name="T16" fmla="*/ 179 w 441"/>
                <a:gd name="T17" fmla="*/ 249 h 470"/>
                <a:gd name="T18" fmla="*/ 220 w 441"/>
                <a:gd name="T19" fmla="*/ 29 h 470"/>
                <a:gd name="T20" fmla="*/ 123 w 441"/>
                <a:gd name="T21" fmla="*/ 125 h 470"/>
                <a:gd name="T22" fmla="*/ 193 w 441"/>
                <a:gd name="T23" fmla="*/ 216 h 470"/>
                <a:gd name="T24" fmla="*/ 247 w 441"/>
                <a:gd name="T25" fmla="*/ 216 h 470"/>
                <a:gd name="T26" fmla="*/ 318 w 441"/>
                <a:gd name="T27" fmla="*/ 125 h 470"/>
                <a:gd name="T28" fmla="*/ 220 w 441"/>
                <a:gd name="T29" fmla="*/ 29 h 470"/>
                <a:gd name="T30" fmla="*/ 220 w 441"/>
                <a:gd name="T31" fmla="*/ 0 h 470"/>
                <a:gd name="T32" fmla="*/ 347 w 441"/>
                <a:gd name="T33" fmla="*/ 125 h 470"/>
                <a:gd name="T34" fmla="*/ 300 w 441"/>
                <a:gd name="T35" fmla="*/ 221 h 470"/>
                <a:gd name="T36" fmla="*/ 297 w 441"/>
                <a:gd name="T37" fmla="*/ 224 h 470"/>
                <a:gd name="T38" fmla="*/ 299 w 441"/>
                <a:gd name="T39" fmla="*/ 224 h 470"/>
                <a:gd name="T40" fmla="*/ 384 w 441"/>
                <a:gd name="T41" fmla="*/ 268 h 470"/>
                <a:gd name="T42" fmla="*/ 441 w 441"/>
                <a:gd name="T43" fmla="*/ 396 h 470"/>
                <a:gd name="T44" fmla="*/ 366 w 441"/>
                <a:gd name="T45" fmla="*/ 470 h 470"/>
                <a:gd name="T46" fmla="*/ 74 w 441"/>
                <a:gd name="T47" fmla="*/ 470 h 470"/>
                <a:gd name="T48" fmla="*/ 0 w 441"/>
                <a:gd name="T49" fmla="*/ 396 h 470"/>
                <a:gd name="T50" fmla="*/ 143 w 441"/>
                <a:gd name="T51" fmla="*/ 224 h 470"/>
                <a:gd name="T52" fmla="*/ 143 w 441"/>
                <a:gd name="T53" fmla="*/ 224 h 470"/>
                <a:gd name="T54" fmla="*/ 140 w 441"/>
                <a:gd name="T55" fmla="*/ 221 h 470"/>
                <a:gd name="T56" fmla="*/ 93 w 441"/>
                <a:gd name="T57" fmla="*/ 125 h 470"/>
                <a:gd name="T58" fmla="*/ 220 w 441"/>
                <a:gd name="T59"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470">
                  <a:moveTo>
                    <a:pt x="179" y="249"/>
                  </a:moveTo>
                  <a:cubicBezTo>
                    <a:pt x="96" y="249"/>
                    <a:pt x="29" y="315"/>
                    <a:pt x="29" y="396"/>
                  </a:cubicBezTo>
                  <a:cubicBezTo>
                    <a:pt x="29" y="421"/>
                    <a:pt x="49" y="440"/>
                    <a:pt x="74" y="440"/>
                  </a:cubicBezTo>
                  <a:cubicBezTo>
                    <a:pt x="366" y="440"/>
                    <a:pt x="366" y="440"/>
                    <a:pt x="366" y="440"/>
                  </a:cubicBezTo>
                  <a:cubicBezTo>
                    <a:pt x="391" y="440"/>
                    <a:pt x="411" y="421"/>
                    <a:pt x="411" y="396"/>
                  </a:cubicBezTo>
                  <a:cubicBezTo>
                    <a:pt x="411" y="355"/>
                    <a:pt x="394" y="317"/>
                    <a:pt x="364" y="289"/>
                  </a:cubicBezTo>
                  <a:cubicBezTo>
                    <a:pt x="336" y="264"/>
                    <a:pt x="300" y="249"/>
                    <a:pt x="261" y="249"/>
                  </a:cubicBezTo>
                  <a:cubicBezTo>
                    <a:pt x="220" y="249"/>
                    <a:pt x="220" y="249"/>
                    <a:pt x="220" y="249"/>
                  </a:cubicBezTo>
                  <a:lnTo>
                    <a:pt x="179" y="249"/>
                  </a:lnTo>
                  <a:close/>
                  <a:moveTo>
                    <a:pt x="220" y="29"/>
                  </a:moveTo>
                  <a:cubicBezTo>
                    <a:pt x="166" y="29"/>
                    <a:pt x="123" y="72"/>
                    <a:pt x="123" y="125"/>
                  </a:cubicBezTo>
                  <a:cubicBezTo>
                    <a:pt x="123" y="167"/>
                    <a:pt x="152" y="205"/>
                    <a:pt x="193" y="216"/>
                  </a:cubicBezTo>
                  <a:cubicBezTo>
                    <a:pt x="211" y="221"/>
                    <a:pt x="230" y="221"/>
                    <a:pt x="247" y="216"/>
                  </a:cubicBezTo>
                  <a:cubicBezTo>
                    <a:pt x="289" y="205"/>
                    <a:pt x="318" y="167"/>
                    <a:pt x="318" y="125"/>
                  </a:cubicBezTo>
                  <a:cubicBezTo>
                    <a:pt x="318" y="72"/>
                    <a:pt x="274" y="29"/>
                    <a:pt x="220" y="29"/>
                  </a:cubicBezTo>
                  <a:close/>
                  <a:moveTo>
                    <a:pt x="220" y="0"/>
                  </a:moveTo>
                  <a:cubicBezTo>
                    <a:pt x="290" y="0"/>
                    <a:pt x="347" y="56"/>
                    <a:pt x="347" y="125"/>
                  </a:cubicBezTo>
                  <a:cubicBezTo>
                    <a:pt x="347" y="163"/>
                    <a:pt x="329" y="198"/>
                    <a:pt x="300" y="221"/>
                  </a:cubicBezTo>
                  <a:cubicBezTo>
                    <a:pt x="297" y="224"/>
                    <a:pt x="297" y="224"/>
                    <a:pt x="297" y="224"/>
                  </a:cubicBezTo>
                  <a:cubicBezTo>
                    <a:pt x="299" y="224"/>
                    <a:pt x="299" y="224"/>
                    <a:pt x="299" y="224"/>
                  </a:cubicBezTo>
                  <a:cubicBezTo>
                    <a:pt x="331" y="231"/>
                    <a:pt x="360" y="246"/>
                    <a:pt x="384" y="268"/>
                  </a:cubicBezTo>
                  <a:cubicBezTo>
                    <a:pt x="420" y="301"/>
                    <a:pt x="441" y="348"/>
                    <a:pt x="441" y="396"/>
                  </a:cubicBezTo>
                  <a:cubicBezTo>
                    <a:pt x="441" y="437"/>
                    <a:pt x="407" y="470"/>
                    <a:pt x="366" y="470"/>
                  </a:cubicBezTo>
                  <a:cubicBezTo>
                    <a:pt x="74" y="470"/>
                    <a:pt x="74" y="470"/>
                    <a:pt x="74" y="470"/>
                  </a:cubicBezTo>
                  <a:cubicBezTo>
                    <a:pt x="33" y="470"/>
                    <a:pt x="0" y="437"/>
                    <a:pt x="0" y="396"/>
                  </a:cubicBezTo>
                  <a:cubicBezTo>
                    <a:pt x="0" y="311"/>
                    <a:pt x="61" y="240"/>
                    <a:pt x="143" y="224"/>
                  </a:cubicBezTo>
                  <a:cubicBezTo>
                    <a:pt x="143" y="224"/>
                    <a:pt x="143" y="224"/>
                    <a:pt x="143" y="224"/>
                  </a:cubicBezTo>
                  <a:cubicBezTo>
                    <a:pt x="140" y="221"/>
                    <a:pt x="140" y="221"/>
                    <a:pt x="140" y="221"/>
                  </a:cubicBezTo>
                  <a:cubicBezTo>
                    <a:pt x="111" y="198"/>
                    <a:pt x="93" y="163"/>
                    <a:pt x="93" y="125"/>
                  </a:cubicBezTo>
                  <a:cubicBezTo>
                    <a:pt x="93" y="56"/>
                    <a:pt x="150" y="0"/>
                    <a:pt x="2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TextBox 332"/>
            <p:cNvSpPr txBox="1"/>
            <p:nvPr/>
          </p:nvSpPr>
          <p:spPr>
            <a:xfrm>
              <a:off x="978074" y="2117438"/>
              <a:ext cx="819821"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User</a:t>
              </a:r>
            </a:p>
          </p:txBody>
        </p:sp>
      </p:grpSp>
      <p:sp>
        <p:nvSpPr>
          <p:cNvPr id="306" name="TextBox 305"/>
          <p:cNvSpPr txBox="1"/>
          <p:nvPr/>
        </p:nvSpPr>
        <p:spPr>
          <a:xfrm>
            <a:off x="1391906" y="4358113"/>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cxnSp>
        <p:nvCxnSpPr>
          <p:cNvPr id="307" name="Connector: Elbow 306"/>
          <p:cNvCxnSpPr/>
          <p:nvPr/>
        </p:nvCxnSpPr>
        <p:spPr>
          <a:xfrm rot="10800000">
            <a:off x="1555537" y="1798086"/>
            <a:ext cx="822960" cy="457200"/>
          </a:xfrm>
          <a:prstGeom prst="bentConnector3">
            <a:avLst>
              <a:gd name="adj1" fmla="val -1048"/>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8" name="Connector: Elbow 307"/>
          <p:cNvCxnSpPr>
            <a:cxnSpLocks/>
          </p:cNvCxnSpPr>
          <p:nvPr/>
        </p:nvCxnSpPr>
        <p:spPr>
          <a:xfrm rot="10800000">
            <a:off x="2733447" y="2589222"/>
            <a:ext cx="3017520" cy="938094"/>
          </a:xfrm>
          <a:prstGeom prst="bentConnector3">
            <a:avLst>
              <a:gd name="adj1" fmla="val 227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9" name="Connector: Elbow 308"/>
          <p:cNvCxnSpPr>
            <a:cxnSpLocks/>
          </p:cNvCxnSpPr>
          <p:nvPr/>
        </p:nvCxnSpPr>
        <p:spPr>
          <a:xfrm rot="5400000" flipH="1" flipV="1">
            <a:off x="2624015" y="3353588"/>
            <a:ext cx="540935" cy="421232"/>
          </a:xfrm>
          <a:prstGeom prst="bentConnector3">
            <a:avLst>
              <a:gd name="adj1" fmla="val 10088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Connector: Elbow 309"/>
          <p:cNvCxnSpPr>
            <a:cxnSpLocks/>
          </p:cNvCxnSpPr>
          <p:nvPr/>
        </p:nvCxnSpPr>
        <p:spPr>
          <a:xfrm>
            <a:off x="2683869" y="4670233"/>
            <a:ext cx="1242110" cy="548640"/>
          </a:xfrm>
          <a:prstGeom prst="bentConnector3">
            <a:avLst>
              <a:gd name="adj1" fmla="val 293"/>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1" name="Connector: Elbow 310"/>
          <p:cNvCxnSpPr>
            <a:cxnSpLocks/>
          </p:cNvCxnSpPr>
          <p:nvPr/>
        </p:nvCxnSpPr>
        <p:spPr>
          <a:xfrm>
            <a:off x="4648013" y="5213210"/>
            <a:ext cx="2106893" cy="123083"/>
          </a:xfrm>
          <a:prstGeom prst="bentConnector3">
            <a:avLst>
              <a:gd name="adj1" fmla="val 9166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2" name="Straight Arrow Connector 311"/>
          <p:cNvCxnSpPr/>
          <p:nvPr/>
        </p:nvCxnSpPr>
        <p:spPr>
          <a:xfrm flipV="1">
            <a:off x="6584998" y="4885138"/>
            <a:ext cx="0" cy="3244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3" name="Straight Arrow Connector 312"/>
          <p:cNvCxnSpPr>
            <a:cxnSpLocks/>
          </p:cNvCxnSpPr>
          <p:nvPr/>
        </p:nvCxnSpPr>
        <p:spPr>
          <a:xfrm flipV="1">
            <a:off x="6008854" y="3994431"/>
            <a:ext cx="0" cy="3175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4" name="Connector: Elbow 313"/>
          <p:cNvCxnSpPr>
            <a:cxnSpLocks/>
          </p:cNvCxnSpPr>
          <p:nvPr/>
        </p:nvCxnSpPr>
        <p:spPr>
          <a:xfrm rot="16200000" flipH="1">
            <a:off x="4803365" y="2921151"/>
            <a:ext cx="1769130" cy="1120472"/>
          </a:xfrm>
          <a:prstGeom prst="bentConnector3">
            <a:avLst>
              <a:gd name="adj1" fmla="val 99901"/>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a:off x="6008854" y="4427621"/>
            <a:ext cx="0" cy="785589"/>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Connector: Elbow 315"/>
          <p:cNvCxnSpPr>
            <a:cxnSpLocks/>
          </p:cNvCxnSpPr>
          <p:nvPr/>
        </p:nvCxnSpPr>
        <p:spPr>
          <a:xfrm rot="10800000" flipV="1">
            <a:off x="3699645" y="2412507"/>
            <a:ext cx="1578859" cy="173663"/>
          </a:xfrm>
          <a:prstGeom prst="bentConnector3">
            <a:avLst>
              <a:gd name="adj1" fmla="val 100041"/>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Connector: Elbow 316"/>
          <p:cNvCxnSpPr>
            <a:cxnSpLocks/>
          </p:cNvCxnSpPr>
          <p:nvPr/>
        </p:nvCxnSpPr>
        <p:spPr>
          <a:xfrm>
            <a:off x="5274838" y="2414546"/>
            <a:ext cx="1863595" cy="1044781"/>
          </a:xfrm>
          <a:prstGeom prst="bentConnector3">
            <a:avLst>
              <a:gd name="adj1" fmla="val 55588"/>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a:off x="7140559" y="3452377"/>
            <a:ext cx="0" cy="1231232"/>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Connector: Elbow 318"/>
          <p:cNvCxnSpPr>
            <a:cxnSpLocks/>
          </p:cNvCxnSpPr>
          <p:nvPr/>
        </p:nvCxnSpPr>
        <p:spPr>
          <a:xfrm rot="5400000" flipH="1" flipV="1">
            <a:off x="5033672" y="2006976"/>
            <a:ext cx="573063" cy="144960"/>
          </a:xfrm>
          <a:prstGeom prst="bentConnector3">
            <a:avLst>
              <a:gd name="adj1" fmla="val 99689"/>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a:cxnSpLocks/>
          </p:cNvCxnSpPr>
          <p:nvPr/>
        </p:nvCxnSpPr>
        <p:spPr>
          <a:xfrm>
            <a:off x="4757001" y="2588903"/>
            <a:ext cx="0" cy="1145976"/>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247722" y="2458510"/>
            <a:ext cx="0" cy="128016"/>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Connector: Elbow 321"/>
          <p:cNvCxnSpPr>
            <a:cxnSpLocks/>
          </p:cNvCxnSpPr>
          <p:nvPr/>
        </p:nvCxnSpPr>
        <p:spPr>
          <a:xfrm flipV="1">
            <a:off x="3080871" y="3740485"/>
            <a:ext cx="548640" cy="365201"/>
          </a:xfrm>
          <a:prstGeom prst="bentConnector3">
            <a:avLst>
              <a:gd name="adj1" fmla="val 99965"/>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3" name="Straight Arrow Connector 322"/>
          <p:cNvCxnSpPr>
            <a:cxnSpLocks/>
          </p:cNvCxnSpPr>
          <p:nvPr/>
        </p:nvCxnSpPr>
        <p:spPr>
          <a:xfrm>
            <a:off x="3633095" y="4108111"/>
            <a:ext cx="802691" cy="409"/>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4" name="Straight Arrow Connector 323"/>
          <p:cNvCxnSpPr/>
          <p:nvPr/>
        </p:nvCxnSpPr>
        <p:spPr>
          <a:xfrm flipV="1">
            <a:off x="3386429" y="3741695"/>
            <a:ext cx="0" cy="3244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a:cxnSpLocks/>
          </p:cNvCxnSpPr>
          <p:nvPr/>
        </p:nvCxnSpPr>
        <p:spPr>
          <a:xfrm>
            <a:off x="3386429" y="4158216"/>
            <a:ext cx="0" cy="105156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a:cxnSpLocks/>
          </p:cNvCxnSpPr>
          <p:nvPr/>
        </p:nvCxnSpPr>
        <p:spPr>
          <a:xfrm>
            <a:off x="4312811" y="4158216"/>
            <a:ext cx="0" cy="68580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a:cxnSpLocks/>
          </p:cNvCxnSpPr>
          <p:nvPr/>
        </p:nvCxnSpPr>
        <p:spPr>
          <a:xfrm>
            <a:off x="4316822" y="3329735"/>
            <a:ext cx="0" cy="722095"/>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cxnSpLocks/>
          </p:cNvCxnSpPr>
          <p:nvPr/>
        </p:nvCxnSpPr>
        <p:spPr>
          <a:xfrm>
            <a:off x="4316822" y="2596822"/>
            <a:ext cx="0" cy="657574"/>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Arrow Connector 328"/>
          <p:cNvCxnSpPr>
            <a:cxnSpLocks/>
          </p:cNvCxnSpPr>
          <p:nvPr/>
        </p:nvCxnSpPr>
        <p:spPr>
          <a:xfrm flipH="1" flipV="1">
            <a:off x="3747138" y="3293735"/>
            <a:ext cx="1008281" cy="2199"/>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p:cNvCxnSpPr>
            <a:cxnSpLocks/>
          </p:cNvCxnSpPr>
          <p:nvPr/>
        </p:nvCxnSpPr>
        <p:spPr>
          <a:xfrm>
            <a:off x="1961104" y="4081326"/>
            <a:ext cx="34999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a:cxnSpLocks/>
          </p:cNvCxnSpPr>
          <p:nvPr/>
        </p:nvCxnSpPr>
        <p:spPr>
          <a:xfrm>
            <a:off x="1119978" y="4081326"/>
            <a:ext cx="34999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1948740" y="2303857"/>
            <a:ext cx="886566" cy="783155"/>
            <a:chOff x="4476104" y="2864055"/>
            <a:chExt cx="886566" cy="783155"/>
          </a:xfrm>
        </p:grpSpPr>
        <p:pic>
          <p:nvPicPr>
            <p:cNvPr id="109" name="Picture 10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10" name="TextBox 109"/>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a:t>
              </a:r>
            </a:p>
          </p:txBody>
        </p:sp>
      </p:grpSp>
      <p:grpSp>
        <p:nvGrpSpPr>
          <p:cNvPr id="111" name="Group 110"/>
          <p:cNvGrpSpPr/>
          <p:nvPr/>
        </p:nvGrpSpPr>
        <p:grpSpPr>
          <a:xfrm>
            <a:off x="1921579" y="4893148"/>
            <a:ext cx="886566" cy="783155"/>
            <a:chOff x="4476104" y="2864055"/>
            <a:chExt cx="886566" cy="783155"/>
          </a:xfrm>
        </p:grpSpPr>
        <p:pic>
          <p:nvPicPr>
            <p:cNvPr id="112" name="Picture 1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13" name="TextBox 112"/>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a:t>
              </a:r>
            </a:p>
          </p:txBody>
        </p:sp>
      </p:grpSp>
      <p:sp>
        <p:nvSpPr>
          <p:cNvPr id="114" name="Freeform 21"/>
          <p:cNvSpPr>
            <a:spLocks noChangeAspect="1" noEditPoints="1"/>
          </p:cNvSpPr>
          <p:nvPr/>
        </p:nvSpPr>
        <p:spPr bwMode="black">
          <a:xfrm>
            <a:off x="3212708" y="3124021"/>
            <a:ext cx="490093" cy="305361"/>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6737410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l="-7888" r="7888"/>
          <a:stretch/>
        </p:blipFill>
        <p:spPr>
          <a:xfrm>
            <a:off x="1923568" y="0"/>
            <a:ext cx="10279562" cy="6858000"/>
          </a:xfrm>
          <a:prstGeom prst="rect">
            <a:avLst/>
          </a:prstGeom>
        </p:spPr>
      </p:pic>
      <p:sp>
        <p:nvSpPr>
          <p:cNvPr id="10" name="Rectangle 9"/>
          <p:cNvSpPr/>
          <p:nvPr/>
        </p:nvSpPr>
        <p:spPr bwMode="auto">
          <a:xfrm>
            <a:off x="2681702" y="0"/>
            <a:ext cx="5835300" cy="6874042"/>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p:cNvSpPr/>
          <p:nvPr/>
        </p:nvSpPr>
        <p:spPr>
          <a:xfrm>
            <a:off x="-38100" y="0"/>
            <a:ext cx="8194417" cy="6874042"/>
          </a:xfrm>
          <a:prstGeom prst="rect">
            <a:avLst/>
          </a:prstGeom>
          <a:solidFill>
            <a:srgbClr val="00205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bwMode="auto">
          <a:xfrm rot="10800000">
            <a:off x="0" y="5292100"/>
            <a:ext cx="12192000" cy="1581942"/>
          </a:xfrm>
          <a:prstGeom prst="rect">
            <a:avLst/>
          </a:prstGeom>
          <a:gradFill>
            <a:gsLst>
              <a:gs pos="0">
                <a:srgbClr val="000000">
                  <a:alpha val="4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 name="Picture 19"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4" name="Title 3"/>
          <p:cNvSpPr>
            <a:spLocks noGrp="1"/>
          </p:cNvSpPr>
          <p:nvPr>
            <p:ph type="title"/>
          </p:nvPr>
        </p:nvSpPr>
        <p:spPr>
          <a:xfrm>
            <a:off x="269240" y="289511"/>
            <a:ext cx="7503160" cy="899665"/>
          </a:xfrm>
        </p:spPr>
        <p:txBody>
          <a:bodyPr/>
          <a:lstStyle/>
          <a:p>
            <a:r>
              <a:rPr lang="en-US" spc="-40" dirty="0">
                <a:solidFill>
                  <a:schemeClr val="bg1"/>
                </a:solidFill>
                <a:cs typeface="Segoe UI Light"/>
              </a:rPr>
              <a:t>Reference Architecture</a:t>
            </a:r>
            <a:endParaRPr lang="en-US" dirty="0"/>
          </a:p>
        </p:txBody>
      </p:sp>
      <p:grpSp>
        <p:nvGrpSpPr>
          <p:cNvPr id="3" name="Group 2"/>
          <p:cNvGrpSpPr/>
          <p:nvPr/>
        </p:nvGrpSpPr>
        <p:grpSpPr>
          <a:xfrm>
            <a:off x="1502208" y="1760463"/>
            <a:ext cx="1211267" cy="733392"/>
            <a:chOff x="-2279425" y="3855758"/>
            <a:chExt cx="1211267" cy="733392"/>
          </a:xfrm>
        </p:grpSpPr>
        <p:sp>
          <p:nvSpPr>
            <p:cNvPr id="116" name="Freeform 13"/>
            <p:cNvSpPr>
              <a:spLocks noEditPoints="1"/>
            </p:cNvSpPr>
            <p:nvPr/>
          </p:nvSpPr>
          <p:spPr bwMode="auto">
            <a:xfrm>
              <a:off x="-1900232" y="3855758"/>
              <a:ext cx="468902" cy="404316"/>
            </a:xfrm>
            <a:custGeom>
              <a:avLst/>
              <a:gdLst>
                <a:gd name="T0" fmla="*/ 22 w 349"/>
                <a:gd name="T1" fmla="*/ 55 h 301"/>
                <a:gd name="T2" fmla="*/ 22 w 349"/>
                <a:gd name="T3" fmla="*/ 243 h 301"/>
                <a:gd name="T4" fmla="*/ 175 w 349"/>
                <a:gd name="T5" fmla="*/ 278 h 301"/>
                <a:gd name="T6" fmla="*/ 327 w 349"/>
                <a:gd name="T7" fmla="*/ 245 h 301"/>
                <a:gd name="T8" fmla="*/ 327 w 349"/>
                <a:gd name="T9" fmla="*/ 55 h 301"/>
                <a:gd name="T10" fmla="*/ 298 w 349"/>
                <a:gd name="T11" fmla="*/ 55 h 301"/>
                <a:gd name="T12" fmla="*/ 298 w 349"/>
                <a:gd name="T13" fmla="*/ 203 h 301"/>
                <a:gd name="T14" fmla="*/ 293 w 349"/>
                <a:gd name="T15" fmla="*/ 214 h 301"/>
                <a:gd name="T16" fmla="*/ 283 w 349"/>
                <a:gd name="T17" fmla="*/ 216 h 301"/>
                <a:gd name="T18" fmla="*/ 269 w 349"/>
                <a:gd name="T19" fmla="*/ 214 h 301"/>
                <a:gd name="T20" fmla="*/ 190 w 349"/>
                <a:gd name="T21" fmla="*/ 251 h 301"/>
                <a:gd name="T22" fmla="*/ 182 w 349"/>
                <a:gd name="T23" fmla="*/ 258 h 301"/>
                <a:gd name="T24" fmla="*/ 182 w 349"/>
                <a:gd name="T25" fmla="*/ 258 h 301"/>
                <a:gd name="T26" fmla="*/ 181 w 349"/>
                <a:gd name="T27" fmla="*/ 258 h 301"/>
                <a:gd name="T28" fmla="*/ 179 w 349"/>
                <a:gd name="T29" fmla="*/ 258 h 301"/>
                <a:gd name="T30" fmla="*/ 171 w 349"/>
                <a:gd name="T31" fmla="*/ 255 h 301"/>
                <a:gd name="T32" fmla="*/ 167 w 349"/>
                <a:gd name="T33" fmla="*/ 248 h 301"/>
                <a:gd name="T34" fmla="*/ 92 w 349"/>
                <a:gd name="T35" fmla="*/ 214 h 301"/>
                <a:gd name="T36" fmla="*/ 76 w 349"/>
                <a:gd name="T37" fmla="*/ 216 h 301"/>
                <a:gd name="T38" fmla="*/ 62 w 349"/>
                <a:gd name="T39" fmla="*/ 213 h 301"/>
                <a:gd name="T40" fmla="*/ 55 w 349"/>
                <a:gd name="T41" fmla="*/ 203 h 301"/>
                <a:gd name="T42" fmla="*/ 55 w 349"/>
                <a:gd name="T43" fmla="*/ 55 h 301"/>
                <a:gd name="T44" fmla="*/ 22 w 349"/>
                <a:gd name="T45" fmla="*/ 55 h 301"/>
                <a:gd name="T46" fmla="*/ 77 w 349"/>
                <a:gd name="T47" fmla="*/ 22 h 301"/>
                <a:gd name="T48" fmla="*/ 77 w 349"/>
                <a:gd name="T49" fmla="*/ 193 h 301"/>
                <a:gd name="T50" fmla="*/ 88 w 349"/>
                <a:gd name="T51" fmla="*/ 192 h 301"/>
                <a:gd name="T52" fmla="*/ 164 w 349"/>
                <a:gd name="T53" fmla="*/ 218 h 301"/>
                <a:gd name="T54" fmla="*/ 164 w 349"/>
                <a:gd name="T55" fmla="*/ 72 h 301"/>
                <a:gd name="T56" fmla="*/ 113 w 349"/>
                <a:gd name="T57" fmla="*/ 22 h 301"/>
                <a:gd name="T58" fmla="*/ 77 w 349"/>
                <a:gd name="T59" fmla="*/ 22 h 301"/>
                <a:gd name="T60" fmla="*/ 249 w 349"/>
                <a:gd name="T61" fmla="*/ 22 h 301"/>
                <a:gd name="T62" fmla="*/ 185 w 349"/>
                <a:gd name="T63" fmla="*/ 72 h 301"/>
                <a:gd name="T64" fmla="*/ 185 w 349"/>
                <a:gd name="T65" fmla="*/ 220 h 301"/>
                <a:gd name="T66" fmla="*/ 265 w 349"/>
                <a:gd name="T67" fmla="*/ 192 h 301"/>
                <a:gd name="T68" fmla="*/ 273 w 349"/>
                <a:gd name="T69" fmla="*/ 193 h 301"/>
                <a:gd name="T70" fmla="*/ 273 w 349"/>
                <a:gd name="T71" fmla="*/ 22 h 301"/>
                <a:gd name="T72" fmla="*/ 249 w 349"/>
                <a:gd name="T73" fmla="*/ 22 h 301"/>
                <a:gd name="T74" fmla="*/ 249 w 349"/>
                <a:gd name="T75" fmla="*/ 0 h 301"/>
                <a:gd name="T76" fmla="*/ 287 w 349"/>
                <a:gd name="T77" fmla="*/ 0 h 301"/>
                <a:gd name="T78" fmla="*/ 296 w 349"/>
                <a:gd name="T79" fmla="*/ 4 h 301"/>
                <a:gd name="T80" fmla="*/ 298 w 349"/>
                <a:gd name="T81" fmla="*/ 18 h 301"/>
                <a:gd name="T82" fmla="*/ 298 w 349"/>
                <a:gd name="T83" fmla="*/ 33 h 301"/>
                <a:gd name="T84" fmla="*/ 341 w 349"/>
                <a:gd name="T85" fmla="*/ 33 h 301"/>
                <a:gd name="T86" fmla="*/ 349 w 349"/>
                <a:gd name="T87" fmla="*/ 44 h 301"/>
                <a:gd name="T88" fmla="*/ 349 w 349"/>
                <a:gd name="T89" fmla="*/ 257 h 301"/>
                <a:gd name="T90" fmla="*/ 346 w 349"/>
                <a:gd name="T91" fmla="*/ 266 h 301"/>
                <a:gd name="T92" fmla="*/ 338 w 349"/>
                <a:gd name="T93" fmla="*/ 268 h 301"/>
                <a:gd name="T94" fmla="*/ 183 w 349"/>
                <a:gd name="T95" fmla="*/ 299 h 301"/>
                <a:gd name="T96" fmla="*/ 178 w 349"/>
                <a:gd name="T97" fmla="*/ 301 h 301"/>
                <a:gd name="T98" fmla="*/ 173 w 349"/>
                <a:gd name="T99" fmla="*/ 299 h 301"/>
                <a:gd name="T100" fmla="*/ 19 w 349"/>
                <a:gd name="T101" fmla="*/ 268 h 301"/>
                <a:gd name="T102" fmla="*/ 7 w 349"/>
                <a:gd name="T103" fmla="*/ 266 h 301"/>
                <a:gd name="T104" fmla="*/ 0 w 349"/>
                <a:gd name="T105" fmla="*/ 257 h 301"/>
                <a:gd name="T106" fmla="*/ 0 w 349"/>
                <a:gd name="T107" fmla="*/ 44 h 301"/>
                <a:gd name="T108" fmla="*/ 15 w 349"/>
                <a:gd name="T109" fmla="*/ 33 h 301"/>
                <a:gd name="T110" fmla="*/ 55 w 349"/>
                <a:gd name="T111" fmla="*/ 33 h 301"/>
                <a:gd name="T112" fmla="*/ 55 w 349"/>
                <a:gd name="T113" fmla="*/ 18 h 301"/>
                <a:gd name="T114" fmla="*/ 75 w 349"/>
                <a:gd name="T115" fmla="*/ 0 h 301"/>
                <a:gd name="T116" fmla="*/ 113 w 349"/>
                <a:gd name="T117" fmla="*/ 0 h 301"/>
                <a:gd name="T118" fmla="*/ 176 w 349"/>
                <a:gd name="T119" fmla="*/ 34 h 301"/>
                <a:gd name="T120" fmla="*/ 176 w 349"/>
                <a:gd name="T121" fmla="*/ 34 h 301"/>
                <a:gd name="T122" fmla="*/ 178 w 349"/>
                <a:gd name="T123" fmla="*/ 31 h 301"/>
                <a:gd name="T124" fmla="*/ 249 w 349"/>
                <a:gd name="T12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01">
                  <a:moveTo>
                    <a:pt x="22" y="55"/>
                  </a:moveTo>
                  <a:cubicBezTo>
                    <a:pt x="22" y="243"/>
                    <a:pt x="22" y="243"/>
                    <a:pt x="22" y="243"/>
                  </a:cubicBezTo>
                  <a:cubicBezTo>
                    <a:pt x="55" y="239"/>
                    <a:pt x="103" y="236"/>
                    <a:pt x="175" y="278"/>
                  </a:cubicBezTo>
                  <a:cubicBezTo>
                    <a:pt x="241" y="240"/>
                    <a:pt x="305" y="242"/>
                    <a:pt x="327" y="245"/>
                  </a:cubicBezTo>
                  <a:cubicBezTo>
                    <a:pt x="327" y="55"/>
                    <a:pt x="327" y="55"/>
                    <a:pt x="327" y="55"/>
                  </a:cubicBezTo>
                  <a:cubicBezTo>
                    <a:pt x="298" y="55"/>
                    <a:pt x="298" y="55"/>
                    <a:pt x="298" y="55"/>
                  </a:cubicBezTo>
                  <a:cubicBezTo>
                    <a:pt x="298" y="203"/>
                    <a:pt x="298" y="203"/>
                    <a:pt x="298" y="203"/>
                  </a:cubicBezTo>
                  <a:cubicBezTo>
                    <a:pt x="298" y="205"/>
                    <a:pt x="298" y="210"/>
                    <a:pt x="293" y="214"/>
                  </a:cubicBezTo>
                  <a:cubicBezTo>
                    <a:pt x="290" y="216"/>
                    <a:pt x="287" y="217"/>
                    <a:pt x="283" y="216"/>
                  </a:cubicBezTo>
                  <a:cubicBezTo>
                    <a:pt x="278" y="214"/>
                    <a:pt x="273" y="214"/>
                    <a:pt x="269" y="214"/>
                  </a:cubicBezTo>
                  <a:cubicBezTo>
                    <a:pt x="242" y="214"/>
                    <a:pt x="201" y="231"/>
                    <a:pt x="190" y="251"/>
                  </a:cubicBezTo>
                  <a:cubicBezTo>
                    <a:pt x="189" y="255"/>
                    <a:pt x="185" y="257"/>
                    <a:pt x="182" y="258"/>
                  </a:cubicBezTo>
                  <a:cubicBezTo>
                    <a:pt x="182" y="258"/>
                    <a:pt x="182" y="258"/>
                    <a:pt x="182" y="258"/>
                  </a:cubicBezTo>
                  <a:cubicBezTo>
                    <a:pt x="181" y="258"/>
                    <a:pt x="181" y="258"/>
                    <a:pt x="181" y="258"/>
                  </a:cubicBezTo>
                  <a:cubicBezTo>
                    <a:pt x="181" y="258"/>
                    <a:pt x="180" y="258"/>
                    <a:pt x="179" y="258"/>
                  </a:cubicBezTo>
                  <a:cubicBezTo>
                    <a:pt x="177" y="258"/>
                    <a:pt x="174" y="257"/>
                    <a:pt x="171" y="255"/>
                  </a:cubicBezTo>
                  <a:cubicBezTo>
                    <a:pt x="169" y="253"/>
                    <a:pt x="168" y="251"/>
                    <a:pt x="167" y="248"/>
                  </a:cubicBezTo>
                  <a:cubicBezTo>
                    <a:pt x="155" y="229"/>
                    <a:pt x="117" y="214"/>
                    <a:pt x="92" y="214"/>
                  </a:cubicBezTo>
                  <a:cubicBezTo>
                    <a:pt x="87" y="214"/>
                    <a:pt x="81" y="215"/>
                    <a:pt x="76" y="216"/>
                  </a:cubicBezTo>
                  <a:cubicBezTo>
                    <a:pt x="72" y="217"/>
                    <a:pt x="65" y="216"/>
                    <a:pt x="62" y="213"/>
                  </a:cubicBezTo>
                  <a:cubicBezTo>
                    <a:pt x="59" y="210"/>
                    <a:pt x="55" y="207"/>
                    <a:pt x="55" y="203"/>
                  </a:cubicBezTo>
                  <a:cubicBezTo>
                    <a:pt x="55" y="55"/>
                    <a:pt x="55" y="55"/>
                    <a:pt x="55" y="55"/>
                  </a:cubicBezTo>
                  <a:lnTo>
                    <a:pt x="22" y="55"/>
                  </a:lnTo>
                  <a:close/>
                  <a:moveTo>
                    <a:pt x="77" y="22"/>
                  </a:moveTo>
                  <a:cubicBezTo>
                    <a:pt x="77" y="193"/>
                    <a:pt x="77" y="193"/>
                    <a:pt x="77" y="193"/>
                  </a:cubicBezTo>
                  <a:cubicBezTo>
                    <a:pt x="88" y="192"/>
                    <a:pt x="84" y="192"/>
                    <a:pt x="88" y="192"/>
                  </a:cubicBezTo>
                  <a:cubicBezTo>
                    <a:pt x="112" y="192"/>
                    <a:pt x="142" y="202"/>
                    <a:pt x="164" y="218"/>
                  </a:cubicBezTo>
                  <a:cubicBezTo>
                    <a:pt x="164" y="72"/>
                    <a:pt x="164" y="72"/>
                    <a:pt x="164" y="72"/>
                  </a:cubicBezTo>
                  <a:cubicBezTo>
                    <a:pt x="164" y="42"/>
                    <a:pt x="146" y="22"/>
                    <a:pt x="113" y="22"/>
                  </a:cubicBezTo>
                  <a:lnTo>
                    <a:pt x="77" y="22"/>
                  </a:lnTo>
                  <a:close/>
                  <a:moveTo>
                    <a:pt x="249" y="22"/>
                  </a:moveTo>
                  <a:cubicBezTo>
                    <a:pt x="220" y="22"/>
                    <a:pt x="185" y="40"/>
                    <a:pt x="185" y="72"/>
                  </a:cubicBezTo>
                  <a:cubicBezTo>
                    <a:pt x="185" y="220"/>
                    <a:pt x="185" y="220"/>
                    <a:pt x="185" y="220"/>
                  </a:cubicBezTo>
                  <a:cubicBezTo>
                    <a:pt x="207" y="203"/>
                    <a:pt x="242" y="192"/>
                    <a:pt x="265" y="192"/>
                  </a:cubicBezTo>
                  <a:cubicBezTo>
                    <a:pt x="268" y="192"/>
                    <a:pt x="273" y="192"/>
                    <a:pt x="273" y="193"/>
                  </a:cubicBezTo>
                  <a:cubicBezTo>
                    <a:pt x="273" y="22"/>
                    <a:pt x="273" y="22"/>
                    <a:pt x="273" y="22"/>
                  </a:cubicBezTo>
                  <a:lnTo>
                    <a:pt x="249" y="22"/>
                  </a:lnTo>
                  <a:close/>
                  <a:moveTo>
                    <a:pt x="249" y="0"/>
                  </a:moveTo>
                  <a:cubicBezTo>
                    <a:pt x="287" y="0"/>
                    <a:pt x="287" y="0"/>
                    <a:pt x="287" y="0"/>
                  </a:cubicBezTo>
                  <a:cubicBezTo>
                    <a:pt x="291" y="0"/>
                    <a:pt x="294" y="2"/>
                    <a:pt x="296" y="4"/>
                  </a:cubicBezTo>
                  <a:cubicBezTo>
                    <a:pt x="300" y="9"/>
                    <a:pt x="299" y="14"/>
                    <a:pt x="298" y="18"/>
                  </a:cubicBezTo>
                  <a:cubicBezTo>
                    <a:pt x="298" y="33"/>
                    <a:pt x="298" y="33"/>
                    <a:pt x="298" y="33"/>
                  </a:cubicBezTo>
                  <a:cubicBezTo>
                    <a:pt x="341" y="33"/>
                    <a:pt x="341" y="33"/>
                    <a:pt x="341" y="33"/>
                  </a:cubicBezTo>
                  <a:cubicBezTo>
                    <a:pt x="347" y="33"/>
                    <a:pt x="349" y="38"/>
                    <a:pt x="349" y="44"/>
                  </a:cubicBezTo>
                  <a:cubicBezTo>
                    <a:pt x="349" y="257"/>
                    <a:pt x="349" y="257"/>
                    <a:pt x="349" y="257"/>
                  </a:cubicBezTo>
                  <a:cubicBezTo>
                    <a:pt x="349" y="261"/>
                    <a:pt x="349" y="264"/>
                    <a:pt x="346" y="266"/>
                  </a:cubicBezTo>
                  <a:cubicBezTo>
                    <a:pt x="344" y="268"/>
                    <a:pt x="341" y="269"/>
                    <a:pt x="338" y="268"/>
                  </a:cubicBezTo>
                  <a:cubicBezTo>
                    <a:pt x="337" y="268"/>
                    <a:pt x="264" y="251"/>
                    <a:pt x="183" y="299"/>
                  </a:cubicBezTo>
                  <a:cubicBezTo>
                    <a:pt x="182" y="300"/>
                    <a:pt x="180" y="301"/>
                    <a:pt x="178" y="301"/>
                  </a:cubicBezTo>
                  <a:cubicBezTo>
                    <a:pt x="176" y="301"/>
                    <a:pt x="174" y="300"/>
                    <a:pt x="173" y="299"/>
                  </a:cubicBezTo>
                  <a:cubicBezTo>
                    <a:pt x="82" y="244"/>
                    <a:pt x="20" y="267"/>
                    <a:pt x="19" y="268"/>
                  </a:cubicBezTo>
                  <a:cubicBezTo>
                    <a:pt x="16" y="269"/>
                    <a:pt x="10" y="268"/>
                    <a:pt x="7" y="266"/>
                  </a:cubicBezTo>
                  <a:cubicBezTo>
                    <a:pt x="4" y="264"/>
                    <a:pt x="0" y="261"/>
                    <a:pt x="0" y="257"/>
                  </a:cubicBezTo>
                  <a:cubicBezTo>
                    <a:pt x="0" y="44"/>
                    <a:pt x="0" y="44"/>
                    <a:pt x="0" y="44"/>
                  </a:cubicBezTo>
                  <a:cubicBezTo>
                    <a:pt x="0" y="38"/>
                    <a:pt x="9" y="33"/>
                    <a:pt x="15" y="33"/>
                  </a:cubicBezTo>
                  <a:cubicBezTo>
                    <a:pt x="55" y="33"/>
                    <a:pt x="55" y="33"/>
                    <a:pt x="55" y="33"/>
                  </a:cubicBezTo>
                  <a:cubicBezTo>
                    <a:pt x="55" y="18"/>
                    <a:pt x="55" y="18"/>
                    <a:pt x="55" y="18"/>
                  </a:cubicBezTo>
                  <a:cubicBezTo>
                    <a:pt x="55" y="12"/>
                    <a:pt x="66" y="0"/>
                    <a:pt x="75" y="0"/>
                  </a:cubicBezTo>
                  <a:cubicBezTo>
                    <a:pt x="113" y="0"/>
                    <a:pt x="113" y="0"/>
                    <a:pt x="113" y="0"/>
                  </a:cubicBezTo>
                  <a:cubicBezTo>
                    <a:pt x="143" y="0"/>
                    <a:pt x="164" y="13"/>
                    <a:pt x="176" y="34"/>
                  </a:cubicBezTo>
                  <a:cubicBezTo>
                    <a:pt x="176" y="34"/>
                    <a:pt x="176" y="34"/>
                    <a:pt x="176" y="34"/>
                  </a:cubicBezTo>
                  <a:cubicBezTo>
                    <a:pt x="178" y="31"/>
                    <a:pt x="178" y="31"/>
                    <a:pt x="178" y="31"/>
                  </a:cubicBezTo>
                  <a:cubicBezTo>
                    <a:pt x="194" y="12"/>
                    <a:pt x="220" y="0"/>
                    <a:pt x="24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TextBox 116"/>
            <p:cNvSpPr txBox="1"/>
            <p:nvPr/>
          </p:nvSpPr>
          <p:spPr>
            <a:xfrm>
              <a:off x="-2279425" y="4326001"/>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zure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ctive Directory</a:t>
              </a:r>
            </a:p>
          </p:txBody>
        </p:sp>
      </p:grpSp>
      <p:grpSp>
        <p:nvGrpSpPr>
          <p:cNvPr id="5" name="Group 4"/>
          <p:cNvGrpSpPr/>
          <p:nvPr/>
        </p:nvGrpSpPr>
        <p:grpSpPr>
          <a:xfrm>
            <a:off x="1775715" y="5408912"/>
            <a:ext cx="664252" cy="652502"/>
            <a:chOff x="-1986724" y="4891070"/>
            <a:chExt cx="664252" cy="652502"/>
          </a:xfrm>
        </p:grpSpPr>
        <p:grpSp>
          <p:nvGrpSpPr>
            <p:cNvPr id="119" name="Group 118"/>
            <p:cNvGrpSpPr/>
            <p:nvPr/>
          </p:nvGrpSpPr>
          <p:grpSpPr>
            <a:xfrm>
              <a:off x="-1851156" y="4891070"/>
              <a:ext cx="387391" cy="454774"/>
              <a:chOff x="1968596" y="3790350"/>
              <a:chExt cx="335351" cy="393683"/>
            </a:xfrm>
          </p:grpSpPr>
          <p:sp>
            <p:nvSpPr>
              <p:cNvPr id="120" name="Left Bracket 119"/>
              <p:cNvSpPr/>
              <p:nvPr/>
            </p:nvSpPr>
            <p:spPr>
              <a:xfrm rot="5400000">
                <a:off x="2083660" y="3675288"/>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Left Bracket 120"/>
              <p:cNvSpPr/>
              <p:nvPr/>
            </p:nvSpPr>
            <p:spPr>
              <a:xfrm rot="16200000">
                <a:off x="2083658" y="3963746"/>
                <a:ext cx="105225" cy="335349"/>
              </a:xfrm>
              <a:prstGeom prst="leftBracket">
                <a:avLst>
                  <a:gd name="adj" fmla="val 0"/>
                </a:avLst>
              </a:prstGeom>
              <a:ln w="2667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p:cNvGrpSpPr/>
              <p:nvPr/>
            </p:nvGrpSpPr>
            <p:grpSpPr>
              <a:xfrm>
                <a:off x="2028183" y="3878528"/>
                <a:ext cx="247064" cy="244013"/>
                <a:chOff x="4020820" y="2536426"/>
                <a:chExt cx="1116178" cy="1102393"/>
              </a:xfrm>
            </p:grpSpPr>
            <p:sp>
              <p:nvSpPr>
                <p:cNvPr id="123" name="Rectangle 122"/>
                <p:cNvSpPr/>
                <p:nvPr/>
              </p:nvSpPr>
              <p:spPr bwMode="auto">
                <a:xfrm>
                  <a:off x="4020820" y="2536426"/>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4" name="Rectangle 123"/>
                <p:cNvSpPr/>
                <p:nvPr/>
              </p:nvSpPr>
              <p:spPr bwMode="auto">
                <a:xfrm>
                  <a:off x="4402201" y="2707667"/>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5" name="Rectangle 124"/>
                <p:cNvSpPr/>
                <p:nvPr/>
              </p:nvSpPr>
              <p:spPr bwMode="auto">
                <a:xfrm>
                  <a:off x="4020820"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6" name="Rectangle 125"/>
                <p:cNvSpPr/>
                <p:nvPr/>
              </p:nvSpPr>
              <p:spPr bwMode="auto">
                <a:xfrm>
                  <a:off x="4402201" y="3084453"/>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7" name="Rectangle 126"/>
                <p:cNvSpPr/>
                <p:nvPr/>
              </p:nvSpPr>
              <p:spPr bwMode="auto">
                <a:xfrm>
                  <a:off x="4788181" y="2913214"/>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128" name="Rectangle 127"/>
                <p:cNvSpPr/>
                <p:nvPr/>
              </p:nvSpPr>
              <p:spPr bwMode="auto">
                <a:xfrm>
                  <a:off x="4020820" y="3290002"/>
                  <a:ext cx="348817" cy="348817"/>
                </a:xfrm>
                <a:prstGeom prst="rect">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129" name="TextBox 128"/>
            <p:cNvSpPr txBox="1"/>
            <p:nvPr/>
          </p:nvSpPr>
          <p:spPr>
            <a:xfrm>
              <a:off x="-1986724" y="5411998"/>
              <a:ext cx="664252"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vent Hubs</a:t>
              </a:r>
            </a:p>
          </p:txBody>
        </p:sp>
      </p:grpSp>
      <p:grpSp>
        <p:nvGrpSpPr>
          <p:cNvPr id="6" name="Group 5"/>
          <p:cNvGrpSpPr/>
          <p:nvPr/>
        </p:nvGrpSpPr>
        <p:grpSpPr>
          <a:xfrm>
            <a:off x="5350769" y="5297968"/>
            <a:ext cx="1211267" cy="874391"/>
            <a:chOff x="-2267750" y="5744816"/>
            <a:chExt cx="1211267" cy="874391"/>
          </a:xfrm>
        </p:grpSpPr>
        <p:sp>
          <p:nvSpPr>
            <p:cNvPr id="135" name="Freeform 21"/>
            <p:cNvSpPr>
              <a:spLocks noEditPoints="1"/>
            </p:cNvSpPr>
            <p:nvPr/>
          </p:nvSpPr>
          <p:spPr bwMode="auto">
            <a:xfrm>
              <a:off x="-1930001" y="5744816"/>
              <a:ext cx="490619" cy="555090"/>
            </a:xfrm>
            <a:custGeom>
              <a:avLst/>
              <a:gdLst>
                <a:gd name="T0" fmla="*/ 507 w 719"/>
                <a:gd name="T1" fmla="*/ 685 h 814"/>
                <a:gd name="T2" fmla="*/ 494 w 719"/>
                <a:gd name="T3" fmla="*/ 698 h 814"/>
                <a:gd name="T4" fmla="*/ 507 w 719"/>
                <a:gd name="T5" fmla="*/ 711 h 814"/>
                <a:gd name="T6" fmla="*/ 520 w 719"/>
                <a:gd name="T7" fmla="*/ 698 h 814"/>
                <a:gd name="T8" fmla="*/ 507 w 719"/>
                <a:gd name="T9" fmla="*/ 685 h 814"/>
                <a:gd name="T10" fmla="*/ 507 w 719"/>
                <a:gd name="T11" fmla="*/ 634 h 814"/>
                <a:gd name="T12" fmla="*/ 571 w 719"/>
                <a:gd name="T13" fmla="*/ 698 h 814"/>
                <a:gd name="T14" fmla="*/ 507 w 719"/>
                <a:gd name="T15" fmla="*/ 761 h 814"/>
                <a:gd name="T16" fmla="*/ 443 w 719"/>
                <a:gd name="T17" fmla="*/ 698 h 814"/>
                <a:gd name="T18" fmla="*/ 507 w 719"/>
                <a:gd name="T19" fmla="*/ 634 h 814"/>
                <a:gd name="T20" fmla="*/ 329 w 719"/>
                <a:gd name="T21" fmla="*/ 547 h 814"/>
                <a:gd name="T22" fmla="*/ 303 w 719"/>
                <a:gd name="T23" fmla="*/ 572 h 814"/>
                <a:gd name="T24" fmla="*/ 329 w 719"/>
                <a:gd name="T25" fmla="*/ 598 h 814"/>
                <a:gd name="T26" fmla="*/ 354 w 719"/>
                <a:gd name="T27" fmla="*/ 572 h 814"/>
                <a:gd name="T28" fmla="*/ 329 w 719"/>
                <a:gd name="T29" fmla="*/ 547 h 814"/>
                <a:gd name="T30" fmla="*/ 329 w 719"/>
                <a:gd name="T31" fmla="*/ 496 h 814"/>
                <a:gd name="T32" fmla="*/ 405 w 719"/>
                <a:gd name="T33" fmla="*/ 572 h 814"/>
                <a:gd name="T34" fmla="*/ 329 w 719"/>
                <a:gd name="T35" fmla="*/ 649 h 814"/>
                <a:gd name="T36" fmla="*/ 253 w 719"/>
                <a:gd name="T37" fmla="*/ 572 h 814"/>
                <a:gd name="T38" fmla="*/ 329 w 719"/>
                <a:gd name="T39" fmla="*/ 496 h 814"/>
                <a:gd name="T40" fmla="*/ 269 w 719"/>
                <a:gd name="T41" fmla="*/ 407 h 814"/>
                <a:gd name="T42" fmla="*/ 58 w 719"/>
                <a:gd name="T43" fmla="*/ 726 h 814"/>
                <a:gd name="T44" fmla="*/ 57 w 719"/>
                <a:gd name="T45" fmla="*/ 751 h 814"/>
                <a:gd name="T46" fmla="*/ 78 w 719"/>
                <a:gd name="T47" fmla="*/ 763 h 814"/>
                <a:gd name="T48" fmla="*/ 641 w 719"/>
                <a:gd name="T49" fmla="*/ 763 h 814"/>
                <a:gd name="T50" fmla="*/ 662 w 719"/>
                <a:gd name="T51" fmla="*/ 751 h 814"/>
                <a:gd name="T52" fmla="*/ 661 w 719"/>
                <a:gd name="T53" fmla="*/ 725 h 814"/>
                <a:gd name="T54" fmla="*/ 450 w 719"/>
                <a:gd name="T55" fmla="*/ 407 h 814"/>
                <a:gd name="T56" fmla="*/ 269 w 719"/>
                <a:gd name="T57" fmla="*/ 407 h 814"/>
                <a:gd name="T58" fmla="*/ 285 w 719"/>
                <a:gd name="T59" fmla="*/ 51 h 814"/>
                <a:gd name="T60" fmla="*/ 256 w 719"/>
                <a:gd name="T61" fmla="*/ 76 h 814"/>
                <a:gd name="T62" fmla="*/ 285 w 719"/>
                <a:gd name="T63" fmla="*/ 102 h 814"/>
                <a:gd name="T64" fmla="*/ 318 w 719"/>
                <a:gd name="T65" fmla="*/ 102 h 814"/>
                <a:gd name="T66" fmla="*/ 318 w 719"/>
                <a:gd name="T67" fmla="*/ 334 h 814"/>
                <a:gd name="T68" fmla="*/ 303 w 719"/>
                <a:gd name="T69" fmla="*/ 356 h 814"/>
                <a:gd name="T70" fmla="*/ 416 w 719"/>
                <a:gd name="T71" fmla="*/ 356 h 814"/>
                <a:gd name="T72" fmla="*/ 401 w 719"/>
                <a:gd name="T73" fmla="*/ 334 h 814"/>
                <a:gd name="T74" fmla="*/ 401 w 719"/>
                <a:gd name="T75" fmla="*/ 102 h 814"/>
                <a:gd name="T76" fmla="*/ 434 w 719"/>
                <a:gd name="T77" fmla="*/ 102 h 814"/>
                <a:gd name="T78" fmla="*/ 463 w 719"/>
                <a:gd name="T79" fmla="*/ 76 h 814"/>
                <a:gd name="T80" fmla="*/ 434 w 719"/>
                <a:gd name="T81" fmla="*/ 51 h 814"/>
                <a:gd name="T82" fmla="*/ 285 w 719"/>
                <a:gd name="T83" fmla="*/ 51 h 814"/>
                <a:gd name="T84" fmla="*/ 285 w 719"/>
                <a:gd name="T85" fmla="*/ 0 h 814"/>
                <a:gd name="T86" fmla="*/ 434 w 719"/>
                <a:gd name="T87" fmla="*/ 0 h 814"/>
                <a:gd name="T88" fmla="*/ 514 w 719"/>
                <a:gd name="T89" fmla="*/ 76 h 814"/>
                <a:gd name="T90" fmla="*/ 452 w 719"/>
                <a:gd name="T91" fmla="*/ 150 h 814"/>
                <a:gd name="T92" fmla="*/ 452 w 719"/>
                <a:gd name="T93" fmla="*/ 319 h 814"/>
                <a:gd name="T94" fmla="*/ 704 w 719"/>
                <a:gd name="T95" fmla="*/ 698 h 814"/>
                <a:gd name="T96" fmla="*/ 706 w 719"/>
                <a:gd name="T97" fmla="*/ 776 h 814"/>
                <a:gd name="T98" fmla="*/ 641 w 719"/>
                <a:gd name="T99" fmla="*/ 814 h 814"/>
                <a:gd name="T100" fmla="*/ 78 w 719"/>
                <a:gd name="T101" fmla="*/ 814 h 814"/>
                <a:gd name="T102" fmla="*/ 13 w 719"/>
                <a:gd name="T103" fmla="*/ 776 h 814"/>
                <a:gd name="T104" fmla="*/ 15 w 719"/>
                <a:gd name="T105" fmla="*/ 699 h 814"/>
                <a:gd name="T106" fmla="*/ 267 w 719"/>
                <a:gd name="T107" fmla="*/ 319 h 814"/>
                <a:gd name="T108" fmla="*/ 267 w 719"/>
                <a:gd name="T109" fmla="*/ 150 h 814"/>
                <a:gd name="T110" fmla="*/ 205 w 719"/>
                <a:gd name="T111" fmla="*/ 76 h 814"/>
                <a:gd name="T112" fmla="*/ 285 w 719"/>
                <a:gd name="T113"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9" h="814">
                  <a:moveTo>
                    <a:pt x="507" y="685"/>
                  </a:moveTo>
                  <a:cubicBezTo>
                    <a:pt x="500" y="685"/>
                    <a:pt x="494" y="691"/>
                    <a:pt x="494" y="698"/>
                  </a:cubicBezTo>
                  <a:cubicBezTo>
                    <a:pt x="494" y="705"/>
                    <a:pt x="500" y="711"/>
                    <a:pt x="507" y="711"/>
                  </a:cubicBezTo>
                  <a:cubicBezTo>
                    <a:pt x="514" y="711"/>
                    <a:pt x="520" y="705"/>
                    <a:pt x="520" y="698"/>
                  </a:cubicBezTo>
                  <a:cubicBezTo>
                    <a:pt x="520" y="691"/>
                    <a:pt x="514" y="685"/>
                    <a:pt x="507" y="685"/>
                  </a:cubicBezTo>
                  <a:close/>
                  <a:moveTo>
                    <a:pt x="507" y="634"/>
                  </a:moveTo>
                  <a:cubicBezTo>
                    <a:pt x="542" y="634"/>
                    <a:pt x="571" y="663"/>
                    <a:pt x="571" y="698"/>
                  </a:cubicBezTo>
                  <a:cubicBezTo>
                    <a:pt x="571" y="733"/>
                    <a:pt x="542" y="761"/>
                    <a:pt x="507" y="761"/>
                  </a:cubicBezTo>
                  <a:cubicBezTo>
                    <a:pt x="472" y="761"/>
                    <a:pt x="443" y="733"/>
                    <a:pt x="443" y="698"/>
                  </a:cubicBezTo>
                  <a:cubicBezTo>
                    <a:pt x="443" y="663"/>
                    <a:pt x="472" y="634"/>
                    <a:pt x="507" y="634"/>
                  </a:cubicBezTo>
                  <a:close/>
                  <a:moveTo>
                    <a:pt x="329" y="547"/>
                  </a:moveTo>
                  <a:cubicBezTo>
                    <a:pt x="315" y="547"/>
                    <a:pt x="303" y="558"/>
                    <a:pt x="303" y="572"/>
                  </a:cubicBezTo>
                  <a:cubicBezTo>
                    <a:pt x="303" y="586"/>
                    <a:pt x="315" y="598"/>
                    <a:pt x="329" y="598"/>
                  </a:cubicBezTo>
                  <a:cubicBezTo>
                    <a:pt x="343" y="598"/>
                    <a:pt x="354" y="586"/>
                    <a:pt x="354" y="572"/>
                  </a:cubicBezTo>
                  <a:cubicBezTo>
                    <a:pt x="354" y="558"/>
                    <a:pt x="343" y="547"/>
                    <a:pt x="329" y="547"/>
                  </a:cubicBezTo>
                  <a:close/>
                  <a:moveTo>
                    <a:pt x="329" y="496"/>
                  </a:moveTo>
                  <a:cubicBezTo>
                    <a:pt x="371" y="496"/>
                    <a:pt x="405" y="530"/>
                    <a:pt x="405" y="572"/>
                  </a:cubicBezTo>
                  <a:cubicBezTo>
                    <a:pt x="405" y="614"/>
                    <a:pt x="371" y="649"/>
                    <a:pt x="329" y="649"/>
                  </a:cubicBezTo>
                  <a:cubicBezTo>
                    <a:pt x="287" y="649"/>
                    <a:pt x="253" y="614"/>
                    <a:pt x="253" y="572"/>
                  </a:cubicBezTo>
                  <a:cubicBezTo>
                    <a:pt x="253" y="530"/>
                    <a:pt x="287" y="496"/>
                    <a:pt x="329" y="496"/>
                  </a:cubicBezTo>
                  <a:close/>
                  <a:moveTo>
                    <a:pt x="269" y="407"/>
                  </a:moveTo>
                  <a:cubicBezTo>
                    <a:pt x="58" y="726"/>
                    <a:pt x="58" y="726"/>
                    <a:pt x="58" y="726"/>
                  </a:cubicBezTo>
                  <a:cubicBezTo>
                    <a:pt x="53" y="733"/>
                    <a:pt x="53" y="743"/>
                    <a:pt x="57" y="751"/>
                  </a:cubicBezTo>
                  <a:cubicBezTo>
                    <a:pt x="59" y="754"/>
                    <a:pt x="66" y="763"/>
                    <a:pt x="78" y="763"/>
                  </a:cubicBezTo>
                  <a:cubicBezTo>
                    <a:pt x="641" y="763"/>
                    <a:pt x="641" y="763"/>
                    <a:pt x="641" y="763"/>
                  </a:cubicBezTo>
                  <a:cubicBezTo>
                    <a:pt x="653" y="763"/>
                    <a:pt x="660" y="754"/>
                    <a:pt x="662" y="751"/>
                  </a:cubicBezTo>
                  <a:cubicBezTo>
                    <a:pt x="666" y="743"/>
                    <a:pt x="666" y="733"/>
                    <a:pt x="661" y="725"/>
                  </a:cubicBezTo>
                  <a:cubicBezTo>
                    <a:pt x="450" y="407"/>
                    <a:pt x="450" y="407"/>
                    <a:pt x="450" y="407"/>
                  </a:cubicBezTo>
                  <a:lnTo>
                    <a:pt x="269" y="407"/>
                  </a:lnTo>
                  <a:close/>
                  <a:moveTo>
                    <a:pt x="285" y="51"/>
                  </a:moveTo>
                  <a:cubicBezTo>
                    <a:pt x="269" y="51"/>
                    <a:pt x="256" y="62"/>
                    <a:pt x="256" y="76"/>
                  </a:cubicBezTo>
                  <a:cubicBezTo>
                    <a:pt x="256" y="90"/>
                    <a:pt x="269" y="102"/>
                    <a:pt x="285" y="102"/>
                  </a:cubicBezTo>
                  <a:cubicBezTo>
                    <a:pt x="318" y="102"/>
                    <a:pt x="318" y="102"/>
                    <a:pt x="318" y="102"/>
                  </a:cubicBezTo>
                  <a:cubicBezTo>
                    <a:pt x="318" y="334"/>
                    <a:pt x="318" y="334"/>
                    <a:pt x="318" y="334"/>
                  </a:cubicBezTo>
                  <a:cubicBezTo>
                    <a:pt x="303" y="356"/>
                    <a:pt x="303" y="356"/>
                    <a:pt x="303" y="356"/>
                  </a:cubicBezTo>
                  <a:cubicBezTo>
                    <a:pt x="416" y="356"/>
                    <a:pt x="416" y="356"/>
                    <a:pt x="416" y="356"/>
                  </a:cubicBezTo>
                  <a:cubicBezTo>
                    <a:pt x="401" y="334"/>
                    <a:pt x="401" y="334"/>
                    <a:pt x="401" y="334"/>
                  </a:cubicBezTo>
                  <a:cubicBezTo>
                    <a:pt x="401" y="102"/>
                    <a:pt x="401" y="102"/>
                    <a:pt x="401" y="102"/>
                  </a:cubicBezTo>
                  <a:cubicBezTo>
                    <a:pt x="434" y="102"/>
                    <a:pt x="434" y="102"/>
                    <a:pt x="434" y="102"/>
                  </a:cubicBezTo>
                  <a:cubicBezTo>
                    <a:pt x="450" y="102"/>
                    <a:pt x="463" y="90"/>
                    <a:pt x="463" y="76"/>
                  </a:cubicBezTo>
                  <a:cubicBezTo>
                    <a:pt x="463" y="62"/>
                    <a:pt x="450" y="51"/>
                    <a:pt x="434" y="51"/>
                  </a:cubicBezTo>
                  <a:lnTo>
                    <a:pt x="285" y="51"/>
                  </a:lnTo>
                  <a:close/>
                  <a:moveTo>
                    <a:pt x="285" y="0"/>
                  </a:moveTo>
                  <a:cubicBezTo>
                    <a:pt x="434" y="0"/>
                    <a:pt x="434" y="0"/>
                    <a:pt x="434" y="0"/>
                  </a:cubicBezTo>
                  <a:cubicBezTo>
                    <a:pt x="478" y="0"/>
                    <a:pt x="514" y="34"/>
                    <a:pt x="514" y="76"/>
                  </a:cubicBezTo>
                  <a:cubicBezTo>
                    <a:pt x="514" y="112"/>
                    <a:pt x="488" y="143"/>
                    <a:pt x="452" y="150"/>
                  </a:cubicBezTo>
                  <a:cubicBezTo>
                    <a:pt x="452" y="319"/>
                    <a:pt x="452" y="319"/>
                    <a:pt x="452" y="319"/>
                  </a:cubicBezTo>
                  <a:cubicBezTo>
                    <a:pt x="704" y="698"/>
                    <a:pt x="704" y="698"/>
                    <a:pt x="704" y="698"/>
                  </a:cubicBezTo>
                  <a:cubicBezTo>
                    <a:pt x="719" y="722"/>
                    <a:pt x="719" y="751"/>
                    <a:pt x="706" y="776"/>
                  </a:cubicBezTo>
                  <a:cubicBezTo>
                    <a:pt x="693" y="800"/>
                    <a:pt x="668" y="814"/>
                    <a:pt x="641" y="814"/>
                  </a:cubicBezTo>
                  <a:cubicBezTo>
                    <a:pt x="78" y="814"/>
                    <a:pt x="78" y="814"/>
                    <a:pt x="78" y="814"/>
                  </a:cubicBezTo>
                  <a:cubicBezTo>
                    <a:pt x="51" y="814"/>
                    <a:pt x="26" y="800"/>
                    <a:pt x="13" y="776"/>
                  </a:cubicBezTo>
                  <a:cubicBezTo>
                    <a:pt x="0" y="751"/>
                    <a:pt x="0" y="722"/>
                    <a:pt x="15" y="699"/>
                  </a:cubicBezTo>
                  <a:cubicBezTo>
                    <a:pt x="267" y="319"/>
                    <a:pt x="267" y="319"/>
                    <a:pt x="267" y="319"/>
                  </a:cubicBezTo>
                  <a:cubicBezTo>
                    <a:pt x="267" y="150"/>
                    <a:pt x="267" y="150"/>
                    <a:pt x="267" y="150"/>
                  </a:cubicBezTo>
                  <a:cubicBezTo>
                    <a:pt x="231" y="143"/>
                    <a:pt x="205" y="112"/>
                    <a:pt x="205" y="76"/>
                  </a:cubicBezTo>
                  <a:cubicBezTo>
                    <a:pt x="205" y="34"/>
                    <a:pt x="241" y="0"/>
                    <a:pt x="28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TextBox 135"/>
            <p:cNvSpPr txBox="1"/>
            <p:nvPr/>
          </p:nvSpPr>
          <p:spPr>
            <a:xfrm>
              <a:off x="-2267750" y="6356058"/>
              <a:ext cx="1211267"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Machine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earning</a:t>
              </a:r>
            </a:p>
          </p:txBody>
        </p:sp>
      </p:grpSp>
      <p:grpSp>
        <p:nvGrpSpPr>
          <p:cNvPr id="16" name="Group 15"/>
          <p:cNvGrpSpPr/>
          <p:nvPr/>
        </p:nvGrpSpPr>
        <p:grpSpPr>
          <a:xfrm>
            <a:off x="1661695" y="4181723"/>
            <a:ext cx="886566" cy="775347"/>
            <a:chOff x="5750967" y="1478951"/>
            <a:chExt cx="886566" cy="775347"/>
          </a:xfrm>
        </p:grpSpPr>
        <p:grpSp>
          <p:nvGrpSpPr>
            <p:cNvPr id="155" name="Group 154"/>
            <p:cNvGrpSpPr>
              <a:grpSpLocks noChangeAspect="1"/>
            </p:cNvGrpSpPr>
            <p:nvPr/>
          </p:nvGrpSpPr>
          <p:grpSpPr bwMode="black">
            <a:xfrm>
              <a:off x="5874938" y="1478951"/>
              <a:ext cx="638624" cy="482738"/>
              <a:chOff x="5152725" y="4450437"/>
              <a:chExt cx="311284" cy="235362"/>
            </a:xfrm>
          </p:grpSpPr>
          <p:sp>
            <p:nvSpPr>
              <p:cNvPr id="156"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sp>
            <p:nvSpPr>
              <p:cNvPr id="157"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58" name="TextBox 157"/>
            <p:cNvSpPr txBox="1"/>
            <p:nvPr/>
          </p:nvSpPr>
          <p:spPr>
            <a:xfrm>
              <a:off x="5750967" y="1991149"/>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otification Hubs</a:t>
              </a:r>
            </a:p>
          </p:txBody>
        </p:sp>
      </p:grpSp>
      <p:sp>
        <p:nvSpPr>
          <p:cNvPr id="18" name="TextBox 17"/>
          <p:cNvSpPr txBox="1"/>
          <p:nvPr/>
        </p:nvSpPr>
        <p:spPr>
          <a:xfrm>
            <a:off x="394580" y="1331344"/>
            <a:ext cx="859582"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Patient</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5" name="TextBox 164"/>
          <p:cNvSpPr txBox="1"/>
          <p:nvPr/>
        </p:nvSpPr>
        <p:spPr>
          <a:xfrm>
            <a:off x="3346983" y="1331344"/>
            <a:ext cx="1460259"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Pro" charset="0"/>
                <a:ea typeface="Segoe Pro" charset="0"/>
                <a:cs typeface="Segoe Pro" charset="0"/>
              </a:rPr>
              <a:t>Azure</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166" name="TextBox 165"/>
          <p:cNvSpPr txBox="1"/>
          <p:nvPr/>
        </p:nvSpPr>
        <p:spPr>
          <a:xfrm>
            <a:off x="6468517" y="1331344"/>
            <a:ext cx="1510961" cy="378105"/>
          </a:xfrm>
          <a:prstGeom prst="rect">
            <a:avLst/>
          </a:prstGeom>
          <a:noFill/>
        </p:spPr>
        <p:txBody>
          <a:bodyPr wrap="squar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charset="0"/>
                <a:ea typeface="Segoe Pro" charset="0"/>
                <a:cs typeface="Segoe Pro" charset="0"/>
              </a:rPr>
              <a:t>Visualization and Integration</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cxnSp>
        <p:nvCxnSpPr>
          <p:cNvPr id="21" name="Straight Connector 20"/>
          <p:cNvCxnSpPr/>
          <p:nvPr/>
        </p:nvCxnSpPr>
        <p:spPr>
          <a:xfrm>
            <a:off x="1483718" y="1331344"/>
            <a:ext cx="0" cy="518679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468517" y="1331344"/>
            <a:ext cx="0" cy="515628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6767339" y="3983495"/>
            <a:ext cx="886566" cy="788741"/>
            <a:chOff x="-2096840" y="2825851"/>
            <a:chExt cx="886566" cy="788741"/>
          </a:xfrm>
        </p:grpSpPr>
        <p:sp>
          <p:nvSpPr>
            <p:cNvPr id="179" name="Freeform 144"/>
            <p:cNvSpPr>
              <a:spLocks noChangeAspect="1" noEditPoints="1"/>
            </p:cNvSpPr>
            <p:nvPr/>
          </p:nvSpPr>
          <p:spPr bwMode="black">
            <a:xfrm>
              <a:off x="-1881548" y="2825851"/>
              <a:ext cx="455982" cy="428545"/>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solidFill>
              <a:schemeClr val="bg1"/>
            </a:solidFill>
            <a:ln>
              <a:noFill/>
            </a:ln>
            <a:extLst/>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TextBox 179"/>
            <p:cNvSpPr txBox="1"/>
            <p:nvPr/>
          </p:nvSpPr>
          <p:spPr>
            <a:xfrm>
              <a:off x="-2096840" y="3351443"/>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Semibold" panose="020B0702040504020203" pitchFamily="34" charset="0"/>
                  <a:ea typeface="+mn-ea"/>
                  <a:cs typeface="+mn-cs"/>
                </a:rPr>
                <a:t>Microsoft Dynamics CRM</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81" name="Group 180"/>
          <p:cNvGrpSpPr/>
          <p:nvPr/>
        </p:nvGrpSpPr>
        <p:grpSpPr>
          <a:xfrm>
            <a:off x="6721672" y="2839442"/>
            <a:ext cx="977900" cy="768561"/>
            <a:chOff x="-22162" y="5653284"/>
            <a:chExt cx="977900" cy="768561"/>
          </a:xfrm>
        </p:grpSpPr>
        <p:grpSp>
          <p:nvGrpSpPr>
            <p:cNvPr id="182" name="Group 181"/>
            <p:cNvGrpSpPr/>
            <p:nvPr/>
          </p:nvGrpSpPr>
          <p:grpSpPr>
            <a:xfrm>
              <a:off x="44051" y="5653284"/>
              <a:ext cx="845472" cy="543924"/>
              <a:chOff x="45869" y="5715530"/>
              <a:chExt cx="1065180" cy="685270"/>
            </a:xfrm>
          </p:grpSpPr>
          <p:sp>
            <p:nvSpPr>
              <p:cNvPr id="184" name="Freeform 183"/>
              <p:cNvSpPr>
                <a:spLocks noChangeAspect="1"/>
              </p:cNvSpPr>
              <p:nvPr/>
            </p:nvSpPr>
            <p:spPr bwMode="black">
              <a:xfrm>
                <a:off x="355298" y="5870095"/>
                <a:ext cx="448096" cy="289541"/>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Freeform 20"/>
              <p:cNvSpPr>
                <a:spLocks noEditPoints="1"/>
              </p:cNvSpPr>
              <p:nvPr/>
            </p:nvSpPr>
            <p:spPr bwMode="black">
              <a:xfrm>
                <a:off x="45869" y="5715530"/>
                <a:ext cx="1065180" cy="685270"/>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505050">
                      <a:lumMod val="50000"/>
                    </a:srgbClr>
                  </a:solidFill>
                  <a:effectLst/>
                  <a:uLnTx/>
                  <a:uFillTx/>
                  <a:latin typeface="Segoe Light" pitchFamily="34" charset="0"/>
                  <a:ea typeface="+mn-ea"/>
                  <a:cs typeface="+mn-cs"/>
                </a:endParaRPr>
              </a:p>
            </p:txBody>
          </p:sp>
        </p:grpSp>
        <p:sp>
          <p:nvSpPr>
            <p:cNvPr id="183" name="TextBox 182"/>
            <p:cNvSpPr txBox="1"/>
            <p:nvPr/>
          </p:nvSpPr>
          <p:spPr>
            <a:xfrm>
              <a:off x="-22162" y="6290271"/>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Web Dashboards</a:t>
              </a:r>
            </a:p>
          </p:txBody>
        </p:sp>
      </p:grpSp>
      <p:grpSp>
        <p:nvGrpSpPr>
          <p:cNvPr id="189" name="Group 188"/>
          <p:cNvGrpSpPr/>
          <p:nvPr/>
        </p:nvGrpSpPr>
        <p:grpSpPr>
          <a:xfrm>
            <a:off x="2668170" y="5363749"/>
            <a:ext cx="769157" cy="742828"/>
            <a:chOff x="-1986026" y="751848"/>
            <a:chExt cx="769157" cy="742828"/>
          </a:xfrm>
        </p:grpSpPr>
        <p:sp>
          <p:nvSpPr>
            <p:cNvPr id="190"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TextBox 190"/>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198" name="Group 197"/>
          <p:cNvGrpSpPr/>
          <p:nvPr/>
        </p:nvGrpSpPr>
        <p:grpSpPr>
          <a:xfrm>
            <a:off x="2668170" y="4197982"/>
            <a:ext cx="769157" cy="742828"/>
            <a:chOff x="-1986026" y="751848"/>
            <a:chExt cx="769157" cy="742828"/>
          </a:xfrm>
        </p:grpSpPr>
        <p:sp>
          <p:nvSpPr>
            <p:cNvPr id="199" name="Freeform 82"/>
            <p:cNvSpPr>
              <a:spLocks noEditPoints="1"/>
            </p:cNvSpPr>
            <p:nvPr/>
          </p:nvSpPr>
          <p:spPr bwMode="auto">
            <a:xfrm>
              <a:off x="-1877277" y="751848"/>
              <a:ext cx="577663" cy="579496"/>
            </a:xfrm>
            <a:custGeom>
              <a:avLst/>
              <a:gdLst>
                <a:gd name="T0" fmla="*/ 1038 w 1786"/>
                <a:gd name="T1" fmla="*/ 1588 h 1786"/>
                <a:gd name="T2" fmla="*/ 1138 w 1786"/>
                <a:gd name="T3" fmla="*/ 1561 h 1786"/>
                <a:gd name="T4" fmla="*/ 1474 w 1786"/>
                <a:gd name="T5" fmla="*/ 1705 h 1786"/>
                <a:gd name="T6" fmla="*/ 1646 w 1786"/>
                <a:gd name="T7" fmla="*/ 1581 h 1786"/>
                <a:gd name="T8" fmla="*/ 1312 w 1786"/>
                <a:gd name="T9" fmla="*/ 1545 h 1786"/>
                <a:gd name="T10" fmla="*/ 1195 w 1786"/>
                <a:gd name="T11" fmla="*/ 1560 h 1786"/>
                <a:gd name="T12" fmla="*/ 1367 w 1786"/>
                <a:gd name="T13" fmla="*/ 1544 h 1786"/>
                <a:gd name="T14" fmla="*/ 1486 w 1786"/>
                <a:gd name="T15" fmla="*/ 1551 h 1786"/>
                <a:gd name="T16" fmla="*/ 1570 w 1786"/>
                <a:gd name="T17" fmla="*/ 1365 h 1786"/>
                <a:gd name="T18" fmla="*/ 1559 w 1786"/>
                <a:gd name="T19" fmla="*/ 1505 h 1786"/>
                <a:gd name="T20" fmla="*/ 1729 w 1786"/>
                <a:gd name="T21" fmla="*/ 1371 h 1786"/>
                <a:gd name="T22" fmla="*/ 1367 w 1786"/>
                <a:gd name="T23" fmla="*/ 1488 h 1786"/>
                <a:gd name="T24" fmla="*/ 1501 w 1786"/>
                <a:gd name="T25" fmla="*/ 1490 h 1786"/>
                <a:gd name="T26" fmla="*/ 1165 w 1786"/>
                <a:gd name="T27" fmla="*/ 1365 h 1786"/>
                <a:gd name="T28" fmla="*/ 1187 w 1786"/>
                <a:gd name="T29" fmla="*/ 1497 h 1786"/>
                <a:gd name="T30" fmla="*/ 1165 w 1786"/>
                <a:gd name="T31" fmla="*/ 1365 h 1786"/>
                <a:gd name="T32" fmla="*/ 1000 w 1786"/>
                <a:gd name="T33" fmla="*/ 1532 h 1786"/>
                <a:gd name="T34" fmla="*/ 1124 w 1786"/>
                <a:gd name="T35" fmla="*/ 1505 h 1786"/>
                <a:gd name="T36" fmla="*/ 1499 w 1786"/>
                <a:gd name="T37" fmla="*/ 1180 h 1786"/>
                <a:gd name="T38" fmla="*/ 1367 w 1786"/>
                <a:gd name="T39" fmla="*/ 1310 h 1786"/>
                <a:gd name="T40" fmla="*/ 1499 w 1786"/>
                <a:gd name="T41" fmla="*/ 1180 h 1786"/>
                <a:gd name="T42" fmla="*/ 1165 w 1786"/>
                <a:gd name="T43" fmla="*/ 1310 h 1786"/>
                <a:gd name="T44" fmla="*/ 1188 w 1786"/>
                <a:gd name="T45" fmla="*/ 1180 h 1786"/>
                <a:gd name="T46" fmla="*/ 950 w 1786"/>
                <a:gd name="T47" fmla="*/ 1308 h 1786"/>
                <a:gd name="T48" fmla="*/ 1124 w 1786"/>
                <a:gd name="T49" fmla="*/ 1177 h 1786"/>
                <a:gd name="T50" fmla="*/ 1000 w 1786"/>
                <a:gd name="T51" fmla="*/ 1146 h 1786"/>
                <a:gd name="T52" fmla="*/ 1554 w 1786"/>
                <a:gd name="T53" fmla="*/ 1172 h 1786"/>
                <a:gd name="T54" fmla="*/ 1729 w 1786"/>
                <a:gd name="T55" fmla="*/ 1310 h 1786"/>
                <a:gd name="T56" fmla="*/ 1197 w 1786"/>
                <a:gd name="T57" fmla="*/ 976 h 1786"/>
                <a:gd name="T58" fmla="*/ 1035 w 1786"/>
                <a:gd name="T59" fmla="*/ 1097 h 1786"/>
                <a:gd name="T60" fmla="*/ 1195 w 1786"/>
                <a:gd name="T61" fmla="*/ 988 h 1786"/>
                <a:gd name="T62" fmla="*/ 1474 w 1786"/>
                <a:gd name="T63" fmla="*/ 974 h 1786"/>
                <a:gd name="T64" fmla="*/ 1641 w 1786"/>
                <a:gd name="T65" fmla="*/ 1097 h 1786"/>
                <a:gd name="T66" fmla="*/ 1472 w 1786"/>
                <a:gd name="T67" fmla="*/ 972 h 1786"/>
                <a:gd name="T68" fmla="*/ 1484 w 1786"/>
                <a:gd name="T69" fmla="*/ 1125 h 1786"/>
                <a:gd name="T70" fmla="*/ 1367 w 1786"/>
                <a:gd name="T71" fmla="*/ 954 h 1786"/>
                <a:gd name="T72" fmla="*/ 1194 w 1786"/>
                <a:gd name="T73" fmla="*/ 1124 h 1786"/>
                <a:gd name="T74" fmla="*/ 1312 w 1786"/>
                <a:gd name="T75" fmla="*/ 954 h 1786"/>
                <a:gd name="T76" fmla="*/ 907 w 1786"/>
                <a:gd name="T77" fmla="*/ 1451 h 1786"/>
                <a:gd name="T78" fmla="*/ 1151 w 1786"/>
                <a:gd name="T79" fmla="*/ 935 h 1786"/>
                <a:gd name="T80" fmla="*/ 592 w 1786"/>
                <a:gd name="T81" fmla="*/ 837 h 1786"/>
                <a:gd name="T82" fmla="*/ 810 w 1786"/>
                <a:gd name="T83" fmla="*/ 714 h 1786"/>
                <a:gd name="T84" fmla="*/ 1147 w 1786"/>
                <a:gd name="T85" fmla="*/ 419 h 1786"/>
                <a:gd name="T86" fmla="*/ 1264 w 1786"/>
                <a:gd name="T87" fmla="*/ 884 h 1786"/>
                <a:gd name="T88" fmla="*/ 1786 w 1786"/>
                <a:gd name="T89" fmla="*/ 1340 h 1786"/>
                <a:gd name="T90" fmla="*/ 1339 w 1786"/>
                <a:gd name="T91" fmla="*/ 1786 h 1786"/>
                <a:gd name="T92" fmla="*/ 250 w 1786"/>
                <a:gd name="T93" fmla="*/ 1563 h 1786"/>
                <a:gd name="T94" fmla="*/ 447 w 1786"/>
                <a:gd name="T95" fmla="*/ 732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6" h="1786">
                  <a:moveTo>
                    <a:pt x="1138" y="1560"/>
                  </a:moveTo>
                  <a:cubicBezTo>
                    <a:pt x="1092" y="1567"/>
                    <a:pt x="1056" y="1575"/>
                    <a:pt x="1033" y="1581"/>
                  </a:cubicBezTo>
                  <a:cubicBezTo>
                    <a:pt x="1033" y="1581"/>
                    <a:pt x="1033" y="1581"/>
                    <a:pt x="1033" y="1581"/>
                  </a:cubicBezTo>
                  <a:cubicBezTo>
                    <a:pt x="1038" y="1588"/>
                    <a:pt x="1038" y="1588"/>
                    <a:pt x="1038" y="1588"/>
                  </a:cubicBezTo>
                  <a:cubicBezTo>
                    <a:pt x="1082" y="1641"/>
                    <a:pt x="1140" y="1682"/>
                    <a:pt x="1205" y="1706"/>
                  </a:cubicBezTo>
                  <a:cubicBezTo>
                    <a:pt x="1206" y="1707"/>
                    <a:pt x="1206" y="1707"/>
                    <a:pt x="1206" y="1707"/>
                  </a:cubicBezTo>
                  <a:cubicBezTo>
                    <a:pt x="1205" y="1705"/>
                    <a:pt x="1205" y="1705"/>
                    <a:pt x="1205" y="1705"/>
                  </a:cubicBezTo>
                  <a:cubicBezTo>
                    <a:pt x="1177" y="1667"/>
                    <a:pt x="1154" y="1618"/>
                    <a:pt x="1138" y="1561"/>
                  </a:cubicBezTo>
                  <a:lnTo>
                    <a:pt x="1138" y="1560"/>
                  </a:lnTo>
                  <a:close/>
                  <a:moveTo>
                    <a:pt x="1542" y="1559"/>
                  </a:moveTo>
                  <a:cubicBezTo>
                    <a:pt x="1541" y="1561"/>
                    <a:pt x="1541" y="1561"/>
                    <a:pt x="1541" y="1561"/>
                  </a:cubicBezTo>
                  <a:cubicBezTo>
                    <a:pt x="1525" y="1618"/>
                    <a:pt x="1502" y="1667"/>
                    <a:pt x="1474" y="1705"/>
                  </a:cubicBezTo>
                  <a:cubicBezTo>
                    <a:pt x="1472" y="1707"/>
                    <a:pt x="1472" y="1707"/>
                    <a:pt x="1472" y="1707"/>
                  </a:cubicBezTo>
                  <a:cubicBezTo>
                    <a:pt x="1474" y="1706"/>
                    <a:pt x="1474" y="1706"/>
                    <a:pt x="1474" y="1706"/>
                  </a:cubicBezTo>
                  <a:cubicBezTo>
                    <a:pt x="1539" y="1682"/>
                    <a:pt x="1597" y="1641"/>
                    <a:pt x="1641" y="1588"/>
                  </a:cubicBezTo>
                  <a:cubicBezTo>
                    <a:pt x="1646" y="1581"/>
                    <a:pt x="1646" y="1581"/>
                    <a:pt x="1646" y="1581"/>
                  </a:cubicBezTo>
                  <a:cubicBezTo>
                    <a:pt x="1644" y="1580"/>
                    <a:pt x="1644" y="1580"/>
                    <a:pt x="1644" y="1580"/>
                  </a:cubicBezTo>
                  <a:cubicBezTo>
                    <a:pt x="1612" y="1572"/>
                    <a:pt x="1580" y="1565"/>
                    <a:pt x="1549" y="1560"/>
                  </a:cubicBezTo>
                  <a:lnTo>
                    <a:pt x="1542" y="1559"/>
                  </a:lnTo>
                  <a:close/>
                  <a:moveTo>
                    <a:pt x="1312" y="1545"/>
                  </a:moveTo>
                  <a:cubicBezTo>
                    <a:pt x="1301" y="1545"/>
                    <a:pt x="1301" y="1545"/>
                    <a:pt x="1301" y="1545"/>
                  </a:cubicBezTo>
                  <a:cubicBezTo>
                    <a:pt x="1265" y="1546"/>
                    <a:pt x="1232" y="1549"/>
                    <a:pt x="1202" y="1552"/>
                  </a:cubicBezTo>
                  <a:cubicBezTo>
                    <a:pt x="1193" y="1553"/>
                    <a:pt x="1193" y="1553"/>
                    <a:pt x="1193" y="1553"/>
                  </a:cubicBezTo>
                  <a:cubicBezTo>
                    <a:pt x="1195" y="1560"/>
                    <a:pt x="1195" y="1560"/>
                    <a:pt x="1195" y="1560"/>
                  </a:cubicBezTo>
                  <a:cubicBezTo>
                    <a:pt x="1223" y="1646"/>
                    <a:pt x="1265" y="1704"/>
                    <a:pt x="1308" y="1723"/>
                  </a:cubicBezTo>
                  <a:cubicBezTo>
                    <a:pt x="1312" y="1725"/>
                    <a:pt x="1312" y="1725"/>
                    <a:pt x="1312" y="1725"/>
                  </a:cubicBezTo>
                  <a:lnTo>
                    <a:pt x="1312" y="1545"/>
                  </a:lnTo>
                  <a:close/>
                  <a:moveTo>
                    <a:pt x="1367" y="1544"/>
                  </a:moveTo>
                  <a:cubicBezTo>
                    <a:pt x="1367" y="1725"/>
                    <a:pt x="1367" y="1725"/>
                    <a:pt x="1367" y="1725"/>
                  </a:cubicBezTo>
                  <a:cubicBezTo>
                    <a:pt x="1371" y="1723"/>
                    <a:pt x="1371" y="1723"/>
                    <a:pt x="1371" y="1723"/>
                  </a:cubicBezTo>
                  <a:cubicBezTo>
                    <a:pt x="1414" y="1704"/>
                    <a:pt x="1456" y="1646"/>
                    <a:pt x="1484" y="1560"/>
                  </a:cubicBezTo>
                  <a:cubicBezTo>
                    <a:pt x="1486" y="1551"/>
                    <a:pt x="1486" y="1551"/>
                    <a:pt x="1486" y="1551"/>
                  </a:cubicBezTo>
                  <a:cubicBezTo>
                    <a:pt x="1472" y="1550"/>
                    <a:pt x="1472" y="1550"/>
                    <a:pt x="1472" y="1550"/>
                  </a:cubicBezTo>
                  <a:cubicBezTo>
                    <a:pt x="1437" y="1547"/>
                    <a:pt x="1402" y="1545"/>
                    <a:pt x="1369" y="1544"/>
                  </a:cubicBezTo>
                  <a:lnTo>
                    <a:pt x="1367" y="1544"/>
                  </a:lnTo>
                  <a:close/>
                  <a:moveTo>
                    <a:pt x="1570" y="1365"/>
                  </a:moveTo>
                  <a:cubicBezTo>
                    <a:pt x="1570" y="1368"/>
                    <a:pt x="1570" y="1368"/>
                    <a:pt x="1570" y="1368"/>
                  </a:cubicBezTo>
                  <a:cubicBezTo>
                    <a:pt x="1569" y="1412"/>
                    <a:pt x="1564" y="1454"/>
                    <a:pt x="1557" y="1493"/>
                  </a:cubicBezTo>
                  <a:cubicBezTo>
                    <a:pt x="1555" y="1504"/>
                    <a:pt x="1555" y="1504"/>
                    <a:pt x="1555" y="1504"/>
                  </a:cubicBezTo>
                  <a:cubicBezTo>
                    <a:pt x="1559" y="1505"/>
                    <a:pt x="1559" y="1505"/>
                    <a:pt x="1559" y="1505"/>
                  </a:cubicBezTo>
                  <a:cubicBezTo>
                    <a:pt x="1597" y="1511"/>
                    <a:pt x="1636" y="1520"/>
                    <a:pt x="1674" y="1531"/>
                  </a:cubicBezTo>
                  <a:cubicBezTo>
                    <a:pt x="1679" y="1532"/>
                    <a:pt x="1679" y="1532"/>
                    <a:pt x="1679" y="1532"/>
                  </a:cubicBezTo>
                  <a:cubicBezTo>
                    <a:pt x="1680" y="1531"/>
                    <a:pt x="1680" y="1531"/>
                    <a:pt x="1680" y="1531"/>
                  </a:cubicBezTo>
                  <a:cubicBezTo>
                    <a:pt x="1707" y="1483"/>
                    <a:pt x="1724" y="1429"/>
                    <a:pt x="1729" y="1371"/>
                  </a:cubicBezTo>
                  <a:cubicBezTo>
                    <a:pt x="1729" y="1365"/>
                    <a:pt x="1729" y="1365"/>
                    <a:pt x="1729" y="1365"/>
                  </a:cubicBezTo>
                  <a:lnTo>
                    <a:pt x="1570" y="1365"/>
                  </a:lnTo>
                  <a:close/>
                  <a:moveTo>
                    <a:pt x="1367" y="1365"/>
                  </a:moveTo>
                  <a:cubicBezTo>
                    <a:pt x="1367" y="1488"/>
                    <a:pt x="1367" y="1488"/>
                    <a:pt x="1367" y="1488"/>
                  </a:cubicBezTo>
                  <a:cubicBezTo>
                    <a:pt x="1373" y="1488"/>
                    <a:pt x="1373" y="1488"/>
                    <a:pt x="1373" y="1488"/>
                  </a:cubicBezTo>
                  <a:cubicBezTo>
                    <a:pt x="1412" y="1489"/>
                    <a:pt x="1453" y="1491"/>
                    <a:pt x="1495" y="1496"/>
                  </a:cubicBezTo>
                  <a:cubicBezTo>
                    <a:pt x="1500" y="1497"/>
                    <a:pt x="1500" y="1497"/>
                    <a:pt x="1500" y="1497"/>
                  </a:cubicBezTo>
                  <a:cubicBezTo>
                    <a:pt x="1501" y="1490"/>
                    <a:pt x="1501" y="1490"/>
                    <a:pt x="1501" y="1490"/>
                  </a:cubicBezTo>
                  <a:cubicBezTo>
                    <a:pt x="1508" y="1456"/>
                    <a:pt x="1512" y="1418"/>
                    <a:pt x="1514" y="1377"/>
                  </a:cubicBezTo>
                  <a:cubicBezTo>
                    <a:pt x="1514" y="1365"/>
                    <a:pt x="1514" y="1365"/>
                    <a:pt x="1514" y="1365"/>
                  </a:cubicBezTo>
                  <a:lnTo>
                    <a:pt x="1367" y="1365"/>
                  </a:lnTo>
                  <a:close/>
                  <a:moveTo>
                    <a:pt x="1165" y="1365"/>
                  </a:moveTo>
                  <a:cubicBezTo>
                    <a:pt x="1165" y="1377"/>
                    <a:pt x="1165" y="1377"/>
                    <a:pt x="1165" y="1377"/>
                  </a:cubicBezTo>
                  <a:cubicBezTo>
                    <a:pt x="1167" y="1418"/>
                    <a:pt x="1171" y="1456"/>
                    <a:pt x="1178" y="1490"/>
                  </a:cubicBezTo>
                  <a:cubicBezTo>
                    <a:pt x="1179" y="1498"/>
                    <a:pt x="1179" y="1498"/>
                    <a:pt x="1179" y="1498"/>
                  </a:cubicBezTo>
                  <a:cubicBezTo>
                    <a:pt x="1187" y="1497"/>
                    <a:pt x="1187" y="1497"/>
                    <a:pt x="1187" y="1497"/>
                  </a:cubicBezTo>
                  <a:cubicBezTo>
                    <a:pt x="1222" y="1493"/>
                    <a:pt x="1260" y="1490"/>
                    <a:pt x="1302" y="1488"/>
                  </a:cubicBezTo>
                  <a:cubicBezTo>
                    <a:pt x="1312" y="1488"/>
                    <a:pt x="1312" y="1488"/>
                    <a:pt x="1312" y="1488"/>
                  </a:cubicBezTo>
                  <a:cubicBezTo>
                    <a:pt x="1312" y="1365"/>
                    <a:pt x="1312" y="1365"/>
                    <a:pt x="1312" y="1365"/>
                  </a:cubicBezTo>
                  <a:lnTo>
                    <a:pt x="1165" y="1365"/>
                  </a:lnTo>
                  <a:close/>
                  <a:moveTo>
                    <a:pt x="950" y="1365"/>
                  </a:moveTo>
                  <a:cubicBezTo>
                    <a:pt x="950" y="1371"/>
                    <a:pt x="950" y="1371"/>
                    <a:pt x="950" y="1371"/>
                  </a:cubicBezTo>
                  <a:cubicBezTo>
                    <a:pt x="955" y="1429"/>
                    <a:pt x="972" y="1483"/>
                    <a:pt x="999" y="1531"/>
                  </a:cubicBezTo>
                  <a:cubicBezTo>
                    <a:pt x="1000" y="1532"/>
                    <a:pt x="1000" y="1532"/>
                    <a:pt x="1000" y="1532"/>
                  </a:cubicBezTo>
                  <a:cubicBezTo>
                    <a:pt x="1003" y="1531"/>
                    <a:pt x="1003" y="1531"/>
                    <a:pt x="1003" y="1531"/>
                  </a:cubicBezTo>
                  <a:cubicBezTo>
                    <a:pt x="1024" y="1525"/>
                    <a:pt x="1066" y="1515"/>
                    <a:pt x="1122" y="1506"/>
                  </a:cubicBezTo>
                  <a:cubicBezTo>
                    <a:pt x="1124" y="1505"/>
                    <a:pt x="1124" y="1505"/>
                    <a:pt x="1124" y="1505"/>
                  </a:cubicBezTo>
                  <a:cubicBezTo>
                    <a:pt x="1124" y="1505"/>
                    <a:pt x="1124" y="1505"/>
                    <a:pt x="1124" y="1505"/>
                  </a:cubicBezTo>
                  <a:cubicBezTo>
                    <a:pt x="1116" y="1462"/>
                    <a:pt x="1110" y="1416"/>
                    <a:pt x="1109" y="1368"/>
                  </a:cubicBezTo>
                  <a:cubicBezTo>
                    <a:pt x="1109" y="1365"/>
                    <a:pt x="1109" y="1365"/>
                    <a:pt x="1109" y="1365"/>
                  </a:cubicBezTo>
                  <a:lnTo>
                    <a:pt x="950" y="1365"/>
                  </a:lnTo>
                  <a:close/>
                  <a:moveTo>
                    <a:pt x="1499" y="1180"/>
                  </a:moveTo>
                  <a:cubicBezTo>
                    <a:pt x="1488" y="1181"/>
                    <a:pt x="1488" y="1181"/>
                    <a:pt x="1488" y="1181"/>
                  </a:cubicBezTo>
                  <a:cubicBezTo>
                    <a:pt x="1452" y="1185"/>
                    <a:pt x="1417" y="1188"/>
                    <a:pt x="1384" y="1189"/>
                  </a:cubicBezTo>
                  <a:cubicBezTo>
                    <a:pt x="1367" y="1189"/>
                    <a:pt x="1367" y="1189"/>
                    <a:pt x="1367" y="1189"/>
                  </a:cubicBezTo>
                  <a:cubicBezTo>
                    <a:pt x="1367" y="1310"/>
                    <a:pt x="1367" y="1310"/>
                    <a:pt x="1367" y="1310"/>
                  </a:cubicBezTo>
                  <a:cubicBezTo>
                    <a:pt x="1514" y="1310"/>
                    <a:pt x="1514" y="1310"/>
                    <a:pt x="1514" y="1310"/>
                  </a:cubicBezTo>
                  <a:cubicBezTo>
                    <a:pt x="1514" y="1302"/>
                    <a:pt x="1514" y="1302"/>
                    <a:pt x="1514" y="1302"/>
                  </a:cubicBezTo>
                  <a:cubicBezTo>
                    <a:pt x="1512" y="1262"/>
                    <a:pt x="1508" y="1224"/>
                    <a:pt x="1501" y="1189"/>
                  </a:cubicBezTo>
                  <a:lnTo>
                    <a:pt x="1499" y="1180"/>
                  </a:lnTo>
                  <a:close/>
                  <a:moveTo>
                    <a:pt x="1180" y="1179"/>
                  </a:moveTo>
                  <a:cubicBezTo>
                    <a:pt x="1178" y="1189"/>
                    <a:pt x="1178" y="1189"/>
                    <a:pt x="1178" y="1189"/>
                  </a:cubicBezTo>
                  <a:cubicBezTo>
                    <a:pt x="1171" y="1224"/>
                    <a:pt x="1167" y="1262"/>
                    <a:pt x="1165" y="1302"/>
                  </a:cubicBezTo>
                  <a:cubicBezTo>
                    <a:pt x="1165" y="1310"/>
                    <a:pt x="1165" y="1310"/>
                    <a:pt x="1165" y="1310"/>
                  </a:cubicBezTo>
                  <a:cubicBezTo>
                    <a:pt x="1312" y="1310"/>
                    <a:pt x="1312" y="1310"/>
                    <a:pt x="1312" y="1310"/>
                  </a:cubicBezTo>
                  <a:cubicBezTo>
                    <a:pt x="1312" y="1189"/>
                    <a:pt x="1312" y="1189"/>
                    <a:pt x="1312" y="1189"/>
                  </a:cubicBezTo>
                  <a:cubicBezTo>
                    <a:pt x="1307" y="1189"/>
                    <a:pt x="1307" y="1189"/>
                    <a:pt x="1307" y="1189"/>
                  </a:cubicBezTo>
                  <a:cubicBezTo>
                    <a:pt x="1264" y="1187"/>
                    <a:pt x="1224" y="1184"/>
                    <a:pt x="1188" y="1180"/>
                  </a:cubicBezTo>
                  <a:lnTo>
                    <a:pt x="1180" y="1179"/>
                  </a:lnTo>
                  <a:close/>
                  <a:moveTo>
                    <a:pt x="1000" y="1146"/>
                  </a:moveTo>
                  <a:cubicBezTo>
                    <a:pt x="999" y="1148"/>
                    <a:pt x="999" y="1148"/>
                    <a:pt x="999" y="1148"/>
                  </a:cubicBezTo>
                  <a:cubicBezTo>
                    <a:pt x="972" y="1196"/>
                    <a:pt x="955" y="1250"/>
                    <a:pt x="950" y="1308"/>
                  </a:cubicBezTo>
                  <a:cubicBezTo>
                    <a:pt x="950" y="1310"/>
                    <a:pt x="950" y="1310"/>
                    <a:pt x="950" y="1310"/>
                  </a:cubicBezTo>
                  <a:cubicBezTo>
                    <a:pt x="1109" y="1310"/>
                    <a:pt x="1109" y="1310"/>
                    <a:pt x="1109" y="1310"/>
                  </a:cubicBezTo>
                  <a:cubicBezTo>
                    <a:pt x="1109" y="1297"/>
                    <a:pt x="1109" y="1297"/>
                    <a:pt x="1109" y="1297"/>
                  </a:cubicBezTo>
                  <a:cubicBezTo>
                    <a:pt x="1111" y="1255"/>
                    <a:pt x="1116" y="1215"/>
                    <a:pt x="1124" y="1177"/>
                  </a:cubicBezTo>
                  <a:cubicBezTo>
                    <a:pt x="1125" y="1172"/>
                    <a:pt x="1125" y="1172"/>
                    <a:pt x="1125" y="1172"/>
                  </a:cubicBezTo>
                  <a:cubicBezTo>
                    <a:pt x="1117" y="1171"/>
                    <a:pt x="1117" y="1171"/>
                    <a:pt x="1117" y="1171"/>
                  </a:cubicBezTo>
                  <a:cubicBezTo>
                    <a:pt x="1062" y="1162"/>
                    <a:pt x="1022" y="1152"/>
                    <a:pt x="1001" y="1146"/>
                  </a:cubicBezTo>
                  <a:lnTo>
                    <a:pt x="1000" y="1146"/>
                  </a:lnTo>
                  <a:close/>
                  <a:moveTo>
                    <a:pt x="1678" y="1145"/>
                  </a:moveTo>
                  <a:cubicBezTo>
                    <a:pt x="1677" y="1145"/>
                    <a:pt x="1677" y="1145"/>
                    <a:pt x="1677" y="1145"/>
                  </a:cubicBezTo>
                  <a:cubicBezTo>
                    <a:pt x="1643" y="1154"/>
                    <a:pt x="1609" y="1162"/>
                    <a:pt x="1576" y="1168"/>
                  </a:cubicBezTo>
                  <a:cubicBezTo>
                    <a:pt x="1554" y="1172"/>
                    <a:pt x="1554" y="1172"/>
                    <a:pt x="1554" y="1172"/>
                  </a:cubicBezTo>
                  <a:cubicBezTo>
                    <a:pt x="1555" y="1177"/>
                    <a:pt x="1555" y="1177"/>
                    <a:pt x="1555" y="1177"/>
                  </a:cubicBezTo>
                  <a:cubicBezTo>
                    <a:pt x="1563" y="1215"/>
                    <a:pt x="1568" y="1255"/>
                    <a:pt x="1570" y="1297"/>
                  </a:cubicBezTo>
                  <a:cubicBezTo>
                    <a:pt x="1570" y="1310"/>
                    <a:pt x="1570" y="1310"/>
                    <a:pt x="1570" y="1310"/>
                  </a:cubicBezTo>
                  <a:cubicBezTo>
                    <a:pt x="1729" y="1310"/>
                    <a:pt x="1729" y="1310"/>
                    <a:pt x="1729" y="1310"/>
                  </a:cubicBezTo>
                  <a:cubicBezTo>
                    <a:pt x="1729" y="1308"/>
                    <a:pt x="1729" y="1308"/>
                    <a:pt x="1729" y="1308"/>
                  </a:cubicBezTo>
                  <a:cubicBezTo>
                    <a:pt x="1724" y="1250"/>
                    <a:pt x="1707" y="1196"/>
                    <a:pt x="1680" y="1148"/>
                  </a:cubicBezTo>
                  <a:lnTo>
                    <a:pt x="1678" y="1145"/>
                  </a:lnTo>
                  <a:close/>
                  <a:moveTo>
                    <a:pt x="1197" y="976"/>
                  </a:moveTo>
                  <a:cubicBezTo>
                    <a:pt x="1193" y="977"/>
                    <a:pt x="1193" y="977"/>
                    <a:pt x="1193" y="977"/>
                  </a:cubicBezTo>
                  <a:cubicBezTo>
                    <a:pt x="1132" y="1002"/>
                    <a:pt x="1079" y="1041"/>
                    <a:pt x="1038" y="1091"/>
                  </a:cubicBezTo>
                  <a:cubicBezTo>
                    <a:pt x="1034" y="1097"/>
                    <a:pt x="1034" y="1097"/>
                    <a:pt x="1034" y="1097"/>
                  </a:cubicBezTo>
                  <a:cubicBezTo>
                    <a:pt x="1035" y="1097"/>
                    <a:pt x="1035" y="1097"/>
                    <a:pt x="1035" y="1097"/>
                  </a:cubicBezTo>
                  <a:cubicBezTo>
                    <a:pt x="1058" y="1103"/>
                    <a:pt x="1092" y="1110"/>
                    <a:pt x="1135" y="1116"/>
                  </a:cubicBezTo>
                  <a:cubicBezTo>
                    <a:pt x="1138" y="1117"/>
                    <a:pt x="1138" y="1117"/>
                    <a:pt x="1138" y="1117"/>
                  </a:cubicBezTo>
                  <a:cubicBezTo>
                    <a:pt x="1139" y="1113"/>
                    <a:pt x="1139" y="1113"/>
                    <a:pt x="1139" y="1113"/>
                  </a:cubicBezTo>
                  <a:cubicBezTo>
                    <a:pt x="1154" y="1065"/>
                    <a:pt x="1173" y="1023"/>
                    <a:pt x="1195" y="988"/>
                  </a:cubicBezTo>
                  <a:cubicBezTo>
                    <a:pt x="1201" y="979"/>
                    <a:pt x="1201" y="979"/>
                    <a:pt x="1201" y="979"/>
                  </a:cubicBezTo>
                  <a:lnTo>
                    <a:pt x="1197" y="976"/>
                  </a:lnTo>
                  <a:close/>
                  <a:moveTo>
                    <a:pt x="1472" y="972"/>
                  </a:moveTo>
                  <a:cubicBezTo>
                    <a:pt x="1474" y="974"/>
                    <a:pt x="1474" y="974"/>
                    <a:pt x="1474" y="974"/>
                  </a:cubicBezTo>
                  <a:cubicBezTo>
                    <a:pt x="1501" y="1011"/>
                    <a:pt x="1523" y="1058"/>
                    <a:pt x="1539" y="1113"/>
                  </a:cubicBezTo>
                  <a:cubicBezTo>
                    <a:pt x="1541" y="1118"/>
                    <a:pt x="1541" y="1118"/>
                    <a:pt x="1541" y="1118"/>
                  </a:cubicBezTo>
                  <a:cubicBezTo>
                    <a:pt x="1546" y="1117"/>
                    <a:pt x="1546" y="1117"/>
                    <a:pt x="1546" y="1117"/>
                  </a:cubicBezTo>
                  <a:cubicBezTo>
                    <a:pt x="1577" y="1112"/>
                    <a:pt x="1609" y="1105"/>
                    <a:pt x="1641" y="1097"/>
                  </a:cubicBezTo>
                  <a:cubicBezTo>
                    <a:pt x="1644" y="1096"/>
                    <a:pt x="1644" y="1096"/>
                    <a:pt x="1644" y="1096"/>
                  </a:cubicBezTo>
                  <a:cubicBezTo>
                    <a:pt x="1641" y="1091"/>
                    <a:pt x="1641" y="1091"/>
                    <a:pt x="1641" y="1091"/>
                  </a:cubicBezTo>
                  <a:cubicBezTo>
                    <a:pt x="1597" y="1038"/>
                    <a:pt x="1539" y="997"/>
                    <a:pt x="1474" y="973"/>
                  </a:cubicBezTo>
                  <a:lnTo>
                    <a:pt x="1472" y="972"/>
                  </a:lnTo>
                  <a:close/>
                  <a:moveTo>
                    <a:pt x="1367" y="954"/>
                  </a:moveTo>
                  <a:cubicBezTo>
                    <a:pt x="1367" y="1133"/>
                    <a:pt x="1367" y="1133"/>
                    <a:pt x="1367" y="1133"/>
                  </a:cubicBezTo>
                  <a:cubicBezTo>
                    <a:pt x="1381" y="1132"/>
                    <a:pt x="1381" y="1132"/>
                    <a:pt x="1381" y="1132"/>
                  </a:cubicBezTo>
                  <a:cubicBezTo>
                    <a:pt x="1414" y="1131"/>
                    <a:pt x="1449" y="1129"/>
                    <a:pt x="1484" y="1125"/>
                  </a:cubicBezTo>
                  <a:cubicBezTo>
                    <a:pt x="1485" y="1125"/>
                    <a:pt x="1485" y="1125"/>
                    <a:pt x="1485" y="1125"/>
                  </a:cubicBezTo>
                  <a:cubicBezTo>
                    <a:pt x="1484" y="1120"/>
                    <a:pt x="1484" y="1120"/>
                    <a:pt x="1484" y="1120"/>
                  </a:cubicBezTo>
                  <a:cubicBezTo>
                    <a:pt x="1456" y="1034"/>
                    <a:pt x="1415" y="976"/>
                    <a:pt x="1371" y="956"/>
                  </a:cubicBezTo>
                  <a:lnTo>
                    <a:pt x="1367" y="954"/>
                  </a:lnTo>
                  <a:close/>
                  <a:moveTo>
                    <a:pt x="1312" y="954"/>
                  </a:moveTo>
                  <a:cubicBezTo>
                    <a:pt x="1308" y="956"/>
                    <a:pt x="1308" y="956"/>
                    <a:pt x="1308" y="956"/>
                  </a:cubicBezTo>
                  <a:cubicBezTo>
                    <a:pt x="1264" y="976"/>
                    <a:pt x="1222" y="1034"/>
                    <a:pt x="1195" y="1120"/>
                  </a:cubicBezTo>
                  <a:cubicBezTo>
                    <a:pt x="1194" y="1124"/>
                    <a:pt x="1194" y="1124"/>
                    <a:pt x="1194" y="1124"/>
                  </a:cubicBezTo>
                  <a:cubicBezTo>
                    <a:pt x="1199" y="1125"/>
                    <a:pt x="1199" y="1125"/>
                    <a:pt x="1199" y="1125"/>
                  </a:cubicBezTo>
                  <a:cubicBezTo>
                    <a:pt x="1233" y="1129"/>
                    <a:pt x="1271" y="1131"/>
                    <a:pt x="1311" y="1132"/>
                  </a:cubicBezTo>
                  <a:cubicBezTo>
                    <a:pt x="1312" y="1132"/>
                    <a:pt x="1312" y="1132"/>
                    <a:pt x="1312" y="1132"/>
                  </a:cubicBezTo>
                  <a:lnTo>
                    <a:pt x="1312" y="954"/>
                  </a:lnTo>
                  <a:close/>
                  <a:moveTo>
                    <a:pt x="592" y="837"/>
                  </a:moveTo>
                  <a:cubicBezTo>
                    <a:pt x="327" y="837"/>
                    <a:pt x="112" y="1051"/>
                    <a:pt x="112" y="1314"/>
                  </a:cubicBezTo>
                  <a:cubicBezTo>
                    <a:pt x="112" y="1390"/>
                    <a:pt x="174" y="1451"/>
                    <a:pt x="250" y="1451"/>
                  </a:cubicBezTo>
                  <a:cubicBezTo>
                    <a:pt x="907" y="1451"/>
                    <a:pt x="907" y="1451"/>
                    <a:pt x="907" y="1451"/>
                  </a:cubicBezTo>
                  <a:cubicBezTo>
                    <a:pt x="907" y="1449"/>
                    <a:pt x="907" y="1449"/>
                    <a:pt x="907" y="1449"/>
                  </a:cubicBezTo>
                  <a:cubicBezTo>
                    <a:pt x="898" y="1414"/>
                    <a:pt x="893" y="1377"/>
                    <a:pt x="893" y="1340"/>
                  </a:cubicBezTo>
                  <a:cubicBezTo>
                    <a:pt x="893" y="1163"/>
                    <a:pt x="996" y="1009"/>
                    <a:pt x="1146" y="937"/>
                  </a:cubicBezTo>
                  <a:cubicBezTo>
                    <a:pt x="1151" y="935"/>
                    <a:pt x="1151" y="935"/>
                    <a:pt x="1151" y="935"/>
                  </a:cubicBezTo>
                  <a:cubicBezTo>
                    <a:pt x="1135" y="923"/>
                    <a:pt x="1135" y="923"/>
                    <a:pt x="1135" y="923"/>
                  </a:cubicBezTo>
                  <a:cubicBezTo>
                    <a:pt x="1055" y="867"/>
                    <a:pt x="959" y="837"/>
                    <a:pt x="859" y="837"/>
                  </a:cubicBezTo>
                  <a:cubicBezTo>
                    <a:pt x="725" y="837"/>
                    <a:pt x="725" y="837"/>
                    <a:pt x="725" y="837"/>
                  </a:cubicBezTo>
                  <a:lnTo>
                    <a:pt x="592" y="837"/>
                  </a:lnTo>
                  <a:close/>
                  <a:moveTo>
                    <a:pt x="725" y="112"/>
                  </a:moveTo>
                  <a:cubicBezTo>
                    <a:pt x="555" y="112"/>
                    <a:pt x="416" y="249"/>
                    <a:pt x="416" y="419"/>
                  </a:cubicBezTo>
                  <a:cubicBezTo>
                    <a:pt x="416" y="555"/>
                    <a:pt x="508" y="677"/>
                    <a:pt x="641" y="714"/>
                  </a:cubicBezTo>
                  <a:cubicBezTo>
                    <a:pt x="695" y="729"/>
                    <a:pt x="755" y="729"/>
                    <a:pt x="810" y="714"/>
                  </a:cubicBezTo>
                  <a:cubicBezTo>
                    <a:pt x="943" y="677"/>
                    <a:pt x="1035" y="555"/>
                    <a:pt x="1035" y="419"/>
                  </a:cubicBezTo>
                  <a:cubicBezTo>
                    <a:pt x="1035" y="249"/>
                    <a:pt x="896" y="112"/>
                    <a:pt x="725" y="112"/>
                  </a:cubicBezTo>
                  <a:close/>
                  <a:moveTo>
                    <a:pt x="725" y="0"/>
                  </a:moveTo>
                  <a:cubicBezTo>
                    <a:pt x="958" y="0"/>
                    <a:pt x="1147" y="188"/>
                    <a:pt x="1147" y="419"/>
                  </a:cubicBezTo>
                  <a:cubicBezTo>
                    <a:pt x="1147" y="541"/>
                    <a:pt x="1092" y="654"/>
                    <a:pt x="1004" y="732"/>
                  </a:cubicBezTo>
                  <a:cubicBezTo>
                    <a:pt x="994" y="741"/>
                    <a:pt x="994" y="741"/>
                    <a:pt x="994" y="741"/>
                  </a:cubicBezTo>
                  <a:cubicBezTo>
                    <a:pt x="998" y="742"/>
                    <a:pt x="998" y="742"/>
                    <a:pt x="998" y="742"/>
                  </a:cubicBezTo>
                  <a:cubicBezTo>
                    <a:pt x="1097" y="765"/>
                    <a:pt x="1188" y="814"/>
                    <a:pt x="1264" y="884"/>
                  </a:cubicBezTo>
                  <a:cubicBezTo>
                    <a:pt x="1277" y="897"/>
                    <a:pt x="1277" y="897"/>
                    <a:pt x="1277" y="897"/>
                  </a:cubicBezTo>
                  <a:cubicBezTo>
                    <a:pt x="1283" y="897"/>
                    <a:pt x="1283" y="897"/>
                    <a:pt x="1283" y="897"/>
                  </a:cubicBezTo>
                  <a:cubicBezTo>
                    <a:pt x="1301" y="894"/>
                    <a:pt x="1320" y="893"/>
                    <a:pt x="1339" y="893"/>
                  </a:cubicBezTo>
                  <a:cubicBezTo>
                    <a:pt x="1586" y="893"/>
                    <a:pt x="1786" y="1093"/>
                    <a:pt x="1786" y="1340"/>
                  </a:cubicBezTo>
                  <a:cubicBezTo>
                    <a:pt x="1786" y="1582"/>
                    <a:pt x="1592" y="1780"/>
                    <a:pt x="1351" y="1786"/>
                  </a:cubicBezTo>
                  <a:cubicBezTo>
                    <a:pt x="1340" y="1786"/>
                    <a:pt x="1340" y="1786"/>
                    <a:pt x="1340" y="1786"/>
                  </a:cubicBezTo>
                  <a:cubicBezTo>
                    <a:pt x="1339" y="1786"/>
                    <a:pt x="1339" y="1786"/>
                    <a:pt x="1339" y="1786"/>
                  </a:cubicBezTo>
                  <a:cubicBezTo>
                    <a:pt x="1339" y="1786"/>
                    <a:pt x="1339" y="1786"/>
                    <a:pt x="1339" y="1786"/>
                  </a:cubicBezTo>
                  <a:cubicBezTo>
                    <a:pt x="1328" y="1786"/>
                    <a:pt x="1328" y="1786"/>
                    <a:pt x="1328" y="1786"/>
                  </a:cubicBezTo>
                  <a:cubicBezTo>
                    <a:pt x="1170" y="1782"/>
                    <a:pt x="1032" y="1695"/>
                    <a:pt x="956" y="1568"/>
                  </a:cubicBezTo>
                  <a:cubicBezTo>
                    <a:pt x="953" y="1563"/>
                    <a:pt x="953" y="1563"/>
                    <a:pt x="953" y="1563"/>
                  </a:cubicBezTo>
                  <a:cubicBezTo>
                    <a:pt x="250" y="1563"/>
                    <a:pt x="250" y="1563"/>
                    <a:pt x="250" y="1563"/>
                  </a:cubicBezTo>
                  <a:cubicBezTo>
                    <a:pt x="112" y="1563"/>
                    <a:pt x="0" y="1451"/>
                    <a:pt x="0" y="1314"/>
                  </a:cubicBezTo>
                  <a:cubicBezTo>
                    <a:pt x="0" y="1040"/>
                    <a:pt x="189" y="810"/>
                    <a:pt x="444" y="744"/>
                  </a:cubicBezTo>
                  <a:cubicBezTo>
                    <a:pt x="457" y="741"/>
                    <a:pt x="457" y="741"/>
                    <a:pt x="457" y="741"/>
                  </a:cubicBezTo>
                  <a:cubicBezTo>
                    <a:pt x="447" y="732"/>
                    <a:pt x="447" y="732"/>
                    <a:pt x="447" y="732"/>
                  </a:cubicBezTo>
                  <a:cubicBezTo>
                    <a:pt x="359" y="654"/>
                    <a:pt x="304" y="541"/>
                    <a:pt x="304" y="419"/>
                  </a:cubicBezTo>
                  <a:cubicBezTo>
                    <a:pt x="304" y="188"/>
                    <a:pt x="493" y="0"/>
                    <a:pt x="72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TextBox 199"/>
            <p:cNvSpPr txBox="1"/>
            <p:nvPr/>
          </p:nvSpPr>
          <p:spPr>
            <a:xfrm>
              <a:off x="-1986026" y="1363102"/>
              <a:ext cx="769157"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err="1">
                  <a:ln>
                    <a:noFill/>
                  </a:ln>
                  <a:solidFill>
                    <a:srgbClr val="FFFFFF"/>
                  </a:solidFill>
                  <a:effectLst/>
                  <a:uLnTx/>
                  <a:uFillTx/>
                  <a:latin typeface="Segoe Pro Semibold" panose="020B0702040504020203" pitchFamily="34" charset="0"/>
                  <a:ea typeface="+mn-ea"/>
                  <a:cs typeface="+mn-cs"/>
                </a:rPr>
                <a:t>WebJobs</a:t>
              </a:r>
              <a:endPar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endParaRPr>
            </a:p>
          </p:txBody>
        </p:sp>
      </p:grpSp>
      <p:grpSp>
        <p:nvGrpSpPr>
          <p:cNvPr id="27" name="Group 26"/>
          <p:cNvGrpSpPr/>
          <p:nvPr/>
        </p:nvGrpSpPr>
        <p:grpSpPr>
          <a:xfrm>
            <a:off x="334191" y="4061161"/>
            <a:ext cx="977900" cy="999981"/>
            <a:chOff x="7878349" y="8313913"/>
            <a:chExt cx="977900" cy="999981"/>
          </a:xfrm>
        </p:grpSpPr>
        <p:sp>
          <p:nvSpPr>
            <p:cNvPr id="204" name="TextBox 203"/>
            <p:cNvSpPr txBox="1"/>
            <p:nvPr/>
          </p:nvSpPr>
          <p:spPr>
            <a:xfrm>
              <a:off x="7878349" y="9182320"/>
              <a:ext cx="977900"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Devices</a:t>
              </a:r>
            </a:p>
          </p:txBody>
        </p:sp>
        <p:sp>
          <p:nvSpPr>
            <p:cNvPr id="205" name="Rounded Rectangle 6"/>
            <p:cNvSpPr/>
            <p:nvPr/>
          </p:nvSpPr>
          <p:spPr bwMode="black">
            <a:xfrm>
              <a:off x="8101066" y="8313913"/>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505050">
                    <a:lumMod val="50000"/>
                  </a:srgbClr>
                </a:solidFill>
                <a:effectLst/>
                <a:uLnTx/>
                <a:uFillTx/>
                <a:latin typeface="Segoe Light" pitchFamily="34" charset="0"/>
                <a:ea typeface="+mn-ea"/>
                <a:cs typeface="+mn-cs"/>
              </a:endParaRPr>
            </a:p>
          </p:txBody>
        </p:sp>
      </p:grpSp>
      <p:cxnSp>
        <p:nvCxnSpPr>
          <p:cNvPr id="30" name="Elbow Connector 29"/>
          <p:cNvCxnSpPr>
            <a:endCxn id="278" idx="0"/>
          </p:cNvCxnSpPr>
          <p:nvPr/>
        </p:nvCxnSpPr>
        <p:spPr>
          <a:xfrm rot="10800000" flipV="1">
            <a:off x="829263" y="3195993"/>
            <a:ext cx="908745" cy="438127"/>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1305741" y="4481210"/>
            <a:ext cx="355954"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H="1">
            <a:off x="2483865" y="4481210"/>
            <a:ext cx="24958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437327" y="4481210"/>
            <a:ext cx="1088796"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5299770" y="4481210"/>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4491156" y="5387087"/>
            <a:ext cx="886566" cy="696153"/>
            <a:chOff x="2813078" y="2503318"/>
            <a:chExt cx="886566" cy="696153"/>
          </a:xfrm>
        </p:grpSpPr>
        <p:sp>
          <p:nvSpPr>
            <p:cNvPr id="231" name="Freeform 15"/>
            <p:cNvSpPr>
              <a:spLocks noEditPoints="1"/>
            </p:cNvSpPr>
            <p:nvPr/>
          </p:nvSpPr>
          <p:spPr bwMode="black">
            <a:xfrm>
              <a:off x="2983987" y="2503318"/>
              <a:ext cx="544748"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2813078" y="3067897"/>
              <a:ext cx="886566" cy="13157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Logic App</a:t>
              </a:r>
            </a:p>
          </p:txBody>
        </p:sp>
      </p:grpSp>
      <p:grpSp>
        <p:nvGrpSpPr>
          <p:cNvPr id="236" name="Group 235"/>
          <p:cNvGrpSpPr/>
          <p:nvPr/>
        </p:nvGrpSpPr>
        <p:grpSpPr>
          <a:xfrm>
            <a:off x="3526881" y="5308149"/>
            <a:ext cx="886566" cy="854029"/>
            <a:chOff x="6701974" y="7179301"/>
            <a:chExt cx="886566" cy="854029"/>
          </a:xfrm>
        </p:grpSpPr>
        <p:sp>
          <p:nvSpPr>
            <p:cNvPr id="237" name="Freeform 58"/>
            <p:cNvSpPr>
              <a:spLocks noEditPoints="1"/>
            </p:cNvSpPr>
            <p:nvPr/>
          </p:nvSpPr>
          <p:spPr bwMode="black">
            <a:xfrm>
              <a:off x="6901354" y="7179301"/>
              <a:ext cx="487806" cy="52283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TextBox 237"/>
            <p:cNvSpPr txBox="1"/>
            <p:nvPr/>
          </p:nvSpPr>
          <p:spPr>
            <a:xfrm>
              <a:off x="6701974" y="777018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Bus Queue</a:t>
              </a:r>
            </a:p>
          </p:txBody>
        </p:sp>
      </p:grpSp>
      <p:cxnSp>
        <p:nvCxnSpPr>
          <p:cNvPr id="46" name="Straight Arrow Connector 45"/>
          <p:cNvCxnSpPr/>
          <p:nvPr/>
        </p:nvCxnSpPr>
        <p:spPr>
          <a:xfrm>
            <a:off x="4919387" y="3662292"/>
            <a:ext cx="0" cy="479224"/>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85834" y="3157581"/>
            <a:ext cx="1502051"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104978" y="2493855"/>
            <a:ext cx="0" cy="345587"/>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2439967" y="3191945"/>
            <a:ext cx="1541758" cy="1289265"/>
          </a:xfrm>
          <a:prstGeom prst="bentConnector3">
            <a:avLst>
              <a:gd name="adj1" fmla="val 98735"/>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Elbow Connector 55"/>
          <p:cNvCxnSpPr>
            <a:cxnSpLocks/>
          </p:cNvCxnSpPr>
          <p:nvPr/>
        </p:nvCxnSpPr>
        <p:spPr>
          <a:xfrm flipV="1">
            <a:off x="5362671" y="5046639"/>
            <a:ext cx="584052" cy="560478"/>
          </a:xfrm>
          <a:prstGeom prst="bentConnector2">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a:off x="4271186"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a:off x="3347738"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a:off x="2424290" y="5633264"/>
            <a:ext cx="314222" cy="0"/>
          </a:xfrm>
          <a:prstGeom prst="straightConnector1">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5503440" y="4061161"/>
            <a:ext cx="871559"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264"/>
          <p:cNvSpPr/>
          <p:nvPr/>
        </p:nvSpPr>
        <p:spPr bwMode="auto">
          <a:xfrm>
            <a:off x="381012" y="3935549"/>
            <a:ext cx="871559" cy="1201912"/>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p:cNvSpPr/>
          <p:nvPr/>
        </p:nvSpPr>
        <p:spPr bwMode="auto">
          <a:xfrm>
            <a:off x="6653997" y="2715356"/>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Rectangle 274"/>
          <p:cNvSpPr/>
          <p:nvPr/>
        </p:nvSpPr>
        <p:spPr bwMode="auto">
          <a:xfrm>
            <a:off x="6653997" y="3886117"/>
            <a:ext cx="1138772" cy="999981"/>
          </a:xfrm>
          <a:prstGeom prst="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TextBox 74"/>
          <p:cNvSpPr txBox="1"/>
          <p:nvPr/>
        </p:nvSpPr>
        <p:spPr>
          <a:xfrm>
            <a:off x="637106" y="5603563"/>
            <a:ext cx="742901" cy="4270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a:ln>
                  <a:noFill/>
                </a:ln>
                <a:solidFill>
                  <a:srgbClr val="FFFFFF"/>
                </a:solidFill>
                <a:effectLst/>
                <a:uLnTx/>
                <a:uFillTx/>
                <a:latin typeface="Segoe Pro" charset="0"/>
                <a:ea typeface="Segoe Pro" charset="0"/>
                <a:cs typeface="Segoe Pro" charset="0"/>
              </a:rPr>
              <a:t>AMQP</a:t>
            </a:r>
            <a:endPar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endParaRPr>
          </a:p>
        </p:txBody>
      </p:sp>
      <p:sp>
        <p:nvSpPr>
          <p:cNvPr id="278" name="TextBox 277"/>
          <p:cNvSpPr txBox="1"/>
          <p:nvPr/>
        </p:nvSpPr>
        <p:spPr>
          <a:xfrm>
            <a:off x="372062" y="3634121"/>
            <a:ext cx="914400" cy="36576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charset="0"/>
                <a:ea typeface="Segoe Pro" charset="0"/>
                <a:cs typeface="Segoe Pro" charset="0"/>
              </a:rPr>
              <a:t>Field Gateway</a:t>
            </a:r>
          </a:p>
        </p:txBody>
      </p:sp>
      <p:cxnSp>
        <p:nvCxnSpPr>
          <p:cNvPr id="88" name="Elbow Connector 87"/>
          <p:cNvCxnSpPr/>
          <p:nvPr/>
        </p:nvCxnSpPr>
        <p:spPr>
          <a:xfrm>
            <a:off x="829263" y="5230368"/>
            <a:ext cx="956403" cy="413382"/>
          </a:xfrm>
          <a:prstGeom prst="bentConnector3">
            <a:avLst>
              <a:gd name="adj1" fmla="val 284"/>
            </a:avLst>
          </a:prstGeom>
          <a:ln>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476104" y="2864055"/>
            <a:ext cx="886566" cy="783155"/>
            <a:chOff x="4476104" y="2864055"/>
            <a:chExt cx="886566" cy="783155"/>
          </a:xfrm>
        </p:grpSpPr>
        <p:pic>
          <p:nvPicPr>
            <p:cNvPr id="93" name="Picture 9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6" name="TextBox 95"/>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97" name="Group 96"/>
          <p:cNvGrpSpPr/>
          <p:nvPr/>
        </p:nvGrpSpPr>
        <p:grpSpPr>
          <a:xfrm>
            <a:off x="4476104" y="4207825"/>
            <a:ext cx="886566" cy="783155"/>
            <a:chOff x="4476104" y="2864055"/>
            <a:chExt cx="886566" cy="783155"/>
          </a:xfrm>
        </p:grpSpPr>
        <p:pic>
          <p:nvPicPr>
            <p:cNvPr id="98" name="Picture 9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99" name="TextBox 98"/>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0" name="Group 99"/>
          <p:cNvGrpSpPr/>
          <p:nvPr/>
        </p:nvGrpSpPr>
        <p:grpSpPr>
          <a:xfrm>
            <a:off x="5525676" y="4207825"/>
            <a:ext cx="886566" cy="783155"/>
            <a:chOff x="4476104" y="2864055"/>
            <a:chExt cx="886566" cy="783155"/>
          </a:xfrm>
        </p:grpSpPr>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2" name="TextBox 101"/>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grpSp>
        <p:nvGrpSpPr>
          <p:cNvPr id="103" name="Group 102"/>
          <p:cNvGrpSpPr/>
          <p:nvPr/>
        </p:nvGrpSpPr>
        <p:grpSpPr>
          <a:xfrm>
            <a:off x="1661419" y="2956807"/>
            <a:ext cx="886566" cy="783155"/>
            <a:chOff x="4476104" y="2864055"/>
            <a:chExt cx="886566" cy="783155"/>
          </a:xfrm>
        </p:grpSpPr>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1430" y="2864055"/>
              <a:ext cx="555914" cy="472022"/>
            </a:xfrm>
            <a:prstGeom prst="rect">
              <a:avLst/>
            </a:prstGeom>
            <a:effectLst/>
          </p:spPr>
        </p:pic>
        <p:sp>
          <p:nvSpPr>
            <p:cNvPr id="105" name="TextBox 104"/>
            <p:cNvSpPr txBox="1"/>
            <p:nvPr/>
          </p:nvSpPr>
          <p:spPr>
            <a:xfrm>
              <a:off x="4476104" y="3384061"/>
              <a:ext cx="886566" cy="2631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App </a:t>
              </a:r>
              <a:b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br>
              <a:r>
                <a:rPr kumimoji="0" lang="en-US" sz="9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Service Plan</a:t>
              </a:r>
            </a:p>
          </p:txBody>
        </p:sp>
      </p:grpSp>
    </p:spTree>
    <p:extLst>
      <p:ext uri="{BB962C8B-B14F-4D97-AF65-F5344CB8AC3E}">
        <p14:creationId xmlns:p14="http://schemas.microsoft.com/office/powerpoint/2010/main" val="41082064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6374" y="0"/>
            <a:ext cx="12198374" cy="6858000"/>
          </a:xfrm>
          <a:prstGeom prst="rect">
            <a:avLst/>
          </a:prstGeom>
        </p:spPr>
      </p:pic>
      <p:sp>
        <p:nvSpPr>
          <p:cNvPr id="12" name="Rectangle 11"/>
          <p:cNvSpPr/>
          <p:nvPr/>
        </p:nvSpPr>
        <p:spPr bwMode="auto">
          <a:xfrm>
            <a:off x="-6374" y="0"/>
            <a:ext cx="12198374" cy="6858000"/>
          </a:xfrm>
          <a:prstGeom prst="rect">
            <a:avLst/>
          </a:prstGeom>
          <a:gradFill>
            <a:gsLst>
              <a:gs pos="32000">
                <a:schemeClr val="bg1"/>
              </a:gs>
              <a:gs pos="85000">
                <a:schemeClr val="bg1">
                  <a:alpha val="0"/>
                </a:schemeClr>
              </a:gs>
            </a:gsLst>
            <a:lin ang="5400000" scaled="1"/>
          </a:gradFill>
          <a:ln>
            <a:gradFill>
              <a:gsLst>
                <a:gs pos="0">
                  <a:schemeClr val="accent1">
                    <a:lumMod val="5000"/>
                    <a:lumOff val="95000"/>
                  </a:schemeClr>
                </a:gs>
                <a:gs pos="10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Arrow: Pentagon 39"/>
          <p:cNvSpPr/>
          <p:nvPr/>
        </p:nvSpPr>
        <p:spPr bwMode="auto">
          <a:xfrm>
            <a:off x="3388365" y="2143903"/>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621082" y="2896328"/>
            <a:ext cx="10782025" cy="3939567"/>
            <a:chOff x="665173" y="2507598"/>
            <a:chExt cx="14382562" cy="4425183"/>
          </a:xfrm>
        </p:grpSpPr>
        <p:grpSp>
          <p:nvGrpSpPr>
            <p:cNvPr id="57" name="Group 56"/>
            <p:cNvGrpSpPr/>
            <p:nvPr/>
          </p:nvGrpSpPr>
          <p:grpSpPr>
            <a:xfrm>
              <a:off x="665173" y="2507598"/>
              <a:ext cx="14382562" cy="4425183"/>
              <a:chOff x="747061" y="2030347"/>
              <a:chExt cx="14382562" cy="3683966"/>
            </a:xfrm>
            <a:solidFill>
              <a:schemeClr val="bg1">
                <a:lumMod val="95000"/>
              </a:schemeClr>
            </a:solidFill>
          </p:grpSpPr>
          <p:sp>
            <p:nvSpPr>
              <p:cNvPr id="58" name="Rectangle 57"/>
              <p:cNvSpPr/>
              <p:nvPr/>
            </p:nvSpPr>
            <p:spPr bwMode="auto">
              <a:xfrm>
                <a:off x="747061" y="2033516"/>
                <a:ext cx="2944094" cy="3680797"/>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4438447" y="2030347"/>
                <a:ext cx="2959498" cy="3683965"/>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p:cNvSpPr/>
              <p:nvPr/>
            </p:nvSpPr>
            <p:spPr bwMode="auto">
              <a:xfrm>
                <a:off x="8235735" y="2033515"/>
                <a:ext cx="2943906" cy="3680797"/>
              </a:xfrm>
              <a:prstGeom prst="rect">
                <a:avLst/>
              </a:prstGeom>
              <a:gradFill>
                <a:gsLst>
                  <a:gs pos="32000">
                    <a:schemeClr val="bg1"/>
                  </a:gs>
                  <a:gs pos="85000">
                    <a:schemeClr val="bg1">
                      <a:alpha val="0"/>
                    </a:schemeClr>
                  </a:gs>
                </a:gsLst>
                <a:lin ang="5400000" scaled="1"/>
              </a:gradFill>
              <a:ln w="12700">
                <a:gradFill>
                  <a:gsLst>
                    <a:gs pos="0">
                      <a:schemeClr val="tx2"/>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p:cNvSpPr/>
              <p:nvPr/>
            </p:nvSpPr>
            <p:spPr bwMode="auto">
              <a:xfrm>
                <a:off x="12172977" y="2033515"/>
                <a:ext cx="2956646" cy="3680797"/>
              </a:xfrm>
              <a:prstGeom prst="rect">
                <a:avLst/>
              </a:prstGeom>
              <a:gradFill>
                <a:gsLst>
                  <a:gs pos="32000">
                    <a:schemeClr val="bg1"/>
                  </a:gs>
                  <a:gs pos="85000">
                    <a:schemeClr val="bg1">
                      <a:alpha val="0"/>
                    </a:schemeClr>
                  </a:gs>
                </a:gsLst>
                <a:lin ang="5400000" scaled="1"/>
              </a:gradFill>
              <a:ln w="12700">
                <a:gradFill>
                  <a:gsLst>
                    <a:gs pos="0">
                      <a:schemeClr val="tx2">
                        <a:alpha val="70000"/>
                      </a:schemeClr>
                    </a:gs>
                    <a:gs pos="70000">
                      <a:schemeClr val="accent1">
                        <a:lumMod val="30000"/>
                        <a:lumOff val="70000"/>
                        <a:alpha val="0"/>
                      </a:schemeClr>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1" name="Rectangle 60"/>
            <p:cNvSpPr/>
            <p:nvPr/>
          </p:nvSpPr>
          <p:spPr>
            <a:xfrm>
              <a:off x="823075" y="3105930"/>
              <a:ext cx="2551994" cy="2443928"/>
            </a:xfrm>
            <a:prstGeom prst="rect">
              <a:avLst/>
            </a:prstGeom>
            <a:noFill/>
            <a:ln w="10795" cap="flat" cmpd="sng" algn="ctr">
              <a:noFill/>
              <a:prstDash val="solid"/>
            </a:ln>
            <a:effectLst/>
          </p:spPr>
          <p:txBody>
            <a:bodyPr lIns="45708" tIns="45708" rIns="45708" bIns="45708" rtlCol="0" anchor="t"/>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CIO engagement: </a:t>
              </a:r>
            </a:p>
            <a:p>
              <a:pPr marL="171450" marR="0" lvl="0" indent="-171450" algn="l" defTabSz="914126"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Roundtable with CIO to understand the company’s aspirations</a:t>
              </a:r>
              <a:br>
                <a:rPr kumimoji="0" lang="en-US" sz="1300" b="0" i="0" u="none" strike="noStrike" kern="1200" cap="none" spc="0" normalizeH="0" baseline="0" noProof="0" dirty="0">
                  <a:ln>
                    <a:noFill/>
                  </a:ln>
                  <a:solidFill>
                    <a:srgbClr val="505050"/>
                  </a:solidFill>
                  <a:effectLst/>
                  <a:uLnTx/>
                  <a:uFillTx/>
                  <a:latin typeface="Segoe UI"/>
                  <a:ea typeface="+mn-ea"/>
                  <a:cs typeface="+mn-cs"/>
                </a:rPr>
              </a:b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Envisioning session: </a:t>
              </a:r>
            </a:p>
            <a:p>
              <a:pPr marL="171450" marR="0" lvl="0" indent="-171450" algn="l" defTabSz="914126"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A 2-day discovery workshop with </a:t>
              </a:r>
              <a:r>
                <a:rPr kumimoji="0" lang="en-US" sz="1300" b="0" i="0" u="none" strike="noStrike" kern="1200" cap="none" spc="0" normalizeH="0" baseline="0" noProof="0" dirty="0" err="1">
                  <a:ln>
                    <a:noFill/>
                  </a:ln>
                  <a:solidFill>
                    <a:srgbClr val="505050"/>
                  </a:solidFill>
                  <a:effectLst/>
                  <a:uLnTx/>
                  <a:uFillTx/>
                  <a:latin typeface="Segoe UI"/>
                  <a:ea typeface="+mn-ea"/>
                  <a:cs typeface="+mn-cs"/>
                </a:rPr>
                <a:t>Damco</a:t>
              </a:r>
              <a:r>
                <a:rPr kumimoji="0" lang="en-US" sz="1300" b="0" i="0" u="none" strike="noStrike" kern="1200" cap="none" spc="0" normalizeH="0" baseline="0" noProof="0" dirty="0">
                  <a:ln>
                    <a:noFill/>
                  </a:ln>
                  <a:solidFill>
                    <a:srgbClr val="505050"/>
                  </a:solidFill>
                  <a:effectLst/>
                  <a:uLnTx/>
                  <a:uFillTx/>
                  <a:latin typeface="Segoe UI"/>
                  <a:ea typeface="+mn-ea"/>
                  <a:cs typeface="+mn-cs"/>
                </a:rPr>
                <a:t> to land concept for a pilot </a:t>
              </a: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Rectangle 62"/>
            <p:cNvSpPr/>
            <p:nvPr/>
          </p:nvSpPr>
          <p:spPr>
            <a:xfrm>
              <a:off x="8325110" y="3105930"/>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Phase 1: </a:t>
              </a:r>
            </a:p>
            <a:p>
              <a:pPr marL="268259" marR="0" lvl="0" indent="-171450" algn="l" defTabSz="914089"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Build the supply chain disruption application on top of Azure Data Lake</a:t>
              </a:r>
              <a:br>
                <a:rPr kumimoji="0" lang="en-US" sz="1300" b="0" i="0" u="none" strike="noStrike" kern="1200" cap="none" spc="0" normalizeH="0" baseline="0" noProof="0" dirty="0">
                  <a:ln>
                    <a:noFill/>
                  </a:ln>
                  <a:solidFill>
                    <a:srgbClr val="505050"/>
                  </a:solidFill>
                  <a:effectLst/>
                  <a:uLnTx/>
                  <a:uFillTx/>
                  <a:latin typeface="Segoe UI"/>
                  <a:ea typeface="+mn-ea"/>
                  <a:cs typeface="+mn-cs"/>
                </a:rPr>
              </a:b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Phase 2: </a:t>
              </a:r>
            </a:p>
            <a:p>
              <a:pPr marL="268259" marR="0" lvl="0" indent="-171450" algn="l" defTabSz="914089"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Onboard historical data sources</a:t>
              </a: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Rectangle 63"/>
            <p:cNvSpPr/>
            <p:nvPr/>
          </p:nvSpPr>
          <p:spPr>
            <a:xfrm>
              <a:off x="4622867" y="2593769"/>
              <a:ext cx="2822718" cy="427365"/>
            </a:xfrm>
            <a:prstGeom prst="rect">
              <a:avLst/>
            </a:prstGeom>
            <a:noFill/>
            <a:ln w="6350" cap="flat" cmpd="sng" algn="ctr">
              <a:noFill/>
              <a:prstDash val="solid"/>
            </a:ln>
            <a:effectLst/>
          </p:spPr>
          <p:txBody>
            <a:bodyPr rot="0" spcFirstLastPara="0" vertOverflow="overflow" horzOverflow="overflow" vert="horz" wrap="square" lIns="45708" tIns="45708" rIns="45708" bIns="45708" numCol="1" spcCol="0" rtlCol="0" fromWordArt="0" anchor="t" anchorCtr="0" forceAA="0" compatLnSpc="1">
              <a:prstTxWarp prst="textNoShape">
                <a:avLst/>
              </a:prstTxWarp>
              <a:noAutofit/>
            </a:bodyPr>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8 Weeks</a:t>
              </a:r>
            </a:p>
            <a:p>
              <a:pPr marL="0" marR="0" lvl="0" indent="0" algn="l" defTabSz="914126" rtl="0" eaLnBrk="1" fontAlgn="auto" latinLnBrk="0" hangingPunct="1">
                <a:lnSpc>
                  <a:spcPct val="95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00B294"/>
                </a:solidFill>
                <a:effectLst/>
                <a:uLnTx/>
                <a:uFillTx/>
                <a:latin typeface="Segoe UI Light"/>
                <a:ea typeface="+mn-ea"/>
                <a:cs typeface="+mn-cs"/>
              </a:endParaRPr>
            </a:p>
          </p:txBody>
        </p:sp>
        <p:sp>
          <p:nvSpPr>
            <p:cNvPr id="71" name="Rectangle 70"/>
            <p:cNvSpPr/>
            <p:nvPr/>
          </p:nvSpPr>
          <p:spPr>
            <a:xfrm>
              <a:off x="12197718" y="2593769"/>
              <a:ext cx="2850016" cy="420998"/>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Ongoing</a:t>
              </a:r>
            </a:p>
            <a:p>
              <a:pPr marL="96813"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74" name="Rectangle 73"/>
            <p:cNvSpPr/>
            <p:nvPr/>
          </p:nvSpPr>
          <p:spPr>
            <a:xfrm>
              <a:off x="823074" y="2593769"/>
              <a:ext cx="1819878" cy="450939"/>
            </a:xfrm>
            <a:prstGeom prst="rect">
              <a:avLst/>
            </a:prstGeom>
            <a:noFill/>
            <a:ln w="10795" cap="flat" cmpd="sng" algn="ctr">
              <a:noFill/>
              <a:prstDash val="solid"/>
            </a:ln>
            <a:effectLst/>
          </p:spPr>
          <p:txBody>
            <a:bodyPr lIns="45708" tIns="45708" rIns="45708" bIns="45708" rtlCol="0" anchor="t"/>
            <a:lstStyle/>
            <a:p>
              <a:pPr marL="0" marR="0" lvl="0" indent="0" algn="l" defTabSz="914126"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3 Days</a:t>
              </a:r>
            </a:p>
            <a:p>
              <a:pPr marL="0"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43" name="Rectangle 42"/>
            <p:cNvSpPr/>
            <p:nvPr/>
          </p:nvSpPr>
          <p:spPr>
            <a:xfrm>
              <a:off x="8330810" y="2593769"/>
              <a:ext cx="2690342" cy="420998"/>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294"/>
                  </a:solidFill>
                  <a:effectLst/>
                  <a:uLnTx/>
                  <a:uFillTx/>
                  <a:latin typeface="Segoe UI Light"/>
                  <a:ea typeface="+mn-ea"/>
                  <a:cs typeface="+mn-cs"/>
                </a:rPr>
                <a:t>Ongoing</a:t>
              </a:r>
            </a:p>
            <a:p>
              <a:pPr marL="96813" marR="0" lvl="0" indent="0" algn="l" defTabSz="914134" rtl="0" eaLnBrk="1" fontAlgn="auto" latinLnBrk="0" hangingPunct="1">
                <a:lnSpc>
                  <a:spcPct val="95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00B294"/>
                </a:solidFill>
                <a:effectLst/>
                <a:uLnTx/>
                <a:uFillTx/>
                <a:latin typeface="Segoe UI Light"/>
                <a:ea typeface="+mn-ea"/>
                <a:cs typeface="+mn-cs"/>
              </a:endParaRPr>
            </a:p>
          </p:txBody>
        </p:sp>
        <p:sp>
          <p:nvSpPr>
            <p:cNvPr id="44" name="Rectangle 43"/>
            <p:cNvSpPr/>
            <p:nvPr/>
          </p:nvSpPr>
          <p:spPr>
            <a:xfrm>
              <a:off x="4554751" y="3105931"/>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Conduct 8 week “proof of concept” based on goals established during the envisioning process.</a:t>
              </a: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sp>
          <p:nvSpPr>
            <p:cNvPr id="47" name="Rectangle 46"/>
            <p:cNvSpPr/>
            <p:nvPr/>
          </p:nvSpPr>
          <p:spPr>
            <a:xfrm>
              <a:off x="12309808" y="3105931"/>
              <a:ext cx="2546761" cy="2716625"/>
            </a:xfrm>
            <a:prstGeom prst="rect">
              <a:avLst/>
            </a:prstGeom>
            <a:noFill/>
            <a:ln w="10795" cap="flat" cmpd="sng" algn="ctr">
              <a:noFill/>
              <a:prstDash val="solid"/>
            </a:ln>
            <a:effectLst/>
          </p:spPr>
          <p:txBody>
            <a:bodyPr lIns="45708" tIns="45708" rIns="45708" bIns="45708" rtlCol="0" anchor="t"/>
            <a:lstStyle/>
            <a:p>
              <a:pPr marL="96809" marR="0" lvl="0" indent="0" algn="l" defTabSz="914089" rtl="0" eaLnBrk="1" fontAlgn="auto" latinLnBrk="0" hangingPunct="1">
                <a:lnSpc>
                  <a:spcPct val="95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Segoe UI"/>
                  <a:ea typeface="+mn-ea"/>
                  <a:cs typeface="+mn-cs"/>
                </a:rPr>
                <a:t>Develop regular rhythm and cadence for engagement to identify new opportunities and prove commitment </a:t>
              </a:r>
              <a:r>
                <a:rPr kumimoji="0" lang="en-US" sz="1300" b="0" i="0" u="none" strike="noStrike" kern="1200" cap="none" spc="0" normalizeH="0" baseline="0" noProof="0">
                  <a:ln>
                    <a:noFill/>
                  </a:ln>
                  <a:solidFill>
                    <a:srgbClr val="505050"/>
                  </a:solidFill>
                  <a:effectLst/>
                  <a:uLnTx/>
                  <a:uFillTx/>
                  <a:latin typeface="Segoe UI"/>
                  <a:ea typeface="+mn-ea"/>
                  <a:cs typeface="+mn-cs"/>
                </a:rPr>
                <a:t>to customer</a:t>
              </a:r>
              <a:endParaRPr kumimoji="0" lang="en-US" sz="1300" b="0" i="0" u="none" strike="noStrike" kern="1200" cap="none" spc="0" normalizeH="0" baseline="0" noProof="0" dirty="0">
                <a:ln>
                  <a:noFill/>
                </a:ln>
                <a:solidFill>
                  <a:srgbClr val="505050"/>
                </a:solidFill>
                <a:effectLst/>
                <a:uLnTx/>
                <a:uFillTx/>
                <a:latin typeface="Segoe UI"/>
                <a:ea typeface="+mn-ea"/>
                <a:cs typeface="+mn-cs"/>
              </a:endParaRPr>
            </a:p>
            <a:p>
              <a:pPr marL="268263" marR="0" lvl="0" indent="-171450" algn="l" defTabSz="914134" rtl="0" eaLnBrk="1" fontAlgn="auto" latinLnBrk="0" hangingPunct="1">
                <a:lnSpc>
                  <a:spcPct val="95000"/>
                </a:lnSpc>
                <a:spcBef>
                  <a:spcPts val="0"/>
                </a:spcBef>
                <a:spcAft>
                  <a:spcPts val="60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2" name="Title 1"/>
          <p:cNvSpPr>
            <a:spLocks noGrp="1"/>
          </p:cNvSpPr>
          <p:nvPr>
            <p:ph type="title"/>
          </p:nvPr>
        </p:nvSpPr>
        <p:spPr>
          <a:xfrm>
            <a:off x="269239" y="289511"/>
            <a:ext cx="12702481" cy="899665"/>
          </a:xfrm>
        </p:spPr>
        <p:txBody>
          <a:bodyPr/>
          <a:lstStyle/>
          <a:p>
            <a:r>
              <a:rPr lang="en-US" dirty="0">
                <a:solidFill>
                  <a:schemeClr val="tx1"/>
                </a:solidFill>
              </a:rPr>
              <a:t>Delivering innovation and ROI… continuously</a:t>
            </a:r>
          </a:p>
        </p:txBody>
      </p:sp>
      <p:sp>
        <p:nvSpPr>
          <p:cNvPr id="3" name="Slide Number Placeholder 2"/>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176" b="0" i="0" u="none" strike="noStrike" kern="1200" cap="none" spc="0" normalizeH="0" baseline="0" noProof="0">
                <a:ln>
                  <a:noFill/>
                </a:ln>
                <a:solidFill>
                  <a:srgbClr val="50505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3</a:t>
            </a:fld>
            <a:endParaRPr kumimoji="0" lang="en-IN"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Isosceles Triangle 7"/>
          <p:cNvSpPr/>
          <p:nvPr/>
        </p:nvSpPr>
        <p:spPr bwMode="auto">
          <a:xfrm rot="10800000">
            <a:off x="-6247852" y="1797376"/>
            <a:ext cx="372875" cy="18627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p:cNvSpPr>
            <a:spLocks noGrp="1"/>
          </p:cNvSpPr>
          <p:nvPr>
            <p:ph type="body" sz="quarter" idx="10"/>
          </p:nvPr>
        </p:nvSpPr>
        <p:spPr>
          <a:xfrm>
            <a:off x="265980" y="1189176"/>
            <a:ext cx="10802353" cy="1003352"/>
          </a:xfrm>
        </p:spPr>
        <p:txBody>
          <a:bodyPr/>
          <a:lstStyle/>
          <a:p>
            <a:r>
              <a:rPr lang="en-US" dirty="0">
                <a:solidFill>
                  <a:schemeClr val="tx2"/>
                </a:solidFill>
              </a:rPr>
              <a:t>We wanted to deliver incremental value on a continuous basis</a:t>
            </a:r>
          </a:p>
        </p:txBody>
      </p:sp>
      <p:sp>
        <p:nvSpPr>
          <p:cNvPr id="68" name="Rectangle 67"/>
          <p:cNvSpPr/>
          <p:nvPr/>
        </p:nvSpPr>
        <p:spPr>
          <a:xfrm>
            <a:off x="3745299" y="2325130"/>
            <a:ext cx="1711646"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Pilot</a:t>
            </a:r>
          </a:p>
        </p:txBody>
      </p:sp>
      <p:sp>
        <p:nvSpPr>
          <p:cNvPr id="39" name="Arrow: Pentagon 38"/>
          <p:cNvSpPr/>
          <p:nvPr/>
        </p:nvSpPr>
        <p:spPr bwMode="auto">
          <a:xfrm>
            <a:off x="621082" y="2139786"/>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p:nvSpPr>
        <p:spPr>
          <a:xfrm>
            <a:off x="873456" y="2325130"/>
            <a:ext cx="2514909"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Envisioning</a:t>
            </a:r>
          </a:p>
        </p:txBody>
      </p:sp>
      <p:sp>
        <p:nvSpPr>
          <p:cNvPr id="65" name="Oval 64"/>
          <p:cNvSpPr/>
          <p:nvPr/>
        </p:nvSpPr>
        <p:spPr bwMode="auto">
          <a:xfrm>
            <a:off x="351715" y="2214702"/>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1</a:t>
            </a:r>
          </a:p>
        </p:txBody>
      </p:sp>
      <p:sp>
        <p:nvSpPr>
          <p:cNvPr id="66" name="Oval 65"/>
          <p:cNvSpPr/>
          <p:nvPr/>
        </p:nvSpPr>
        <p:spPr bwMode="auto">
          <a:xfrm>
            <a:off x="3158901"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2</a:t>
            </a:r>
          </a:p>
        </p:txBody>
      </p:sp>
      <p:sp>
        <p:nvSpPr>
          <p:cNvPr id="41" name="Arrow: Pentagon 40"/>
          <p:cNvSpPr/>
          <p:nvPr/>
        </p:nvSpPr>
        <p:spPr bwMode="auto">
          <a:xfrm>
            <a:off x="6236664" y="2166180"/>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a:xfrm>
            <a:off x="6625015" y="2325130"/>
            <a:ext cx="1816950" cy="369308"/>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Production</a:t>
            </a:r>
          </a:p>
        </p:txBody>
      </p:sp>
      <p:sp>
        <p:nvSpPr>
          <p:cNvPr id="67" name="Oval 66"/>
          <p:cNvSpPr/>
          <p:nvPr/>
        </p:nvSpPr>
        <p:spPr bwMode="auto">
          <a:xfrm>
            <a:off x="5992005"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3</a:t>
            </a:r>
          </a:p>
        </p:txBody>
      </p:sp>
      <p:sp>
        <p:nvSpPr>
          <p:cNvPr id="42" name="Arrow: Pentagon 41"/>
          <p:cNvSpPr/>
          <p:nvPr/>
        </p:nvSpPr>
        <p:spPr bwMode="auto">
          <a:xfrm>
            <a:off x="9186628" y="2175565"/>
            <a:ext cx="2417167" cy="687819"/>
          </a:xfrm>
          <a:prstGeom prst="homePlate">
            <a:avLst>
              <a:gd name="adj" fmla="val 30281"/>
            </a:avLst>
          </a:prstGeom>
          <a:solidFill>
            <a:schemeClr val="bg1">
              <a:lumMod val="95000"/>
              <a:alpha val="89804"/>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p:cNvSpPr/>
          <p:nvPr/>
        </p:nvSpPr>
        <p:spPr>
          <a:xfrm>
            <a:off x="9437744" y="2214331"/>
            <a:ext cx="1918238" cy="590907"/>
          </a:xfrm>
          <a:prstGeom prst="rect">
            <a:avLst/>
          </a:prstGeom>
          <a:noFill/>
          <a:ln w="6350">
            <a:noFill/>
            <a:prstDash val="sysDot"/>
          </a:ln>
        </p:spPr>
        <p:txBody>
          <a:bodyPr wrap="square" lIns="91416" tIns="45708" bIns="45708" anchor="t">
            <a:spAutoFit/>
          </a:bodyPr>
          <a:lstStyle/>
          <a:p>
            <a:pPr marL="0" marR="0" lvl="0" indent="0" algn="l" defTabSz="60896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a:ea typeface="+mn-ea"/>
                <a:cs typeface="Segoe UI Light" panose="020B0502040204020203" pitchFamily="34" charset="0"/>
              </a:rPr>
              <a:t>Continuous Engagement</a:t>
            </a:r>
          </a:p>
        </p:txBody>
      </p:sp>
      <p:sp>
        <p:nvSpPr>
          <p:cNvPr id="72" name="Oval 71"/>
          <p:cNvSpPr/>
          <p:nvPr/>
        </p:nvSpPr>
        <p:spPr bwMode="auto">
          <a:xfrm>
            <a:off x="8905225" y="2246976"/>
            <a:ext cx="515242" cy="516751"/>
          </a:xfrm>
          <a:prstGeom prst="ellipse">
            <a:avLst/>
          </a:prstGeom>
          <a:solidFill>
            <a:schemeClr val="tx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4</a:t>
            </a:r>
          </a:p>
        </p:txBody>
      </p:sp>
    </p:spTree>
    <p:extLst>
      <p:ext uri="{BB962C8B-B14F-4D97-AF65-F5344CB8AC3E}">
        <p14:creationId xmlns:p14="http://schemas.microsoft.com/office/powerpoint/2010/main" val="387794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3789255" y="-2"/>
            <a:ext cx="8402745" cy="6858002"/>
            <a:chOff x="3789255" y="-2"/>
            <a:chExt cx="8402745" cy="6858002"/>
          </a:xfrm>
        </p:grpSpPr>
        <p:pic>
          <p:nvPicPr>
            <p:cNvPr id="47" name="Picture 4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059108" y="0"/>
              <a:ext cx="8132892" cy="6858000"/>
            </a:xfrm>
            <a:prstGeom prst="rect">
              <a:avLst/>
            </a:prstGeom>
          </p:spPr>
        </p:pic>
        <p:sp>
          <p:nvSpPr>
            <p:cNvPr id="48" name="Rectangle 47"/>
            <p:cNvSpPr/>
            <p:nvPr/>
          </p:nvSpPr>
          <p:spPr bwMode="auto">
            <a:xfrm rot="10800000">
              <a:off x="3789255" y="-2"/>
              <a:ext cx="5997126" cy="6857999"/>
            </a:xfrm>
            <a:prstGeom prst="rect">
              <a:avLst/>
            </a:prstGeom>
            <a:gradFill flip="none" rotWithShape="1">
              <a:gsLst>
                <a:gs pos="100000">
                  <a:schemeClr val="bg1"/>
                </a:gs>
                <a:gs pos="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Rectangle 5"/>
          <p:cNvSpPr/>
          <p:nvPr/>
        </p:nvSpPr>
        <p:spPr bwMode="auto">
          <a:xfrm>
            <a:off x="1" y="5609230"/>
            <a:ext cx="12192000" cy="1258751"/>
          </a:xfrm>
          <a:prstGeom prst="rect">
            <a:avLst/>
          </a:prstGeom>
          <a:gradFill>
            <a:gsLst>
              <a:gs pos="0">
                <a:srgbClr val="000000">
                  <a:alpha val="0"/>
                </a:srgbClr>
              </a:gs>
              <a:gs pos="100000">
                <a:srgbClr val="000000">
                  <a:alpha val="35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Microsoft Logo.eps"/>
          <p:cNvPicPr>
            <a:picLocks noChangeAspect="1"/>
          </p:cNvPicPr>
          <p:nvPr/>
        </p:nvPicPr>
        <p:blipFill rotWithShape="1">
          <a:blip r:embed="rId4" cstate="screen">
            <a:extLst>
              <a:ext uri="{28A0092B-C50C-407E-A947-70E740481C1C}">
                <a14:useLocalDpi xmlns:a14="http://schemas.microsoft.com/office/drawing/2010/main"/>
              </a:ext>
            </a:extLst>
          </a:blip>
          <a:srcRect t="59305"/>
          <a:stretch/>
        </p:blipFill>
        <p:spPr>
          <a:xfrm>
            <a:off x="10972800" y="6400800"/>
            <a:ext cx="987443" cy="234673"/>
          </a:xfrm>
          <a:prstGeom prst="rect">
            <a:avLst/>
          </a:prstGeom>
        </p:spPr>
      </p:pic>
      <p:sp>
        <p:nvSpPr>
          <p:cNvPr id="36" name="Oval 35"/>
          <p:cNvSpPr/>
          <p:nvPr/>
        </p:nvSpPr>
        <p:spPr bwMode="auto">
          <a:xfrm>
            <a:off x="13536398" y="703154"/>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p:cNvSpPr/>
          <p:nvPr/>
        </p:nvSpPr>
        <p:spPr bwMode="auto">
          <a:xfrm>
            <a:off x="13536398" y="1874227"/>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p:cNvSpPr/>
          <p:nvPr/>
        </p:nvSpPr>
        <p:spPr bwMode="auto">
          <a:xfrm>
            <a:off x="13536398" y="2483827"/>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p:cNvSpPr/>
          <p:nvPr/>
        </p:nvSpPr>
        <p:spPr bwMode="auto">
          <a:xfrm>
            <a:off x="13536398" y="3334058"/>
            <a:ext cx="448962" cy="448962"/>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a:xfrm>
            <a:off x="-38100" y="0"/>
            <a:ext cx="8194417" cy="6867981"/>
          </a:xfrm>
          <a:prstGeom prst="rect">
            <a:avLst/>
          </a:prstGeom>
          <a:solidFill>
            <a:schemeClr val="bg1">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p:txBody>
          <a:bodyPr/>
          <a:lstStyle/>
          <a:p>
            <a:r>
              <a:rPr lang="en-US" dirty="0">
                <a:solidFill>
                  <a:schemeClr val="tx1"/>
                </a:solidFill>
              </a:rPr>
              <a:t>Change Management </a:t>
            </a:r>
          </a:p>
        </p:txBody>
      </p:sp>
      <p:sp>
        <p:nvSpPr>
          <p:cNvPr id="4" name="Slide Number Placeholder 3"/>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181750B2-C378-4896-80E6-341FDC8E0FED}" type="slidenum">
              <a:rPr kumimoji="0" lang="en-IN" sz="1176" b="0" i="0" u="none" strike="noStrike" kern="1200" cap="none" spc="0" normalizeH="0" baseline="0" noProof="0">
                <a:ln>
                  <a:noFill/>
                </a:ln>
                <a:solidFill>
                  <a:srgbClr val="50505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4</a:t>
            </a:fld>
            <a:endParaRPr kumimoji="0" lang="en-IN" sz="1176"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Text Placeholder 4"/>
          <p:cNvSpPr>
            <a:spLocks noGrp="1"/>
          </p:cNvSpPr>
          <p:nvPr>
            <p:ph type="body" sz="quarter" idx="10"/>
          </p:nvPr>
        </p:nvSpPr>
        <p:spPr>
          <a:xfrm>
            <a:off x="265980" y="1189176"/>
            <a:ext cx="7650580" cy="1003352"/>
          </a:xfrm>
        </p:spPr>
        <p:txBody>
          <a:bodyPr/>
          <a:lstStyle/>
          <a:p>
            <a:r>
              <a:rPr lang="en-US" dirty="0">
                <a:solidFill>
                  <a:schemeClr val="tx2"/>
                </a:solidFill>
                <a:latin typeface="Segoe UI Light (Headings)"/>
              </a:rPr>
              <a:t>Ensuring solution adoption requires disruption in a company’s business and governance models</a:t>
            </a:r>
            <a:endParaRPr lang="en-US" dirty="0">
              <a:solidFill>
                <a:schemeClr val="tx2"/>
              </a:solidFill>
            </a:endParaRPr>
          </a:p>
        </p:txBody>
      </p:sp>
      <p:sp>
        <p:nvSpPr>
          <p:cNvPr id="9" name="TextBox 8"/>
          <p:cNvSpPr txBox="1"/>
          <p:nvPr/>
        </p:nvSpPr>
        <p:spPr>
          <a:xfrm>
            <a:off x="343940" y="2869352"/>
            <a:ext cx="206150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solidFill>
                <a:srgbClr val="505050"/>
              </a:solidFill>
              <a:effectLst/>
              <a:uLnTx/>
              <a:uFillTx/>
              <a:latin typeface="Segoe UI"/>
              <a:ea typeface="+mn-ea"/>
              <a:cs typeface="+mn-cs"/>
            </a:endParaRPr>
          </a:p>
        </p:txBody>
      </p:sp>
      <p:sp>
        <p:nvSpPr>
          <p:cNvPr id="52" name="TextBox 51"/>
          <p:cNvSpPr txBox="1"/>
          <p:nvPr/>
        </p:nvSpPr>
        <p:spPr>
          <a:xfrm>
            <a:off x="428365" y="2908520"/>
            <a:ext cx="3193037" cy="943326"/>
          </a:xfrm>
          <a:prstGeom prst="rect">
            <a:avLst/>
          </a:prstGeom>
          <a:solidFill>
            <a:schemeClr val="accent4"/>
          </a:solidFill>
          <a:ln>
            <a:solidFill>
              <a:schemeClr val="accent4"/>
            </a:solidFill>
          </a:ln>
        </p:spPr>
        <p:txBody>
          <a:bodyPr wrap="squar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Existing Services</a:t>
            </a:r>
          </a:p>
        </p:txBody>
      </p:sp>
      <p:grpSp>
        <p:nvGrpSpPr>
          <p:cNvPr id="11" name="Group 10"/>
          <p:cNvGrpSpPr/>
          <p:nvPr/>
        </p:nvGrpSpPr>
        <p:grpSpPr>
          <a:xfrm>
            <a:off x="4516272" y="2905149"/>
            <a:ext cx="3202340" cy="1220535"/>
            <a:chOff x="5189836" y="3109671"/>
            <a:chExt cx="2726725" cy="962321"/>
          </a:xfrm>
        </p:grpSpPr>
        <p:sp>
          <p:nvSpPr>
            <p:cNvPr id="54" name="TextBox 53"/>
            <p:cNvSpPr txBox="1"/>
            <p:nvPr/>
          </p:nvSpPr>
          <p:spPr>
            <a:xfrm>
              <a:off x="5189836" y="3109671"/>
              <a:ext cx="2726725" cy="337499"/>
            </a:xfrm>
            <a:prstGeom prst="rect">
              <a:avLst/>
            </a:prstGeom>
            <a:solidFill>
              <a:schemeClr val="tx2"/>
            </a:solidFill>
            <a:ln>
              <a:solidFill>
                <a:schemeClr val="tx2"/>
              </a:solidFill>
            </a:ln>
          </p:spPr>
          <p:txBody>
            <a:bodyPr wrap="square" lIns="91440" tIns="91440" rIns="91440" bIns="9144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mn-cs"/>
                </a:rPr>
                <a:t>New Services</a:t>
              </a:r>
            </a:p>
          </p:txBody>
        </p:sp>
        <p:sp>
          <p:nvSpPr>
            <p:cNvPr id="56" name="TextBox 55"/>
            <p:cNvSpPr txBox="1"/>
            <p:nvPr/>
          </p:nvSpPr>
          <p:spPr>
            <a:xfrm>
              <a:off x="5189837"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7" name="TextBox 56"/>
            <p:cNvSpPr txBox="1"/>
            <p:nvPr/>
          </p:nvSpPr>
          <p:spPr>
            <a:xfrm>
              <a:off x="5896110"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8" name="TextBox 57"/>
            <p:cNvSpPr txBox="1"/>
            <p:nvPr/>
          </p:nvSpPr>
          <p:spPr>
            <a:xfrm>
              <a:off x="6590543"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59" name="TextBox 58"/>
            <p:cNvSpPr txBox="1"/>
            <p:nvPr/>
          </p:nvSpPr>
          <p:spPr>
            <a:xfrm>
              <a:off x="7284976" y="3522984"/>
              <a:ext cx="631585" cy="363996"/>
            </a:xfrm>
            <a:prstGeom prst="rect">
              <a:avLst/>
            </a:prstGeom>
            <a:noFill/>
            <a:ln>
              <a:solidFill>
                <a:schemeClr val="tx2"/>
              </a:solidFill>
            </a:ln>
          </p:spPr>
          <p:txBody>
            <a:bodyPr wrap="square" lIns="0" tIns="91440" rIns="0" bIns="9144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Disruptive Apps</a:t>
              </a:r>
            </a:p>
          </p:txBody>
        </p:sp>
        <p:sp>
          <p:nvSpPr>
            <p:cNvPr id="60" name="TextBox 59"/>
            <p:cNvSpPr txBox="1"/>
            <p:nvPr/>
          </p:nvSpPr>
          <p:spPr>
            <a:xfrm>
              <a:off x="5189838"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72C6"/>
                  </a:solidFill>
                  <a:effectLst/>
                  <a:uLnTx/>
                  <a:uFillTx/>
                  <a:latin typeface="Segoe UI"/>
                  <a:ea typeface="+mn-ea"/>
                  <a:cs typeface="+mn-cs"/>
                </a:rPr>
                <a:t>Revenue Lift</a:t>
              </a:r>
            </a:p>
          </p:txBody>
        </p:sp>
        <p:sp>
          <p:nvSpPr>
            <p:cNvPr id="61" name="TextBox 60"/>
            <p:cNvSpPr txBox="1"/>
            <p:nvPr/>
          </p:nvSpPr>
          <p:spPr>
            <a:xfrm>
              <a:off x="5896110"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sp>
          <p:nvSpPr>
            <p:cNvPr id="62" name="TextBox 61"/>
            <p:cNvSpPr txBox="1"/>
            <p:nvPr/>
          </p:nvSpPr>
          <p:spPr>
            <a:xfrm>
              <a:off x="6590543"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sp>
          <p:nvSpPr>
            <p:cNvPr id="63" name="TextBox 62"/>
            <p:cNvSpPr txBox="1"/>
            <p:nvPr/>
          </p:nvSpPr>
          <p:spPr>
            <a:xfrm>
              <a:off x="7284976" y="3962794"/>
              <a:ext cx="631584" cy="109198"/>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72C6"/>
                  </a:solidFill>
                  <a:effectLst/>
                  <a:uLnTx/>
                  <a:uFillTx/>
                  <a:latin typeface="Segoe UI"/>
                  <a:ea typeface="+mn-ea"/>
                  <a:cs typeface="+mn-cs"/>
                </a:rPr>
                <a:t>Revenue Lift</a:t>
              </a:r>
              <a:endParaRPr kumimoji="0" lang="en-US" sz="1000" b="0" i="0" u="none" strike="noStrike" kern="1200" cap="none" spc="0" normalizeH="0" baseline="0" noProof="0" dirty="0">
                <a:ln>
                  <a:noFill/>
                </a:ln>
                <a:solidFill>
                  <a:srgbClr val="0072C6"/>
                </a:solidFill>
                <a:effectLst/>
                <a:uLnTx/>
                <a:uFillTx/>
                <a:latin typeface="Segoe UI"/>
                <a:ea typeface="+mn-ea"/>
                <a:cs typeface="+mn-cs"/>
              </a:endParaRPr>
            </a:p>
          </p:txBody>
        </p:sp>
      </p:grpSp>
      <p:sp>
        <p:nvSpPr>
          <p:cNvPr id="2" name="Isosceles Triangle 1"/>
          <p:cNvSpPr/>
          <p:nvPr/>
        </p:nvSpPr>
        <p:spPr bwMode="auto">
          <a:xfrm rot="5400000">
            <a:off x="3592456" y="3128008"/>
            <a:ext cx="1078580" cy="369097"/>
          </a:xfrm>
          <a:prstGeom prst="triangle">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p:cNvSpPr/>
          <p:nvPr/>
        </p:nvSpPr>
        <p:spPr>
          <a:xfrm>
            <a:off x="428365" y="2341793"/>
            <a:ext cx="3193037"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As Is” Business Model</a:t>
            </a:r>
          </a:p>
        </p:txBody>
      </p:sp>
      <p:sp>
        <p:nvSpPr>
          <p:cNvPr id="35" name="Rectangle 34"/>
          <p:cNvSpPr/>
          <p:nvPr/>
        </p:nvSpPr>
        <p:spPr>
          <a:xfrm>
            <a:off x="4516272" y="2341793"/>
            <a:ext cx="3202340"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New Business Model</a:t>
            </a:r>
          </a:p>
        </p:txBody>
      </p:sp>
      <p:cxnSp>
        <p:nvCxnSpPr>
          <p:cNvPr id="10" name="Straight Connector 9"/>
          <p:cNvCxnSpPr/>
          <p:nvPr/>
        </p:nvCxnSpPr>
        <p:spPr>
          <a:xfrm>
            <a:off x="428367" y="2708308"/>
            <a:ext cx="320233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516273" y="2708308"/>
            <a:ext cx="320233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28365" y="4439535"/>
            <a:ext cx="7290245" cy="369308"/>
          </a:xfrm>
          <a:prstGeom prst="rect">
            <a:avLst/>
          </a:prstGeom>
          <a:noFill/>
          <a:ln w="6350">
            <a:noFill/>
            <a:prstDash val="sysDot"/>
          </a:ln>
        </p:spPr>
        <p:txBody>
          <a:bodyPr wrap="square" lIns="91416" tIns="45708" bIns="45708"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a:ea typeface="+mn-ea"/>
                <a:cs typeface="+mn-cs"/>
              </a:rPr>
              <a:t>Governance Model: People, Processes, and Technology</a:t>
            </a:r>
          </a:p>
        </p:txBody>
      </p:sp>
      <p:cxnSp>
        <p:nvCxnSpPr>
          <p:cNvPr id="45" name="Straight Connector 44"/>
          <p:cNvCxnSpPr>
            <a:cxnSpLocks/>
          </p:cNvCxnSpPr>
          <p:nvPr/>
        </p:nvCxnSpPr>
        <p:spPr>
          <a:xfrm>
            <a:off x="428367" y="4806050"/>
            <a:ext cx="729024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65980" y="5606319"/>
            <a:ext cx="3523274" cy="849463"/>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egacy collection of well-intentioned core systems built for an older business model and resembling a mass of spaghetti</a:t>
            </a:r>
          </a:p>
        </p:txBody>
      </p:sp>
      <p:sp>
        <p:nvSpPr>
          <p:cNvPr id="46" name="TextBox 45"/>
          <p:cNvSpPr txBox="1"/>
          <p:nvPr/>
        </p:nvSpPr>
        <p:spPr>
          <a:xfrm>
            <a:off x="4325851" y="5606319"/>
            <a:ext cx="3523274" cy="1034129"/>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rchitected, consistent, customer-aligned and cloud-enabled systems resembling a collection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of building blocks</a:t>
            </a:r>
          </a:p>
        </p:txBody>
      </p:sp>
      <p:grpSp>
        <p:nvGrpSpPr>
          <p:cNvPr id="27" name="Group 26"/>
          <p:cNvGrpSpPr/>
          <p:nvPr/>
        </p:nvGrpSpPr>
        <p:grpSpPr>
          <a:xfrm>
            <a:off x="4965037" y="5065597"/>
            <a:ext cx="2167856" cy="567014"/>
            <a:chOff x="3944152" y="4774812"/>
            <a:chExt cx="3471830" cy="908075"/>
          </a:xfrm>
        </p:grpSpPr>
        <p:grpSp>
          <p:nvGrpSpPr>
            <p:cNvPr id="26" name="Group 25"/>
            <p:cNvGrpSpPr/>
            <p:nvPr/>
          </p:nvGrpSpPr>
          <p:grpSpPr>
            <a:xfrm>
              <a:off x="3944152" y="5232012"/>
              <a:ext cx="3471830" cy="450875"/>
              <a:chOff x="3806618" y="5232012"/>
              <a:chExt cx="3471830" cy="450875"/>
            </a:xfrm>
          </p:grpSpPr>
          <p:sp>
            <p:nvSpPr>
              <p:cNvPr id="25" name="Freeform 5"/>
              <p:cNvSpPr>
                <a:spLocks noEditPoints="1"/>
              </p:cNvSpPr>
              <p:nvPr/>
            </p:nvSpPr>
            <p:spPr bwMode="auto">
              <a:xfrm>
                <a:off x="4506040"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5"/>
              <p:cNvSpPr>
                <a:spLocks noEditPoints="1"/>
              </p:cNvSpPr>
              <p:nvPr/>
            </p:nvSpPr>
            <p:spPr bwMode="auto">
              <a:xfrm>
                <a:off x="5218734"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5"/>
              <p:cNvSpPr>
                <a:spLocks noEditPoints="1"/>
              </p:cNvSpPr>
              <p:nvPr/>
            </p:nvSpPr>
            <p:spPr bwMode="auto">
              <a:xfrm>
                <a:off x="5931428"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
              <p:cNvSpPr>
                <a:spLocks noEditPoints="1"/>
              </p:cNvSpPr>
              <p:nvPr/>
            </p:nvSpPr>
            <p:spPr bwMode="auto">
              <a:xfrm>
                <a:off x="6644123"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
              <p:cNvSpPr>
                <a:spLocks noEditPoints="1"/>
              </p:cNvSpPr>
              <p:nvPr/>
            </p:nvSpPr>
            <p:spPr bwMode="auto">
              <a:xfrm>
                <a:off x="3806618"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9" name="Group 68"/>
            <p:cNvGrpSpPr/>
            <p:nvPr/>
          </p:nvGrpSpPr>
          <p:grpSpPr>
            <a:xfrm>
              <a:off x="4303850" y="4774812"/>
              <a:ext cx="2759132" cy="450875"/>
              <a:chOff x="3762905" y="5232012"/>
              <a:chExt cx="2759132" cy="450875"/>
            </a:xfrm>
          </p:grpSpPr>
          <p:sp>
            <p:nvSpPr>
              <p:cNvPr id="70" name="Freeform 5"/>
              <p:cNvSpPr>
                <a:spLocks noEditPoints="1"/>
              </p:cNvSpPr>
              <p:nvPr/>
            </p:nvSpPr>
            <p:spPr bwMode="auto">
              <a:xfrm>
                <a:off x="4462326"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5"/>
              <p:cNvSpPr>
                <a:spLocks noEditPoints="1"/>
              </p:cNvSpPr>
              <p:nvPr/>
            </p:nvSpPr>
            <p:spPr bwMode="auto">
              <a:xfrm>
                <a:off x="5175020"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
              <p:cNvSpPr>
                <a:spLocks noEditPoints="1"/>
              </p:cNvSpPr>
              <p:nvPr/>
            </p:nvSpPr>
            <p:spPr bwMode="auto">
              <a:xfrm>
                <a:off x="5887712"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Freeform 5"/>
              <p:cNvSpPr>
                <a:spLocks noEditPoints="1"/>
              </p:cNvSpPr>
              <p:nvPr/>
            </p:nvSpPr>
            <p:spPr bwMode="auto">
              <a:xfrm>
                <a:off x="3762905" y="5232012"/>
                <a:ext cx="634325" cy="450875"/>
              </a:xfrm>
              <a:custGeom>
                <a:avLst/>
                <a:gdLst>
                  <a:gd name="T0" fmla="*/ 1455 w 2800"/>
                  <a:gd name="T1" fmla="*/ 170 h 1989"/>
                  <a:gd name="T2" fmla="*/ 1052 w 2800"/>
                  <a:gd name="T3" fmla="*/ 298 h 1989"/>
                  <a:gd name="T4" fmla="*/ 880 w 2800"/>
                  <a:gd name="T5" fmla="*/ 696 h 1989"/>
                  <a:gd name="T6" fmla="*/ 768 w 2800"/>
                  <a:gd name="T7" fmla="*/ 809 h 1989"/>
                  <a:gd name="T8" fmla="*/ 261 w 2800"/>
                  <a:gd name="T9" fmla="*/ 1264 h 1989"/>
                  <a:gd name="T10" fmla="*/ 754 w 2800"/>
                  <a:gd name="T11" fmla="*/ 1821 h 1989"/>
                  <a:gd name="T12" fmla="*/ 2235 w 2800"/>
                  <a:gd name="T13" fmla="*/ 1821 h 1989"/>
                  <a:gd name="T14" fmla="*/ 2532 w 2800"/>
                  <a:gd name="T15" fmla="*/ 1676 h 1989"/>
                  <a:gd name="T16" fmla="*/ 2614 w 2800"/>
                  <a:gd name="T17" fmla="*/ 1344 h 1989"/>
                  <a:gd name="T18" fmla="*/ 2478 w 2800"/>
                  <a:gd name="T19" fmla="*/ 1112 h 1989"/>
                  <a:gd name="T20" fmla="*/ 2410 w 2800"/>
                  <a:gd name="T21" fmla="*/ 994 h 1989"/>
                  <a:gd name="T22" fmla="*/ 2337 w 2800"/>
                  <a:gd name="T23" fmla="*/ 693 h 1989"/>
                  <a:gd name="T24" fmla="*/ 2102 w 2800"/>
                  <a:gd name="T25" fmla="*/ 594 h 1989"/>
                  <a:gd name="T26" fmla="*/ 2005 w 2800"/>
                  <a:gd name="T27" fmla="*/ 534 h 1989"/>
                  <a:gd name="T28" fmla="*/ 1598 w 2800"/>
                  <a:gd name="T29" fmla="*/ 188 h 1989"/>
                  <a:gd name="T30" fmla="*/ 1455 w 2800"/>
                  <a:gd name="T31" fmla="*/ 170 h 1989"/>
                  <a:gd name="T32" fmla="*/ 1461 w 2800"/>
                  <a:gd name="T33" fmla="*/ 1 h 1989"/>
                  <a:gd name="T34" fmla="*/ 1642 w 2800"/>
                  <a:gd name="T35" fmla="*/ 26 h 1989"/>
                  <a:gd name="T36" fmla="*/ 2139 w 2800"/>
                  <a:gd name="T37" fmla="*/ 428 h 1989"/>
                  <a:gd name="T38" fmla="*/ 2465 w 2800"/>
                  <a:gd name="T39" fmla="*/ 584 h 1989"/>
                  <a:gd name="T40" fmla="*/ 2580 w 2800"/>
                  <a:gd name="T41" fmla="*/ 975 h 1989"/>
                  <a:gd name="T42" fmla="*/ 2782 w 2800"/>
                  <a:gd name="T43" fmla="*/ 1331 h 1989"/>
                  <a:gd name="T44" fmla="*/ 2660 w 2800"/>
                  <a:gd name="T45" fmla="*/ 1785 h 1989"/>
                  <a:gd name="T46" fmla="*/ 2243 w 2800"/>
                  <a:gd name="T47" fmla="*/ 1989 h 1989"/>
                  <a:gd name="T48" fmla="*/ 2238 w 2800"/>
                  <a:gd name="T49" fmla="*/ 1989 h 1989"/>
                  <a:gd name="T50" fmla="*/ 2232 w 2800"/>
                  <a:gd name="T51" fmla="*/ 1989 h 1989"/>
                  <a:gd name="T52" fmla="*/ 742 w 2800"/>
                  <a:gd name="T53" fmla="*/ 1989 h 1989"/>
                  <a:gd name="T54" fmla="*/ 728 w 2800"/>
                  <a:gd name="T55" fmla="*/ 1987 h 1989"/>
                  <a:gd name="T56" fmla="*/ 96 w 2800"/>
                  <a:gd name="T57" fmla="*/ 1233 h 1989"/>
                  <a:gd name="T58" fmla="*/ 98 w 2800"/>
                  <a:gd name="T59" fmla="*/ 1223 h 1989"/>
                  <a:gd name="T60" fmla="*/ 715 w 2800"/>
                  <a:gd name="T61" fmla="*/ 645 h 1989"/>
                  <a:gd name="T62" fmla="*/ 949 w 2800"/>
                  <a:gd name="T63" fmla="*/ 166 h 1989"/>
                  <a:gd name="T64" fmla="*/ 965 w 2800"/>
                  <a:gd name="T65" fmla="*/ 154 h 1989"/>
                  <a:gd name="T66" fmla="*/ 1461 w 2800"/>
                  <a:gd name="T67" fmla="*/ 1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0" h="1989">
                    <a:moveTo>
                      <a:pt x="1455" y="170"/>
                    </a:moveTo>
                    <a:cubicBezTo>
                      <a:pt x="1329" y="171"/>
                      <a:pt x="1194" y="214"/>
                      <a:pt x="1052" y="298"/>
                    </a:cubicBezTo>
                    <a:cubicBezTo>
                      <a:pt x="1041" y="308"/>
                      <a:pt x="894" y="440"/>
                      <a:pt x="880" y="696"/>
                    </a:cubicBezTo>
                    <a:cubicBezTo>
                      <a:pt x="876" y="758"/>
                      <a:pt x="828" y="806"/>
                      <a:pt x="768" y="809"/>
                    </a:cubicBezTo>
                    <a:cubicBezTo>
                      <a:pt x="648" y="815"/>
                      <a:pt x="359" y="872"/>
                      <a:pt x="261" y="1264"/>
                    </a:cubicBezTo>
                    <a:cubicBezTo>
                      <a:pt x="254" y="1308"/>
                      <a:pt x="201" y="1722"/>
                      <a:pt x="754" y="1821"/>
                    </a:cubicBezTo>
                    <a:cubicBezTo>
                      <a:pt x="2235" y="1821"/>
                      <a:pt x="2235" y="1821"/>
                      <a:pt x="2235" y="1821"/>
                    </a:cubicBezTo>
                    <a:cubicBezTo>
                      <a:pt x="2239" y="1820"/>
                      <a:pt x="2421" y="1807"/>
                      <a:pt x="2532" y="1676"/>
                    </a:cubicBezTo>
                    <a:cubicBezTo>
                      <a:pt x="2600" y="1595"/>
                      <a:pt x="2628" y="1484"/>
                      <a:pt x="2614" y="1344"/>
                    </a:cubicBezTo>
                    <a:cubicBezTo>
                      <a:pt x="2614" y="1340"/>
                      <a:pt x="2600" y="1170"/>
                      <a:pt x="2478" y="1112"/>
                    </a:cubicBezTo>
                    <a:cubicBezTo>
                      <a:pt x="2432" y="1090"/>
                      <a:pt x="2405" y="1043"/>
                      <a:pt x="2410" y="994"/>
                    </a:cubicBezTo>
                    <a:cubicBezTo>
                      <a:pt x="2415" y="949"/>
                      <a:pt x="2422" y="794"/>
                      <a:pt x="2337" y="693"/>
                    </a:cubicBezTo>
                    <a:cubicBezTo>
                      <a:pt x="2286" y="634"/>
                      <a:pt x="2207" y="601"/>
                      <a:pt x="2102" y="594"/>
                    </a:cubicBezTo>
                    <a:cubicBezTo>
                      <a:pt x="2061" y="592"/>
                      <a:pt x="2024" y="569"/>
                      <a:pt x="2005" y="534"/>
                    </a:cubicBezTo>
                    <a:cubicBezTo>
                      <a:pt x="1980" y="488"/>
                      <a:pt x="1842" y="255"/>
                      <a:pt x="1598" y="188"/>
                    </a:cubicBezTo>
                    <a:cubicBezTo>
                      <a:pt x="1552" y="176"/>
                      <a:pt x="1504" y="170"/>
                      <a:pt x="1455" y="170"/>
                    </a:cubicBezTo>
                    <a:close/>
                    <a:moveTo>
                      <a:pt x="1461" y="1"/>
                    </a:moveTo>
                    <a:cubicBezTo>
                      <a:pt x="1523" y="1"/>
                      <a:pt x="1583" y="10"/>
                      <a:pt x="1642" y="26"/>
                    </a:cubicBezTo>
                    <a:cubicBezTo>
                      <a:pt x="1918" y="101"/>
                      <a:pt x="2080" y="329"/>
                      <a:pt x="2139" y="428"/>
                    </a:cubicBezTo>
                    <a:cubicBezTo>
                      <a:pt x="2278" y="442"/>
                      <a:pt x="2388" y="494"/>
                      <a:pt x="2465" y="584"/>
                    </a:cubicBezTo>
                    <a:cubicBezTo>
                      <a:pt x="2575" y="712"/>
                      <a:pt x="2585" y="882"/>
                      <a:pt x="2580" y="975"/>
                    </a:cubicBezTo>
                    <a:cubicBezTo>
                      <a:pt x="2765" y="1086"/>
                      <a:pt x="2781" y="1321"/>
                      <a:pt x="2782" y="1331"/>
                    </a:cubicBezTo>
                    <a:cubicBezTo>
                      <a:pt x="2800" y="1515"/>
                      <a:pt x="2759" y="1668"/>
                      <a:pt x="2660" y="1785"/>
                    </a:cubicBezTo>
                    <a:cubicBezTo>
                      <a:pt x="2507" y="1966"/>
                      <a:pt x="2269" y="1987"/>
                      <a:pt x="2243" y="1989"/>
                    </a:cubicBezTo>
                    <a:cubicBezTo>
                      <a:pt x="2238" y="1989"/>
                      <a:pt x="2238" y="1989"/>
                      <a:pt x="2238" y="1989"/>
                    </a:cubicBezTo>
                    <a:cubicBezTo>
                      <a:pt x="2232" y="1989"/>
                      <a:pt x="2232" y="1989"/>
                      <a:pt x="2232" y="1989"/>
                    </a:cubicBezTo>
                    <a:cubicBezTo>
                      <a:pt x="742" y="1989"/>
                      <a:pt x="742" y="1989"/>
                      <a:pt x="742" y="1989"/>
                    </a:cubicBezTo>
                    <a:cubicBezTo>
                      <a:pt x="728" y="1987"/>
                      <a:pt x="728" y="1987"/>
                      <a:pt x="728" y="1987"/>
                    </a:cubicBezTo>
                    <a:cubicBezTo>
                      <a:pt x="0" y="1860"/>
                      <a:pt x="92" y="1258"/>
                      <a:pt x="96" y="1233"/>
                    </a:cubicBezTo>
                    <a:cubicBezTo>
                      <a:pt x="98" y="1223"/>
                      <a:pt x="98" y="1223"/>
                      <a:pt x="98" y="1223"/>
                    </a:cubicBezTo>
                    <a:cubicBezTo>
                      <a:pt x="214" y="759"/>
                      <a:pt x="558" y="664"/>
                      <a:pt x="715" y="645"/>
                    </a:cubicBezTo>
                    <a:cubicBezTo>
                      <a:pt x="745" y="352"/>
                      <a:pt x="914" y="195"/>
                      <a:pt x="949" y="166"/>
                    </a:cubicBezTo>
                    <a:cubicBezTo>
                      <a:pt x="965" y="154"/>
                      <a:pt x="965" y="154"/>
                      <a:pt x="965" y="154"/>
                    </a:cubicBezTo>
                    <a:cubicBezTo>
                      <a:pt x="1137" y="51"/>
                      <a:pt x="1303" y="0"/>
                      <a:pt x="1461"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1" name="Group 30"/>
          <p:cNvGrpSpPr/>
          <p:nvPr/>
        </p:nvGrpSpPr>
        <p:grpSpPr>
          <a:xfrm>
            <a:off x="346103" y="4904781"/>
            <a:ext cx="2850497" cy="763105"/>
            <a:chOff x="-107506" y="4795986"/>
            <a:chExt cx="3328114" cy="890968"/>
          </a:xfrm>
        </p:grpSpPr>
        <p:sp>
          <p:nvSpPr>
            <p:cNvPr id="28" name="Oval 27"/>
            <p:cNvSpPr/>
            <p:nvPr/>
          </p:nvSpPr>
          <p:spPr bwMode="auto">
            <a:xfrm>
              <a:off x="490817" y="5123329"/>
              <a:ext cx="524436" cy="524436"/>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p:cNvSpPr/>
            <p:nvPr/>
          </p:nvSpPr>
          <p:spPr bwMode="auto">
            <a:xfrm>
              <a:off x="859262" y="4965595"/>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p:cNvSpPr/>
            <p:nvPr/>
          </p:nvSpPr>
          <p:spPr bwMode="auto">
            <a:xfrm>
              <a:off x="2056051" y="5416071"/>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2728825" y="4975067"/>
              <a:ext cx="438106" cy="438106"/>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p:cNvSpPr/>
            <p:nvPr/>
          </p:nvSpPr>
          <p:spPr bwMode="auto">
            <a:xfrm>
              <a:off x="1470090" y="5017496"/>
              <a:ext cx="632088" cy="632088"/>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Arc 29"/>
            <p:cNvSpPr/>
            <p:nvPr/>
          </p:nvSpPr>
          <p:spPr>
            <a:xfrm>
              <a:off x="659841" y="4960615"/>
              <a:ext cx="611841" cy="726339"/>
            </a:xfrm>
            <a:prstGeom prst="arc">
              <a:avLst>
                <a:gd name="adj1" fmla="val 16200000"/>
                <a:gd name="adj2" fmla="val 6884373"/>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9" name="Arc 78"/>
            <p:cNvSpPr/>
            <p:nvPr/>
          </p:nvSpPr>
          <p:spPr>
            <a:xfrm rot="15327477">
              <a:off x="1433765" y="4805557"/>
              <a:ext cx="523571" cy="838473"/>
            </a:xfrm>
            <a:prstGeom prst="arc">
              <a:avLst>
                <a:gd name="adj1" fmla="val 16200000"/>
                <a:gd name="adj2" fmla="val 614404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0" name="Arc 79"/>
            <p:cNvSpPr/>
            <p:nvPr/>
          </p:nvSpPr>
          <p:spPr>
            <a:xfrm rot="7888648">
              <a:off x="2567206" y="5015696"/>
              <a:ext cx="596242" cy="502856"/>
            </a:xfrm>
            <a:prstGeom prst="arc">
              <a:avLst>
                <a:gd name="adj1" fmla="val 15203486"/>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1" name="Arc 80"/>
            <p:cNvSpPr/>
            <p:nvPr/>
          </p:nvSpPr>
          <p:spPr>
            <a:xfrm>
              <a:off x="1969186" y="4916013"/>
              <a:ext cx="596242" cy="502856"/>
            </a:xfrm>
            <a:prstGeom prst="arc">
              <a:avLst>
                <a:gd name="adj1" fmla="val 1313266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2" name="Arc 81"/>
            <p:cNvSpPr/>
            <p:nvPr/>
          </p:nvSpPr>
          <p:spPr>
            <a:xfrm>
              <a:off x="1472038" y="5103579"/>
              <a:ext cx="472971" cy="502856"/>
            </a:xfrm>
            <a:prstGeom prst="arc">
              <a:avLst>
                <a:gd name="adj1" fmla="val 1313266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3" name="Arc 82"/>
            <p:cNvSpPr/>
            <p:nvPr/>
          </p:nvSpPr>
          <p:spPr>
            <a:xfrm>
              <a:off x="798866" y="5103579"/>
              <a:ext cx="472971" cy="502856"/>
            </a:xfrm>
            <a:prstGeom prst="arc">
              <a:avLst>
                <a:gd name="adj1" fmla="val 2407692"/>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 name="Arc 83"/>
            <p:cNvSpPr/>
            <p:nvPr/>
          </p:nvSpPr>
          <p:spPr>
            <a:xfrm>
              <a:off x="2170466" y="5063238"/>
              <a:ext cx="472971" cy="502856"/>
            </a:xfrm>
            <a:prstGeom prst="arc">
              <a:avLst>
                <a:gd name="adj1" fmla="val 9669678"/>
                <a:gd name="adj2" fmla="val 733253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5" name="Arc 84"/>
            <p:cNvSpPr/>
            <p:nvPr/>
          </p:nvSpPr>
          <p:spPr>
            <a:xfrm rot="13901328">
              <a:off x="456874" y="4962067"/>
              <a:ext cx="592323" cy="585092"/>
            </a:xfrm>
            <a:prstGeom prst="arc">
              <a:avLst>
                <a:gd name="adj1" fmla="val 9669678"/>
                <a:gd name="adj2" fmla="val 404608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6" name="Arc 85"/>
            <p:cNvSpPr/>
            <p:nvPr/>
          </p:nvSpPr>
          <p:spPr>
            <a:xfrm rot="13901328">
              <a:off x="1095604" y="4962066"/>
              <a:ext cx="592323" cy="585092"/>
            </a:xfrm>
            <a:prstGeom prst="arc">
              <a:avLst>
                <a:gd name="adj1" fmla="val 6240644"/>
                <a:gd name="adj2" fmla="val 404608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Oval 86"/>
            <p:cNvSpPr/>
            <p:nvPr/>
          </p:nvSpPr>
          <p:spPr bwMode="auto">
            <a:xfrm>
              <a:off x="2738439" y="5088525"/>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p:cNvSpPr/>
            <p:nvPr/>
          </p:nvSpPr>
          <p:spPr bwMode="auto">
            <a:xfrm>
              <a:off x="732218" y="5170412"/>
              <a:ext cx="215153" cy="215153"/>
            </a:xfrm>
            <a:prstGeom prst="ellipse">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Arc 90"/>
            <p:cNvSpPr/>
            <p:nvPr/>
          </p:nvSpPr>
          <p:spPr>
            <a:xfrm rot="13901328">
              <a:off x="-111122" y="5040994"/>
              <a:ext cx="592324" cy="585092"/>
            </a:xfrm>
            <a:prstGeom prst="arc">
              <a:avLst>
                <a:gd name="adj1" fmla="val 8369124"/>
                <a:gd name="adj2" fmla="val 12260241"/>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2" name="Arc 91"/>
            <p:cNvSpPr/>
            <p:nvPr/>
          </p:nvSpPr>
          <p:spPr>
            <a:xfrm rot="10504954">
              <a:off x="2628285" y="4795986"/>
              <a:ext cx="592323" cy="585093"/>
            </a:xfrm>
            <a:prstGeom prst="arc">
              <a:avLst>
                <a:gd name="adj1" fmla="val 8369124"/>
                <a:gd name="adj2" fmla="val 12850838"/>
              </a:avLst>
            </a:prstGeom>
            <a:noFill/>
            <a:ln w="28575">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01264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1" name="Group 210"/>
          <p:cNvGrpSpPr/>
          <p:nvPr/>
        </p:nvGrpSpPr>
        <p:grpSpPr>
          <a:xfrm>
            <a:off x="2800476" y="2701397"/>
            <a:ext cx="798436" cy="1217869"/>
            <a:chOff x="2212148" y="3251934"/>
            <a:chExt cx="798436" cy="1217869"/>
          </a:xfrm>
        </p:grpSpPr>
        <p:sp>
          <p:nvSpPr>
            <p:cNvPr id="299" name="Rectangle 298"/>
            <p:cNvSpPr/>
            <p:nvPr/>
          </p:nvSpPr>
          <p:spPr bwMode="auto">
            <a:xfrm>
              <a:off x="2212148" y="3399227"/>
              <a:ext cx="798436" cy="1070576"/>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grpSp>
          <p:nvGrpSpPr>
            <p:cNvPr id="285" name="Group 284"/>
            <p:cNvGrpSpPr/>
            <p:nvPr/>
          </p:nvGrpSpPr>
          <p:grpSpPr>
            <a:xfrm>
              <a:off x="2498209" y="4005901"/>
              <a:ext cx="232233" cy="232233"/>
              <a:chOff x="400861" y="1333386"/>
              <a:chExt cx="355372" cy="355372"/>
            </a:xfrm>
          </p:grpSpPr>
          <p:sp>
            <p:nvSpPr>
              <p:cNvPr id="286"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7" name="Group 286"/>
              <p:cNvGrpSpPr/>
              <p:nvPr/>
            </p:nvGrpSpPr>
            <p:grpSpPr bwMode="black">
              <a:xfrm>
                <a:off x="487594" y="1415141"/>
                <a:ext cx="203783" cy="197797"/>
                <a:chOff x="8754070" y="3848870"/>
                <a:chExt cx="195501" cy="189808"/>
              </a:xfrm>
              <a:solidFill>
                <a:schemeClr val="accent2"/>
              </a:solidFill>
            </p:grpSpPr>
            <p:sp>
              <p:nvSpPr>
                <p:cNvPr id="288"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289"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290"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sp>
          <p:nvSpPr>
            <p:cNvPr id="291" name="TextBox 290"/>
            <p:cNvSpPr txBox="1"/>
            <p:nvPr/>
          </p:nvSpPr>
          <p:spPr>
            <a:xfrm>
              <a:off x="2345241" y="4277916"/>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News</a:t>
              </a:r>
            </a:p>
          </p:txBody>
        </p:sp>
        <p:sp>
          <p:nvSpPr>
            <p:cNvPr id="298" name="TextBox 297"/>
            <p:cNvSpPr txBox="1"/>
            <p:nvPr/>
          </p:nvSpPr>
          <p:spPr>
            <a:xfrm>
              <a:off x="2345241" y="3786002"/>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Weather</a:t>
              </a:r>
            </a:p>
          </p:txBody>
        </p:sp>
        <p:sp>
          <p:nvSpPr>
            <p:cNvPr id="394" name="TextBox 393"/>
            <p:cNvSpPr txBox="1"/>
            <p:nvPr/>
          </p:nvSpPr>
          <p:spPr>
            <a:xfrm>
              <a:off x="2212148" y="3251934"/>
              <a:ext cx="440653"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SS</a:t>
              </a:r>
            </a:p>
          </p:txBody>
        </p:sp>
        <p:grpSp>
          <p:nvGrpSpPr>
            <p:cNvPr id="554" name="Group 553"/>
            <p:cNvGrpSpPr/>
            <p:nvPr/>
          </p:nvGrpSpPr>
          <p:grpSpPr>
            <a:xfrm>
              <a:off x="2498209" y="3528317"/>
              <a:ext cx="232233" cy="232233"/>
              <a:chOff x="400861" y="1333386"/>
              <a:chExt cx="355372" cy="355372"/>
            </a:xfrm>
          </p:grpSpPr>
          <p:sp>
            <p:nvSpPr>
              <p:cNvPr id="555"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56" name="Group 555"/>
              <p:cNvGrpSpPr/>
              <p:nvPr/>
            </p:nvGrpSpPr>
            <p:grpSpPr bwMode="black">
              <a:xfrm>
                <a:off x="487594" y="1415141"/>
                <a:ext cx="203783" cy="197797"/>
                <a:chOff x="8754070" y="3848870"/>
                <a:chExt cx="195501" cy="189808"/>
              </a:xfrm>
              <a:solidFill>
                <a:schemeClr val="accent2"/>
              </a:solidFill>
            </p:grpSpPr>
            <p:sp>
              <p:nvSpPr>
                <p:cNvPr id="557"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5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5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sp>
        <p:nvSpPr>
          <p:cNvPr id="300" name="Rectangle 299"/>
          <p:cNvSpPr/>
          <p:nvPr/>
        </p:nvSpPr>
        <p:spPr bwMode="auto">
          <a:xfrm>
            <a:off x="4394434" y="1988941"/>
            <a:ext cx="5724872" cy="4441854"/>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5" name="Rectangle 614"/>
          <p:cNvSpPr/>
          <p:nvPr/>
        </p:nvSpPr>
        <p:spPr bwMode="auto">
          <a:xfrm>
            <a:off x="5594349" y="4374866"/>
            <a:ext cx="3094203" cy="1954033"/>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8" name="Rectangle 667"/>
          <p:cNvSpPr/>
          <p:nvPr/>
        </p:nvSpPr>
        <p:spPr bwMode="auto">
          <a:xfrm>
            <a:off x="11084345" y="3497019"/>
            <a:ext cx="661559" cy="2929905"/>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Title 1"/>
          <p:cNvSpPr>
            <a:spLocks noGrp="1"/>
          </p:cNvSpPr>
          <p:nvPr>
            <p:ph type="title"/>
          </p:nvPr>
        </p:nvSpPr>
        <p:spPr/>
        <p:txBody>
          <a:bodyPr/>
          <a:lstStyle/>
          <a:p>
            <a:pPr algn="l" defTabSz="914093" rtl="0">
              <a:lnSpc>
                <a:spcPct val="90000"/>
              </a:lnSpc>
              <a:spcBef>
                <a:spcPct val="0"/>
              </a:spcBef>
            </a:pPr>
            <a:r>
              <a:rPr lang="en-US" kern="1200" spc="-100" dirty="0">
                <a:ln w="3175">
                  <a:noFill/>
                </a:ln>
                <a:solidFill>
                  <a:schemeClr val="tx1"/>
                </a:solidFill>
                <a:latin typeface="Segoe UI Light (Headings)"/>
                <a:ea typeface="+mn-ea"/>
                <a:cs typeface="Segoe UI" pitchFamily="34" charset="0"/>
              </a:rPr>
              <a:t>Reference Architecture</a:t>
            </a:r>
          </a:p>
        </p:txBody>
      </p:sp>
      <p:sp>
        <p:nvSpPr>
          <p:cNvPr id="3" name="Slide Number Placeholder 2"/>
          <p:cNvSpPr>
            <a:spLocks noGrp="1"/>
          </p:cNvSpPr>
          <p:nvPr>
            <p:ph type="sldNum" sz="quarter" idx="4"/>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176" b="0" i="0" u="none" strike="noStrike" kern="1200" cap="none" spc="0" normalizeH="0" baseline="0" noProof="0">
                <a:ln>
                  <a:noFill/>
                </a:ln>
                <a:solidFill>
                  <a:srgbClr val="000000">
                    <a:lumMod val="75000"/>
                    <a:lumOff val="25000"/>
                  </a:srgbClr>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25</a:t>
            </a:fld>
            <a:endParaRPr kumimoji="0" lang="en-US" sz="1176" b="0" i="0" u="none" strike="noStrike" kern="1200" cap="none" spc="0" normalizeH="0" baseline="0" noProof="0" dirty="0">
              <a:ln>
                <a:noFill/>
              </a:ln>
              <a:solidFill>
                <a:srgbClr val="000000">
                  <a:lumMod val="75000"/>
                  <a:lumOff val="25000"/>
                </a:srgbClr>
              </a:solidFill>
              <a:effectLst/>
              <a:uLnTx/>
              <a:uFillTx/>
              <a:latin typeface="Segoe UI"/>
              <a:ea typeface="+mn-ea"/>
              <a:cs typeface="+mn-cs"/>
            </a:endParaRPr>
          </a:p>
        </p:txBody>
      </p:sp>
      <p:sp>
        <p:nvSpPr>
          <p:cNvPr id="218" name="Rectangle 217"/>
          <p:cNvSpPr/>
          <p:nvPr/>
        </p:nvSpPr>
        <p:spPr bwMode="auto">
          <a:xfrm>
            <a:off x="471653" y="3168770"/>
            <a:ext cx="1304806" cy="3258155"/>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Freeform 20"/>
          <p:cNvSpPr>
            <a:spLocks noEditPoints="1"/>
          </p:cNvSpPr>
          <p:nvPr/>
        </p:nvSpPr>
        <p:spPr bwMode="black">
          <a:xfrm>
            <a:off x="912455" y="3329260"/>
            <a:ext cx="419163" cy="2914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TextBox 220"/>
          <p:cNvSpPr txBox="1"/>
          <p:nvPr/>
        </p:nvSpPr>
        <p:spPr>
          <a:xfrm>
            <a:off x="598513" y="3674576"/>
            <a:ext cx="1047047"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ustomer Lapto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AzCopy</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8" name="Group 17"/>
          <p:cNvGrpSpPr/>
          <p:nvPr/>
        </p:nvGrpSpPr>
        <p:grpSpPr>
          <a:xfrm>
            <a:off x="653257" y="4037412"/>
            <a:ext cx="355460" cy="367302"/>
            <a:chOff x="713549" y="3931902"/>
            <a:chExt cx="355460" cy="367302"/>
          </a:xfrm>
        </p:grpSpPr>
        <p:sp>
          <p:nvSpPr>
            <p:cNvPr id="223" name="Freeform 222"/>
            <p:cNvSpPr>
              <a:spLocks noChangeAspect="1"/>
            </p:cNvSpPr>
            <p:nvPr/>
          </p:nvSpPr>
          <p:spPr bwMode="black">
            <a:xfrm>
              <a:off x="734306" y="3931902"/>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TextBox 224"/>
            <p:cNvSpPr txBox="1"/>
            <p:nvPr/>
          </p:nvSpPr>
          <p:spPr>
            <a:xfrm>
              <a:off x="713549" y="4188404"/>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DI</a:t>
              </a:r>
            </a:p>
          </p:txBody>
        </p:sp>
      </p:grpSp>
      <p:grpSp>
        <p:nvGrpSpPr>
          <p:cNvPr id="9" name="Group 8"/>
          <p:cNvGrpSpPr/>
          <p:nvPr/>
        </p:nvGrpSpPr>
        <p:grpSpPr>
          <a:xfrm>
            <a:off x="1267893" y="4037411"/>
            <a:ext cx="355460" cy="367303"/>
            <a:chOff x="1391448" y="3931901"/>
            <a:chExt cx="355460" cy="367303"/>
          </a:xfrm>
        </p:grpSpPr>
        <p:sp>
          <p:nvSpPr>
            <p:cNvPr id="224" name="Freeform 223"/>
            <p:cNvSpPr>
              <a:spLocks noChangeAspect="1"/>
            </p:cNvSpPr>
            <p:nvPr/>
          </p:nvSpPr>
          <p:spPr bwMode="black">
            <a:xfrm>
              <a:off x="1405577" y="3931901"/>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TextBox 225"/>
            <p:cNvSpPr txBox="1"/>
            <p:nvPr/>
          </p:nvSpPr>
          <p:spPr>
            <a:xfrm>
              <a:off x="1391448" y="4188404"/>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SB</a:t>
              </a:r>
            </a:p>
          </p:txBody>
        </p:sp>
      </p:grpSp>
      <p:sp>
        <p:nvSpPr>
          <p:cNvPr id="227" name="Freeform 9"/>
          <p:cNvSpPr>
            <a:spLocks noEditPoints="1"/>
          </p:cNvSpPr>
          <p:nvPr/>
        </p:nvSpPr>
        <p:spPr bwMode="auto">
          <a:xfrm>
            <a:off x="701914" y="4604481"/>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TextBox 228"/>
          <p:cNvSpPr txBox="1"/>
          <p:nvPr/>
        </p:nvSpPr>
        <p:spPr>
          <a:xfrm>
            <a:off x="645897" y="4981350"/>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B x</a:t>
            </a:r>
          </a:p>
        </p:txBody>
      </p:sp>
      <p:grpSp>
        <p:nvGrpSpPr>
          <p:cNvPr id="15" name="Group 14"/>
          <p:cNvGrpSpPr/>
          <p:nvPr/>
        </p:nvGrpSpPr>
        <p:grpSpPr>
          <a:xfrm>
            <a:off x="1252155" y="4604481"/>
            <a:ext cx="355460" cy="473601"/>
            <a:chOff x="1382586" y="4498971"/>
            <a:chExt cx="355460" cy="473601"/>
          </a:xfrm>
        </p:grpSpPr>
        <p:sp>
          <p:nvSpPr>
            <p:cNvPr id="228" name="Freeform 9"/>
            <p:cNvSpPr>
              <a:spLocks noEditPoints="1"/>
            </p:cNvSpPr>
            <p:nvPr/>
          </p:nvSpPr>
          <p:spPr bwMode="auto">
            <a:xfrm>
              <a:off x="1436565" y="4498971"/>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TextBox 229"/>
            <p:cNvSpPr txBox="1"/>
            <p:nvPr/>
          </p:nvSpPr>
          <p:spPr>
            <a:xfrm>
              <a:off x="1382586" y="4861772"/>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B z</a:t>
              </a:r>
            </a:p>
          </p:txBody>
        </p:sp>
      </p:grpSp>
      <p:grpSp>
        <p:nvGrpSpPr>
          <p:cNvPr id="17" name="Group 16"/>
          <p:cNvGrpSpPr/>
          <p:nvPr/>
        </p:nvGrpSpPr>
        <p:grpSpPr>
          <a:xfrm>
            <a:off x="1251706" y="5181084"/>
            <a:ext cx="355460" cy="577366"/>
            <a:chOff x="1382586" y="5075574"/>
            <a:chExt cx="355460" cy="577366"/>
          </a:xfrm>
        </p:grpSpPr>
        <p:sp>
          <p:nvSpPr>
            <p:cNvPr id="231" name="Freeform 9"/>
            <p:cNvSpPr>
              <a:spLocks noEditPoints="1"/>
            </p:cNvSpPr>
            <p:nvPr/>
          </p:nvSpPr>
          <p:spPr bwMode="auto">
            <a:xfrm>
              <a:off x="1436565" y="5075574"/>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TextBox 231"/>
            <p:cNvSpPr txBox="1"/>
            <p:nvPr/>
          </p:nvSpPr>
          <p:spPr>
            <a:xfrm>
              <a:off x="1382586" y="5431341"/>
              <a:ext cx="35546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aster Data</a:t>
              </a:r>
            </a:p>
          </p:txBody>
        </p:sp>
      </p:grpSp>
      <p:grpSp>
        <p:nvGrpSpPr>
          <p:cNvPr id="233" name="Group 232"/>
          <p:cNvGrpSpPr/>
          <p:nvPr/>
        </p:nvGrpSpPr>
        <p:grpSpPr>
          <a:xfrm>
            <a:off x="637416" y="5887639"/>
            <a:ext cx="554821" cy="186879"/>
            <a:chOff x="332454" y="3796158"/>
            <a:chExt cx="903222" cy="304231"/>
          </a:xfrm>
          <a:solidFill>
            <a:schemeClr val="bg1"/>
          </a:solidFill>
        </p:grpSpPr>
        <p:sp>
          <p:nvSpPr>
            <p:cNvPr id="234" name="Right Arrow 233"/>
            <p:cNvSpPr/>
            <p:nvPr/>
          </p:nvSpPr>
          <p:spPr bwMode="auto">
            <a:xfrm>
              <a:off x="332454" y="3796158"/>
              <a:ext cx="903222" cy="304231"/>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5" name="Group 234"/>
            <p:cNvGrpSpPr/>
            <p:nvPr/>
          </p:nvGrpSpPr>
          <p:grpSpPr>
            <a:xfrm>
              <a:off x="384188" y="3869215"/>
              <a:ext cx="711445" cy="165988"/>
              <a:chOff x="359474" y="3844501"/>
              <a:chExt cx="914056" cy="213260"/>
            </a:xfrm>
            <a:grpFill/>
          </p:grpSpPr>
          <p:sp>
            <p:nvSpPr>
              <p:cNvPr id="236" name="Freeform 81"/>
              <p:cNvSpPr>
                <a:spLocks noEditPoints="1"/>
              </p:cNvSpPr>
              <p:nvPr/>
            </p:nvSpPr>
            <p:spPr bwMode="black">
              <a:xfrm>
                <a:off x="359474"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Freeform 81"/>
              <p:cNvSpPr>
                <a:spLocks noEditPoints="1"/>
              </p:cNvSpPr>
              <p:nvPr/>
            </p:nvSpPr>
            <p:spPr bwMode="black">
              <a:xfrm>
                <a:off x="678772"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81"/>
              <p:cNvSpPr>
                <a:spLocks noEditPoints="1"/>
              </p:cNvSpPr>
              <p:nvPr/>
            </p:nvSpPr>
            <p:spPr bwMode="black">
              <a:xfrm>
                <a:off x="998070"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39" name="TextBox 238"/>
          <p:cNvSpPr txBox="1"/>
          <p:nvPr/>
        </p:nvSpPr>
        <p:spPr>
          <a:xfrm>
            <a:off x="706642" y="6110574"/>
            <a:ext cx="35546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A</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Q</a:t>
            </a:r>
          </a:p>
        </p:txBody>
      </p:sp>
      <p:sp>
        <p:nvSpPr>
          <p:cNvPr id="243" name="Rectangle 242"/>
          <p:cNvSpPr/>
          <p:nvPr/>
        </p:nvSpPr>
        <p:spPr bwMode="auto">
          <a:xfrm>
            <a:off x="2155495" y="4588057"/>
            <a:ext cx="1728233" cy="1838867"/>
          </a:xfrm>
          <a:prstGeom prst="rect">
            <a:avLst/>
          </a:prstGeom>
          <a:solidFill>
            <a:srgbClr val="F2F2F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2" name="Group 251"/>
          <p:cNvGrpSpPr/>
          <p:nvPr/>
        </p:nvGrpSpPr>
        <p:grpSpPr>
          <a:xfrm>
            <a:off x="2282777" y="5902463"/>
            <a:ext cx="554821" cy="186879"/>
            <a:chOff x="332454" y="3796158"/>
            <a:chExt cx="903222" cy="304231"/>
          </a:xfrm>
          <a:solidFill>
            <a:schemeClr val="bg1"/>
          </a:solidFill>
        </p:grpSpPr>
        <p:sp>
          <p:nvSpPr>
            <p:cNvPr id="253" name="Right Arrow 252"/>
            <p:cNvSpPr/>
            <p:nvPr/>
          </p:nvSpPr>
          <p:spPr bwMode="auto">
            <a:xfrm>
              <a:off x="332454" y="3796158"/>
              <a:ext cx="903222" cy="304231"/>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4" name="Group 253"/>
            <p:cNvGrpSpPr/>
            <p:nvPr/>
          </p:nvGrpSpPr>
          <p:grpSpPr>
            <a:xfrm>
              <a:off x="384188" y="3869215"/>
              <a:ext cx="711445" cy="165988"/>
              <a:chOff x="359474" y="3844501"/>
              <a:chExt cx="914056" cy="213260"/>
            </a:xfrm>
            <a:grpFill/>
          </p:grpSpPr>
          <p:sp>
            <p:nvSpPr>
              <p:cNvPr id="255" name="Freeform 81"/>
              <p:cNvSpPr>
                <a:spLocks noEditPoints="1"/>
              </p:cNvSpPr>
              <p:nvPr/>
            </p:nvSpPr>
            <p:spPr bwMode="black">
              <a:xfrm>
                <a:off x="359474"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81"/>
              <p:cNvSpPr>
                <a:spLocks noEditPoints="1"/>
              </p:cNvSpPr>
              <p:nvPr/>
            </p:nvSpPr>
            <p:spPr bwMode="black">
              <a:xfrm>
                <a:off x="678772"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81"/>
              <p:cNvSpPr>
                <a:spLocks noEditPoints="1"/>
              </p:cNvSpPr>
              <p:nvPr/>
            </p:nvSpPr>
            <p:spPr bwMode="black">
              <a:xfrm>
                <a:off x="998070" y="3844501"/>
                <a:ext cx="275460" cy="21326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8" name="TextBox 257"/>
          <p:cNvSpPr txBox="1"/>
          <p:nvPr/>
        </p:nvSpPr>
        <p:spPr>
          <a:xfrm>
            <a:off x="2352003" y="6125398"/>
            <a:ext cx="355460"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MQ</a:t>
            </a:r>
          </a:p>
        </p:txBody>
      </p:sp>
      <p:sp>
        <p:nvSpPr>
          <p:cNvPr id="259" name="Rectangle 258"/>
          <p:cNvSpPr/>
          <p:nvPr/>
        </p:nvSpPr>
        <p:spPr bwMode="auto">
          <a:xfrm>
            <a:off x="3073224" y="4726250"/>
            <a:ext cx="733297" cy="1646415"/>
          </a:xfrm>
          <a:prstGeom prst="rect">
            <a:avLst/>
          </a:prstGeom>
          <a:solidFill>
            <a:schemeClr val="tx1">
              <a:lumMod val="20000"/>
              <a:lumOff val="80000"/>
            </a:schemeClr>
          </a:solidFill>
          <a:ln w="12700">
            <a:solidFill>
              <a:schemeClr val="tx1">
                <a:lumMod val="60000"/>
                <a:lumOff val="4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Freeform 259"/>
          <p:cNvSpPr>
            <a:spLocks noChangeAspect="1"/>
          </p:cNvSpPr>
          <p:nvPr/>
        </p:nvSpPr>
        <p:spPr bwMode="black">
          <a:xfrm>
            <a:off x="3291979" y="5864865"/>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TextBox 260"/>
          <p:cNvSpPr txBox="1"/>
          <p:nvPr/>
        </p:nvSpPr>
        <p:spPr>
          <a:xfrm>
            <a:off x="3081320" y="6107300"/>
            <a:ext cx="748521"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Transfer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Service </a:t>
            </a:r>
            <a:r>
              <a:rPr kumimoji="0" lang="en-US" sz="800" b="0" i="0" u="none" strike="noStrike" kern="1200" cap="none" spc="0" normalizeH="0" baseline="0" noProof="0" dirty="0">
                <a:ln>
                  <a:noFill/>
                </a:ln>
                <a:solidFill>
                  <a:srgbClr val="0072C6"/>
                </a:solidFill>
                <a:effectLst/>
                <a:uLnTx/>
                <a:uFillTx/>
                <a:latin typeface="Segoe UI"/>
                <a:ea typeface="+mn-ea"/>
                <a:cs typeface="+mn-cs"/>
              </a:rPr>
              <a:t>(Java)</a:t>
            </a:r>
          </a:p>
        </p:txBody>
      </p:sp>
      <p:sp>
        <p:nvSpPr>
          <p:cNvPr id="269" name="Freeform 268"/>
          <p:cNvSpPr>
            <a:spLocks noChangeAspect="1"/>
          </p:cNvSpPr>
          <p:nvPr/>
        </p:nvSpPr>
        <p:spPr bwMode="black">
          <a:xfrm>
            <a:off x="3270233" y="4825930"/>
            <a:ext cx="313946" cy="202859"/>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TextBox 269"/>
          <p:cNvSpPr txBox="1"/>
          <p:nvPr/>
        </p:nvSpPr>
        <p:spPr>
          <a:xfrm>
            <a:off x="3088437" y="5082433"/>
            <a:ext cx="686204"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isruption News</a:t>
            </a:r>
            <a:r>
              <a:rPr kumimoji="0" lang="en-US" sz="800" b="0" i="0" u="none" strike="noStrike" kern="1200" cap="none" spc="0" normalizeH="0" baseline="0" noProof="0" dirty="0">
                <a:ln>
                  <a:noFill/>
                </a:ln>
                <a:solidFill>
                  <a:srgbClr val="FFFFFF"/>
                </a:solidFill>
                <a:effectLst/>
                <a:uLnTx/>
                <a:uFillTx/>
                <a:latin typeface="Segoe UI"/>
                <a:ea typeface="+mn-ea"/>
                <a:cs typeface="+mn-cs"/>
              </a:rPr>
              <a:t/>
            </a:r>
            <a:br>
              <a:rPr kumimoji="0" lang="en-US" sz="800" b="0" i="0" u="none" strike="noStrike" kern="1200" cap="none" spc="0" normalizeH="0" baseline="0" noProof="0" dirty="0">
                <a:ln>
                  <a:noFill/>
                </a:ln>
                <a:solidFill>
                  <a:srgbClr val="FFFFFF"/>
                </a:solidFill>
                <a:effectLst/>
                <a:uLnTx/>
                <a:uFillTx/>
                <a:latin typeface="Segoe UI"/>
                <a:ea typeface="+mn-ea"/>
                <a:cs typeface="+mn-cs"/>
              </a:rPr>
            </a:br>
            <a:r>
              <a:rPr kumimoji="0" lang="en-US" sz="800" b="0" i="0" u="none" strike="noStrike" kern="1200" cap="none" spc="0" normalizeH="0" baseline="0" noProof="0" dirty="0">
                <a:ln>
                  <a:noFill/>
                </a:ln>
                <a:solidFill>
                  <a:srgbClr val="0072C6"/>
                </a:solidFill>
                <a:effectLst/>
                <a:uLnTx/>
                <a:uFillTx/>
                <a:latin typeface="Segoe UI"/>
                <a:ea typeface="+mn-ea"/>
                <a:cs typeface="+mn-cs"/>
              </a:rPr>
              <a:t>(Windows Service)</a:t>
            </a:r>
          </a:p>
        </p:txBody>
      </p:sp>
      <p:grpSp>
        <p:nvGrpSpPr>
          <p:cNvPr id="304" name="Group 303"/>
          <p:cNvGrpSpPr/>
          <p:nvPr/>
        </p:nvGrpSpPr>
        <p:grpSpPr>
          <a:xfrm>
            <a:off x="4831817" y="3477353"/>
            <a:ext cx="345684" cy="298003"/>
            <a:chOff x="4817213" y="2757981"/>
            <a:chExt cx="496743" cy="428227"/>
          </a:xfrm>
        </p:grpSpPr>
        <p:sp>
          <p:nvSpPr>
            <p:cNvPr id="305" name="Freeform 70"/>
            <p:cNvSpPr>
              <a:spLocks noChangeAspect="1"/>
            </p:cNvSpPr>
            <p:nvPr/>
          </p:nvSpPr>
          <p:spPr bwMode="black">
            <a:xfrm>
              <a:off x="4995497" y="2868196"/>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6" name="Hexagon 305"/>
            <p:cNvSpPr/>
            <p:nvPr/>
          </p:nvSpPr>
          <p:spPr bwMode="auto">
            <a:xfrm>
              <a:off x="4817213" y="2757981"/>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307" name="TextBox 306"/>
          <p:cNvSpPr txBox="1"/>
          <p:nvPr/>
        </p:nvSpPr>
        <p:spPr>
          <a:xfrm>
            <a:off x="4735575" y="3834617"/>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Functions</a:t>
            </a:r>
          </a:p>
        </p:txBody>
      </p:sp>
      <p:grpSp>
        <p:nvGrpSpPr>
          <p:cNvPr id="308" name="Group 307"/>
          <p:cNvGrpSpPr/>
          <p:nvPr/>
        </p:nvGrpSpPr>
        <p:grpSpPr>
          <a:xfrm>
            <a:off x="4698752" y="4806964"/>
            <a:ext cx="346283" cy="298520"/>
            <a:chOff x="4783196" y="3595360"/>
            <a:chExt cx="496743" cy="428227"/>
          </a:xfrm>
        </p:grpSpPr>
        <p:sp>
          <p:nvSpPr>
            <p:cNvPr id="309" name="Hexagon 308"/>
            <p:cNvSpPr/>
            <p:nvPr/>
          </p:nvSpPr>
          <p:spPr bwMode="auto">
            <a:xfrm>
              <a:off x="4783196" y="3595360"/>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310" name="Group 309"/>
            <p:cNvGrpSpPr/>
            <p:nvPr/>
          </p:nvGrpSpPr>
          <p:grpSpPr>
            <a:xfrm>
              <a:off x="4844161" y="3683589"/>
              <a:ext cx="374691" cy="273140"/>
              <a:chOff x="4604634" y="4851349"/>
              <a:chExt cx="383610" cy="279642"/>
            </a:xfrm>
          </p:grpSpPr>
          <p:sp>
            <p:nvSpPr>
              <p:cNvPr id="311" name="TextBox 310"/>
              <p:cNvSpPr txBox="1"/>
              <p:nvPr/>
            </p:nvSpPr>
            <p:spPr>
              <a:xfrm>
                <a:off x="4604634" y="4921697"/>
                <a:ext cx="383610" cy="15971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01</a:t>
                </a:r>
              </a:p>
            </p:txBody>
          </p:sp>
          <p:sp>
            <p:nvSpPr>
              <p:cNvPr id="312"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13" name="TextBox 312"/>
          <p:cNvSpPr txBox="1"/>
          <p:nvPr/>
        </p:nvSpPr>
        <p:spPr>
          <a:xfrm>
            <a:off x="4540428" y="5163849"/>
            <a:ext cx="673902"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ernal Data</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Blob w. Encryption at Rest)</a:t>
            </a:r>
          </a:p>
        </p:txBody>
      </p:sp>
      <p:grpSp>
        <p:nvGrpSpPr>
          <p:cNvPr id="208" name="Group 207"/>
          <p:cNvGrpSpPr/>
          <p:nvPr/>
        </p:nvGrpSpPr>
        <p:grpSpPr>
          <a:xfrm>
            <a:off x="4589594" y="1608396"/>
            <a:ext cx="384521" cy="356752"/>
            <a:chOff x="4007494" y="1788367"/>
            <a:chExt cx="384521" cy="356752"/>
          </a:xfrm>
        </p:grpSpPr>
        <p:grpSp>
          <p:nvGrpSpPr>
            <p:cNvPr id="315" name="Group 314"/>
            <p:cNvGrpSpPr/>
            <p:nvPr/>
          </p:nvGrpSpPr>
          <p:grpSpPr>
            <a:xfrm>
              <a:off x="4007494" y="1788367"/>
              <a:ext cx="345757" cy="215430"/>
              <a:chOff x="4678003" y="3396719"/>
              <a:chExt cx="537715" cy="335033"/>
            </a:xfrm>
          </p:grpSpPr>
          <p:sp>
            <p:nvSpPr>
              <p:cNvPr id="318" name="Freeform 21"/>
              <p:cNvSpPr>
                <a:spLocks noChangeAspect="1" noEditPoints="1"/>
              </p:cNvSpPr>
              <p:nvPr/>
            </p:nvSpPr>
            <p:spPr bwMode="black">
              <a:xfrm>
                <a:off x="4678003" y="3396719"/>
                <a:ext cx="537715" cy="33503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9" name="Right Arrow 318"/>
              <p:cNvSpPr/>
              <p:nvPr/>
            </p:nvSpPr>
            <p:spPr bwMode="auto">
              <a:xfrm>
                <a:off x="4705580" y="3571110"/>
                <a:ext cx="395809" cy="9398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0" name="TextBox 319"/>
            <p:cNvSpPr txBox="1"/>
            <p:nvPr/>
          </p:nvSpPr>
          <p:spPr>
            <a:xfrm>
              <a:off x="4052679" y="2034319"/>
              <a:ext cx="339336"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a:t>
              </a:r>
            </a:p>
          </p:txBody>
        </p:sp>
      </p:grpSp>
      <p:sp>
        <p:nvSpPr>
          <p:cNvPr id="337" name="TextBox 336"/>
          <p:cNvSpPr txBox="1"/>
          <p:nvPr/>
        </p:nvSpPr>
        <p:spPr>
          <a:xfrm>
            <a:off x="5085108" y="1513954"/>
            <a:ext cx="903044"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Bing Spatial Data Services Geocode Dataflow API</a:t>
            </a:r>
          </a:p>
        </p:txBody>
      </p:sp>
      <p:grpSp>
        <p:nvGrpSpPr>
          <p:cNvPr id="463" name="Group 462"/>
          <p:cNvGrpSpPr/>
          <p:nvPr/>
        </p:nvGrpSpPr>
        <p:grpSpPr>
          <a:xfrm>
            <a:off x="5347912" y="2676657"/>
            <a:ext cx="343989" cy="296541"/>
            <a:chOff x="4842056" y="3000846"/>
            <a:chExt cx="343989" cy="296541"/>
          </a:xfrm>
        </p:grpSpPr>
        <p:grpSp>
          <p:nvGrpSpPr>
            <p:cNvPr id="339" name="Group 338"/>
            <p:cNvGrpSpPr/>
            <p:nvPr/>
          </p:nvGrpSpPr>
          <p:grpSpPr>
            <a:xfrm>
              <a:off x="4933201" y="3079365"/>
              <a:ext cx="159247" cy="159246"/>
              <a:chOff x="5074886" y="3859261"/>
              <a:chExt cx="292608" cy="292608"/>
            </a:xfrm>
          </p:grpSpPr>
          <p:grpSp>
            <p:nvGrpSpPr>
              <p:cNvPr id="341" name="Group 340"/>
              <p:cNvGrpSpPr/>
              <p:nvPr/>
            </p:nvGrpSpPr>
            <p:grpSpPr>
              <a:xfrm>
                <a:off x="5120430" y="3864374"/>
                <a:ext cx="247064" cy="244013"/>
                <a:chOff x="4020820" y="2536426"/>
                <a:chExt cx="1116178" cy="1102393"/>
              </a:xfrm>
            </p:grpSpPr>
            <p:sp>
              <p:nvSpPr>
                <p:cNvPr id="343" name="Rectangle 342"/>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4" name="Rectangle 343"/>
                <p:cNvSpPr/>
                <p:nvPr/>
              </p:nvSpPr>
              <p:spPr bwMode="auto">
                <a:xfrm>
                  <a:off x="4402203"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5" name="Rectangle 344"/>
                <p:cNvSpPr/>
                <p:nvPr/>
              </p:nvSpPr>
              <p:spPr bwMode="auto">
                <a:xfrm>
                  <a:off x="4788181"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6" name="Rectangle 345"/>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7" name="Rectangle 346"/>
                <p:cNvSpPr/>
                <p:nvPr/>
              </p:nvSpPr>
              <p:spPr bwMode="auto">
                <a:xfrm>
                  <a:off x="4402203"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8" name="Rectangle 347"/>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49" name="Rectangle 348"/>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50" name="Rectangle 349"/>
                <p:cNvSpPr/>
                <p:nvPr/>
              </p:nvSpPr>
              <p:spPr bwMode="auto">
                <a:xfrm>
                  <a:off x="4402203"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51" name="Rectangle 350"/>
                <p:cNvSpPr/>
                <p:nvPr/>
              </p:nvSpPr>
              <p:spPr bwMode="auto">
                <a:xfrm>
                  <a:off x="4788181"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cxnSp>
            <p:nvCxnSpPr>
              <p:cNvPr id="342" name="Connector: Elbow 52"/>
              <p:cNvCxnSpPr>
                <a:cxnSpLocks/>
              </p:cNvCxnSpPr>
              <p:nvPr/>
            </p:nvCxnSpPr>
            <p:spPr>
              <a:xfrm rot="16200000" flipH="1">
                <a:off x="5074886" y="3859261"/>
                <a:ext cx="292608" cy="292608"/>
              </a:xfrm>
              <a:prstGeom prst="bentConnector3">
                <a:avLst>
                  <a:gd name="adj1" fmla="val 100311"/>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0" name="Hexagon 339"/>
            <p:cNvSpPr/>
            <p:nvPr/>
          </p:nvSpPr>
          <p:spPr bwMode="auto">
            <a:xfrm>
              <a:off x="4842056" y="3000846"/>
              <a:ext cx="343989" cy="296541"/>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352" name="TextBox 351"/>
          <p:cNvSpPr txBox="1"/>
          <p:nvPr/>
        </p:nvSpPr>
        <p:spPr>
          <a:xfrm>
            <a:off x="5185638" y="3010860"/>
            <a:ext cx="667634"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orag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Geocode Cache)</a:t>
            </a:r>
          </a:p>
        </p:txBody>
      </p:sp>
      <p:sp>
        <p:nvSpPr>
          <p:cNvPr id="358" name="TextBox 357"/>
          <p:cNvSpPr txBox="1"/>
          <p:nvPr/>
        </p:nvSpPr>
        <p:spPr>
          <a:xfrm>
            <a:off x="4871248" y="6167172"/>
            <a:ext cx="673901"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orage Queue</a:t>
            </a:r>
          </a:p>
        </p:txBody>
      </p:sp>
      <p:cxnSp>
        <p:nvCxnSpPr>
          <p:cNvPr id="365" name="Straight Connector 364"/>
          <p:cNvCxnSpPr/>
          <p:nvPr/>
        </p:nvCxnSpPr>
        <p:spPr>
          <a:xfrm flipH="1">
            <a:off x="991935" y="4138956"/>
            <a:ext cx="27432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Arrow Connector 368"/>
          <p:cNvCxnSpPr/>
          <p:nvPr/>
        </p:nvCxnSpPr>
        <p:spPr>
          <a:xfrm flipH="1">
            <a:off x="968020" y="4759459"/>
            <a:ext cx="27432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1138133" y="4138956"/>
            <a:ext cx="0" cy="62050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Arrow Connector 391"/>
          <p:cNvCxnSpPr>
            <a:cxnSpLocks/>
          </p:cNvCxnSpPr>
          <p:nvPr/>
        </p:nvCxnSpPr>
        <p:spPr>
          <a:xfrm>
            <a:off x="1227313" y="5988938"/>
            <a:ext cx="100584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3" name="TextBox 422"/>
          <p:cNvSpPr txBox="1"/>
          <p:nvPr/>
        </p:nvSpPr>
        <p:spPr>
          <a:xfrm>
            <a:off x="7825031" y="1514111"/>
            <a:ext cx="916512"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Vessel GPS Service “Marine Traffic”</a:t>
            </a:r>
          </a:p>
        </p:txBody>
      </p:sp>
      <p:cxnSp>
        <p:nvCxnSpPr>
          <p:cNvPr id="425" name="Straight Arrow Connector 424"/>
          <p:cNvCxnSpPr>
            <a:cxnSpLocks/>
          </p:cNvCxnSpPr>
          <p:nvPr/>
        </p:nvCxnSpPr>
        <p:spPr>
          <a:xfrm>
            <a:off x="3622726" y="3627488"/>
            <a:ext cx="1181721" cy="0"/>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7" name="TextBox 426"/>
          <p:cNvSpPr txBox="1"/>
          <p:nvPr/>
        </p:nvSpPr>
        <p:spPr>
          <a:xfrm>
            <a:off x="3839870" y="3576676"/>
            <a:ext cx="463233" cy="190967"/>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cxnSp>
        <p:nvCxnSpPr>
          <p:cNvPr id="431" name="Elbow Connector 430"/>
          <p:cNvCxnSpPr>
            <a:cxnSpLocks/>
          </p:cNvCxnSpPr>
          <p:nvPr/>
        </p:nvCxnSpPr>
        <p:spPr>
          <a:xfrm rot="16200000" flipH="1">
            <a:off x="2879170" y="2744118"/>
            <a:ext cx="1280160" cy="2743200"/>
          </a:xfrm>
          <a:prstGeom prst="bentConnector3">
            <a:avLst>
              <a:gd name="adj1" fmla="val 44048"/>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a:cxnSpLocks/>
          </p:cNvCxnSpPr>
          <p:nvPr/>
        </p:nvCxnSpPr>
        <p:spPr>
          <a:xfrm flipH="1">
            <a:off x="1410248" y="3467976"/>
            <a:ext cx="745247" cy="0"/>
          </a:xfrm>
          <a:prstGeom prst="line">
            <a:avLst/>
          </a:prstGeom>
          <a:ln w="12700">
            <a:solidFill>
              <a:srgbClr val="FC740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Arrow Connector 445"/>
          <p:cNvCxnSpPr/>
          <p:nvPr/>
        </p:nvCxnSpPr>
        <p:spPr>
          <a:xfrm>
            <a:off x="2851131" y="5993046"/>
            <a:ext cx="3657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2889145" y="5802013"/>
            <a:ext cx="0" cy="365760"/>
          </a:xfrm>
          <a:prstGeom prst="line">
            <a:avLst/>
          </a:prstGeom>
          <a:ln w="19050">
            <a:solidFill>
              <a:srgbClr val="C0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8" name="Straight Arrow Connector 447"/>
          <p:cNvCxnSpPr>
            <a:cxnSpLocks/>
          </p:cNvCxnSpPr>
          <p:nvPr/>
        </p:nvCxnSpPr>
        <p:spPr>
          <a:xfrm>
            <a:off x="3738354" y="5981904"/>
            <a:ext cx="12801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2" name="Elbow Connector 451"/>
          <p:cNvCxnSpPr>
            <a:cxnSpLocks/>
          </p:cNvCxnSpPr>
          <p:nvPr/>
        </p:nvCxnSpPr>
        <p:spPr>
          <a:xfrm rot="5400000" flipH="1" flipV="1">
            <a:off x="3884495" y="5191858"/>
            <a:ext cx="1005840" cy="548640"/>
          </a:xfrm>
          <a:prstGeom prst="bentConnector2">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3" name="Group 452"/>
          <p:cNvGrpSpPr/>
          <p:nvPr/>
        </p:nvGrpSpPr>
        <p:grpSpPr>
          <a:xfrm>
            <a:off x="5843140" y="2188841"/>
            <a:ext cx="276004" cy="324012"/>
            <a:chOff x="1968596" y="3790350"/>
            <a:chExt cx="335351" cy="393683"/>
          </a:xfrm>
        </p:grpSpPr>
        <p:sp>
          <p:nvSpPr>
            <p:cNvPr id="454" name="Left Bracket 453"/>
            <p:cNvSpPr/>
            <p:nvPr/>
          </p:nvSpPr>
          <p:spPr>
            <a:xfrm rot="5400000">
              <a:off x="2083660" y="3675288"/>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5" name="Left Bracket 454"/>
            <p:cNvSpPr/>
            <p:nvPr/>
          </p:nvSpPr>
          <p:spPr>
            <a:xfrm rot="16200000">
              <a:off x="2083658" y="3963746"/>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56" name="Group 455"/>
            <p:cNvGrpSpPr/>
            <p:nvPr/>
          </p:nvGrpSpPr>
          <p:grpSpPr>
            <a:xfrm>
              <a:off x="2028183" y="3878528"/>
              <a:ext cx="247064" cy="244013"/>
              <a:chOff x="4020820" y="2536426"/>
              <a:chExt cx="1116178" cy="1102393"/>
            </a:xfrm>
          </p:grpSpPr>
          <p:sp>
            <p:nvSpPr>
              <p:cNvPr id="457" name="Rectangle 456"/>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8" name="Rectangle 457"/>
              <p:cNvSpPr/>
              <p:nvPr/>
            </p:nvSpPr>
            <p:spPr bwMode="auto">
              <a:xfrm>
                <a:off x="4402201" y="2707667"/>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59" name="Rectangle 458"/>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0" name="Rectangle 459"/>
              <p:cNvSpPr/>
              <p:nvPr/>
            </p:nvSpPr>
            <p:spPr bwMode="auto">
              <a:xfrm>
                <a:off x="4402201" y="3084453"/>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1" name="Rectangle 460"/>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62" name="Rectangle 461"/>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grpSp>
        <p:nvGrpSpPr>
          <p:cNvPr id="175" name="Group 174"/>
          <p:cNvGrpSpPr/>
          <p:nvPr/>
        </p:nvGrpSpPr>
        <p:grpSpPr>
          <a:xfrm>
            <a:off x="5651201" y="5227913"/>
            <a:ext cx="673902" cy="490360"/>
            <a:chOff x="5040004" y="5369777"/>
            <a:chExt cx="673902" cy="490360"/>
          </a:xfrm>
        </p:grpSpPr>
        <p:grpSp>
          <p:nvGrpSpPr>
            <p:cNvPr id="466" name="Group 465"/>
            <p:cNvGrpSpPr/>
            <p:nvPr/>
          </p:nvGrpSpPr>
          <p:grpSpPr>
            <a:xfrm>
              <a:off x="5195923" y="5369777"/>
              <a:ext cx="362064" cy="325196"/>
              <a:chOff x="6863101" y="4047468"/>
              <a:chExt cx="518199" cy="465432"/>
            </a:xfrm>
            <a:solidFill>
              <a:schemeClr val="tx1"/>
            </a:solidFill>
          </p:grpSpPr>
          <p:sp>
            <p:nvSpPr>
              <p:cNvPr id="467" name="Rectangle 466"/>
              <p:cNvSpPr/>
              <p:nvPr/>
            </p:nvSpPr>
            <p:spPr bwMode="auto">
              <a:xfrm>
                <a:off x="6863101" y="4078224"/>
                <a:ext cx="162467" cy="4346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Right Triangle 467"/>
              <p:cNvSpPr/>
              <p:nvPr/>
            </p:nvSpPr>
            <p:spPr bwMode="auto">
              <a:xfrm flipH="1">
                <a:off x="6916403" y="4153869"/>
                <a:ext cx="277824" cy="27782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Right Triangle 468"/>
              <p:cNvSpPr/>
              <p:nvPr/>
            </p:nvSpPr>
            <p:spPr bwMode="auto">
              <a:xfrm flipH="1">
                <a:off x="7103476" y="4153869"/>
                <a:ext cx="277824" cy="277825"/>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0" name="Rectangle 469"/>
              <p:cNvSpPr/>
              <p:nvPr/>
            </p:nvSpPr>
            <p:spPr bwMode="auto">
              <a:xfrm>
                <a:off x="6896734" y="4352589"/>
                <a:ext cx="484565" cy="1603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1" name="Oval 470"/>
              <p:cNvSpPr/>
              <p:nvPr/>
            </p:nvSpPr>
            <p:spPr bwMode="auto">
              <a:xfrm>
                <a:off x="6863101" y="4047468"/>
                <a:ext cx="162467" cy="45719"/>
              </a:xfrm>
              <a:prstGeom prst="ellipse">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2" name="Rectangle 471"/>
              <p:cNvSpPr/>
              <p:nvPr/>
            </p:nvSpPr>
            <p:spPr bwMode="auto">
              <a:xfrm>
                <a:off x="7025568"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3" name="Rectangle 472"/>
              <p:cNvSpPr/>
              <p:nvPr/>
            </p:nvSpPr>
            <p:spPr bwMode="auto">
              <a:xfrm>
                <a:off x="7103835"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4" name="Rectangle 473"/>
              <p:cNvSpPr/>
              <p:nvPr/>
            </p:nvSpPr>
            <p:spPr bwMode="auto">
              <a:xfrm>
                <a:off x="7182103" y="4383575"/>
                <a:ext cx="45719"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75" name="TextBox 474"/>
            <p:cNvSpPr txBox="1"/>
            <p:nvPr/>
          </p:nvSpPr>
          <p:spPr>
            <a:xfrm>
              <a:off x="5040004" y="5749337"/>
              <a:ext cx="673902"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Factory</a:t>
              </a:r>
            </a:p>
          </p:txBody>
        </p:sp>
      </p:grpSp>
      <p:sp>
        <p:nvSpPr>
          <p:cNvPr id="476" name="TextBox 475"/>
          <p:cNvSpPr txBox="1"/>
          <p:nvPr/>
        </p:nvSpPr>
        <p:spPr>
          <a:xfrm>
            <a:off x="5660360" y="2574178"/>
            <a:ext cx="667634"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vent Hubs</a:t>
            </a:r>
          </a:p>
        </p:txBody>
      </p:sp>
      <p:cxnSp>
        <p:nvCxnSpPr>
          <p:cNvPr id="478" name="Straight Arrow Connector 477"/>
          <p:cNvCxnSpPr>
            <a:cxnSpLocks/>
          </p:cNvCxnSpPr>
          <p:nvPr/>
        </p:nvCxnSpPr>
        <p:spPr>
          <a:xfrm>
            <a:off x="5994177" y="2741179"/>
            <a:ext cx="0" cy="2465986"/>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90" name="Group 489"/>
          <p:cNvGrpSpPr/>
          <p:nvPr/>
        </p:nvGrpSpPr>
        <p:grpSpPr>
          <a:xfrm>
            <a:off x="6248524" y="3467977"/>
            <a:ext cx="276004" cy="324012"/>
            <a:chOff x="1968596" y="3790350"/>
            <a:chExt cx="335351" cy="393683"/>
          </a:xfrm>
        </p:grpSpPr>
        <p:sp>
          <p:nvSpPr>
            <p:cNvPr id="491" name="Left Bracket 490"/>
            <p:cNvSpPr/>
            <p:nvPr/>
          </p:nvSpPr>
          <p:spPr>
            <a:xfrm rot="5400000">
              <a:off x="2083660" y="3675288"/>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2" name="Left Bracket 491"/>
            <p:cNvSpPr/>
            <p:nvPr/>
          </p:nvSpPr>
          <p:spPr>
            <a:xfrm rot="16200000">
              <a:off x="2083658" y="3963746"/>
              <a:ext cx="105225" cy="335349"/>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93" name="Group 492"/>
            <p:cNvGrpSpPr/>
            <p:nvPr/>
          </p:nvGrpSpPr>
          <p:grpSpPr>
            <a:xfrm>
              <a:off x="2028183" y="3878528"/>
              <a:ext cx="247064" cy="244013"/>
              <a:chOff x="4020820" y="2536426"/>
              <a:chExt cx="1116178" cy="1102393"/>
            </a:xfrm>
          </p:grpSpPr>
          <p:sp>
            <p:nvSpPr>
              <p:cNvPr id="494" name="Rectangle 493"/>
              <p:cNvSpPr/>
              <p:nvPr/>
            </p:nvSpPr>
            <p:spPr bwMode="auto">
              <a:xfrm>
                <a:off x="4020820" y="2536426"/>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5" name="Rectangle 494"/>
              <p:cNvSpPr/>
              <p:nvPr/>
            </p:nvSpPr>
            <p:spPr bwMode="auto">
              <a:xfrm>
                <a:off x="4402201" y="2707667"/>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6" name="Rectangle 495"/>
              <p:cNvSpPr/>
              <p:nvPr/>
            </p:nvSpPr>
            <p:spPr bwMode="auto">
              <a:xfrm>
                <a:off x="4020820"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7" name="Rectangle 496"/>
              <p:cNvSpPr/>
              <p:nvPr/>
            </p:nvSpPr>
            <p:spPr bwMode="auto">
              <a:xfrm>
                <a:off x="4402201" y="3084453"/>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8" name="Rectangle 497"/>
              <p:cNvSpPr/>
              <p:nvPr/>
            </p:nvSpPr>
            <p:spPr bwMode="auto">
              <a:xfrm>
                <a:off x="4788181" y="2913214"/>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99" name="Rectangle 498"/>
              <p:cNvSpPr/>
              <p:nvPr/>
            </p:nvSpPr>
            <p:spPr bwMode="auto">
              <a:xfrm>
                <a:off x="4020820" y="3290002"/>
                <a:ext cx="348817" cy="348817"/>
              </a:xfrm>
              <a:prstGeom prst="rect">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grpSp>
      <p:sp>
        <p:nvSpPr>
          <p:cNvPr id="500" name="TextBox 499"/>
          <p:cNvSpPr txBox="1"/>
          <p:nvPr/>
        </p:nvSpPr>
        <p:spPr>
          <a:xfrm>
            <a:off x="6065744" y="3853314"/>
            <a:ext cx="667634"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vent Hubs</a:t>
            </a:r>
          </a:p>
        </p:txBody>
      </p:sp>
      <p:cxnSp>
        <p:nvCxnSpPr>
          <p:cNvPr id="502" name="Elbow Connector 501"/>
          <p:cNvCxnSpPr>
            <a:endCxn id="500" idx="2"/>
          </p:cNvCxnSpPr>
          <p:nvPr/>
        </p:nvCxnSpPr>
        <p:spPr>
          <a:xfrm flipV="1">
            <a:off x="5471045" y="3964114"/>
            <a:ext cx="928516" cy="243516"/>
          </a:xfrm>
          <a:prstGeom prst="bentConnector2">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0" name="Elbow Connector 509"/>
          <p:cNvCxnSpPr>
            <a:cxnSpLocks/>
          </p:cNvCxnSpPr>
          <p:nvPr/>
        </p:nvCxnSpPr>
        <p:spPr>
          <a:xfrm rot="10800000" flipV="1">
            <a:off x="3470626" y="4190673"/>
            <a:ext cx="1737360" cy="548640"/>
          </a:xfrm>
          <a:prstGeom prst="bentConnector2">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5" name="Straight Arrow Connector 524"/>
          <p:cNvCxnSpPr>
            <a:cxnSpLocks/>
          </p:cNvCxnSpPr>
          <p:nvPr/>
        </p:nvCxnSpPr>
        <p:spPr>
          <a:xfrm>
            <a:off x="5528887" y="1873607"/>
            <a:ext cx="0" cy="755971"/>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5" name="Straight Arrow Connector 534"/>
          <p:cNvCxnSpPr>
            <a:cxnSpLocks/>
          </p:cNvCxnSpPr>
          <p:nvPr/>
        </p:nvCxnSpPr>
        <p:spPr>
          <a:xfrm>
            <a:off x="5234677" y="3619973"/>
            <a:ext cx="1005840" cy="8314"/>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8" name="Elbow Connector 537"/>
          <p:cNvCxnSpPr>
            <a:cxnSpLocks/>
          </p:cNvCxnSpPr>
          <p:nvPr/>
        </p:nvCxnSpPr>
        <p:spPr>
          <a:xfrm>
            <a:off x="5109929" y="4947763"/>
            <a:ext cx="606454" cy="465660"/>
          </a:xfrm>
          <a:prstGeom prst="bentConnector3">
            <a:avLst>
              <a:gd name="adj1" fmla="val 55690"/>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5" name="Freeform 14"/>
          <p:cNvSpPr>
            <a:spLocks noEditPoints="1"/>
          </p:cNvSpPr>
          <p:nvPr/>
        </p:nvSpPr>
        <p:spPr bwMode="black">
          <a:xfrm>
            <a:off x="6195866" y="4556289"/>
            <a:ext cx="298647" cy="298569"/>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noFill/>
          <a:ln w="12700">
            <a:solidFill>
              <a:schemeClr val="tx1"/>
            </a:solid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46" name="TextBox 545"/>
          <p:cNvSpPr txBox="1"/>
          <p:nvPr/>
        </p:nvSpPr>
        <p:spPr>
          <a:xfrm>
            <a:off x="6021740" y="4889957"/>
            <a:ext cx="667634"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Batch Custom Activity</a:t>
            </a:r>
          </a:p>
        </p:txBody>
      </p:sp>
      <p:sp>
        <p:nvSpPr>
          <p:cNvPr id="575" name="TextBox 574"/>
          <p:cNvSpPr txBox="1"/>
          <p:nvPr/>
        </p:nvSpPr>
        <p:spPr>
          <a:xfrm>
            <a:off x="7235494" y="2947171"/>
            <a:ext cx="794279"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eference Data Keywords (Blob)</a:t>
            </a:r>
          </a:p>
        </p:txBody>
      </p:sp>
      <p:sp>
        <p:nvSpPr>
          <p:cNvPr id="576" name="Freeform 9"/>
          <p:cNvSpPr>
            <a:spLocks noChangeAspect="1" noEditPoints="1"/>
          </p:cNvSpPr>
          <p:nvPr/>
        </p:nvSpPr>
        <p:spPr bwMode="black">
          <a:xfrm>
            <a:off x="7437494" y="3788856"/>
            <a:ext cx="338910" cy="27490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7" name="TextBox 576"/>
          <p:cNvSpPr txBox="1"/>
          <p:nvPr/>
        </p:nvSpPr>
        <p:spPr>
          <a:xfrm>
            <a:off x="7281300" y="4083431"/>
            <a:ext cx="673902"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Stream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Analytics</a:t>
            </a:r>
          </a:p>
        </p:txBody>
      </p:sp>
      <p:cxnSp>
        <p:nvCxnSpPr>
          <p:cNvPr id="588" name="Straight Connector 587"/>
          <p:cNvCxnSpPr>
            <a:cxnSpLocks/>
          </p:cNvCxnSpPr>
          <p:nvPr/>
        </p:nvCxnSpPr>
        <p:spPr>
          <a:xfrm>
            <a:off x="6555283" y="3634668"/>
            <a:ext cx="1071682" cy="0"/>
          </a:xfrm>
          <a:prstGeom prst="line">
            <a:avLst/>
          </a:prstGeom>
          <a:ln w="127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9" name="Group 588"/>
          <p:cNvGrpSpPr/>
          <p:nvPr/>
        </p:nvGrpSpPr>
        <p:grpSpPr>
          <a:xfrm>
            <a:off x="7464917" y="5265131"/>
            <a:ext cx="264776" cy="328560"/>
            <a:chOff x="7469196" y="2376386"/>
            <a:chExt cx="449697" cy="558028"/>
          </a:xfrm>
        </p:grpSpPr>
        <p:sp>
          <p:nvSpPr>
            <p:cNvPr id="590" name="Freeform 79"/>
            <p:cNvSpPr>
              <a:spLocks noEditPoints="1"/>
            </p:cNvSpPr>
            <p:nvPr/>
          </p:nvSpPr>
          <p:spPr bwMode="black">
            <a:xfrm>
              <a:off x="7469196" y="2376386"/>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ln>
            <a:extLst/>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91" name="Freeform 70"/>
            <p:cNvSpPr>
              <a:spLocks noChangeAspect="1"/>
            </p:cNvSpPr>
            <p:nvPr/>
          </p:nvSpPr>
          <p:spPr bwMode="black">
            <a:xfrm>
              <a:off x="7548648" y="2550088"/>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93" name="Group 592"/>
          <p:cNvGrpSpPr/>
          <p:nvPr/>
        </p:nvGrpSpPr>
        <p:grpSpPr>
          <a:xfrm>
            <a:off x="8110807" y="2224406"/>
            <a:ext cx="345684" cy="298003"/>
            <a:chOff x="4817213" y="2757981"/>
            <a:chExt cx="496743" cy="428227"/>
          </a:xfrm>
        </p:grpSpPr>
        <p:sp>
          <p:nvSpPr>
            <p:cNvPr id="594" name="Freeform 70"/>
            <p:cNvSpPr>
              <a:spLocks noChangeAspect="1"/>
            </p:cNvSpPr>
            <p:nvPr/>
          </p:nvSpPr>
          <p:spPr bwMode="black">
            <a:xfrm>
              <a:off x="4995497" y="2868196"/>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5" name="Hexagon 594"/>
            <p:cNvSpPr/>
            <p:nvPr/>
          </p:nvSpPr>
          <p:spPr bwMode="auto">
            <a:xfrm>
              <a:off x="4817213" y="2757981"/>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596" name="TextBox 595"/>
          <p:cNvSpPr txBox="1"/>
          <p:nvPr/>
        </p:nvSpPr>
        <p:spPr>
          <a:xfrm>
            <a:off x="8014565" y="2564418"/>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Functions</a:t>
            </a:r>
          </a:p>
        </p:txBody>
      </p:sp>
      <p:cxnSp>
        <p:nvCxnSpPr>
          <p:cNvPr id="603" name="Straight Arrow Connector 602"/>
          <p:cNvCxnSpPr>
            <a:cxnSpLocks/>
          </p:cNvCxnSpPr>
          <p:nvPr/>
        </p:nvCxnSpPr>
        <p:spPr>
          <a:xfrm flipH="1">
            <a:off x="6119143" y="2363190"/>
            <a:ext cx="1953654" cy="0"/>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4" name="Straight Arrow Connector 613"/>
          <p:cNvCxnSpPr/>
          <p:nvPr/>
        </p:nvCxnSpPr>
        <p:spPr>
          <a:xfrm>
            <a:off x="8284110" y="1712274"/>
            <a:ext cx="0" cy="457200"/>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16" name="TextBox 615"/>
          <p:cNvSpPr txBox="1"/>
          <p:nvPr/>
        </p:nvSpPr>
        <p:spPr>
          <a:xfrm>
            <a:off x="3073224" y="4626418"/>
            <a:ext cx="440653" cy="110800"/>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MZ</a:t>
            </a:r>
          </a:p>
        </p:txBody>
      </p:sp>
      <p:cxnSp>
        <p:nvCxnSpPr>
          <p:cNvPr id="623" name="Straight Arrow Connector 622"/>
          <p:cNvCxnSpPr>
            <a:cxnSpLocks/>
          </p:cNvCxnSpPr>
          <p:nvPr/>
        </p:nvCxnSpPr>
        <p:spPr>
          <a:xfrm>
            <a:off x="7626965" y="3168770"/>
            <a:ext cx="0" cy="623219"/>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9" name="Straight Arrow Connector 628"/>
          <p:cNvCxnSpPr>
            <a:cxnSpLocks/>
          </p:cNvCxnSpPr>
          <p:nvPr/>
        </p:nvCxnSpPr>
        <p:spPr>
          <a:xfrm>
            <a:off x="7607972" y="4312064"/>
            <a:ext cx="0" cy="906937"/>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3" name="Group 632"/>
          <p:cNvGrpSpPr/>
          <p:nvPr/>
        </p:nvGrpSpPr>
        <p:grpSpPr>
          <a:xfrm>
            <a:off x="8144701" y="5288713"/>
            <a:ext cx="285300" cy="285300"/>
            <a:chOff x="6548081" y="3270894"/>
            <a:chExt cx="428708" cy="428708"/>
          </a:xfrm>
        </p:grpSpPr>
        <p:sp>
          <p:nvSpPr>
            <p:cNvPr id="634" name="Freeform 70"/>
            <p:cNvSpPr>
              <a:spLocks noChangeAspect="1"/>
            </p:cNvSpPr>
            <p:nvPr/>
          </p:nvSpPr>
          <p:spPr bwMode="black">
            <a:xfrm>
              <a:off x="6694700" y="3379158"/>
              <a:ext cx="173126" cy="249928"/>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5" name="Rounded Rectangle 634"/>
            <p:cNvSpPr/>
            <p:nvPr/>
          </p:nvSpPr>
          <p:spPr bwMode="auto">
            <a:xfrm>
              <a:off x="6548081" y="3270894"/>
              <a:ext cx="428708" cy="428708"/>
            </a:xfrm>
            <a:prstGeom prst="roundRect">
              <a:avLst>
                <a:gd name="adj" fmla="val 11901"/>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36" name="TextBox 635"/>
          <p:cNvSpPr txBox="1"/>
          <p:nvPr/>
        </p:nvSpPr>
        <p:spPr>
          <a:xfrm>
            <a:off x="7942422" y="5597063"/>
            <a:ext cx="689858"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 Analytics </a:t>
            </a:r>
            <a:r>
              <a:rPr kumimoji="0" lang="en-US" sz="800" b="0" i="0" u="none" strike="noStrike" kern="1200" cap="none" spc="0" normalizeH="0" baseline="0" noProof="0" dirty="0">
                <a:ln>
                  <a:noFill/>
                </a:ln>
                <a:solidFill>
                  <a:srgbClr val="0072C6"/>
                </a:solidFill>
                <a:effectLst/>
                <a:uLnTx/>
                <a:uFillTx/>
                <a:latin typeface="Segoe UI"/>
                <a:ea typeface="+mn-ea"/>
                <a:cs typeface="+mn-cs"/>
              </a:rPr>
              <a:t>(Correl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a:ea typeface="+mn-ea"/>
                <a:cs typeface="+mn-cs"/>
              </a:rPr>
              <a:t> </a:t>
            </a:r>
            <a:endParaRPr kumimoji="0" lang="en-US" sz="800" b="0" i="0" u="none" strike="noStrike" kern="1200" cap="none" spc="0" normalizeH="0" baseline="0" noProof="0" dirty="0">
              <a:ln>
                <a:noFill/>
              </a:ln>
              <a:solidFill>
                <a:srgbClr val="00BCF2"/>
              </a:solidFill>
              <a:effectLst/>
              <a:uLnTx/>
              <a:uFillTx/>
              <a:latin typeface="Segoe UI"/>
              <a:ea typeface="+mn-ea"/>
              <a:cs typeface="+mn-cs"/>
            </a:endParaRPr>
          </a:p>
        </p:txBody>
      </p:sp>
      <p:cxnSp>
        <p:nvCxnSpPr>
          <p:cNvPr id="638" name="Straight Arrow Connector 637"/>
          <p:cNvCxnSpPr>
            <a:cxnSpLocks/>
          </p:cNvCxnSpPr>
          <p:nvPr/>
        </p:nvCxnSpPr>
        <p:spPr>
          <a:xfrm>
            <a:off x="7765252" y="5452407"/>
            <a:ext cx="346066"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8147000" y="4435203"/>
            <a:ext cx="288050" cy="306118"/>
            <a:chOff x="7621172" y="4700021"/>
            <a:chExt cx="288050" cy="306118"/>
          </a:xfrm>
        </p:grpSpPr>
        <p:grpSp>
          <p:nvGrpSpPr>
            <p:cNvPr id="641" name="Group 640"/>
            <p:cNvGrpSpPr/>
            <p:nvPr/>
          </p:nvGrpSpPr>
          <p:grpSpPr>
            <a:xfrm>
              <a:off x="7621172" y="4700021"/>
              <a:ext cx="243942" cy="297479"/>
              <a:chOff x="7270290" y="4865632"/>
              <a:chExt cx="385630" cy="470261"/>
            </a:xfrm>
          </p:grpSpPr>
          <p:sp>
            <p:nvSpPr>
              <p:cNvPr id="652" name="Freeform 17"/>
              <p:cNvSpPr>
                <a:spLocks noEditPoints="1"/>
              </p:cNvSpPr>
              <p:nvPr/>
            </p:nvSpPr>
            <p:spPr bwMode="auto">
              <a:xfrm>
                <a:off x="7270290" y="4865632"/>
                <a:ext cx="383609" cy="470261"/>
              </a:xfrm>
              <a:custGeom>
                <a:avLst/>
                <a:gdLst>
                  <a:gd name="T0" fmla="*/ 0 w 1172"/>
                  <a:gd name="T1" fmla="*/ 1222 h 1442"/>
                  <a:gd name="T2" fmla="*/ 90 w 1172"/>
                  <a:gd name="T3" fmla="*/ 1222 h 1442"/>
                  <a:gd name="T4" fmla="*/ 590 w 1172"/>
                  <a:gd name="T5" fmla="*/ 1352 h 1442"/>
                  <a:gd name="T6" fmla="*/ 1082 w 1172"/>
                  <a:gd name="T7" fmla="*/ 1222 h 1442"/>
                  <a:gd name="T8" fmla="*/ 1172 w 1172"/>
                  <a:gd name="T9" fmla="*/ 1222 h 1442"/>
                  <a:gd name="T10" fmla="*/ 590 w 1172"/>
                  <a:gd name="T11" fmla="*/ 1442 h 1442"/>
                  <a:gd name="T12" fmla="*/ 0 w 1172"/>
                  <a:gd name="T13" fmla="*/ 1222 h 1442"/>
                  <a:gd name="T14" fmla="*/ 590 w 1172"/>
                  <a:gd name="T15" fmla="*/ 90 h 1442"/>
                  <a:gd name="T16" fmla="*/ 90 w 1172"/>
                  <a:gd name="T17" fmla="*/ 219 h 1442"/>
                  <a:gd name="T18" fmla="*/ 90 w 1172"/>
                  <a:gd name="T19" fmla="*/ 219 h 1442"/>
                  <a:gd name="T20" fmla="*/ 90 w 1172"/>
                  <a:gd name="T21" fmla="*/ 220 h 1442"/>
                  <a:gd name="T22" fmla="*/ 90 w 1172"/>
                  <a:gd name="T23" fmla="*/ 221 h 1442"/>
                  <a:gd name="T24" fmla="*/ 590 w 1172"/>
                  <a:gd name="T25" fmla="*/ 349 h 1442"/>
                  <a:gd name="T26" fmla="*/ 1082 w 1172"/>
                  <a:gd name="T27" fmla="*/ 219 h 1442"/>
                  <a:gd name="T28" fmla="*/ 590 w 1172"/>
                  <a:gd name="T29" fmla="*/ 90 h 1442"/>
                  <a:gd name="T30" fmla="*/ 590 w 1172"/>
                  <a:gd name="T31" fmla="*/ 0 h 1442"/>
                  <a:gd name="T32" fmla="*/ 1172 w 1172"/>
                  <a:gd name="T33" fmla="*/ 219 h 1442"/>
                  <a:gd name="T34" fmla="*/ 1172 w 1172"/>
                  <a:gd name="T35" fmla="*/ 219 h 1442"/>
                  <a:gd name="T36" fmla="*/ 1172 w 1172"/>
                  <a:gd name="T37" fmla="*/ 1222 h 1442"/>
                  <a:gd name="T38" fmla="*/ 1082 w 1172"/>
                  <a:gd name="T39" fmla="*/ 1222 h 1442"/>
                  <a:gd name="T40" fmla="*/ 1082 w 1172"/>
                  <a:gd name="T41" fmla="*/ 344 h 1442"/>
                  <a:gd name="T42" fmla="*/ 1078 w 1172"/>
                  <a:gd name="T43" fmla="*/ 346 h 1442"/>
                  <a:gd name="T44" fmla="*/ 590 w 1172"/>
                  <a:gd name="T45" fmla="*/ 439 h 1442"/>
                  <a:gd name="T46" fmla="*/ 93 w 1172"/>
                  <a:gd name="T47" fmla="*/ 343 h 1442"/>
                  <a:gd name="T48" fmla="*/ 90 w 1172"/>
                  <a:gd name="T49" fmla="*/ 341 h 1442"/>
                  <a:gd name="T50" fmla="*/ 90 w 1172"/>
                  <a:gd name="T51" fmla="*/ 1222 h 1442"/>
                  <a:gd name="T52" fmla="*/ 0 w 1172"/>
                  <a:gd name="T53" fmla="*/ 1222 h 1442"/>
                  <a:gd name="T54" fmla="*/ 0 w 1172"/>
                  <a:gd name="T55" fmla="*/ 221 h 1442"/>
                  <a:gd name="T56" fmla="*/ 0 w 1172"/>
                  <a:gd name="T57" fmla="*/ 219 h 1442"/>
                  <a:gd name="T58" fmla="*/ 590 w 1172"/>
                  <a:gd name="T59"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72" h="1442">
                    <a:moveTo>
                      <a:pt x="0" y="1222"/>
                    </a:moveTo>
                    <a:cubicBezTo>
                      <a:pt x="90" y="1222"/>
                      <a:pt x="90" y="1222"/>
                      <a:pt x="90" y="1222"/>
                    </a:cubicBezTo>
                    <a:cubicBezTo>
                      <a:pt x="90" y="1268"/>
                      <a:pt x="280" y="1352"/>
                      <a:pt x="590" y="1352"/>
                    </a:cubicBezTo>
                    <a:cubicBezTo>
                      <a:pt x="908" y="1352"/>
                      <a:pt x="1082" y="1266"/>
                      <a:pt x="1082" y="1222"/>
                    </a:cubicBezTo>
                    <a:cubicBezTo>
                      <a:pt x="1172" y="1222"/>
                      <a:pt x="1172" y="1222"/>
                      <a:pt x="1172" y="1222"/>
                    </a:cubicBezTo>
                    <a:cubicBezTo>
                      <a:pt x="1172" y="1373"/>
                      <a:pt x="870" y="1442"/>
                      <a:pt x="590" y="1442"/>
                    </a:cubicBezTo>
                    <a:cubicBezTo>
                      <a:pt x="297" y="1442"/>
                      <a:pt x="0" y="1366"/>
                      <a:pt x="0" y="1222"/>
                    </a:cubicBezTo>
                    <a:close/>
                    <a:moveTo>
                      <a:pt x="590" y="90"/>
                    </a:moveTo>
                    <a:cubicBezTo>
                      <a:pt x="280" y="90"/>
                      <a:pt x="90" y="174"/>
                      <a:pt x="90" y="219"/>
                    </a:cubicBezTo>
                    <a:cubicBezTo>
                      <a:pt x="90" y="219"/>
                      <a:pt x="90" y="219"/>
                      <a:pt x="90" y="219"/>
                    </a:cubicBezTo>
                    <a:cubicBezTo>
                      <a:pt x="90" y="220"/>
                      <a:pt x="90" y="220"/>
                      <a:pt x="90" y="220"/>
                    </a:cubicBezTo>
                    <a:cubicBezTo>
                      <a:pt x="90" y="221"/>
                      <a:pt x="90" y="221"/>
                      <a:pt x="90" y="221"/>
                    </a:cubicBezTo>
                    <a:cubicBezTo>
                      <a:pt x="96" y="267"/>
                      <a:pt x="285" y="349"/>
                      <a:pt x="590" y="349"/>
                    </a:cubicBezTo>
                    <a:cubicBezTo>
                      <a:pt x="908" y="349"/>
                      <a:pt x="1082" y="263"/>
                      <a:pt x="1082" y="219"/>
                    </a:cubicBezTo>
                    <a:cubicBezTo>
                      <a:pt x="1082" y="175"/>
                      <a:pt x="908" y="90"/>
                      <a:pt x="590" y="90"/>
                    </a:cubicBezTo>
                    <a:close/>
                    <a:moveTo>
                      <a:pt x="590" y="0"/>
                    </a:moveTo>
                    <a:cubicBezTo>
                      <a:pt x="870" y="0"/>
                      <a:pt x="1172" y="68"/>
                      <a:pt x="1172" y="219"/>
                    </a:cubicBezTo>
                    <a:cubicBezTo>
                      <a:pt x="1172" y="219"/>
                      <a:pt x="1172" y="219"/>
                      <a:pt x="1172" y="219"/>
                    </a:cubicBezTo>
                    <a:cubicBezTo>
                      <a:pt x="1172" y="1222"/>
                      <a:pt x="1172" y="1222"/>
                      <a:pt x="1172" y="1222"/>
                    </a:cubicBezTo>
                    <a:cubicBezTo>
                      <a:pt x="1082" y="1222"/>
                      <a:pt x="1082" y="1222"/>
                      <a:pt x="1082" y="1222"/>
                    </a:cubicBezTo>
                    <a:cubicBezTo>
                      <a:pt x="1082" y="344"/>
                      <a:pt x="1082" y="344"/>
                      <a:pt x="1082" y="344"/>
                    </a:cubicBezTo>
                    <a:cubicBezTo>
                      <a:pt x="1078" y="346"/>
                      <a:pt x="1078" y="346"/>
                      <a:pt x="1078" y="346"/>
                    </a:cubicBezTo>
                    <a:cubicBezTo>
                      <a:pt x="967" y="409"/>
                      <a:pt x="774" y="439"/>
                      <a:pt x="590" y="439"/>
                    </a:cubicBezTo>
                    <a:cubicBezTo>
                      <a:pt x="398" y="439"/>
                      <a:pt x="204" y="406"/>
                      <a:pt x="93" y="343"/>
                    </a:cubicBezTo>
                    <a:cubicBezTo>
                      <a:pt x="90" y="341"/>
                      <a:pt x="90" y="341"/>
                      <a:pt x="90" y="341"/>
                    </a:cubicBezTo>
                    <a:cubicBezTo>
                      <a:pt x="90" y="1222"/>
                      <a:pt x="90" y="1222"/>
                      <a:pt x="90" y="1222"/>
                    </a:cubicBezTo>
                    <a:cubicBezTo>
                      <a:pt x="0" y="1222"/>
                      <a:pt x="0" y="1222"/>
                      <a:pt x="0" y="1222"/>
                    </a:cubicBezTo>
                    <a:cubicBezTo>
                      <a:pt x="0" y="221"/>
                      <a:pt x="0" y="221"/>
                      <a:pt x="0" y="221"/>
                    </a:cubicBezTo>
                    <a:cubicBezTo>
                      <a:pt x="0" y="219"/>
                      <a:pt x="0" y="219"/>
                      <a:pt x="0" y="219"/>
                    </a:cubicBezTo>
                    <a:cubicBezTo>
                      <a:pt x="0" y="75"/>
                      <a:pt x="297" y="0"/>
                      <a:pt x="59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3" name="TextBox 652"/>
              <p:cNvSpPr txBox="1"/>
              <p:nvPr/>
            </p:nvSpPr>
            <p:spPr>
              <a:xfrm>
                <a:off x="7272310" y="5061276"/>
                <a:ext cx="383610" cy="13136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dirty="0">
                    <a:ln>
                      <a:noFill/>
                    </a:ln>
                    <a:solidFill>
                      <a:srgbClr val="505050"/>
                    </a:solidFill>
                    <a:effectLst/>
                    <a:uLnTx/>
                    <a:uFillTx/>
                    <a:latin typeface="Segoe UI"/>
                    <a:ea typeface="+mn-ea"/>
                    <a:cs typeface="+mn-cs"/>
                  </a:rPr>
                  <a:t>SQL</a:t>
                </a:r>
              </a:p>
            </p:txBody>
          </p:sp>
        </p:grpSp>
        <p:grpSp>
          <p:nvGrpSpPr>
            <p:cNvPr id="642" name="Group 641"/>
            <p:cNvGrpSpPr/>
            <p:nvPr/>
          </p:nvGrpSpPr>
          <p:grpSpPr>
            <a:xfrm>
              <a:off x="7737959" y="4900755"/>
              <a:ext cx="171263" cy="105384"/>
              <a:chOff x="4005484" y="5811960"/>
              <a:chExt cx="315300" cy="194014"/>
            </a:xfrm>
            <a:solidFill>
              <a:schemeClr val="tx1"/>
            </a:solidFill>
          </p:grpSpPr>
          <p:sp>
            <p:nvSpPr>
              <p:cNvPr id="643" name="Freeform 21"/>
              <p:cNvSpPr>
                <a:spLocks noChangeAspect="1" noEditPoints="1"/>
              </p:cNvSpPr>
              <p:nvPr/>
            </p:nvSpPr>
            <p:spPr bwMode="black">
              <a:xfrm>
                <a:off x="4007441" y="5811960"/>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w="28575">
                <a:solidFill>
                  <a:schemeClr val="bg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44" name="Group 643"/>
              <p:cNvGrpSpPr/>
              <p:nvPr/>
            </p:nvGrpSpPr>
            <p:grpSpPr>
              <a:xfrm>
                <a:off x="4005484" y="5811961"/>
                <a:ext cx="315300" cy="194013"/>
                <a:chOff x="5162540" y="3922860"/>
                <a:chExt cx="337921" cy="207933"/>
              </a:xfrm>
              <a:grpFill/>
            </p:grpSpPr>
            <p:sp>
              <p:nvSpPr>
                <p:cNvPr id="645"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6" name="Oval 645"/>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7" name="Oval 646"/>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8" name="Oval 64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Oval 648"/>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0" name="Oval 64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1" name="Oval 650"/>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54" name="TextBox 653"/>
          <p:cNvSpPr txBox="1"/>
          <p:nvPr/>
        </p:nvSpPr>
        <p:spPr>
          <a:xfrm>
            <a:off x="7942422" y="4767417"/>
            <a:ext cx="689858"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SQL Database</a:t>
            </a:r>
          </a:p>
        </p:txBody>
      </p:sp>
      <p:cxnSp>
        <p:nvCxnSpPr>
          <p:cNvPr id="656" name="Straight Arrow Connector 655"/>
          <p:cNvCxnSpPr>
            <a:cxnSpLocks/>
          </p:cNvCxnSpPr>
          <p:nvPr/>
        </p:nvCxnSpPr>
        <p:spPr>
          <a:xfrm flipV="1">
            <a:off x="8284393" y="2698452"/>
            <a:ext cx="0" cy="1711199"/>
          </a:xfrm>
          <a:prstGeom prst="straightConnector1">
            <a:avLst/>
          </a:prstGeom>
          <a:ln w="127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8" name="TextBox 657"/>
          <p:cNvSpPr txBox="1"/>
          <p:nvPr/>
        </p:nvSpPr>
        <p:spPr>
          <a:xfrm>
            <a:off x="8033499" y="3326668"/>
            <a:ext cx="548180" cy="112814"/>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IMO Codes</a:t>
            </a:r>
          </a:p>
        </p:txBody>
      </p:sp>
      <p:cxnSp>
        <p:nvCxnSpPr>
          <p:cNvPr id="667" name="Straight Arrow Connector 666"/>
          <p:cNvCxnSpPr/>
          <p:nvPr/>
        </p:nvCxnSpPr>
        <p:spPr>
          <a:xfrm flipV="1">
            <a:off x="8282481" y="5093066"/>
            <a:ext cx="0" cy="18288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p:cNvGrpSpPr/>
          <p:nvPr/>
        </p:nvGrpSpPr>
        <p:grpSpPr>
          <a:xfrm>
            <a:off x="11146457" y="3650262"/>
            <a:ext cx="538168" cy="563277"/>
            <a:chOff x="10949368" y="4681465"/>
            <a:chExt cx="538168" cy="563277"/>
          </a:xfrm>
        </p:grpSpPr>
        <p:sp>
          <p:nvSpPr>
            <p:cNvPr id="669" name="Freeform 69"/>
            <p:cNvSpPr>
              <a:spLocks noEditPoints="1"/>
            </p:cNvSpPr>
            <p:nvPr/>
          </p:nvSpPr>
          <p:spPr bwMode="auto">
            <a:xfrm>
              <a:off x="11058747" y="4681465"/>
              <a:ext cx="318799" cy="318628"/>
            </a:xfrm>
            <a:custGeom>
              <a:avLst/>
              <a:gdLst>
                <a:gd name="T0" fmla="*/ 911 w 1238"/>
                <a:gd name="T1" fmla="*/ 869 h 1237"/>
                <a:gd name="T2" fmla="*/ 777 w 1238"/>
                <a:gd name="T3" fmla="*/ 1141 h 1237"/>
                <a:gd name="T4" fmla="*/ 1104 w 1238"/>
                <a:gd name="T5" fmla="*/ 869 h 1237"/>
                <a:gd name="T6" fmla="*/ 911 w 1238"/>
                <a:gd name="T7" fmla="*/ 869 h 1237"/>
                <a:gd name="T8" fmla="*/ 406 w 1238"/>
                <a:gd name="T9" fmla="*/ 869 h 1237"/>
                <a:gd name="T10" fmla="*/ 621 w 1238"/>
                <a:gd name="T11" fmla="*/ 1163 h 1237"/>
                <a:gd name="T12" fmla="*/ 836 w 1238"/>
                <a:gd name="T13" fmla="*/ 869 h 1237"/>
                <a:gd name="T14" fmla="*/ 406 w 1238"/>
                <a:gd name="T15" fmla="*/ 869 h 1237"/>
                <a:gd name="T16" fmla="*/ 134 w 1238"/>
                <a:gd name="T17" fmla="*/ 869 h 1237"/>
                <a:gd name="T18" fmla="*/ 479 w 1238"/>
                <a:gd name="T19" fmla="*/ 1146 h 1237"/>
                <a:gd name="T20" fmla="*/ 330 w 1238"/>
                <a:gd name="T21" fmla="*/ 869 h 1237"/>
                <a:gd name="T22" fmla="*/ 134 w 1238"/>
                <a:gd name="T23" fmla="*/ 869 h 1237"/>
                <a:gd name="T24" fmla="*/ 935 w 1238"/>
                <a:gd name="T25" fmla="*/ 481 h 1237"/>
                <a:gd name="T26" fmla="*/ 940 w 1238"/>
                <a:gd name="T27" fmla="*/ 627 h 1237"/>
                <a:gd name="T28" fmla="*/ 925 w 1238"/>
                <a:gd name="T29" fmla="*/ 796 h 1237"/>
                <a:gd name="T30" fmla="*/ 1135 w 1238"/>
                <a:gd name="T31" fmla="*/ 796 h 1237"/>
                <a:gd name="T32" fmla="*/ 1165 w 1238"/>
                <a:gd name="T33" fmla="*/ 619 h 1237"/>
                <a:gd name="T34" fmla="*/ 1147 w 1238"/>
                <a:gd name="T35" fmla="*/ 481 h 1237"/>
                <a:gd name="T36" fmla="*/ 935 w 1238"/>
                <a:gd name="T37" fmla="*/ 481 h 1237"/>
                <a:gd name="T38" fmla="*/ 366 w 1238"/>
                <a:gd name="T39" fmla="*/ 481 h 1237"/>
                <a:gd name="T40" fmla="*/ 364 w 1238"/>
                <a:gd name="T41" fmla="*/ 655 h 1237"/>
                <a:gd name="T42" fmla="*/ 386 w 1238"/>
                <a:gd name="T43" fmla="*/ 796 h 1237"/>
                <a:gd name="T44" fmla="*/ 852 w 1238"/>
                <a:gd name="T45" fmla="*/ 796 h 1237"/>
                <a:gd name="T46" fmla="*/ 868 w 1238"/>
                <a:gd name="T47" fmla="*/ 625 h 1237"/>
                <a:gd name="T48" fmla="*/ 862 w 1238"/>
                <a:gd name="T49" fmla="*/ 481 h 1237"/>
                <a:gd name="T50" fmla="*/ 366 w 1238"/>
                <a:gd name="T51" fmla="*/ 481 h 1237"/>
                <a:gd name="T52" fmla="*/ 91 w 1238"/>
                <a:gd name="T53" fmla="*/ 481 h 1237"/>
                <a:gd name="T54" fmla="*/ 73 w 1238"/>
                <a:gd name="T55" fmla="*/ 619 h 1237"/>
                <a:gd name="T56" fmla="*/ 103 w 1238"/>
                <a:gd name="T57" fmla="*/ 796 h 1237"/>
                <a:gd name="T58" fmla="*/ 312 w 1238"/>
                <a:gd name="T59" fmla="*/ 796 h 1237"/>
                <a:gd name="T60" fmla="*/ 291 w 1238"/>
                <a:gd name="T61" fmla="*/ 662 h 1237"/>
                <a:gd name="T62" fmla="*/ 293 w 1238"/>
                <a:gd name="T63" fmla="*/ 481 h 1237"/>
                <a:gd name="T64" fmla="*/ 91 w 1238"/>
                <a:gd name="T65" fmla="*/ 481 h 1237"/>
                <a:gd name="T66" fmla="*/ 782 w 1238"/>
                <a:gd name="T67" fmla="*/ 99 h 1237"/>
                <a:gd name="T68" fmla="*/ 925 w 1238"/>
                <a:gd name="T69" fmla="*/ 409 h 1237"/>
                <a:gd name="T70" fmla="*/ 1123 w 1238"/>
                <a:gd name="T71" fmla="*/ 409 h 1237"/>
                <a:gd name="T72" fmla="*/ 782 w 1238"/>
                <a:gd name="T73" fmla="*/ 99 h 1237"/>
                <a:gd name="T74" fmla="*/ 485 w 1238"/>
                <a:gd name="T75" fmla="*/ 92 h 1237"/>
                <a:gd name="T76" fmla="*/ 115 w 1238"/>
                <a:gd name="T77" fmla="*/ 409 h 1237"/>
                <a:gd name="T78" fmla="*/ 306 w 1238"/>
                <a:gd name="T79" fmla="*/ 409 h 1237"/>
                <a:gd name="T80" fmla="*/ 485 w 1238"/>
                <a:gd name="T81" fmla="*/ 92 h 1237"/>
                <a:gd name="T82" fmla="*/ 623 w 1238"/>
                <a:gd name="T83" fmla="*/ 77 h 1237"/>
                <a:gd name="T84" fmla="*/ 379 w 1238"/>
                <a:gd name="T85" fmla="*/ 409 h 1237"/>
                <a:gd name="T86" fmla="*/ 852 w 1238"/>
                <a:gd name="T87" fmla="*/ 409 h 1237"/>
                <a:gd name="T88" fmla="*/ 623 w 1238"/>
                <a:gd name="T89" fmla="*/ 77 h 1237"/>
                <a:gd name="T90" fmla="*/ 615 w 1238"/>
                <a:gd name="T91" fmla="*/ 0 h 1237"/>
                <a:gd name="T92" fmla="*/ 624 w 1238"/>
                <a:gd name="T93" fmla="*/ 2 h 1237"/>
                <a:gd name="T94" fmla="*/ 1238 w 1238"/>
                <a:gd name="T95" fmla="*/ 619 h 1237"/>
                <a:gd name="T96" fmla="*/ 624 w 1238"/>
                <a:gd name="T97" fmla="*/ 1237 h 1237"/>
                <a:gd name="T98" fmla="*/ 612 w 1238"/>
                <a:gd name="T99" fmla="*/ 1237 h 1237"/>
                <a:gd name="T100" fmla="*/ 0 w 1238"/>
                <a:gd name="T101" fmla="*/ 619 h 1237"/>
                <a:gd name="T102" fmla="*/ 610 w 1238"/>
                <a:gd name="T103" fmla="*/ 2 h 1237"/>
                <a:gd name="T104" fmla="*/ 615 w 1238"/>
                <a:gd name="T105" fmla="*/ 0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1237">
                  <a:moveTo>
                    <a:pt x="911" y="869"/>
                  </a:moveTo>
                  <a:cubicBezTo>
                    <a:pt x="880" y="1001"/>
                    <a:pt x="828" y="1087"/>
                    <a:pt x="777" y="1141"/>
                  </a:cubicBezTo>
                  <a:cubicBezTo>
                    <a:pt x="920" y="1098"/>
                    <a:pt x="1037" y="999"/>
                    <a:pt x="1104" y="869"/>
                  </a:cubicBezTo>
                  <a:lnTo>
                    <a:pt x="911" y="869"/>
                  </a:lnTo>
                  <a:close/>
                  <a:moveTo>
                    <a:pt x="406" y="869"/>
                  </a:moveTo>
                  <a:cubicBezTo>
                    <a:pt x="473" y="1082"/>
                    <a:pt x="588" y="1148"/>
                    <a:pt x="621" y="1163"/>
                  </a:cubicBezTo>
                  <a:cubicBezTo>
                    <a:pt x="656" y="1152"/>
                    <a:pt x="778" y="1096"/>
                    <a:pt x="836" y="869"/>
                  </a:cubicBezTo>
                  <a:lnTo>
                    <a:pt x="406" y="869"/>
                  </a:lnTo>
                  <a:close/>
                  <a:moveTo>
                    <a:pt x="134" y="869"/>
                  </a:moveTo>
                  <a:cubicBezTo>
                    <a:pt x="204" y="1004"/>
                    <a:pt x="329" y="1106"/>
                    <a:pt x="479" y="1146"/>
                  </a:cubicBezTo>
                  <a:cubicBezTo>
                    <a:pt x="427" y="1091"/>
                    <a:pt x="369" y="1004"/>
                    <a:pt x="330" y="869"/>
                  </a:cubicBezTo>
                  <a:lnTo>
                    <a:pt x="134" y="869"/>
                  </a:lnTo>
                  <a:close/>
                  <a:moveTo>
                    <a:pt x="935" y="481"/>
                  </a:moveTo>
                  <a:cubicBezTo>
                    <a:pt x="939" y="526"/>
                    <a:pt x="942" y="574"/>
                    <a:pt x="940" y="627"/>
                  </a:cubicBezTo>
                  <a:cubicBezTo>
                    <a:pt x="939" y="690"/>
                    <a:pt x="933" y="746"/>
                    <a:pt x="925" y="796"/>
                  </a:cubicBezTo>
                  <a:cubicBezTo>
                    <a:pt x="1135" y="796"/>
                    <a:pt x="1135" y="796"/>
                    <a:pt x="1135" y="796"/>
                  </a:cubicBezTo>
                  <a:cubicBezTo>
                    <a:pt x="1155" y="741"/>
                    <a:pt x="1165" y="681"/>
                    <a:pt x="1165" y="619"/>
                  </a:cubicBezTo>
                  <a:cubicBezTo>
                    <a:pt x="1165" y="572"/>
                    <a:pt x="1159" y="526"/>
                    <a:pt x="1147" y="481"/>
                  </a:cubicBezTo>
                  <a:lnTo>
                    <a:pt x="935" y="481"/>
                  </a:lnTo>
                  <a:close/>
                  <a:moveTo>
                    <a:pt x="366" y="481"/>
                  </a:moveTo>
                  <a:cubicBezTo>
                    <a:pt x="359" y="533"/>
                    <a:pt x="358" y="591"/>
                    <a:pt x="364" y="655"/>
                  </a:cubicBezTo>
                  <a:cubicBezTo>
                    <a:pt x="369" y="707"/>
                    <a:pt x="377" y="754"/>
                    <a:pt x="386" y="796"/>
                  </a:cubicBezTo>
                  <a:cubicBezTo>
                    <a:pt x="852" y="796"/>
                    <a:pt x="852" y="796"/>
                    <a:pt x="852" y="796"/>
                  </a:cubicBezTo>
                  <a:cubicBezTo>
                    <a:pt x="860" y="746"/>
                    <a:pt x="866" y="690"/>
                    <a:pt x="868" y="625"/>
                  </a:cubicBezTo>
                  <a:cubicBezTo>
                    <a:pt x="869" y="572"/>
                    <a:pt x="867" y="525"/>
                    <a:pt x="862" y="481"/>
                  </a:cubicBezTo>
                  <a:lnTo>
                    <a:pt x="366" y="481"/>
                  </a:lnTo>
                  <a:close/>
                  <a:moveTo>
                    <a:pt x="91" y="481"/>
                  </a:moveTo>
                  <a:cubicBezTo>
                    <a:pt x="79" y="526"/>
                    <a:pt x="73" y="572"/>
                    <a:pt x="73" y="619"/>
                  </a:cubicBezTo>
                  <a:cubicBezTo>
                    <a:pt x="73" y="681"/>
                    <a:pt x="84" y="741"/>
                    <a:pt x="103" y="796"/>
                  </a:cubicBezTo>
                  <a:cubicBezTo>
                    <a:pt x="312" y="796"/>
                    <a:pt x="312" y="796"/>
                    <a:pt x="312" y="796"/>
                  </a:cubicBezTo>
                  <a:cubicBezTo>
                    <a:pt x="304" y="755"/>
                    <a:pt x="296" y="711"/>
                    <a:pt x="291" y="662"/>
                  </a:cubicBezTo>
                  <a:cubicBezTo>
                    <a:pt x="285" y="596"/>
                    <a:pt x="286" y="536"/>
                    <a:pt x="293" y="481"/>
                  </a:cubicBezTo>
                  <a:lnTo>
                    <a:pt x="91" y="481"/>
                  </a:lnTo>
                  <a:close/>
                  <a:moveTo>
                    <a:pt x="782" y="99"/>
                  </a:moveTo>
                  <a:cubicBezTo>
                    <a:pt x="841" y="159"/>
                    <a:pt x="899" y="256"/>
                    <a:pt x="925" y="409"/>
                  </a:cubicBezTo>
                  <a:cubicBezTo>
                    <a:pt x="1123" y="409"/>
                    <a:pt x="1123" y="409"/>
                    <a:pt x="1123" y="409"/>
                  </a:cubicBezTo>
                  <a:cubicBezTo>
                    <a:pt x="1061" y="262"/>
                    <a:pt x="936" y="147"/>
                    <a:pt x="782" y="99"/>
                  </a:cubicBezTo>
                  <a:close/>
                  <a:moveTo>
                    <a:pt x="485" y="92"/>
                  </a:moveTo>
                  <a:cubicBezTo>
                    <a:pt x="318" y="134"/>
                    <a:pt x="181" y="253"/>
                    <a:pt x="115" y="409"/>
                  </a:cubicBezTo>
                  <a:cubicBezTo>
                    <a:pt x="306" y="409"/>
                    <a:pt x="306" y="409"/>
                    <a:pt x="306" y="409"/>
                  </a:cubicBezTo>
                  <a:cubicBezTo>
                    <a:pt x="340" y="258"/>
                    <a:pt x="417" y="155"/>
                    <a:pt x="485" y="92"/>
                  </a:cubicBezTo>
                  <a:close/>
                  <a:moveTo>
                    <a:pt x="623" y="77"/>
                  </a:moveTo>
                  <a:cubicBezTo>
                    <a:pt x="579" y="101"/>
                    <a:pt x="433" y="196"/>
                    <a:pt x="379" y="409"/>
                  </a:cubicBezTo>
                  <a:cubicBezTo>
                    <a:pt x="852" y="409"/>
                    <a:pt x="852" y="409"/>
                    <a:pt x="852" y="409"/>
                  </a:cubicBezTo>
                  <a:cubicBezTo>
                    <a:pt x="804" y="159"/>
                    <a:pt x="665" y="92"/>
                    <a:pt x="623" y="77"/>
                  </a:cubicBezTo>
                  <a:close/>
                  <a:moveTo>
                    <a:pt x="615" y="0"/>
                  </a:moveTo>
                  <a:cubicBezTo>
                    <a:pt x="624" y="2"/>
                    <a:pt x="624" y="2"/>
                    <a:pt x="624" y="2"/>
                  </a:cubicBezTo>
                  <a:cubicBezTo>
                    <a:pt x="963" y="5"/>
                    <a:pt x="1238" y="281"/>
                    <a:pt x="1238" y="619"/>
                  </a:cubicBezTo>
                  <a:cubicBezTo>
                    <a:pt x="1238" y="959"/>
                    <a:pt x="963" y="1235"/>
                    <a:pt x="624" y="1237"/>
                  </a:cubicBezTo>
                  <a:cubicBezTo>
                    <a:pt x="612" y="1237"/>
                    <a:pt x="612" y="1237"/>
                    <a:pt x="612" y="1237"/>
                  </a:cubicBezTo>
                  <a:cubicBezTo>
                    <a:pt x="274" y="1233"/>
                    <a:pt x="0" y="958"/>
                    <a:pt x="0" y="619"/>
                  </a:cubicBezTo>
                  <a:cubicBezTo>
                    <a:pt x="0" y="282"/>
                    <a:pt x="273" y="7"/>
                    <a:pt x="610" y="2"/>
                  </a:cubicBezTo>
                  <a:lnTo>
                    <a:pt x="615"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0" name="TextBox 669"/>
            <p:cNvSpPr txBox="1"/>
            <p:nvPr/>
          </p:nvSpPr>
          <p:spPr>
            <a:xfrm>
              <a:off x="10949368" y="5035454"/>
              <a:ext cx="538168"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App Host</a:t>
              </a:r>
            </a:p>
          </p:txBody>
        </p:sp>
      </p:grpSp>
      <p:grpSp>
        <p:nvGrpSpPr>
          <p:cNvPr id="168" name="Group 167"/>
          <p:cNvGrpSpPr/>
          <p:nvPr/>
        </p:nvGrpSpPr>
        <p:grpSpPr>
          <a:xfrm>
            <a:off x="11135840" y="4595038"/>
            <a:ext cx="565840" cy="586157"/>
            <a:chOff x="10619953" y="5249987"/>
            <a:chExt cx="565840" cy="586157"/>
          </a:xfrm>
        </p:grpSpPr>
        <p:sp>
          <p:nvSpPr>
            <p:cNvPr id="671" name="Freeform 9"/>
            <p:cNvSpPr>
              <a:spLocks noEditPoints="1"/>
            </p:cNvSpPr>
            <p:nvPr/>
          </p:nvSpPr>
          <p:spPr bwMode="auto">
            <a:xfrm>
              <a:off x="10776475" y="5249987"/>
              <a:ext cx="251969" cy="320021"/>
            </a:xfrm>
            <a:custGeom>
              <a:avLst/>
              <a:gdLst>
                <a:gd name="T0" fmla="*/ 317 w 634"/>
                <a:gd name="T1" fmla="*/ 0 h 807"/>
                <a:gd name="T2" fmla="*/ 0 w 634"/>
                <a:gd name="T3" fmla="*/ 101 h 807"/>
                <a:gd name="T4" fmla="*/ 0 w 634"/>
                <a:gd name="T5" fmla="*/ 706 h 807"/>
                <a:gd name="T6" fmla="*/ 317 w 634"/>
                <a:gd name="T7" fmla="*/ 807 h 807"/>
                <a:gd name="T8" fmla="*/ 634 w 634"/>
                <a:gd name="T9" fmla="*/ 706 h 807"/>
                <a:gd name="T10" fmla="*/ 634 w 634"/>
                <a:gd name="T11" fmla="*/ 101 h 807"/>
                <a:gd name="T12" fmla="*/ 317 w 634"/>
                <a:gd name="T13" fmla="*/ 0 h 807"/>
                <a:gd name="T14" fmla="*/ 317 w 634"/>
                <a:gd name="T15" fmla="*/ 28 h 807"/>
                <a:gd name="T16" fmla="*/ 605 w 634"/>
                <a:gd name="T17" fmla="*/ 101 h 807"/>
                <a:gd name="T18" fmla="*/ 317 w 634"/>
                <a:gd name="T19" fmla="*/ 173 h 807"/>
                <a:gd name="T20" fmla="*/ 28 w 634"/>
                <a:gd name="T21" fmla="*/ 101 h 807"/>
                <a:gd name="T22" fmla="*/ 317 w 634"/>
                <a:gd name="T23" fmla="*/ 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4" h="807">
                  <a:moveTo>
                    <a:pt x="317" y="0"/>
                  </a:moveTo>
                  <a:cubicBezTo>
                    <a:pt x="121" y="0"/>
                    <a:pt x="0" y="38"/>
                    <a:pt x="0" y="101"/>
                  </a:cubicBezTo>
                  <a:cubicBezTo>
                    <a:pt x="0" y="706"/>
                    <a:pt x="0" y="706"/>
                    <a:pt x="0" y="706"/>
                  </a:cubicBezTo>
                  <a:cubicBezTo>
                    <a:pt x="0" y="768"/>
                    <a:pt x="121" y="807"/>
                    <a:pt x="317" y="807"/>
                  </a:cubicBezTo>
                  <a:cubicBezTo>
                    <a:pt x="512" y="807"/>
                    <a:pt x="634" y="768"/>
                    <a:pt x="634" y="706"/>
                  </a:cubicBezTo>
                  <a:cubicBezTo>
                    <a:pt x="634" y="101"/>
                    <a:pt x="634" y="101"/>
                    <a:pt x="634" y="101"/>
                  </a:cubicBezTo>
                  <a:cubicBezTo>
                    <a:pt x="634" y="38"/>
                    <a:pt x="512" y="0"/>
                    <a:pt x="317" y="0"/>
                  </a:cubicBezTo>
                  <a:close/>
                  <a:moveTo>
                    <a:pt x="317" y="28"/>
                  </a:moveTo>
                  <a:cubicBezTo>
                    <a:pt x="526" y="28"/>
                    <a:pt x="605" y="73"/>
                    <a:pt x="605" y="101"/>
                  </a:cubicBezTo>
                  <a:cubicBezTo>
                    <a:pt x="605" y="128"/>
                    <a:pt x="526" y="173"/>
                    <a:pt x="317" y="173"/>
                  </a:cubicBezTo>
                  <a:cubicBezTo>
                    <a:pt x="107" y="173"/>
                    <a:pt x="28" y="128"/>
                    <a:pt x="28" y="101"/>
                  </a:cubicBezTo>
                  <a:cubicBezTo>
                    <a:pt x="28" y="73"/>
                    <a:pt x="107" y="28"/>
                    <a:pt x="317" y="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2" name="TextBox 671"/>
            <p:cNvSpPr txBox="1"/>
            <p:nvPr/>
          </p:nvSpPr>
          <p:spPr>
            <a:xfrm>
              <a:off x="10619953" y="5626856"/>
              <a:ext cx="565840"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Data Model</a:t>
              </a:r>
            </a:p>
          </p:txBody>
        </p:sp>
      </p:grpSp>
      <p:grpSp>
        <p:nvGrpSpPr>
          <p:cNvPr id="170" name="Group 169"/>
          <p:cNvGrpSpPr/>
          <p:nvPr/>
        </p:nvGrpSpPr>
        <p:grpSpPr>
          <a:xfrm>
            <a:off x="11150391" y="5656942"/>
            <a:ext cx="565840" cy="599329"/>
            <a:chOff x="11338754" y="5236815"/>
            <a:chExt cx="565840" cy="599329"/>
          </a:xfrm>
        </p:grpSpPr>
        <p:grpSp>
          <p:nvGrpSpPr>
            <p:cNvPr id="673" name="Group 672"/>
            <p:cNvGrpSpPr/>
            <p:nvPr/>
          </p:nvGrpSpPr>
          <p:grpSpPr>
            <a:xfrm>
              <a:off x="11465986" y="5236815"/>
              <a:ext cx="311377" cy="362850"/>
              <a:chOff x="2698434" y="2836532"/>
              <a:chExt cx="260862" cy="303984"/>
            </a:xfrm>
            <a:solidFill>
              <a:schemeClr val="tx1"/>
            </a:solidFill>
          </p:grpSpPr>
          <p:sp>
            <p:nvSpPr>
              <p:cNvPr id="674" name="Freeform 113"/>
              <p:cNvSpPr>
                <a:spLocks noEditPoints="1"/>
              </p:cNvSpPr>
              <p:nvPr/>
            </p:nvSpPr>
            <p:spPr bwMode="black">
              <a:xfrm>
                <a:off x="2698434" y="2836532"/>
                <a:ext cx="260862" cy="260862"/>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5" name="Triangle 674"/>
              <p:cNvSpPr/>
              <p:nvPr/>
            </p:nvSpPr>
            <p:spPr bwMode="auto">
              <a:xfrm rot="16200000">
                <a:off x="2755896" y="3024285"/>
                <a:ext cx="124840" cy="10762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76" name="TextBox 675"/>
            <p:cNvSpPr txBox="1"/>
            <p:nvPr/>
          </p:nvSpPr>
          <p:spPr>
            <a:xfrm>
              <a:off x="11338754" y="5626856"/>
              <a:ext cx="565840"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Workflow</a:t>
              </a:r>
            </a:p>
          </p:txBody>
        </p:sp>
      </p:grpSp>
      <p:sp>
        <p:nvSpPr>
          <p:cNvPr id="677" name="TextBox 676"/>
          <p:cNvSpPr txBox="1"/>
          <p:nvPr/>
        </p:nvSpPr>
        <p:spPr>
          <a:xfrm>
            <a:off x="11041695" y="3374002"/>
            <a:ext cx="76523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a:t>
            </a:r>
          </a:p>
        </p:txBody>
      </p:sp>
      <p:grpSp>
        <p:nvGrpSpPr>
          <p:cNvPr id="146" name="Group 145"/>
          <p:cNvGrpSpPr/>
          <p:nvPr/>
        </p:nvGrpSpPr>
        <p:grpSpPr>
          <a:xfrm>
            <a:off x="8915877" y="5923831"/>
            <a:ext cx="911797" cy="425829"/>
            <a:chOff x="8654617" y="5923831"/>
            <a:chExt cx="911797" cy="425829"/>
          </a:xfrm>
        </p:grpSpPr>
        <p:grpSp>
          <p:nvGrpSpPr>
            <p:cNvPr id="678" name="Group 677"/>
            <p:cNvGrpSpPr/>
            <p:nvPr/>
          </p:nvGrpSpPr>
          <p:grpSpPr>
            <a:xfrm>
              <a:off x="8975571" y="5923831"/>
              <a:ext cx="277526" cy="277526"/>
              <a:chOff x="6164871" y="2357893"/>
              <a:chExt cx="388008" cy="388008"/>
            </a:xfrm>
          </p:grpSpPr>
          <p:sp>
            <p:nvSpPr>
              <p:cNvPr id="679" name="Oval 678"/>
              <p:cNvSpPr/>
              <p:nvPr/>
            </p:nvSpPr>
            <p:spPr bwMode="auto">
              <a:xfrm>
                <a:off x="6164871" y="2357893"/>
                <a:ext cx="388008" cy="38800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0" name="Oval 679"/>
              <p:cNvSpPr/>
              <p:nvPr/>
            </p:nvSpPr>
            <p:spPr bwMode="auto">
              <a:xfrm>
                <a:off x="6312201" y="2417073"/>
                <a:ext cx="66480" cy="6648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1" name="Straight Connector 680"/>
              <p:cNvCxnSpPr/>
              <p:nvPr/>
            </p:nvCxnSpPr>
            <p:spPr>
              <a:xfrm>
                <a:off x="6345441" y="2483553"/>
                <a:ext cx="0" cy="21013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2" name="Straight Connector 681"/>
              <p:cNvCxnSpPr/>
              <p:nvPr/>
            </p:nvCxnSpPr>
            <p:spPr>
              <a:xfrm>
                <a:off x="6345441" y="2657372"/>
                <a:ext cx="7186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3" name="Straight Connector 682"/>
              <p:cNvCxnSpPr/>
              <p:nvPr/>
            </p:nvCxnSpPr>
            <p:spPr>
              <a:xfrm>
                <a:off x="6345441" y="2591351"/>
                <a:ext cx="7186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4" name="TextBox 683"/>
            <p:cNvSpPr txBox="1"/>
            <p:nvPr/>
          </p:nvSpPr>
          <p:spPr>
            <a:xfrm>
              <a:off x="8654617" y="6245016"/>
              <a:ext cx="911797" cy="104644"/>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Key Vault</a:t>
              </a:r>
            </a:p>
          </p:txBody>
        </p:sp>
      </p:grpSp>
      <p:cxnSp>
        <p:nvCxnSpPr>
          <p:cNvPr id="686" name="Elbow Connector 685"/>
          <p:cNvCxnSpPr>
            <a:cxnSpLocks/>
          </p:cNvCxnSpPr>
          <p:nvPr/>
        </p:nvCxnSpPr>
        <p:spPr>
          <a:xfrm>
            <a:off x="7633543" y="5738893"/>
            <a:ext cx="1558950" cy="374924"/>
          </a:xfrm>
          <a:prstGeom prst="bentConnector3">
            <a:avLst>
              <a:gd name="adj1" fmla="val -985"/>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87" name="TextBox 686"/>
          <p:cNvSpPr txBox="1"/>
          <p:nvPr/>
        </p:nvSpPr>
        <p:spPr>
          <a:xfrm>
            <a:off x="7929753" y="6046709"/>
            <a:ext cx="626566" cy="121389"/>
          </a:xfrm>
          <a:prstGeom prst="rect">
            <a:avLst/>
          </a:prstGeom>
          <a:solidFill>
            <a:schemeClr val="bg1">
              <a:lumMod val="85000"/>
            </a:schemeClr>
          </a:solidFill>
        </p:spPr>
        <p:txBody>
          <a:bodyPr wrap="square" lIns="0" tIns="0" rIns="0" bIns="0" rtlCol="0">
            <a:noAutofit/>
          </a:bodyPr>
          <a:lstStyle>
            <a:defPPr>
              <a:defRPr lang="en-US"/>
            </a:defPPr>
            <a:lvl1pPr algn="ctr">
              <a:lnSpc>
                <a:spcPct val="90000"/>
              </a:lnSpc>
              <a:spcAft>
                <a:spcPts val="600"/>
              </a:spcAft>
              <a:defRPr sz="8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Encryption Key</a:t>
            </a:r>
          </a:p>
        </p:txBody>
      </p:sp>
      <p:sp>
        <p:nvSpPr>
          <p:cNvPr id="724" name="TextBox 723"/>
          <p:cNvSpPr txBox="1"/>
          <p:nvPr/>
        </p:nvSpPr>
        <p:spPr>
          <a:xfrm>
            <a:off x="8756164" y="4669319"/>
            <a:ext cx="498002" cy="313932"/>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pp Service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Rest API</a:t>
            </a:r>
          </a:p>
        </p:txBody>
      </p:sp>
      <p:sp>
        <p:nvSpPr>
          <p:cNvPr id="727" name="TextBox 726"/>
          <p:cNvSpPr txBox="1"/>
          <p:nvPr/>
        </p:nvSpPr>
        <p:spPr>
          <a:xfrm>
            <a:off x="9383429" y="4674937"/>
            <a:ext cx="635577" cy="104644"/>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PI </a:t>
            </a:r>
            <a:r>
              <a:rPr kumimoji="0" lang="en-US" sz="800" b="0" i="0" u="none" strike="noStrike" kern="1200" cap="none" spc="0" normalizeH="0" baseline="0" noProof="0" dirty="0" err="1">
                <a:ln>
                  <a:noFill/>
                </a:ln>
                <a:solidFill>
                  <a:srgbClr val="505050"/>
                </a:solidFill>
                <a:effectLst/>
                <a:uLnTx/>
                <a:uFillTx/>
                <a:latin typeface="Segoe UI"/>
                <a:ea typeface="+mn-ea"/>
                <a:cs typeface="+mn-cs"/>
              </a:rPr>
              <a:t>Mgmt</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29" name="Straight Arrow Connector 728"/>
          <p:cNvCxnSpPr/>
          <p:nvPr/>
        </p:nvCxnSpPr>
        <p:spPr>
          <a:xfrm flipH="1">
            <a:off x="8430001" y="4491693"/>
            <a:ext cx="378591"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0" name="Straight Arrow Connector 729"/>
          <p:cNvCxnSpPr>
            <a:cxnSpLocks/>
          </p:cNvCxnSpPr>
          <p:nvPr/>
        </p:nvCxnSpPr>
        <p:spPr>
          <a:xfrm flipH="1">
            <a:off x="9176544" y="4491693"/>
            <a:ext cx="343591"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32" name="Group 731"/>
          <p:cNvGrpSpPr/>
          <p:nvPr/>
        </p:nvGrpSpPr>
        <p:grpSpPr>
          <a:xfrm>
            <a:off x="9243220" y="5170211"/>
            <a:ext cx="267541" cy="258477"/>
            <a:chOff x="8321040" y="876186"/>
            <a:chExt cx="653061" cy="630936"/>
          </a:xfrm>
          <a:solidFill>
            <a:schemeClr val="tx1"/>
          </a:solidFill>
        </p:grpSpPr>
        <p:sp>
          <p:nvSpPr>
            <p:cNvPr id="733" name="Oval 732"/>
            <p:cNvSpPr/>
            <p:nvPr/>
          </p:nvSpPr>
          <p:spPr bwMode="auto">
            <a:xfrm>
              <a:off x="8321040"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4" name="Oval 733"/>
            <p:cNvSpPr/>
            <p:nvPr/>
          </p:nvSpPr>
          <p:spPr bwMode="auto">
            <a:xfrm>
              <a:off x="8800365"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5" name="Oval 734"/>
            <p:cNvSpPr/>
            <p:nvPr/>
          </p:nvSpPr>
          <p:spPr bwMode="auto">
            <a:xfrm>
              <a:off x="8559805" y="13333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6" name="Oval 735"/>
            <p:cNvSpPr/>
            <p:nvPr/>
          </p:nvSpPr>
          <p:spPr bwMode="auto">
            <a:xfrm>
              <a:off x="8559805" y="8761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7" name="Straight Connector 736"/>
            <p:cNvCxnSpPr>
              <a:endCxn id="734" idx="5"/>
            </p:cNvCxnSpPr>
            <p:nvPr/>
          </p:nvCxnSpPr>
          <p:spPr>
            <a:xfrm>
              <a:off x="8585200" y="898525"/>
              <a:ext cx="363458" cy="438944"/>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8" name="Straight Connector 737"/>
            <p:cNvCxnSpPr>
              <a:stCxn id="736" idx="7"/>
              <a:endCxn id="733" idx="3"/>
            </p:cNvCxnSpPr>
            <p:nvPr/>
          </p:nvCxnSpPr>
          <p:spPr>
            <a:xfrm flipH="1">
              <a:off x="8346483" y="901629"/>
              <a:ext cx="361615" cy="4358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9" name="Straight Connector 738"/>
            <p:cNvCxnSpPr>
              <a:stCxn id="736" idx="0"/>
              <a:endCxn id="735" idx="0"/>
            </p:cNvCxnSpPr>
            <p:nvPr/>
          </p:nvCxnSpPr>
          <p:spPr>
            <a:xfrm>
              <a:off x="8646673" y="876186"/>
              <a:ext cx="0" cy="4572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0" name="Straight Connector 739"/>
            <p:cNvCxnSpPr>
              <a:stCxn id="734" idx="7"/>
              <a:endCxn id="735" idx="3"/>
            </p:cNvCxnSpPr>
            <p:nvPr/>
          </p:nvCxnSpPr>
          <p:spPr>
            <a:xfrm flipH="1">
              <a:off x="8585248" y="1214619"/>
              <a:ext cx="363410"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1" name="Straight Connector 740"/>
            <p:cNvCxnSpPr>
              <a:endCxn id="735" idx="5"/>
            </p:cNvCxnSpPr>
            <p:nvPr/>
          </p:nvCxnSpPr>
          <p:spPr>
            <a:xfrm>
              <a:off x="8346483" y="1214619"/>
              <a:ext cx="361615"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42" name="TextBox 741"/>
          <p:cNvSpPr txBox="1"/>
          <p:nvPr/>
        </p:nvSpPr>
        <p:spPr>
          <a:xfrm>
            <a:off x="8841565" y="5440831"/>
            <a:ext cx="1100240" cy="3185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Active </a:t>
            </a:r>
            <a:br>
              <a:rPr kumimoji="0" lang="en-US" sz="800" b="0" i="0" u="none" strike="noStrike" kern="1200" cap="none" spc="0" normalizeH="0" baseline="0" noProof="0" dirty="0">
                <a:ln>
                  <a:noFill/>
                </a:ln>
                <a:solidFill>
                  <a:srgbClr val="505050"/>
                </a:solidFill>
                <a:effectLst/>
                <a:uLnTx/>
                <a:uFillTx/>
                <a:latin typeface="Segoe UI"/>
                <a:ea typeface="+mn-ea"/>
                <a:cs typeface="+mn-cs"/>
              </a:rPr>
            </a:br>
            <a:r>
              <a:rPr kumimoji="0" lang="en-US" sz="800" b="0" i="0" u="none" strike="noStrike" kern="1200" cap="none" spc="0" normalizeH="0" baseline="0" noProof="0" dirty="0">
                <a:ln>
                  <a:noFill/>
                </a:ln>
                <a:solidFill>
                  <a:srgbClr val="505050"/>
                </a:solidFill>
                <a:effectLst/>
                <a:uLnTx/>
                <a:uFillTx/>
                <a:latin typeface="Segoe UI"/>
                <a:ea typeface="+mn-ea"/>
                <a:cs typeface="+mn-cs"/>
              </a:rPr>
              <a:t>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2C6"/>
                </a:solidFill>
                <a:effectLst/>
                <a:uLnTx/>
                <a:uFillTx/>
                <a:latin typeface="Segoe UI"/>
                <a:ea typeface="+mn-ea"/>
                <a:cs typeface="+mn-cs"/>
              </a:rPr>
              <a:t>Customer.onmicrosoft.com</a:t>
            </a:r>
          </a:p>
        </p:txBody>
      </p:sp>
      <p:cxnSp>
        <p:nvCxnSpPr>
          <p:cNvPr id="744" name="Elbow Connector 743"/>
          <p:cNvCxnSpPr>
            <a:cxnSpLocks/>
          </p:cNvCxnSpPr>
          <p:nvPr/>
        </p:nvCxnSpPr>
        <p:spPr>
          <a:xfrm rot="16200000" flipH="1">
            <a:off x="8913725" y="5058877"/>
            <a:ext cx="365760" cy="182880"/>
          </a:xfrm>
          <a:prstGeom prst="bentConnector2">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47" name="Group 746"/>
          <p:cNvGrpSpPr/>
          <p:nvPr/>
        </p:nvGrpSpPr>
        <p:grpSpPr>
          <a:xfrm>
            <a:off x="10456469" y="5726523"/>
            <a:ext cx="267541" cy="258477"/>
            <a:chOff x="8321040" y="876186"/>
            <a:chExt cx="653061" cy="630936"/>
          </a:xfrm>
          <a:solidFill>
            <a:schemeClr val="tx1"/>
          </a:solidFill>
        </p:grpSpPr>
        <p:sp>
          <p:nvSpPr>
            <p:cNvPr id="748" name="Oval 747"/>
            <p:cNvSpPr/>
            <p:nvPr/>
          </p:nvSpPr>
          <p:spPr bwMode="auto">
            <a:xfrm>
              <a:off x="8321040"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9" name="Oval 748"/>
            <p:cNvSpPr/>
            <p:nvPr/>
          </p:nvSpPr>
          <p:spPr bwMode="auto">
            <a:xfrm>
              <a:off x="8800365" y="118917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0" name="Oval 749"/>
            <p:cNvSpPr/>
            <p:nvPr/>
          </p:nvSpPr>
          <p:spPr bwMode="auto">
            <a:xfrm>
              <a:off x="8559805" y="13333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Oval 750"/>
            <p:cNvSpPr/>
            <p:nvPr/>
          </p:nvSpPr>
          <p:spPr bwMode="auto">
            <a:xfrm>
              <a:off x="8559805" y="876186"/>
              <a:ext cx="173736" cy="173736"/>
            </a:xfrm>
            <a:prstGeom prst="ellipse">
              <a:avLst/>
            </a:prstGeom>
            <a:grp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52" name="Straight Connector 751"/>
            <p:cNvCxnSpPr>
              <a:endCxn id="749" idx="5"/>
            </p:cNvCxnSpPr>
            <p:nvPr/>
          </p:nvCxnSpPr>
          <p:spPr>
            <a:xfrm>
              <a:off x="8585200" y="898525"/>
              <a:ext cx="363458" cy="438944"/>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3" name="Straight Connector 752"/>
            <p:cNvCxnSpPr>
              <a:stCxn id="751" idx="7"/>
              <a:endCxn id="748" idx="3"/>
            </p:cNvCxnSpPr>
            <p:nvPr/>
          </p:nvCxnSpPr>
          <p:spPr>
            <a:xfrm flipH="1">
              <a:off x="8346483" y="901629"/>
              <a:ext cx="361615" cy="43584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4" name="Straight Connector 753"/>
            <p:cNvCxnSpPr>
              <a:stCxn id="751" idx="0"/>
              <a:endCxn id="750" idx="0"/>
            </p:cNvCxnSpPr>
            <p:nvPr/>
          </p:nvCxnSpPr>
          <p:spPr>
            <a:xfrm>
              <a:off x="8646673" y="876186"/>
              <a:ext cx="0" cy="45720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5" name="Straight Connector 754"/>
            <p:cNvCxnSpPr>
              <a:stCxn id="749" idx="7"/>
              <a:endCxn id="750" idx="3"/>
            </p:cNvCxnSpPr>
            <p:nvPr/>
          </p:nvCxnSpPr>
          <p:spPr>
            <a:xfrm flipH="1">
              <a:off x="8585248" y="1214619"/>
              <a:ext cx="363410"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6" name="Straight Connector 755"/>
            <p:cNvCxnSpPr>
              <a:endCxn id="750" idx="5"/>
            </p:cNvCxnSpPr>
            <p:nvPr/>
          </p:nvCxnSpPr>
          <p:spPr>
            <a:xfrm>
              <a:off x="8346483" y="1214619"/>
              <a:ext cx="361615" cy="267060"/>
            </a:xfrm>
            <a:prstGeom prst="line">
              <a:avLst/>
            </a:prstGeom>
            <a:grpFill/>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57" name="TextBox 756"/>
          <p:cNvSpPr txBox="1"/>
          <p:nvPr/>
        </p:nvSpPr>
        <p:spPr>
          <a:xfrm>
            <a:off x="10235589" y="6025395"/>
            <a:ext cx="705861" cy="313932"/>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2C6"/>
                </a:solidFill>
                <a:effectLst/>
                <a:uLnTx/>
                <a:uFillTx/>
                <a:latin typeface="Segoe UI"/>
                <a:ea typeface="+mn-ea"/>
                <a:cs typeface="+mn-cs"/>
              </a:rPr>
              <a:t>Customer.com</a:t>
            </a:r>
          </a:p>
        </p:txBody>
      </p:sp>
      <p:grpSp>
        <p:nvGrpSpPr>
          <p:cNvPr id="766" name="Group 765"/>
          <p:cNvGrpSpPr/>
          <p:nvPr/>
        </p:nvGrpSpPr>
        <p:grpSpPr>
          <a:xfrm>
            <a:off x="10492056" y="4278117"/>
            <a:ext cx="194689" cy="365695"/>
            <a:chOff x="9119438" y="3327911"/>
            <a:chExt cx="1373676" cy="2580253"/>
          </a:xfrm>
          <a:solidFill>
            <a:schemeClr val="tx1"/>
          </a:solidFill>
        </p:grpSpPr>
        <p:sp>
          <p:nvSpPr>
            <p:cNvPr id="767" name="Freeform 13"/>
            <p:cNvSpPr>
              <a:spLocks noChangeAspect="1" noEditPoints="1"/>
            </p:cNvSpPr>
            <p:nvPr/>
          </p:nvSpPr>
          <p:spPr bwMode="black">
            <a:xfrm>
              <a:off x="9119438" y="3327911"/>
              <a:ext cx="1373676" cy="2580253"/>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8" name="Rectangle 767"/>
            <p:cNvSpPr/>
            <p:nvPr/>
          </p:nvSpPr>
          <p:spPr bwMode="auto">
            <a:xfrm>
              <a:off x="9686259" y="4640898"/>
              <a:ext cx="246122" cy="83635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Rectangle 768"/>
            <p:cNvSpPr/>
            <p:nvPr/>
          </p:nvSpPr>
          <p:spPr bwMode="auto">
            <a:xfrm>
              <a:off x="9336024" y="4798162"/>
              <a:ext cx="246122" cy="67909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0" name="Rectangle 769"/>
            <p:cNvSpPr/>
            <p:nvPr/>
          </p:nvSpPr>
          <p:spPr bwMode="auto">
            <a:xfrm>
              <a:off x="10036493" y="4480560"/>
              <a:ext cx="246122" cy="99669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1" name="Group 770"/>
            <p:cNvGrpSpPr/>
            <p:nvPr/>
          </p:nvGrpSpPr>
          <p:grpSpPr>
            <a:xfrm>
              <a:off x="9331264" y="3725785"/>
              <a:ext cx="951353" cy="811757"/>
              <a:chOff x="9331264" y="3725785"/>
              <a:chExt cx="951353" cy="811757"/>
            </a:xfrm>
            <a:grpFill/>
          </p:grpSpPr>
          <p:sp>
            <p:nvSpPr>
              <p:cNvPr id="772" name="Rounded Rectangle 771"/>
              <p:cNvSpPr/>
              <p:nvPr/>
            </p:nvSpPr>
            <p:spPr bwMode="auto">
              <a:xfrm>
                <a:off x="9331264" y="3725785"/>
                <a:ext cx="951353" cy="661726"/>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3" name="Triangle 772"/>
              <p:cNvSpPr/>
              <p:nvPr/>
            </p:nvSpPr>
            <p:spPr bwMode="auto">
              <a:xfrm rot="10800000" flipH="1">
                <a:off x="9522041" y="4369104"/>
                <a:ext cx="176606" cy="168438"/>
              </a:xfrm>
              <a:prstGeom prst="triangle">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74" name="TextBox 773"/>
          <p:cNvSpPr txBox="1"/>
          <p:nvPr/>
        </p:nvSpPr>
        <p:spPr>
          <a:xfrm>
            <a:off x="10310466" y="4697894"/>
            <a:ext cx="550318" cy="20928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Ext Application</a:t>
            </a:r>
          </a:p>
        </p:txBody>
      </p:sp>
      <p:cxnSp>
        <p:nvCxnSpPr>
          <p:cNvPr id="776" name="Straight Arrow Connector 775"/>
          <p:cNvCxnSpPr/>
          <p:nvPr/>
        </p:nvCxnSpPr>
        <p:spPr>
          <a:xfrm flipH="1">
            <a:off x="10755313" y="4466194"/>
            <a:ext cx="32903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8" name="Straight Arrow Connector 777"/>
          <p:cNvCxnSpPr>
            <a:cxnSpLocks/>
          </p:cNvCxnSpPr>
          <p:nvPr/>
        </p:nvCxnSpPr>
        <p:spPr>
          <a:xfrm>
            <a:off x="9908859" y="4479902"/>
            <a:ext cx="547610"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3" name="Group 152"/>
          <p:cNvGrpSpPr/>
          <p:nvPr/>
        </p:nvGrpSpPr>
        <p:grpSpPr>
          <a:xfrm>
            <a:off x="9915789" y="5146895"/>
            <a:ext cx="431126" cy="415810"/>
            <a:chOff x="9654529" y="5109828"/>
            <a:chExt cx="431126" cy="415810"/>
          </a:xfrm>
        </p:grpSpPr>
        <p:sp>
          <p:nvSpPr>
            <p:cNvPr id="779" name="Freeform 48"/>
            <p:cNvSpPr>
              <a:spLocks noChangeAspect="1"/>
            </p:cNvSpPr>
            <p:nvPr/>
          </p:nvSpPr>
          <p:spPr bwMode="black">
            <a:xfrm>
              <a:off x="9712064" y="5109828"/>
              <a:ext cx="320429" cy="28126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TextBox 779"/>
            <p:cNvSpPr txBox="1"/>
            <p:nvPr/>
          </p:nvSpPr>
          <p:spPr>
            <a:xfrm>
              <a:off x="9654529" y="5428688"/>
              <a:ext cx="431126" cy="96950"/>
            </a:xfrm>
            <a:prstGeom prst="rect">
              <a:avLst/>
            </a:prstGeom>
            <a:solidFill>
              <a:schemeClr val="bg1"/>
            </a:solidFill>
          </p:spPr>
          <p:txBody>
            <a:bodyPr wrap="square" lIns="0" tIns="0" rIns="0" bIns="0" rtlCol="0">
              <a:noAutofit/>
            </a:bodyPr>
            <a:lstStyle>
              <a:defPPr>
                <a:defRPr lang="en-US"/>
              </a:defPPr>
              <a:lvl1pPr algn="ctr">
                <a:lnSpc>
                  <a:spcPct val="90000"/>
                </a:lnSpc>
                <a:spcAft>
                  <a:spcPts val="600"/>
                </a:spcAft>
                <a:defRPr sz="8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Account</a:t>
              </a:r>
            </a:p>
          </p:txBody>
        </p:sp>
      </p:grpSp>
      <p:cxnSp>
        <p:nvCxnSpPr>
          <p:cNvPr id="782" name="Elbow Connector 781"/>
          <p:cNvCxnSpPr>
            <a:cxnSpLocks/>
          </p:cNvCxnSpPr>
          <p:nvPr/>
        </p:nvCxnSpPr>
        <p:spPr>
          <a:xfrm rot="5400000">
            <a:off x="10219865" y="4949972"/>
            <a:ext cx="457200" cy="274320"/>
          </a:xfrm>
          <a:prstGeom prst="bentConnector3">
            <a:avLst>
              <a:gd name="adj1" fmla="val 102928"/>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84" name="TextBox 783"/>
          <p:cNvSpPr txBox="1"/>
          <p:nvPr/>
        </p:nvSpPr>
        <p:spPr>
          <a:xfrm>
            <a:off x="10411014" y="5038375"/>
            <a:ext cx="322754" cy="91103"/>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786" name="Straight Arrow Connector 785"/>
          <p:cNvCxnSpPr>
            <a:cxnSpLocks/>
          </p:cNvCxnSpPr>
          <p:nvPr/>
        </p:nvCxnSpPr>
        <p:spPr>
          <a:xfrm>
            <a:off x="10595151" y="5333197"/>
            <a:ext cx="0" cy="354232"/>
          </a:xfrm>
          <a:prstGeom prst="straightConnector1">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8" name="Straight Arrow Connector 787"/>
          <p:cNvCxnSpPr/>
          <p:nvPr/>
        </p:nvCxnSpPr>
        <p:spPr>
          <a:xfrm flipH="1">
            <a:off x="9531637" y="5341094"/>
            <a:ext cx="365760" cy="0"/>
          </a:xfrm>
          <a:prstGeom prst="straightConnector1">
            <a:avLst/>
          </a:prstGeom>
          <a:ln w="12700">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3" name="Elbow Connector 792"/>
          <p:cNvCxnSpPr/>
          <p:nvPr/>
        </p:nvCxnSpPr>
        <p:spPr>
          <a:xfrm rot="16200000" flipH="1">
            <a:off x="5100423" y="3763004"/>
            <a:ext cx="1463040" cy="640080"/>
          </a:xfrm>
          <a:prstGeom prst="bentConnector3">
            <a:avLst>
              <a:gd name="adj1" fmla="val 99630"/>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96" name="TextBox 795"/>
          <p:cNvSpPr txBox="1"/>
          <p:nvPr/>
        </p:nvSpPr>
        <p:spPr>
          <a:xfrm>
            <a:off x="5278414" y="3811480"/>
            <a:ext cx="487618" cy="202840"/>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Geo Location</a:t>
            </a:r>
          </a:p>
        </p:txBody>
      </p:sp>
      <p:cxnSp>
        <p:nvCxnSpPr>
          <p:cNvPr id="801" name="Straight Arrow Connector 800"/>
          <p:cNvCxnSpPr>
            <a:cxnSpLocks/>
          </p:cNvCxnSpPr>
          <p:nvPr/>
        </p:nvCxnSpPr>
        <p:spPr>
          <a:xfrm>
            <a:off x="6234764" y="5443923"/>
            <a:ext cx="11852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3" name="TextBox 502"/>
          <p:cNvSpPr txBox="1"/>
          <p:nvPr/>
        </p:nvSpPr>
        <p:spPr>
          <a:xfrm>
            <a:off x="8894098" y="5082433"/>
            <a:ext cx="241390" cy="75267"/>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15" name="Group 114"/>
          <p:cNvGrpSpPr/>
          <p:nvPr/>
        </p:nvGrpSpPr>
        <p:grpSpPr>
          <a:xfrm>
            <a:off x="9542033" y="4346249"/>
            <a:ext cx="345757" cy="277254"/>
            <a:chOff x="8859713" y="4240919"/>
            <a:chExt cx="345757" cy="277254"/>
          </a:xfrm>
        </p:grpSpPr>
        <p:grpSp>
          <p:nvGrpSpPr>
            <p:cNvPr id="110" name="Group 109"/>
            <p:cNvGrpSpPr/>
            <p:nvPr/>
          </p:nvGrpSpPr>
          <p:grpSpPr>
            <a:xfrm>
              <a:off x="8859713" y="4240919"/>
              <a:ext cx="345757" cy="236992"/>
              <a:chOff x="8859713" y="4240919"/>
              <a:chExt cx="345757" cy="236992"/>
            </a:xfrm>
          </p:grpSpPr>
          <p:sp>
            <p:nvSpPr>
              <p:cNvPr id="531" name="Freeform 21"/>
              <p:cNvSpPr>
                <a:spLocks noChangeAspect="1" noEditPoints="1"/>
              </p:cNvSpPr>
              <p:nvPr/>
            </p:nvSpPr>
            <p:spPr bwMode="black">
              <a:xfrm>
                <a:off x="8859713" y="4240919"/>
                <a:ext cx="345757" cy="21543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Oval 108"/>
              <p:cNvSpPr/>
              <p:nvPr/>
            </p:nvSpPr>
            <p:spPr bwMode="auto">
              <a:xfrm>
                <a:off x="8959776" y="4415449"/>
                <a:ext cx="62462" cy="6246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3" name="Block Arc 112"/>
            <p:cNvSpPr/>
            <p:nvPr/>
          </p:nvSpPr>
          <p:spPr bwMode="auto">
            <a:xfrm rot="3564871">
              <a:off x="8916932" y="4369610"/>
              <a:ext cx="148563" cy="148563"/>
            </a:xfrm>
            <a:prstGeom prst="blockArc">
              <a:avLst>
                <a:gd name="adj1" fmla="val 10800000"/>
                <a:gd name="adj2" fmla="val 3946355"/>
                <a:gd name="adj3" fmla="val 1397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6" name="Group 115"/>
          <p:cNvGrpSpPr/>
          <p:nvPr/>
        </p:nvGrpSpPr>
        <p:grpSpPr>
          <a:xfrm>
            <a:off x="8868959" y="4371623"/>
            <a:ext cx="275263" cy="271132"/>
            <a:chOff x="8342954" y="4714894"/>
            <a:chExt cx="275263" cy="271132"/>
          </a:xfrm>
        </p:grpSpPr>
        <p:grpSp>
          <p:nvGrpSpPr>
            <p:cNvPr id="709" name="Group 708"/>
            <p:cNvGrpSpPr/>
            <p:nvPr/>
          </p:nvGrpSpPr>
          <p:grpSpPr>
            <a:xfrm>
              <a:off x="8342954" y="4714894"/>
              <a:ext cx="275263" cy="271132"/>
              <a:chOff x="6746789" y="3838377"/>
              <a:chExt cx="971013" cy="956441"/>
            </a:xfrm>
            <a:solidFill>
              <a:schemeClr val="tx1"/>
            </a:solidFill>
          </p:grpSpPr>
          <p:sp>
            <p:nvSpPr>
              <p:cNvPr id="720" name="Rectangle 719"/>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1" name="Rectangle 720"/>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2" name="Rectangle 721"/>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6" name="Group 535"/>
            <p:cNvGrpSpPr/>
            <p:nvPr/>
          </p:nvGrpSpPr>
          <p:grpSpPr>
            <a:xfrm>
              <a:off x="8382106" y="4790162"/>
              <a:ext cx="186511" cy="114768"/>
              <a:chOff x="4005484" y="5811957"/>
              <a:chExt cx="315300" cy="194017"/>
            </a:xfrm>
            <a:solidFill>
              <a:schemeClr val="bg1"/>
            </a:solidFill>
          </p:grpSpPr>
          <p:sp>
            <p:nvSpPr>
              <p:cNvPr id="537"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39" name="Group 538"/>
              <p:cNvGrpSpPr/>
              <p:nvPr/>
            </p:nvGrpSpPr>
            <p:grpSpPr>
              <a:xfrm>
                <a:off x="4005484" y="5811961"/>
                <a:ext cx="315300" cy="194013"/>
                <a:chOff x="5162540" y="3922860"/>
                <a:chExt cx="337921" cy="207933"/>
              </a:xfrm>
              <a:grpFill/>
            </p:grpSpPr>
            <p:sp>
              <p:nvSpPr>
                <p:cNvPr id="540"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1" name="Oval 540"/>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4" name="Oval 543"/>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8" name="Oval 54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9" name="Oval 548"/>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0" name="Oval 54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2" name="Oval 551"/>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 name="Group 5"/>
          <p:cNvGrpSpPr/>
          <p:nvPr/>
        </p:nvGrpSpPr>
        <p:grpSpPr>
          <a:xfrm>
            <a:off x="2179318" y="4295738"/>
            <a:ext cx="1097068" cy="270562"/>
            <a:chOff x="2163242" y="4257638"/>
            <a:chExt cx="1097068" cy="270562"/>
          </a:xfrm>
        </p:grpSpPr>
        <p:sp>
          <p:nvSpPr>
            <p:cNvPr id="245" name="TextBox 244"/>
            <p:cNvSpPr txBox="1"/>
            <p:nvPr/>
          </p:nvSpPr>
          <p:spPr>
            <a:xfrm>
              <a:off x="2459219" y="4306601"/>
              <a:ext cx="801091"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ustomer DC Message Bridge</a:t>
              </a:r>
            </a:p>
          </p:txBody>
        </p:sp>
        <p:sp>
          <p:nvSpPr>
            <p:cNvPr id="127" name="Freeform 5"/>
            <p:cNvSpPr>
              <a:spLocks noEditPoints="1"/>
            </p:cNvSpPr>
            <p:nvPr/>
          </p:nvSpPr>
          <p:spPr bwMode="auto">
            <a:xfrm>
              <a:off x="2163242" y="4257638"/>
              <a:ext cx="249382" cy="249382"/>
            </a:xfrm>
            <a:custGeom>
              <a:avLst/>
              <a:gdLst>
                <a:gd name="T0" fmla="*/ 689 w 848"/>
                <a:gd name="T1" fmla="*/ 795 h 848"/>
                <a:gd name="T2" fmla="*/ 769 w 848"/>
                <a:gd name="T3" fmla="*/ 689 h 848"/>
                <a:gd name="T4" fmla="*/ 557 w 848"/>
                <a:gd name="T5" fmla="*/ 689 h 848"/>
                <a:gd name="T6" fmla="*/ 663 w 848"/>
                <a:gd name="T7" fmla="*/ 795 h 848"/>
                <a:gd name="T8" fmla="*/ 557 w 848"/>
                <a:gd name="T9" fmla="*/ 689 h 848"/>
                <a:gd name="T10" fmla="*/ 424 w 848"/>
                <a:gd name="T11" fmla="*/ 795 h 848"/>
                <a:gd name="T12" fmla="*/ 530 w 848"/>
                <a:gd name="T13" fmla="*/ 689 h 848"/>
                <a:gd name="T14" fmla="*/ 318 w 848"/>
                <a:gd name="T15" fmla="*/ 689 h 848"/>
                <a:gd name="T16" fmla="*/ 398 w 848"/>
                <a:gd name="T17" fmla="*/ 795 h 848"/>
                <a:gd name="T18" fmla="*/ 318 w 848"/>
                <a:gd name="T19" fmla="*/ 689 h 848"/>
                <a:gd name="T20" fmla="*/ 557 w 848"/>
                <a:gd name="T21" fmla="*/ 663 h 848"/>
                <a:gd name="T22" fmla="*/ 769 w 848"/>
                <a:gd name="T23" fmla="*/ 583 h 848"/>
                <a:gd name="T24" fmla="*/ 318 w 848"/>
                <a:gd name="T25" fmla="*/ 583 h 848"/>
                <a:gd name="T26" fmla="*/ 530 w 848"/>
                <a:gd name="T27" fmla="*/ 663 h 848"/>
                <a:gd name="T28" fmla="*/ 318 w 848"/>
                <a:gd name="T29" fmla="*/ 583 h 848"/>
                <a:gd name="T30" fmla="*/ 557 w 848"/>
                <a:gd name="T31" fmla="*/ 557 h 848"/>
                <a:gd name="T32" fmla="*/ 769 w 848"/>
                <a:gd name="T33" fmla="*/ 477 h 848"/>
                <a:gd name="T34" fmla="*/ 318 w 848"/>
                <a:gd name="T35" fmla="*/ 477 h 848"/>
                <a:gd name="T36" fmla="*/ 530 w 848"/>
                <a:gd name="T37" fmla="*/ 557 h 848"/>
                <a:gd name="T38" fmla="*/ 318 w 848"/>
                <a:gd name="T39" fmla="*/ 477 h 848"/>
                <a:gd name="T40" fmla="*/ 557 w 848"/>
                <a:gd name="T41" fmla="*/ 450 h 848"/>
                <a:gd name="T42" fmla="*/ 769 w 848"/>
                <a:gd name="T43" fmla="*/ 371 h 848"/>
                <a:gd name="T44" fmla="*/ 318 w 848"/>
                <a:gd name="T45" fmla="*/ 371 h 848"/>
                <a:gd name="T46" fmla="*/ 530 w 848"/>
                <a:gd name="T47" fmla="*/ 450 h 848"/>
                <a:gd name="T48" fmla="*/ 318 w 848"/>
                <a:gd name="T49" fmla="*/ 371 h 848"/>
                <a:gd name="T50" fmla="*/ 557 w 848"/>
                <a:gd name="T51" fmla="*/ 344 h 848"/>
                <a:gd name="T52" fmla="*/ 769 w 848"/>
                <a:gd name="T53" fmla="*/ 265 h 848"/>
                <a:gd name="T54" fmla="*/ 318 w 848"/>
                <a:gd name="T55" fmla="*/ 265 h 848"/>
                <a:gd name="T56" fmla="*/ 530 w 848"/>
                <a:gd name="T57" fmla="*/ 344 h 848"/>
                <a:gd name="T58" fmla="*/ 318 w 848"/>
                <a:gd name="T59" fmla="*/ 265 h 848"/>
                <a:gd name="T60" fmla="*/ 557 w 848"/>
                <a:gd name="T61" fmla="*/ 238 h 848"/>
                <a:gd name="T62" fmla="*/ 769 w 848"/>
                <a:gd name="T63" fmla="*/ 159 h 848"/>
                <a:gd name="T64" fmla="*/ 318 w 848"/>
                <a:gd name="T65" fmla="*/ 159 h 848"/>
                <a:gd name="T66" fmla="*/ 530 w 848"/>
                <a:gd name="T67" fmla="*/ 238 h 848"/>
                <a:gd name="T68" fmla="*/ 318 w 848"/>
                <a:gd name="T69" fmla="*/ 159 h 848"/>
                <a:gd name="T70" fmla="*/ 80 w 848"/>
                <a:gd name="T71" fmla="*/ 795 h 848"/>
                <a:gd name="T72" fmla="*/ 265 w 848"/>
                <a:gd name="T73" fmla="*/ 53 h 848"/>
                <a:gd name="T74" fmla="*/ 53 w 848"/>
                <a:gd name="T75" fmla="*/ 0 h 848"/>
                <a:gd name="T76" fmla="*/ 318 w 848"/>
                <a:gd name="T77" fmla="*/ 26 h 848"/>
                <a:gd name="T78" fmla="*/ 795 w 848"/>
                <a:gd name="T79" fmla="*/ 106 h 848"/>
                <a:gd name="T80" fmla="*/ 822 w 848"/>
                <a:gd name="T81" fmla="*/ 795 h 848"/>
                <a:gd name="T82" fmla="*/ 848 w 848"/>
                <a:gd name="T83" fmla="*/ 848 h 848"/>
                <a:gd name="T84" fmla="*/ 53 w 848"/>
                <a:gd name="T85" fmla="*/ 848 h 848"/>
                <a:gd name="T86" fmla="*/ 0 w 848"/>
                <a:gd name="T87" fmla="*/ 795 h 848"/>
                <a:gd name="T88" fmla="*/ 27 w 848"/>
                <a:gd name="T89" fmla="*/ 26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8" h="848">
                  <a:moveTo>
                    <a:pt x="689" y="689"/>
                  </a:moveTo>
                  <a:cubicBezTo>
                    <a:pt x="689" y="795"/>
                    <a:pt x="689" y="795"/>
                    <a:pt x="689" y="795"/>
                  </a:cubicBezTo>
                  <a:cubicBezTo>
                    <a:pt x="769" y="795"/>
                    <a:pt x="769" y="795"/>
                    <a:pt x="769" y="795"/>
                  </a:cubicBezTo>
                  <a:cubicBezTo>
                    <a:pt x="769" y="689"/>
                    <a:pt x="769" y="689"/>
                    <a:pt x="769" y="689"/>
                  </a:cubicBezTo>
                  <a:lnTo>
                    <a:pt x="689" y="689"/>
                  </a:lnTo>
                  <a:close/>
                  <a:moveTo>
                    <a:pt x="557" y="689"/>
                  </a:moveTo>
                  <a:cubicBezTo>
                    <a:pt x="557" y="795"/>
                    <a:pt x="557" y="795"/>
                    <a:pt x="557" y="795"/>
                  </a:cubicBezTo>
                  <a:cubicBezTo>
                    <a:pt x="663" y="795"/>
                    <a:pt x="663" y="795"/>
                    <a:pt x="663" y="795"/>
                  </a:cubicBezTo>
                  <a:cubicBezTo>
                    <a:pt x="663" y="689"/>
                    <a:pt x="663" y="689"/>
                    <a:pt x="663" y="689"/>
                  </a:cubicBezTo>
                  <a:lnTo>
                    <a:pt x="557" y="689"/>
                  </a:lnTo>
                  <a:close/>
                  <a:moveTo>
                    <a:pt x="424" y="689"/>
                  </a:moveTo>
                  <a:cubicBezTo>
                    <a:pt x="424" y="795"/>
                    <a:pt x="424" y="795"/>
                    <a:pt x="424" y="795"/>
                  </a:cubicBezTo>
                  <a:cubicBezTo>
                    <a:pt x="530" y="795"/>
                    <a:pt x="530" y="795"/>
                    <a:pt x="530" y="795"/>
                  </a:cubicBezTo>
                  <a:cubicBezTo>
                    <a:pt x="530" y="689"/>
                    <a:pt x="530" y="689"/>
                    <a:pt x="530" y="689"/>
                  </a:cubicBezTo>
                  <a:lnTo>
                    <a:pt x="424" y="689"/>
                  </a:lnTo>
                  <a:close/>
                  <a:moveTo>
                    <a:pt x="318" y="689"/>
                  </a:moveTo>
                  <a:cubicBezTo>
                    <a:pt x="318" y="795"/>
                    <a:pt x="318" y="795"/>
                    <a:pt x="318" y="795"/>
                  </a:cubicBezTo>
                  <a:cubicBezTo>
                    <a:pt x="398" y="795"/>
                    <a:pt x="398" y="795"/>
                    <a:pt x="398" y="795"/>
                  </a:cubicBezTo>
                  <a:cubicBezTo>
                    <a:pt x="398" y="689"/>
                    <a:pt x="398" y="689"/>
                    <a:pt x="398" y="689"/>
                  </a:cubicBezTo>
                  <a:lnTo>
                    <a:pt x="318" y="689"/>
                  </a:lnTo>
                  <a:close/>
                  <a:moveTo>
                    <a:pt x="557" y="583"/>
                  </a:moveTo>
                  <a:cubicBezTo>
                    <a:pt x="557" y="663"/>
                    <a:pt x="557" y="663"/>
                    <a:pt x="557" y="663"/>
                  </a:cubicBezTo>
                  <a:cubicBezTo>
                    <a:pt x="769" y="663"/>
                    <a:pt x="769" y="663"/>
                    <a:pt x="769" y="663"/>
                  </a:cubicBezTo>
                  <a:cubicBezTo>
                    <a:pt x="769" y="583"/>
                    <a:pt x="769" y="583"/>
                    <a:pt x="769" y="583"/>
                  </a:cubicBezTo>
                  <a:lnTo>
                    <a:pt x="557" y="583"/>
                  </a:lnTo>
                  <a:close/>
                  <a:moveTo>
                    <a:pt x="318" y="583"/>
                  </a:moveTo>
                  <a:cubicBezTo>
                    <a:pt x="318" y="663"/>
                    <a:pt x="318" y="663"/>
                    <a:pt x="318" y="663"/>
                  </a:cubicBezTo>
                  <a:cubicBezTo>
                    <a:pt x="530" y="663"/>
                    <a:pt x="530" y="663"/>
                    <a:pt x="530" y="663"/>
                  </a:cubicBezTo>
                  <a:cubicBezTo>
                    <a:pt x="530" y="583"/>
                    <a:pt x="530" y="583"/>
                    <a:pt x="530" y="583"/>
                  </a:cubicBezTo>
                  <a:lnTo>
                    <a:pt x="318" y="583"/>
                  </a:lnTo>
                  <a:close/>
                  <a:moveTo>
                    <a:pt x="557" y="477"/>
                  </a:moveTo>
                  <a:cubicBezTo>
                    <a:pt x="557" y="557"/>
                    <a:pt x="557" y="557"/>
                    <a:pt x="557" y="557"/>
                  </a:cubicBezTo>
                  <a:cubicBezTo>
                    <a:pt x="769" y="557"/>
                    <a:pt x="769" y="557"/>
                    <a:pt x="769" y="557"/>
                  </a:cubicBezTo>
                  <a:cubicBezTo>
                    <a:pt x="769" y="477"/>
                    <a:pt x="769" y="477"/>
                    <a:pt x="769" y="477"/>
                  </a:cubicBezTo>
                  <a:lnTo>
                    <a:pt x="557" y="477"/>
                  </a:lnTo>
                  <a:close/>
                  <a:moveTo>
                    <a:pt x="318" y="477"/>
                  </a:moveTo>
                  <a:cubicBezTo>
                    <a:pt x="318" y="557"/>
                    <a:pt x="318" y="557"/>
                    <a:pt x="318" y="557"/>
                  </a:cubicBezTo>
                  <a:cubicBezTo>
                    <a:pt x="530" y="557"/>
                    <a:pt x="530" y="557"/>
                    <a:pt x="530" y="557"/>
                  </a:cubicBezTo>
                  <a:cubicBezTo>
                    <a:pt x="530" y="477"/>
                    <a:pt x="530" y="477"/>
                    <a:pt x="530" y="477"/>
                  </a:cubicBezTo>
                  <a:lnTo>
                    <a:pt x="318" y="477"/>
                  </a:lnTo>
                  <a:close/>
                  <a:moveTo>
                    <a:pt x="557" y="371"/>
                  </a:moveTo>
                  <a:cubicBezTo>
                    <a:pt x="557" y="450"/>
                    <a:pt x="557" y="450"/>
                    <a:pt x="557" y="450"/>
                  </a:cubicBezTo>
                  <a:cubicBezTo>
                    <a:pt x="769" y="450"/>
                    <a:pt x="769" y="450"/>
                    <a:pt x="769" y="450"/>
                  </a:cubicBezTo>
                  <a:cubicBezTo>
                    <a:pt x="769" y="371"/>
                    <a:pt x="769" y="371"/>
                    <a:pt x="769" y="371"/>
                  </a:cubicBezTo>
                  <a:lnTo>
                    <a:pt x="557" y="371"/>
                  </a:lnTo>
                  <a:close/>
                  <a:moveTo>
                    <a:pt x="318" y="371"/>
                  </a:moveTo>
                  <a:cubicBezTo>
                    <a:pt x="318" y="450"/>
                    <a:pt x="318" y="450"/>
                    <a:pt x="318" y="450"/>
                  </a:cubicBezTo>
                  <a:cubicBezTo>
                    <a:pt x="530" y="450"/>
                    <a:pt x="530" y="450"/>
                    <a:pt x="530" y="450"/>
                  </a:cubicBezTo>
                  <a:cubicBezTo>
                    <a:pt x="530" y="371"/>
                    <a:pt x="530" y="371"/>
                    <a:pt x="530" y="371"/>
                  </a:cubicBezTo>
                  <a:lnTo>
                    <a:pt x="318" y="371"/>
                  </a:lnTo>
                  <a:close/>
                  <a:moveTo>
                    <a:pt x="557" y="265"/>
                  </a:moveTo>
                  <a:cubicBezTo>
                    <a:pt x="557" y="344"/>
                    <a:pt x="557" y="344"/>
                    <a:pt x="557" y="344"/>
                  </a:cubicBezTo>
                  <a:cubicBezTo>
                    <a:pt x="769" y="344"/>
                    <a:pt x="769" y="344"/>
                    <a:pt x="769" y="344"/>
                  </a:cubicBezTo>
                  <a:cubicBezTo>
                    <a:pt x="769" y="265"/>
                    <a:pt x="769" y="265"/>
                    <a:pt x="769" y="265"/>
                  </a:cubicBezTo>
                  <a:lnTo>
                    <a:pt x="557" y="265"/>
                  </a:lnTo>
                  <a:close/>
                  <a:moveTo>
                    <a:pt x="318" y="265"/>
                  </a:moveTo>
                  <a:cubicBezTo>
                    <a:pt x="318" y="344"/>
                    <a:pt x="318" y="344"/>
                    <a:pt x="318" y="344"/>
                  </a:cubicBezTo>
                  <a:cubicBezTo>
                    <a:pt x="530" y="344"/>
                    <a:pt x="530" y="344"/>
                    <a:pt x="530" y="344"/>
                  </a:cubicBezTo>
                  <a:cubicBezTo>
                    <a:pt x="530" y="265"/>
                    <a:pt x="530" y="265"/>
                    <a:pt x="530" y="265"/>
                  </a:cubicBezTo>
                  <a:lnTo>
                    <a:pt x="318" y="265"/>
                  </a:lnTo>
                  <a:close/>
                  <a:moveTo>
                    <a:pt x="557" y="159"/>
                  </a:moveTo>
                  <a:cubicBezTo>
                    <a:pt x="557" y="238"/>
                    <a:pt x="557" y="238"/>
                    <a:pt x="557" y="238"/>
                  </a:cubicBezTo>
                  <a:cubicBezTo>
                    <a:pt x="769" y="238"/>
                    <a:pt x="769" y="238"/>
                    <a:pt x="769" y="238"/>
                  </a:cubicBezTo>
                  <a:cubicBezTo>
                    <a:pt x="769" y="159"/>
                    <a:pt x="769" y="159"/>
                    <a:pt x="769" y="159"/>
                  </a:cubicBezTo>
                  <a:lnTo>
                    <a:pt x="557" y="159"/>
                  </a:lnTo>
                  <a:close/>
                  <a:moveTo>
                    <a:pt x="318" y="159"/>
                  </a:moveTo>
                  <a:cubicBezTo>
                    <a:pt x="318" y="238"/>
                    <a:pt x="318" y="238"/>
                    <a:pt x="318" y="238"/>
                  </a:cubicBezTo>
                  <a:cubicBezTo>
                    <a:pt x="530" y="238"/>
                    <a:pt x="530" y="238"/>
                    <a:pt x="530" y="238"/>
                  </a:cubicBezTo>
                  <a:cubicBezTo>
                    <a:pt x="530" y="159"/>
                    <a:pt x="530" y="159"/>
                    <a:pt x="530" y="159"/>
                  </a:cubicBezTo>
                  <a:lnTo>
                    <a:pt x="318" y="159"/>
                  </a:lnTo>
                  <a:close/>
                  <a:moveTo>
                    <a:pt x="80" y="53"/>
                  </a:moveTo>
                  <a:cubicBezTo>
                    <a:pt x="80" y="795"/>
                    <a:pt x="80" y="795"/>
                    <a:pt x="80" y="795"/>
                  </a:cubicBezTo>
                  <a:cubicBezTo>
                    <a:pt x="265" y="795"/>
                    <a:pt x="265" y="795"/>
                    <a:pt x="265" y="795"/>
                  </a:cubicBezTo>
                  <a:cubicBezTo>
                    <a:pt x="265" y="53"/>
                    <a:pt x="265" y="53"/>
                    <a:pt x="265" y="53"/>
                  </a:cubicBezTo>
                  <a:lnTo>
                    <a:pt x="80" y="53"/>
                  </a:lnTo>
                  <a:close/>
                  <a:moveTo>
                    <a:pt x="53" y="0"/>
                  </a:moveTo>
                  <a:cubicBezTo>
                    <a:pt x="292" y="0"/>
                    <a:pt x="292" y="0"/>
                    <a:pt x="292" y="0"/>
                  </a:cubicBezTo>
                  <a:cubicBezTo>
                    <a:pt x="306" y="0"/>
                    <a:pt x="318" y="12"/>
                    <a:pt x="318" y="26"/>
                  </a:cubicBezTo>
                  <a:cubicBezTo>
                    <a:pt x="318" y="106"/>
                    <a:pt x="318" y="106"/>
                    <a:pt x="318" y="106"/>
                  </a:cubicBezTo>
                  <a:cubicBezTo>
                    <a:pt x="795" y="106"/>
                    <a:pt x="795" y="106"/>
                    <a:pt x="795" y="106"/>
                  </a:cubicBezTo>
                  <a:cubicBezTo>
                    <a:pt x="810" y="106"/>
                    <a:pt x="822" y="118"/>
                    <a:pt x="822" y="132"/>
                  </a:cubicBezTo>
                  <a:cubicBezTo>
                    <a:pt x="822" y="795"/>
                    <a:pt x="822" y="795"/>
                    <a:pt x="822" y="795"/>
                  </a:cubicBezTo>
                  <a:cubicBezTo>
                    <a:pt x="848" y="795"/>
                    <a:pt x="848" y="795"/>
                    <a:pt x="848" y="795"/>
                  </a:cubicBezTo>
                  <a:cubicBezTo>
                    <a:pt x="848" y="848"/>
                    <a:pt x="848" y="848"/>
                    <a:pt x="848" y="848"/>
                  </a:cubicBezTo>
                  <a:cubicBezTo>
                    <a:pt x="292" y="848"/>
                    <a:pt x="292" y="848"/>
                    <a:pt x="292" y="848"/>
                  </a:cubicBezTo>
                  <a:cubicBezTo>
                    <a:pt x="53" y="848"/>
                    <a:pt x="53" y="848"/>
                    <a:pt x="53" y="848"/>
                  </a:cubicBezTo>
                  <a:cubicBezTo>
                    <a:pt x="0" y="848"/>
                    <a:pt x="0" y="848"/>
                    <a:pt x="0" y="848"/>
                  </a:cubicBezTo>
                  <a:cubicBezTo>
                    <a:pt x="0" y="795"/>
                    <a:pt x="0" y="795"/>
                    <a:pt x="0" y="795"/>
                  </a:cubicBezTo>
                  <a:cubicBezTo>
                    <a:pt x="27" y="795"/>
                    <a:pt x="27" y="795"/>
                    <a:pt x="27" y="795"/>
                  </a:cubicBezTo>
                  <a:cubicBezTo>
                    <a:pt x="27" y="26"/>
                    <a:pt x="27" y="26"/>
                    <a:pt x="27" y="26"/>
                  </a:cubicBezTo>
                  <a:cubicBezTo>
                    <a:pt x="27" y="12"/>
                    <a:pt x="38" y="0"/>
                    <a:pt x="5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1" name="Group 50"/>
          <p:cNvGrpSpPr/>
          <p:nvPr/>
        </p:nvGrpSpPr>
        <p:grpSpPr>
          <a:xfrm>
            <a:off x="2139075" y="4762400"/>
            <a:ext cx="538168" cy="482539"/>
            <a:chOff x="2270471" y="4812585"/>
            <a:chExt cx="538168" cy="482539"/>
          </a:xfrm>
        </p:grpSpPr>
        <p:sp>
          <p:nvSpPr>
            <p:cNvPr id="268" name="TextBox 267"/>
            <p:cNvSpPr txBox="1"/>
            <p:nvPr/>
          </p:nvSpPr>
          <p:spPr>
            <a:xfrm>
              <a:off x="2270471" y="5073525"/>
              <a:ext cx="538168"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Internal News</a:t>
              </a:r>
            </a:p>
          </p:txBody>
        </p:sp>
        <p:grpSp>
          <p:nvGrpSpPr>
            <p:cNvPr id="560" name="Group 559"/>
            <p:cNvGrpSpPr/>
            <p:nvPr/>
          </p:nvGrpSpPr>
          <p:grpSpPr>
            <a:xfrm>
              <a:off x="2434410" y="4812585"/>
              <a:ext cx="232233" cy="232233"/>
              <a:chOff x="400861" y="1333386"/>
              <a:chExt cx="355372" cy="355372"/>
            </a:xfrm>
          </p:grpSpPr>
          <p:sp>
            <p:nvSpPr>
              <p:cNvPr id="561"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62" name="Group 561"/>
              <p:cNvGrpSpPr/>
              <p:nvPr/>
            </p:nvGrpSpPr>
            <p:grpSpPr bwMode="black">
              <a:xfrm>
                <a:off x="487594" y="1415141"/>
                <a:ext cx="203783" cy="197797"/>
                <a:chOff x="8754070" y="3848870"/>
                <a:chExt cx="195501" cy="189808"/>
              </a:xfrm>
              <a:solidFill>
                <a:schemeClr val="accent2"/>
              </a:solidFill>
            </p:grpSpPr>
            <p:sp>
              <p:nvSpPr>
                <p:cNvPr id="56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6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56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nvGrpSpPr>
          <p:cNvPr id="580" name="Group 579"/>
          <p:cNvGrpSpPr/>
          <p:nvPr/>
        </p:nvGrpSpPr>
        <p:grpSpPr>
          <a:xfrm>
            <a:off x="5397784" y="1163039"/>
            <a:ext cx="275263" cy="271132"/>
            <a:chOff x="8342954" y="4714894"/>
            <a:chExt cx="275263" cy="271132"/>
          </a:xfrm>
        </p:grpSpPr>
        <p:grpSp>
          <p:nvGrpSpPr>
            <p:cNvPr id="581" name="Group 580"/>
            <p:cNvGrpSpPr/>
            <p:nvPr/>
          </p:nvGrpSpPr>
          <p:grpSpPr>
            <a:xfrm>
              <a:off x="8342954" y="4714894"/>
              <a:ext cx="275263" cy="271132"/>
              <a:chOff x="6746789" y="3838377"/>
              <a:chExt cx="971013" cy="956441"/>
            </a:xfrm>
            <a:solidFill>
              <a:schemeClr val="tx1"/>
            </a:solidFill>
          </p:grpSpPr>
          <p:sp>
            <p:nvSpPr>
              <p:cNvPr id="606" name="Rectangle 605"/>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7" name="Rectangle 606"/>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8" name="Rectangle 607"/>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0" name="Rectangle 609"/>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82" name="Group 581"/>
            <p:cNvGrpSpPr/>
            <p:nvPr/>
          </p:nvGrpSpPr>
          <p:grpSpPr>
            <a:xfrm>
              <a:off x="8382106" y="4790162"/>
              <a:ext cx="186511" cy="114768"/>
              <a:chOff x="4005484" y="5811957"/>
              <a:chExt cx="315300" cy="194017"/>
            </a:xfrm>
            <a:solidFill>
              <a:schemeClr val="bg1"/>
            </a:solidFill>
          </p:grpSpPr>
          <p:sp>
            <p:nvSpPr>
              <p:cNvPr id="583"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584" name="Group 583"/>
              <p:cNvGrpSpPr/>
              <p:nvPr/>
            </p:nvGrpSpPr>
            <p:grpSpPr>
              <a:xfrm>
                <a:off x="4005484" y="5811961"/>
                <a:ext cx="315300" cy="194013"/>
                <a:chOff x="5162540" y="3922860"/>
                <a:chExt cx="337921" cy="207933"/>
              </a:xfrm>
              <a:grpFill/>
            </p:grpSpPr>
            <p:sp>
              <p:nvSpPr>
                <p:cNvPr id="585"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7" name="Oval 586"/>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7" name="Oval 596"/>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8" name="Oval 597"/>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0" name="Oval 599"/>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2" name="Oval 601"/>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Oval 603"/>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11" name="Group 610"/>
          <p:cNvGrpSpPr/>
          <p:nvPr/>
        </p:nvGrpSpPr>
        <p:grpSpPr>
          <a:xfrm>
            <a:off x="8132337" y="1163039"/>
            <a:ext cx="275263" cy="271132"/>
            <a:chOff x="8342954" y="4714894"/>
            <a:chExt cx="275263" cy="271132"/>
          </a:xfrm>
        </p:grpSpPr>
        <p:grpSp>
          <p:nvGrpSpPr>
            <p:cNvPr id="612" name="Group 611"/>
            <p:cNvGrpSpPr/>
            <p:nvPr/>
          </p:nvGrpSpPr>
          <p:grpSpPr>
            <a:xfrm>
              <a:off x="8342954" y="4714894"/>
              <a:ext cx="275263" cy="271132"/>
              <a:chOff x="6746789" y="3838377"/>
              <a:chExt cx="971013" cy="956441"/>
            </a:xfrm>
            <a:solidFill>
              <a:schemeClr val="tx1"/>
            </a:solidFill>
          </p:grpSpPr>
          <p:sp>
            <p:nvSpPr>
              <p:cNvPr id="632" name="Rectangle 631"/>
              <p:cNvSpPr/>
              <p:nvPr/>
            </p:nvSpPr>
            <p:spPr bwMode="auto">
              <a:xfrm>
                <a:off x="6746789"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7" name="Rectangle 636"/>
              <p:cNvSpPr/>
              <p:nvPr/>
            </p:nvSpPr>
            <p:spPr bwMode="auto">
              <a:xfrm>
                <a:off x="7273494" y="3838377"/>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Rectangle 638"/>
              <p:cNvSpPr/>
              <p:nvPr/>
            </p:nvSpPr>
            <p:spPr bwMode="auto">
              <a:xfrm>
                <a:off x="6746789"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Rectangle 654"/>
              <p:cNvSpPr/>
              <p:nvPr/>
            </p:nvSpPr>
            <p:spPr bwMode="auto">
              <a:xfrm>
                <a:off x="7273494" y="4350510"/>
                <a:ext cx="444308" cy="444308"/>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3" name="Group 612"/>
            <p:cNvGrpSpPr/>
            <p:nvPr/>
          </p:nvGrpSpPr>
          <p:grpSpPr>
            <a:xfrm>
              <a:off x="8382106" y="4790162"/>
              <a:ext cx="186511" cy="114768"/>
              <a:chOff x="4005484" y="5811957"/>
              <a:chExt cx="315300" cy="194017"/>
            </a:xfrm>
            <a:solidFill>
              <a:schemeClr val="bg1"/>
            </a:solidFill>
          </p:grpSpPr>
          <p:sp>
            <p:nvSpPr>
              <p:cNvPr id="618" name="Freeform 21"/>
              <p:cNvSpPr>
                <a:spLocks noChangeAspect="1" noEditPoints="1"/>
              </p:cNvSpPr>
              <p:nvPr/>
            </p:nvSpPr>
            <p:spPr bwMode="black">
              <a:xfrm>
                <a:off x="4007442" y="5811957"/>
                <a:ext cx="311386" cy="19401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w="50800">
                <a:solidFill>
                  <a:schemeClr val="tx1"/>
                </a:solid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20" name="Group 619"/>
              <p:cNvGrpSpPr/>
              <p:nvPr/>
            </p:nvGrpSpPr>
            <p:grpSpPr>
              <a:xfrm>
                <a:off x="4005484" y="5811961"/>
                <a:ext cx="315300" cy="194013"/>
                <a:chOff x="5162540" y="3922860"/>
                <a:chExt cx="337921" cy="207933"/>
              </a:xfrm>
              <a:grpFill/>
            </p:grpSpPr>
            <p:sp>
              <p:nvSpPr>
                <p:cNvPr id="621" name="Freeform 21"/>
                <p:cNvSpPr>
                  <a:spLocks noChangeAspect="1" noEditPoints="1"/>
                </p:cNvSpPr>
                <p:nvPr/>
              </p:nvSpPr>
              <p:spPr bwMode="black">
                <a:xfrm>
                  <a:off x="5166738" y="3922860"/>
                  <a:ext cx="333723" cy="20793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grpFill/>
                <a:ln>
                  <a:noFill/>
                </a:ln>
              </p:spPr>
              <p:txBody>
                <a:bodyPr vert="horz" wrap="square" lIns="89629" tIns="44815" rIns="89629" bIns="4481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2" name="Oval 621"/>
                <p:cNvSpPr/>
                <p:nvPr/>
              </p:nvSpPr>
              <p:spPr bwMode="auto">
                <a:xfrm>
                  <a:off x="5162540" y="3995755"/>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4" name="Oval 623"/>
                <p:cNvSpPr/>
                <p:nvPr/>
              </p:nvSpPr>
              <p:spPr bwMode="auto">
                <a:xfrm>
                  <a:off x="5318410" y="3922860"/>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6" name="Oval 625"/>
                <p:cNvSpPr/>
                <p:nvPr/>
              </p:nvSpPr>
              <p:spPr bwMode="auto">
                <a:xfrm>
                  <a:off x="5365423" y="3994184"/>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8" name="Oval 627"/>
                <p:cNvSpPr/>
                <p:nvPr/>
              </p:nvSpPr>
              <p:spPr bwMode="auto">
                <a:xfrm>
                  <a:off x="5230059" y="395606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0" name="Oval 629"/>
                <p:cNvSpPr/>
                <p:nvPr/>
              </p:nvSpPr>
              <p:spPr bwMode="auto">
                <a:xfrm>
                  <a:off x="5234257"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1" name="Oval 630"/>
                <p:cNvSpPr/>
                <p:nvPr/>
              </p:nvSpPr>
              <p:spPr bwMode="auto">
                <a:xfrm>
                  <a:off x="5285353" y="3990379"/>
                  <a:ext cx="135038" cy="1350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657" name="Group 656"/>
          <p:cNvGrpSpPr/>
          <p:nvPr/>
        </p:nvGrpSpPr>
        <p:grpSpPr>
          <a:xfrm>
            <a:off x="7461553" y="2606955"/>
            <a:ext cx="346283" cy="298520"/>
            <a:chOff x="4783196" y="3595360"/>
            <a:chExt cx="496743" cy="428227"/>
          </a:xfrm>
        </p:grpSpPr>
        <p:sp>
          <p:nvSpPr>
            <p:cNvPr id="659" name="Hexagon 658"/>
            <p:cNvSpPr/>
            <p:nvPr/>
          </p:nvSpPr>
          <p:spPr bwMode="auto">
            <a:xfrm>
              <a:off x="4783196" y="3595360"/>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660" name="Group 659"/>
            <p:cNvGrpSpPr/>
            <p:nvPr/>
          </p:nvGrpSpPr>
          <p:grpSpPr>
            <a:xfrm>
              <a:off x="4844161" y="3683589"/>
              <a:ext cx="374691" cy="273140"/>
              <a:chOff x="4604634" y="4851349"/>
              <a:chExt cx="383610" cy="279642"/>
            </a:xfrm>
          </p:grpSpPr>
          <p:sp>
            <p:nvSpPr>
              <p:cNvPr id="662" name="TextBox 661"/>
              <p:cNvSpPr txBox="1"/>
              <p:nvPr/>
            </p:nvSpPr>
            <p:spPr>
              <a:xfrm>
                <a:off x="4604634" y="4921697"/>
                <a:ext cx="383610" cy="159712"/>
              </a:xfrm>
              <a:prstGeom prst="rect">
                <a:avLst/>
              </a:prstGeom>
              <a:noFill/>
            </p:spPr>
            <p:txBody>
              <a:bodyPr wrap="squar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10</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05050"/>
                    </a:solidFill>
                    <a:effectLst/>
                    <a:uLnTx/>
                    <a:uFillTx/>
                    <a:latin typeface="Segoe UI"/>
                    <a:ea typeface="+mn-ea"/>
                    <a:cs typeface="+mn-cs"/>
                  </a:rPr>
                  <a:t>01</a:t>
                </a:r>
              </a:p>
            </p:txBody>
          </p:sp>
          <p:sp>
            <p:nvSpPr>
              <p:cNvPr id="663" name="Freeform 102"/>
              <p:cNvSpPr>
                <a:spLocks noEditPoints="1"/>
              </p:cNvSpPr>
              <p:nvPr/>
            </p:nvSpPr>
            <p:spPr bwMode="auto">
              <a:xfrm>
                <a:off x="4679308" y="4851349"/>
                <a:ext cx="226065" cy="279642"/>
              </a:xfrm>
              <a:custGeom>
                <a:avLst/>
                <a:gdLst>
                  <a:gd name="T0" fmla="*/ 537 w 1270"/>
                  <a:gd name="T1" fmla="*/ 0 h 1576"/>
                  <a:gd name="T2" fmla="*/ 1139 w 1270"/>
                  <a:gd name="T3" fmla="*/ 0 h 1576"/>
                  <a:gd name="T4" fmla="*/ 1270 w 1270"/>
                  <a:gd name="T5" fmla="*/ 198 h 1576"/>
                  <a:gd name="T6" fmla="*/ 1270 w 1270"/>
                  <a:gd name="T7" fmla="*/ 606 h 1576"/>
                  <a:gd name="T8" fmla="*/ 1270 w 1270"/>
                  <a:gd name="T9" fmla="*/ 1393 h 1576"/>
                  <a:gd name="T10" fmla="*/ 1088 w 1270"/>
                  <a:gd name="T11" fmla="*/ 1576 h 1576"/>
                  <a:gd name="T12" fmla="*/ 182 w 1270"/>
                  <a:gd name="T13" fmla="*/ 1576 h 1576"/>
                  <a:gd name="T14" fmla="*/ 130 w 1270"/>
                  <a:gd name="T15" fmla="*/ 1571 h 1576"/>
                  <a:gd name="T16" fmla="*/ 1 w 1270"/>
                  <a:gd name="T17" fmla="*/ 1389 h 1576"/>
                  <a:gd name="T18" fmla="*/ 0 w 1270"/>
                  <a:gd name="T19" fmla="*/ 602 h 1576"/>
                  <a:gd name="T20" fmla="*/ 25 w 1270"/>
                  <a:gd name="T21" fmla="*/ 539 h 1576"/>
                  <a:gd name="T22" fmla="*/ 537 w 1270"/>
                  <a:gd name="T23" fmla="*/ 0 h 1576"/>
                  <a:gd name="T24" fmla="*/ 1131 w 1270"/>
                  <a:gd name="T25" fmla="*/ 787 h 1576"/>
                  <a:gd name="T26" fmla="*/ 1131 w 1270"/>
                  <a:gd name="T27" fmla="*/ 191 h 1576"/>
                  <a:gd name="T28" fmla="*/ 1079 w 1270"/>
                  <a:gd name="T29" fmla="*/ 137 h 1576"/>
                  <a:gd name="T30" fmla="*/ 591 w 1270"/>
                  <a:gd name="T31" fmla="*/ 137 h 1576"/>
                  <a:gd name="T32" fmla="*/ 551 w 1270"/>
                  <a:gd name="T33" fmla="*/ 176 h 1576"/>
                  <a:gd name="T34" fmla="*/ 545 w 1270"/>
                  <a:gd name="T35" fmla="*/ 415 h 1576"/>
                  <a:gd name="T36" fmla="*/ 385 w 1270"/>
                  <a:gd name="T37" fmla="*/ 593 h 1576"/>
                  <a:gd name="T38" fmla="*/ 180 w 1270"/>
                  <a:gd name="T39" fmla="*/ 591 h 1576"/>
                  <a:gd name="T40" fmla="*/ 140 w 1270"/>
                  <a:gd name="T41" fmla="*/ 631 h 1576"/>
                  <a:gd name="T42" fmla="*/ 140 w 1270"/>
                  <a:gd name="T43" fmla="*/ 1377 h 1576"/>
                  <a:gd name="T44" fmla="*/ 198 w 1270"/>
                  <a:gd name="T45" fmla="*/ 1436 h 1576"/>
                  <a:gd name="T46" fmla="*/ 1071 w 1270"/>
                  <a:gd name="T47" fmla="*/ 1436 h 1576"/>
                  <a:gd name="T48" fmla="*/ 1131 w 1270"/>
                  <a:gd name="T49" fmla="*/ 1376 h 1576"/>
                  <a:gd name="T50" fmla="*/ 1131 w 1270"/>
                  <a:gd name="T51" fmla="*/ 787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0" h="1576">
                    <a:moveTo>
                      <a:pt x="537" y="0"/>
                    </a:moveTo>
                    <a:cubicBezTo>
                      <a:pt x="738" y="0"/>
                      <a:pt x="938" y="0"/>
                      <a:pt x="1139" y="0"/>
                    </a:cubicBezTo>
                    <a:cubicBezTo>
                      <a:pt x="1238" y="41"/>
                      <a:pt x="1270" y="89"/>
                      <a:pt x="1270" y="198"/>
                    </a:cubicBezTo>
                    <a:cubicBezTo>
                      <a:pt x="1270" y="334"/>
                      <a:pt x="1270" y="470"/>
                      <a:pt x="1270" y="606"/>
                    </a:cubicBezTo>
                    <a:cubicBezTo>
                      <a:pt x="1270" y="869"/>
                      <a:pt x="1270" y="1131"/>
                      <a:pt x="1270" y="1393"/>
                    </a:cubicBezTo>
                    <a:cubicBezTo>
                      <a:pt x="1270" y="1506"/>
                      <a:pt x="1200" y="1576"/>
                      <a:pt x="1088" y="1576"/>
                    </a:cubicBezTo>
                    <a:cubicBezTo>
                      <a:pt x="786" y="1576"/>
                      <a:pt x="484" y="1576"/>
                      <a:pt x="182" y="1576"/>
                    </a:cubicBezTo>
                    <a:cubicBezTo>
                      <a:pt x="165" y="1576"/>
                      <a:pt x="147" y="1576"/>
                      <a:pt x="130" y="1571"/>
                    </a:cubicBezTo>
                    <a:cubicBezTo>
                      <a:pt x="49" y="1550"/>
                      <a:pt x="1" y="1484"/>
                      <a:pt x="1" y="1389"/>
                    </a:cubicBezTo>
                    <a:cubicBezTo>
                      <a:pt x="1" y="1126"/>
                      <a:pt x="1" y="864"/>
                      <a:pt x="0" y="602"/>
                    </a:cubicBezTo>
                    <a:cubicBezTo>
                      <a:pt x="0" y="577"/>
                      <a:pt x="8" y="558"/>
                      <a:pt x="25" y="539"/>
                    </a:cubicBezTo>
                    <a:cubicBezTo>
                      <a:pt x="196" y="360"/>
                      <a:pt x="366" y="180"/>
                      <a:pt x="537" y="0"/>
                    </a:cubicBezTo>
                    <a:close/>
                    <a:moveTo>
                      <a:pt x="1131" y="787"/>
                    </a:moveTo>
                    <a:cubicBezTo>
                      <a:pt x="1131" y="588"/>
                      <a:pt x="1131" y="389"/>
                      <a:pt x="1131" y="191"/>
                    </a:cubicBezTo>
                    <a:cubicBezTo>
                      <a:pt x="1131" y="147"/>
                      <a:pt x="1121" y="137"/>
                      <a:pt x="1079" y="137"/>
                    </a:cubicBezTo>
                    <a:cubicBezTo>
                      <a:pt x="916" y="137"/>
                      <a:pt x="753" y="137"/>
                      <a:pt x="591" y="137"/>
                    </a:cubicBezTo>
                    <a:cubicBezTo>
                      <a:pt x="562" y="136"/>
                      <a:pt x="551" y="146"/>
                      <a:pt x="551" y="176"/>
                    </a:cubicBezTo>
                    <a:cubicBezTo>
                      <a:pt x="550" y="256"/>
                      <a:pt x="547" y="335"/>
                      <a:pt x="545" y="415"/>
                    </a:cubicBezTo>
                    <a:cubicBezTo>
                      <a:pt x="542" y="509"/>
                      <a:pt x="479" y="580"/>
                      <a:pt x="385" y="593"/>
                    </a:cubicBezTo>
                    <a:cubicBezTo>
                      <a:pt x="317" y="602"/>
                      <a:pt x="249" y="588"/>
                      <a:pt x="180" y="591"/>
                    </a:cubicBezTo>
                    <a:cubicBezTo>
                      <a:pt x="142" y="593"/>
                      <a:pt x="140" y="593"/>
                      <a:pt x="140" y="631"/>
                    </a:cubicBezTo>
                    <a:cubicBezTo>
                      <a:pt x="140" y="880"/>
                      <a:pt x="140" y="1128"/>
                      <a:pt x="140" y="1377"/>
                    </a:cubicBezTo>
                    <a:cubicBezTo>
                      <a:pt x="140" y="1428"/>
                      <a:pt x="148" y="1436"/>
                      <a:pt x="198" y="1436"/>
                    </a:cubicBezTo>
                    <a:cubicBezTo>
                      <a:pt x="489" y="1436"/>
                      <a:pt x="780" y="1436"/>
                      <a:pt x="1071" y="1436"/>
                    </a:cubicBezTo>
                    <a:cubicBezTo>
                      <a:pt x="1124" y="1436"/>
                      <a:pt x="1131" y="1429"/>
                      <a:pt x="1131" y="1376"/>
                    </a:cubicBezTo>
                    <a:cubicBezTo>
                      <a:pt x="1131" y="1180"/>
                      <a:pt x="1131" y="983"/>
                      <a:pt x="1131" y="78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49" name="Group 48"/>
          <p:cNvGrpSpPr/>
          <p:nvPr/>
        </p:nvGrpSpPr>
        <p:grpSpPr>
          <a:xfrm>
            <a:off x="2858073" y="1990826"/>
            <a:ext cx="967068" cy="403765"/>
            <a:chOff x="2883291" y="1969642"/>
            <a:chExt cx="967068" cy="403765"/>
          </a:xfrm>
        </p:grpSpPr>
        <p:grpSp>
          <p:nvGrpSpPr>
            <p:cNvPr id="43" name="Group 42"/>
            <p:cNvGrpSpPr/>
            <p:nvPr/>
          </p:nvGrpSpPr>
          <p:grpSpPr>
            <a:xfrm>
              <a:off x="2883291" y="1974590"/>
              <a:ext cx="538168" cy="398817"/>
              <a:chOff x="3312191" y="2447226"/>
              <a:chExt cx="538168" cy="398817"/>
            </a:xfrm>
          </p:grpSpPr>
          <p:sp>
            <p:nvSpPr>
              <p:cNvPr id="277" name="TextBox 276"/>
              <p:cNvSpPr txBox="1"/>
              <p:nvPr/>
            </p:nvSpPr>
            <p:spPr>
              <a:xfrm>
                <a:off x="3312191" y="2735243"/>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Twitter</a:t>
                </a:r>
              </a:p>
            </p:txBody>
          </p:sp>
          <p:grpSp>
            <p:nvGrpSpPr>
              <p:cNvPr id="664" name="Group 663"/>
              <p:cNvGrpSpPr/>
              <p:nvPr/>
            </p:nvGrpSpPr>
            <p:grpSpPr>
              <a:xfrm>
                <a:off x="3464693" y="2447226"/>
                <a:ext cx="232233" cy="232233"/>
                <a:chOff x="400861" y="1333386"/>
                <a:chExt cx="355372" cy="355372"/>
              </a:xfrm>
            </p:grpSpPr>
            <p:sp>
              <p:nvSpPr>
                <p:cNvPr id="665"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66" name="Group 665"/>
                <p:cNvGrpSpPr/>
                <p:nvPr/>
              </p:nvGrpSpPr>
              <p:grpSpPr bwMode="black">
                <a:xfrm>
                  <a:off x="487594" y="1415141"/>
                  <a:ext cx="203783" cy="197797"/>
                  <a:chOff x="8754070" y="3848870"/>
                  <a:chExt cx="195501" cy="189808"/>
                </a:xfrm>
                <a:solidFill>
                  <a:schemeClr val="accent2"/>
                </a:solidFill>
              </p:grpSpPr>
              <p:sp>
                <p:nvSpPr>
                  <p:cNvPr id="685"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88"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89"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nvGrpSpPr>
            <p:cNvPr id="48" name="Group 47"/>
            <p:cNvGrpSpPr/>
            <p:nvPr/>
          </p:nvGrpSpPr>
          <p:grpSpPr>
            <a:xfrm>
              <a:off x="3312191" y="1969642"/>
              <a:ext cx="538168" cy="384487"/>
              <a:chOff x="3312191" y="1969642"/>
              <a:chExt cx="538168" cy="384487"/>
            </a:xfrm>
          </p:grpSpPr>
          <p:sp>
            <p:nvSpPr>
              <p:cNvPr id="284" name="TextBox 283"/>
              <p:cNvSpPr txBox="1"/>
              <p:nvPr/>
            </p:nvSpPr>
            <p:spPr>
              <a:xfrm>
                <a:off x="3312191" y="2243329"/>
                <a:ext cx="538168" cy="11080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Curata</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90" name="Group 689"/>
              <p:cNvGrpSpPr/>
              <p:nvPr/>
            </p:nvGrpSpPr>
            <p:grpSpPr>
              <a:xfrm>
                <a:off x="3464693" y="1969642"/>
                <a:ext cx="232233" cy="232233"/>
                <a:chOff x="400861" y="1333386"/>
                <a:chExt cx="355372" cy="355372"/>
              </a:xfrm>
            </p:grpSpPr>
            <p:sp>
              <p:nvSpPr>
                <p:cNvPr id="691" name="Rounded Rectangle 285"/>
                <p:cNvSpPr/>
                <p:nvPr/>
              </p:nvSpPr>
              <p:spPr bwMode="auto">
                <a:xfrm>
                  <a:off x="400861" y="1333386"/>
                  <a:ext cx="355372" cy="355372"/>
                </a:xfrm>
                <a:prstGeom prst="roundRect">
                  <a:avLst>
                    <a:gd name="adj" fmla="val 1190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92" name="Group 691"/>
                <p:cNvGrpSpPr/>
                <p:nvPr/>
              </p:nvGrpSpPr>
              <p:grpSpPr bwMode="black">
                <a:xfrm>
                  <a:off x="487594" y="1415141"/>
                  <a:ext cx="203783" cy="197797"/>
                  <a:chOff x="8754070" y="3848870"/>
                  <a:chExt cx="195501" cy="189808"/>
                </a:xfrm>
                <a:solidFill>
                  <a:schemeClr val="accent2"/>
                </a:solidFill>
              </p:grpSpPr>
              <p:sp>
                <p:nvSpPr>
                  <p:cNvPr id="693" name="Freeform 132"/>
                  <p:cNvSpPr>
                    <a:spLocks/>
                  </p:cNvSpPr>
                  <p:nvPr/>
                </p:nvSpPr>
                <p:spPr bwMode="black">
                  <a:xfrm>
                    <a:off x="8757866" y="3993124"/>
                    <a:ext cx="47451" cy="45554"/>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94" name="Freeform 133"/>
                  <p:cNvSpPr>
                    <a:spLocks/>
                  </p:cNvSpPr>
                  <p:nvPr/>
                </p:nvSpPr>
                <p:spPr bwMode="black">
                  <a:xfrm>
                    <a:off x="8754070" y="3848870"/>
                    <a:ext cx="195501" cy="184114"/>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sp>
                <p:nvSpPr>
                  <p:cNvPr id="695" name="Freeform 134"/>
                  <p:cNvSpPr>
                    <a:spLocks/>
                  </p:cNvSpPr>
                  <p:nvPr/>
                </p:nvSpPr>
                <p:spPr bwMode="black">
                  <a:xfrm>
                    <a:off x="8754070" y="3920997"/>
                    <a:ext cx="125273" cy="117681"/>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122" normalizeH="0" baseline="0" noProof="0">
                      <a:ln>
                        <a:noFill/>
                      </a:ln>
                      <a:solidFill>
                        <a:srgbClr val="505050"/>
                      </a:solidFill>
                      <a:effectLst/>
                      <a:uLnTx/>
                      <a:uFillTx/>
                      <a:latin typeface="Segoe Light" pitchFamily="34" charset="0"/>
                      <a:ea typeface="+mn-ea"/>
                      <a:cs typeface="+mn-cs"/>
                    </a:endParaRPr>
                  </a:p>
                </p:txBody>
              </p:sp>
            </p:grpSp>
          </p:grpSp>
        </p:grpSp>
      </p:grpSp>
      <p:grpSp>
        <p:nvGrpSpPr>
          <p:cNvPr id="209" name="Group 208"/>
          <p:cNvGrpSpPr/>
          <p:nvPr/>
        </p:nvGrpSpPr>
        <p:grpSpPr>
          <a:xfrm>
            <a:off x="475938" y="2871092"/>
            <a:ext cx="1049787" cy="265833"/>
            <a:chOff x="301116" y="3008859"/>
            <a:chExt cx="1049787" cy="265833"/>
          </a:xfrm>
        </p:grpSpPr>
        <p:sp>
          <p:nvSpPr>
            <p:cNvPr id="241" name="TextBox 240"/>
            <p:cNvSpPr txBox="1"/>
            <p:nvPr/>
          </p:nvSpPr>
          <p:spPr>
            <a:xfrm>
              <a:off x="585665" y="3053093"/>
              <a:ext cx="765238"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505050"/>
                  </a:solidFill>
                  <a:effectLst/>
                  <a:uLnTx/>
                  <a:uFillTx/>
                  <a:latin typeface="Segoe UI"/>
                  <a:ea typeface="+mn-ea"/>
                  <a:cs typeface="+mn-cs"/>
                </a:rPr>
                <a:t>Onpremise</a:t>
              </a:r>
              <a:r>
                <a:rPr kumimoji="0" lang="en-US" sz="800" b="0" i="0" u="none" strike="noStrike" kern="1200" cap="none" spc="0" normalizeH="0" baseline="0" noProof="0" dirty="0">
                  <a:ln>
                    <a:noFill/>
                  </a:ln>
                  <a:solidFill>
                    <a:srgbClr val="505050"/>
                  </a:solidFill>
                  <a:effectLst/>
                  <a:uLnTx/>
                  <a:uFillTx/>
                  <a:latin typeface="Segoe UI"/>
                  <a:ea typeface="+mn-ea"/>
                  <a:cs typeface="+mn-cs"/>
                </a:rPr>
                <a:t> </a:t>
              </a:r>
              <a:r>
                <a:rPr kumimoji="0" lang="en-US" sz="800" b="0" i="0" u="none" strike="noStrike" kern="1200" cap="none" spc="0" normalizeH="0" baseline="0" noProof="0" dirty="0" err="1">
                  <a:ln>
                    <a:noFill/>
                  </a:ln>
                  <a:solidFill>
                    <a:srgbClr val="505050"/>
                  </a:solidFill>
                  <a:effectLst/>
                  <a:uLnTx/>
                  <a:uFillTx/>
                  <a:latin typeface="Segoe UI"/>
                  <a:ea typeface="+mn-ea"/>
                  <a:cs typeface="+mn-cs"/>
                </a:rPr>
                <a:t>MainFrame</a:t>
              </a:r>
              <a:endParaRPr kumimoji="0" lang="en-US" sz="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6" name="Freeform 5"/>
            <p:cNvSpPr>
              <a:spLocks noEditPoints="1"/>
            </p:cNvSpPr>
            <p:nvPr/>
          </p:nvSpPr>
          <p:spPr bwMode="auto">
            <a:xfrm>
              <a:off x="301116" y="3008859"/>
              <a:ext cx="249382" cy="249382"/>
            </a:xfrm>
            <a:custGeom>
              <a:avLst/>
              <a:gdLst>
                <a:gd name="T0" fmla="*/ 689 w 848"/>
                <a:gd name="T1" fmla="*/ 795 h 848"/>
                <a:gd name="T2" fmla="*/ 769 w 848"/>
                <a:gd name="T3" fmla="*/ 689 h 848"/>
                <a:gd name="T4" fmla="*/ 557 w 848"/>
                <a:gd name="T5" fmla="*/ 689 h 848"/>
                <a:gd name="T6" fmla="*/ 663 w 848"/>
                <a:gd name="T7" fmla="*/ 795 h 848"/>
                <a:gd name="T8" fmla="*/ 557 w 848"/>
                <a:gd name="T9" fmla="*/ 689 h 848"/>
                <a:gd name="T10" fmla="*/ 424 w 848"/>
                <a:gd name="T11" fmla="*/ 795 h 848"/>
                <a:gd name="T12" fmla="*/ 530 w 848"/>
                <a:gd name="T13" fmla="*/ 689 h 848"/>
                <a:gd name="T14" fmla="*/ 318 w 848"/>
                <a:gd name="T15" fmla="*/ 689 h 848"/>
                <a:gd name="T16" fmla="*/ 398 w 848"/>
                <a:gd name="T17" fmla="*/ 795 h 848"/>
                <a:gd name="T18" fmla="*/ 318 w 848"/>
                <a:gd name="T19" fmla="*/ 689 h 848"/>
                <a:gd name="T20" fmla="*/ 557 w 848"/>
                <a:gd name="T21" fmla="*/ 663 h 848"/>
                <a:gd name="T22" fmla="*/ 769 w 848"/>
                <a:gd name="T23" fmla="*/ 583 h 848"/>
                <a:gd name="T24" fmla="*/ 318 w 848"/>
                <a:gd name="T25" fmla="*/ 583 h 848"/>
                <a:gd name="T26" fmla="*/ 530 w 848"/>
                <a:gd name="T27" fmla="*/ 663 h 848"/>
                <a:gd name="T28" fmla="*/ 318 w 848"/>
                <a:gd name="T29" fmla="*/ 583 h 848"/>
                <a:gd name="T30" fmla="*/ 557 w 848"/>
                <a:gd name="T31" fmla="*/ 557 h 848"/>
                <a:gd name="T32" fmla="*/ 769 w 848"/>
                <a:gd name="T33" fmla="*/ 477 h 848"/>
                <a:gd name="T34" fmla="*/ 318 w 848"/>
                <a:gd name="T35" fmla="*/ 477 h 848"/>
                <a:gd name="T36" fmla="*/ 530 w 848"/>
                <a:gd name="T37" fmla="*/ 557 h 848"/>
                <a:gd name="T38" fmla="*/ 318 w 848"/>
                <a:gd name="T39" fmla="*/ 477 h 848"/>
                <a:gd name="T40" fmla="*/ 557 w 848"/>
                <a:gd name="T41" fmla="*/ 450 h 848"/>
                <a:gd name="T42" fmla="*/ 769 w 848"/>
                <a:gd name="T43" fmla="*/ 371 h 848"/>
                <a:gd name="T44" fmla="*/ 318 w 848"/>
                <a:gd name="T45" fmla="*/ 371 h 848"/>
                <a:gd name="T46" fmla="*/ 530 w 848"/>
                <a:gd name="T47" fmla="*/ 450 h 848"/>
                <a:gd name="T48" fmla="*/ 318 w 848"/>
                <a:gd name="T49" fmla="*/ 371 h 848"/>
                <a:gd name="T50" fmla="*/ 557 w 848"/>
                <a:gd name="T51" fmla="*/ 344 h 848"/>
                <a:gd name="T52" fmla="*/ 769 w 848"/>
                <a:gd name="T53" fmla="*/ 265 h 848"/>
                <a:gd name="T54" fmla="*/ 318 w 848"/>
                <a:gd name="T55" fmla="*/ 265 h 848"/>
                <a:gd name="T56" fmla="*/ 530 w 848"/>
                <a:gd name="T57" fmla="*/ 344 h 848"/>
                <a:gd name="T58" fmla="*/ 318 w 848"/>
                <a:gd name="T59" fmla="*/ 265 h 848"/>
                <a:gd name="T60" fmla="*/ 557 w 848"/>
                <a:gd name="T61" fmla="*/ 238 h 848"/>
                <a:gd name="T62" fmla="*/ 769 w 848"/>
                <a:gd name="T63" fmla="*/ 159 h 848"/>
                <a:gd name="T64" fmla="*/ 318 w 848"/>
                <a:gd name="T65" fmla="*/ 159 h 848"/>
                <a:gd name="T66" fmla="*/ 530 w 848"/>
                <a:gd name="T67" fmla="*/ 238 h 848"/>
                <a:gd name="T68" fmla="*/ 318 w 848"/>
                <a:gd name="T69" fmla="*/ 159 h 848"/>
                <a:gd name="T70" fmla="*/ 80 w 848"/>
                <a:gd name="T71" fmla="*/ 795 h 848"/>
                <a:gd name="T72" fmla="*/ 265 w 848"/>
                <a:gd name="T73" fmla="*/ 53 h 848"/>
                <a:gd name="T74" fmla="*/ 53 w 848"/>
                <a:gd name="T75" fmla="*/ 0 h 848"/>
                <a:gd name="T76" fmla="*/ 318 w 848"/>
                <a:gd name="T77" fmla="*/ 26 h 848"/>
                <a:gd name="T78" fmla="*/ 795 w 848"/>
                <a:gd name="T79" fmla="*/ 106 h 848"/>
                <a:gd name="T80" fmla="*/ 822 w 848"/>
                <a:gd name="T81" fmla="*/ 795 h 848"/>
                <a:gd name="T82" fmla="*/ 848 w 848"/>
                <a:gd name="T83" fmla="*/ 848 h 848"/>
                <a:gd name="T84" fmla="*/ 53 w 848"/>
                <a:gd name="T85" fmla="*/ 848 h 848"/>
                <a:gd name="T86" fmla="*/ 0 w 848"/>
                <a:gd name="T87" fmla="*/ 795 h 848"/>
                <a:gd name="T88" fmla="*/ 27 w 848"/>
                <a:gd name="T89" fmla="*/ 26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8" h="848">
                  <a:moveTo>
                    <a:pt x="689" y="689"/>
                  </a:moveTo>
                  <a:cubicBezTo>
                    <a:pt x="689" y="795"/>
                    <a:pt x="689" y="795"/>
                    <a:pt x="689" y="795"/>
                  </a:cubicBezTo>
                  <a:cubicBezTo>
                    <a:pt x="769" y="795"/>
                    <a:pt x="769" y="795"/>
                    <a:pt x="769" y="795"/>
                  </a:cubicBezTo>
                  <a:cubicBezTo>
                    <a:pt x="769" y="689"/>
                    <a:pt x="769" y="689"/>
                    <a:pt x="769" y="689"/>
                  </a:cubicBezTo>
                  <a:lnTo>
                    <a:pt x="689" y="689"/>
                  </a:lnTo>
                  <a:close/>
                  <a:moveTo>
                    <a:pt x="557" y="689"/>
                  </a:moveTo>
                  <a:cubicBezTo>
                    <a:pt x="557" y="795"/>
                    <a:pt x="557" y="795"/>
                    <a:pt x="557" y="795"/>
                  </a:cubicBezTo>
                  <a:cubicBezTo>
                    <a:pt x="663" y="795"/>
                    <a:pt x="663" y="795"/>
                    <a:pt x="663" y="795"/>
                  </a:cubicBezTo>
                  <a:cubicBezTo>
                    <a:pt x="663" y="689"/>
                    <a:pt x="663" y="689"/>
                    <a:pt x="663" y="689"/>
                  </a:cubicBezTo>
                  <a:lnTo>
                    <a:pt x="557" y="689"/>
                  </a:lnTo>
                  <a:close/>
                  <a:moveTo>
                    <a:pt x="424" y="689"/>
                  </a:moveTo>
                  <a:cubicBezTo>
                    <a:pt x="424" y="795"/>
                    <a:pt x="424" y="795"/>
                    <a:pt x="424" y="795"/>
                  </a:cubicBezTo>
                  <a:cubicBezTo>
                    <a:pt x="530" y="795"/>
                    <a:pt x="530" y="795"/>
                    <a:pt x="530" y="795"/>
                  </a:cubicBezTo>
                  <a:cubicBezTo>
                    <a:pt x="530" y="689"/>
                    <a:pt x="530" y="689"/>
                    <a:pt x="530" y="689"/>
                  </a:cubicBezTo>
                  <a:lnTo>
                    <a:pt x="424" y="689"/>
                  </a:lnTo>
                  <a:close/>
                  <a:moveTo>
                    <a:pt x="318" y="689"/>
                  </a:moveTo>
                  <a:cubicBezTo>
                    <a:pt x="318" y="795"/>
                    <a:pt x="318" y="795"/>
                    <a:pt x="318" y="795"/>
                  </a:cubicBezTo>
                  <a:cubicBezTo>
                    <a:pt x="398" y="795"/>
                    <a:pt x="398" y="795"/>
                    <a:pt x="398" y="795"/>
                  </a:cubicBezTo>
                  <a:cubicBezTo>
                    <a:pt x="398" y="689"/>
                    <a:pt x="398" y="689"/>
                    <a:pt x="398" y="689"/>
                  </a:cubicBezTo>
                  <a:lnTo>
                    <a:pt x="318" y="689"/>
                  </a:lnTo>
                  <a:close/>
                  <a:moveTo>
                    <a:pt x="557" y="583"/>
                  </a:moveTo>
                  <a:cubicBezTo>
                    <a:pt x="557" y="663"/>
                    <a:pt x="557" y="663"/>
                    <a:pt x="557" y="663"/>
                  </a:cubicBezTo>
                  <a:cubicBezTo>
                    <a:pt x="769" y="663"/>
                    <a:pt x="769" y="663"/>
                    <a:pt x="769" y="663"/>
                  </a:cubicBezTo>
                  <a:cubicBezTo>
                    <a:pt x="769" y="583"/>
                    <a:pt x="769" y="583"/>
                    <a:pt x="769" y="583"/>
                  </a:cubicBezTo>
                  <a:lnTo>
                    <a:pt x="557" y="583"/>
                  </a:lnTo>
                  <a:close/>
                  <a:moveTo>
                    <a:pt x="318" y="583"/>
                  </a:moveTo>
                  <a:cubicBezTo>
                    <a:pt x="318" y="663"/>
                    <a:pt x="318" y="663"/>
                    <a:pt x="318" y="663"/>
                  </a:cubicBezTo>
                  <a:cubicBezTo>
                    <a:pt x="530" y="663"/>
                    <a:pt x="530" y="663"/>
                    <a:pt x="530" y="663"/>
                  </a:cubicBezTo>
                  <a:cubicBezTo>
                    <a:pt x="530" y="583"/>
                    <a:pt x="530" y="583"/>
                    <a:pt x="530" y="583"/>
                  </a:cubicBezTo>
                  <a:lnTo>
                    <a:pt x="318" y="583"/>
                  </a:lnTo>
                  <a:close/>
                  <a:moveTo>
                    <a:pt x="557" y="477"/>
                  </a:moveTo>
                  <a:cubicBezTo>
                    <a:pt x="557" y="557"/>
                    <a:pt x="557" y="557"/>
                    <a:pt x="557" y="557"/>
                  </a:cubicBezTo>
                  <a:cubicBezTo>
                    <a:pt x="769" y="557"/>
                    <a:pt x="769" y="557"/>
                    <a:pt x="769" y="557"/>
                  </a:cubicBezTo>
                  <a:cubicBezTo>
                    <a:pt x="769" y="477"/>
                    <a:pt x="769" y="477"/>
                    <a:pt x="769" y="477"/>
                  </a:cubicBezTo>
                  <a:lnTo>
                    <a:pt x="557" y="477"/>
                  </a:lnTo>
                  <a:close/>
                  <a:moveTo>
                    <a:pt x="318" y="477"/>
                  </a:moveTo>
                  <a:cubicBezTo>
                    <a:pt x="318" y="557"/>
                    <a:pt x="318" y="557"/>
                    <a:pt x="318" y="557"/>
                  </a:cubicBezTo>
                  <a:cubicBezTo>
                    <a:pt x="530" y="557"/>
                    <a:pt x="530" y="557"/>
                    <a:pt x="530" y="557"/>
                  </a:cubicBezTo>
                  <a:cubicBezTo>
                    <a:pt x="530" y="477"/>
                    <a:pt x="530" y="477"/>
                    <a:pt x="530" y="477"/>
                  </a:cubicBezTo>
                  <a:lnTo>
                    <a:pt x="318" y="477"/>
                  </a:lnTo>
                  <a:close/>
                  <a:moveTo>
                    <a:pt x="557" y="371"/>
                  </a:moveTo>
                  <a:cubicBezTo>
                    <a:pt x="557" y="450"/>
                    <a:pt x="557" y="450"/>
                    <a:pt x="557" y="450"/>
                  </a:cubicBezTo>
                  <a:cubicBezTo>
                    <a:pt x="769" y="450"/>
                    <a:pt x="769" y="450"/>
                    <a:pt x="769" y="450"/>
                  </a:cubicBezTo>
                  <a:cubicBezTo>
                    <a:pt x="769" y="371"/>
                    <a:pt x="769" y="371"/>
                    <a:pt x="769" y="371"/>
                  </a:cubicBezTo>
                  <a:lnTo>
                    <a:pt x="557" y="371"/>
                  </a:lnTo>
                  <a:close/>
                  <a:moveTo>
                    <a:pt x="318" y="371"/>
                  </a:moveTo>
                  <a:cubicBezTo>
                    <a:pt x="318" y="450"/>
                    <a:pt x="318" y="450"/>
                    <a:pt x="318" y="450"/>
                  </a:cubicBezTo>
                  <a:cubicBezTo>
                    <a:pt x="530" y="450"/>
                    <a:pt x="530" y="450"/>
                    <a:pt x="530" y="450"/>
                  </a:cubicBezTo>
                  <a:cubicBezTo>
                    <a:pt x="530" y="371"/>
                    <a:pt x="530" y="371"/>
                    <a:pt x="530" y="371"/>
                  </a:cubicBezTo>
                  <a:lnTo>
                    <a:pt x="318" y="371"/>
                  </a:lnTo>
                  <a:close/>
                  <a:moveTo>
                    <a:pt x="557" y="265"/>
                  </a:moveTo>
                  <a:cubicBezTo>
                    <a:pt x="557" y="344"/>
                    <a:pt x="557" y="344"/>
                    <a:pt x="557" y="344"/>
                  </a:cubicBezTo>
                  <a:cubicBezTo>
                    <a:pt x="769" y="344"/>
                    <a:pt x="769" y="344"/>
                    <a:pt x="769" y="344"/>
                  </a:cubicBezTo>
                  <a:cubicBezTo>
                    <a:pt x="769" y="265"/>
                    <a:pt x="769" y="265"/>
                    <a:pt x="769" y="265"/>
                  </a:cubicBezTo>
                  <a:lnTo>
                    <a:pt x="557" y="265"/>
                  </a:lnTo>
                  <a:close/>
                  <a:moveTo>
                    <a:pt x="318" y="265"/>
                  </a:moveTo>
                  <a:cubicBezTo>
                    <a:pt x="318" y="344"/>
                    <a:pt x="318" y="344"/>
                    <a:pt x="318" y="344"/>
                  </a:cubicBezTo>
                  <a:cubicBezTo>
                    <a:pt x="530" y="344"/>
                    <a:pt x="530" y="344"/>
                    <a:pt x="530" y="344"/>
                  </a:cubicBezTo>
                  <a:cubicBezTo>
                    <a:pt x="530" y="265"/>
                    <a:pt x="530" y="265"/>
                    <a:pt x="530" y="265"/>
                  </a:cubicBezTo>
                  <a:lnTo>
                    <a:pt x="318" y="265"/>
                  </a:lnTo>
                  <a:close/>
                  <a:moveTo>
                    <a:pt x="557" y="159"/>
                  </a:moveTo>
                  <a:cubicBezTo>
                    <a:pt x="557" y="238"/>
                    <a:pt x="557" y="238"/>
                    <a:pt x="557" y="238"/>
                  </a:cubicBezTo>
                  <a:cubicBezTo>
                    <a:pt x="769" y="238"/>
                    <a:pt x="769" y="238"/>
                    <a:pt x="769" y="238"/>
                  </a:cubicBezTo>
                  <a:cubicBezTo>
                    <a:pt x="769" y="159"/>
                    <a:pt x="769" y="159"/>
                    <a:pt x="769" y="159"/>
                  </a:cubicBezTo>
                  <a:lnTo>
                    <a:pt x="557" y="159"/>
                  </a:lnTo>
                  <a:close/>
                  <a:moveTo>
                    <a:pt x="318" y="159"/>
                  </a:moveTo>
                  <a:cubicBezTo>
                    <a:pt x="318" y="238"/>
                    <a:pt x="318" y="238"/>
                    <a:pt x="318" y="238"/>
                  </a:cubicBezTo>
                  <a:cubicBezTo>
                    <a:pt x="530" y="238"/>
                    <a:pt x="530" y="238"/>
                    <a:pt x="530" y="238"/>
                  </a:cubicBezTo>
                  <a:cubicBezTo>
                    <a:pt x="530" y="159"/>
                    <a:pt x="530" y="159"/>
                    <a:pt x="530" y="159"/>
                  </a:cubicBezTo>
                  <a:lnTo>
                    <a:pt x="318" y="159"/>
                  </a:lnTo>
                  <a:close/>
                  <a:moveTo>
                    <a:pt x="80" y="53"/>
                  </a:moveTo>
                  <a:cubicBezTo>
                    <a:pt x="80" y="795"/>
                    <a:pt x="80" y="795"/>
                    <a:pt x="80" y="795"/>
                  </a:cubicBezTo>
                  <a:cubicBezTo>
                    <a:pt x="265" y="795"/>
                    <a:pt x="265" y="795"/>
                    <a:pt x="265" y="795"/>
                  </a:cubicBezTo>
                  <a:cubicBezTo>
                    <a:pt x="265" y="53"/>
                    <a:pt x="265" y="53"/>
                    <a:pt x="265" y="53"/>
                  </a:cubicBezTo>
                  <a:lnTo>
                    <a:pt x="80" y="53"/>
                  </a:lnTo>
                  <a:close/>
                  <a:moveTo>
                    <a:pt x="53" y="0"/>
                  </a:moveTo>
                  <a:cubicBezTo>
                    <a:pt x="292" y="0"/>
                    <a:pt x="292" y="0"/>
                    <a:pt x="292" y="0"/>
                  </a:cubicBezTo>
                  <a:cubicBezTo>
                    <a:pt x="306" y="0"/>
                    <a:pt x="318" y="12"/>
                    <a:pt x="318" y="26"/>
                  </a:cubicBezTo>
                  <a:cubicBezTo>
                    <a:pt x="318" y="106"/>
                    <a:pt x="318" y="106"/>
                    <a:pt x="318" y="106"/>
                  </a:cubicBezTo>
                  <a:cubicBezTo>
                    <a:pt x="795" y="106"/>
                    <a:pt x="795" y="106"/>
                    <a:pt x="795" y="106"/>
                  </a:cubicBezTo>
                  <a:cubicBezTo>
                    <a:pt x="810" y="106"/>
                    <a:pt x="822" y="118"/>
                    <a:pt x="822" y="132"/>
                  </a:cubicBezTo>
                  <a:cubicBezTo>
                    <a:pt x="822" y="795"/>
                    <a:pt x="822" y="795"/>
                    <a:pt x="822" y="795"/>
                  </a:cubicBezTo>
                  <a:cubicBezTo>
                    <a:pt x="848" y="795"/>
                    <a:pt x="848" y="795"/>
                    <a:pt x="848" y="795"/>
                  </a:cubicBezTo>
                  <a:cubicBezTo>
                    <a:pt x="848" y="848"/>
                    <a:pt x="848" y="848"/>
                    <a:pt x="848" y="848"/>
                  </a:cubicBezTo>
                  <a:cubicBezTo>
                    <a:pt x="292" y="848"/>
                    <a:pt x="292" y="848"/>
                    <a:pt x="292" y="848"/>
                  </a:cubicBezTo>
                  <a:cubicBezTo>
                    <a:pt x="53" y="848"/>
                    <a:pt x="53" y="848"/>
                    <a:pt x="53" y="848"/>
                  </a:cubicBezTo>
                  <a:cubicBezTo>
                    <a:pt x="0" y="848"/>
                    <a:pt x="0" y="848"/>
                    <a:pt x="0" y="848"/>
                  </a:cubicBezTo>
                  <a:cubicBezTo>
                    <a:pt x="0" y="795"/>
                    <a:pt x="0" y="795"/>
                    <a:pt x="0" y="795"/>
                  </a:cubicBezTo>
                  <a:cubicBezTo>
                    <a:pt x="27" y="795"/>
                    <a:pt x="27" y="795"/>
                    <a:pt x="27" y="795"/>
                  </a:cubicBezTo>
                  <a:cubicBezTo>
                    <a:pt x="27" y="26"/>
                    <a:pt x="27" y="26"/>
                    <a:pt x="27" y="26"/>
                  </a:cubicBezTo>
                  <a:cubicBezTo>
                    <a:pt x="27" y="12"/>
                    <a:pt x="38" y="0"/>
                    <a:pt x="5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697" name="Straight Arrow Connector 696"/>
          <p:cNvCxnSpPr>
            <a:cxnSpLocks/>
          </p:cNvCxnSpPr>
          <p:nvPr/>
        </p:nvCxnSpPr>
        <p:spPr>
          <a:xfrm rot="5400000">
            <a:off x="460269" y="5484824"/>
            <a:ext cx="718660" cy="0"/>
          </a:xfrm>
          <a:prstGeom prst="straightConnector1">
            <a:avLst/>
          </a:prstGeom>
          <a:ln w="12700">
            <a:solidFill>
              <a:srgbClr val="FC740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3" name="TextBox 362"/>
          <p:cNvSpPr txBox="1"/>
          <p:nvPr/>
        </p:nvSpPr>
        <p:spPr>
          <a:xfrm>
            <a:off x="536420" y="5297024"/>
            <a:ext cx="569793" cy="199347"/>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MnA</a:t>
            </a:r>
            <a:r>
              <a:rPr kumimoji="0" lang="en-US" sz="700" b="0" i="0" u="none" strike="noStrike" kern="1200" cap="none" spc="0" normalizeH="0" baseline="0" noProof="0" dirty="0">
                <a:ln>
                  <a:noFill/>
                </a:ln>
                <a:solidFill>
                  <a:srgbClr val="505050"/>
                </a:solidFill>
                <a:effectLst/>
                <a:uLnTx/>
                <a:uFillTx/>
                <a:latin typeface="Segoe UI"/>
                <a:ea typeface="+mn-ea"/>
                <a:cs typeface="+mn-cs"/>
              </a:rPr>
              <a:t> Data Streams</a:t>
            </a:r>
          </a:p>
        </p:txBody>
      </p:sp>
      <p:sp>
        <p:nvSpPr>
          <p:cNvPr id="519" name="TextBox 518"/>
          <p:cNvSpPr txBox="1"/>
          <p:nvPr/>
        </p:nvSpPr>
        <p:spPr>
          <a:xfrm>
            <a:off x="5340584" y="2108250"/>
            <a:ext cx="372467" cy="200315"/>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Geo Location</a:t>
            </a:r>
          </a:p>
        </p:txBody>
      </p:sp>
      <p:sp>
        <p:nvSpPr>
          <p:cNvPr id="529" name="TextBox 528"/>
          <p:cNvSpPr txBox="1"/>
          <p:nvPr/>
        </p:nvSpPr>
        <p:spPr>
          <a:xfrm>
            <a:off x="5579942" y="3575634"/>
            <a:ext cx="463233" cy="120556"/>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99" name="TextBox 598"/>
          <p:cNvSpPr txBox="1"/>
          <p:nvPr/>
        </p:nvSpPr>
        <p:spPr>
          <a:xfrm>
            <a:off x="6749133" y="2304800"/>
            <a:ext cx="685406" cy="103440"/>
          </a:xfrm>
          <a:prstGeom prst="rect">
            <a:avLst/>
          </a:prstGeom>
          <a:solidFill>
            <a:schemeClr val="bg1">
              <a:lumMod val="9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Vessel Location</a:t>
            </a:r>
          </a:p>
        </p:txBody>
      </p:sp>
      <p:sp>
        <p:nvSpPr>
          <p:cNvPr id="578" name="TextBox 577"/>
          <p:cNvSpPr txBox="1"/>
          <p:nvPr/>
        </p:nvSpPr>
        <p:spPr>
          <a:xfrm>
            <a:off x="7407715" y="3323246"/>
            <a:ext cx="463233" cy="110193"/>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Keywords</a:t>
            </a:r>
          </a:p>
        </p:txBody>
      </p:sp>
      <p:sp>
        <p:nvSpPr>
          <p:cNvPr id="579" name="TextBox 578"/>
          <p:cNvSpPr txBox="1"/>
          <p:nvPr/>
        </p:nvSpPr>
        <p:spPr>
          <a:xfrm>
            <a:off x="6792676" y="3576974"/>
            <a:ext cx="463233" cy="110550"/>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cxnSp>
        <p:nvCxnSpPr>
          <p:cNvPr id="699" name="Elbow Connector 792"/>
          <p:cNvCxnSpPr>
            <a:cxnSpLocks/>
          </p:cNvCxnSpPr>
          <p:nvPr/>
        </p:nvCxnSpPr>
        <p:spPr>
          <a:xfrm rot="5400000">
            <a:off x="6402086" y="4215084"/>
            <a:ext cx="640080" cy="548640"/>
          </a:xfrm>
          <a:prstGeom prst="bentConnector3">
            <a:avLst>
              <a:gd name="adj1" fmla="val 99630"/>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6" name="Group 125"/>
          <p:cNvGrpSpPr/>
          <p:nvPr/>
        </p:nvGrpSpPr>
        <p:grpSpPr>
          <a:xfrm>
            <a:off x="6668249" y="3819437"/>
            <a:ext cx="667634" cy="490665"/>
            <a:chOff x="6406989" y="3819437"/>
            <a:chExt cx="667634" cy="490665"/>
          </a:xfrm>
        </p:grpSpPr>
        <p:sp>
          <p:nvSpPr>
            <p:cNvPr id="542" name="Freeform 15"/>
            <p:cNvSpPr>
              <a:spLocks noEditPoints="1"/>
            </p:cNvSpPr>
            <p:nvPr/>
          </p:nvSpPr>
          <p:spPr bwMode="black">
            <a:xfrm>
              <a:off x="6593951" y="3819437"/>
              <a:ext cx="294837" cy="2688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43" name="TextBox 542"/>
            <p:cNvSpPr txBox="1"/>
            <p:nvPr/>
          </p:nvSpPr>
          <p:spPr>
            <a:xfrm>
              <a:off x="6406989" y="4088503"/>
              <a:ext cx="667634" cy="221599"/>
            </a:xfrm>
            <a:prstGeom prst="rect">
              <a:avLst/>
            </a:prstGeom>
            <a:solidFill>
              <a:schemeClr val="bg1">
                <a:lumMod val="95000"/>
              </a:schemeClr>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Cognitive Service LUIS</a:t>
              </a:r>
            </a:p>
          </p:txBody>
        </p:sp>
      </p:grpSp>
      <p:sp>
        <p:nvSpPr>
          <p:cNvPr id="547" name="TextBox 546"/>
          <p:cNvSpPr txBox="1"/>
          <p:nvPr/>
        </p:nvSpPr>
        <p:spPr>
          <a:xfrm>
            <a:off x="6565126" y="4463262"/>
            <a:ext cx="853481" cy="122806"/>
          </a:xfrm>
          <a:prstGeom prst="rect">
            <a:avLst/>
          </a:prstGeom>
          <a:solidFill>
            <a:schemeClr val="bg1">
              <a:lumMod val="8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Locations Date/Time</a:t>
            </a:r>
          </a:p>
        </p:txBody>
      </p:sp>
      <p:sp>
        <p:nvSpPr>
          <p:cNvPr id="605" name="TextBox 604"/>
          <p:cNvSpPr txBox="1"/>
          <p:nvPr/>
        </p:nvSpPr>
        <p:spPr>
          <a:xfrm>
            <a:off x="7903836" y="1824851"/>
            <a:ext cx="847223" cy="92525"/>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Vessel Location</a:t>
            </a:r>
          </a:p>
        </p:txBody>
      </p:sp>
      <p:cxnSp>
        <p:nvCxnSpPr>
          <p:cNvPr id="504" name="Straight Arrow Connector 503"/>
          <p:cNvCxnSpPr>
            <a:cxnSpLocks/>
          </p:cNvCxnSpPr>
          <p:nvPr/>
        </p:nvCxnSpPr>
        <p:spPr>
          <a:xfrm>
            <a:off x="2500511" y="4905014"/>
            <a:ext cx="731520"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2" name="TextBox 381"/>
          <p:cNvSpPr txBox="1"/>
          <p:nvPr/>
        </p:nvSpPr>
        <p:spPr>
          <a:xfrm>
            <a:off x="2592338" y="4859557"/>
            <a:ext cx="474014" cy="94445"/>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14" name="TextBox 513"/>
          <p:cNvSpPr txBox="1"/>
          <p:nvPr/>
        </p:nvSpPr>
        <p:spPr>
          <a:xfrm>
            <a:off x="4974564" y="4145226"/>
            <a:ext cx="463233" cy="118299"/>
          </a:xfrm>
          <a:prstGeom prst="rect">
            <a:avLst/>
          </a:prstGeom>
          <a:solidFill>
            <a:srgbClr val="F2F2F2"/>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sp>
        <p:nvSpPr>
          <p:cNvPr id="515" name="TextBox 514"/>
          <p:cNvSpPr txBox="1"/>
          <p:nvPr/>
        </p:nvSpPr>
        <p:spPr>
          <a:xfrm>
            <a:off x="3932062" y="5262438"/>
            <a:ext cx="409099" cy="377536"/>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MNA Streams (CSV files)</a:t>
            </a:r>
          </a:p>
        </p:txBody>
      </p:sp>
      <p:cxnSp>
        <p:nvCxnSpPr>
          <p:cNvPr id="516" name="Straight Connector 515"/>
          <p:cNvCxnSpPr/>
          <p:nvPr/>
        </p:nvCxnSpPr>
        <p:spPr>
          <a:xfrm>
            <a:off x="3691004" y="5802013"/>
            <a:ext cx="0" cy="365760"/>
          </a:xfrm>
          <a:prstGeom prst="line">
            <a:avLst/>
          </a:prstGeom>
          <a:ln w="19050">
            <a:solidFill>
              <a:srgbClr val="C0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20" name="TextBox 519"/>
          <p:cNvSpPr txBox="1"/>
          <p:nvPr/>
        </p:nvSpPr>
        <p:spPr>
          <a:xfrm>
            <a:off x="4487661" y="5874327"/>
            <a:ext cx="348545" cy="235359"/>
          </a:xfrm>
          <a:prstGeom prst="rect">
            <a:avLst/>
          </a:prstGeom>
          <a:solidFill>
            <a:schemeClr val="bg1">
              <a:lumMod val="95000"/>
            </a:schemeClr>
          </a:solid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Transfer Message</a:t>
            </a:r>
          </a:p>
        </p:txBody>
      </p:sp>
      <p:cxnSp>
        <p:nvCxnSpPr>
          <p:cNvPr id="523" name="Straight Arrow Connector 522"/>
          <p:cNvCxnSpPr>
            <a:cxnSpLocks/>
          </p:cNvCxnSpPr>
          <p:nvPr/>
        </p:nvCxnSpPr>
        <p:spPr>
          <a:xfrm flipV="1">
            <a:off x="6097460" y="5058877"/>
            <a:ext cx="1919" cy="274320"/>
          </a:xfrm>
          <a:prstGeom prst="straightConnector1">
            <a:avLst/>
          </a:prstGeom>
          <a:ln w="127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6" name="Elbow Connector 537"/>
          <p:cNvCxnSpPr>
            <a:cxnSpLocks/>
          </p:cNvCxnSpPr>
          <p:nvPr/>
        </p:nvCxnSpPr>
        <p:spPr>
          <a:xfrm flipV="1">
            <a:off x="5361656" y="5455802"/>
            <a:ext cx="365760" cy="502920"/>
          </a:xfrm>
          <a:prstGeom prst="bentConnector3">
            <a:avLst>
              <a:gd name="adj1" fmla="val 25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53" name="Group 352"/>
          <p:cNvGrpSpPr/>
          <p:nvPr/>
        </p:nvGrpSpPr>
        <p:grpSpPr>
          <a:xfrm>
            <a:off x="5021208" y="5802013"/>
            <a:ext cx="358751" cy="309268"/>
            <a:chOff x="269240" y="4584049"/>
            <a:chExt cx="496743" cy="428227"/>
          </a:xfrm>
        </p:grpSpPr>
        <p:grpSp>
          <p:nvGrpSpPr>
            <p:cNvPr id="354" name="Group 353"/>
            <p:cNvGrpSpPr/>
            <p:nvPr/>
          </p:nvGrpSpPr>
          <p:grpSpPr>
            <a:xfrm>
              <a:off x="395625" y="4688636"/>
              <a:ext cx="299989" cy="226538"/>
              <a:chOff x="122886" y="4999640"/>
              <a:chExt cx="299989" cy="226538"/>
            </a:xfrm>
          </p:grpSpPr>
          <p:sp>
            <p:nvSpPr>
              <p:cNvPr id="356" name="Right Arrow 355"/>
              <p:cNvSpPr/>
              <p:nvPr/>
            </p:nvSpPr>
            <p:spPr bwMode="auto">
              <a:xfrm>
                <a:off x="122886" y="4999640"/>
                <a:ext cx="299989" cy="226538"/>
              </a:xfrm>
              <a:prstGeom prst="rightArrow">
                <a:avLst>
                  <a:gd name="adj1" fmla="val 10000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Freeform 81"/>
              <p:cNvSpPr>
                <a:spLocks noEditPoints="1"/>
              </p:cNvSpPr>
              <p:nvPr/>
            </p:nvSpPr>
            <p:spPr bwMode="black">
              <a:xfrm>
                <a:off x="161408" y="5054040"/>
                <a:ext cx="159649" cy="123599"/>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55" name="Hexagon 354"/>
            <p:cNvSpPr/>
            <p:nvPr/>
          </p:nvSpPr>
          <p:spPr bwMode="auto">
            <a:xfrm>
              <a:off x="269240" y="4584049"/>
              <a:ext cx="496743" cy="428227"/>
            </a:xfrm>
            <a:prstGeom prst="hexagon">
              <a:avLst/>
            </a:prstGeom>
            <a:ln w="2667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Segoe UI"/>
                <a:ea typeface="+mn-ea"/>
                <a:cs typeface="+mn-cs"/>
              </a:endParaRPr>
            </a:p>
          </p:txBody>
        </p:sp>
      </p:grpSp>
      <p:sp>
        <p:nvSpPr>
          <p:cNvPr id="625" name="TextBox 624"/>
          <p:cNvSpPr txBox="1"/>
          <p:nvPr/>
        </p:nvSpPr>
        <p:spPr>
          <a:xfrm>
            <a:off x="7359941" y="4709739"/>
            <a:ext cx="512985" cy="116241"/>
          </a:xfrm>
          <a:prstGeom prst="rect">
            <a:avLst/>
          </a:prstGeom>
          <a:solidFill>
            <a:schemeClr val="bg1">
              <a:lumMod val="85000"/>
            </a:schemeClr>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505050"/>
                </a:solidFill>
                <a:effectLst/>
                <a:uLnTx/>
                <a:uFillTx/>
                <a:latin typeface="Segoe UI"/>
                <a:ea typeface="+mn-ea"/>
                <a:cs typeface="+mn-cs"/>
              </a:rPr>
              <a:t>Disruptions</a:t>
            </a:r>
          </a:p>
        </p:txBody>
      </p:sp>
      <p:grpSp>
        <p:nvGrpSpPr>
          <p:cNvPr id="105" name="Group 104"/>
          <p:cNvGrpSpPr/>
          <p:nvPr/>
        </p:nvGrpSpPr>
        <p:grpSpPr>
          <a:xfrm>
            <a:off x="8375596" y="4124057"/>
            <a:ext cx="395883" cy="221599"/>
            <a:chOff x="7568519" y="4252394"/>
            <a:chExt cx="395883" cy="221599"/>
          </a:xfrm>
        </p:grpSpPr>
        <p:sp>
          <p:nvSpPr>
            <p:cNvPr id="617" name="TextBox 616"/>
            <p:cNvSpPr txBox="1"/>
            <p:nvPr/>
          </p:nvSpPr>
          <p:spPr>
            <a:xfrm>
              <a:off x="7568519" y="4252394"/>
              <a:ext cx="281642"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a:t>
              </a:r>
            </a:p>
          </p:txBody>
        </p:sp>
        <p:sp>
          <p:nvSpPr>
            <p:cNvPr id="534" name="Freeform 70"/>
            <p:cNvSpPr>
              <a:spLocks noChangeAspect="1"/>
            </p:cNvSpPr>
            <p:nvPr/>
          </p:nvSpPr>
          <p:spPr bwMode="black">
            <a:xfrm>
              <a:off x="7821738" y="4268039"/>
              <a:ext cx="142664" cy="205953"/>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32" tIns="74426" rIns="93032" bIns="74426" numCol="1" spcCol="0" rtlCol="0" fromWordArt="0" anchor="t" anchorCtr="0" forceAA="0" compatLnSpc="1">
              <a:prstTxWarp prst="textNoShape">
                <a:avLst/>
              </a:prstTxWarp>
              <a:noAutofit/>
            </a:bodyPr>
            <a:lstStyle/>
            <a:p>
              <a:pPr marL="0" marR="0" lvl="0" indent="0" algn="ctr" defTabSz="47434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92" name="TextBox 591"/>
          <p:cNvSpPr txBox="1"/>
          <p:nvPr/>
        </p:nvSpPr>
        <p:spPr>
          <a:xfrm>
            <a:off x="7325448" y="5604248"/>
            <a:ext cx="579641" cy="443198"/>
          </a:xfrm>
          <a:prstGeom prst="rect">
            <a:avLst/>
          </a:prstGeom>
          <a:solidFill>
            <a:schemeClr val="bg1">
              <a:lumMod val="85000"/>
            </a:schemeClr>
          </a:solid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050"/>
                </a:solidFill>
                <a:effectLst/>
                <a:uLnTx/>
                <a:uFillTx/>
                <a:latin typeface="Segoe UI"/>
                <a:ea typeface="+mn-ea"/>
                <a:cs typeface="+mn-cs"/>
              </a:rPr>
              <a:t>Data Lake Storage </a:t>
            </a:r>
            <a:r>
              <a:rPr kumimoji="0" lang="en-US" sz="800" b="0" i="0" u="none" strike="noStrike" kern="1200" cap="none" spc="0" normalizeH="0" baseline="0" noProof="0" dirty="0">
                <a:ln>
                  <a:noFill/>
                </a:ln>
                <a:solidFill>
                  <a:srgbClr val="0072C6"/>
                </a:solidFill>
                <a:effectLst/>
                <a:uLnTx/>
                <a:uFillTx/>
                <a:latin typeface="Segoe UI"/>
                <a:ea typeface="+mn-ea"/>
                <a:cs typeface="+mn-cs"/>
              </a:rPr>
              <a:t>(Encryption at Rest)</a:t>
            </a:r>
          </a:p>
        </p:txBody>
      </p:sp>
      <p:sp>
        <p:nvSpPr>
          <p:cNvPr id="511" name="TextBox 510"/>
          <p:cNvSpPr txBox="1"/>
          <p:nvPr/>
        </p:nvSpPr>
        <p:spPr>
          <a:xfrm>
            <a:off x="10411014" y="5400325"/>
            <a:ext cx="322754" cy="91103"/>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err="1">
                <a:ln>
                  <a:noFill/>
                </a:ln>
                <a:solidFill>
                  <a:srgbClr val="505050"/>
                </a:solidFill>
                <a:effectLst/>
                <a:uLnTx/>
                <a:uFillTx/>
                <a:latin typeface="Segoe UI"/>
                <a:ea typeface="+mn-ea"/>
                <a:cs typeface="+mn-cs"/>
              </a:rPr>
              <a:t>Auth</a:t>
            </a:r>
            <a:endParaRPr kumimoji="0" lang="en-US" sz="7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 name="Rectangle 1"/>
          <p:cNvSpPr/>
          <p:nvPr/>
        </p:nvSpPr>
        <p:spPr bwMode="auto">
          <a:xfrm>
            <a:off x="10549117" y="6515100"/>
            <a:ext cx="1196787" cy="320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3967918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1"/>
          <p:cNvSpPr txBox="1">
            <a:spLocks/>
          </p:cNvSpPr>
          <p:nvPr/>
        </p:nvSpPr>
        <p:spPr>
          <a:xfrm>
            <a:off x="269241" y="221878"/>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nb-NO" sz="4705" spc="-100" dirty="0">
                <a:gradFill>
                  <a:gsLst>
                    <a:gs pos="1250">
                      <a:srgbClr val="2C2C2C"/>
                    </a:gs>
                    <a:gs pos="100000">
                      <a:srgbClr val="2C2C2C"/>
                    </a:gs>
                  </a:gsLst>
                  <a:lin ang="5400000" scaled="0"/>
                </a:gradFill>
                <a:latin typeface="Segoe UI Light"/>
              </a:rPr>
              <a:t>Future vision for SQL Server BI and Power BI </a:t>
            </a:r>
            <a:r>
              <a:rPr lang="nb-NO" sz="4313" spc="-100" dirty="0">
                <a:gradFill>
                  <a:gsLst>
                    <a:gs pos="1250">
                      <a:srgbClr val="2C2C2C"/>
                    </a:gs>
                    <a:gs pos="100000">
                      <a:srgbClr val="2C2C2C"/>
                    </a:gs>
                  </a:gsLst>
                  <a:lin ang="5400000" scaled="0"/>
                </a:gradFill>
                <a:latin typeface="Segoe UI Light"/>
              </a:rPr>
              <a:t/>
            </a:r>
            <a:br>
              <a:rPr lang="nb-NO" sz="4313" spc="-100" dirty="0">
                <a:gradFill>
                  <a:gsLst>
                    <a:gs pos="1250">
                      <a:srgbClr val="2C2C2C"/>
                    </a:gs>
                    <a:gs pos="100000">
                      <a:srgbClr val="2C2C2C"/>
                    </a:gs>
                  </a:gsLst>
                  <a:lin ang="5400000" scaled="0"/>
                </a:gradFill>
                <a:latin typeface="Segoe UI Light"/>
              </a:rPr>
            </a:br>
            <a:r>
              <a:rPr lang="nb-NO" sz="3529" spc="-100" dirty="0">
                <a:gradFill>
                  <a:gsLst>
                    <a:gs pos="877">
                      <a:srgbClr val="FF8C00"/>
                    </a:gs>
                    <a:gs pos="15000">
                      <a:srgbClr val="FF8C00"/>
                    </a:gs>
                  </a:gsLst>
                  <a:lin ang="5400000" scaled="0"/>
                </a:gradFill>
                <a:latin typeface="Segoe UI Light"/>
              </a:rPr>
              <a:t>Beyond SQL Server 2016 </a:t>
            </a:r>
            <a:endParaRPr lang="nb-NO" sz="5882" spc="-100" dirty="0">
              <a:gradFill>
                <a:gsLst>
                  <a:gs pos="1250">
                    <a:srgbClr val="2C2C2C"/>
                  </a:gs>
                  <a:gs pos="100000">
                    <a:srgbClr val="2C2C2C"/>
                  </a:gs>
                </a:gsLst>
                <a:lin ang="5400000" scaled="0"/>
              </a:gradFill>
              <a:latin typeface="Segoe UI Light"/>
            </a:endParaRPr>
          </a:p>
        </p:txBody>
      </p:sp>
      <p:grpSp>
        <p:nvGrpSpPr>
          <p:cNvPr id="23" name="Group 22"/>
          <p:cNvGrpSpPr/>
          <p:nvPr/>
        </p:nvGrpSpPr>
        <p:grpSpPr>
          <a:xfrm>
            <a:off x="4398707" y="1609373"/>
            <a:ext cx="3092666" cy="4873063"/>
            <a:chOff x="4486910" y="1641148"/>
            <a:chExt cx="3154680" cy="4970778"/>
          </a:xfrm>
        </p:grpSpPr>
        <p:sp>
          <p:nvSpPr>
            <p:cNvPr id="91" name="Rectangle 90"/>
            <p:cNvSpPr/>
            <p:nvPr/>
          </p:nvSpPr>
          <p:spPr bwMode="auto">
            <a:xfrm>
              <a:off x="4486910" y="1857046"/>
              <a:ext cx="3154680"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06" name="Rectangle 105"/>
            <p:cNvSpPr/>
            <p:nvPr/>
          </p:nvSpPr>
          <p:spPr>
            <a:xfrm>
              <a:off x="4784090" y="2316163"/>
              <a:ext cx="2560320" cy="17373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defTabSz="913505" fontAlgn="base">
                <a:spcBef>
                  <a:spcPct val="0"/>
                </a:spcBef>
                <a:spcAft>
                  <a:spcPts val="588"/>
                </a:spcAft>
                <a:defRPr/>
              </a:pPr>
              <a:r>
                <a:rPr lang="en-US" sz="1372" dirty="0">
                  <a:solidFill>
                    <a:srgbClr val="505050"/>
                  </a:solidFill>
                  <a:latin typeface="Segoe UI Semibold" panose="020B0702040204020203" pitchFamily="34" charset="0"/>
                  <a:cs typeface="Segoe UI Semibold" panose="020B0702040204020203" pitchFamily="34" charset="0"/>
                </a:rPr>
                <a:t>Power BI</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ower BI Desktop</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icrosoft Excel</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obile report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aginated reports</a:t>
              </a:r>
              <a:endParaRPr lang="en-US" sz="1372" dirty="0">
                <a:solidFill>
                  <a:srgbClr val="505050"/>
                </a:solidFill>
                <a:latin typeface="Segoe UI"/>
              </a:endParaRPr>
            </a:p>
          </p:txBody>
        </p:sp>
        <p:sp>
          <p:nvSpPr>
            <p:cNvPr id="142" name="Rectangle 141"/>
            <p:cNvSpPr/>
            <p:nvPr/>
          </p:nvSpPr>
          <p:spPr bwMode="auto">
            <a:xfrm>
              <a:off x="4486910" y="1641148"/>
              <a:ext cx="3154680"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DELIVER</a:t>
              </a:r>
            </a:p>
          </p:txBody>
        </p:sp>
        <p:sp>
          <p:nvSpPr>
            <p:cNvPr id="105" name="TextBox 104"/>
            <p:cNvSpPr txBox="1"/>
            <p:nvPr/>
          </p:nvSpPr>
          <p:spPr>
            <a:xfrm>
              <a:off x="4618282" y="2017817"/>
              <a:ext cx="2654094" cy="44781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CLOUD</a:t>
              </a:r>
            </a:p>
          </p:txBody>
        </p:sp>
        <p:grpSp>
          <p:nvGrpSpPr>
            <p:cNvPr id="22" name="Group 21"/>
            <p:cNvGrpSpPr/>
            <p:nvPr/>
          </p:nvGrpSpPr>
          <p:grpSpPr>
            <a:xfrm>
              <a:off x="4618282" y="4103371"/>
              <a:ext cx="2726128" cy="2290531"/>
              <a:chOff x="4618282" y="4103371"/>
              <a:chExt cx="2726128" cy="2290531"/>
            </a:xfrm>
          </p:grpSpPr>
          <p:sp>
            <p:nvSpPr>
              <p:cNvPr id="120" name="TextBox 119"/>
              <p:cNvSpPr txBox="1"/>
              <p:nvPr/>
            </p:nvSpPr>
            <p:spPr>
              <a:xfrm>
                <a:off x="5962987" y="4103371"/>
                <a:ext cx="1277722" cy="54476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882" dirty="0">
                    <a:solidFill>
                      <a:srgbClr val="FF8C00"/>
                    </a:solidFill>
                    <a:latin typeface="Segoe UI Semibold" panose="020B0702040204020203" pitchFamily="34" charset="0"/>
                    <a:ea typeface="MS PGothic" charset="0"/>
                    <a:cs typeface="Segoe UI Semibold" panose="020B0702040204020203" pitchFamily="34" charset="0"/>
                  </a:rPr>
                  <a:t>PIN PAGINATED REPORT ITEMS</a:t>
                </a:r>
              </a:p>
            </p:txBody>
          </p:sp>
          <p:sp>
            <p:nvSpPr>
              <p:cNvPr id="64" name="Rectangle 63"/>
              <p:cNvSpPr/>
              <p:nvPr/>
            </p:nvSpPr>
            <p:spPr bwMode="auto">
              <a:xfrm>
                <a:off x="4784090" y="4656542"/>
                <a:ext cx="2560320" cy="17373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defTabSz="913505" fontAlgn="base">
                  <a:lnSpc>
                    <a:spcPct val="90000"/>
                  </a:lnSpc>
                  <a:spcAft>
                    <a:spcPts val="588"/>
                  </a:spcAft>
                  <a:defRPr/>
                </a:pPr>
                <a:r>
                  <a:rPr lang="en-US" sz="1372" dirty="0">
                    <a:solidFill>
                      <a:srgbClr val="505050"/>
                    </a:solidFill>
                    <a:latin typeface="Segoe UI Semibold" panose="020B0702040204020203" pitchFamily="34" charset="0"/>
                    <a:cs typeface="Segoe UI Semibold" panose="020B0702040204020203" pitchFamily="34" charset="0"/>
                  </a:rPr>
                  <a:t>SQL Server </a:t>
                </a:r>
                <a:br>
                  <a:rPr lang="en-US" sz="1372" dirty="0">
                    <a:solidFill>
                      <a:srgbClr val="505050"/>
                    </a:solidFill>
                    <a:latin typeface="Segoe UI Semibold" panose="020B0702040204020203" pitchFamily="34" charset="0"/>
                    <a:cs typeface="Segoe UI Semibold" panose="020B0702040204020203" pitchFamily="34" charset="0"/>
                  </a:rPr>
                </a:br>
                <a:r>
                  <a:rPr lang="en-US" sz="1372" dirty="0">
                    <a:solidFill>
                      <a:srgbClr val="505050"/>
                    </a:solidFill>
                    <a:latin typeface="Segoe UI Semibold" panose="020B0702040204020203" pitchFamily="34" charset="0"/>
                    <a:cs typeface="Segoe UI Semibold" panose="020B0702040204020203" pitchFamily="34" charset="0"/>
                  </a:rPr>
                  <a:t>Reporting Service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ower BI Desktop</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Mobile reports</a:t>
                </a:r>
              </a:p>
              <a:p>
                <a:pPr marL="168072" indent="-168072" defTabSz="913505" fontAlgn="base">
                  <a:spcBef>
                    <a:spcPts val="588"/>
                  </a:spcBef>
                  <a:spcAft>
                    <a:spcPct val="0"/>
                  </a:spcAft>
                  <a:buClr>
                    <a:srgbClr val="FF8C00"/>
                  </a:buClr>
                  <a:buFont typeface="Arial" panose="020B0604020202020204" pitchFamily="34" charset="0"/>
                  <a:buChar char="•"/>
                  <a:defRPr/>
                </a:pPr>
                <a:r>
                  <a:rPr lang="en-US" sz="1176" dirty="0">
                    <a:solidFill>
                      <a:srgbClr val="505050"/>
                    </a:solidFill>
                    <a:latin typeface="Segoe UI"/>
                    <a:cs typeface="Segoe UI Light" panose="020B0502040204020203" pitchFamily="34" charset="0"/>
                  </a:rPr>
                  <a:t>Paginated reports</a:t>
                </a:r>
                <a:endParaRPr lang="en-US" sz="1372" dirty="0">
                  <a:solidFill>
                    <a:srgbClr val="505050"/>
                  </a:solidFill>
                  <a:latin typeface="Segoe UI"/>
                </a:endParaRPr>
              </a:p>
            </p:txBody>
          </p:sp>
          <p:sp>
            <p:nvSpPr>
              <p:cNvPr id="152" name="TextBox 151"/>
              <p:cNvSpPr txBox="1"/>
              <p:nvPr/>
            </p:nvSpPr>
            <p:spPr>
              <a:xfrm>
                <a:off x="4618282" y="4346267"/>
                <a:ext cx="1528438"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 ON-PREMISES</a:t>
                </a:r>
              </a:p>
            </p:txBody>
          </p:sp>
        </p:grpSp>
        <p:cxnSp>
          <p:nvCxnSpPr>
            <p:cNvPr id="110" name="Straight Arrow Connector 109"/>
            <p:cNvCxnSpPr/>
            <p:nvPr/>
          </p:nvCxnSpPr>
          <p:spPr>
            <a:xfrm flipV="1">
              <a:off x="6064250" y="4072573"/>
              <a:ext cx="0" cy="58521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6888180" y="2412175"/>
              <a:ext cx="365760" cy="354130"/>
            </a:xfrm>
            <a:prstGeom prst="rect">
              <a:avLst/>
            </a:prstGeom>
          </p:spPr>
        </p:pic>
      </p:grpSp>
      <p:grpSp>
        <p:nvGrpSpPr>
          <p:cNvPr id="12" name="Group 11"/>
          <p:cNvGrpSpPr/>
          <p:nvPr/>
        </p:nvGrpSpPr>
        <p:grpSpPr>
          <a:xfrm>
            <a:off x="8111188" y="1609373"/>
            <a:ext cx="3092666" cy="4873063"/>
            <a:chOff x="8273834" y="1641148"/>
            <a:chExt cx="3154680" cy="4970778"/>
          </a:xfrm>
        </p:grpSpPr>
        <p:sp>
          <p:nvSpPr>
            <p:cNvPr id="121" name="Rectangle 120"/>
            <p:cNvSpPr/>
            <p:nvPr/>
          </p:nvSpPr>
          <p:spPr bwMode="auto">
            <a:xfrm>
              <a:off x="8273834" y="1857046"/>
              <a:ext cx="3154680"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18" name="Rectangle 117"/>
            <p:cNvSpPr/>
            <p:nvPr/>
          </p:nvSpPr>
          <p:spPr>
            <a:xfrm>
              <a:off x="8547098" y="2316163"/>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29" name="TextBox 128"/>
            <p:cNvSpPr txBox="1"/>
            <p:nvPr/>
          </p:nvSpPr>
          <p:spPr>
            <a:xfrm>
              <a:off x="8893437" y="2451104"/>
              <a:ext cx="1579879" cy="278760"/>
            </a:xfrm>
            <a:prstGeom prst="rect">
              <a:avLst/>
            </a:prstGeom>
            <a:noFill/>
          </p:spPr>
          <p:txBody>
            <a:bodyPr wrap="none" rtlCol="0" anchor="ctr">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Power BI Web Portal</a:t>
              </a:r>
            </a:p>
          </p:txBody>
        </p:sp>
        <p:sp>
          <p:nvSpPr>
            <p:cNvPr id="140" name="Rectangle 139"/>
            <p:cNvSpPr/>
            <p:nvPr/>
          </p:nvSpPr>
          <p:spPr bwMode="auto">
            <a:xfrm>
              <a:off x="8273834" y="1641148"/>
              <a:ext cx="3154680"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CONSUME</a:t>
              </a:r>
            </a:p>
          </p:txBody>
        </p:sp>
        <p:sp>
          <p:nvSpPr>
            <p:cNvPr id="164" name="TextBox 163"/>
            <p:cNvSpPr txBox="1"/>
            <p:nvPr/>
          </p:nvSpPr>
          <p:spPr>
            <a:xfrm>
              <a:off x="8412480" y="2969393"/>
              <a:ext cx="2019042"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ONE SET OF MOBILE APPS</a:t>
              </a:r>
            </a:p>
          </p:txBody>
        </p:sp>
        <p:sp>
          <p:nvSpPr>
            <p:cNvPr id="169" name="Rectangle 168"/>
            <p:cNvSpPr/>
            <p:nvPr/>
          </p:nvSpPr>
          <p:spPr>
            <a:xfrm>
              <a:off x="8571014" y="3279872"/>
              <a:ext cx="2560320" cy="1673479"/>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73" name="TextBox 172"/>
            <p:cNvSpPr txBox="1"/>
            <p:nvPr/>
          </p:nvSpPr>
          <p:spPr>
            <a:xfrm>
              <a:off x="9342877" y="3456113"/>
              <a:ext cx="1130439"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Windows App</a:t>
              </a:r>
            </a:p>
          </p:txBody>
        </p:sp>
        <p:sp>
          <p:nvSpPr>
            <p:cNvPr id="174" name="TextBox 173"/>
            <p:cNvSpPr txBox="1"/>
            <p:nvPr/>
          </p:nvSpPr>
          <p:spPr>
            <a:xfrm>
              <a:off x="9421873" y="3922039"/>
              <a:ext cx="1051443"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Android App</a:t>
              </a:r>
            </a:p>
          </p:txBody>
        </p:sp>
        <p:sp>
          <p:nvSpPr>
            <p:cNvPr id="175" name="TextBox 174"/>
            <p:cNvSpPr txBox="1"/>
            <p:nvPr/>
          </p:nvSpPr>
          <p:spPr>
            <a:xfrm>
              <a:off x="9734010" y="4407420"/>
              <a:ext cx="739306" cy="276999"/>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iOS App</a:t>
              </a:r>
            </a:p>
          </p:txBody>
        </p:sp>
        <p:sp>
          <p:nvSpPr>
            <p:cNvPr id="176" name="Rectangle 175"/>
            <p:cNvSpPr/>
            <p:nvPr/>
          </p:nvSpPr>
          <p:spPr>
            <a:xfrm>
              <a:off x="8571014" y="5134331"/>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dirty="0">
                <a:solidFill>
                  <a:srgbClr val="505050"/>
                </a:solidFill>
                <a:latin typeface="Segoe UI"/>
              </a:endParaRPr>
            </a:p>
          </p:txBody>
        </p:sp>
        <p:sp>
          <p:nvSpPr>
            <p:cNvPr id="178" name="TextBox 177"/>
            <p:cNvSpPr txBox="1"/>
            <p:nvPr/>
          </p:nvSpPr>
          <p:spPr>
            <a:xfrm>
              <a:off x="9531263" y="5270151"/>
              <a:ext cx="942053" cy="276999"/>
            </a:xfrm>
            <a:prstGeom prst="rect">
              <a:avLst/>
            </a:prstGeom>
            <a:noFill/>
          </p:spPr>
          <p:txBody>
            <a:bodyPr wrap="none" rtlCol="0" anchor="ctr">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Web portal</a:t>
              </a:r>
              <a:endParaRPr lang="en-US" sz="1078" dirty="0">
                <a:solidFill>
                  <a:srgbClr val="505050"/>
                </a:solidFill>
                <a:latin typeface="Segoe UI"/>
                <a:ea typeface="MS PGothic" charset="0"/>
                <a:cs typeface="Segoe UI Light" panose="020B0502040204020203" pitchFamily="34" charset="0"/>
              </a:endParaRPr>
            </a:p>
          </p:txBody>
        </p:sp>
        <p:sp>
          <p:nvSpPr>
            <p:cNvPr id="179" name="Rectangle 178"/>
            <p:cNvSpPr/>
            <p:nvPr/>
          </p:nvSpPr>
          <p:spPr>
            <a:xfrm>
              <a:off x="8571014" y="5837009"/>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endParaRPr lang="en-US" sz="1568">
                <a:solidFill>
                  <a:srgbClr val="505050"/>
                </a:solidFill>
                <a:latin typeface="Segoe UI"/>
              </a:endParaRPr>
            </a:p>
          </p:txBody>
        </p:sp>
        <p:sp>
          <p:nvSpPr>
            <p:cNvPr id="180" name="TextBox 179"/>
            <p:cNvSpPr txBox="1"/>
            <p:nvPr/>
          </p:nvSpPr>
          <p:spPr>
            <a:xfrm>
              <a:off x="9550766" y="5972830"/>
              <a:ext cx="922550" cy="278760"/>
            </a:xfrm>
            <a:prstGeom prst="rect">
              <a:avLst/>
            </a:prstGeom>
            <a:noFill/>
          </p:spPr>
          <p:txBody>
            <a:bodyPr wrap="none" rtlCol="0">
              <a:spAutoFit/>
            </a:bodyPr>
            <a:lstStyle/>
            <a:p>
              <a:pPr algn="r" defTabSz="913505" fontAlgn="base">
                <a:spcBef>
                  <a:spcPct val="0"/>
                </a:spcBef>
                <a:spcAft>
                  <a:spcPct val="0"/>
                </a:spcAft>
                <a:defRPr/>
              </a:pPr>
              <a:r>
                <a:rPr lang="en-US" sz="1176" dirty="0">
                  <a:solidFill>
                    <a:srgbClr val="505050"/>
                  </a:solidFill>
                  <a:latin typeface="Segoe UI"/>
                  <a:ea typeface="MS PGothic" charset="0"/>
                  <a:cs typeface="Segoe UI Light" panose="020B0502040204020203" pitchFamily="34" charset="0"/>
                </a:rPr>
                <a:t>SharePoint</a:t>
              </a:r>
            </a:p>
          </p:txBody>
        </p:sp>
        <p:pic>
          <p:nvPicPr>
            <p:cNvPr id="181" name="Picture 180"/>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533017" y="5844559"/>
              <a:ext cx="556515" cy="573025"/>
            </a:xfrm>
            <a:prstGeom prst="rect">
              <a:avLst/>
            </a:prstGeom>
          </p:spPr>
        </p:pic>
        <p:grpSp>
          <p:nvGrpSpPr>
            <p:cNvPr id="93" name="Group 92"/>
            <p:cNvGrpSpPr>
              <a:grpSpLocks noChangeAspect="1"/>
            </p:cNvGrpSpPr>
            <p:nvPr/>
          </p:nvGrpSpPr>
          <p:grpSpPr>
            <a:xfrm>
              <a:off x="10660615" y="3469729"/>
              <a:ext cx="301318" cy="307756"/>
              <a:chOff x="9127779" y="3921209"/>
              <a:chExt cx="358108" cy="365760"/>
            </a:xfrm>
            <a:solidFill>
              <a:srgbClr val="00BCF2"/>
            </a:solidFill>
          </p:grpSpPr>
          <p:sp>
            <p:nvSpPr>
              <p:cNvPr id="96"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97"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100"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101"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sp>
          <p:nvSpPr>
            <p:cNvPr id="87" name="Freeform 5"/>
            <p:cNvSpPr>
              <a:spLocks noChangeAspect="1" noEditPoints="1"/>
            </p:cNvSpPr>
            <p:nvPr/>
          </p:nvSpPr>
          <p:spPr bwMode="auto">
            <a:xfrm>
              <a:off x="10674672" y="4430483"/>
              <a:ext cx="273204" cy="307756"/>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nvGrpSpPr>
            <p:cNvPr id="76" name="Group 75"/>
            <p:cNvGrpSpPr>
              <a:grpSpLocks noChangeAspect="1"/>
            </p:cNvGrpSpPr>
            <p:nvPr/>
          </p:nvGrpSpPr>
          <p:grpSpPr>
            <a:xfrm>
              <a:off x="10682143" y="3911869"/>
              <a:ext cx="258263" cy="307756"/>
              <a:chOff x="4130675" y="1004888"/>
              <a:chExt cx="4175126" cy="4975225"/>
            </a:xfrm>
          </p:grpSpPr>
          <p:sp>
            <p:nvSpPr>
              <p:cNvPr id="80"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1"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3"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84"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pic>
          <p:nvPicPr>
            <p:cNvPr id="75" name="Picture 74"/>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10647317" y="2412175"/>
              <a:ext cx="365760" cy="354130"/>
            </a:xfrm>
            <a:prstGeom prst="rect">
              <a:avLst/>
            </a:prstGeom>
          </p:spPr>
        </p:pic>
        <p:pic>
          <p:nvPicPr>
            <p:cNvPr id="102" name="Picture 2" descr="http://www.w3.org/html/logo/downloads/HTML5_Badge_12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7317" y="5248167"/>
              <a:ext cx="353760" cy="353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7197737" y="2540046"/>
            <a:ext cx="1774606" cy="3568961"/>
            <a:chOff x="7335715" y="2590483"/>
            <a:chExt cx="1810191" cy="3640526"/>
          </a:xfrm>
        </p:grpSpPr>
        <p:sp>
          <p:nvSpPr>
            <p:cNvPr id="162" name="TextBox 161"/>
            <p:cNvSpPr txBox="1"/>
            <p:nvPr/>
          </p:nvSpPr>
          <p:spPr>
            <a:xfrm>
              <a:off x="7552519" y="5810894"/>
              <a:ext cx="1593387" cy="420115"/>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882" dirty="0">
                  <a:solidFill>
                    <a:srgbClr val="FF8C00"/>
                  </a:solidFill>
                  <a:latin typeface="Segoe UI Semibold" panose="020B0702040204020203" pitchFamily="34" charset="0"/>
                  <a:ea typeface="MS PGothic" charset="0"/>
                  <a:cs typeface="Segoe UI Semibold" panose="020B0702040204020203" pitchFamily="34" charset="0"/>
                </a:rPr>
                <a:t>EMBED</a:t>
              </a:r>
            </a:p>
          </p:txBody>
        </p:sp>
        <p:grpSp>
          <p:nvGrpSpPr>
            <p:cNvPr id="3" name="Group 2"/>
            <p:cNvGrpSpPr/>
            <p:nvPr/>
          </p:nvGrpSpPr>
          <p:grpSpPr>
            <a:xfrm>
              <a:off x="7335715" y="2590483"/>
              <a:ext cx="1219238" cy="3523245"/>
              <a:chOff x="7345989" y="2590483"/>
              <a:chExt cx="1219238" cy="3523245"/>
            </a:xfrm>
          </p:grpSpPr>
          <p:cxnSp>
            <p:nvCxnSpPr>
              <p:cNvPr id="123" name="Straight Arrow Connector 122"/>
              <p:cNvCxnSpPr/>
              <p:nvPr/>
            </p:nvCxnSpPr>
            <p:spPr>
              <a:xfrm>
                <a:off x="7345989" y="2590483"/>
                <a:ext cx="1193570"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7345989" y="5406252"/>
                <a:ext cx="1197864" cy="4798"/>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7955077" y="3265465"/>
                <a:ext cx="12091" cy="1883664"/>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7973299" y="4116611"/>
                <a:ext cx="591928" cy="2103"/>
              </a:xfrm>
              <a:prstGeom prst="line">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345989" y="6108930"/>
                <a:ext cx="1197864" cy="4798"/>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7345989" y="3285083"/>
                <a:ext cx="621792" cy="853"/>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7345989" y="5129193"/>
                <a:ext cx="621792" cy="853"/>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 name="Group 12"/>
          <p:cNvGrpSpPr/>
          <p:nvPr/>
        </p:nvGrpSpPr>
        <p:grpSpPr>
          <a:xfrm>
            <a:off x="717141" y="1609373"/>
            <a:ext cx="3239732" cy="4873063"/>
            <a:chOff x="731520" y="1641148"/>
            <a:chExt cx="3304695" cy="4970778"/>
          </a:xfrm>
        </p:grpSpPr>
        <p:grpSp>
          <p:nvGrpSpPr>
            <p:cNvPr id="6" name="Group 5"/>
            <p:cNvGrpSpPr/>
            <p:nvPr/>
          </p:nvGrpSpPr>
          <p:grpSpPr>
            <a:xfrm>
              <a:off x="731520" y="1641148"/>
              <a:ext cx="3304695" cy="4970778"/>
              <a:chOff x="731520" y="1641148"/>
              <a:chExt cx="3304695" cy="4970778"/>
            </a:xfrm>
          </p:grpSpPr>
          <p:sp>
            <p:nvSpPr>
              <p:cNvPr id="90" name="Rectangle 89"/>
              <p:cNvSpPr/>
              <p:nvPr/>
            </p:nvSpPr>
            <p:spPr bwMode="auto">
              <a:xfrm>
                <a:off x="731520" y="1857046"/>
                <a:ext cx="3149816" cy="475488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505050"/>
                  </a:solidFill>
                  <a:latin typeface="Segoe UI"/>
                  <a:ea typeface="Segoe UI" pitchFamily="34" charset="0"/>
                  <a:cs typeface="Segoe UI" pitchFamily="34" charset="0"/>
                </a:endParaRPr>
              </a:p>
            </p:txBody>
          </p:sp>
          <p:sp>
            <p:nvSpPr>
              <p:cNvPr id="141" name="Rectangle 140"/>
              <p:cNvSpPr/>
              <p:nvPr/>
            </p:nvSpPr>
            <p:spPr>
              <a:xfrm>
                <a:off x="1024128" y="5273899"/>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defRPr/>
                </a:pPr>
                <a:r>
                  <a:rPr lang="en-US" sz="1176" dirty="0">
                    <a:solidFill>
                      <a:srgbClr val="505050"/>
                    </a:solidFill>
                    <a:latin typeface="Segoe UI"/>
                  </a:rPr>
                  <a:t>SQL Server </a:t>
                </a:r>
              </a:p>
              <a:p>
                <a:pPr defTabSz="913505" fontAlgn="base">
                  <a:lnSpc>
                    <a:spcPct val="90000"/>
                  </a:lnSpc>
                  <a:spcBef>
                    <a:spcPct val="0"/>
                  </a:spcBef>
                  <a:defRPr/>
                </a:pPr>
                <a:r>
                  <a:rPr lang="en-US" sz="1176" dirty="0">
                    <a:solidFill>
                      <a:srgbClr val="505050"/>
                    </a:solidFill>
                    <a:latin typeface="Segoe UI"/>
                  </a:rPr>
                  <a:t>Report Builder</a:t>
                </a:r>
              </a:p>
            </p:txBody>
          </p:sp>
          <p:sp>
            <p:nvSpPr>
              <p:cNvPr id="68" name="Rectangle 67"/>
              <p:cNvSpPr/>
              <p:nvPr/>
            </p:nvSpPr>
            <p:spPr>
              <a:xfrm>
                <a:off x="1024128" y="3320014"/>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Power BI Desktop</a:t>
                </a:r>
              </a:p>
            </p:txBody>
          </p:sp>
          <p:sp>
            <p:nvSpPr>
              <p:cNvPr id="151" name="TextBox 150"/>
              <p:cNvSpPr txBox="1"/>
              <p:nvPr/>
            </p:nvSpPr>
            <p:spPr>
              <a:xfrm>
                <a:off x="857106" y="3008921"/>
                <a:ext cx="3179109"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POWER BI REPORTS</a:t>
                </a:r>
              </a:p>
            </p:txBody>
          </p:sp>
          <p:sp>
            <p:nvSpPr>
              <p:cNvPr id="147" name="Rectangle 146"/>
              <p:cNvSpPr/>
              <p:nvPr/>
            </p:nvSpPr>
            <p:spPr bwMode="auto">
              <a:xfrm>
                <a:off x="731520" y="1641148"/>
                <a:ext cx="3149816"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ANALYZE &amp; AUTHOR</a:t>
                </a:r>
              </a:p>
            </p:txBody>
          </p:sp>
          <p:sp>
            <p:nvSpPr>
              <p:cNvPr id="150" name="TextBox 149"/>
              <p:cNvSpPr txBox="1"/>
              <p:nvPr/>
            </p:nvSpPr>
            <p:spPr>
              <a:xfrm>
                <a:off x="857106" y="2017817"/>
                <a:ext cx="3137087"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ANALYTICAL REPORTS</a:t>
                </a:r>
              </a:p>
            </p:txBody>
          </p:sp>
          <p:sp>
            <p:nvSpPr>
              <p:cNvPr id="136" name="Rectangle 135"/>
              <p:cNvSpPr/>
              <p:nvPr/>
            </p:nvSpPr>
            <p:spPr>
              <a:xfrm>
                <a:off x="1024128" y="2316163"/>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Microsoft Excel</a:t>
                </a:r>
              </a:p>
            </p:txBody>
          </p:sp>
          <p:sp>
            <p:nvSpPr>
              <p:cNvPr id="149" name="TextBox 148"/>
              <p:cNvSpPr txBox="1"/>
              <p:nvPr/>
            </p:nvSpPr>
            <p:spPr>
              <a:xfrm>
                <a:off x="857106" y="3995001"/>
                <a:ext cx="3105175"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MOBILE REPORTS</a:t>
                </a:r>
              </a:p>
            </p:txBody>
          </p:sp>
          <p:sp>
            <p:nvSpPr>
              <p:cNvPr id="139" name="Rectangle 138"/>
              <p:cNvSpPr/>
              <p:nvPr/>
            </p:nvSpPr>
            <p:spPr>
              <a:xfrm>
                <a:off x="1024128" y="4307915"/>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spcAft>
                    <a:spcPts val="588"/>
                  </a:spcAft>
                  <a:defRPr/>
                </a:pPr>
                <a:r>
                  <a:rPr lang="en-US" sz="1176" dirty="0">
                    <a:solidFill>
                      <a:srgbClr val="505050"/>
                    </a:solidFill>
                    <a:latin typeface="Segoe UI"/>
                  </a:rPr>
                  <a:t>SQL Server</a:t>
                </a:r>
              </a:p>
              <a:p>
                <a:pPr defTabSz="913505" fontAlgn="base">
                  <a:lnSpc>
                    <a:spcPct val="90000"/>
                  </a:lnSpc>
                  <a:spcBef>
                    <a:spcPct val="0"/>
                  </a:spcBef>
                  <a:spcAft>
                    <a:spcPts val="588"/>
                  </a:spcAft>
                  <a:defRPr/>
                </a:pPr>
                <a:r>
                  <a:rPr lang="en-US" sz="1176" dirty="0">
                    <a:solidFill>
                      <a:srgbClr val="505050"/>
                    </a:solidFill>
                    <a:latin typeface="Segoe UI"/>
                  </a:rPr>
                  <a:t>Mobile Report Publisher</a:t>
                </a:r>
              </a:p>
            </p:txBody>
          </p:sp>
          <p:sp>
            <p:nvSpPr>
              <p:cNvPr id="4" name="TextBox 3"/>
              <p:cNvSpPr txBox="1"/>
              <p:nvPr/>
            </p:nvSpPr>
            <p:spPr>
              <a:xfrm>
                <a:off x="857106" y="4960985"/>
                <a:ext cx="3105175"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PAGINATED REPORTS</a:t>
                </a:r>
              </a:p>
            </p:txBody>
          </p:sp>
          <p:sp>
            <p:nvSpPr>
              <p:cNvPr id="143" name="Rectangle 142"/>
              <p:cNvSpPr/>
              <p:nvPr/>
            </p:nvSpPr>
            <p:spPr>
              <a:xfrm>
                <a:off x="1024128" y="5845262"/>
                <a:ext cx="2560320" cy="5486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179285" bIns="143428" numCol="1" spcCol="0" rtlCol="0" fromWordArt="0" anchor="ctr" anchorCtr="0" forceAA="0" compatLnSpc="1">
                <a:prstTxWarp prst="textNoShape">
                  <a:avLst/>
                </a:prstTxWarp>
                <a:noAutofit/>
              </a:bodyPr>
              <a:lstStyle/>
              <a:p>
                <a:pPr defTabSz="913505" fontAlgn="base">
                  <a:lnSpc>
                    <a:spcPct val="90000"/>
                  </a:lnSpc>
                  <a:spcBef>
                    <a:spcPct val="0"/>
                  </a:spcBef>
                  <a:defRPr/>
                </a:pPr>
                <a:r>
                  <a:rPr lang="en-US" sz="1176" dirty="0">
                    <a:solidFill>
                      <a:srgbClr val="505050"/>
                    </a:solidFill>
                    <a:latin typeface="Segoe UI"/>
                  </a:rPr>
                  <a:t>Report Designer in</a:t>
                </a:r>
                <a:br>
                  <a:rPr lang="en-US" sz="1176" dirty="0">
                    <a:solidFill>
                      <a:srgbClr val="505050"/>
                    </a:solidFill>
                    <a:latin typeface="Segoe UI"/>
                  </a:rPr>
                </a:br>
                <a:r>
                  <a:rPr lang="en-US" sz="1176" dirty="0">
                    <a:solidFill>
                      <a:srgbClr val="505050"/>
                    </a:solidFill>
                    <a:latin typeface="Segoe UI"/>
                  </a:rPr>
                  <a:t>SQL Server Data Tools</a:t>
                </a:r>
              </a:p>
            </p:txBody>
          </p:sp>
          <p:sp>
            <p:nvSpPr>
              <p:cNvPr id="99" name="Freeform 13"/>
              <p:cNvSpPr>
                <a:spLocks noChangeAspect="1" noEditPoints="1"/>
              </p:cNvSpPr>
              <p:nvPr/>
            </p:nvSpPr>
            <p:spPr bwMode="black">
              <a:xfrm>
                <a:off x="3105643" y="5936702"/>
                <a:ext cx="365303" cy="365760"/>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505050"/>
                  </a:solidFill>
                  <a:latin typeface="Segoe UI"/>
                  <a:ea typeface="MS PGothic" charset="0"/>
                </a:endParaRPr>
              </a:p>
            </p:txBody>
          </p:sp>
          <p:pic>
            <p:nvPicPr>
              <p:cNvPr id="74" name="Picture 73"/>
              <p:cNvPicPr>
                <a:picLocks noChangeAspect="1"/>
              </p:cNvPicPr>
              <p:nvPr/>
            </p:nvPicPr>
            <p:blipFill>
              <a:blip r:embed="rId7"/>
              <a:stretch>
                <a:fillRect/>
              </a:stretch>
            </p:blipFill>
            <p:spPr>
              <a:xfrm>
                <a:off x="3128274" y="5385441"/>
                <a:ext cx="320040" cy="325557"/>
              </a:xfrm>
              <a:prstGeom prst="rect">
                <a:avLst/>
              </a:prstGeom>
            </p:spPr>
          </p:pic>
          <p:pic>
            <p:nvPicPr>
              <p:cNvPr id="77" name="Picture 76"/>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3111761" y="3414887"/>
                <a:ext cx="365760" cy="354130"/>
              </a:xfrm>
              <a:prstGeom prst="rect">
                <a:avLst/>
              </a:prstGeom>
            </p:spPr>
          </p:pic>
          <p:grpSp>
            <p:nvGrpSpPr>
              <p:cNvPr id="92" name="Group 91"/>
              <p:cNvGrpSpPr/>
              <p:nvPr/>
            </p:nvGrpSpPr>
            <p:grpSpPr>
              <a:xfrm>
                <a:off x="3070967" y="2402481"/>
                <a:ext cx="381075" cy="381075"/>
                <a:chOff x="2692704" y="2413845"/>
                <a:chExt cx="381075" cy="381075"/>
              </a:xfrm>
            </p:grpSpPr>
            <p:sp>
              <p:nvSpPr>
                <p:cNvPr id="94" name="Rounded Rectangle 93"/>
                <p:cNvSpPr/>
                <p:nvPr/>
              </p:nvSpPr>
              <p:spPr bwMode="auto">
                <a:xfrm>
                  <a:off x="2730500" y="2465632"/>
                  <a:ext cx="340467" cy="280693"/>
                </a:xfrm>
                <a:prstGeom prst="roundRect">
                  <a:avLst>
                    <a:gd name="adj" fmla="val 1044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Freeform 51"/>
                <p:cNvSpPr>
                  <a:spLocks noEditPoints="1"/>
                </p:cNvSpPr>
                <p:nvPr/>
              </p:nvSpPr>
              <p:spPr bwMode="auto">
                <a:xfrm>
                  <a:off x="2692704" y="2413845"/>
                  <a:ext cx="381075" cy="381075"/>
                </a:xfrm>
                <a:custGeom>
                  <a:avLst/>
                  <a:gdLst>
                    <a:gd name="T0" fmla="*/ 88 w 96"/>
                    <a:gd name="T1" fmla="*/ 56 h 96"/>
                    <a:gd name="T2" fmla="*/ 72 w 96"/>
                    <a:gd name="T3" fmla="*/ 64 h 96"/>
                    <a:gd name="T4" fmla="*/ 72 w 96"/>
                    <a:gd name="T5" fmla="*/ 76 h 96"/>
                    <a:gd name="T6" fmla="*/ 88 w 96"/>
                    <a:gd name="T7" fmla="*/ 68 h 96"/>
                    <a:gd name="T8" fmla="*/ 72 w 96"/>
                    <a:gd name="T9" fmla="*/ 76 h 96"/>
                    <a:gd name="T10" fmla="*/ 88 w 96"/>
                    <a:gd name="T11" fmla="*/ 52 h 96"/>
                    <a:gd name="T12" fmla="*/ 72 w 96"/>
                    <a:gd name="T13" fmla="*/ 44 h 96"/>
                    <a:gd name="T14" fmla="*/ 72 w 96"/>
                    <a:gd name="T15" fmla="*/ 28 h 96"/>
                    <a:gd name="T16" fmla="*/ 88 w 96"/>
                    <a:gd name="T17" fmla="*/ 20 h 96"/>
                    <a:gd name="T18" fmla="*/ 72 w 96"/>
                    <a:gd name="T19" fmla="*/ 28 h 96"/>
                    <a:gd name="T20" fmla="*/ 88 w 96"/>
                    <a:gd name="T21" fmla="*/ 40 h 96"/>
                    <a:gd name="T22" fmla="*/ 72 w 96"/>
                    <a:gd name="T23" fmla="*/ 32 h 96"/>
                    <a:gd name="T24" fmla="*/ 96 w 96"/>
                    <a:gd name="T25" fmla="*/ 17 h 96"/>
                    <a:gd name="T26" fmla="*/ 91 w 96"/>
                    <a:gd name="T27" fmla="*/ 84 h 96"/>
                    <a:gd name="T28" fmla="*/ 56 w 96"/>
                    <a:gd name="T29" fmla="*/ 96 h 96"/>
                    <a:gd name="T30" fmla="*/ 0 w 96"/>
                    <a:gd name="T31" fmla="*/ 10 h 96"/>
                    <a:gd name="T32" fmla="*/ 56 w 96"/>
                    <a:gd name="T33" fmla="*/ 12 h 96"/>
                    <a:gd name="T34" fmla="*/ 96 w 96"/>
                    <a:gd name="T35" fmla="*/ 17 h 96"/>
                    <a:gd name="T36" fmla="*/ 31 w 96"/>
                    <a:gd name="T37" fmla="*/ 48 h 96"/>
                    <a:gd name="T38" fmla="*/ 33 w 96"/>
                    <a:gd name="T39" fmla="*/ 28 h 96"/>
                    <a:gd name="T40" fmla="*/ 27 w 96"/>
                    <a:gd name="T41" fmla="*/ 41 h 96"/>
                    <a:gd name="T42" fmla="*/ 27 w 96"/>
                    <a:gd name="T43" fmla="*/ 43 h 96"/>
                    <a:gd name="T44" fmla="*/ 26 w 96"/>
                    <a:gd name="T45" fmla="*/ 43 h 96"/>
                    <a:gd name="T46" fmla="*/ 26 w 96"/>
                    <a:gd name="T47" fmla="*/ 42 h 96"/>
                    <a:gd name="T48" fmla="*/ 25 w 96"/>
                    <a:gd name="T49" fmla="*/ 40 h 96"/>
                    <a:gd name="T50" fmla="*/ 12 w 96"/>
                    <a:gd name="T51" fmla="*/ 29 h 96"/>
                    <a:gd name="T52" fmla="*/ 11 w 96"/>
                    <a:gd name="T53" fmla="*/ 67 h 96"/>
                    <a:gd name="T54" fmla="*/ 25 w 96"/>
                    <a:gd name="T55" fmla="*/ 55 h 96"/>
                    <a:gd name="T56" fmla="*/ 26 w 96"/>
                    <a:gd name="T57" fmla="*/ 53 h 96"/>
                    <a:gd name="T58" fmla="*/ 26 w 96"/>
                    <a:gd name="T59" fmla="*/ 52 h 96"/>
                    <a:gd name="T60" fmla="*/ 26 w 96"/>
                    <a:gd name="T61" fmla="*/ 53 h 96"/>
                    <a:gd name="T62" fmla="*/ 27 w 96"/>
                    <a:gd name="T63" fmla="*/ 54 h 96"/>
                    <a:gd name="T64" fmla="*/ 33 w 96"/>
                    <a:gd name="T65" fmla="*/ 68 h 96"/>
                    <a:gd name="T66" fmla="*/ 92 w 96"/>
                    <a:gd name="T67" fmla="*/ 17 h 96"/>
                    <a:gd name="T68" fmla="*/ 56 w 96"/>
                    <a:gd name="T69" fmla="*/ 16 h 96"/>
                    <a:gd name="T70" fmla="*/ 68 w 96"/>
                    <a:gd name="T71" fmla="*/ 20 h 96"/>
                    <a:gd name="T72" fmla="*/ 56 w 96"/>
                    <a:gd name="T73" fmla="*/ 28 h 96"/>
                    <a:gd name="T74" fmla="*/ 68 w 96"/>
                    <a:gd name="T75" fmla="*/ 32 h 96"/>
                    <a:gd name="T76" fmla="*/ 56 w 96"/>
                    <a:gd name="T77" fmla="*/ 40 h 96"/>
                    <a:gd name="T78" fmla="*/ 68 w 96"/>
                    <a:gd name="T79" fmla="*/ 44 h 96"/>
                    <a:gd name="T80" fmla="*/ 56 w 96"/>
                    <a:gd name="T81" fmla="*/ 52 h 96"/>
                    <a:gd name="T82" fmla="*/ 68 w 96"/>
                    <a:gd name="T83" fmla="*/ 56 h 96"/>
                    <a:gd name="T84" fmla="*/ 56 w 96"/>
                    <a:gd name="T85" fmla="*/ 64 h 96"/>
                    <a:gd name="T86" fmla="*/ 68 w 96"/>
                    <a:gd name="T87" fmla="*/ 68 h 96"/>
                    <a:gd name="T88" fmla="*/ 56 w 96"/>
                    <a:gd name="T89" fmla="*/ 76 h 96"/>
                    <a:gd name="T90" fmla="*/ 91 w 96"/>
                    <a:gd name="T91" fmla="*/ 80 h 96"/>
                    <a:gd name="T92" fmla="*/ 92 w 96"/>
                    <a:gd name="T93"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96">
                      <a:moveTo>
                        <a:pt x="72" y="56"/>
                      </a:moveTo>
                      <a:cubicBezTo>
                        <a:pt x="88" y="56"/>
                        <a:pt x="88" y="56"/>
                        <a:pt x="88" y="56"/>
                      </a:cubicBezTo>
                      <a:cubicBezTo>
                        <a:pt x="88" y="64"/>
                        <a:pt x="88" y="64"/>
                        <a:pt x="88" y="64"/>
                      </a:cubicBezTo>
                      <a:cubicBezTo>
                        <a:pt x="72" y="64"/>
                        <a:pt x="72" y="64"/>
                        <a:pt x="72" y="64"/>
                      </a:cubicBezTo>
                      <a:lnTo>
                        <a:pt x="72" y="56"/>
                      </a:lnTo>
                      <a:close/>
                      <a:moveTo>
                        <a:pt x="72" y="76"/>
                      </a:moveTo>
                      <a:cubicBezTo>
                        <a:pt x="88" y="76"/>
                        <a:pt x="88" y="76"/>
                        <a:pt x="88" y="76"/>
                      </a:cubicBezTo>
                      <a:cubicBezTo>
                        <a:pt x="88" y="68"/>
                        <a:pt x="88" y="68"/>
                        <a:pt x="88" y="68"/>
                      </a:cubicBezTo>
                      <a:cubicBezTo>
                        <a:pt x="72" y="68"/>
                        <a:pt x="72" y="68"/>
                        <a:pt x="72" y="68"/>
                      </a:cubicBezTo>
                      <a:lnTo>
                        <a:pt x="72" y="76"/>
                      </a:lnTo>
                      <a:close/>
                      <a:moveTo>
                        <a:pt x="72" y="52"/>
                      </a:moveTo>
                      <a:cubicBezTo>
                        <a:pt x="88" y="52"/>
                        <a:pt x="88" y="52"/>
                        <a:pt x="88" y="52"/>
                      </a:cubicBezTo>
                      <a:cubicBezTo>
                        <a:pt x="88" y="44"/>
                        <a:pt x="88" y="44"/>
                        <a:pt x="88" y="44"/>
                      </a:cubicBezTo>
                      <a:cubicBezTo>
                        <a:pt x="72" y="44"/>
                        <a:pt x="72" y="44"/>
                        <a:pt x="72" y="44"/>
                      </a:cubicBezTo>
                      <a:lnTo>
                        <a:pt x="72" y="52"/>
                      </a:lnTo>
                      <a:close/>
                      <a:moveTo>
                        <a:pt x="72" y="28"/>
                      </a:moveTo>
                      <a:cubicBezTo>
                        <a:pt x="88" y="28"/>
                        <a:pt x="88" y="28"/>
                        <a:pt x="88" y="28"/>
                      </a:cubicBezTo>
                      <a:cubicBezTo>
                        <a:pt x="88" y="20"/>
                        <a:pt x="88" y="20"/>
                        <a:pt x="88" y="20"/>
                      </a:cubicBezTo>
                      <a:cubicBezTo>
                        <a:pt x="72" y="20"/>
                        <a:pt x="72" y="20"/>
                        <a:pt x="72" y="20"/>
                      </a:cubicBezTo>
                      <a:lnTo>
                        <a:pt x="72" y="28"/>
                      </a:lnTo>
                      <a:close/>
                      <a:moveTo>
                        <a:pt x="72" y="40"/>
                      </a:moveTo>
                      <a:cubicBezTo>
                        <a:pt x="88" y="40"/>
                        <a:pt x="88" y="40"/>
                        <a:pt x="88" y="40"/>
                      </a:cubicBezTo>
                      <a:cubicBezTo>
                        <a:pt x="88" y="32"/>
                        <a:pt x="88" y="32"/>
                        <a:pt x="88" y="32"/>
                      </a:cubicBezTo>
                      <a:cubicBezTo>
                        <a:pt x="72" y="32"/>
                        <a:pt x="72" y="32"/>
                        <a:pt x="72" y="32"/>
                      </a:cubicBezTo>
                      <a:lnTo>
                        <a:pt x="72" y="40"/>
                      </a:lnTo>
                      <a:close/>
                      <a:moveTo>
                        <a:pt x="96" y="17"/>
                      </a:moveTo>
                      <a:cubicBezTo>
                        <a:pt x="96" y="79"/>
                        <a:pt x="96" y="79"/>
                        <a:pt x="96" y="79"/>
                      </a:cubicBezTo>
                      <a:cubicBezTo>
                        <a:pt x="96" y="82"/>
                        <a:pt x="94" y="84"/>
                        <a:pt x="91" y="84"/>
                      </a:cubicBezTo>
                      <a:cubicBezTo>
                        <a:pt x="56" y="84"/>
                        <a:pt x="56" y="84"/>
                        <a:pt x="56" y="84"/>
                      </a:cubicBezTo>
                      <a:cubicBezTo>
                        <a:pt x="56" y="96"/>
                        <a:pt x="56" y="96"/>
                        <a:pt x="56" y="96"/>
                      </a:cubicBezTo>
                      <a:cubicBezTo>
                        <a:pt x="0" y="86"/>
                        <a:pt x="0" y="86"/>
                        <a:pt x="0" y="86"/>
                      </a:cubicBezTo>
                      <a:cubicBezTo>
                        <a:pt x="0" y="10"/>
                        <a:pt x="0" y="10"/>
                        <a:pt x="0" y="10"/>
                      </a:cubicBezTo>
                      <a:cubicBezTo>
                        <a:pt x="56" y="0"/>
                        <a:pt x="56" y="0"/>
                        <a:pt x="56" y="0"/>
                      </a:cubicBezTo>
                      <a:cubicBezTo>
                        <a:pt x="56" y="12"/>
                        <a:pt x="56" y="12"/>
                        <a:pt x="56" y="12"/>
                      </a:cubicBezTo>
                      <a:cubicBezTo>
                        <a:pt x="91" y="12"/>
                        <a:pt x="91" y="12"/>
                        <a:pt x="91" y="12"/>
                      </a:cubicBezTo>
                      <a:cubicBezTo>
                        <a:pt x="94" y="12"/>
                        <a:pt x="96" y="14"/>
                        <a:pt x="96" y="17"/>
                      </a:cubicBezTo>
                      <a:close/>
                      <a:moveTo>
                        <a:pt x="42" y="69"/>
                      </a:moveTo>
                      <a:cubicBezTo>
                        <a:pt x="31" y="48"/>
                        <a:pt x="31" y="48"/>
                        <a:pt x="31" y="48"/>
                      </a:cubicBezTo>
                      <a:cubicBezTo>
                        <a:pt x="42" y="27"/>
                        <a:pt x="42" y="27"/>
                        <a:pt x="42" y="27"/>
                      </a:cubicBezTo>
                      <a:cubicBezTo>
                        <a:pt x="33" y="28"/>
                        <a:pt x="33" y="28"/>
                        <a:pt x="33" y="28"/>
                      </a:cubicBezTo>
                      <a:cubicBezTo>
                        <a:pt x="28" y="40"/>
                        <a:pt x="28" y="40"/>
                        <a:pt x="28" y="40"/>
                      </a:cubicBezTo>
                      <a:cubicBezTo>
                        <a:pt x="27" y="40"/>
                        <a:pt x="27" y="41"/>
                        <a:pt x="27" y="41"/>
                      </a:cubicBezTo>
                      <a:cubicBezTo>
                        <a:pt x="27" y="41"/>
                        <a:pt x="27" y="42"/>
                        <a:pt x="27" y="42"/>
                      </a:cubicBezTo>
                      <a:cubicBezTo>
                        <a:pt x="27" y="42"/>
                        <a:pt x="27" y="42"/>
                        <a:pt x="27" y="43"/>
                      </a:cubicBezTo>
                      <a:cubicBezTo>
                        <a:pt x="27" y="43"/>
                        <a:pt x="27" y="43"/>
                        <a:pt x="26" y="43"/>
                      </a:cubicBezTo>
                      <a:cubicBezTo>
                        <a:pt x="26" y="43"/>
                        <a:pt x="26" y="43"/>
                        <a:pt x="26" y="43"/>
                      </a:cubicBezTo>
                      <a:cubicBezTo>
                        <a:pt x="26" y="43"/>
                        <a:pt x="26" y="43"/>
                        <a:pt x="26" y="42"/>
                      </a:cubicBezTo>
                      <a:cubicBezTo>
                        <a:pt x="26" y="42"/>
                        <a:pt x="26" y="42"/>
                        <a:pt x="26" y="42"/>
                      </a:cubicBezTo>
                      <a:cubicBezTo>
                        <a:pt x="26" y="41"/>
                        <a:pt x="26" y="41"/>
                        <a:pt x="26" y="41"/>
                      </a:cubicBezTo>
                      <a:cubicBezTo>
                        <a:pt x="26" y="41"/>
                        <a:pt x="25" y="40"/>
                        <a:pt x="25" y="40"/>
                      </a:cubicBezTo>
                      <a:cubicBezTo>
                        <a:pt x="21" y="29"/>
                        <a:pt x="21" y="29"/>
                        <a:pt x="21" y="29"/>
                      </a:cubicBezTo>
                      <a:cubicBezTo>
                        <a:pt x="12" y="29"/>
                        <a:pt x="12" y="29"/>
                        <a:pt x="12" y="29"/>
                      </a:cubicBezTo>
                      <a:cubicBezTo>
                        <a:pt x="21" y="48"/>
                        <a:pt x="21" y="48"/>
                        <a:pt x="21" y="48"/>
                      </a:cubicBezTo>
                      <a:cubicBezTo>
                        <a:pt x="11" y="67"/>
                        <a:pt x="11" y="67"/>
                        <a:pt x="11" y="67"/>
                      </a:cubicBezTo>
                      <a:cubicBezTo>
                        <a:pt x="20" y="67"/>
                        <a:pt x="20" y="67"/>
                        <a:pt x="20" y="67"/>
                      </a:cubicBezTo>
                      <a:cubicBezTo>
                        <a:pt x="25" y="55"/>
                        <a:pt x="25" y="55"/>
                        <a:pt x="25" y="55"/>
                      </a:cubicBezTo>
                      <a:cubicBezTo>
                        <a:pt x="25" y="55"/>
                        <a:pt x="25" y="54"/>
                        <a:pt x="26" y="54"/>
                      </a:cubicBezTo>
                      <a:cubicBezTo>
                        <a:pt x="26" y="54"/>
                        <a:pt x="26" y="54"/>
                        <a:pt x="26" y="53"/>
                      </a:cubicBezTo>
                      <a:cubicBezTo>
                        <a:pt x="26" y="53"/>
                        <a:pt x="26" y="53"/>
                        <a:pt x="26" y="53"/>
                      </a:cubicBezTo>
                      <a:cubicBezTo>
                        <a:pt x="26" y="52"/>
                        <a:pt x="26" y="52"/>
                        <a:pt x="26" y="52"/>
                      </a:cubicBezTo>
                      <a:cubicBezTo>
                        <a:pt x="26" y="52"/>
                        <a:pt x="26" y="52"/>
                        <a:pt x="26" y="52"/>
                      </a:cubicBezTo>
                      <a:cubicBezTo>
                        <a:pt x="26" y="52"/>
                        <a:pt x="26" y="53"/>
                        <a:pt x="26" y="53"/>
                      </a:cubicBezTo>
                      <a:cubicBezTo>
                        <a:pt x="26" y="53"/>
                        <a:pt x="26" y="54"/>
                        <a:pt x="26" y="54"/>
                      </a:cubicBezTo>
                      <a:cubicBezTo>
                        <a:pt x="27" y="54"/>
                        <a:pt x="27" y="54"/>
                        <a:pt x="27" y="54"/>
                      </a:cubicBezTo>
                      <a:cubicBezTo>
                        <a:pt x="27" y="55"/>
                        <a:pt x="27" y="55"/>
                        <a:pt x="27" y="55"/>
                      </a:cubicBezTo>
                      <a:cubicBezTo>
                        <a:pt x="33" y="68"/>
                        <a:pt x="33" y="68"/>
                        <a:pt x="33" y="68"/>
                      </a:cubicBezTo>
                      <a:lnTo>
                        <a:pt x="42" y="69"/>
                      </a:lnTo>
                      <a:close/>
                      <a:moveTo>
                        <a:pt x="92" y="17"/>
                      </a:moveTo>
                      <a:cubicBezTo>
                        <a:pt x="92" y="16"/>
                        <a:pt x="92" y="16"/>
                        <a:pt x="91" y="16"/>
                      </a:cubicBezTo>
                      <a:cubicBezTo>
                        <a:pt x="56" y="16"/>
                        <a:pt x="56" y="16"/>
                        <a:pt x="56" y="16"/>
                      </a:cubicBezTo>
                      <a:cubicBezTo>
                        <a:pt x="56" y="20"/>
                        <a:pt x="56" y="20"/>
                        <a:pt x="56" y="20"/>
                      </a:cubicBezTo>
                      <a:cubicBezTo>
                        <a:pt x="68" y="20"/>
                        <a:pt x="68" y="20"/>
                        <a:pt x="68" y="20"/>
                      </a:cubicBezTo>
                      <a:cubicBezTo>
                        <a:pt x="68" y="28"/>
                        <a:pt x="68" y="28"/>
                        <a:pt x="68" y="28"/>
                      </a:cubicBezTo>
                      <a:cubicBezTo>
                        <a:pt x="56" y="28"/>
                        <a:pt x="56" y="28"/>
                        <a:pt x="56" y="28"/>
                      </a:cubicBezTo>
                      <a:cubicBezTo>
                        <a:pt x="56" y="32"/>
                        <a:pt x="56" y="32"/>
                        <a:pt x="56" y="32"/>
                      </a:cubicBezTo>
                      <a:cubicBezTo>
                        <a:pt x="68" y="32"/>
                        <a:pt x="68" y="32"/>
                        <a:pt x="68" y="32"/>
                      </a:cubicBezTo>
                      <a:cubicBezTo>
                        <a:pt x="68" y="40"/>
                        <a:pt x="68" y="40"/>
                        <a:pt x="68" y="40"/>
                      </a:cubicBezTo>
                      <a:cubicBezTo>
                        <a:pt x="56" y="40"/>
                        <a:pt x="56" y="40"/>
                        <a:pt x="56" y="40"/>
                      </a:cubicBezTo>
                      <a:cubicBezTo>
                        <a:pt x="56" y="44"/>
                        <a:pt x="56" y="44"/>
                        <a:pt x="56" y="44"/>
                      </a:cubicBezTo>
                      <a:cubicBezTo>
                        <a:pt x="68" y="44"/>
                        <a:pt x="68" y="44"/>
                        <a:pt x="68" y="44"/>
                      </a:cubicBezTo>
                      <a:cubicBezTo>
                        <a:pt x="68" y="52"/>
                        <a:pt x="68" y="52"/>
                        <a:pt x="68" y="52"/>
                      </a:cubicBezTo>
                      <a:cubicBezTo>
                        <a:pt x="56" y="52"/>
                        <a:pt x="56" y="52"/>
                        <a:pt x="56" y="52"/>
                      </a:cubicBezTo>
                      <a:cubicBezTo>
                        <a:pt x="56" y="56"/>
                        <a:pt x="56" y="56"/>
                        <a:pt x="56" y="56"/>
                      </a:cubicBezTo>
                      <a:cubicBezTo>
                        <a:pt x="68" y="56"/>
                        <a:pt x="68" y="56"/>
                        <a:pt x="68" y="56"/>
                      </a:cubicBezTo>
                      <a:cubicBezTo>
                        <a:pt x="68" y="64"/>
                        <a:pt x="68" y="64"/>
                        <a:pt x="68" y="64"/>
                      </a:cubicBezTo>
                      <a:cubicBezTo>
                        <a:pt x="56" y="64"/>
                        <a:pt x="56" y="64"/>
                        <a:pt x="56" y="64"/>
                      </a:cubicBezTo>
                      <a:cubicBezTo>
                        <a:pt x="56" y="68"/>
                        <a:pt x="56" y="68"/>
                        <a:pt x="56" y="68"/>
                      </a:cubicBezTo>
                      <a:cubicBezTo>
                        <a:pt x="68" y="68"/>
                        <a:pt x="68" y="68"/>
                        <a:pt x="68" y="68"/>
                      </a:cubicBezTo>
                      <a:cubicBezTo>
                        <a:pt x="68" y="76"/>
                        <a:pt x="68" y="76"/>
                        <a:pt x="68" y="76"/>
                      </a:cubicBezTo>
                      <a:cubicBezTo>
                        <a:pt x="56" y="76"/>
                        <a:pt x="56" y="76"/>
                        <a:pt x="56" y="76"/>
                      </a:cubicBezTo>
                      <a:cubicBezTo>
                        <a:pt x="56" y="80"/>
                        <a:pt x="56" y="80"/>
                        <a:pt x="56" y="80"/>
                      </a:cubicBezTo>
                      <a:cubicBezTo>
                        <a:pt x="91" y="80"/>
                        <a:pt x="91" y="80"/>
                        <a:pt x="91" y="80"/>
                      </a:cubicBezTo>
                      <a:cubicBezTo>
                        <a:pt x="92" y="80"/>
                        <a:pt x="92" y="80"/>
                        <a:pt x="92" y="79"/>
                      </a:cubicBezTo>
                      <a:lnTo>
                        <a:pt x="92" y="17"/>
                      </a:lnTo>
                      <a:close/>
                    </a:path>
                  </a:pathLst>
                </a:custGeom>
                <a:solidFill>
                  <a:srgbClr val="1E6C4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2C2C2C"/>
                    </a:solidFill>
                    <a:latin typeface="Segoe UI" charset="0"/>
                    <a:ea typeface="MS PGothic" charset="0"/>
                  </a:endParaRPr>
                </a:p>
              </p:txBody>
            </p:sp>
          </p:grpSp>
        </p:grpSp>
        <p:grpSp>
          <p:nvGrpSpPr>
            <p:cNvPr id="20" name="Group 19"/>
            <p:cNvGrpSpPr/>
            <p:nvPr/>
          </p:nvGrpSpPr>
          <p:grpSpPr>
            <a:xfrm>
              <a:off x="3077302" y="4400375"/>
              <a:ext cx="417272" cy="384356"/>
              <a:chOff x="6349110" y="3220549"/>
              <a:chExt cx="1673982" cy="1541934"/>
            </a:xfrm>
          </p:grpSpPr>
          <p:sp>
            <p:nvSpPr>
              <p:cNvPr id="9" name="Rectangle 8"/>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6465215" y="3322876"/>
                <a:ext cx="1441773" cy="296388"/>
                <a:chOff x="6471222" y="3322876"/>
                <a:chExt cx="1441773" cy="296388"/>
              </a:xfrm>
              <a:solidFill>
                <a:srgbClr val="BB2124"/>
              </a:solidFill>
            </p:grpSpPr>
            <p:sp>
              <p:nvSpPr>
                <p:cNvPr id="15" name="Rectangle 14"/>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8" name="Rectangle 87"/>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9" name="Group 18"/>
              <p:cNvGrpSpPr/>
              <p:nvPr/>
            </p:nvGrpSpPr>
            <p:grpSpPr>
              <a:xfrm>
                <a:off x="6649979" y="3785714"/>
                <a:ext cx="1072245" cy="731520"/>
                <a:chOff x="6640999" y="3785714"/>
                <a:chExt cx="1072245" cy="731520"/>
              </a:xfrm>
            </p:grpSpPr>
            <p:sp>
              <p:nvSpPr>
                <p:cNvPr id="17" name="Rectangle 16"/>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24" name="Group 23"/>
          <p:cNvGrpSpPr/>
          <p:nvPr/>
        </p:nvGrpSpPr>
        <p:grpSpPr>
          <a:xfrm>
            <a:off x="3510411" y="2556045"/>
            <a:ext cx="1165352" cy="3447154"/>
            <a:chOff x="3580801" y="2606802"/>
            <a:chExt cx="1188720" cy="3516277"/>
          </a:xfrm>
        </p:grpSpPr>
        <p:cxnSp>
          <p:nvCxnSpPr>
            <p:cNvPr id="5" name="Straight Arrow Connector 4"/>
            <p:cNvCxnSpPr/>
            <p:nvPr/>
          </p:nvCxnSpPr>
          <p:spPr>
            <a:xfrm flipV="1">
              <a:off x="4069813" y="3295022"/>
              <a:ext cx="694944" cy="170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050814" y="3276057"/>
              <a:ext cx="0" cy="2847022"/>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4069813" y="5521949"/>
              <a:ext cx="694944" cy="654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580801" y="3594334"/>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3580801" y="4582235"/>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580801" y="6110379"/>
              <a:ext cx="484632"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3580801" y="5568315"/>
              <a:ext cx="478750"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3580801" y="2606802"/>
              <a:ext cx="1188720" cy="6546"/>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575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left)">
                                      <p:cBhvr>
                                        <p:cTn id="12" dur="500"/>
                                        <p:tgtEl>
                                          <p:spTgt spid="2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8110903" y="1578335"/>
            <a:ext cx="3092227" cy="4907170"/>
            <a:chOff x="8273542" y="1645021"/>
            <a:chExt cx="3154233" cy="5005569"/>
          </a:xfrm>
        </p:grpSpPr>
        <p:grpSp>
          <p:nvGrpSpPr>
            <p:cNvPr id="23" name="Group 22"/>
            <p:cNvGrpSpPr/>
            <p:nvPr/>
          </p:nvGrpSpPr>
          <p:grpSpPr>
            <a:xfrm>
              <a:off x="8580175" y="4725957"/>
              <a:ext cx="2559956" cy="822960"/>
              <a:chOff x="8580175" y="4805979"/>
              <a:chExt cx="2559956" cy="822960"/>
            </a:xfrm>
          </p:grpSpPr>
          <p:sp>
            <p:nvSpPr>
              <p:cNvPr id="109" name="Rectangle 108"/>
              <p:cNvSpPr/>
              <p:nvPr/>
            </p:nvSpPr>
            <p:spPr>
              <a:xfrm>
                <a:off x="8580175" y="4805979"/>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r" defTabSz="913330" fontAlgn="base">
                  <a:spcBef>
                    <a:spcPct val="0"/>
                  </a:spcBef>
                  <a:spcAft>
                    <a:spcPct val="0"/>
                  </a:spcAft>
                </a:pPr>
                <a:endParaRPr lang="en-US" sz="1175" dirty="0">
                  <a:solidFill>
                    <a:srgbClr val="505050"/>
                  </a:solidFill>
                  <a:latin typeface="Segoe UI"/>
                </a:endParaRPr>
              </a:p>
            </p:txBody>
          </p:sp>
          <p:sp>
            <p:nvSpPr>
              <p:cNvPr id="113" name="TextBox 112"/>
              <p:cNvSpPr txBox="1"/>
              <p:nvPr/>
            </p:nvSpPr>
            <p:spPr>
              <a:xfrm>
                <a:off x="8759126" y="4986627"/>
                <a:ext cx="1990738" cy="461665"/>
              </a:xfrm>
              <a:prstGeom prst="rect">
                <a:avLst/>
              </a:prstGeom>
              <a:noFill/>
            </p:spPr>
            <p:txBody>
              <a:bodyPr wrap="none" rtlCol="0">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Pin paginated report items</a:t>
                </a:r>
                <a:br>
                  <a:rPr lang="en-US" sz="1176" dirty="0">
                    <a:solidFill>
                      <a:srgbClr val="505050"/>
                    </a:solidFill>
                    <a:latin typeface="Segoe UI"/>
                    <a:ea typeface="MS PGothic" charset="0"/>
                    <a:cs typeface="Segoe UI Light" panose="020B0502040204020203" pitchFamily="34" charset="0"/>
                  </a:rPr>
                </a:br>
                <a:r>
                  <a:rPr lang="en-US" sz="1176" dirty="0">
                    <a:solidFill>
                      <a:srgbClr val="505050"/>
                    </a:solidFill>
                    <a:latin typeface="Segoe UI"/>
                    <a:ea typeface="MS PGothic" charset="0"/>
                    <a:cs typeface="Segoe UI Light" panose="020B0502040204020203" pitchFamily="34" charset="0"/>
                  </a:rPr>
                  <a:t> to Power BI dashboards</a:t>
                </a:r>
                <a:endParaRPr lang="en-US" sz="1029" dirty="0">
                  <a:solidFill>
                    <a:srgbClr val="505050"/>
                  </a:solidFill>
                  <a:latin typeface="Segoe UI"/>
                  <a:ea typeface="MS PGothic" charset="0"/>
                </a:endParaRPr>
              </a:p>
            </p:txBody>
          </p:sp>
          <p:pic>
            <p:nvPicPr>
              <p:cNvPr id="71" name="Picture 70"/>
              <p:cNvPicPr>
                <a:picLocks noChangeAspect="1"/>
              </p:cNvPicPr>
              <p:nvPr/>
            </p:nvPicPr>
            <p:blipFill rotWithShape="1">
              <a:blip r:embed="rId3" cstate="print">
                <a:duotone>
                  <a:prstClr val="black"/>
                  <a:schemeClr val="tx2">
                    <a:tint val="45000"/>
                    <a:satMod val="400000"/>
                  </a:schemeClr>
                </a:duotone>
                <a:lum bright="-51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rcRect/>
              <a:stretch/>
            </p:blipFill>
            <p:spPr>
              <a:xfrm>
                <a:off x="10727404" y="5040394"/>
                <a:ext cx="365760" cy="354130"/>
              </a:xfrm>
              <a:prstGeom prst="rect">
                <a:avLst/>
              </a:prstGeom>
            </p:spPr>
          </p:pic>
        </p:grpSp>
        <p:grpSp>
          <p:nvGrpSpPr>
            <p:cNvPr id="28" name="Group 27"/>
            <p:cNvGrpSpPr/>
            <p:nvPr/>
          </p:nvGrpSpPr>
          <p:grpSpPr>
            <a:xfrm>
              <a:off x="8273542" y="1645021"/>
              <a:ext cx="3154233" cy="5005569"/>
              <a:chOff x="8273542" y="1645021"/>
              <a:chExt cx="3154233" cy="5005569"/>
            </a:xfrm>
          </p:grpSpPr>
          <p:sp>
            <p:nvSpPr>
              <p:cNvPr id="121" name="Rectangle 120"/>
              <p:cNvSpPr/>
              <p:nvPr/>
            </p:nvSpPr>
            <p:spPr bwMode="auto">
              <a:xfrm>
                <a:off x="8273542" y="1987150"/>
                <a:ext cx="3154233"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40" name="Rectangle 139"/>
              <p:cNvSpPr/>
              <p:nvPr/>
            </p:nvSpPr>
            <p:spPr bwMode="auto">
              <a:xfrm>
                <a:off x="8273542" y="1645021"/>
                <a:ext cx="3154233"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CONSUME</a:t>
                </a:r>
              </a:p>
            </p:txBody>
          </p:sp>
          <p:sp>
            <p:nvSpPr>
              <p:cNvPr id="124" name="Rectangle 123"/>
              <p:cNvSpPr/>
              <p:nvPr/>
            </p:nvSpPr>
            <p:spPr>
              <a:xfrm>
                <a:off x="8580175" y="2350309"/>
                <a:ext cx="2559956" cy="1300958"/>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a:solidFill>
                    <a:srgbClr val="505050"/>
                  </a:solidFill>
                  <a:latin typeface="Segoe UI"/>
                </a:endParaRPr>
              </a:p>
            </p:txBody>
          </p:sp>
        </p:grpSp>
        <p:grpSp>
          <p:nvGrpSpPr>
            <p:cNvPr id="24" name="Group 23"/>
            <p:cNvGrpSpPr/>
            <p:nvPr/>
          </p:nvGrpSpPr>
          <p:grpSpPr>
            <a:xfrm>
              <a:off x="8580175" y="5674782"/>
              <a:ext cx="2559956" cy="822960"/>
              <a:chOff x="8580175" y="5766222"/>
              <a:chExt cx="2559956" cy="822960"/>
            </a:xfrm>
          </p:grpSpPr>
          <p:sp>
            <p:nvSpPr>
              <p:cNvPr id="117" name="Rectangle 116"/>
              <p:cNvSpPr/>
              <p:nvPr/>
            </p:nvSpPr>
            <p:spPr>
              <a:xfrm>
                <a:off x="8580175" y="5766222"/>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a:solidFill>
                    <a:srgbClr val="505050"/>
                  </a:solidFill>
                  <a:latin typeface="Segoe UI"/>
                </a:endParaRPr>
              </a:p>
            </p:txBody>
          </p:sp>
          <p:sp>
            <p:nvSpPr>
              <p:cNvPr id="119" name="TextBox 118"/>
              <p:cNvSpPr txBox="1"/>
              <p:nvPr/>
            </p:nvSpPr>
            <p:spPr>
              <a:xfrm>
                <a:off x="9820963" y="6039203"/>
                <a:ext cx="922551" cy="278760"/>
              </a:xfrm>
              <a:prstGeom prst="rect">
                <a:avLst/>
              </a:prstGeom>
              <a:noFill/>
            </p:spPr>
            <p:txBody>
              <a:bodyPr wrap="none" rtlCol="0">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SharePoint</a:t>
                </a:r>
              </a:p>
            </p:txBody>
          </p:sp>
          <p:pic>
            <p:nvPicPr>
              <p:cNvPr id="127" name="Picture 12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681717" y="5942354"/>
                <a:ext cx="457135" cy="470696"/>
              </a:xfrm>
              <a:prstGeom prst="rect">
                <a:avLst/>
              </a:prstGeom>
            </p:spPr>
          </p:pic>
        </p:grpSp>
        <p:grpSp>
          <p:nvGrpSpPr>
            <p:cNvPr id="22" name="Group 21"/>
            <p:cNvGrpSpPr/>
            <p:nvPr/>
          </p:nvGrpSpPr>
          <p:grpSpPr>
            <a:xfrm>
              <a:off x="8573604" y="3777132"/>
              <a:ext cx="2559956" cy="822960"/>
              <a:chOff x="8573604" y="3813388"/>
              <a:chExt cx="2559956" cy="822960"/>
            </a:xfrm>
          </p:grpSpPr>
          <p:sp>
            <p:nvSpPr>
              <p:cNvPr id="125" name="Rectangle 124"/>
              <p:cNvSpPr/>
              <p:nvPr/>
            </p:nvSpPr>
            <p:spPr>
              <a:xfrm>
                <a:off x="8573604" y="3813388"/>
                <a:ext cx="2559956" cy="82296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endParaRPr lang="en-US" sz="1567" dirty="0">
                  <a:solidFill>
                    <a:srgbClr val="505050"/>
                  </a:solidFill>
                  <a:latin typeface="Segoe UI"/>
                </a:endParaRPr>
              </a:p>
            </p:txBody>
          </p:sp>
          <p:sp>
            <p:nvSpPr>
              <p:cNvPr id="132" name="TextBox 131"/>
              <p:cNvSpPr txBox="1"/>
              <p:nvPr/>
            </p:nvSpPr>
            <p:spPr>
              <a:xfrm>
                <a:off x="8614405" y="4001730"/>
                <a:ext cx="2129109" cy="446276"/>
              </a:xfrm>
              <a:prstGeom prst="rect">
                <a:avLst/>
              </a:prstGeom>
              <a:noFill/>
            </p:spPr>
            <p:txBody>
              <a:bodyPr wrap="none" rtlCol="0" anchor="ctr">
                <a:spAutoFit/>
              </a:bodyPr>
              <a:lstStyle/>
              <a:p>
                <a:pPr algn="r" defTabSz="913330" fontAlgn="base">
                  <a:spcBef>
                    <a:spcPct val="0"/>
                  </a:spcBef>
                  <a:spcAft>
                    <a:spcPct val="0"/>
                  </a:spcAft>
                </a:pPr>
                <a:r>
                  <a:rPr lang="en-US" sz="1176" dirty="0">
                    <a:solidFill>
                      <a:srgbClr val="505050"/>
                    </a:solidFill>
                    <a:latin typeface="Segoe UI"/>
                    <a:ea typeface="MS PGothic" charset="0"/>
                    <a:cs typeface="Segoe UI Light" panose="020B0502040204020203" pitchFamily="34" charset="0"/>
                  </a:rPr>
                  <a:t>Web portal</a:t>
                </a:r>
              </a:p>
              <a:p>
                <a:pPr algn="r" defTabSz="913330" fontAlgn="base">
                  <a:spcBef>
                    <a:spcPct val="0"/>
                  </a:spcBef>
                  <a:spcAft>
                    <a:spcPct val="0"/>
                  </a:spcAft>
                </a:pPr>
                <a:r>
                  <a:rPr lang="en-US" sz="1078" dirty="0">
                    <a:solidFill>
                      <a:srgbClr val="505050"/>
                    </a:solidFill>
                    <a:latin typeface="Segoe UI"/>
                    <a:ea typeface="MS PGothic" charset="0"/>
                    <a:cs typeface="Segoe UI Light" panose="020B0502040204020203" pitchFamily="34" charset="0"/>
                  </a:rPr>
                  <a:t>(paginated and mobile reports)</a:t>
                </a:r>
              </a:p>
            </p:txBody>
          </p:sp>
          <p:pic>
            <p:nvPicPr>
              <p:cNvPr id="62" name="Picture 2" descr="http://www.w3.org/html/logo/downloads/HTML5_Badge_5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73124" y="4087708"/>
                <a:ext cx="274320" cy="274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9143396" y="2500937"/>
              <a:ext cx="1901179" cy="999703"/>
              <a:chOff x="9143396" y="2801426"/>
              <a:chExt cx="1901179" cy="999703"/>
            </a:xfrm>
          </p:grpSpPr>
          <p:grpSp>
            <p:nvGrpSpPr>
              <p:cNvPr id="6" name="Group 5"/>
              <p:cNvGrpSpPr/>
              <p:nvPr/>
            </p:nvGrpSpPr>
            <p:grpSpPr>
              <a:xfrm>
                <a:off x="10004208" y="3524258"/>
                <a:ext cx="1027837" cy="276871"/>
                <a:chOff x="10025472" y="3243524"/>
                <a:chExt cx="1027837" cy="276871"/>
              </a:xfrm>
            </p:grpSpPr>
            <p:sp>
              <p:nvSpPr>
                <p:cNvPr id="94" name="TextBox 93"/>
                <p:cNvSpPr txBox="1"/>
                <p:nvPr/>
              </p:nvSpPr>
              <p:spPr>
                <a:xfrm>
                  <a:off x="10025472" y="3243524"/>
                  <a:ext cx="739306"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iOS App</a:t>
                  </a:r>
                </a:p>
              </p:txBody>
            </p:sp>
            <p:sp>
              <p:nvSpPr>
                <p:cNvPr id="63" name="Freeform 5"/>
                <p:cNvSpPr>
                  <a:spLocks noChangeAspect="1" noEditPoints="1"/>
                </p:cNvSpPr>
                <p:nvPr/>
              </p:nvSpPr>
              <p:spPr bwMode="auto">
                <a:xfrm>
                  <a:off x="10809787" y="3244799"/>
                  <a:ext cx="243522" cy="274320"/>
                </a:xfrm>
                <a:custGeom>
                  <a:avLst/>
                  <a:gdLst>
                    <a:gd name="T0" fmla="*/ 208 w 215"/>
                    <a:gd name="T1" fmla="*/ 81 h 242"/>
                    <a:gd name="T2" fmla="*/ 161 w 215"/>
                    <a:gd name="T3" fmla="*/ 57 h 242"/>
                    <a:gd name="T4" fmla="*/ 115 w 215"/>
                    <a:gd name="T5" fmla="*/ 67 h 242"/>
                    <a:gd name="T6" fmla="*/ 69 w 215"/>
                    <a:gd name="T7" fmla="*/ 57 h 242"/>
                    <a:gd name="T8" fmla="*/ 18 w 215"/>
                    <a:gd name="T9" fmla="*/ 87 h 242"/>
                    <a:gd name="T10" fmla="*/ 32 w 215"/>
                    <a:gd name="T11" fmla="*/ 209 h 242"/>
                    <a:gd name="T12" fmla="*/ 73 w 215"/>
                    <a:gd name="T13" fmla="*/ 242 h 242"/>
                    <a:gd name="T14" fmla="*/ 115 w 215"/>
                    <a:gd name="T15" fmla="*/ 232 h 242"/>
                    <a:gd name="T16" fmla="*/ 157 w 215"/>
                    <a:gd name="T17" fmla="*/ 242 h 242"/>
                    <a:gd name="T18" fmla="*/ 199 w 215"/>
                    <a:gd name="T19" fmla="*/ 207 h 242"/>
                    <a:gd name="T20" fmla="*/ 215 w 215"/>
                    <a:gd name="T21" fmla="*/ 178 h 242"/>
                    <a:gd name="T22" fmla="*/ 208 w 215"/>
                    <a:gd name="T23" fmla="*/ 81 h 242"/>
                    <a:gd name="T24" fmla="*/ 145 w 215"/>
                    <a:gd name="T25" fmla="*/ 39 h 242"/>
                    <a:gd name="T26" fmla="*/ 157 w 215"/>
                    <a:gd name="T27" fmla="*/ 0 h 242"/>
                    <a:gd name="T28" fmla="*/ 120 w 215"/>
                    <a:gd name="T29" fmla="*/ 20 h 242"/>
                    <a:gd name="T30" fmla="*/ 107 w 215"/>
                    <a:gd name="T31" fmla="*/ 58 h 242"/>
                    <a:gd name="T32" fmla="*/ 145 w 215"/>
                    <a:gd name="T33" fmla="*/ 3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5" h="242">
                      <a:moveTo>
                        <a:pt x="208" y="81"/>
                      </a:moveTo>
                      <a:cubicBezTo>
                        <a:pt x="195" y="66"/>
                        <a:pt x="178" y="57"/>
                        <a:pt x="161" y="57"/>
                      </a:cubicBezTo>
                      <a:cubicBezTo>
                        <a:pt x="139" y="57"/>
                        <a:pt x="130" y="67"/>
                        <a:pt x="115" y="67"/>
                      </a:cubicBezTo>
                      <a:cubicBezTo>
                        <a:pt x="99" y="67"/>
                        <a:pt x="88" y="57"/>
                        <a:pt x="69" y="57"/>
                      </a:cubicBezTo>
                      <a:cubicBezTo>
                        <a:pt x="50" y="57"/>
                        <a:pt x="30" y="68"/>
                        <a:pt x="18" y="87"/>
                      </a:cubicBezTo>
                      <a:cubicBezTo>
                        <a:pt x="0" y="115"/>
                        <a:pt x="3" y="166"/>
                        <a:pt x="32" y="209"/>
                      </a:cubicBezTo>
                      <a:cubicBezTo>
                        <a:pt x="42" y="225"/>
                        <a:pt x="56" y="242"/>
                        <a:pt x="73" y="242"/>
                      </a:cubicBezTo>
                      <a:cubicBezTo>
                        <a:pt x="89" y="242"/>
                        <a:pt x="94" y="232"/>
                        <a:pt x="115" y="232"/>
                      </a:cubicBezTo>
                      <a:cubicBezTo>
                        <a:pt x="137" y="232"/>
                        <a:pt x="141" y="242"/>
                        <a:pt x="157" y="242"/>
                      </a:cubicBezTo>
                      <a:cubicBezTo>
                        <a:pt x="175" y="242"/>
                        <a:pt x="189" y="223"/>
                        <a:pt x="199" y="207"/>
                      </a:cubicBezTo>
                      <a:cubicBezTo>
                        <a:pt x="206" y="196"/>
                        <a:pt x="209" y="190"/>
                        <a:pt x="215" y="178"/>
                      </a:cubicBezTo>
                      <a:cubicBezTo>
                        <a:pt x="174" y="162"/>
                        <a:pt x="167" y="104"/>
                        <a:pt x="208" y="81"/>
                      </a:cubicBezTo>
                      <a:close/>
                      <a:moveTo>
                        <a:pt x="145" y="39"/>
                      </a:moveTo>
                      <a:cubicBezTo>
                        <a:pt x="153" y="29"/>
                        <a:pt x="159" y="15"/>
                        <a:pt x="157" y="0"/>
                      </a:cubicBezTo>
                      <a:cubicBezTo>
                        <a:pt x="144" y="1"/>
                        <a:pt x="128" y="9"/>
                        <a:pt x="120" y="20"/>
                      </a:cubicBezTo>
                      <a:cubicBezTo>
                        <a:pt x="111" y="30"/>
                        <a:pt x="105" y="44"/>
                        <a:pt x="107" y="58"/>
                      </a:cubicBezTo>
                      <a:cubicBezTo>
                        <a:pt x="122" y="59"/>
                        <a:pt x="136" y="50"/>
                        <a:pt x="145" y="39"/>
                      </a:cubicBezTo>
                      <a:close/>
                    </a:path>
                  </a:pathLst>
                </a:custGeom>
                <a:solidFill>
                  <a:schemeClr val="bg1">
                    <a:lumMod val="50000"/>
                  </a:schemeClr>
                </a:solid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nvGrpSpPr>
              <p:cNvPr id="7" name="Group 6"/>
              <p:cNvGrpSpPr/>
              <p:nvPr/>
            </p:nvGrpSpPr>
            <p:grpSpPr>
              <a:xfrm>
                <a:off x="9693226" y="3162842"/>
                <a:ext cx="1332160" cy="276871"/>
                <a:chOff x="9714490" y="2874646"/>
                <a:chExt cx="1332160" cy="276871"/>
              </a:xfrm>
            </p:grpSpPr>
            <p:sp>
              <p:nvSpPr>
                <p:cNvPr id="93" name="TextBox 92"/>
                <p:cNvSpPr txBox="1"/>
                <p:nvPr/>
              </p:nvSpPr>
              <p:spPr>
                <a:xfrm>
                  <a:off x="9714490" y="2874646"/>
                  <a:ext cx="1050288"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Android App</a:t>
                  </a:r>
                </a:p>
              </p:txBody>
            </p:sp>
            <p:grpSp>
              <p:nvGrpSpPr>
                <p:cNvPr id="64" name="Group 63"/>
                <p:cNvGrpSpPr>
                  <a:grpSpLocks noChangeAspect="1"/>
                </p:cNvGrpSpPr>
                <p:nvPr/>
              </p:nvGrpSpPr>
              <p:grpSpPr>
                <a:xfrm>
                  <a:off x="10816446" y="2875921"/>
                  <a:ext cx="230204" cy="274320"/>
                  <a:chOff x="4130675" y="1004888"/>
                  <a:chExt cx="4175126" cy="4975225"/>
                </a:xfrm>
              </p:grpSpPr>
              <p:sp>
                <p:nvSpPr>
                  <p:cNvPr id="65"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6"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7"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68" name="Freeform 13"/>
                  <p:cNvSpPr>
                    <a:spLocks noEditPoints="1"/>
                  </p:cNvSpPr>
                  <p:nvPr/>
                </p:nvSpPr>
                <p:spPr bwMode="auto">
                  <a:xfrm>
                    <a:off x="4848225" y="1004888"/>
                    <a:ext cx="2740027" cy="1566865"/>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grpSp>
            <p:nvGrpSpPr>
              <p:cNvPr id="10" name="Group 9"/>
              <p:cNvGrpSpPr/>
              <p:nvPr/>
            </p:nvGrpSpPr>
            <p:grpSpPr>
              <a:xfrm>
                <a:off x="9143396" y="2801426"/>
                <a:ext cx="1901179" cy="276871"/>
                <a:chOff x="9164660" y="2500276"/>
                <a:chExt cx="1901179" cy="276871"/>
              </a:xfrm>
            </p:grpSpPr>
            <p:sp>
              <p:nvSpPr>
                <p:cNvPr id="97" name="TextBox 96"/>
                <p:cNvSpPr txBox="1"/>
                <p:nvPr/>
              </p:nvSpPr>
              <p:spPr>
                <a:xfrm>
                  <a:off x="9164660" y="2500276"/>
                  <a:ext cx="1600118" cy="276871"/>
                </a:xfrm>
                <a:prstGeom prst="rect">
                  <a:avLst/>
                </a:prstGeom>
                <a:noFill/>
              </p:spPr>
              <p:txBody>
                <a:bodyPr wrap="none" rtlCol="0">
                  <a:spAutoFit/>
                </a:bodyPr>
                <a:lstStyle/>
                <a:p>
                  <a:pPr algn="r" defTabSz="913330" fontAlgn="base">
                    <a:spcBef>
                      <a:spcPct val="0"/>
                    </a:spcBef>
                    <a:spcAft>
                      <a:spcPct val="0"/>
                    </a:spcAft>
                  </a:pPr>
                  <a:r>
                    <a:rPr lang="en-US" sz="1175" dirty="0">
                      <a:solidFill>
                        <a:srgbClr val="505050"/>
                      </a:solidFill>
                      <a:latin typeface="Segoe UI"/>
                      <a:ea typeface="MS PGothic" charset="0"/>
                      <a:cs typeface="Segoe UI Light" panose="020B0502040204020203" pitchFamily="34" charset="0"/>
                    </a:rPr>
                    <a:t>Windows Phone App</a:t>
                  </a:r>
                  <a:endParaRPr lang="en-US" sz="1028" dirty="0">
                    <a:solidFill>
                      <a:srgbClr val="505050"/>
                    </a:solidFill>
                    <a:latin typeface="Segoe UI"/>
                    <a:ea typeface="MS PGothic" charset="0"/>
                  </a:endParaRPr>
                </a:p>
              </p:txBody>
            </p:sp>
            <p:grpSp>
              <p:nvGrpSpPr>
                <p:cNvPr id="75" name="Group 74"/>
                <p:cNvGrpSpPr>
                  <a:grpSpLocks noChangeAspect="1"/>
                </p:cNvGrpSpPr>
                <p:nvPr/>
              </p:nvGrpSpPr>
              <p:grpSpPr>
                <a:xfrm>
                  <a:off x="10797258" y="2501551"/>
                  <a:ext cx="268581" cy="274320"/>
                  <a:chOff x="9127779" y="3921209"/>
                  <a:chExt cx="358108" cy="365760"/>
                </a:xfrm>
                <a:solidFill>
                  <a:srgbClr val="68217A"/>
                </a:solidFill>
              </p:grpSpPr>
              <p:sp>
                <p:nvSpPr>
                  <p:cNvPr id="76" name="Freeform 31"/>
                  <p:cNvSpPr>
                    <a:spLocks/>
                  </p:cNvSpPr>
                  <p:nvPr/>
                </p:nvSpPr>
                <p:spPr bwMode="auto">
                  <a:xfrm>
                    <a:off x="9286173" y="3921209"/>
                    <a:ext cx="199714" cy="174846"/>
                  </a:xfrm>
                  <a:custGeom>
                    <a:avLst/>
                    <a:gdLst>
                      <a:gd name="T0" fmla="*/ 522 w 522"/>
                      <a:gd name="T1" fmla="*/ 457 h 457"/>
                      <a:gd name="T2" fmla="*/ 522 w 522"/>
                      <a:gd name="T3" fmla="*/ 0 h 457"/>
                      <a:gd name="T4" fmla="*/ 0 w 522"/>
                      <a:gd name="T5" fmla="*/ 78 h 457"/>
                      <a:gd name="T6" fmla="*/ 0 w 522"/>
                      <a:gd name="T7" fmla="*/ 457 h 457"/>
                      <a:gd name="T8" fmla="*/ 522 w 522"/>
                      <a:gd name="T9" fmla="*/ 457 h 457"/>
                    </a:gdLst>
                    <a:ahLst/>
                    <a:cxnLst>
                      <a:cxn ang="0">
                        <a:pos x="T0" y="T1"/>
                      </a:cxn>
                      <a:cxn ang="0">
                        <a:pos x="T2" y="T3"/>
                      </a:cxn>
                      <a:cxn ang="0">
                        <a:pos x="T4" y="T5"/>
                      </a:cxn>
                      <a:cxn ang="0">
                        <a:pos x="T6" y="T7"/>
                      </a:cxn>
                      <a:cxn ang="0">
                        <a:pos x="T8" y="T9"/>
                      </a:cxn>
                    </a:cxnLst>
                    <a:rect l="0" t="0" r="r" b="b"/>
                    <a:pathLst>
                      <a:path w="522" h="457">
                        <a:moveTo>
                          <a:pt x="522" y="457"/>
                        </a:moveTo>
                        <a:lnTo>
                          <a:pt x="522" y="0"/>
                        </a:lnTo>
                        <a:lnTo>
                          <a:pt x="0" y="78"/>
                        </a:lnTo>
                        <a:lnTo>
                          <a:pt x="0" y="457"/>
                        </a:lnTo>
                        <a:lnTo>
                          <a:pt x="522" y="457"/>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7" name="Freeform 32"/>
                  <p:cNvSpPr>
                    <a:spLocks/>
                  </p:cNvSpPr>
                  <p:nvPr/>
                </p:nvSpPr>
                <p:spPr bwMode="auto">
                  <a:xfrm>
                    <a:off x="9127779" y="3953730"/>
                    <a:ext cx="145003" cy="142325"/>
                  </a:xfrm>
                  <a:custGeom>
                    <a:avLst/>
                    <a:gdLst>
                      <a:gd name="T0" fmla="*/ 379 w 379"/>
                      <a:gd name="T1" fmla="*/ 0 h 372"/>
                      <a:gd name="T2" fmla="*/ 0 w 379"/>
                      <a:gd name="T3" fmla="*/ 50 h 372"/>
                      <a:gd name="T4" fmla="*/ 0 w 379"/>
                      <a:gd name="T5" fmla="*/ 372 h 372"/>
                      <a:gd name="T6" fmla="*/ 379 w 379"/>
                      <a:gd name="T7" fmla="*/ 372 h 372"/>
                      <a:gd name="T8" fmla="*/ 379 w 379"/>
                      <a:gd name="T9" fmla="*/ 0 h 372"/>
                    </a:gdLst>
                    <a:ahLst/>
                    <a:cxnLst>
                      <a:cxn ang="0">
                        <a:pos x="T0" y="T1"/>
                      </a:cxn>
                      <a:cxn ang="0">
                        <a:pos x="T2" y="T3"/>
                      </a:cxn>
                      <a:cxn ang="0">
                        <a:pos x="T4" y="T5"/>
                      </a:cxn>
                      <a:cxn ang="0">
                        <a:pos x="T6" y="T7"/>
                      </a:cxn>
                      <a:cxn ang="0">
                        <a:pos x="T8" y="T9"/>
                      </a:cxn>
                    </a:cxnLst>
                    <a:rect l="0" t="0" r="r" b="b"/>
                    <a:pathLst>
                      <a:path w="379" h="372">
                        <a:moveTo>
                          <a:pt x="379" y="0"/>
                        </a:moveTo>
                        <a:lnTo>
                          <a:pt x="0" y="50"/>
                        </a:lnTo>
                        <a:lnTo>
                          <a:pt x="0" y="372"/>
                        </a:lnTo>
                        <a:lnTo>
                          <a:pt x="379" y="372"/>
                        </a:lnTo>
                        <a:lnTo>
                          <a:pt x="379"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8" name="Freeform 33"/>
                  <p:cNvSpPr>
                    <a:spLocks/>
                  </p:cNvSpPr>
                  <p:nvPr/>
                </p:nvSpPr>
                <p:spPr bwMode="auto">
                  <a:xfrm>
                    <a:off x="9127779" y="4109442"/>
                    <a:ext cx="145003" cy="144621"/>
                  </a:xfrm>
                  <a:custGeom>
                    <a:avLst/>
                    <a:gdLst>
                      <a:gd name="T0" fmla="*/ 0 w 379"/>
                      <a:gd name="T1" fmla="*/ 0 h 378"/>
                      <a:gd name="T2" fmla="*/ 0 w 379"/>
                      <a:gd name="T3" fmla="*/ 321 h 378"/>
                      <a:gd name="T4" fmla="*/ 379 w 379"/>
                      <a:gd name="T5" fmla="*/ 378 h 378"/>
                      <a:gd name="T6" fmla="*/ 379 w 379"/>
                      <a:gd name="T7" fmla="*/ 0 h 378"/>
                      <a:gd name="T8" fmla="*/ 0 w 379"/>
                      <a:gd name="T9" fmla="*/ 0 h 378"/>
                    </a:gdLst>
                    <a:ahLst/>
                    <a:cxnLst>
                      <a:cxn ang="0">
                        <a:pos x="T0" y="T1"/>
                      </a:cxn>
                      <a:cxn ang="0">
                        <a:pos x="T2" y="T3"/>
                      </a:cxn>
                      <a:cxn ang="0">
                        <a:pos x="T4" y="T5"/>
                      </a:cxn>
                      <a:cxn ang="0">
                        <a:pos x="T6" y="T7"/>
                      </a:cxn>
                      <a:cxn ang="0">
                        <a:pos x="T8" y="T9"/>
                      </a:cxn>
                    </a:cxnLst>
                    <a:rect l="0" t="0" r="r" b="b"/>
                    <a:pathLst>
                      <a:path w="379" h="378">
                        <a:moveTo>
                          <a:pt x="0" y="0"/>
                        </a:moveTo>
                        <a:lnTo>
                          <a:pt x="0" y="321"/>
                        </a:lnTo>
                        <a:lnTo>
                          <a:pt x="379" y="378"/>
                        </a:lnTo>
                        <a:lnTo>
                          <a:pt x="379" y="0"/>
                        </a:lnTo>
                        <a:lnTo>
                          <a:pt x="0" y="0"/>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sp>
                <p:nvSpPr>
                  <p:cNvPr id="79" name="Freeform 34"/>
                  <p:cNvSpPr>
                    <a:spLocks/>
                  </p:cNvSpPr>
                  <p:nvPr/>
                </p:nvSpPr>
                <p:spPr bwMode="auto">
                  <a:xfrm>
                    <a:off x="9286173" y="4109445"/>
                    <a:ext cx="199714" cy="177524"/>
                  </a:xfrm>
                  <a:custGeom>
                    <a:avLst/>
                    <a:gdLst>
                      <a:gd name="T0" fmla="*/ 0 w 522"/>
                      <a:gd name="T1" fmla="*/ 385 h 464"/>
                      <a:gd name="T2" fmla="*/ 522 w 522"/>
                      <a:gd name="T3" fmla="*/ 464 h 464"/>
                      <a:gd name="T4" fmla="*/ 522 w 522"/>
                      <a:gd name="T5" fmla="*/ 0 h 464"/>
                      <a:gd name="T6" fmla="*/ 0 w 522"/>
                      <a:gd name="T7" fmla="*/ 0 h 464"/>
                      <a:gd name="T8" fmla="*/ 0 w 522"/>
                      <a:gd name="T9" fmla="*/ 385 h 464"/>
                    </a:gdLst>
                    <a:ahLst/>
                    <a:cxnLst>
                      <a:cxn ang="0">
                        <a:pos x="T0" y="T1"/>
                      </a:cxn>
                      <a:cxn ang="0">
                        <a:pos x="T2" y="T3"/>
                      </a:cxn>
                      <a:cxn ang="0">
                        <a:pos x="T4" y="T5"/>
                      </a:cxn>
                      <a:cxn ang="0">
                        <a:pos x="T6" y="T7"/>
                      </a:cxn>
                      <a:cxn ang="0">
                        <a:pos x="T8" y="T9"/>
                      </a:cxn>
                    </a:cxnLst>
                    <a:rect l="0" t="0" r="r" b="b"/>
                    <a:pathLst>
                      <a:path w="522" h="464">
                        <a:moveTo>
                          <a:pt x="0" y="385"/>
                        </a:moveTo>
                        <a:lnTo>
                          <a:pt x="522" y="464"/>
                        </a:lnTo>
                        <a:lnTo>
                          <a:pt x="522" y="0"/>
                        </a:lnTo>
                        <a:lnTo>
                          <a:pt x="0" y="0"/>
                        </a:lnTo>
                        <a:lnTo>
                          <a:pt x="0" y="385"/>
                        </a:lnTo>
                        <a:close/>
                      </a:path>
                    </a:pathLst>
                  </a:custGeom>
                  <a:grpFill/>
                  <a:ln>
                    <a:noFill/>
                  </a:ln>
                </p:spPr>
                <p:txBody>
                  <a:bodyPr vert="horz" wrap="square" lIns="87880" tIns="0" rIns="0" bIns="0" numCol="1" anchor="t" anchorCtr="0" compatLnSpc="1">
                    <a:prstTxWarp prst="textNoShape">
                      <a:avLst/>
                    </a:prstTxWarp>
                  </a:bodyPr>
                  <a:lstStyle/>
                  <a:p>
                    <a:pPr defTabSz="913505" fontAlgn="base">
                      <a:spcBef>
                        <a:spcPct val="0"/>
                      </a:spcBef>
                      <a:spcAft>
                        <a:spcPct val="0"/>
                      </a:spcAft>
                    </a:pPr>
                    <a:endParaRPr lang="en-US" sz="490">
                      <a:solidFill>
                        <a:srgbClr val="2C2C2C"/>
                      </a:solidFill>
                      <a:latin typeface="Segoe UI" charset="0"/>
                      <a:ea typeface="MS PGothic" charset="0"/>
                    </a:endParaRPr>
                  </a:p>
                </p:txBody>
              </p:sp>
            </p:grpSp>
          </p:grpSp>
        </p:grpSp>
        <p:sp>
          <p:nvSpPr>
            <p:cNvPr id="108" name="TextBox 107"/>
            <p:cNvSpPr txBox="1"/>
            <p:nvPr/>
          </p:nvSpPr>
          <p:spPr>
            <a:xfrm>
              <a:off x="8453882" y="1995467"/>
              <a:ext cx="2019042" cy="440890"/>
            </a:xfrm>
            <a:prstGeom prst="rect">
              <a:avLst/>
            </a:prstGeom>
            <a:noFill/>
          </p:spPr>
          <p:txBody>
            <a:bodyPr wrap="square" lIns="179285" tIns="143428" rIns="179285" bIns="143428" rtlCol="0">
              <a:spAutoFit/>
            </a:bodyPr>
            <a:lstStyle/>
            <a:p>
              <a:pPr defTabSz="913505" fontAlgn="base">
                <a:lnSpc>
                  <a:spcPct val="90000"/>
                </a:lnSpc>
                <a:spcBef>
                  <a:spcPct val="0"/>
                </a:spcBef>
                <a:spcAft>
                  <a:spcPts val="588"/>
                </a:spcAft>
                <a:defRPr/>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ONE SET OF MOBILE APPS</a:t>
              </a:r>
            </a:p>
          </p:txBody>
        </p:sp>
      </p:grpSp>
      <p:sp>
        <p:nvSpPr>
          <p:cNvPr id="163" name="Title 1"/>
          <p:cNvSpPr>
            <a:spLocks noGrp="1"/>
          </p:cNvSpPr>
          <p:nvPr>
            <p:ph type="title"/>
          </p:nvPr>
        </p:nvSpPr>
        <p:spPr>
          <a:xfrm>
            <a:off x="269240" y="221878"/>
            <a:ext cx="12155888" cy="584163"/>
          </a:xfrm>
        </p:spPr>
        <p:txBody>
          <a:bodyPr/>
          <a:lstStyle/>
          <a:p>
            <a:r>
              <a:rPr lang="en-US" dirty="0"/>
              <a:t>SQL Server 2016 BI at GA</a:t>
            </a:r>
            <a:r>
              <a:rPr lang="en-US" sz="3921" dirty="0">
                <a:gradFill>
                  <a:gsLst>
                    <a:gs pos="877">
                      <a:schemeClr val="accent5"/>
                    </a:gs>
                    <a:gs pos="15000">
                      <a:schemeClr val="accent5"/>
                    </a:gs>
                  </a:gsLst>
                  <a:lin ang="5400000" scaled="0"/>
                </a:gradFill>
              </a:rPr>
              <a:t/>
            </a:r>
            <a:br>
              <a:rPr lang="en-US" sz="3921" dirty="0">
                <a:gradFill>
                  <a:gsLst>
                    <a:gs pos="877">
                      <a:schemeClr val="accent5"/>
                    </a:gs>
                    <a:gs pos="15000">
                      <a:schemeClr val="accent5"/>
                    </a:gs>
                  </a:gsLst>
                  <a:lin ang="5400000" scaled="0"/>
                </a:gradFill>
              </a:rPr>
            </a:br>
            <a:r>
              <a:rPr lang="en-US" sz="3137" dirty="0">
                <a:gradFill>
                  <a:gsLst>
                    <a:gs pos="877">
                      <a:schemeClr val="accent5"/>
                    </a:gs>
                    <a:gs pos="15000">
                      <a:schemeClr val="accent5"/>
                    </a:gs>
                  </a:gsLst>
                  <a:lin ang="5400000" scaled="0"/>
                </a:gradFill>
              </a:rPr>
              <a:t>Roadmap for SQL Server Reporting Services &amp; mobile reporting</a:t>
            </a:r>
            <a:endParaRPr lang="en-US" dirty="0"/>
          </a:p>
        </p:txBody>
      </p:sp>
      <p:grpSp>
        <p:nvGrpSpPr>
          <p:cNvPr id="26" name="Group 25"/>
          <p:cNvGrpSpPr/>
          <p:nvPr/>
        </p:nvGrpSpPr>
        <p:grpSpPr>
          <a:xfrm>
            <a:off x="4392723" y="1613171"/>
            <a:ext cx="3194351" cy="4907170"/>
            <a:chOff x="4480806" y="1645021"/>
            <a:chExt cx="3258404" cy="5005569"/>
          </a:xfrm>
        </p:grpSpPr>
        <p:sp>
          <p:nvSpPr>
            <p:cNvPr id="91" name="Rectangle 90"/>
            <p:cNvSpPr/>
            <p:nvPr/>
          </p:nvSpPr>
          <p:spPr bwMode="auto">
            <a:xfrm>
              <a:off x="4480806" y="1987150"/>
              <a:ext cx="3154233"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06" name="Rectangle 105"/>
            <p:cNvSpPr/>
            <p:nvPr/>
          </p:nvSpPr>
          <p:spPr>
            <a:xfrm>
              <a:off x="4777946" y="2350309"/>
              <a:ext cx="2559956" cy="19202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79285" rIns="179259" bIns="143407" numCol="1" spcCol="0" rtlCol="0" fromWordArt="0" anchor="t" anchorCtr="0" forceAA="0" compatLnSpc="1">
              <a:prstTxWarp prst="textNoShape">
                <a:avLst/>
              </a:prstTxWarp>
              <a:noAutofit/>
            </a:bodyPr>
            <a:lstStyle/>
            <a:p>
              <a:pPr defTabSz="913330" fontAlgn="base">
                <a:spcBef>
                  <a:spcPts val="1176"/>
                </a:spcBef>
                <a:spcAft>
                  <a:spcPct val="0"/>
                </a:spcAft>
              </a:pPr>
              <a:r>
                <a:rPr lang="en-US" sz="1371" dirty="0">
                  <a:solidFill>
                    <a:srgbClr val="505050"/>
                  </a:solidFill>
                  <a:latin typeface="Segoe UI Semibold" panose="020B0702040204020203" pitchFamily="34" charset="0"/>
                  <a:cs typeface="Segoe UI Semibold" panose="020B0702040204020203" pitchFamily="34" charset="0"/>
                </a:rPr>
                <a:t>SQL Server </a:t>
              </a:r>
              <a:br>
                <a:rPr lang="en-US" sz="1371" dirty="0">
                  <a:solidFill>
                    <a:srgbClr val="505050"/>
                  </a:solidFill>
                  <a:latin typeface="Segoe UI Semibold" panose="020B0702040204020203" pitchFamily="34" charset="0"/>
                  <a:cs typeface="Segoe UI Semibold" panose="020B0702040204020203" pitchFamily="34" charset="0"/>
                </a:rPr>
              </a:br>
              <a:r>
                <a:rPr lang="en-US" sz="1371" dirty="0">
                  <a:solidFill>
                    <a:srgbClr val="505050"/>
                  </a:solidFill>
                  <a:latin typeface="Segoe UI Semibold" panose="020B0702040204020203" pitchFamily="34" charset="0"/>
                  <a:cs typeface="Segoe UI Semibold" panose="020B0702040204020203" pitchFamily="34" charset="0"/>
                </a:rPr>
                <a:t>Reporting Services</a:t>
              </a:r>
            </a:p>
            <a:p>
              <a:pPr defTabSz="913330" fontAlgn="base">
                <a:spcBef>
                  <a:spcPts val="1176"/>
                </a:spcBef>
                <a:spcAft>
                  <a:spcPct val="0"/>
                </a:spcAft>
              </a:pPr>
              <a:r>
                <a:rPr lang="en-US" sz="1371" dirty="0">
                  <a:solidFill>
                    <a:srgbClr val="505050"/>
                  </a:solidFill>
                  <a:latin typeface="Segoe UI Semibold" panose="020B0702040204020203" pitchFamily="34" charset="0"/>
                  <a:cs typeface="Segoe UI Semibold" panose="020B0702040204020203" pitchFamily="34" charset="0"/>
                </a:rPr>
                <a:t>Native mode</a:t>
              </a:r>
            </a:p>
            <a:p>
              <a:pPr defTabSz="913330" fontAlgn="base">
                <a:spcBef>
                  <a:spcPts val="1176"/>
                </a:spcBef>
                <a:spcAft>
                  <a:spcPct val="0"/>
                </a:spcAft>
              </a:pPr>
              <a:r>
                <a:rPr lang="en-US" sz="1371" dirty="0">
                  <a:solidFill>
                    <a:srgbClr val="505050"/>
                  </a:solidFill>
                  <a:latin typeface="Segoe UI"/>
                  <a:cs typeface="Segoe UI Light" panose="020B0502040204020203" pitchFamily="34" charset="0"/>
                </a:rPr>
                <a:t>Mobile Reports now a component of SSRS</a:t>
              </a:r>
              <a:endParaRPr lang="en-US" sz="1371" b="1" dirty="0">
                <a:solidFill>
                  <a:srgbClr val="505050"/>
                </a:solidFill>
                <a:latin typeface="Segoe UI"/>
                <a:cs typeface="Segoe UI Light" panose="020B0502040204020203" pitchFamily="34" charset="0"/>
              </a:endParaRPr>
            </a:p>
          </p:txBody>
        </p:sp>
        <p:sp>
          <p:nvSpPr>
            <p:cNvPr id="142" name="Rectangle 141"/>
            <p:cNvSpPr/>
            <p:nvPr/>
          </p:nvSpPr>
          <p:spPr bwMode="auto">
            <a:xfrm>
              <a:off x="4480806" y="1645021"/>
              <a:ext cx="3154233"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DELIVER</a:t>
              </a:r>
            </a:p>
          </p:txBody>
        </p:sp>
        <p:sp>
          <p:nvSpPr>
            <p:cNvPr id="2" name="Rectangle 1"/>
            <p:cNvSpPr/>
            <p:nvPr/>
          </p:nvSpPr>
          <p:spPr bwMode="auto">
            <a:xfrm>
              <a:off x="4683533" y="2165575"/>
              <a:ext cx="2787992" cy="4407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505050"/>
                </a:solidFill>
                <a:latin typeface="Segoe UI"/>
                <a:ea typeface="Segoe UI" pitchFamily="34" charset="0"/>
                <a:cs typeface="Segoe UI" pitchFamily="34" charset="0"/>
              </a:endParaRPr>
            </a:p>
          </p:txBody>
        </p:sp>
        <p:sp>
          <p:nvSpPr>
            <p:cNvPr id="3" name="Rectangle 2"/>
            <p:cNvSpPr/>
            <p:nvPr/>
          </p:nvSpPr>
          <p:spPr bwMode="auto">
            <a:xfrm>
              <a:off x="4683533" y="2165575"/>
              <a:ext cx="2787992" cy="44077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505050"/>
                </a:solidFill>
                <a:latin typeface="Segoe UI"/>
                <a:ea typeface="Segoe UI" pitchFamily="34" charset="0"/>
                <a:cs typeface="Segoe UI" pitchFamily="34" charset="0"/>
              </a:endParaRPr>
            </a:p>
          </p:txBody>
        </p:sp>
        <p:sp>
          <p:nvSpPr>
            <p:cNvPr id="9" name="TextBox 8"/>
            <p:cNvSpPr txBox="1"/>
            <p:nvPr/>
          </p:nvSpPr>
          <p:spPr>
            <a:xfrm>
              <a:off x="4601433" y="2020437"/>
              <a:ext cx="3137777" cy="773016"/>
            </a:xfrm>
            <a:prstGeom prst="rect">
              <a:avLst/>
            </a:prstGeom>
            <a:noFill/>
          </p:spPr>
          <p:txBody>
            <a:bodyPr wrap="square" lIns="182854" tIns="146284" rIns="182854" bIns="146284" rtlCol="0">
              <a:spAutoFit/>
            </a:bodyPr>
            <a:lstStyle/>
            <a:p>
              <a:pPr defTabSz="913330" fontAlgn="base">
                <a:lnSpc>
                  <a:spcPct val="90000"/>
                </a:lnSpc>
                <a:spcBef>
                  <a:spcPct val="0"/>
                </a:spcBef>
                <a:spcAft>
                  <a:spcPts val="588"/>
                </a:spcAft>
              </a:pPr>
              <a:r>
                <a:rPr lang="en-US" sz="1029" dirty="0">
                  <a:solidFill>
                    <a:srgbClr val="FF8C00"/>
                  </a:solidFill>
                  <a:latin typeface="Segoe UI Semibold" panose="020B0702040204020203" pitchFamily="34" charset="0"/>
                  <a:ea typeface="MS PGothic" charset="0"/>
                  <a:cs typeface="Segoe UI Semibold" panose="020B0702040204020203" pitchFamily="34" charset="0"/>
                </a:rPr>
                <a:t>SQL Server 2016 Reporting Services</a:t>
              </a:r>
            </a:p>
            <a:p>
              <a:pPr defTabSz="914367">
                <a:lnSpc>
                  <a:spcPct val="90000"/>
                </a:lnSpc>
                <a:spcAft>
                  <a:spcPts val="1176"/>
                </a:spcAft>
              </a:pPr>
              <a:endParaRPr lang="en-US" sz="1765" dirty="0" err="1">
                <a:solidFill>
                  <a:srgbClr val="FF8C00"/>
                </a:solidFill>
                <a:latin typeface="Segoe UI Semibold" panose="020B0702040204020203" pitchFamily="34" charset="0"/>
                <a:ea typeface="MS PGothic" charset="0"/>
                <a:cs typeface="Segoe UI Semibold" panose="020B0702040204020203" pitchFamily="34" charset="0"/>
              </a:endParaRPr>
            </a:p>
          </p:txBody>
        </p:sp>
        <p:sp>
          <p:nvSpPr>
            <p:cNvPr id="111" name="Rectangle 110"/>
            <p:cNvSpPr/>
            <p:nvPr/>
          </p:nvSpPr>
          <p:spPr bwMode="auto">
            <a:xfrm>
              <a:off x="4777946" y="4577502"/>
              <a:ext cx="2559956" cy="1920240"/>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79285" rIns="179259" bIns="143407" numCol="1" spcCol="0" rtlCol="0" fromWordArt="0" anchor="t" anchorCtr="0" forceAA="0" compatLnSpc="1">
              <a:prstTxWarp prst="textNoShape">
                <a:avLst/>
              </a:prstTxWarp>
              <a:noAutofit/>
            </a:bodyPr>
            <a:lstStyle/>
            <a:p>
              <a:pPr defTabSz="913330" fontAlgn="base">
                <a:spcAft>
                  <a:spcPts val="1176"/>
                </a:spcAft>
              </a:pPr>
              <a:r>
                <a:rPr lang="en-US" sz="1371" dirty="0">
                  <a:solidFill>
                    <a:srgbClr val="505050"/>
                  </a:solidFill>
                  <a:latin typeface="Segoe UI Semibold" panose="020B0702040204020203" pitchFamily="34" charset="0"/>
                  <a:cs typeface="Segoe UI Semibold" panose="020B0702040204020203" pitchFamily="34" charset="0"/>
                </a:rPr>
                <a:t>SQL Server </a:t>
              </a:r>
              <a:br>
                <a:rPr lang="en-US" sz="1371" dirty="0">
                  <a:solidFill>
                    <a:srgbClr val="505050"/>
                  </a:solidFill>
                  <a:latin typeface="Segoe UI Semibold" panose="020B0702040204020203" pitchFamily="34" charset="0"/>
                  <a:cs typeface="Segoe UI Semibold" panose="020B0702040204020203" pitchFamily="34" charset="0"/>
                </a:rPr>
              </a:br>
              <a:r>
                <a:rPr lang="en-US" sz="1371" dirty="0">
                  <a:solidFill>
                    <a:srgbClr val="505050"/>
                  </a:solidFill>
                  <a:latin typeface="Segoe UI Semibold" panose="020B0702040204020203" pitchFamily="34" charset="0"/>
                  <a:cs typeface="Segoe UI Semibold" panose="020B0702040204020203" pitchFamily="34" charset="0"/>
                </a:rPr>
                <a:t>Reporting Services </a:t>
              </a:r>
            </a:p>
            <a:p>
              <a:pPr defTabSz="913330" fontAlgn="base">
                <a:spcAft>
                  <a:spcPts val="1176"/>
                </a:spcAft>
              </a:pPr>
              <a:r>
                <a:rPr lang="en-US" sz="1371" dirty="0">
                  <a:solidFill>
                    <a:srgbClr val="505050"/>
                  </a:solidFill>
                  <a:latin typeface="Segoe UI" panose="020B0502040204020203" pitchFamily="34" charset="0"/>
                  <a:cs typeface="Segoe UI" panose="020B0502040204020203" pitchFamily="34" charset="0"/>
                </a:rPr>
                <a:t>SharePoint </a:t>
              </a:r>
              <a:br>
                <a:rPr lang="en-US" sz="1371" dirty="0">
                  <a:solidFill>
                    <a:srgbClr val="505050"/>
                  </a:solidFill>
                  <a:latin typeface="Segoe UI" panose="020B0502040204020203" pitchFamily="34" charset="0"/>
                  <a:cs typeface="Segoe UI" panose="020B0502040204020203" pitchFamily="34" charset="0"/>
                </a:rPr>
              </a:br>
              <a:r>
                <a:rPr lang="en-US" sz="1371" dirty="0">
                  <a:solidFill>
                    <a:srgbClr val="505050"/>
                  </a:solidFill>
                  <a:latin typeface="Segoe UI" panose="020B0502040204020203" pitchFamily="34" charset="0"/>
                  <a:cs typeface="Segoe UI" panose="020B0502040204020203" pitchFamily="34" charset="0"/>
                </a:rPr>
                <a:t>integrated mode</a:t>
              </a:r>
            </a:p>
          </p:txBody>
        </p:sp>
      </p:grpSp>
      <p:grpSp>
        <p:nvGrpSpPr>
          <p:cNvPr id="27" name="Group 26"/>
          <p:cNvGrpSpPr/>
          <p:nvPr/>
        </p:nvGrpSpPr>
        <p:grpSpPr>
          <a:xfrm>
            <a:off x="7193655" y="2927576"/>
            <a:ext cx="1203526" cy="3039530"/>
            <a:chOff x="7337902" y="2985783"/>
            <a:chExt cx="1227659" cy="3100479"/>
          </a:xfrm>
        </p:grpSpPr>
        <p:cxnSp>
          <p:nvCxnSpPr>
            <p:cNvPr id="123" name="Straight Arrow Connector 122"/>
            <p:cNvCxnSpPr/>
            <p:nvPr/>
          </p:nvCxnSpPr>
          <p:spPr>
            <a:xfrm>
              <a:off x="7955035" y="2999624"/>
              <a:ext cx="592241"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7337902" y="6086262"/>
              <a:ext cx="1227659"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7337902" y="3310429"/>
              <a:ext cx="639989"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7970360" y="2985783"/>
              <a:ext cx="259" cy="2157984"/>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a:off x="7956830" y="4187448"/>
              <a:ext cx="592241"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7955280" y="5143100"/>
              <a:ext cx="594360" cy="2329"/>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717903" y="1613171"/>
            <a:ext cx="3174465" cy="4907170"/>
            <a:chOff x="732298" y="1645021"/>
            <a:chExt cx="3238120" cy="5005569"/>
          </a:xfrm>
        </p:grpSpPr>
        <p:grpSp>
          <p:nvGrpSpPr>
            <p:cNvPr id="13" name="Group 12"/>
            <p:cNvGrpSpPr/>
            <p:nvPr/>
          </p:nvGrpSpPr>
          <p:grpSpPr>
            <a:xfrm>
              <a:off x="732298" y="1645021"/>
              <a:ext cx="3238120" cy="5005569"/>
              <a:chOff x="732298" y="1645021"/>
              <a:chExt cx="3238120" cy="5005569"/>
            </a:xfrm>
          </p:grpSpPr>
          <p:sp>
            <p:nvSpPr>
              <p:cNvPr id="90" name="Rectangle 89"/>
              <p:cNvSpPr/>
              <p:nvPr/>
            </p:nvSpPr>
            <p:spPr bwMode="auto">
              <a:xfrm>
                <a:off x="732298" y="1987150"/>
                <a:ext cx="3149369" cy="4663440"/>
              </a:xfrm>
              <a:prstGeom prst="rect">
                <a:avLst/>
              </a:prstGeom>
              <a:no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sp>
            <p:nvSpPr>
              <p:cNvPr id="149" name="TextBox 148"/>
              <p:cNvSpPr txBox="1"/>
              <p:nvPr/>
            </p:nvSpPr>
            <p:spPr>
              <a:xfrm>
                <a:off x="865683" y="2020437"/>
                <a:ext cx="3104735" cy="440827"/>
              </a:xfrm>
              <a:prstGeom prst="rect">
                <a:avLst/>
              </a:prstGeom>
              <a:noFill/>
            </p:spPr>
            <p:txBody>
              <a:bodyPr wrap="square" lIns="179259" tIns="143407" rIns="179259" bIns="143407" rtlCol="0">
                <a:spAutoFit/>
              </a:bodyPr>
              <a:lstStyle/>
              <a:p>
                <a:pPr defTabSz="913330" fontAlgn="base">
                  <a:lnSpc>
                    <a:spcPct val="90000"/>
                  </a:lnSpc>
                  <a:spcBef>
                    <a:spcPct val="0"/>
                  </a:spcBef>
                  <a:spcAft>
                    <a:spcPts val="588"/>
                  </a:spcAft>
                </a:pPr>
                <a:r>
                  <a:rPr lang="en-US" sz="1028" dirty="0">
                    <a:solidFill>
                      <a:srgbClr val="FF8C00"/>
                    </a:solidFill>
                    <a:latin typeface="Segoe UI Semibold" panose="020B0702040204020203" pitchFamily="34" charset="0"/>
                    <a:ea typeface="MS PGothic" charset="0"/>
                    <a:cs typeface="Segoe UI Semibold" panose="020B0702040204020203" pitchFamily="34" charset="0"/>
                  </a:rPr>
                  <a:t>MOBILE REPORTS</a:t>
                </a:r>
              </a:p>
            </p:txBody>
          </p:sp>
          <p:sp>
            <p:nvSpPr>
              <p:cNvPr id="147" name="Rectangle 146"/>
              <p:cNvSpPr/>
              <p:nvPr/>
            </p:nvSpPr>
            <p:spPr bwMode="auto">
              <a:xfrm>
                <a:off x="732298" y="1645021"/>
                <a:ext cx="3149369" cy="365760"/>
              </a:xfrm>
              <a:prstGeom prst="rect">
                <a:avLst/>
              </a:prstGeom>
              <a:solidFill>
                <a:srgbClr val="FF8C00"/>
              </a:solidFill>
              <a:ln>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567" dirty="0">
                    <a:solidFill>
                      <a:srgbClr val="FFFFFF"/>
                    </a:solidFill>
                    <a:latin typeface="Segoe UI"/>
                    <a:ea typeface="Segoe UI" pitchFamily="34" charset="0"/>
                    <a:cs typeface="Segoe UI" pitchFamily="34" charset="0"/>
                  </a:rPr>
                  <a:t>ANALYZE &amp; AUTHOR</a:t>
                </a:r>
              </a:p>
            </p:txBody>
          </p:sp>
          <p:sp>
            <p:nvSpPr>
              <p:cNvPr id="139" name="Rectangle 138"/>
              <p:cNvSpPr/>
              <p:nvPr/>
            </p:nvSpPr>
            <p:spPr>
              <a:xfrm>
                <a:off x="1027005" y="2350309"/>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spcAft>
                    <a:spcPts val="588"/>
                  </a:spcAft>
                </a:pPr>
                <a:r>
                  <a:rPr lang="en-US" sz="1175" dirty="0">
                    <a:solidFill>
                      <a:srgbClr val="505050"/>
                    </a:solidFill>
                    <a:latin typeface="Segoe UI"/>
                  </a:rPr>
                  <a:t>SQL Server</a:t>
                </a:r>
              </a:p>
              <a:p>
                <a:pPr defTabSz="913330" fontAlgn="base">
                  <a:lnSpc>
                    <a:spcPct val="90000"/>
                  </a:lnSpc>
                  <a:spcBef>
                    <a:spcPct val="0"/>
                  </a:spcBef>
                  <a:spcAft>
                    <a:spcPts val="588"/>
                  </a:spcAft>
                </a:pPr>
                <a:r>
                  <a:rPr lang="en-US" sz="1175" dirty="0">
                    <a:solidFill>
                      <a:srgbClr val="505050"/>
                    </a:solidFill>
                    <a:latin typeface="Segoe UI"/>
                  </a:rPr>
                  <a:t>Mobile Report Publisher</a:t>
                </a:r>
              </a:p>
            </p:txBody>
          </p:sp>
          <p:sp>
            <p:nvSpPr>
              <p:cNvPr id="4" name="TextBox 3"/>
              <p:cNvSpPr txBox="1"/>
              <p:nvPr/>
            </p:nvSpPr>
            <p:spPr>
              <a:xfrm>
                <a:off x="849227" y="3410620"/>
                <a:ext cx="3104735" cy="440827"/>
              </a:xfrm>
              <a:prstGeom prst="rect">
                <a:avLst/>
              </a:prstGeom>
              <a:noFill/>
            </p:spPr>
            <p:txBody>
              <a:bodyPr wrap="square" lIns="179259" tIns="143407" rIns="179259" bIns="143407" rtlCol="0">
                <a:spAutoFit/>
              </a:bodyPr>
              <a:lstStyle/>
              <a:p>
                <a:pPr defTabSz="913330" fontAlgn="base">
                  <a:lnSpc>
                    <a:spcPct val="90000"/>
                  </a:lnSpc>
                  <a:spcBef>
                    <a:spcPct val="0"/>
                  </a:spcBef>
                  <a:spcAft>
                    <a:spcPts val="588"/>
                  </a:spcAft>
                </a:pPr>
                <a:r>
                  <a:rPr lang="en-US" sz="1028" dirty="0">
                    <a:solidFill>
                      <a:srgbClr val="FF8C00"/>
                    </a:solidFill>
                    <a:latin typeface="Segoe UI Semibold" panose="020B0702040204020203" pitchFamily="34" charset="0"/>
                    <a:ea typeface="MS PGothic" charset="0"/>
                    <a:cs typeface="Segoe UI Semibold" panose="020B0702040204020203" pitchFamily="34" charset="0"/>
                  </a:rPr>
                  <a:t>PAGINATED REPORTS</a:t>
                </a:r>
              </a:p>
            </p:txBody>
          </p:sp>
          <p:sp>
            <p:nvSpPr>
              <p:cNvPr id="141" name="Rectangle 140"/>
              <p:cNvSpPr/>
              <p:nvPr/>
            </p:nvSpPr>
            <p:spPr>
              <a:xfrm>
                <a:off x="1010549" y="3731208"/>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pPr>
                <a:r>
                  <a:rPr lang="en-US" sz="1175" dirty="0">
                    <a:solidFill>
                      <a:srgbClr val="505050"/>
                    </a:solidFill>
                    <a:latin typeface="Segoe UI"/>
                  </a:rPr>
                  <a:t>SQL Server </a:t>
                </a:r>
              </a:p>
              <a:p>
                <a:pPr defTabSz="913330" fontAlgn="base">
                  <a:lnSpc>
                    <a:spcPct val="90000"/>
                  </a:lnSpc>
                  <a:spcBef>
                    <a:spcPct val="0"/>
                  </a:spcBef>
                </a:pPr>
                <a:r>
                  <a:rPr lang="en-US" sz="1175" dirty="0">
                    <a:solidFill>
                      <a:srgbClr val="505050"/>
                    </a:solidFill>
                    <a:latin typeface="Segoe UI"/>
                  </a:rPr>
                  <a:t>Report Builder</a:t>
                </a:r>
              </a:p>
            </p:txBody>
          </p:sp>
          <p:pic>
            <p:nvPicPr>
              <p:cNvPr id="74" name="Picture 73"/>
              <p:cNvPicPr>
                <a:picLocks noChangeAspect="1"/>
              </p:cNvPicPr>
              <p:nvPr/>
            </p:nvPicPr>
            <p:blipFill>
              <a:blip r:embed="rId7"/>
              <a:stretch>
                <a:fillRect/>
              </a:stretch>
            </p:blipFill>
            <p:spPr>
              <a:xfrm>
                <a:off x="3113646" y="3964745"/>
                <a:ext cx="359510" cy="365708"/>
              </a:xfrm>
              <a:prstGeom prst="rect">
                <a:avLst/>
              </a:prstGeom>
            </p:spPr>
          </p:pic>
          <p:sp>
            <p:nvSpPr>
              <p:cNvPr id="143" name="Rectangle 142"/>
              <p:cNvSpPr/>
              <p:nvPr/>
            </p:nvSpPr>
            <p:spPr>
              <a:xfrm>
                <a:off x="1010549" y="4591076"/>
                <a:ext cx="2559956" cy="822843"/>
              </a:xfrm>
              <a:prstGeom prst="rect">
                <a:avLst/>
              </a:prstGeom>
              <a:solidFill>
                <a:schemeClr val="bg1">
                  <a:lumMod val="95000"/>
                </a:schemeClr>
              </a:solidFill>
              <a:ln w="63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3330" fontAlgn="base">
                  <a:lnSpc>
                    <a:spcPct val="90000"/>
                  </a:lnSpc>
                  <a:spcBef>
                    <a:spcPct val="0"/>
                  </a:spcBef>
                </a:pPr>
                <a:r>
                  <a:rPr lang="en-US" sz="1175" dirty="0">
                    <a:solidFill>
                      <a:srgbClr val="505050"/>
                    </a:solidFill>
                    <a:latin typeface="Segoe UI"/>
                  </a:rPr>
                  <a:t>Report Designer in</a:t>
                </a:r>
                <a:br>
                  <a:rPr lang="en-US" sz="1175" dirty="0">
                    <a:solidFill>
                      <a:srgbClr val="505050"/>
                    </a:solidFill>
                    <a:latin typeface="Segoe UI"/>
                  </a:rPr>
                </a:br>
                <a:r>
                  <a:rPr lang="en-US" sz="1175" dirty="0">
                    <a:solidFill>
                      <a:srgbClr val="505050"/>
                    </a:solidFill>
                    <a:latin typeface="Segoe UI"/>
                  </a:rPr>
                  <a:t>SQL Server Data Tools</a:t>
                </a:r>
              </a:p>
            </p:txBody>
          </p:sp>
          <p:sp>
            <p:nvSpPr>
              <p:cNvPr id="99" name="Freeform 13"/>
              <p:cNvSpPr>
                <a:spLocks noChangeAspect="1" noEditPoints="1"/>
              </p:cNvSpPr>
              <p:nvPr/>
            </p:nvSpPr>
            <p:spPr bwMode="black">
              <a:xfrm>
                <a:off x="3120716" y="4819643"/>
                <a:ext cx="365251" cy="365708"/>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505050"/>
                  </a:solidFill>
                  <a:latin typeface="Segoe UI"/>
                  <a:ea typeface="MS PGothic" charset="0"/>
                </a:endParaRPr>
              </a:p>
            </p:txBody>
          </p:sp>
          <p:cxnSp>
            <p:nvCxnSpPr>
              <p:cNvPr id="8" name="Straight Connector 7"/>
              <p:cNvCxnSpPr>
                <a:stCxn id="141" idx="3"/>
                <a:endCxn id="141" idx="3"/>
              </p:cNvCxnSpPr>
              <p:nvPr/>
            </p:nvCxnSpPr>
            <p:spPr>
              <a:xfrm>
                <a:off x="3570505" y="4142630"/>
                <a:ext cx="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3088746" y="2562444"/>
              <a:ext cx="417272" cy="384356"/>
              <a:chOff x="6349110" y="3220549"/>
              <a:chExt cx="1673982" cy="1541934"/>
            </a:xfrm>
          </p:grpSpPr>
          <p:sp>
            <p:nvSpPr>
              <p:cNvPr id="88" name="Rectangle 87"/>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p:cNvGrpSpPr/>
              <p:nvPr/>
            </p:nvGrpSpPr>
            <p:grpSpPr>
              <a:xfrm>
                <a:off x="6465215" y="3322876"/>
                <a:ext cx="1441773" cy="296388"/>
                <a:chOff x="6471222" y="3322876"/>
                <a:chExt cx="1441773" cy="296388"/>
              </a:xfrm>
              <a:solidFill>
                <a:srgbClr val="BB2124"/>
              </a:solidFill>
            </p:grpSpPr>
            <p:sp>
              <p:nvSpPr>
                <p:cNvPr id="105" name="Rectangle 104"/>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6" name="Rectangle 95"/>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8" name="Group 97"/>
              <p:cNvGrpSpPr/>
              <p:nvPr/>
            </p:nvGrpSpPr>
            <p:grpSpPr>
              <a:xfrm>
                <a:off x="6649979" y="3785714"/>
                <a:ext cx="1072245" cy="731520"/>
                <a:chOff x="6640999" y="3785714"/>
                <a:chExt cx="1072245" cy="731520"/>
              </a:xfrm>
            </p:grpSpPr>
            <p:sp>
              <p:nvSpPr>
                <p:cNvPr id="100" name="Rectangle 99"/>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grpSp>
        <p:nvGrpSpPr>
          <p:cNvPr id="14" name="Group 13"/>
          <p:cNvGrpSpPr/>
          <p:nvPr/>
        </p:nvGrpSpPr>
        <p:grpSpPr>
          <a:xfrm>
            <a:off x="3496057" y="2704506"/>
            <a:ext cx="1174317" cy="2676118"/>
            <a:chOff x="3566160" y="2758240"/>
            <a:chExt cx="1197864" cy="2729780"/>
          </a:xfrm>
        </p:grpSpPr>
        <p:cxnSp>
          <p:nvCxnSpPr>
            <p:cNvPr id="5" name="Straight Arrow Connector 4"/>
            <p:cNvCxnSpPr/>
            <p:nvPr/>
          </p:nvCxnSpPr>
          <p:spPr>
            <a:xfrm>
              <a:off x="3586961" y="2758240"/>
              <a:ext cx="1166808" cy="0"/>
            </a:xfrm>
            <a:prstGeom prst="straightConnector1">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a:off x="3575304" y="4573620"/>
              <a:ext cx="1188720" cy="914400"/>
            </a:xfrm>
            <a:prstGeom prst="bentConnector3">
              <a:avLst>
                <a:gd name="adj1" fmla="val 50000"/>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flipV="1">
              <a:off x="3566160" y="3654188"/>
              <a:ext cx="1188720" cy="914400"/>
            </a:xfrm>
            <a:prstGeom prst="bentConnector3">
              <a:avLst>
                <a:gd name="adj1" fmla="val 50488"/>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53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left)">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left)">
                                      <p:cBhvr>
                                        <p:cTn id="2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145223"/>
            <a:ext cx="10514316" cy="826391"/>
          </a:xfrm>
        </p:spPr>
        <p:txBody>
          <a:bodyPr/>
          <a:lstStyle/>
          <a:p>
            <a:r>
              <a:rPr lang="en-US" dirty="0"/>
              <a:t>Reporting Services architecture</a:t>
            </a:r>
          </a:p>
        </p:txBody>
      </p:sp>
      <p:sp>
        <p:nvSpPr>
          <p:cNvPr id="7" name="Rectangle 6"/>
          <p:cNvSpPr/>
          <p:nvPr/>
        </p:nvSpPr>
        <p:spPr>
          <a:xfrm>
            <a:off x="3668738" y="1606153"/>
            <a:ext cx="3003023" cy="4852163"/>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6" name="Rectangle 15"/>
          <p:cNvSpPr/>
          <p:nvPr/>
        </p:nvSpPr>
        <p:spPr>
          <a:xfrm>
            <a:off x="3915255" y="2680136"/>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Web APIs</a:t>
            </a:r>
          </a:p>
        </p:txBody>
      </p:sp>
      <p:sp>
        <p:nvSpPr>
          <p:cNvPr id="17" name="Rectangle 16"/>
          <p:cNvSpPr/>
          <p:nvPr/>
        </p:nvSpPr>
        <p:spPr>
          <a:xfrm>
            <a:off x="3915255" y="5448106"/>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Report server </a:t>
            </a:r>
            <a:br>
              <a:rPr lang="en-US" sz="1568" dirty="0">
                <a:solidFill>
                  <a:srgbClr val="505050"/>
                </a:solidFill>
                <a:latin typeface="Segoe UI"/>
              </a:rPr>
            </a:br>
            <a:r>
              <a:rPr lang="en-US" sz="1568" dirty="0">
                <a:solidFill>
                  <a:srgbClr val="505050"/>
                </a:solidFill>
                <a:latin typeface="Segoe UI"/>
              </a:rPr>
              <a:t>database</a:t>
            </a:r>
          </a:p>
        </p:txBody>
      </p:sp>
      <p:sp>
        <p:nvSpPr>
          <p:cNvPr id="18" name="Rectangle 17"/>
          <p:cNvSpPr/>
          <p:nvPr/>
        </p:nvSpPr>
        <p:spPr>
          <a:xfrm>
            <a:off x="3889118" y="1757480"/>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Web portal</a:t>
            </a:r>
          </a:p>
        </p:txBody>
      </p:sp>
      <p:sp>
        <p:nvSpPr>
          <p:cNvPr id="19" name="Rectangle 18"/>
          <p:cNvSpPr/>
          <p:nvPr/>
        </p:nvSpPr>
        <p:spPr>
          <a:xfrm>
            <a:off x="216844" y="1250542"/>
            <a:ext cx="3001105" cy="2529429"/>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4" name="Rectangle 13"/>
          <p:cNvSpPr/>
          <p:nvPr/>
        </p:nvSpPr>
        <p:spPr>
          <a:xfrm>
            <a:off x="462401" y="1754147"/>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Web browsers</a:t>
            </a:r>
          </a:p>
        </p:txBody>
      </p:sp>
      <p:sp>
        <p:nvSpPr>
          <p:cNvPr id="13" name="Rectangle 12"/>
          <p:cNvSpPr/>
          <p:nvPr/>
        </p:nvSpPr>
        <p:spPr>
          <a:xfrm>
            <a:off x="462401" y="2415726"/>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Power BI Mobile</a:t>
            </a:r>
          </a:p>
        </p:txBody>
      </p:sp>
      <p:sp>
        <p:nvSpPr>
          <p:cNvPr id="20" name="Rectangle 19"/>
          <p:cNvSpPr/>
          <p:nvPr/>
        </p:nvSpPr>
        <p:spPr>
          <a:xfrm>
            <a:off x="216844" y="4235218"/>
            <a:ext cx="3001105" cy="2222363"/>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10" name="Rectangle 9"/>
          <p:cNvSpPr/>
          <p:nvPr/>
        </p:nvSpPr>
        <p:spPr>
          <a:xfrm>
            <a:off x="462401" y="4373898"/>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Report Builder</a:t>
            </a:r>
          </a:p>
        </p:txBody>
      </p:sp>
      <p:sp>
        <p:nvSpPr>
          <p:cNvPr id="11" name="Rectangle 10"/>
          <p:cNvSpPr/>
          <p:nvPr/>
        </p:nvSpPr>
        <p:spPr>
          <a:xfrm>
            <a:off x="462401" y="5033110"/>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Mobile Report Publisher</a:t>
            </a:r>
          </a:p>
        </p:txBody>
      </p:sp>
      <p:sp>
        <p:nvSpPr>
          <p:cNvPr id="12" name="Rectangle 11"/>
          <p:cNvSpPr/>
          <p:nvPr/>
        </p:nvSpPr>
        <p:spPr>
          <a:xfrm>
            <a:off x="462401" y="5696491"/>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Visual Studio</a:t>
            </a:r>
          </a:p>
        </p:txBody>
      </p:sp>
      <p:sp>
        <p:nvSpPr>
          <p:cNvPr id="23" name="Rectangle 22"/>
          <p:cNvSpPr/>
          <p:nvPr/>
        </p:nvSpPr>
        <p:spPr>
          <a:xfrm>
            <a:off x="7104899" y="1606154"/>
            <a:ext cx="4037667" cy="2173817"/>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9" name="Rectangle 8"/>
          <p:cNvSpPr/>
          <p:nvPr/>
        </p:nvSpPr>
        <p:spPr>
          <a:xfrm>
            <a:off x="7238421" y="1757479"/>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QL Server</a:t>
            </a:r>
          </a:p>
        </p:txBody>
      </p:sp>
      <p:sp>
        <p:nvSpPr>
          <p:cNvPr id="21" name="Rectangle 20"/>
          <p:cNvSpPr/>
          <p:nvPr/>
        </p:nvSpPr>
        <p:spPr>
          <a:xfrm>
            <a:off x="9180504" y="1757479"/>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QL Server</a:t>
            </a:r>
          </a:p>
          <a:p>
            <a:pPr defTabSz="914225"/>
            <a:r>
              <a:rPr lang="en-US" sz="1176" dirty="0">
                <a:solidFill>
                  <a:srgbClr val="505050"/>
                </a:solidFill>
                <a:latin typeface="Segoe UI"/>
              </a:rPr>
              <a:t>Analysis Services</a:t>
            </a:r>
          </a:p>
        </p:txBody>
      </p:sp>
      <p:sp>
        <p:nvSpPr>
          <p:cNvPr id="22" name="Rectangle 21"/>
          <p:cNvSpPr/>
          <p:nvPr/>
        </p:nvSpPr>
        <p:spPr>
          <a:xfrm>
            <a:off x="7238421" y="241187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Oracle</a:t>
            </a:r>
          </a:p>
        </p:txBody>
      </p:sp>
      <p:sp>
        <p:nvSpPr>
          <p:cNvPr id="24" name="Rectangle 23"/>
          <p:cNvSpPr/>
          <p:nvPr/>
        </p:nvSpPr>
        <p:spPr>
          <a:xfrm>
            <a:off x="9180504" y="241187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Teradata</a:t>
            </a:r>
          </a:p>
        </p:txBody>
      </p:sp>
      <p:sp>
        <p:nvSpPr>
          <p:cNvPr id="25" name="Rectangle 24"/>
          <p:cNvSpPr/>
          <p:nvPr/>
        </p:nvSpPr>
        <p:spPr>
          <a:xfrm>
            <a:off x="7238421" y="3075224"/>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ODBC, OLE DB</a:t>
            </a:r>
          </a:p>
        </p:txBody>
      </p:sp>
      <p:sp>
        <p:nvSpPr>
          <p:cNvPr id="26" name="Rectangle 25"/>
          <p:cNvSpPr/>
          <p:nvPr/>
        </p:nvSpPr>
        <p:spPr>
          <a:xfrm>
            <a:off x="9180504" y="3075224"/>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More/custom</a:t>
            </a:r>
          </a:p>
        </p:txBody>
      </p:sp>
      <p:sp>
        <p:nvSpPr>
          <p:cNvPr id="27" name="Rectangle 26"/>
          <p:cNvSpPr/>
          <p:nvPr/>
        </p:nvSpPr>
        <p:spPr>
          <a:xfrm>
            <a:off x="3915255" y="3602793"/>
            <a:ext cx="2509989" cy="806782"/>
          </a:xfrm>
          <a:prstGeom prst="rect">
            <a:avLst/>
          </a:prstGeom>
          <a:solidFill>
            <a:schemeClr val="bg1">
              <a:lumMod val="95000"/>
            </a:schemeClr>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Processing and</a:t>
            </a:r>
            <a:br>
              <a:rPr lang="en-US" sz="1568" dirty="0">
                <a:solidFill>
                  <a:srgbClr val="505050"/>
                </a:solidFill>
                <a:latin typeface="Segoe UI"/>
              </a:rPr>
            </a:br>
            <a:r>
              <a:rPr lang="en-US" sz="1568" dirty="0">
                <a:solidFill>
                  <a:srgbClr val="505050"/>
                </a:solidFill>
                <a:latin typeface="Segoe UI"/>
              </a:rPr>
              <a:t>rendering</a:t>
            </a:r>
          </a:p>
        </p:txBody>
      </p:sp>
      <p:sp>
        <p:nvSpPr>
          <p:cNvPr id="28" name="Rectangle 27"/>
          <p:cNvSpPr/>
          <p:nvPr/>
        </p:nvSpPr>
        <p:spPr>
          <a:xfrm>
            <a:off x="3915255" y="4525450"/>
            <a:ext cx="2509989" cy="806782"/>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568" dirty="0">
                <a:solidFill>
                  <a:srgbClr val="505050"/>
                </a:solidFill>
                <a:latin typeface="Segoe UI"/>
              </a:rPr>
              <a:t>Scheduling and</a:t>
            </a:r>
            <a:br>
              <a:rPr lang="en-US" sz="1568" dirty="0">
                <a:solidFill>
                  <a:srgbClr val="505050"/>
                </a:solidFill>
                <a:latin typeface="Segoe UI"/>
              </a:rPr>
            </a:br>
            <a:r>
              <a:rPr lang="en-US" sz="1568" dirty="0">
                <a:solidFill>
                  <a:srgbClr val="505050"/>
                </a:solidFill>
                <a:latin typeface="Segoe UI"/>
              </a:rPr>
              <a:t>delivery</a:t>
            </a:r>
          </a:p>
        </p:txBody>
      </p:sp>
      <p:sp>
        <p:nvSpPr>
          <p:cNvPr id="35" name="Rectangle 34"/>
          <p:cNvSpPr/>
          <p:nvPr/>
        </p:nvSpPr>
        <p:spPr>
          <a:xfrm>
            <a:off x="7104899" y="4224736"/>
            <a:ext cx="4037667" cy="2232811"/>
          </a:xfrm>
          <a:prstGeom prst="rect">
            <a:avLst/>
          </a:prstGeom>
          <a:solidFill>
            <a:schemeClr val="bg1"/>
          </a:solidFill>
          <a:ln w="63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225"/>
            <a:endParaRPr lang="en-US" sz="1568" dirty="0">
              <a:solidFill>
                <a:prstClr val="black"/>
              </a:solidFill>
              <a:latin typeface="Segoe UI"/>
            </a:endParaRPr>
          </a:p>
        </p:txBody>
      </p:sp>
      <p:sp>
        <p:nvSpPr>
          <p:cNvPr id="36" name="Rectangle 35"/>
          <p:cNvSpPr/>
          <p:nvPr/>
        </p:nvSpPr>
        <p:spPr>
          <a:xfrm>
            <a:off x="7238421" y="4373898"/>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Email</a:t>
            </a:r>
          </a:p>
        </p:txBody>
      </p:sp>
      <p:sp>
        <p:nvSpPr>
          <p:cNvPr id="37" name="Rectangle 36"/>
          <p:cNvSpPr/>
          <p:nvPr/>
        </p:nvSpPr>
        <p:spPr>
          <a:xfrm>
            <a:off x="9180504" y="4373898"/>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File share</a:t>
            </a:r>
          </a:p>
        </p:txBody>
      </p:sp>
      <p:sp>
        <p:nvSpPr>
          <p:cNvPr id="38" name="Rectangle 37"/>
          <p:cNvSpPr/>
          <p:nvPr/>
        </p:nvSpPr>
        <p:spPr>
          <a:xfrm>
            <a:off x="7238421" y="503311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SharePoint</a:t>
            </a:r>
          </a:p>
        </p:txBody>
      </p:sp>
      <p:sp>
        <p:nvSpPr>
          <p:cNvPr id="39" name="Rectangle 38"/>
          <p:cNvSpPr/>
          <p:nvPr/>
        </p:nvSpPr>
        <p:spPr>
          <a:xfrm>
            <a:off x="9180504" y="5033110"/>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Power BI</a:t>
            </a:r>
          </a:p>
        </p:txBody>
      </p:sp>
      <p:sp>
        <p:nvSpPr>
          <p:cNvPr id="40" name="Rectangle 39"/>
          <p:cNvSpPr/>
          <p:nvPr/>
        </p:nvSpPr>
        <p:spPr>
          <a:xfrm>
            <a:off x="7238421" y="5696491"/>
            <a:ext cx="1828541"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Custom</a:t>
            </a:r>
          </a:p>
        </p:txBody>
      </p:sp>
      <p:sp>
        <p:nvSpPr>
          <p:cNvPr id="41" name="Rectangle 40"/>
          <p:cNvSpPr/>
          <p:nvPr/>
        </p:nvSpPr>
        <p:spPr bwMode="auto">
          <a:xfrm>
            <a:off x="216844" y="1249330"/>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VIEWING </a:t>
            </a:r>
            <a:r>
              <a:rPr lang="en-US" sz="1372" dirty="0">
                <a:solidFill>
                  <a:srgbClr val="FFFFFF"/>
                </a:solidFill>
                <a:latin typeface="Segoe UI"/>
                <a:ea typeface="Segoe UI" pitchFamily="34" charset="0"/>
                <a:cs typeface="Segoe UI Semibold" panose="020B0702040204020203" pitchFamily="34" charset="0"/>
              </a:rPr>
              <a:t>(PCs, mobile)</a:t>
            </a:r>
            <a:endParaRPr lang="en-US" sz="1568" dirty="0">
              <a:solidFill>
                <a:srgbClr val="FFFFFF"/>
              </a:solidFill>
              <a:latin typeface="Segoe UI"/>
              <a:ea typeface="Segoe UI" pitchFamily="34" charset="0"/>
              <a:cs typeface="Segoe UI Semibold" panose="020B0702040204020203" pitchFamily="34" charset="0"/>
            </a:endParaRPr>
          </a:p>
        </p:txBody>
      </p:sp>
      <p:sp>
        <p:nvSpPr>
          <p:cNvPr id="43" name="Rectangle 42"/>
          <p:cNvSpPr/>
          <p:nvPr/>
        </p:nvSpPr>
        <p:spPr bwMode="auto">
          <a:xfrm>
            <a:off x="216844" y="3876648"/>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DESIGN </a:t>
            </a:r>
            <a:r>
              <a:rPr lang="en-US" sz="1372" dirty="0">
                <a:solidFill>
                  <a:srgbClr val="FFFFFF"/>
                </a:solidFill>
                <a:latin typeface="Segoe UI"/>
                <a:ea typeface="Segoe UI" pitchFamily="34" charset="0"/>
                <a:cs typeface="Segoe UI Semibold" panose="020B0702040204020203" pitchFamily="34" charset="0"/>
              </a:rPr>
              <a:t>(PCs)</a:t>
            </a:r>
            <a:endParaRPr lang="en-US" sz="1568" dirty="0">
              <a:solidFill>
                <a:srgbClr val="FFFFFF"/>
              </a:solidFill>
              <a:latin typeface="Segoe UI"/>
              <a:ea typeface="Segoe UI" pitchFamily="34" charset="0"/>
              <a:cs typeface="Segoe UI Semibold" panose="020B0702040204020203" pitchFamily="34" charset="0"/>
            </a:endParaRPr>
          </a:p>
        </p:txBody>
      </p:sp>
      <p:sp>
        <p:nvSpPr>
          <p:cNvPr id="44" name="Rectangle 43"/>
          <p:cNvSpPr/>
          <p:nvPr/>
        </p:nvSpPr>
        <p:spPr bwMode="auto">
          <a:xfrm>
            <a:off x="3670656" y="1247583"/>
            <a:ext cx="3001105"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SERVER</a:t>
            </a:r>
          </a:p>
        </p:txBody>
      </p:sp>
      <p:sp>
        <p:nvSpPr>
          <p:cNvPr id="46" name="Rectangle 45"/>
          <p:cNvSpPr/>
          <p:nvPr/>
        </p:nvSpPr>
        <p:spPr bwMode="auto">
          <a:xfrm>
            <a:off x="7104111" y="1252734"/>
            <a:ext cx="4038456"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DATA SOURCES</a:t>
            </a:r>
          </a:p>
        </p:txBody>
      </p:sp>
      <p:sp>
        <p:nvSpPr>
          <p:cNvPr id="47" name="Rectangle 46"/>
          <p:cNvSpPr/>
          <p:nvPr/>
        </p:nvSpPr>
        <p:spPr bwMode="auto">
          <a:xfrm>
            <a:off x="7104110" y="3876648"/>
            <a:ext cx="4038456" cy="358570"/>
          </a:xfrm>
          <a:prstGeom prst="rect">
            <a:avLst/>
          </a:prstGeom>
          <a:solidFill>
            <a:srgbClr val="FF8C00"/>
          </a:solidFill>
          <a:ln w="63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568" dirty="0">
                <a:solidFill>
                  <a:srgbClr val="FFFFFF"/>
                </a:solidFill>
                <a:latin typeface="Segoe UI"/>
                <a:ea typeface="Segoe UI" pitchFamily="34" charset="0"/>
                <a:cs typeface="Segoe UI Semibold" panose="020B0702040204020203" pitchFamily="34" charset="0"/>
              </a:rPr>
              <a:t>REPORT DELIVERY DESTINATIONS</a:t>
            </a:r>
          </a:p>
        </p:txBody>
      </p:sp>
      <p:cxnSp>
        <p:nvCxnSpPr>
          <p:cNvPr id="64" name="Elbow Connector 63"/>
          <p:cNvCxnSpPr/>
          <p:nvPr/>
        </p:nvCxnSpPr>
        <p:spPr>
          <a:xfrm>
            <a:off x="2972390" y="2023075"/>
            <a:ext cx="942865" cy="0"/>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a:off x="2972390" y="2692553"/>
            <a:ext cx="942865" cy="376439"/>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442272" y="3072439"/>
            <a:ext cx="0" cy="2294848"/>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66142" y="3070920"/>
            <a:ext cx="2509989" cy="537855"/>
          </a:xfrm>
          <a:prstGeom prst="rect">
            <a:avLst/>
          </a:prstGeom>
          <a:solidFill>
            <a:schemeClr val="bg1">
              <a:lumMod val="95000"/>
            </a:schemeClr>
          </a:solid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79285" rtlCol="0" anchor="ctr"/>
          <a:lstStyle/>
          <a:p>
            <a:pPr defTabSz="914225"/>
            <a:r>
              <a:rPr lang="en-US" sz="1176" dirty="0">
                <a:solidFill>
                  <a:srgbClr val="505050"/>
                </a:solidFill>
                <a:latin typeface="Segoe UI"/>
              </a:rPr>
              <a:t>Custom apps/LOB</a:t>
            </a:r>
          </a:p>
        </p:txBody>
      </p:sp>
      <p:cxnSp>
        <p:nvCxnSpPr>
          <p:cNvPr id="78" name="Straight Connector 77"/>
          <p:cNvCxnSpPr/>
          <p:nvPr/>
        </p:nvCxnSpPr>
        <p:spPr>
          <a:xfrm>
            <a:off x="3217948" y="5346399"/>
            <a:ext cx="224106" cy="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Freeform 13"/>
          <p:cNvSpPr>
            <a:spLocks noChangeAspect="1" noEditPoints="1"/>
          </p:cNvSpPr>
          <p:nvPr/>
        </p:nvSpPr>
        <p:spPr bwMode="black">
          <a:xfrm>
            <a:off x="2554203" y="5791345"/>
            <a:ext cx="358122" cy="358570"/>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accent3"/>
          </a:solidFill>
          <a:ln>
            <a:solidFill>
              <a:schemeClr val="accent3"/>
            </a:solid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defRPr/>
            </a:pPr>
            <a:endParaRPr lang="en-US" sz="2353" dirty="0">
              <a:solidFill>
                <a:srgbClr val="505050"/>
              </a:solidFill>
              <a:latin typeface="Segoe UI"/>
              <a:ea typeface="MS PGothic" charset="0"/>
            </a:endParaRPr>
          </a:p>
        </p:txBody>
      </p:sp>
      <p:pic>
        <p:nvPicPr>
          <p:cNvPr id="45" name="Picture 44"/>
          <p:cNvPicPr>
            <a:picLocks noChangeAspect="1"/>
          </p:cNvPicPr>
          <p:nvPr/>
        </p:nvPicPr>
        <p:blipFill>
          <a:blip r:embed="rId3"/>
          <a:stretch>
            <a:fillRect/>
          </a:stretch>
        </p:blipFill>
        <p:spPr>
          <a:xfrm>
            <a:off x="2559881" y="4461802"/>
            <a:ext cx="352443" cy="358519"/>
          </a:xfrm>
          <a:prstGeom prst="rect">
            <a:avLst/>
          </a:prstGeom>
        </p:spPr>
      </p:pic>
      <p:pic>
        <p:nvPicPr>
          <p:cNvPr id="48" name="Picture 47"/>
          <p:cNvPicPr>
            <a:picLocks noChangeAspect="1"/>
          </p:cNvPicPr>
          <p:nvPr/>
        </p:nvPicPr>
        <p:blipFill rotWithShape="1">
          <a:blip r:embed="rId4" cstate="print">
            <a:duotone>
              <a:prstClr val="black"/>
              <a:schemeClr val="tx2">
                <a:tint val="45000"/>
                <a:satMod val="400000"/>
              </a:schemeClr>
            </a:duotone>
            <a:lum bright="-51000"/>
            <a:extLst>
              <a:ext uri="{BEBA8EAE-BF5A-486C-A8C5-ECC9F3942E4B}">
                <a14:imgProps xmlns:a14="http://schemas.microsoft.com/office/drawing/2010/main">
                  <a14:imgLayer r:embed="rId5">
                    <a14:imgEffect>
                      <a14:brightnessContrast bright="-50000"/>
                    </a14:imgEffect>
                  </a14:imgLayer>
                </a14:imgProps>
              </a:ext>
              <a:ext uri="{28A0092B-C50C-407E-A947-70E740481C1C}">
                <a14:useLocalDpi xmlns:a14="http://schemas.microsoft.com/office/drawing/2010/main" val="0"/>
              </a:ext>
            </a:extLst>
          </a:blip>
          <a:srcRect/>
          <a:stretch/>
        </p:blipFill>
        <p:spPr>
          <a:xfrm>
            <a:off x="2527619" y="2511069"/>
            <a:ext cx="358570" cy="347169"/>
          </a:xfrm>
          <a:prstGeom prst="rect">
            <a:avLst/>
          </a:prstGeom>
        </p:spPr>
      </p:pic>
      <p:grpSp>
        <p:nvGrpSpPr>
          <p:cNvPr id="50" name="Group 49"/>
          <p:cNvGrpSpPr/>
          <p:nvPr/>
        </p:nvGrpSpPr>
        <p:grpSpPr>
          <a:xfrm>
            <a:off x="8754882" y="1866057"/>
            <a:ext cx="235477" cy="320699"/>
            <a:chOff x="932649" y="2560915"/>
            <a:chExt cx="822960" cy="1068236"/>
          </a:xfrm>
          <a:solidFill>
            <a:srgbClr val="187FCB"/>
          </a:solidFill>
        </p:grpSpPr>
        <p:sp>
          <p:nvSpPr>
            <p:cNvPr id="54" name="Oval 53"/>
            <p:cNvSpPr>
              <a:spLocks noChangeArrowheads="1"/>
            </p:cNvSpPr>
            <p:nvPr/>
          </p:nvSpPr>
          <p:spPr bwMode="auto">
            <a:xfrm>
              <a:off x="946727" y="2560915"/>
              <a:ext cx="792408" cy="1505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55" name="Freeform 123"/>
            <p:cNvSpPr>
              <a:spLocks noEditPoints="1"/>
            </p:cNvSpPr>
            <p:nvPr/>
          </p:nvSpPr>
          <p:spPr bwMode="auto">
            <a:xfrm>
              <a:off x="932649" y="2665413"/>
              <a:ext cx="822960" cy="96373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pic>
        <p:nvPicPr>
          <p:cNvPr id="56" name="Picture 5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603178" y="5071316"/>
            <a:ext cx="448149" cy="461443"/>
          </a:xfrm>
          <a:prstGeom prst="rect">
            <a:avLst/>
          </a:prstGeom>
        </p:spPr>
      </p:pic>
      <p:pic>
        <p:nvPicPr>
          <p:cNvPr id="57" name="Picture 56"/>
          <p:cNvPicPr>
            <a:picLocks noChangeAspect="1"/>
          </p:cNvPicPr>
          <p:nvPr/>
        </p:nvPicPr>
        <p:blipFill rotWithShape="1">
          <a:blip r:embed="rId4" cstate="print">
            <a:duotone>
              <a:prstClr val="black"/>
              <a:schemeClr val="tx2">
                <a:tint val="45000"/>
                <a:satMod val="400000"/>
              </a:schemeClr>
            </a:duotone>
            <a:lum bright="-51000"/>
            <a:extLst>
              <a:ext uri="{BEBA8EAE-BF5A-486C-A8C5-ECC9F3942E4B}">
                <a14:imgProps xmlns:a14="http://schemas.microsoft.com/office/drawing/2010/main">
                  <a14:imgLayer r:embed="rId5">
                    <a14:imgEffect>
                      <a14:brightnessContrast bright="-50000"/>
                    </a14:imgEffect>
                  </a14:imgLayer>
                </a14:imgProps>
              </a:ext>
              <a:ext uri="{28A0092B-C50C-407E-A947-70E740481C1C}">
                <a14:useLocalDpi xmlns:a14="http://schemas.microsoft.com/office/drawing/2010/main" val="0"/>
              </a:ext>
            </a:extLst>
          </a:blip>
          <a:srcRect/>
          <a:stretch/>
        </p:blipFill>
        <p:spPr>
          <a:xfrm>
            <a:off x="10604138" y="5128453"/>
            <a:ext cx="358570" cy="347169"/>
          </a:xfrm>
          <a:prstGeom prst="rect">
            <a:avLst/>
          </a:prstGeom>
        </p:spPr>
      </p:pic>
      <p:sp>
        <p:nvSpPr>
          <p:cNvPr id="58" name="Freeform 81"/>
          <p:cNvSpPr>
            <a:spLocks noChangeAspect="1" noEditPoints="1"/>
          </p:cNvSpPr>
          <p:nvPr/>
        </p:nvSpPr>
        <p:spPr bwMode="black">
          <a:xfrm>
            <a:off x="8688755" y="4538322"/>
            <a:ext cx="269968" cy="209007"/>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0072C6"/>
          </a:solidFill>
          <a:ln>
            <a:noFill/>
          </a:ln>
          <a:extLst/>
        </p:spPr>
        <p:txBody>
          <a:bodyPr vert="horz" wrap="square" lIns="89646" tIns="44823" rIns="89646" bIns="44823" numCol="1" anchor="t" anchorCtr="0" compatLnSpc="1">
            <a:prstTxWarp prst="textNoShape">
              <a:avLst/>
            </a:prstTxWarp>
          </a:bodyPr>
          <a:lstStyle/>
          <a:p>
            <a:pPr defTabSz="896354" fontAlgn="base">
              <a:spcBef>
                <a:spcPct val="0"/>
              </a:spcBef>
              <a:spcAft>
                <a:spcPct val="0"/>
              </a:spcAft>
            </a:pPr>
            <a:endParaRPr lang="en-US" sz="1730" dirty="0">
              <a:solidFill>
                <a:srgbClr val="000000"/>
              </a:solidFill>
              <a:latin typeface="Segoe UI"/>
              <a:ea typeface="MS PGothic" charset="0"/>
            </a:endParaRPr>
          </a:p>
        </p:txBody>
      </p:sp>
      <p:grpSp>
        <p:nvGrpSpPr>
          <p:cNvPr id="5" name="Group 4"/>
          <p:cNvGrpSpPr/>
          <p:nvPr/>
        </p:nvGrpSpPr>
        <p:grpSpPr>
          <a:xfrm>
            <a:off x="10655246" y="4505569"/>
            <a:ext cx="285501" cy="274513"/>
            <a:chOff x="10547498" y="4737835"/>
            <a:chExt cx="291226" cy="280018"/>
          </a:xfrm>
        </p:grpSpPr>
        <p:sp>
          <p:nvSpPr>
            <p:cNvPr id="3" name="Right Arrow 2"/>
            <p:cNvSpPr/>
            <p:nvPr/>
          </p:nvSpPr>
          <p:spPr bwMode="auto">
            <a:xfrm>
              <a:off x="10547498" y="4737835"/>
              <a:ext cx="182880" cy="1828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ight Arrow 58"/>
            <p:cNvSpPr/>
            <p:nvPr/>
          </p:nvSpPr>
          <p:spPr bwMode="auto">
            <a:xfrm rot="10800000">
              <a:off x="10655844" y="4834973"/>
              <a:ext cx="182880" cy="1828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3" name="Group 62"/>
          <p:cNvGrpSpPr/>
          <p:nvPr/>
        </p:nvGrpSpPr>
        <p:grpSpPr>
          <a:xfrm>
            <a:off x="10563088" y="1856570"/>
            <a:ext cx="381571" cy="339676"/>
            <a:chOff x="3397071" y="4213149"/>
            <a:chExt cx="1376803" cy="1190659"/>
          </a:xfrm>
          <a:solidFill>
            <a:srgbClr val="187FCB"/>
          </a:solidFill>
        </p:grpSpPr>
        <p:grpSp>
          <p:nvGrpSpPr>
            <p:cNvPr id="66" name="Group 65"/>
            <p:cNvGrpSpPr/>
            <p:nvPr/>
          </p:nvGrpSpPr>
          <p:grpSpPr>
            <a:xfrm>
              <a:off x="3672877" y="4373157"/>
              <a:ext cx="783653" cy="749489"/>
              <a:chOff x="697992" y="4805807"/>
              <a:chExt cx="783653" cy="749502"/>
            </a:xfrm>
            <a:grpFill/>
          </p:grpSpPr>
          <p:sp>
            <p:nvSpPr>
              <p:cNvPr id="111" name="Cube 110"/>
              <p:cNvSpPr/>
              <p:nvPr/>
            </p:nvSpPr>
            <p:spPr>
              <a:xfrm>
                <a:off x="697992" y="5280988"/>
                <a:ext cx="399764" cy="274321"/>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2" name="Cube 111"/>
              <p:cNvSpPr/>
              <p:nvPr/>
            </p:nvSpPr>
            <p:spPr>
              <a:xfrm>
                <a:off x="1081881" y="5280987"/>
                <a:ext cx="399764" cy="274321"/>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3" name="Cube 112"/>
              <p:cNvSpPr/>
              <p:nvPr/>
            </p:nvSpPr>
            <p:spPr>
              <a:xfrm>
                <a:off x="697992" y="504339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4" name="Cube 113"/>
              <p:cNvSpPr/>
              <p:nvPr/>
            </p:nvSpPr>
            <p:spPr>
              <a:xfrm>
                <a:off x="1081881" y="504339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5" name="Cube 114"/>
              <p:cNvSpPr/>
              <p:nvPr/>
            </p:nvSpPr>
            <p:spPr>
              <a:xfrm>
                <a:off x="697992" y="480580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6" name="Cube 115"/>
              <p:cNvSpPr/>
              <p:nvPr/>
            </p:nvSpPr>
            <p:spPr>
              <a:xfrm>
                <a:off x="1081881" y="480581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7" name="Group 66"/>
            <p:cNvGrpSpPr/>
            <p:nvPr/>
          </p:nvGrpSpPr>
          <p:grpSpPr>
            <a:xfrm>
              <a:off x="3587289" y="4213149"/>
              <a:ext cx="1186585" cy="996760"/>
              <a:chOff x="697993" y="4558536"/>
              <a:chExt cx="1186584" cy="996766"/>
            </a:xfrm>
            <a:grpFill/>
          </p:grpSpPr>
          <p:sp>
            <p:nvSpPr>
              <p:cNvPr id="99" name="Cube 98"/>
              <p:cNvSpPr/>
              <p:nvPr/>
            </p:nvSpPr>
            <p:spPr>
              <a:xfrm>
                <a:off x="697993" y="528098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0" name="Cube 99"/>
              <p:cNvSpPr/>
              <p:nvPr/>
            </p:nvSpPr>
            <p:spPr>
              <a:xfrm>
                <a:off x="1081883" y="5280980"/>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1" name="Cube 100"/>
              <p:cNvSpPr/>
              <p:nvPr/>
            </p:nvSpPr>
            <p:spPr>
              <a:xfrm>
                <a:off x="1484814" y="5280979"/>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2" name="Cube 101"/>
              <p:cNvSpPr/>
              <p:nvPr/>
            </p:nvSpPr>
            <p:spPr>
              <a:xfrm>
                <a:off x="697993" y="5043394"/>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3" name="Cube 102"/>
              <p:cNvSpPr/>
              <p:nvPr/>
            </p:nvSpPr>
            <p:spPr>
              <a:xfrm>
                <a:off x="1081883" y="5043394"/>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4" name="Cube 103"/>
              <p:cNvSpPr/>
              <p:nvPr/>
            </p:nvSpPr>
            <p:spPr>
              <a:xfrm>
                <a:off x="1484814" y="5043396"/>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5" name="Cube 104"/>
              <p:cNvSpPr/>
              <p:nvPr/>
            </p:nvSpPr>
            <p:spPr>
              <a:xfrm>
                <a:off x="697993" y="480581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6" name="Cube 105"/>
              <p:cNvSpPr/>
              <p:nvPr/>
            </p:nvSpPr>
            <p:spPr>
              <a:xfrm>
                <a:off x="1081882" y="4805812"/>
                <a:ext cx="399765"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7" name="Cube 106"/>
              <p:cNvSpPr/>
              <p:nvPr/>
            </p:nvSpPr>
            <p:spPr>
              <a:xfrm>
                <a:off x="1484813" y="4805812"/>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8" name="Cube 107"/>
              <p:cNvSpPr/>
              <p:nvPr/>
            </p:nvSpPr>
            <p:spPr>
              <a:xfrm>
                <a:off x="717035" y="4558541"/>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09" name="Cube 108"/>
              <p:cNvSpPr/>
              <p:nvPr/>
            </p:nvSpPr>
            <p:spPr>
              <a:xfrm>
                <a:off x="1100926" y="4558536"/>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10" name="Cube 109"/>
              <p:cNvSpPr/>
              <p:nvPr/>
            </p:nvSpPr>
            <p:spPr>
              <a:xfrm>
                <a:off x="1484814" y="4558539"/>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8" name="Group 67"/>
            <p:cNvGrpSpPr/>
            <p:nvPr/>
          </p:nvGrpSpPr>
          <p:grpSpPr>
            <a:xfrm>
              <a:off x="3501702" y="4310099"/>
              <a:ext cx="1167542" cy="987073"/>
              <a:chOff x="697992" y="4568224"/>
              <a:chExt cx="1167542" cy="987080"/>
            </a:xfrm>
            <a:grpFill/>
          </p:grpSpPr>
          <p:sp>
            <p:nvSpPr>
              <p:cNvPr id="87" name="Cube 86"/>
              <p:cNvSpPr/>
              <p:nvPr/>
            </p:nvSpPr>
            <p:spPr>
              <a:xfrm>
                <a:off x="697992"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8" name="Cube 87"/>
              <p:cNvSpPr/>
              <p:nvPr/>
            </p:nvSpPr>
            <p:spPr>
              <a:xfrm>
                <a:off x="1081881"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9" name="Cube 88"/>
              <p:cNvSpPr/>
              <p:nvPr/>
            </p:nvSpPr>
            <p:spPr>
              <a:xfrm>
                <a:off x="1465769" y="528098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0" name="Cube 89"/>
              <p:cNvSpPr/>
              <p:nvPr/>
            </p:nvSpPr>
            <p:spPr>
              <a:xfrm>
                <a:off x="697992" y="5043399"/>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1" name="Cube 90"/>
              <p:cNvSpPr/>
              <p:nvPr/>
            </p:nvSpPr>
            <p:spPr>
              <a:xfrm>
                <a:off x="1081881" y="5043397"/>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2" name="Cube 91"/>
              <p:cNvSpPr/>
              <p:nvPr/>
            </p:nvSpPr>
            <p:spPr>
              <a:xfrm>
                <a:off x="1465769" y="5043396"/>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3" name="Cube 92"/>
              <p:cNvSpPr/>
              <p:nvPr/>
            </p:nvSpPr>
            <p:spPr>
              <a:xfrm>
                <a:off x="697992" y="4805811"/>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4" name="Cube 93"/>
              <p:cNvSpPr/>
              <p:nvPr/>
            </p:nvSpPr>
            <p:spPr>
              <a:xfrm>
                <a:off x="1081881" y="4805809"/>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5" name="Cube 94"/>
              <p:cNvSpPr/>
              <p:nvPr/>
            </p:nvSpPr>
            <p:spPr>
              <a:xfrm>
                <a:off x="1465769" y="480580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6" name="Cube 95"/>
              <p:cNvSpPr/>
              <p:nvPr/>
            </p:nvSpPr>
            <p:spPr>
              <a:xfrm>
                <a:off x="697992" y="456822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7" name="Cube 96"/>
              <p:cNvSpPr/>
              <p:nvPr/>
            </p:nvSpPr>
            <p:spPr>
              <a:xfrm>
                <a:off x="1081882" y="4568224"/>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98" name="Cube 97"/>
              <p:cNvSpPr/>
              <p:nvPr/>
            </p:nvSpPr>
            <p:spPr>
              <a:xfrm>
                <a:off x="1465770" y="4568226"/>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nvGrpSpPr>
            <p:cNvPr id="69" name="Group 68"/>
            <p:cNvGrpSpPr/>
            <p:nvPr/>
          </p:nvGrpSpPr>
          <p:grpSpPr>
            <a:xfrm>
              <a:off x="3397071" y="4416735"/>
              <a:ext cx="1167540" cy="987073"/>
              <a:chOff x="678951" y="4587598"/>
              <a:chExt cx="1167541" cy="987080"/>
            </a:xfrm>
            <a:grpFill/>
          </p:grpSpPr>
          <p:sp>
            <p:nvSpPr>
              <p:cNvPr id="70" name="Cube 69"/>
              <p:cNvSpPr/>
              <p:nvPr/>
            </p:nvSpPr>
            <p:spPr>
              <a:xfrm>
                <a:off x="678951"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1" name="Cube 70"/>
              <p:cNvSpPr/>
              <p:nvPr/>
            </p:nvSpPr>
            <p:spPr>
              <a:xfrm>
                <a:off x="1062842"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3" name="Cube 72"/>
              <p:cNvSpPr/>
              <p:nvPr/>
            </p:nvSpPr>
            <p:spPr>
              <a:xfrm>
                <a:off x="1446729" y="5300358"/>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5" name="Cube 74"/>
              <p:cNvSpPr/>
              <p:nvPr/>
            </p:nvSpPr>
            <p:spPr>
              <a:xfrm>
                <a:off x="678951" y="5062773"/>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6" name="Cube 75"/>
              <p:cNvSpPr/>
              <p:nvPr/>
            </p:nvSpPr>
            <p:spPr>
              <a:xfrm>
                <a:off x="1062842" y="5062771"/>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7" name="Cube 76"/>
              <p:cNvSpPr/>
              <p:nvPr/>
            </p:nvSpPr>
            <p:spPr>
              <a:xfrm>
                <a:off x="1446726" y="5062770"/>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79" name="Cube 78"/>
              <p:cNvSpPr/>
              <p:nvPr/>
            </p:nvSpPr>
            <p:spPr>
              <a:xfrm>
                <a:off x="678951" y="4825185"/>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0" name="Cube 79"/>
              <p:cNvSpPr/>
              <p:nvPr/>
            </p:nvSpPr>
            <p:spPr>
              <a:xfrm>
                <a:off x="1062842" y="4825183"/>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2" name="Cube 81"/>
              <p:cNvSpPr/>
              <p:nvPr/>
            </p:nvSpPr>
            <p:spPr>
              <a:xfrm>
                <a:off x="1446726" y="4825182"/>
                <a:ext cx="399763"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3" name="Cube 82"/>
              <p:cNvSpPr/>
              <p:nvPr/>
            </p:nvSpPr>
            <p:spPr>
              <a:xfrm>
                <a:off x="678952" y="458760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5" name="Cube 84"/>
              <p:cNvSpPr/>
              <p:nvPr/>
            </p:nvSpPr>
            <p:spPr>
              <a:xfrm>
                <a:off x="1062840" y="4587598"/>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86" name="Cube 85"/>
              <p:cNvSpPr/>
              <p:nvPr/>
            </p:nvSpPr>
            <p:spPr>
              <a:xfrm>
                <a:off x="1446725" y="4587600"/>
                <a:ext cx="399764" cy="274320"/>
              </a:xfrm>
              <a:prstGeom prst="cube">
                <a:avLst>
                  <a:gd name="adj" fmla="val 21529"/>
                </a:avLst>
              </a:prstGeom>
              <a:grpFill/>
              <a:ln w="3175" cap="flat" cmpd="sng" algn="ctr">
                <a:solidFill>
                  <a:srgbClr val="146BAC"/>
                </a:solidFill>
                <a:prstDash val="solid"/>
              </a:ln>
              <a:effectLst/>
            </p:spPr>
            <p:txBody>
              <a:bodyPr wrap="square" lIns="91414" tIns="45706" rIns="91414" bIns="45706" rtlCol="0" anchor="ctr"/>
              <a:lstStyle/>
              <a:p>
                <a:pPr algn="ct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grpSp>
      <p:grpSp>
        <p:nvGrpSpPr>
          <p:cNvPr id="117" name="Group 116"/>
          <p:cNvGrpSpPr>
            <a:grpSpLocks noChangeAspect="1"/>
          </p:cNvGrpSpPr>
          <p:nvPr/>
        </p:nvGrpSpPr>
        <p:grpSpPr>
          <a:xfrm>
            <a:off x="2559882" y="5136897"/>
            <a:ext cx="358570" cy="330284"/>
            <a:chOff x="6349110" y="3220549"/>
            <a:chExt cx="1673982" cy="1541934"/>
          </a:xfrm>
        </p:grpSpPr>
        <p:sp>
          <p:nvSpPr>
            <p:cNvPr id="118" name="Rectangle 117"/>
            <p:cNvSpPr/>
            <p:nvPr/>
          </p:nvSpPr>
          <p:spPr bwMode="auto">
            <a:xfrm>
              <a:off x="6349110" y="3220549"/>
              <a:ext cx="1673982" cy="1541934"/>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p:cNvSpPr/>
            <p:nvPr/>
          </p:nvSpPr>
          <p:spPr bwMode="auto">
            <a:xfrm>
              <a:off x="6426237" y="3279432"/>
              <a:ext cx="1519729" cy="14083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0" name="Group 119"/>
            <p:cNvGrpSpPr/>
            <p:nvPr/>
          </p:nvGrpSpPr>
          <p:grpSpPr>
            <a:xfrm>
              <a:off x="6465215" y="3322876"/>
              <a:ext cx="1441773" cy="296388"/>
              <a:chOff x="6471222" y="3322876"/>
              <a:chExt cx="1441773" cy="296388"/>
            </a:xfrm>
            <a:solidFill>
              <a:srgbClr val="BB2124"/>
            </a:solidFill>
          </p:grpSpPr>
          <p:sp>
            <p:nvSpPr>
              <p:cNvPr id="127" name="Rectangle 126"/>
              <p:cNvSpPr/>
              <p:nvPr/>
            </p:nvSpPr>
            <p:spPr bwMode="auto">
              <a:xfrm>
                <a:off x="6471222" y="3322876"/>
                <a:ext cx="296388"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p:cNvSpPr/>
              <p:nvPr/>
            </p:nvSpPr>
            <p:spPr bwMode="auto">
              <a:xfrm>
                <a:off x="6810166" y="3322876"/>
                <a:ext cx="1102829" cy="2963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21" name="Rectangle 120"/>
            <p:cNvSpPr/>
            <p:nvPr/>
          </p:nvSpPr>
          <p:spPr bwMode="auto">
            <a:xfrm>
              <a:off x="6465215" y="3657616"/>
              <a:ext cx="1441773" cy="987552"/>
            </a:xfrm>
            <a:prstGeom prst="rect">
              <a:avLst/>
            </a:prstGeom>
            <a:solidFill>
              <a:srgbClr val="BB21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p:cNvGrpSpPr/>
            <p:nvPr/>
          </p:nvGrpSpPr>
          <p:grpSpPr>
            <a:xfrm>
              <a:off x="6649979" y="3785714"/>
              <a:ext cx="1072245" cy="731520"/>
              <a:chOff x="6640999" y="3785714"/>
              <a:chExt cx="1072245" cy="731520"/>
            </a:xfrm>
          </p:grpSpPr>
          <p:sp>
            <p:nvSpPr>
              <p:cNvPr id="123" name="Rectangle 122"/>
              <p:cNvSpPr/>
              <p:nvPr/>
            </p:nvSpPr>
            <p:spPr bwMode="auto">
              <a:xfrm>
                <a:off x="6640999" y="4138138"/>
                <a:ext cx="185475" cy="3790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Rectangle 123"/>
              <p:cNvSpPr/>
              <p:nvPr/>
            </p:nvSpPr>
            <p:spPr bwMode="auto">
              <a:xfrm>
                <a:off x="6936589" y="4288634"/>
                <a:ext cx="185475" cy="228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p:cNvSpPr/>
              <p:nvPr/>
            </p:nvSpPr>
            <p:spPr bwMode="auto">
              <a:xfrm>
                <a:off x="7232179" y="4060034"/>
                <a:ext cx="185475" cy="457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Rectangle 125"/>
              <p:cNvSpPr/>
              <p:nvPr/>
            </p:nvSpPr>
            <p:spPr bwMode="auto">
              <a:xfrm>
                <a:off x="7527769" y="3785714"/>
                <a:ext cx="185475" cy="7315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29" name="Group 128"/>
          <p:cNvGrpSpPr>
            <a:grpSpLocks noChangeAspect="1"/>
          </p:cNvGrpSpPr>
          <p:nvPr/>
        </p:nvGrpSpPr>
        <p:grpSpPr>
          <a:xfrm>
            <a:off x="5934020" y="5627391"/>
            <a:ext cx="329106" cy="448212"/>
            <a:chOff x="932649" y="2560915"/>
            <a:chExt cx="822960" cy="1068236"/>
          </a:xfrm>
          <a:solidFill>
            <a:srgbClr val="187FCB"/>
          </a:solidFill>
        </p:grpSpPr>
        <p:sp>
          <p:nvSpPr>
            <p:cNvPr id="130" name="Oval 129"/>
            <p:cNvSpPr>
              <a:spLocks noChangeArrowheads="1"/>
            </p:cNvSpPr>
            <p:nvPr/>
          </p:nvSpPr>
          <p:spPr bwMode="auto">
            <a:xfrm>
              <a:off x="946727" y="2560915"/>
              <a:ext cx="792408" cy="15057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sp>
          <p:nvSpPr>
            <p:cNvPr id="131" name="Freeform 123"/>
            <p:cNvSpPr>
              <a:spLocks noEditPoints="1"/>
            </p:cNvSpPr>
            <p:nvPr/>
          </p:nvSpPr>
          <p:spPr bwMode="auto">
            <a:xfrm>
              <a:off x="932649" y="2665414"/>
              <a:ext cx="822960" cy="96373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74">
                <a:defRPr/>
              </a:pPr>
              <a:endParaRPr lang="en-US" sz="1765" kern="0" dirty="0">
                <a:solidFill>
                  <a:srgbClr val="505050"/>
                </a:solidFill>
                <a:latin typeface="Segoe UI Semibold" panose="020B0702040204020203" pitchFamily="34" charset="0"/>
                <a:ea typeface="MS PGothic" charset="0"/>
                <a:cs typeface="Segoe UI Semibold" panose="020B0702040204020203" pitchFamily="34" charset="0"/>
              </a:endParaRPr>
            </a:p>
          </p:txBody>
        </p:sp>
      </p:grpSp>
      <p:pic>
        <p:nvPicPr>
          <p:cNvPr id="143" name="Picture 2" descr="\\MAGNUM\Projects\Microsoft\Cloud Power FY12\Design\ICONS_PNG\Browser.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Lst>
          </a:blip>
          <a:srcRect/>
          <a:stretch>
            <a:fillRect/>
          </a:stretch>
        </p:blipFill>
        <p:spPr bwMode="auto">
          <a:xfrm>
            <a:off x="2482798" y="1798969"/>
            <a:ext cx="448212" cy="448212"/>
          </a:xfrm>
          <a:prstGeom prst="rect">
            <a:avLst/>
          </a:prstGeom>
          <a:noFill/>
        </p:spPr>
      </p:pic>
      <p:grpSp>
        <p:nvGrpSpPr>
          <p:cNvPr id="6" name="Group 5"/>
          <p:cNvGrpSpPr>
            <a:grpSpLocks noChangeAspect="1"/>
          </p:cNvGrpSpPr>
          <p:nvPr/>
        </p:nvGrpSpPr>
        <p:grpSpPr>
          <a:xfrm>
            <a:off x="5742802" y="1802301"/>
            <a:ext cx="717140" cy="717140"/>
            <a:chOff x="4618791" y="5133030"/>
            <a:chExt cx="1828800" cy="1828800"/>
          </a:xfrm>
        </p:grpSpPr>
        <p:pic>
          <p:nvPicPr>
            <p:cNvPr id="145" name="Picture 8" descr="\\MAGNUM\Projects\Microsoft\Cloud Power FY12\Design\Icons\PNGs\Cross Platform.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Lst>
            </a:blip>
            <a:stretch>
              <a:fillRect/>
            </a:stretch>
          </p:blipFill>
          <p:spPr bwMode="auto">
            <a:xfrm>
              <a:off x="4618791" y="5133030"/>
              <a:ext cx="1828800" cy="1828800"/>
            </a:xfrm>
            <a:prstGeom prst="rect">
              <a:avLst/>
            </a:prstGeom>
            <a:noFill/>
          </p:spPr>
        </p:pic>
        <p:pic>
          <p:nvPicPr>
            <p:cNvPr id="147" name="Picture 2" descr="\\MAGNUM\Projects\Microsoft\Cloud Power FY12\Design\ICONS_PNG\Pie.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20000" contrast="40000"/>
                      </a14:imgEffect>
                    </a14:imgLayer>
                  </a14:imgProps>
                </a:ext>
              </a:extLst>
            </a:blip>
            <a:srcRect/>
            <a:stretch>
              <a:fillRect/>
            </a:stretch>
          </p:blipFill>
          <p:spPr bwMode="auto">
            <a:xfrm>
              <a:off x="5487185" y="5851779"/>
              <a:ext cx="640080" cy="640080"/>
            </a:xfrm>
            <a:prstGeom prst="rect">
              <a:avLst/>
            </a:prstGeom>
            <a:noFill/>
          </p:spPr>
        </p:pic>
        <p:pic>
          <p:nvPicPr>
            <p:cNvPr id="148" name="Picture 3" descr="\\MAGNUM\Projects\Microsoft\Cloud Power FY12\Design\Icons\PNGs\Scalable_Elastic_4.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20000" contrast="40000"/>
                      </a14:imgEffect>
                    </a14:imgLayer>
                  </a14:imgProps>
                </a:ext>
              </a:extLst>
            </a:blip>
            <a:srcRect/>
            <a:stretch>
              <a:fillRect/>
            </a:stretch>
          </p:blipFill>
          <p:spPr bwMode="auto">
            <a:xfrm>
              <a:off x="4900580" y="5806059"/>
              <a:ext cx="731520" cy="731520"/>
            </a:xfrm>
            <a:prstGeom prst="rect">
              <a:avLst/>
            </a:prstGeom>
            <a:noFill/>
          </p:spPr>
        </p:pic>
      </p:grpSp>
      <p:pic>
        <p:nvPicPr>
          <p:cNvPr id="149" name="Picture 5" descr="\\MAGNUM\Projects\Microsoft\Cloud Power FY12\Design\Icons\PNGs\Stop_watch.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20000" contrast="40000"/>
                    </a14:imgEffect>
                  </a14:imgLayer>
                </a14:imgProps>
              </a:ext>
            </a:extLst>
          </a:blip>
          <a:srcRect/>
          <a:stretch>
            <a:fillRect/>
          </a:stretch>
        </p:blipFill>
        <p:spPr bwMode="auto">
          <a:xfrm>
            <a:off x="5784824" y="4615093"/>
            <a:ext cx="627497" cy="627497"/>
          </a:xfrm>
          <a:prstGeom prst="rect">
            <a:avLst/>
          </a:prstGeom>
          <a:noFill/>
        </p:spPr>
      </p:pic>
      <p:pic>
        <p:nvPicPr>
          <p:cNvPr id="150" name="Picture 7" descr="\\MAGNUM\Projects\Microsoft\Cloud Power FY12\Design\ICONS_PNG\Gears.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Lst>
          </a:blip>
          <a:srcRect/>
          <a:stretch>
            <a:fillRect/>
          </a:stretch>
        </p:blipFill>
        <p:spPr bwMode="auto">
          <a:xfrm>
            <a:off x="5740002" y="3692435"/>
            <a:ext cx="717140" cy="717140"/>
          </a:xfrm>
          <a:prstGeom prst="rect">
            <a:avLst/>
          </a:prstGeom>
          <a:noFill/>
        </p:spPr>
      </p:pic>
      <p:cxnSp>
        <p:nvCxnSpPr>
          <p:cNvPr id="133" name="Straight Connector 132"/>
          <p:cNvCxnSpPr/>
          <p:nvPr/>
        </p:nvCxnSpPr>
        <p:spPr>
          <a:xfrm>
            <a:off x="2993842" y="3335103"/>
            <a:ext cx="448212" cy="9490"/>
          </a:xfrm>
          <a:prstGeom prst="line">
            <a:avLst/>
          </a:prstGeom>
          <a:ln w="41275">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p:cNvCxnSpPr/>
          <p:nvPr/>
        </p:nvCxnSpPr>
        <p:spPr>
          <a:xfrm rot="10800000" flipV="1">
            <a:off x="6428039" y="2732946"/>
            <a:ext cx="681283" cy="1254995"/>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a:off x="6425243" y="4924144"/>
            <a:ext cx="681283" cy="457177"/>
          </a:xfrm>
          <a:prstGeom prst="bentConnector3">
            <a:avLst/>
          </a:prstGeom>
          <a:ln w="41275">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892525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48214" y="1008680"/>
            <a:ext cx="11055906" cy="5199575"/>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p:cNvSpPr/>
          <p:nvPr/>
        </p:nvSpPr>
        <p:spPr bwMode="auto">
          <a:xfrm>
            <a:off x="539350" y="1516446"/>
            <a:ext cx="10873633" cy="4602009"/>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520807" y="1118416"/>
            <a:ext cx="1338471" cy="271554"/>
          </a:xfrm>
          <a:prstGeom prst="rect">
            <a:avLst/>
          </a:prstGeom>
          <a:noFill/>
        </p:spPr>
        <p:txBody>
          <a:bodyPr wrap="none" lIns="0" tIns="0" rIns="0" bIns="0" rtlCol="0">
            <a:spAutoFit/>
          </a:bodyPr>
          <a:lstStyle/>
          <a:p>
            <a:pPr algn="ctr" defTabSz="914367"/>
            <a:r>
              <a:rPr lang="en-US" sz="1765" dirty="0">
                <a:solidFill>
                  <a:srgbClr val="FFFFFF"/>
                </a:solidFill>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368876" y="1118416"/>
            <a:ext cx="611311"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Ingest</a:t>
            </a:r>
          </a:p>
        </p:txBody>
      </p:sp>
      <p:sp>
        <p:nvSpPr>
          <p:cNvPr id="10" name="TextBox 9"/>
          <p:cNvSpPr txBox="1"/>
          <p:nvPr/>
        </p:nvSpPr>
        <p:spPr>
          <a:xfrm>
            <a:off x="4264537" y="1118416"/>
            <a:ext cx="759597"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Prepare</a:t>
            </a:r>
          </a:p>
        </p:txBody>
      </p:sp>
      <p:sp>
        <p:nvSpPr>
          <p:cNvPr id="11" name="TextBox 10"/>
          <p:cNvSpPr txBox="1"/>
          <p:nvPr/>
        </p:nvSpPr>
        <p:spPr>
          <a:xfrm>
            <a:off x="6186770" y="1118416"/>
            <a:ext cx="773174"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Analyze</a:t>
            </a:r>
          </a:p>
        </p:txBody>
      </p:sp>
      <p:sp>
        <p:nvSpPr>
          <p:cNvPr id="12" name="TextBox 11"/>
          <p:cNvSpPr txBox="1"/>
          <p:nvPr/>
        </p:nvSpPr>
        <p:spPr>
          <a:xfrm>
            <a:off x="8062523" y="1118416"/>
            <a:ext cx="721315"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Publish</a:t>
            </a:r>
          </a:p>
        </p:txBody>
      </p:sp>
      <p:sp>
        <p:nvSpPr>
          <p:cNvPr id="13" name="TextBox 12"/>
          <p:cNvSpPr txBox="1"/>
          <p:nvPr/>
        </p:nvSpPr>
        <p:spPr>
          <a:xfrm>
            <a:off x="9968043" y="1118416"/>
            <a:ext cx="935038" cy="271554"/>
          </a:xfrm>
          <a:prstGeom prst="rect">
            <a:avLst/>
          </a:prstGeom>
          <a:noFill/>
        </p:spPr>
        <p:txBody>
          <a:bodyPr wrap="none" lIns="0" tIns="0" rIns="0" bIns="0" rtlCol="0">
            <a:spAutoFit/>
          </a:bodyPr>
          <a:lstStyle/>
          <a:p>
            <a:pPr algn="ctr" defTabSz="914367"/>
            <a:r>
              <a:rPr lang="en-US" sz="1765" dirty="0">
                <a:solidFill>
                  <a:srgbClr val="FFFFFF"/>
                </a:solidFill>
                <a:latin typeface="Segoe UI"/>
              </a:rPr>
              <a:t>Consume</a:t>
            </a:r>
          </a:p>
        </p:txBody>
      </p:sp>
      <p:sp>
        <p:nvSpPr>
          <p:cNvPr id="14" name="Isosceles Triangle 13"/>
          <p:cNvSpPr/>
          <p:nvPr/>
        </p:nvSpPr>
        <p:spPr bwMode="auto">
          <a:xfrm rot="5400000">
            <a:off x="2166194" y="1202693"/>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Isosceles Triangle 14"/>
          <p:cNvSpPr/>
          <p:nvPr/>
        </p:nvSpPr>
        <p:spPr bwMode="auto">
          <a:xfrm rot="5400000">
            <a:off x="4063883" y="1202694"/>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Isosceles Triangle 15"/>
          <p:cNvSpPr/>
          <p:nvPr/>
        </p:nvSpPr>
        <p:spPr bwMode="auto">
          <a:xfrm rot="5400000">
            <a:off x="5965061" y="1202695"/>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Isosceles Triangle 16"/>
          <p:cNvSpPr/>
          <p:nvPr/>
        </p:nvSpPr>
        <p:spPr bwMode="auto">
          <a:xfrm rot="5400000">
            <a:off x="7859865" y="1202696"/>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Isosceles Triangle 17"/>
          <p:cNvSpPr/>
          <p:nvPr/>
        </p:nvSpPr>
        <p:spPr bwMode="auto">
          <a:xfrm rot="5400000">
            <a:off x="9755805" y="1202698"/>
            <a:ext cx="161035" cy="138823"/>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Freeform 18"/>
          <p:cNvSpPr/>
          <p:nvPr/>
        </p:nvSpPr>
        <p:spPr bwMode="auto">
          <a:xfrm>
            <a:off x="639491"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p:cNvSpPr txBox="1"/>
          <p:nvPr/>
        </p:nvSpPr>
        <p:spPr>
          <a:xfrm>
            <a:off x="692768" y="2606766"/>
            <a:ext cx="781032" cy="362072"/>
          </a:xfrm>
          <a:prstGeom prst="rect">
            <a:avLst/>
          </a:prstGeom>
          <a:noFill/>
        </p:spPr>
        <p:txBody>
          <a:bodyPr wrap="none" lIns="0" tIns="0" rIns="0" bIns="0" rtlCol="0">
            <a:spAutoFit/>
          </a:bodyPr>
          <a:lstStyle/>
          <a:p>
            <a:pPr defTabSz="914367"/>
            <a:r>
              <a:rPr lang="en-US" sz="1176" dirty="0">
                <a:solidFill>
                  <a:srgbClr val="505050"/>
                </a:solidFill>
                <a:latin typeface="Segoe UI"/>
              </a:rPr>
              <a:t>Sensors </a:t>
            </a:r>
            <a:br>
              <a:rPr lang="en-US" sz="1176" dirty="0">
                <a:solidFill>
                  <a:srgbClr val="505050"/>
                </a:solidFill>
                <a:latin typeface="Segoe UI"/>
              </a:rPr>
            </a:br>
            <a:r>
              <a:rPr lang="en-US" sz="1176" dirty="0">
                <a:solidFill>
                  <a:srgbClr val="505050"/>
                </a:solidFill>
                <a:latin typeface="Segoe UI"/>
              </a:rPr>
              <a:t>and devices</a:t>
            </a:r>
          </a:p>
        </p:txBody>
      </p:sp>
      <p:sp>
        <p:nvSpPr>
          <p:cNvPr id="22" name="TextBox 21"/>
          <p:cNvSpPr txBox="1"/>
          <p:nvPr/>
        </p:nvSpPr>
        <p:spPr>
          <a:xfrm>
            <a:off x="3498243" y="3165528"/>
            <a:ext cx="589749" cy="362072"/>
          </a:xfrm>
          <a:prstGeom prst="rect">
            <a:avLst/>
          </a:prstGeom>
          <a:noFill/>
        </p:spPr>
        <p:txBody>
          <a:bodyPr wrap="none" lIns="0" tIns="0" rIns="0" bIns="0" rtlCol="0">
            <a:spAutoFit/>
          </a:bodyPr>
          <a:lstStyle/>
          <a:p>
            <a:pPr defTabSz="914367"/>
            <a:r>
              <a:rPr lang="en-US" sz="1176" dirty="0">
                <a:solidFill>
                  <a:srgbClr val="505050"/>
                </a:solidFill>
                <a:latin typeface="Segoe UI"/>
              </a:rPr>
              <a:t>Stream</a:t>
            </a:r>
            <a:br>
              <a:rPr lang="en-US" sz="1176" dirty="0">
                <a:solidFill>
                  <a:srgbClr val="505050"/>
                </a:solidFill>
                <a:latin typeface="Segoe UI"/>
              </a:rPr>
            </a:br>
            <a:r>
              <a:rPr lang="en-US" sz="1176" dirty="0">
                <a:solidFill>
                  <a:srgbClr val="505050"/>
                </a:solidFill>
                <a:latin typeface="Segoe UI"/>
              </a:rPr>
              <a:t>Analytics</a:t>
            </a:r>
          </a:p>
        </p:txBody>
      </p:sp>
      <p:sp>
        <p:nvSpPr>
          <p:cNvPr id="25" name="TextBox 24"/>
          <p:cNvSpPr txBox="1"/>
          <p:nvPr/>
        </p:nvSpPr>
        <p:spPr>
          <a:xfrm>
            <a:off x="6088748" y="3414060"/>
            <a:ext cx="573280" cy="362072"/>
          </a:xfrm>
          <a:prstGeom prst="rect">
            <a:avLst/>
          </a:prstGeom>
          <a:noFill/>
        </p:spPr>
        <p:txBody>
          <a:bodyPr wrap="none" lIns="0" tIns="0" rIns="0" bIns="0" rtlCol="0">
            <a:spAutoFit/>
          </a:bodyPr>
          <a:lstStyle/>
          <a:p>
            <a:pPr defTabSz="914367"/>
            <a:r>
              <a:rPr lang="en-US" sz="1176" dirty="0">
                <a:solidFill>
                  <a:srgbClr val="505050"/>
                </a:solidFill>
                <a:latin typeface="Segoe UI"/>
              </a:rPr>
              <a:t>Machine</a:t>
            </a:r>
            <a:br>
              <a:rPr lang="en-US" sz="1176" dirty="0">
                <a:solidFill>
                  <a:srgbClr val="505050"/>
                </a:solidFill>
                <a:latin typeface="Segoe UI"/>
              </a:rPr>
            </a:br>
            <a:r>
              <a:rPr lang="en-US" sz="1176" dirty="0">
                <a:solidFill>
                  <a:srgbClr val="505050"/>
                </a:solidFill>
                <a:latin typeface="Segoe UI"/>
              </a:rPr>
              <a:t>Learning</a:t>
            </a:r>
          </a:p>
        </p:txBody>
      </p:sp>
      <p:sp>
        <p:nvSpPr>
          <p:cNvPr id="26" name="TextBox 25"/>
          <p:cNvSpPr txBox="1"/>
          <p:nvPr/>
        </p:nvSpPr>
        <p:spPr>
          <a:xfrm>
            <a:off x="10344465" y="3761904"/>
            <a:ext cx="527644" cy="181036"/>
          </a:xfrm>
          <a:prstGeom prst="rect">
            <a:avLst/>
          </a:prstGeom>
          <a:noFill/>
        </p:spPr>
        <p:txBody>
          <a:bodyPr wrap="none" lIns="0" tIns="0" rIns="0" bIns="0" rtlCol="0">
            <a:spAutoFit/>
          </a:bodyPr>
          <a:lstStyle/>
          <a:p>
            <a:pPr algn="ctr" defTabSz="914367"/>
            <a:r>
              <a:rPr lang="en-US" sz="1176" dirty="0">
                <a:solidFill>
                  <a:srgbClr val="505050"/>
                </a:solidFill>
                <a:latin typeface="Segoe UI"/>
              </a:rPr>
              <a:t>Cortana</a:t>
            </a:r>
          </a:p>
        </p:txBody>
      </p:sp>
      <p:sp>
        <p:nvSpPr>
          <p:cNvPr id="27" name="TextBox 26"/>
          <p:cNvSpPr txBox="1"/>
          <p:nvPr/>
        </p:nvSpPr>
        <p:spPr>
          <a:xfrm>
            <a:off x="1395464" y="4724423"/>
            <a:ext cx="564166" cy="362072"/>
          </a:xfrm>
          <a:prstGeom prst="rect">
            <a:avLst/>
          </a:prstGeom>
          <a:noFill/>
        </p:spPr>
        <p:txBody>
          <a:bodyPr wrap="none" lIns="0" tIns="0" rIns="0" bIns="0" rtlCol="0">
            <a:spAutoFit/>
          </a:bodyPr>
          <a:lstStyle/>
          <a:p>
            <a:pPr defTabSz="914367"/>
            <a:r>
              <a:rPr lang="en-US" sz="1176" dirty="0">
                <a:solidFill>
                  <a:srgbClr val="505050"/>
                </a:solidFill>
                <a:latin typeface="Segoe UI"/>
              </a:rPr>
              <a:t>Business</a:t>
            </a:r>
            <a:br>
              <a:rPr lang="en-US" sz="1176" dirty="0">
                <a:solidFill>
                  <a:srgbClr val="505050"/>
                </a:solidFill>
                <a:latin typeface="Segoe UI"/>
              </a:rPr>
            </a:br>
            <a:r>
              <a:rPr lang="en-US" sz="1176" dirty="0">
                <a:solidFill>
                  <a:srgbClr val="505050"/>
                </a:solidFill>
                <a:latin typeface="Segoe UI"/>
              </a:rPr>
              <a:t>apps</a:t>
            </a:r>
          </a:p>
        </p:txBody>
      </p:sp>
      <p:sp>
        <p:nvSpPr>
          <p:cNvPr id="28" name="TextBox 27"/>
          <p:cNvSpPr txBox="1"/>
          <p:nvPr/>
        </p:nvSpPr>
        <p:spPr>
          <a:xfrm>
            <a:off x="8985361" y="4108468"/>
            <a:ext cx="750205" cy="361894"/>
          </a:xfrm>
          <a:prstGeom prst="rect">
            <a:avLst/>
          </a:prstGeom>
          <a:noFill/>
        </p:spPr>
        <p:txBody>
          <a:bodyPr wrap="none" lIns="0" tIns="0" rIns="0" bIns="0" rtlCol="0">
            <a:spAutoFit/>
          </a:bodyPr>
          <a:lstStyle/>
          <a:p>
            <a:pPr algn="ctr" defTabSz="914367"/>
            <a:r>
              <a:rPr lang="en-US" sz="1176" dirty="0">
                <a:solidFill>
                  <a:srgbClr val="505050"/>
                </a:solidFill>
                <a:latin typeface="Segoe UI"/>
              </a:rPr>
              <a:t>SQL Data </a:t>
            </a:r>
          </a:p>
          <a:p>
            <a:pPr algn="ctr" defTabSz="914367"/>
            <a:r>
              <a:rPr lang="en-US" sz="1176" dirty="0">
                <a:solidFill>
                  <a:srgbClr val="505050"/>
                </a:solidFill>
                <a:latin typeface="Segoe UI"/>
              </a:rPr>
              <a:t>Warehouse</a:t>
            </a:r>
          </a:p>
        </p:txBody>
      </p:sp>
      <p:sp>
        <p:nvSpPr>
          <p:cNvPr id="29" name="Freeform 28"/>
          <p:cNvSpPr/>
          <p:nvPr/>
        </p:nvSpPr>
        <p:spPr bwMode="auto">
          <a:xfrm>
            <a:off x="2793202"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Freeform 30"/>
          <p:cNvSpPr/>
          <p:nvPr/>
        </p:nvSpPr>
        <p:spPr bwMode="auto">
          <a:xfrm>
            <a:off x="10263515" y="1879956"/>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31"/>
          <p:cNvSpPr/>
          <p:nvPr/>
        </p:nvSpPr>
        <p:spPr bwMode="auto">
          <a:xfrm>
            <a:off x="2793202" y="3006004"/>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33"/>
          <p:cNvSpPr/>
          <p:nvPr/>
        </p:nvSpPr>
        <p:spPr bwMode="auto">
          <a:xfrm>
            <a:off x="657048" y="4567740"/>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Freeform 34"/>
          <p:cNvSpPr/>
          <p:nvPr/>
        </p:nvSpPr>
        <p:spPr bwMode="auto">
          <a:xfrm>
            <a:off x="667466" y="534309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6" name="Straight Connector 35"/>
          <p:cNvCxnSpPr/>
          <p:nvPr/>
        </p:nvCxnSpPr>
        <p:spPr>
          <a:xfrm>
            <a:off x="2185422"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080795"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976167"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71539"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766912" y="1599922"/>
            <a:ext cx="0" cy="4425275"/>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263515" y="3006004"/>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TextBox 41"/>
          <p:cNvSpPr txBox="1"/>
          <p:nvPr/>
        </p:nvSpPr>
        <p:spPr>
          <a:xfrm>
            <a:off x="1436449" y="1836513"/>
            <a:ext cx="702456" cy="362072"/>
          </a:xfrm>
          <a:prstGeom prst="rect">
            <a:avLst/>
          </a:prstGeom>
          <a:noFill/>
        </p:spPr>
        <p:txBody>
          <a:bodyPr wrap="none" lIns="0" tIns="0" rIns="0" bIns="0" rtlCol="0">
            <a:spAutoFit/>
          </a:bodyPr>
          <a:lstStyle/>
          <a:p>
            <a:pPr defTabSz="914367"/>
            <a:r>
              <a:rPr lang="en-US" sz="1176" dirty="0">
                <a:solidFill>
                  <a:srgbClr val="505050"/>
                </a:solidFill>
                <a:latin typeface="Segoe UI"/>
              </a:rPr>
              <a:t>Diagnostic</a:t>
            </a:r>
            <a:br>
              <a:rPr lang="en-US" sz="1176" dirty="0">
                <a:solidFill>
                  <a:srgbClr val="505050"/>
                </a:solidFill>
                <a:latin typeface="Segoe UI"/>
              </a:rPr>
            </a:br>
            <a:r>
              <a:rPr lang="en-US" sz="1176" dirty="0">
                <a:solidFill>
                  <a:srgbClr val="505050"/>
                </a:solidFill>
                <a:latin typeface="Segoe UI"/>
              </a:rPr>
              <a:t>Streaming</a:t>
            </a:r>
          </a:p>
        </p:txBody>
      </p:sp>
      <p:sp>
        <p:nvSpPr>
          <p:cNvPr id="43" name="TextBox 42"/>
          <p:cNvSpPr txBox="1"/>
          <p:nvPr/>
        </p:nvSpPr>
        <p:spPr>
          <a:xfrm>
            <a:off x="10314219" y="1608997"/>
            <a:ext cx="581891" cy="180947"/>
          </a:xfrm>
          <a:prstGeom prst="rect">
            <a:avLst/>
          </a:prstGeom>
          <a:noFill/>
        </p:spPr>
        <p:txBody>
          <a:bodyPr wrap="none" lIns="0" tIns="0" rIns="0" bIns="0" rtlCol="0">
            <a:spAutoFit/>
          </a:bodyPr>
          <a:lstStyle/>
          <a:p>
            <a:pPr algn="ctr" defTabSz="914367"/>
            <a:r>
              <a:rPr lang="en-US" sz="1176" dirty="0">
                <a:solidFill>
                  <a:srgbClr val="505050"/>
                </a:solidFill>
                <a:latin typeface="Segoe UI"/>
              </a:rPr>
              <a:t>Power BI</a:t>
            </a:r>
          </a:p>
        </p:txBody>
      </p:sp>
      <p:sp>
        <p:nvSpPr>
          <p:cNvPr id="44" name="TextBox 43"/>
          <p:cNvSpPr txBox="1"/>
          <p:nvPr/>
        </p:nvSpPr>
        <p:spPr>
          <a:xfrm>
            <a:off x="1360205" y="5487362"/>
            <a:ext cx="1543051" cy="362072"/>
          </a:xfrm>
          <a:prstGeom prst="rect">
            <a:avLst/>
          </a:prstGeom>
          <a:noFill/>
        </p:spPr>
        <p:txBody>
          <a:bodyPr wrap="square" lIns="0" tIns="0" rIns="0" bIns="0" rtlCol="0">
            <a:spAutoFit/>
          </a:bodyPr>
          <a:lstStyle/>
          <a:p>
            <a:pPr defTabSz="914367"/>
            <a:r>
              <a:rPr lang="en-US" sz="1176" dirty="0">
                <a:solidFill>
                  <a:srgbClr val="505050"/>
                </a:solidFill>
                <a:latin typeface="Segoe UI"/>
              </a:rPr>
              <a:t>Enterprise </a:t>
            </a:r>
          </a:p>
          <a:p>
            <a:pPr defTabSz="914367"/>
            <a:r>
              <a:rPr lang="en-US" sz="1176" dirty="0">
                <a:solidFill>
                  <a:srgbClr val="505050"/>
                </a:solidFill>
                <a:latin typeface="Segoe UI"/>
              </a:rPr>
              <a:t>data sources</a:t>
            </a:r>
          </a:p>
        </p:txBody>
      </p:sp>
      <p:grpSp>
        <p:nvGrpSpPr>
          <p:cNvPr id="45" name="Group 44"/>
          <p:cNvGrpSpPr/>
          <p:nvPr/>
        </p:nvGrpSpPr>
        <p:grpSpPr>
          <a:xfrm>
            <a:off x="2177300" y="4766166"/>
            <a:ext cx="5693671" cy="200167"/>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177300" y="5141281"/>
            <a:ext cx="7589611" cy="200167"/>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177299" y="5516395"/>
            <a:ext cx="9102714" cy="200167"/>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3944604" y="4732325"/>
            <a:ext cx="3227129" cy="271554"/>
          </a:xfrm>
          <a:prstGeom prst="rect">
            <a:avLst/>
          </a:prstGeom>
          <a:solidFill>
            <a:srgbClr val="F2F2F2"/>
          </a:solidFill>
          <a:ln w="28575">
            <a:solidFill>
              <a:schemeClr val="accent1"/>
            </a:solidFill>
          </a:ln>
        </p:spPr>
        <p:txBody>
          <a:bodyPr wrap="square" lIns="44821" tIns="44821" rIns="44821" bIns="44821" rtlCol="0">
            <a:spAutoFit/>
          </a:bodyPr>
          <a:lstStyle/>
          <a:p>
            <a:pPr algn="ctr" defTabSz="914367"/>
            <a:r>
              <a:rPr lang="en-US" sz="1176" dirty="0">
                <a:solidFill>
                  <a:srgbClr val="0078D7"/>
                </a:solidFill>
                <a:latin typeface="Segoe UI"/>
              </a:rPr>
              <a:t>Azure Blob storage</a:t>
            </a:r>
          </a:p>
        </p:txBody>
      </p:sp>
      <p:sp>
        <p:nvSpPr>
          <p:cNvPr id="59" name="TextBox 58"/>
          <p:cNvSpPr txBox="1"/>
          <p:nvPr/>
        </p:nvSpPr>
        <p:spPr>
          <a:xfrm>
            <a:off x="3227421" y="5105586"/>
            <a:ext cx="4661409" cy="271554"/>
          </a:xfrm>
          <a:prstGeom prst="rect">
            <a:avLst/>
          </a:prstGeom>
          <a:solidFill>
            <a:srgbClr val="F2F2F2"/>
          </a:solidFill>
          <a:ln w="28575">
            <a:solidFill>
              <a:schemeClr val="accent1"/>
            </a:solidFill>
          </a:ln>
        </p:spPr>
        <p:txBody>
          <a:bodyPr wrap="square" lIns="44821" tIns="44821" rIns="44821" bIns="44821" rtlCol="0">
            <a:spAutoFit/>
          </a:bodyPr>
          <a:lstStyle>
            <a:defPPr>
              <a:defRPr lang="en-US"/>
            </a:defPPr>
            <a:lvl1pPr algn="ctr">
              <a:defRPr sz="1200">
                <a:solidFill>
                  <a:schemeClr val="accent1"/>
                </a:solidFill>
              </a:defRPr>
            </a:lvl1pPr>
          </a:lstStyle>
          <a:p>
            <a:pPr defTabSz="914367"/>
            <a:r>
              <a:rPr lang="en-US" sz="1176" dirty="0">
                <a:solidFill>
                  <a:srgbClr val="0078D7"/>
                </a:solidFill>
                <a:latin typeface="Segoe UI"/>
              </a:rPr>
              <a:t> Data Factory: Move data, orchestrate, schedule and monitor</a:t>
            </a:r>
          </a:p>
        </p:txBody>
      </p:sp>
      <p:sp>
        <p:nvSpPr>
          <p:cNvPr id="60" name="TextBox 59"/>
          <p:cNvSpPr txBox="1"/>
          <p:nvPr/>
        </p:nvSpPr>
        <p:spPr>
          <a:xfrm>
            <a:off x="3947827" y="5483133"/>
            <a:ext cx="5819083" cy="271554"/>
          </a:xfrm>
          <a:prstGeom prst="rect">
            <a:avLst/>
          </a:prstGeom>
          <a:solidFill>
            <a:srgbClr val="F2F2F2"/>
          </a:solidFill>
          <a:ln w="28575">
            <a:solidFill>
              <a:schemeClr val="accent1"/>
            </a:solidFill>
          </a:ln>
        </p:spPr>
        <p:txBody>
          <a:bodyPr wrap="square" lIns="44821" tIns="44821" rIns="44821" bIns="44821" rtlCol="0">
            <a:spAutoFit/>
          </a:bodyPr>
          <a:lstStyle>
            <a:defPPr>
              <a:defRPr lang="en-US"/>
            </a:defPPr>
            <a:lvl1pPr algn="ctr">
              <a:defRPr sz="1200">
                <a:solidFill>
                  <a:schemeClr val="accent1"/>
                </a:solidFill>
              </a:defRPr>
            </a:lvl1pPr>
          </a:lstStyle>
          <a:p>
            <a:pPr defTabSz="914367"/>
            <a:r>
              <a:rPr lang="en-US" sz="1176" dirty="0">
                <a:solidFill>
                  <a:srgbClr val="0078D7"/>
                </a:solidFill>
                <a:latin typeface="Segoe UI"/>
              </a:rPr>
              <a:t>Data Catalog: Register, annotate, understand, discover data sets</a:t>
            </a:r>
          </a:p>
        </p:txBody>
      </p:sp>
      <p:sp>
        <p:nvSpPr>
          <p:cNvPr id="65" name="TextBox 64"/>
          <p:cNvSpPr txBox="1"/>
          <p:nvPr/>
        </p:nvSpPr>
        <p:spPr>
          <a:xfrm>
            <a:off x="4915948" y="3960589"/>
            <a:ext cx="664742" cy="181036"/>
          </a:xfrm>
          <a:prstGeom prst="rect">
            <a:avLst/>
          </a:prstGeom>
          <a:noFill/>
        </p:spPr>
        <p:txBody>
          <a:bodyPr wrap="none" lIns="0" tIns="0" rIns="0" bIns="0" rtlCol="0">
            <a:spAutoFit/>
          </a:bodyPr>
          <a:lstStyle/>
          <a:p>
            <a:pPr defTabSz="914367"/>
            <a:r>
              <a:rPr lang="en-US" sz="1176" dirty="0">
                <a:solidFill>
                  <a:srgbClr val="505050"/>
                </a:solidFill>
                <a:latin typeface="Segoe UI"/>
              </a:rPr>
              <a:t>HDInsight</a:t>
            </a:r>
          </a:p>
        </p:txBody>
      </p:sp>
      <p:cxnSp>
        <p:nvCxnSpPr>
          <p:cNvPr id="66" name="Straight Arrow Connector 65"/>
          <p:cNvCxnSpPr/>
          <p:nvPr/>
        </p:nvCxnSpPr>
        <p:spPr>
          <a:xfrm flipH="1">
            <a:off x="4464216" y="4423065"/>
            <a:ext cx="0" cy="27380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857369" y="4450619"/>
            <a:ext cx="0" cy="27380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171734" y="4429726"/>
            <a:ext cx="1049097" cy="43837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8889469" y="2495564"/>
            <a:ext cx="1454997" cy="147846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603421" y="2645371"/>
            <a:ext cx="0" cy="275029"/>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19303" y="2211001"/>
            <a:ext cx="1439381" cy="8861"/>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473015" y="2219862"/>
            <a:ext cx="3058749"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252025" y="2216799"/>
            <a:ext cx="2965921" cy="306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33108" y="2559768"/>
            <a:ext cx="0" cy="42960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33109" y="3685816"/>
            <a:ext cx="2977" cy="1165352"/>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269796" y="2234943"/>
            <a:ext cx="1099601" cy="1728336"/>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81864" y="2101761"/>
            <a:ext cx="395066" cy="236202"/>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Freeform 85"/>
          <p:cNvSpPr/>
          <p:nvPr>
            <p:custDataLst>
              <p:tags r:id="rId1"/>
            </p:custDataLst>
          </p:nvPr>
        </p:nvSpPr>
        <p:spPr>
          <a:xfrm>
            <a:off x="10462797" y="2048940"/>
            <a:ext cx="281249" cy="341846"/>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algn="ctr" defTabSz="896386">
              <a:defRPr/>
            </a:pPr>
            <a:endParaRPr lang="en-US" sz="1765" kern="0">
              <a:solidFill>
                <a:sysClr val="window" lastClr="FFFFFF"/>
              </a:solidFill>
              <a:latin typeface="Arial"/>
            </a:endParaRPr>
          </a:p>
        </p:txBody>
      </p:sp>
      <p:sp>
        <p:nvSpPr>
          <p:cNvPr id="90" name="Freeform 89"/>
          <p:cNvSpPr/>
          <p:nvPr/>
        </p:nvSpPr>
        <p:spPr bwMode="auto">
          <a:xfrm>
            <a:off x="892202" y="4748910"/>
            <a:ext cx="209505" cy="317472"/>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Freeform 90"/>
          <p:cNvSpPr/>
          <p:nvPr/>
        </p:nvSpPr>
        <p:spPr bwMode="auto">
          <a:xfrm>
            <a:off x="11055907" y="2219164"/>
            <a:ext cx="224106" cy="3077725"/>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FFFFFF"/>
              </a:solidFill>
              <a:latin typeface="Segoe UI"/>
            </a:endParaRPr>
          </a:p>
        </p:txBody>
      </p:sp>
      <p:sp>
        <p:nvSpPr>
          <p:cNvPr id="94" name="Freeform 93"/>
          <p:cNvSpPr/>
          <p:nvPr/>
        </p:nvSpPr>
        <p:spPr bwMode="auto">
          <a:xfrm>
            <a:off x="2939890" y="2032898"/>
            <a:ext cx="352283" cy="35620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rgbClr val="FFFFFF"/>
              </a:solidFill>
              <a:latin typeface="Segoe UI"/>
              <a:ea typeface="Segoe UI" pitchFamily="34" charset="0"/>
              <a:cs typeface="Segoe UI" pitchFamily="34" charset="0"/>
            </a:endParaRPr>
          </a:p>
        </p:txBody>
      </p:sp>
      <p:sp>
        <p:nvSpPr>
          <p:cNvPr id="95" name="Oval 88"/>
          <p:cNvSpPr/>
          <p:nvPr/>
        </p:nvSpPr>
        <p:spPr>
          <a:xfrm>
            <a:off x="857552" y="5527074"/>
            <a:ext cx="299641" cy="311860"/>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367"/>
            <a:endParaRPr lang="en-US" sz="1323">
              <a:gradFill>
                <a:gsLst>
                  <a:gs pos="1250">
                    <a:srgbClr val="505050"/>
                  </a:gs>
                  <a:gs pos="74000">
                    <a:srgbClr val="505050"/>
                  </a:gs>
                </a:gsLst>
                <a:lin ang="5400000" scaled="0"/>
              </a:gradFill>
              <a:latin typeface="Segoe UI"/>
            </a:endParaRPr>
          </a:p>
        </p:txBody>
      </p:sp>
      <p:grpSp>
        <p:nvGrpSpPr>
          <p:cNvPr id="98" name="Group 97"/>
          <p:cNvGrpSpPr>
            <a:grpSpLocks noChangeAspect="1"/>
          </p:cNvGrpSpPr>
          <p:nvPr/>
        </p:nvGrpSpPr>
        <p:grpSpPr>
          <a:xfrm>
            <a:off x="2893802" y="3184981"/>
            <a:ext cx="448212" cy="344312"/>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grpSp>
      <p:sp>
        <p:nvSpPr>
          <p:cNvPr id="103" name="Freeform 102"/>
          <p:cNvSpPr>
            <a:spLocks noChangeAspect="1"/>
          </p:cNvSpPr>
          <p:nvPr/>
        </p:nvSpPr>
        <p:spPr bwMode="auto">
          <a:xfrm>
            <a:off x="4260890" y="3880108"/>
            <a:ext cx="473830" cy="35857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pPr defTabSz="914367"/>
            <a:endParaRPr lang="en-US" sz="1600" dirty="0">
              <a:solidFill>
                <a:srgbClr val="FFFFFF"/>
              </a:solidFill>
              <a:latin typeface="Segoe UI"/>
            </a:endParaRPr>
          </a:p>
        </p:txBody>
      </p:sp>
      <p:sp>
        <p:nvSpPr>
          <p:cNvPr id="105" name="Freeform 104"/>
          <p:cNvSpPr>
            <a:spLocks noChangeAspect="1"/>
          </p:cNvSpPr>
          <p:nvPr/>
        </p:nvSpPr>
        <p:spPr bwMode="auto">
          <a:xfrm>
            <a:off x="3385907" y="5149198"/>
            <a:ext cx="183469" cy="19280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grpSp>
        <p:nvGrpSpPr>
          <p:cNvPr id="106" name="Group 105"/>
          <p:cNvGrpSpPr>
            <a:grpSpLocks noChangeAspect="1"/>
          </p:cNvGrpSpPr>
          <p:nvPr/>
        </p:nvGrpSpPr>
        <p:grpSpPr>
          <a:xfrm>
            <a:off x="4104086" y="5533157"/>
            <a:ext cx="185395" cy="197213"/>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grpSp>
      <p:sp>
        <p:nvSpPr>
          <p:cNvPr id="110" name="TextBox 109"/>
          <p:cNvSpPr txBox="1"/>
          <p:nvPr/>
        </p:nvSpPr>
        <p:spPr>
          <a:xfrm>
            <a:off x="3497383" y="2266882"/>
            <a:ext cx="363706" cy="362072"/>
          </a:xfrm>
          <a:prstGeom prst="rect">
            <a:avLst/>
          </a:prstGeom>
          <a:noFill/>
        </p:spPr>
        <p:txBody>
          <a:bodyPr wrap="none" lIns="0" tIns="0" rIns="0" bIns="0" rtlCol="0">
            <a:spAutoFit/>
          </a:bodyPr>
          <a:lstStyle/>
          <a:p>
            <a:pPr defTabSz="914367"/>
            <a:r>
              <a:rPr lang="en-US" sz="1176" dirty="0">
                <a:solidFill>
                  <a:srgbClr val="505050"/>
                </a:solidFill>
                <a:latin typeface="Segoe UI"/>
              </a:rPr>
              <a:t>Event</a:t>
            </a:r>
          </a:p>
          <a:p>
            <a:pPr defTabSz="914367"/>
            <a:r>
              <a:rPr lang="en-US" sz="1176" dirty="0">
                <a:solidFill>
                  <a:srgbClr val="505050"/>
                </a:solidFill>
                <a:latin typeface="Segoe UI"/>
              </a:rPr>
              <a:t>Hubs</a:t>
            </a:r>
          </a:p>
        </p:txBody>
      </p:sp>
      <p:sp>
        <p:nvSpPr>
          <p:cNvPr id="114" name="Freeform 113"/>
          <p:cNvSpPr>
            <a:spLocks noChangeAspect="1"/>
          </p:cNvSpPr>
          <p:nvPr/>
        </p:nvSpPr>
        <p:spPr bwMode="auto">
          <a:xfrm flipH="1">
            <a:off x="6278770" y="3960590"/>
            <a:ext cx="358570" cy="37945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grpSp>
        <p:nvGrpSpPr>
          <p:cNvPr id="115" name="Group 114"/>
          <p:cNvGrpSpPr>
            <a:grpSpLocks noChangeAspect="1"/>
          </p:cNvGrpSpPr>
          <p:nvPr/>
        </p:nvGrpSpPr>
        <p:grpSpPr>
          <a:xfrm>
            <a:off x="8444884" y="4067290"/>
            <a:ext cx="358570" cy="439165"/>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367"/>
              <a:endParaRPr lang="en-US">
                <a:solidFill>
                  <a:srgbClr val="FFFFFF"/>
                </a:solidFill>
                <a:latin typeface="Segoe UI"/>
              </a:endParaRPr>
            </a:p>
          </p:txBody>
        </p:sp>
      </p:grpSp>
      <p:sp>
        <p:nvSpPr>
          <p:cNvPr id="119" name="Freeform 118"/>
          <p:cNvSpPr/>
          <p:nvPr/>
        </p:nvSpPr>
        <p:spPr bwMode="auto">
          <a:xfrm>
            <a:off x="4139471" y="3703270"/>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Freeform 119"/>
          <p:cNvSpPr/>
          <p:nvPr/>
        </p:nvSpPr>
        <p:spPr bwMode="auto">
          <a:xfrm>
            <a:off x="6143504" y="382817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Freeform 120"/>
          <p:cNvSpPr>
            <a:spLocks noChangeAspect="1"/>
          </p:cNvSpPr>
          <p:nvPr/>
        </p:nvSpPr>
        <p:spPr bwMode="auto">
          <a:xfrm>
            <a:off x="7024844" y="4005017"/>
            <a:ext cx="473830" cy="35857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1427" tIns="45713" rIns="91427" bIns="45713" numCol="1" anchor="t" anchorCtr="0" compatLnSpc="1">
            <a:prstTxWarp prst="textNoShape">
              <a:avLst/>
            </a:prstTxWarp>
          </a:bodyPr>
          <a:lstStyle/>
          <a:p>
            <a:pPr defTabSz="914367"/>
            <a:endParaRPr lang="en-US" sz="1600" dirty="0">
              <a:solidFill>
                <a:srgbClr val="FFFFFF"/>
              </a:solidFill>
              <a:latin typeface="Segoe UI"/>
            </a:endParaRPr>
          </a:p>
        </p:txBody>
      </p:sp>
      <p:sp>
        <p:nvSpPr>
          <p:cNvPr id="122" name="Freeform 121"/>
          <p:cNvSpPr/>
          <p:nvPr/>
        </p:nvSpPr>
        <p:spPr bwMode="auto">
          <a:xfrm>
            <a:off x="6903425" y="3828178"/>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p:cNvSpPr txBox="1"/>
          <p:nvPr/>
        </p:nvSpPr>
        <p:spPr>
          <a:xfrm>
            <a:off x="6935733" y="3486868"/>
            <a:ext cx="664742" cy="362072"/>
          </a:xfrm>
          <a:prstGeom prst="rect">
            <a:avLst/>
          </a:prstGeom>
          <a:noFill/>
        </p:spPr>
        <p:txBody>
          <a:bodyPr wrap="none" lIns="0" tIns="0" rIns="0" bIns="0" rtlCol="0">
            <a:spAutoFit/>
          </a:bodyPr>
          <a:lstStyle/>
          <a:p>
            <a:pPr defTabSz="914367"/>
            <a:r>
              <a:rPr lang="en-US" sz="1176" dirty="0">
                <a:solidFill>
                  <a:srgbClr val="505050"/>
                </a:solidFill>
                <a:latin typeface="Segoe UI"/>
              </a:rPr>
              <a:t>HDInsight</a:t>
            </a:r>
            <a:br>
              <a:rPr lang="en-US" sz="1176" dirty="0">
                <a:solidFill>
                  <a:srgbClr val="505050"/>
                </a:solidFill>
                <a:latin typeface="Segoe UI"/>
              </a:rPr>
            </a:br>
            <a:endParaRPr lang="en-US" sz="1176" dirty="0">
              <a:solidFill>
                <a:srgbClr val="505050"/>
              </a:solidFill>
              <a:latin typeface="Segoe UI"/>
            </a:endParaRPr>
          </a:p>
        </p:txBody>
      </p:sp>
      <p:grpSp>
        <p:nvGrpSpPr>
          <p:cNvPr id="127" name="Group 126"/>
          <p:cNvGrpSpPr/>
          <p:nvPr/>
        </p:nvGrpSpPr>
        <p:grpSpPr>
          <a:xfrm>
            <a:off x="6593482" y="1587070"/>
            <a:ext cx="679812" cy="679812"/>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a:solidFill>
                  <a:srgbClr val="FFFFFF"/>
                </a:solidFill>
                <a:latin typeface="Segoe UI"/>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4" name="Group 133"/>
          <p:cNvGrpSpPr/>
          <p:nvPr/>
        </p:nvGrpSpPr>
        <p:grpSpPr>
          <a:xfrm>
            <a:off x="6618382" y="2333152"/>
            <a:ext cx="679812" cy="679812"/>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endParaRPr lang="en-US" sz="2353" dirty="0">
                  <a:solidFill>
                    <a:srgbClr val="FFFFFF"/>
                  </a:solidFill>
                  <a:latin typeface="Segoe UI"/>
                </a:endParaRPr>
              </a:p>
            </p:txBody>
          </p:sp>
        </p:grpSp>
      </p:grpSp>
      <p:sp>
        <p:nvSpPr>
          <p:cNvPr id="137" name="TextBox 136"/>
          <p:cNvSpPr txBox="1"/>
          <p:nvPr/>
        </p:nvSpPr>
        <p:spPr>
          <a:xfrm>
            <a:off x="7272373" y="1658608"/>
            <a:ext cx="573280" cy="362072"/>
          </a:xfrm>
          <a:prstGeom prst="rect">
            <a:avLst/>
          </a:prstGeom>
          <a:noFill/>
        </p:spPr>
        <p:txBody>
          <a:bodyPr wrap="none" lIns="0" tIns="0" rIns="0" bIns="0" rtlCol="0">
            <a:spAutoFit/>
          </a:bodyPr>
          <a:lstStyle/>
          <a:p>
            <a:pPr defTabSz="914367"/>
            <a:r>
              <a:rPr lang="en-US" sz="1176" dirty="0">
                <a:solidFill>
                  <a:srgbClr val="505050"/>
                </a:solidFill>
                <a:latin typeface="Segoe UI"/>
              </a:rPr>
              <a:t>Machine</a:t>
            </a:r>
            <a:br>
              <a:rPr lang="en-US" sz="1176" dirty="0">
                <a:solidFill>
                  <a:srgbClr val="505050"/>
                </a:solidFill>
                <a:latin typeface="Segoe UI"/>
              </a:rPr>
            </a:br>
            <a:r>
              <a:rPr lang="en-US" sz="1176" dirty="0">
                <a:solidFill>
                  <a:srgbClr val="505050"/>
                </a:solidFill>
                <a:latin typeface="Segoe UI"/>
              </a:rPr>
              <a:t>Learning</a:t>
            </a:r>
          </a:p>
        </p:txBody>
      </p:sp>
      <p:sp>
        <p:nvSpPr>
          <p:cNvPr id="138" name="TextBox 137"/>
          <p:cNvSpPr txBox="1"/>
          <p:nvPr/>
        </p:nvSpPr>
        <p:spPr>
          <a:xfrm>
            <a:off x="6037833" y="2481002"/>
            <a:ext cx="589749" cy="362072"/>
          </a:xfrm>
          <a:prstGeom prst="rect">
            <a:avLst/>
          </a:prstGeom>
          <a:noFill/>
        </p:spPr>
        <p:txBody>
          <a:bodyPr wrap="none" lIns="0" tIns="0" rIns="0" bIns="0" rtlCol="0">
            <a:spAutoFit/>
          </a:bodyPr>
          <a:lstStyle/>
          <a:p>
            <a:pPr defTabSz="914367"/>
            <a:r>
              <a:rPr lang="en-US" sz="1176" dirty="0">
                <a:solidFill>
                  <a:srgbClr val="505050"/>
                </a:solidFill>
                <a:latin typeface="Segoe UI"/>
              </a:rPr>
              <a:t>Stream</a:t>
            </a:r>
            <a:br>
              <a:rPr lang="en-US" sz="1176" dirty="0">
                <a:solidFill>
                  <a:srgbClr val="505050"/>
                </a:solidFill>
                <a:latin typeface="Segoe UI"/>
              </a:rPr>
            </a:br>
            <a:r>
              <a:rPr lang="en-US" sz="1176" dirty="0">
                <a:solidFill>
                  <a:srgbClr val="505050"/>
                </a:solidFill>
                <a:latin typeface="Segoe UI"/>
              </a:rPr>
              <a:t>Analytics</a:t>
            </a:r>
          </a:p>
        </p:txBody>
      </p:sp>
      <p:sp>
        <p:nvSpPr>
          <p:cNvPr id="142" name="Freeform 141"/>
          <p:cNvSpPr/>
          <p:nvPr/>
        </p:nvSpPr>
        <p:spPr bwMode="auto">
          <a:xfrm>
            <a:off x="8275392" y="3951253"/>
            <a:ext cx="679812" cy="679812"/>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6" name="Group 145"/>
          <p:cNvGrpSpPr/>
          <p:nvPr/>
        </p:nvGrpSpPr>
        <p:grpSpPr>
          <a:xfrm>
            <a:off x="10459841" y="3205270"/>
            <a:ext cx="295835" cy="295835"/>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rgbClr val="FFFFFF"/>
                </a:solidFill>
                <a:latin typeface="Segoe UI"/>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3600" dirty="0" err="1">
                <a:solidFill>
                  <a:srgbClr val="FFFFFF"/>
                </a:solidFill>
                <a:latin typeface="Segoe UI"/>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3598" y="4767293"/>
            <a:ext cx="221181" cy="221181"/>
          </a:xfrm>
          <a:prstGeom prst="rect">
            <a:avLst/>
          </a:prstGeom>
        </p:spPr>
      </p:pic>
    </p:spTree>
    <p:extLst>
      <p:ext uri="{BB962C8B-B14F-4D97-AF65-F5344CB8AC3E}">
        <p14:creationId xmlns:p14="http://schemas.microsoft.com/office/powerpoint/2010/main" val="379298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128"/>
          <p:cNvSpPr>
            <a:spLocks noChangeAspect="1"/>
          </p:cNvSpPr>
          <p:nvPr/>
        </p:nvSpPr>
        <p:spPr bwMode="black">
          <a:xfrm>
            <a:off x="2749979" y="814798"/>
            <a:ext cx="9246647" cy="542477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17" tIns="44808" rIns="89617" bIns="44808" numCol="1" anchor="t" anchorCtr="0" compatLnSpc="1">
            <a:prstTxWarp prst="textNoShape">
              <a:avLst/>
            </a:prstTxWarp>
          </a:bodyPr>
          <a:lstStyle/>
          <a:p>
            <a:pPr defTabSz="913782">
              <a:defRPr/>
            </a:pPr>
            <a:endParaRPr lang="en-US" sz="1765">
              <a:solidFill>
                <a:prstClr val="black"/>
              </a:solidFill>
              <a:latin typeface="Segoe UI"/>
            </a:endParaRPr>
          </a:p>
        </p:txBody>
      </p:sp>
      <p:grpSp>
        <p:nvGrpSpPr>
          <p:cNvPr id="2" name="Group 1"/>
          <p:cNvGrpSpPr/>
          <p:nvPr/>
        </p:nvGrpSpPr>
        <p:grpSpPr>
          <a:xfrm>
            <a:off x="1032306" y="1636406"/>
            <a:ext cx="373457" cy="4451299"/>
            <a:chOff x="1053005" y="1668722"/>
            <a:chExt cx="380946" cy="4540557"/>
          </a:xfrm>
        </p:grpSpPr>
        <p:sp>
          <p:nvSpPr>
            <p:cNvPr id="3" name="Rectangle 2"/>
            <p:cNvSpPr/>
            <p:nvPr/>
          </p:nvSpPr>
          <p:spPr bwMode="auto">
            <a:xfrm>
              <a:off x="1053005" y="166872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6" name="Rectangle 5"/>
            <p:cNvSpPr/>
            <p:nvPr/>
          </p:nvSpPr>
          <p:spPr bwMode="auto">
            <a:xfrm>
              <a:off x="1053005" y="213936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7" name="Rectangle 6"/>
            <p:cNvSpPr/>
            <p:nvPr/>
          </p:nvSpPr>
          <p:spPr bwMode="auto">
            <a:xfrm>
              <a:off x="1053005" y="261001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8" name="Rectangle 7"/>
            <p:cNvSpPr/>
            <p:nvPr/>
          </p:nvSpPr>
          <p:spPr bwMode="auto">
            <a:xfrm>
              <a:off x="1053005" y="308065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9" name="Rectangle 8"/>
            <p:cNvSpPr/>
            <p:nvPr/>
          </p:nvSpPr>
          <p:spPr bwMode="auto">
            <a:xfrm>
              <a:off x="1053005" y="355130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0" name="Rectangle 9"/>
            <p:cNvSpPr/>
            <p:nvPr/>
          </p:nvSpPr>
          <p:spPr bwMode="auto">
            <a:xfrm>
              <a:off x="1053005" y="402194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1" name="Rectangle 10"/>
            <p:cNvSpPr/>
            <p:nvPr/>
          </p:nvSpPr>
          <p:spPr bwMode="auto">
            <a:xfrm>
              <a:off x="1053005" y="449259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2" name="Rectangle 11"/>
            <p:cNvSpPr/>
            <p:nvPr/>
          </p:nvSpPr>
          <p:spPr bwMode="auto">
            <a:xfrm>
              <a:off x="1053005" y="4963237"/>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3" name="Rectangle 12"/>
            <p:cNvSpPr/>
            <p:nvPr/>
          </p:nvSpPr>
          <p:spPr bwMode="auto">
            <a:xfrm>
              <a:off x="1053005" y="5433882"/>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14" name="Rectangle 13"/>
            <p:cNvSpPr/>
            <p:nvPr/>
          </p:nvSpPr>
          <p:spPr bwMode="auto">
            <a:xfrm>
              <a:off x="1053005" y="5904523"/>
              <a:ext cx="380946" cy="3047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grpSp>
      <p:sp>
        <p:nvSpPr>
          <p:cNvPr id="15" name="Rectangle 14"/>
          <p:cNvSpPr/>
          <p:nvPr/>
        </p:nvSpPr>
        <p:spPr bwMode="auto">
          <a:xfrm>
            <a:off x="1928605" y="3944010"/>
            <a:ext cx="746915" cy="214369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Field gateways</a:t>
            </a:r>
          </a:p>
        </p:txBody>
      </p:sp>
      <p:sp>
        <p:nvSpPr>
          <p:cNvPr id="17" name="Rectangle 16"/>
          <p:cNvSpPr/>
          <p:nvPr/>
        </p:nvSpPr>
        <p:spPr bwMode="auto">
          <a:xfrm>
            <a:off x="3273051" y="2561956"/>
            <a:ext cx="746915" cy="21406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Protocol adapters</a:t>
            </a:r>
          </a:p>
        </p:txBody>
      </p:sp>
      <p:sp>
        <p:nvSpPr>
          <p:cNvPr id="18" name="Rectangle 17"/>
          <p:cNvSpPr/>
          <p:nvPr/>
        </p:nvSpPr>
        <p:spPr bwMode="auto">
          <a:xfrm>
            <a:off x="4542806" y="1636407"/>
            <a:ext cx="746915" cy="44512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Cloud gateway</a:t>
            </a:r>
          </a:p>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Streaming events)</a:t>
            </a:r>
          </a:p>
        </p:txBody>
      </p:sp>
      <p:sp>
        <p:nvSpPr>
          <p:cNvPr id="19" name="Rectangle 18"/>
          <p:cNvSpPr/>
          <p:nvPr/>
        </p:nvSpPr>
        <p:spPr bwMode="auto">
          <a:xfrm rot="16200000">
            <a:off x="7146668" y="1926605"/>
            <a:ext cx="1401721" cy="37363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Hot path analytics</a:t>
            </a:r>
          </a:p>
        </p:txBody>
      </p:sp>
      <p:sp>
        <p:nvSpPr>
          <p:cNvPr id="20" name="Rectangle 19"/>
          <p:cNvSpPr/>
          <p:nvPr/>
        </p:nvSpPr>
        <p:spPr bwMode="auto">
          <a:xfrm rot="16200000">
            <a:off x="7238455" y="373771"/>
            <a:ext cx="1218146" cy="37363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Cold/batch analytics</a:t>
            </a:r>
          </a:p>
        </p:txBody>
      </p:sp>
      <p:sp>
        <p:nvSpPr>
          <p:cNvPr id="21" name="Rectangle 20"/>
          <p:cNvSpPr/>
          <p:nvPr/>
        </p:nvSpPr>
        <p:spPr bwMode="auto">
          <a:xfrm rot="16200000">
            <a:off x="7180824" y="3547307"/>
            <a:ext cx="1344448" cy="373634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Hot path business logic</a:t>
            </a:r>
          </a:p>
        </p:txBody>
      </p:sp>
      <p:sp>
        <p:nvSpPr>
          <p:cNvPr id="22" name="Rectangle 21"/>
          <p:cNvSpPr/>
          <p:nvPr/>
        </p:nvSpPr>
        <p:spPr bwMode="auto">
          <a:xfrm>
            <a:off x="10294049" y="3944010"/>
            <a:ext cx="746915" cy="214369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Enterprise process connections</a:t>
            </a:r>
          </a:p>
        </p:txBody>
      </p:sp>
      <p:sp>
        <p:nvSpPr>
          <p:cNvPr id="4" name="TextBox 3"/>
          <p:cNvSpPr txBox="1"/>
          <p:nvPr/>
        </p:nvSpPr>
        <p:spPr>
          <a:xfrm rot="16200000">
            <a:off x="-1544368" y="3590500"/>
            <a:ext cx="4451299" cy="543108"/>
          </a:xfrm>
          <a:prstGeom prst="rect">
            <a:avLst/>
          </a:prstGeom>
          <a:noFill/>
          <a:ln>
            <a:noFill/>
            <a:headEnd type="none" w="med" len="med"/>
            <a:tailEnd type="none" w="med" len="med"/>
          </a:ln>
        </p:spPr>
        <p:txBody>
          <a:bodyPr wrap="square" lIns="0" tIns="0" rIns="0" bIns="0" rtlCol="0">
            <a:spAutoFit/>
          </a:bodyPr>
          <a:lstStyle/>
          <a:p>
            <a:pPr algn="ctr" defTabSz="914192">
              <a:defRPr/>
            </a:pPr>
            <a:r>
              <a:rPr lang="en-US" sz="1961" spc="-37" dirty="0">
                <a:gradFill>
                  <a:gsLst>
                    <a:gs pos="0">
                      <a:srgbClr val="505050">
                        <a:lumMod val="75000"/>
                      </a:srgbClr>
                    </a:gs>
                    <a:gs pos="100000">
                      <a:srgbClr val="505050">
                        <a:lumMod val="75000"/>
                      </a:srgbClr>
                    </a:gs>
                  </a:gsLst>
                  <a:lin ang="5400000" scaled="1"/>
                </a:gradFill>
                <a:latin typeface="Segoe Pro SemiLight" panose="020B0402040204020203" pitchFamily="34" charset="0"/>
                <a:ea typeface="Segoe UI" pitchFamily="34" charset="0"/>
                <a:cs typeface="Segoe UI" pitchFamily="34" charset="0"/>
              </a:rPr>
              <a:t>Devices</a:t>
            </a:r>
          </a:p>
          <a:p>
            <a:pPr algn="ctr" defTabSz="914192">
              <a:defRPr/>
            </a:pPr>
            <a:r>
              <a:rPr lang="en-US" sz="1568" spc="-37" dirty="0">
                <a:gradFill>
                  <a:gsLst>
                    <a:gs pos="0">
                      <a:srgbClr val="505050">
                        <a:lumMod val="75000"/>
                      </a:srgbClr>
                    </a:gs>
                    <a:gs pos="100000">
                      <a:srgbClr val="505050">
                        <a:lumMod val="75000"/>
                      </a:srgbClr>
                    </a:gs>
                  </a:gsLst>
                  <a:lin ang="5400000" scaled="1"/>
                </a:gradFill>
                <a:latin typeface="Segoe Pro SemiLight" panose="020B0402040204020203" pitchFamily="34" charset="0"/>
                <a:ea typeface="Segoe UI" pitchFamily="34" charset="0"/>
                <a:cs typeface="Segoe UI" pitchFamily="34" charset="0"/>
              </a:rPr>
              <a:t>Linux, Android, iOS, RTOS, Windows</a:t>
            </a:r>
          </a:p>
        </p:txBody>
      </p:sp>
      <p:sp>
        <p:nvSpPr>
          <p:cNvPr id="23" name="Left-Right Arrow 22"/>
          <p:cNvSpPr/>
          <p:nvPr/>
        </p:nvSpPr>
        <p:spPr bwMode="auto">
          <a:xfrm>
            <a:off x="1600040" y="1869550"/>
            <a:ext cx="2894195"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0" name="Left-Right Arrow 29"/>
          <p:cNvSpPr/>
          <p:nvPr/>
        </p:nvSpPr>
        <p:spPr bwMode="auto">
          <a:xfrm>
            <a:off x="1593288" y="2980853"/>
            <a:ext cx="1560952"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1" name="Left-Right Arrow 30"/>
          <p:cNvSpPr/>
          <p:nvPr/>
        </p:nvSpPr>
        <p:spPr bwMode="auto">
          <a:xfrm>
            <a:off x="2750211" y="4869560"/>
            <a:ext cx="1744026"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2" name="Left-Right Arrow 31"/>
          <p:cNvSpPr/>
          <p:nvPr/>
        </p:nvSpPr>
        <p:spPr bwMode="auto">
          <a:xfrm>
            <a:off x="1462769" y="4869559"/>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3" name="Left-Right Arrow 32"/>
          <p:cNvSpPr/>
          <p:nvPr/>
        </p:nvSpPr>
        <p:spPr bwMode="auto">
          <a:xfrm>
            <a:off x="2731867" y="4114202"/>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4" name="Left-Right Arrow 33"/>
          <p:cNvSpPr/>
          <p:nvPr/>
        </p:nvSpPr>
        <p:spPr bwMode="auto">
          <a:xfrm>
            <a:off x="4068534" y="3509922"/>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5" name="Left-Right Arrow 34"/>
          <p:cNvSpPr/>
          <p:nvPr/>
        </p:nvSpPr>
        <p:spPr bwMode="auto">
          <a:xfrm>
            <a:off x="5392862" y="2141633"/>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6" name="Left-Right Arrow 35"/>
          <p:cNvSpPr/>
          <p:nvPr/>
        </p:nvSpPr>
        <p:spPr bwMode="auto">
          <a:xfrm>
            <a:off x="5408533" y="3685988"/>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7" name="Left-Right Arrow 36"/>
          <p:cNvSpPr/>
          <p:nvPr/>
        </p:nvSpPr>
        <p:spPr bwMode="auto">
          <a:xfrm>
            <a:off x="5392862" y="5299479"/>
            <a:ext cx="425703" cy="268927"/>
          </a:xfrm>
          <a:prstGeom prst="leftRightArrow">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24" name="Right Arrow 23"/>
          <p:cNvSpPr/>
          <p:nvPr/>
        </p:nvSpPr>
        <p:spPr bwMode="auto">
          <a:xfrm>
            <a:off x="9812113" y="2221684"/>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42" name="Right Arrow 41"/>
          <p:cNvSpPr/>
          <p:nvPr/>
        </p:nvSpPr>
        <p:spPr bwMode="auto">
          <a:xfrm>
            <a:off x="9802998" y="3753647"/>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43" name="Right Arrow 42"/>
          <p:cNvSpPr/>
          <p:nvPr/>
        </p:nvSpPr>
        <p:spPr bwMode="auto">
          <a:xfrm>
            <a:off x="9812113" y="5301701"/>
            <a:ext cx="367455" cy="268927"/>
          </a:xfrm>
          <a:prstGeom prst="rightArrow">
            <a:avLst>
              <a:gd name="adj1" fmla="val 50000"/>
              <a:gd name="adj2" fmla="val 37296"/>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
        <p:nvSpPr>
          <p:cNvPr id="39" name="Rectangle 38"/>
          <p:cNvSpPr/>
          <p:nvPr/>
        </p:nvSpPr>
        <p:spPr bwMode="auto">
          <a:xfrm>
            <a:off x="10279935" y="1636151"/>
            <a:ext cx="746915" cy="21439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44814" bIns="89630" numCol="1" spcCol="0" rtlCol="0" fromWordArt="0" anchor="ctr" anchorCtr="0" forceAA="0" compatLnSpc="1">
            <a:prstTxWarp prst="textNoShape">
              <a:avLst/>
            </a:prstTxWarp>
            <a:noAutofit/>
          </a:bodyPr>
          <a:lstStyle/>
          <a:p>
            <a:pPr algn="ctr" defTabSz="895919" fontAlgn="base">
              <a:spcBef>
                <a:spcPct val="0"/>
              </a:spcBef>
              <a:spcAft>
                <a:spcPct val="0"/>
              </a:spcAft>
              <a:defRPr/>
            </a:pPr>
            <a:r>
              <a:rPr lang="en-US" sz="1765" spc="-49" dirty="0">
                <a:gradFill>
                  <a:gsLst>
                    <a:gs pos="0">
                      <a:srgbClr val="FFFFFF"/>
                    </a:gs>
                    <a:gs pos="100000">
                      <a:srgbClr val="FFFFFF"/>
                    </a:gs>
                  </a:gsLst>
                  <a:lin ang="5400000" scaled="1"/>
                </a:gradFill>
                <a:latin typeface="Segoe Pro SemiLight" panose="020B0402040204020203" pitchFamily="34" charset="0"/>
                <a:ea typeface="Segoe UI" pitchFamily="34" charset="0"/>
                <a:cs typeface="Segoe UI" pitchFamily="34" charset="0"/>
              </a:rPr>
              <a:t>Visualizations</a:t>
            </a:r>
          </a:p>
        </p:txBody>
      </p:sp>
      <p:sp>
        <p:nvSpPr>
          <p:cNvPr id="5" name="Title 4"/>
          <p:cNvSpPr>
            <a:spLocks noGrp="1"/>
          </p:cNvSpPr>
          <p:nvPr>
            <p:ph type="title"/>
          </p:nvPr>
        </p:nvSpPr>
        <p:spPr/>
        <p:txBody>
          <a:bodyPr/>
          <a:lstStyle/>
          <a:p>
            <a:pPr lvl="0"/>
            <a:r>
              <a:rPr lang="en-US" smtClean="0"/>
              <a:t>IoT device       cloud patterns</a:t>
            </a:r>
            <a:endParaRPr lang="en-US" dirty="0"/>
          </a:p>
        </p:txBody>
      </p:sp>
      <p:sp>
        <p:nvSpPr>
          <p:cNvPr id="40" name="Left-Right Arrow 39"/>
          <p:cNvSpPr/>
          <p:nvPr/>
        </p:nvSpPr>
        <p:spPr bwMode="auto">
          <a:xfrm>
            <a:off x="3340529" y="580640"/>
            <a:ext cx="700686" cy="442641"/>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spc="-49" dirty="0" err="1">
              <a:solidFill>
                <a:prstClr val="black"/>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17015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500"/>
                                        <p:tgtEl>
                                          <p:spTgt spid="2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9"/>
                                        </p:tgtEl>
                                        <p:attrNameLst>
                                          <p:attrName>style.visibility</p:attrName>
                                        </p:attrNameLst>
                                      </p:cBhvr>
                                      <p:to>
                                        <p:strVal val="visible"/>
                                      </p:to>
                                    </p:set>
                                    <p:animEffect transition="in" filter="fade">
                                      <p:cBhvr>
                                        <p:cTn id="7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8" grpId="0" animBg="1"/>
      <p:bldP spid="19" grpId="0" animBg="1"/>
      <p:bldP spid="20" grpId="0" animBg="1"/>
      <p:bldP spid="21" grpId="0" animBg="1"/>
      <p:bldP spid="22" grpId="0" animBg="1"/>
      <p:bldP spid="23" grpId="0" animBg="1"/>
      <p:bldP spid="30" grpId="0" animBg="1"/>
      <p:bldP spid="31" grpId="0" animBg="1"/>
      <p:bldP spid="32" grpId="0" animBg="1"/>
      <p:bldP spid="33" grpId="0" animBg="1"/>
      <p:bldP spid="34" grpId="0" animBg="1"/>
      <p:bldP spid="35" grpId="0" animBg="1"/>
      <p:bldP spid="36" grpId="0" animBg="1"/>
      <p:bldP spid="37" grpId="0" animBg="1"/>
      <p:bldP spid="24" grpId="0" animBg="1"/>
      <p:bldP spid="42" grpId="0" animBg="1"/>
      <p:bldP spid="43" grpId="0" animBg="1"/>
      <p:bldP spid="3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00" y="806178"/>
            <a:ext cx="12207875" cy="6099175"/>
            <a:chOff x="6" y="483"/>
            <a:chExt cx="7690" cy="3842"/>
          </a:xfrm>
        </p:grpSpPr>
        <p:sp>
          <p:nvSpPr>
            <p:cNvPr id="22" name="AutoShape 3"/>
            <p:cNvSpPr>
              <a:spLocks noChangeAspect="1" noChangeArrowheads="1" noTextEdit="1"/>
            </p:cNvSpPr>
            <p:nvPr/>
          </p:nvSpPr>
          <p:spPr bwMode="auto">
            <a:xfrm>
              <a:off x="6" y="483"/>
              <a:ext cx="7690" cy="3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3" name="Group 205"/>
            <p:cNvGrpSpPr>
              <a:grpSpLocks/>
            </p:cNvGrpSpPr>
            <p:nvPr/>
          </p:nvGrpSpPr>
          <p:grpSpPr bwMode="auto">
            <a:xfrm>
              <a:off x="6" y="485"/>
              <a:ext cx="7688" cy="3842"/>
              <a:chOff x="6" y="485"/>
              <a:chExt cx="7688" cy="3842"/>
            </a:xfrm>
          </p:grpSpPr>
          <p:sp>
            <p:nvSpPr>
              <p:cNvPr id="338" name="Rectangle 5"/>
              <p:cNvSpPr>
                <a:spLocks noChangeArrowheads="1"/>
              </p:cNvSpPr>
              <p:nvPr/>
            </p:nvSpPr>
            <p:spPr bwMode="auto">
              <a:xfrm>
                <a:off x="6" y="485"/>
                <a:ext cx="7688" cy="3842"/>
              </a:xfrm>
              <a:prstGeom prst="rect">
                <a:avLst/>
              </a:prstGeom>
              <a:solidFill>
                <a:srgbClr val="64E2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9" name="Rectangle 6"/>
              <p:cNvSpPr>
                <a:spLocks noChangeArrowheads="1"/>
              </p:cNvSpPr>
              <p:nvPr/>
            </p:nvSpPr>
            <p:spPr bwMode="auto">
              <a:xfrm>
                <a:off x="6" y="3990"/>
                <a:ext cx="7688" cy="335"/>
              </a:xfrm>
              <a:prstGeom prst="rect">
                <a:avLst/>
              </a:prstGeom>
              <a:solidFill>
                <a:srgbClr val="4C9D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0" name="Freeform 7"/>
              <p:cNvSpPr>
                <a:spLocks/>
              </p:cNvSpPr>
              <p:nvPr/>
            </p:nvSpPr>
            <p:spPr bwMode="auto">
              <a:xfrm>
                <a:off x="1640" y="2634"/>
                <a:ext cx="613" cy="1376"/>
              </a:xfrm>
              <a:custGeom>
                <a:avLst/>
                <a:gdLst>
                  <a:gd name="T0" fmla="*/ 613 w 613"/>
                  <a:gd name="T1" fmla="*/ 1376 h 1376"/>
                  <a:gd name="T2" fmla="*/ 0 w 613"/>
                  <a:gd name="T3" fmla="*/ 1376 h 1376"/>
                  <a:gd name="T4" fmla="*/ 0 w 613"/>
                  <a:gd name="T5" fmla="*/ 0 h 1376"/>
                  <a:gd name="T6" fmla="*/ 613 w 613"/>
                  <a:gd name="T7" fmla="*/ 0 h 1376"/>
                  <a:gd name="T8" fmla="*/ 613 w 613"/>
                  <a:gd name="T9" fmla="*/ 1376 h 1376"/>
                  <a:gd name="T10" fmla="*/ 613 w 613"/>
                  <a:gd name="T11" fmla="*/ 1376 h 1376"/>
                </a:gdLst>
                <a:ahLst/>
                <a:cxnLst>
                  <a:cxn ang="0">
                    <a:pos x="T0" y="T1"/>
                  </a:cxn>
                  <a:cxn ang="0">
                    <a:pos x="T2" y="T3"/>
                  </a:cxn>
                  <a:cxn ang="0">
                    <a:pos x="T4" y="T5"/>
                  </a:cxn>
                  <a:cxn ang="0">
                    <a:pos x="T6" y="T7"/>
                  </a:cxn>
                  <a:cxn ang="0">
                    <a:pos x="T8" y="T9"/>
                  </a:cxn>
                  <a:cxn ang="0">
                    <a:pos x="T10" y="T11"/>
                  </a:cxn>
                </a:cxnLst>
                <a:rect l="0" t="0" r="r" b="b"/>
                <a:pathLst>
                  <a:path w="613" h="1376">
                    <a:moveTo>
                      <a:pt x="613" y="1376"/>
                    </a:moveTo>
                    <a:lnTo>
                      <a:pt x="0" y="1376"/>
                    </a:lnTo>
                    <a:lnTo>
                      <a:pt x="0" y="0"/>
                    </a:lnTo>
                    <a:lnTo>
                      <a:pt x="613" y="0"/>
                    </a:lnTo>
                    <a:lnTo>
                      <a:pt x="613" y="1376"/>
                    </a:lnTo>
                    <a:lnTo>
                      <a:pt x="613" y="137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1" name="Freeform 8"/>
              <p:cNvSpPr>
                <a:spLocks/>
              </p:cNvSpPr>
              <p:nvPr/>
            </p:nvSpPr>
            <p:spPr bwMode="auto">
              <a:xfrm>
                <a:off x="1886" y="2712"/>
                <a:ext cx="499" cy="1338"/>
              </a:xfrm>
              <a:custGeom>
                <a:avLst/>
                <a:gdLst>
                  <a:gd name="T0" fmla="*/ 499 w 499"/>
                  <a:gd name="T1" fmla="*/ 1338 h 1338"/>
                  <a:gd name="T2" fmla="*/ 0 w 499"/>
                  <a:gd name="T3" fmla="*/ 1338 h 1338"/>
                  <a:gd name="T4" fmla="*/ 0 w 499"/>
                  <a:gd name="T5" fmla="*/ 0 h 1338"/>
                  <a:gd name="T6" fmla="*/ 499 w 499"/>
                  <a:gd name="T7" fmla="*/ 0 h 1338"/>
                  <a:gd name="T8" fmla="*/ 499 w 499"/>
                  <a:gd name="T9" fmla="*/ 1338 h 1338"/>
                  <a:gd name="T10" fmla="*/ 499 w 499"/>
                  <a:gd name="T11" fmla="*/ 1338 h 1338"/>
                </a:gdLst>
                <a:ahLst/>
                <a:cxnLst>
                  <a:cxn ang="0">
                    <a:pos x="T0" y="T1"/>
                  </a:cxn>
                  <a:cxn ang="0">
                    <a:pos x="T2" y="T3"/>
                  </a:cxn>
                  <a:cxn ang="0">
                    <a:pos x="T4" y="T5"/>
                  </a:cxn>
                  <a:cxn ang="0">
                    <a:pos x="T6" y="T7"/>
                  </a:cxn>
                  <a:cxn ang="0">
                    <a:pos x="T8" y="T9"/>
                  </a:cxn>
                  <a:cxn ang="0">
                    <a:pos x="T10" y="T11"/>
                  </a:cxn>
                </a:cxnLst>
                <a:rect l="0" t="0" r="r" b="b"/>
                <a:pathLst>
                  <a:path w="499" h="1338">
                    <a:moveTo>
                      <a:pt x="499" y="1338"/>
                    </a:moveTo>
                    <a:lnTo>
                      <a:pt x="0" y="1338"/>
                    </a:lnTo>
                    <a:lnTo>
                      <a:pt x="0" y="0"/>
                    </a:lnTo>
                    <a:lnTo>
                      <a:pt x="499" y="0"/>
                    </a:lnTo>
                    <a:lnTo>
                      <a:pt x="499" y="1338"/>
                    </a:lnTo>
                    <a:lnTo>
                      <a:pt x="499" y="133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2" name="Freeform 9"/>
              <p:cNvSpPr>
                <a:spLocks/>
              </p:cNvSpPr>
              <p:nvPr/>
            </p:nvSpPr>
            <p:spPr bwMode="auto">
              <a:xfrm>
                <a:off x="212" y="2263"/>
                <a:ext cx="497" cy="1747"/>
              </a:xfrm>
              <a:custGeom>
                <a:avLst/>
                <a:gdLst>
                  <a:gd name="T0" fmla="*/ 497 w 497"/>
                  <a:gd name="T1" fmla="*/ 1747 h 1747"/>
                  <a:gd name="T2" fmla="*/ 0 w 497"/>
                  <a:gd name="T3" fmla="*/ 1747 h 1747"/>
                  <a:gd name="T4" fmla="*/ 0 w 497"/>
                  <a:gd name="T5" fmla="*/ 0 h 1747"/>
                  <a:gd name="T6" fmla="*/ 497 w 497"/>
                  <a:gd name="T7" fmla="*/ 0 h 1747"/>
                  <a:gd name="T8" fmla="*/ 497 w 497"/>
                  <a:gd name="T9" fmla="*/ 1747 h 1747"/>
                  <a:gd name="T10" fmla="*/ 497 w 497"/>
                  <a:gd name="T11" fmla="*/ 1747 h 1747"/>
                </a:gdLst>
                <a:ahLst/>
                <a:cxnLst>
                  <a:cxn ang="0">
                    <a:pos x="T0" y="T1"/>
                  </a:cxn>
                  <a:cxn ang="0">
                    <a:pos x="T2" y="T3"/>
                  </a:cxn>
                  <a:cxn ang="0">
                    <a:pos x="T4" y="T5"/>
                  </a:cxn>
                  <a:cxn ang="0">
                    <a:pos x="T6" y="T7"/>
                  </a:cxn>
                  <a:cxn ang="0">
                    <a:pos x="T8" y="T9"/>
                  </a:cxn>
                  <a:cxn ang="0">
                    <a:pos x="T10" y="T11"/>
                  </a:cxn>
                </a:cxnLst>
                <a:rect l="0" t="0" r="r" b="b"/>
                <a:pathLst>
                  <a:path w="497" h="1747">
                    <a:moveTo>
                      <a:pt x="497" y="1747"/>
                    </a:moveTo>
                    <a:lnTo>
                      <a:pt x="0" y="1747"/>
                    </a:lnTo>
                    <a:lnTo>
                      <a:pt x="0" y="0"/>
                    </a:lnTo>
                    <a:lnTo>
                      <a:pt x="497" y="0"/>
                    </a:lnTo>
                    <a:lnTo>
                      <a:pt x="497" y="1747"/>
                    </a:lnTo>
                    <a:lnTo>
                      <a:pt x="497" y="1747"/>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3" name="Freeform 10"/>
              <p:cNvSpPr>
                <a:spLocks/>
              </p:cNvSpPr>
              <p:nvPr/>
            </p:nvSpPr>
            <p:spPr bwMode="auto">
              <a:xfrm>
                <a:off x="376" y="2459"/>
                <a:ext cx="613" cy="1614"/>
              </a:xfrm>
              <a:custGeom>
                <a:avLst/>
                <a:gdLst>
                  <a:gd name="T0" fmla="*/ 613 w 613"/>
                  <a:gd name="T1" fmla="*/ 1614 h 1614"/>
                  <a:gd name="T2" fmla="*/ 0 w 613"/>
                  <a:gd name="T3" fmla="*/ 1614 h 1614"/>
                  <a:gd name="T4" fmla="*/ 0 w 613"/>
                  <a:gd name="T5" fmla="*/ 0 h 1614"/>
                  <a:gd name="T6" fmla="*/ 613 w 613"/>
                  <a:gd name="T7" fmla="*/ 0 h 1614"/>
                  <a:gd name="T8" fmla="*/ 613 w 613"/>
                  <a:gd name="T9" fmla="*/ 1614 h 1614"/>
                  <a:gd name="T10" fmla="*/ 613 w 613"/>
                  <a:gd name="T11" fmla="*/ 1614 h 1614"/>
                </a:gdLst>
                <a:ahLst/>
                <a:cxnLst>
                  <a:cxn ang="0">
                    <a:pos x="T0" y="T1"/>
                  </a:cxn>
                  <a:cxn ang="0">
                    <a:pos x="T2" y="T3"/>
                  </a:cxn>
                  <a:cxn ang="0">
                    <a:pos x="T4" y="T5"/>
                  </a:cxn>
                  <a:cxn ang="0">
                    <a:pos x="T6" y="T7"/>
                  </a:cxn>
                  <a:cxn ang="0">
                    <a:pos x="T8" y="T9"/>
                  </a:cxn>
                  <a:cxn ang="0">
                    <a:pos x="T10" y="T11"/>
                  </a:cxn>
                </a:cxnLst>
                <a:rect l="0" t="0" r="r" b="b"/>
                <a:pathLst>
                  <a:path w="613" h="1614">
                    <a:moveTo>
                      <a:pt x="613" y="1614"/>
                    </a:moveTo>
                    <a:lnTo>
                      <a:pt x="0" y="1614"/>
                    </a:lnTo>
                    <a:lnTo>
                      <a:pt x="0" y="0"/>
                    </a:lnTo>
                    <a:lnTo>
                      <a:pt x="613" y="0"/>
                    </a:lnTo>
                    <a:lnTo>
                      <a:pt x="613" y="1614"/>
                    </a:lnTo>
                    <a:lnTo>
                      <a:pt x="613" y="16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4" name="Freeform 11"/>
              <p:cNvSpPr>
                <a:spLocks/>
              </p:cNvSpPr>
              <p:nvPr/>
            </p:nvSpPr>
            <p:spPr bwMode="auto">
              <a:xfrm>
                <a:off x="346" y="3080"/>
                <a:ext cx="1931" cy="995"/>
              </a:xfrm>
              <a:custGeom>
                <a:avLst/>
                <a:gdLst>
                  <a:gd name="T0" fmla="*/ 0 w 1931"/>
                  <a:gd name="T1" fmla="*/ 995 h 995"/>
                  <a:gd name="T2" fmla="*/ 1931 w 1931"/>
                  <a:gd name="T3" fmla="*/ 995 h 995"/>
                  <a:gd name="T4" fmla="*/ 1931 w 1931"/>
                  <a:gd name="T5" fmla="*/ 0 h 995"/>
                  <a:gd name="T6" fmla="*/ 0 w 1931"/>
                  <a:gd name="T7" fmla="*/ 0 h 995"/>
                  <a:gd name="T8" fmla="*/ 0 w 1931"/>
                  <a:gd name="T9" fmla="*/ 995 h 995"/>
                  <a:gd name="T10" fmla="*/ 0 w 1931"/>
                  <a:gd name="T11" fmla="*/ 995 h 995"/>
                </a:gdLst>
                <a:ahLst/>
                <a:cxnLst>
                  <a:cxn ang="0">
                    <a:pos x="T0" y="T1"/>
                  </a:cxn>
                  <a:cxn ang="0">
                    <a:pos x="T2" y="T3"/>
                  </a:cxn>
                  <a:cxn ang="0">
                    <a:pos x="T4" y="T5"/>
                  </a:cxn>
                  <a:cxn ang="0">
                    <a:pos x="T6" y="T7"/>
                  </a:cxn>
                  <a:cxn ang="0">
                    <a:pos x="T8" y="T9"/>
                  </a:cxn>
                  <a:cxn ang="0">
                    <a:pos x="T10" y="T11"/>
                  </a:cxn>
                </a:cxnLst>
                <a:rect l="0" t="0" r="r" b="b"/>
                <a:pathLst>
                  <a:path w="1931" h="995">
                    <a:moveTo>
                      <a:pt x="0" y="995"/>
                    </a:moveTo>
                    <a:lnTo>
                      <a:pt x="1931" y="995"/>
                    </a:lnTo>
                    <a:lnTo>
                      <a:pt x="1931" y="0"/>
                    </a:lnTo>
                    <a:lnTo>
                      <a:pt x="0" y="0"/>
                    </a:lnTo>
                    <a:lnTo>
                      <a:pt x="0" y="995"/>
                    </a:lnTo>
                    <a:lnTo>
                      <a:pt x="0" y="9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5" name="Freeform 12"/>
              <p:cNvSpPr>
                <a:spLocks/>
              </p:cNvSpPr>
              <p:nvPr/>
            </p:nvSpPr>
            <p:spPr bwMode="auto">
              <a:xfrm>
                <a:off x="318" y="3048"/>
                <a:ext cx="1985" cy="32"/>
              </a:xfrm>
              <a:custGeom>
                <a:avLst/>
                <a:gdLst>
                  <a:gd name="T0" fmla="*/ 0 w 1985"/>
                  <a:gd name="T1" fmla="*/ 32 h 32"/>
                  <a:gd name="T2" fmla="*/ 1985 w 1985"/>
                  <a:gd name="T3" fmla="*/ 32 h 32"/>
                  <a:gd name="T4" fmla="*/ 1985 w 1985"/>
                  <a:gd name="T5" fmla="*/ 0 h 32"/>
                  <a:gd name="T6" fmla="*/ 0 w 1985"/>
                  <a:gd name="T7" fmla="*/ 0 h 32"/>
                  <a:gd name="T8" fmla="*/ 0 w 1985"/>
                  <a:gd name="T9" fmla="*/ 32 h 32"/>
                  <a:gd name="T10" fmla="*/ 0 w 1985"/>
                  <a:gd name="T11" fmla="*/ 32 h 32"/>
                </a:gdLst>
                <a:ahLst/>
                <a:cxnLst>
                  <a:cxn ang="0">
                    <a:pos x="T0" y="T1"/>
                  </a:cxn>
                  <a:cxn ang="0">
                    <a:pos x="T2" y="T3"/>
                  </a:cxn>
                  <a:cxn ang="0">
                    <a:pos x="T4" y="T5"/>
                  </a:cxn>
                  <a:cxn ang="0">
                    <a:pos x="T6" y="T7"/>
                  </a:cxn>
                  <a:cxn ang="0">
                    <a:pos x="T8" y="T9"/>
                  </a:cxn>
                  <a:cxn ang="0">
                    <a:pos x="T10" y="T11"/>
                  </a:cxn>
                </a:cxnLst>
                <a:rect l="0" t="0" r="r" b="b"/>
                <a:pathLst>
                  <a:path w="1985" h="32">
                    <a:moveTo>
                      <a:pt x="0" y="32"/>
                    </a:moveTo>
                    <a:lnTo>
                      <a:pt x="1985" y="32"/>
                    </a:lnTo>
                    <a:lnTo>
                      <a:pt x="1985" y="0"/>
                    </a:lnTo>
                    <a:lnTo>
                      <a:pt x="0" y="0"/>
                    </a:lnTo>
                    <a:lnTo>
                      <a:pt x="0" y="32"/>
                    </a:lnTo>
                    <a:lnTo>
                      <a:pt x="0"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6" name="Freeform 13"/>
              <p:cNvSpPr>
                <a:spLocks/>
              </p:cNvSpPr>
              <p:nvPr/>
            </p:nvSpPr>
            <p:spPr bwMode="auto">
              <a:xfrm>
                <a:off x="407"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7" name="Freeform 14"/>
              <p:cNvSpPr>
                <a:spLocks/>
              </p:cNvSpPr>
              <p:nvPr/>
            </p:nvSpPr>
            <p:spPr bwMode="auto">
              <a:xfrm>
                <a:off x="407"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8" name="Freeform 15"/>
              <p:cNvSpPr>
                <a:spLocks/>
              </p:cNvSpPr>
              <p:nvPr/>
            </p:nvSpPr>
            <p:spPr bwMode="auto">
              <a:xfrm>
                <a:off x="407"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9" name="Freeform 16"/>
              <p:cNvSpPr>
                <a:spLocks/>
              </p:cNvSpPr>
              <p:nvPr/>
            </p:nvSpPr>
            <p:spPr bwMode="auto">
              <a:xfrm>
                <a:off x="465"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0" name="Freeform 17"/>
              <p:cNvSpPr>
                <a:spLocks/>
              </p:cNvSpPr>
              <p:nvPr/>
            </p:nvSpPr>
            <p:spPr bwMode="auto">
              <a:xfrm>
                <a:off x="465"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1" name="Freeform 18"/>
              <p:cNvSpPr>
                <a:spLocks/>
              </p:cNvSpPr>
              <p:nvPr/>
            </p:nvSpPr>
            <p:spPr bwMode="auto">
              <a:xfrm>
                <a:off x="465"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2" name="Freeform 19"/>
              <p:cNvSpPr>
                <a:spLocks/>
              </p:cNvSpPr>
              <p:nvPr/>
            </p:nvSpPr>
            <p:spPr bwMode="auto">
              <a:xfrm>
                <a:off x="607"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3" name="Freeform 20"/>
              <p:cNvSpPr>
                <a:spLocks/>
              </p:cNvSpPr>
              <p:nvPr/>
            </p:nvSpPr>
            <p:spPr bwMode="auto">
              <a:xfrm>
                <a:off x="551"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4" name="Freeform 21"/>
              <p:cNvSpPr>
                <a:spLocks/>
              </p:cNvSpPr>
              <p:nvPr/>
            </p:nvSpPr>
            <p:spPr bwMode="auto">
              <a:xfrm>
                <a:off x="607"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5" name="Freeform 22"/>
              <p:cNvSpPr>
                <a:spLocks/>
              </p:cNvSpPr>
              <p:nvPr/>
            </p:nvSpPr>
            <p:spPr bwMode="auto">
              <a:xfrm>
                <a:off x="551"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6" name="Freeform 23"/>
              <p:cNvSpPr>
                <a:spLocks/>
              </p:cNvSpPr>
              <p:nvPr/>
            </p:nvSpPr>
            <p:spPr bwMode="auto">
              <a:xfrm>
                <a:off x="607"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7" name="Freeform 24"/>
              <p:cNvSpPr>
                <a:spLocks/>
              </p:cNvSpPr>
              <p:nvPr/>
            </p:nvSpPr>
            <p:spPr bwMode="auto">
              <a:xfrm>
                <a:off x="551"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8" name="Freeform 25"/>
              <p:cNvSpPr>
                <a:spLocks/>
              </p:cNvSpPr>
              <p:nvPr/>
            </p:nvSpPr>
            <p:spPr bwMode="auto">
              <a:xfrm>
                <a:off x="751" y="3207"/>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9" name="Freeform 26"/>
              <p:cNvSpPr>
                <a:spLocks/>
              </p:cNvSpPr>
              <p:nvPr/>
            </p:nvSpPr>
            <p:spPr bwMode="auto">
              <a:xfrm>
                <a:off x="751" y="3261"/>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0" name="Freeform 27"/>
              <p:cNvSpPr>
                <a:spLocks/>
              </p:cNvSpPr>
              <p:nvPr/>
            </p:nvSpPr>
            <p:spPr bwMode="auto">
              <a:xfrm>
                <a:off x="751" y="314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1" name="Freeform 28"/>
              <p:cNvSpPr>
                <a:spLocks/>
              </p:cNvSpPr>
              <p:nvPr/>
            </p:nvSpPr>
            <p:spPr bwMode="auto">
              <a:xfrm>
                <a:off x="693"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2" name="Freeform 29"/>
              <p:cNvSpPr>
                <a:spLocks/>
              </p:cNvSpPr>
              <p:nvPr/>
            </p:nvSpPr>
            <p:spPr bwMode="auto">
              <a:xfrm>
                <a:off x="693"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3" name="Freeform 30"/>
              <p:cNvSpPr>
                <a:spLocks/>
              </p:cNvSpPr>
              <p:nvPr/>
            </p:nvSpPr>
            <p:spPr bwMode="auto">
              <a:xfrm>
                <a:off x="693"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4" name="Freeform 31"/>
              <p:cNvSpPr>
                <a:spLocks/>
              </p:cNvSpPr>
              <p:nvPr/>
            </p:nvSpPr>
            <p:spPr bwMode="auto">
              <a:xfrm>
                <a:off x="893"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5" name="Freeform 32"/>
              <p:cNvSpPr>
                <a:spLocks/>
              </p:cNvSpPr>
              <p:nvPr/>
            </p:nvSpPr>
            <p:spPr bwMode="auto">
              <a:xfrm>
                <a:off x="837"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6" name="Freeform 33"/>
              <p:cNvSpPr>
                <a:spLocks/>
              </p:cNvSpPr>
              <p:nvPr/>
            </p:nvSpPr>
            <p:spPr bwMode="auto">
              <a:xfrm>
                <a:off x="893" y="3147"/>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7" name="Freeform 34"/>
              <p:cNvSpPr>
                <a:spLocks/>
              </p:cNvSpPr>
              <p:nvPr/>
            </p:nvSpPr>
            <p:spPr bwMode="auto">
              <a:xfrm>
                <a:off x="893"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8" name="Freeform 35"/>
              <p:cNvSpPr>
                <a:spLocks/>
              </p:cNvSpPr>
              <p:nvPr/>
            </p:nvSpPr>
            <p:spPr bwMode="auto">
              <a:xfrm>
                <a:off x="837"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9" name="Freeform 36"/>
              <p:cNvSpPr>
                <a:spLocks/>
              </p:cNvSpPr>
              <p:nvPr/>
            </p:nvSpPr>
            <p:spPr bwMode="auto">
              <a:xfrm>
                <a:off x="837"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0" name="Freeform 37"/>
              <p:cNvSpPr>
                <a:spLocks/>
              </p:cNvSpPr>
              <p:nvPr/>
            </p:nvSpPr>
            <p:spPr bwMode="auto">
              <a:xfrm>
                <a:off x="407"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1" name="Freeform 38"/>
              <p:cNvSpPr>
                <a:spLocks/>
              </p:cNvSpPr>
              <p:nvPr/>
            </p:nvSpPr>
            <p:spPr bwMode="auto">
              <a:xfrm>
                <a:off x="407"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2" name="Freeform 39"/>
              <p:cNvSpPr>
                <a:spLocks/>
              </p:cNvSpPr>
              <p:nvPr/>
            </p:nvSpPr>
            <p:spPr bwMode="auto">
              <a:xfrm>
                <a:off x="407"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3" name="Freeform 40"/>
              <p:cNvSpPr>
                <a:spLocks/>
              </p:cNvSpPr>
              <p:nvPr/>
            </p:nvSpPr>
            <p:spPr bwMode="auto">
              <a:xfrm>
                <a:off x="465"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4" name="Freeform 41"/>
              <p:cNvSpPr>
                <a:spLocks/>
              </p:cNvSpPr>
              <p:nvPr/>
            </p:nvSpPr>
            <p:spPr bwMode="auto">
              <a:xfrm>
                <a:off x="465"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5" name="Freeform 42"/>
              <p:cNvSpPr>
                <a:spLocks/>
              </p:cNvSpPr>
              <p:nvPr/>
            </p:nvSpPr>
            <p:spPr bwMode="auto">
              <a:xfrm>
                <a:off x="465"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6" name="Freeform 43"/>
              <p:cNvSpPr>
                <a:spLocks/>
              </p:cNvSpPr>
              <p:nvPr/>
            </p:nvSpPr>
            <p:spPr bwMode="auto">
              <a:xfrm>
                <a:off x="607"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7" name="Freeform 44"/>
              <p:cNvSpPr>
                <a:spLocks/>
              </p:cNvSpPr>
              <p:nvPr/>
            </p:nvSpPr>
            <p:spPr bwMode="auto">
              <a:xfrm>
                <a:off x="551"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8" name="Freeform 45"/>
              <p:cNvSpPr>
                <a:spLocks/>
              </p:cNvSpPr>
              <p:nvPr/>
            </p:nvSpPr>
            <p:spPr bwMode="auto">
              <a:xfrm>
                <a:off x="607"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9" name="Freeform 46"/>
              <p:cNvSpPr>
                <a:spLocks/>
              </p:cNvSpPr>
              <p:nvPr/>
            </p:nvSpPr>
            <p:spPr bwMode="auto">
              <a:xfrm>
                <a:off x="551"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0" name="Freeform 47"/>
              <p:cNvSpPr>
                <a:spLocks/>
              </p:cNvSpPr>
              <p:nvPr/>
            </p:nvSpPr>
            <p:spPr bwMode="auto">
              <a:xfrm>
                <a:off x="607"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1" name="Freeform 48"/>
              <p:cNvSpPr>
                <a:spLocks/>
              </p:cNvSpPr>
              <p:nvPr/>
            </p:nvSpPr>
            <p:spPr bwMode="auto">
              <a:xfrm>
                <a:off x="551"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2" name="Freeform 49"/>
              <p:cNvSpPr>
                <a:spLocks/>
              </p:cNvSpPr>
              <p:nvPr/>
            </p:nvSpPr>
            <p:spPr bwMode="auto">
              <a:xfrm>
                <a:off x="751" y="3443"/>
                <a:ext cx="46" cy="42"/>
              </a:xfrm>
              <a:custGeom>
                <a:avLst/>
                <a:gdLst>
                  <a:gd name="T0" fmla="*/ 0 w 46"/>
                  <a:gd name="T1" fmla="*/ 42 h 42"/>
                  <a:gd name="T2" fmla="*/ 46 w 46"/>
                  <a:gd name="T3" fmla="*/ 42 h 42"/>
                  <a:gd name="T4" fmla="*/ 46 w 46"/>
                  <a:gd name="T5" fmla="*/ 0 h 42"/>
                  <a:gd name="T6" fmla="*/ 0 w 46"/>
                  <a:gd name="T7" fmla="*/ 0 h 42"/>
                  <a:gd name="T8" fmla="*/ 0 w 46"/>
                  <a:gd name="T9" fmla="*/ 42 h 42"/>
                  <a:gd name="T10" fmla="*/ 0 w 46"/>
                  <a:gd name="T11" fmla="*/ 42 h 42"/>
                </a:gdLst>
                <a:ahLst/>
                <a:cxnLst>
                  <a:cxn ang="0">
                    <a:pos x="T0" y="T1"/>
                  </a:cxn>
                  <a:cxn ang="0">
                    <a:pos x="T2" y="T3"/>
                  </a:cxn>
                  <a:cxn ang="0">
                    <a:pos x="T4" y="T5"/>
                  </a:cxn>
                  <a:cxn ang="0">
                    <a:pos x="T6" y="T7"/>
                  </a:cxn>
                  <a:cxn ang="0">
                    <a:pos x="T8" y="T9"/>
                  </a:cxn>
                  <a:cxn ang="0">
                    <a:pos x="T10" y="T11"/>
                  </a:cxn>
                </a:cxnLst>
                <a:rect l="0" t="0" r="r" b="b"/>
                <a:pathLst>
                  <a:path w="46" h="42">
                    <a:moveTo>
                      <a:pt x="0" y="42"/>
                    </a:moveTo>
                    <a:lnTo>
                      <a:pt x="46" y="42"/>
                    </a:lnTo>
                    <a:lnTo>
                      <a:pt x="46"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3" name="Freeform 50"/>
              <p:cNvSpPr>
                <a:spLocks/>
              </p:cNvSpPr>
              <p:nvPr/>
            </p:nvSpPr>
            <p:spPr bwMode="auto">
              <a:xfrm>
                <a:off x="751" y="3497"/>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4" name="Freeform 51"/>
              <p:cNvSpPr>
                <a:spLocks/>
              </p:cNvSpPr>
              <p:nvPr/>
            </p:nvSpPr>
            <p:spPr bwMode="auto">
              <a:xfrm>
                <a:off x="751" y="3385"/>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5" name="Freeform 52"/>
              <p:cNvSpPr>
                <a:spLocks/>
              </p:cNvSpPr>
              <p:nvPr/>
            </p:nvSpPr>
            <p:spPr bwMode="auto">
              <a:xfrm>
                <a:off x="693"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6" name="Freeform 53"/>
              <p:cNvSpPr>
                <a:spLocks/>
              </p:cNvSpPr>
              <p:nvPr/>
            </p:nvSpPr>
            <p:spPr bwMode="auto">
              <a:xfrm>
                <a:off x="693"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7" name="Freeform 54"/>
              <p:cNvSpPr>
                <a:spLocks/>
              </p:cNvSpPr>
              <p:nvPr/>
            </p:nvSpPr>
            <p:spPr bwMode="auto">
              <a:xfrm>
                <a:off x="693"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8" name="Freeform 55"/>
              <p:cNvSpPr>
                <a:spLocks/>
              </p:cNvSpPr>
              <p:nvPr/>
            </p:nvSpPr>
            <p:spPr bwMode="auto">
              <a:xfrm>
                <a:off x="893"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9" name="Freeform 56"/>
              <p:cNvSpPr>
                <a:spLocks/>
              </p:cNvSpPr>
              <p:nvPr/>
            </p:nvSpPr>
            <p:spPr bwMode="auto">
              <a:xfrm>
                <a:off x="837"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0" name="Freeform 57"/>
              <p:cNvSpPr>
                <a:spLocks/>
              </p:cNvSpPr>
              <p:nvPr/>
            </p:nvSpPr>
            <p:spPr bwMode="auto">
              <a:xfrm>
                <a:off x="893" y="3385"/>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1" name="Freeform 58"/>
              <p:cNvSpPr>
                <a:spLocks/>
              </p:cNvSpPr>
              <p:nvPr/>
            </p:nvSpPr>
            <p:spPr bwMode="auto">
              <a:xfrm>
                <a:off x="893"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2" name="Freeform 59"/>
              <p:cNvSpPr>
                <a:spLocks/>
              </p:cNvSpPr>
              <p:nvPr/>
            </p:nvSpPr>
            <p:spPr bwMode="auto">
              <a:xfrm>
                <a:off x="837"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3" name="Freeform 60"/>
              <p:cNvSpPr>
                <a:spLocks/>
              </p:cNvSpPr>
              <p:nvPr/>
            </p:nvSpPr>
            <p:spPr bwMode="auto">
              <a:xfrm>
                <a:off x="837"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4" name="Freeform 61"/>
              <p:cNvSpPr>
                <a:spLocks/>
              </p:cNvSpPr>
              <p:nvPr/>
            </p:nvSpPr>
            <p:spPr bwMode="auto">
              <a:xfrm>
                <a:off x="407"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5" name="Freeform 62"/>
              <p:cNvSpPr>
                <a:spLocks/>
              </p:cNvSpPr>
              <p:nvPr/>
            </p:nvSpPr>
            <p:spPr bwMode="auto">
              <a:xfrm>
                <a:off x="407"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6" name="Freeform 63"/>
              <p:cNvSpPr>
                <a:spLocks/>
              </p:cNvSpPr>
              <p:nvPr/>
            </p:nvSpPr>
            <p:spPr bwMode="auto">
              <a:xfrm>
                <a:off x="407"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7" name="Freeform 64"/>
              <p:cNvSpPr>
                <a:spLocks/>
              </p:cNvSpPr>
              <p:nvPr/>
            </p:nvSpPr>
            <p:spPr bwMode="auto">
              <a:xfrm>
                <a:off x="465"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8" name="Freeform 65"/>
              <p:cNvSpPr>
                <a:spLocks/>
              </p:cNvSpPr>
              <p:nvPr/>
            </p:nvSpPr>
            <p:spPr bwMode="auto">
              <a:xfrm>
                <a:off x="465"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9" name="Freeform 66"/>
              <p:cNvSpPr>
                <a:spLocks/>
              </p:cNvSpPr>
              <p:nvPr/>
            </p:nvSpPr>
            <p:spPr bwMode="auto">
              <a:xfrm>
                <a:off x="465"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0" name="Freeform 67"/>
              <p:cNvSpPr>
                <a:spLocks/>
              </p:cNvSpPr>
              <p:nvPr/>
            </p:nvSpPr>
            <p:spPr bwMode="auto">
              <a:xfrm>
                <a:off x="607"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1" name="Freeform 68"/>
              <p:cNvSpPr>
                <a:spLocks/>
              </p:cNvSpPr>
              <p:nvPr/>
            </p:nvSpPr>
            <p:spPr bwMode="auto">
              <a:xfrm>
                <a:off x="551"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2" name="Freeform 69"/>
              <p:cNvSpPr>
                <a:spLocks/>
              </p:cNvSpPr>
              <p:nvPr/>
            </p:nvSpPr>
            <p:spPr bwMode="auto">
              <a:xfrm>
                <a:off x="607"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3" name="Freeform 70"/>
              <p:cNvSpPr>
                <a:spLocks/>
              </p:cNvSpPr>
              <p:nvPr/>
            </p:nvSpPr>
            <p:spPr bwMode="auto">
              <a:xfrm>
                <a:off x="551"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4" name="Freeform 71"/>
              <p:cNvSpPr>
                <a:spLocks/>
              </p:cNvSpPr>
              <p:nvPr/>
            </p:nvSpPr>
            <p:spPr bwMode="auto">
              <a:xfrm>
                <a:off x="607"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5" name="Freeform 72"/>
              <p:cNvSpPr>
                <a:spLocks/>
              </p:cNvSpPr>
              <p:nvPr/>
            </p:nvSpPr>
            <p:spPr bwMode="auto">
              <a:xfrm>
                <a:off x="551"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6" name="Freeform 73"/>
              <p:cNvSpPr>
                <a:spLocks/>
              </p:cNvSpPr>
              <p:nvPr/>
            </p:nvSpPr>
            <p:spPr bwMode="auto">
              <a:xfrm>
                <a:off x="751" y="3682"/>
                <a:ext cx="46" cy="40"/>
              </a:xfrm>
              <a:custGeom>
                <a:avLst/>
                <a:gdLst>
                  <a:gd name="T0" fmla="*/ 0 w 46"/>
                  <a:gd name="T1" fmla="*/ 40 h 40"/>
                  <a:gd name="T2" fmla="*/ 46 w 46"/>
                  <a:gd name="T3" fmla="*/ 40 h 40"/>
                  <a:gd name="T4" fmla="*/ 46 w 46"/>
                  <a:gd name="T5" fmla="*/ 0 h 40"/>
                  <a:gd name="T6" fmla="*/ 0 w 46"/>
                  <a:gd name="T7" fmla="*/ 0 h 40"/>
                  <a:gd name="T8" fmla="*/ 0 w 46"/>
                  <a:gd name="T9" fmla="*/ 40 h 40"/>
                  <a:gd name="T10" fmla="*/ 0 w 46"/>
                  <a:gd name="T11" fmla="*/ 40 h 40"/>
                </a:gdLst>
                <a:ahLst/>
                <a:cxnLst>
                  <a:cxn ang="0">
                    <a:pos x="T0" y="T1"/>
                  </a:cxn>
                  <a:cxn ang="0">
                    <a:pos x="T2" y="T3"/>
                  </a:cxn>
                  <a:cxn ang="0">
                    <a:pos x="T4" y="T5"/>
                  </a:cxn>
                  <a:cxn ang="0">
                    <a:pos x="T6" y="T7"/>
                  </a:cxn>
                  <a:cxn ang="0">
                    <a:pos x="T8" y="T9"/>
                  </a:cxn>
                  <a:cxn ang="0">
                    <a:pos x="T10" y="T11"/>
                  </a:cxn>
                </a:cxnLst>
                <a:rect l="0" t="0" r="r" b="b"/>
                <a:pathLst>
                  <a:path w="46" h="40">
                    <a:moveTo>
                      <a:pt x="0" y="40"/>
                    </a:moveTo>
                    <a:lnTo>
                      <a:pt x="46" y="40"/>
                    </a:lnTo>
                    <a:lnTo>
                      <a:pt x="46"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7" name="Freeform 74"/>
              <p:cNvSpPr>
                <a:spLocks/>
              </p:cNvSpPr>
              <p:nvPr/>
            </p:nvSpPr>
            <p:spPr bwMode="auto">
              <a:xfrm>
                <a:off x="751" y="3734"/>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8" name="Freeform 75"/>
              <p:cNvSpPr>
                <a:spLocks/>
              </p:cNvSpPr>
              <p:nvPr/>
            </p:nvSpPr>
            <p:spPr bwMode="auto">
              <a:xfrm>
                <a:off x="751" y="3622"/>
                <a:ext cx="46" cy="48"/>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Lst>
                <a:ahLst/>
                <a:cxnLst>
                  <a:cxn ang="0">
                    <a:pos x="T0" y="T1"/>
                  </a:cxn>
                  <a:cxn ang="0">
                    <a:pos x="T2" y="T3"/>
                  </a:cxn>
                  <a:cxn ang="0">
                    <a:pos x="T4" y="T5"/>
                  </a:cxn>
                  <a:cxn ang="0">
                    <a:pos x="T6" y="T7"/>
                  </a:cxn>
                  <a:cxn ang="0">
                    <a:pos x="T8" y="T9"/>
                  </a:cxn>
                  <a:cxn ang="0">
                    <a:pos x="T10" y="T11"/>
                  </a:cxn>
                </a:cxnLst>
                <a:rect l="0" t="0" r="r" b="b"/>
                <a:pathLst>
                  <a:path w="46" h="48">
                    <a:moveTo>
                      <a:pt x="0" y="48"/>
                    </a:moveTo>
                    <a:lnTo>
                      <a:pt x="46" y="48"/>
                    </a:lnTo>
                    <a:lnTo>
                      <a:pt x="46"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9" name="Freeform 76"/>
              <p:cNvSpPr>
                <a:spLocks/>
              </p:cNvSpPr>
              <p:nvPr/>
            </p:nvSpPr>
            <p:spPr bwMode="auto">
              <a:xfrm>
                <a:off x="693"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0" name="Freeform 77"/>
              <p:cNvSpPr>
                <a:spLocks/>
              </p:cNvSpPr>
              <p:nvPr/>
            </p:nvSpPr>
            <p:spPr bwMode="auto">
              <a:xfrm>
                <a:off x="693"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1" name="Freeform 78"/>
              <p:cNvSpPr>
                <a:spLocks/>
              </p:cNvSpPr>
              <p:nvPr/>
            </p:nvSpPr>
            <p:spPr bwMode="auto">
              <a:xfrm>
                <a:off x="693"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2" name="Freeform 79"/>
              <p:cNvSpPr>
                <a:spLocks/>
              </p:cNvSpPr>
              <p:nvPr/>
            </p:nvSpPr>
            <p:spPr bwMode="auto">
              <a:xfrm>
                <a:off x="893"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3" name="Freeform 80"/>
              <p:cNvSpPr>
                <a:spLocks/>
              </p:cNvSpPr>
              <p:nvPr/>
            </p:nvSpPr>
            <p:spPr bwMode="auto">
              <a:xfrm>
                <a:off x="837"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4" name="Freeform 81"/>
              <p:cNvSpPr>
                <a:spLocks/>
              </p:cNvSpPr>
              <p:nvPr/>
            </p:nvSpPr>
            <p:spPr bwMode="auto">
              <a:xfrm>
                <a:off x="893" y="3622"/>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5" name="Freeform 82"/>
              <p:cNvSpPr>
                <a:spLocks/>
              </p:cNvSpPr>
              <p:nvPr/>
            </p:nvSpPr>
            <p:spPr bwMode="auto">
              <a:xfrm>
                <a:off x="893"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6" name="Freeform 83"/>
              <p:cNvSpPr>
                <a:spLocks/>
              </p:cNvSpPr>
              <p:nvPr/>
            </p:nvSpPr>
            <p:spPr bwMode="auto">
              <a:xfrm>
                <a:off x="837"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7" name="Freeform 84"/>
              <p:cNvSpPr>
                <a:spLocks/>
              </p:cNvSpPr>
              <p:nvPr/>
            </p:nvSpPr>
            <p:spPr bwMode="auto">
              <a:xfrm>
                <a:off x="837"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8" name="Freeform 85"/>
              <p:cNvSpPr>
                <a:spLocks/>
              </p:cNvSpPr>
              <p:nvPr/>
            </p:nvSpPr>
            <p:spPr bwMode="auto">
              <a:xfrm>
                <a:off x="1688"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9" name="Freeform 86"/>
              <p:cNvSpPr>
                <a:spLocks/>
              </p:cNvSpPr>
              <p:nvPr/>
            </p:nvSpPr>
            <p:spPr bwMode="auto">
              <a:xfrm>
                <a:off x="1688"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0" name="Freeform 87"/>
              <p:cNvSpPr>
                <a:spLocks/>
              </p:cNvSpPr>
              <p:nvPr/>
            </p:nvSpPr>
            <p:spPr bwMode="auto">
              <a:xfrm>
                <a:off x="1688"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1" name="Freeform 88"/>
              <p:cNvSpPr>
                <a:spLocks/>
              </p:cNvSpPr>
              <p:nvPr/>
            </p:nvSpPr>
            <p:spPr bwMode="auto">
              <a:xfrm>
                <a:off x="1746" y="3261"/>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2" name="Freeform 89"/>
              <p:cNvSpPr>
                <a:spLocks/>
              </p:cNvSpPr>
              <p:nvPr/>
            </p:nvSpPr>
            <p:spPr bwMode="auto">
              <a:xfrm>
                <a:off x="1746" y="3207"/>
                <a:ext cx="44" cy="42"/>
              </a:xfrm>
              <a:custGeom>
                <a:avLst/>
                <a:gdLst>
                  <a:gd name="T0" fmla="*/ 0 w 44"/>
                  <a:gd name="T1" fmla="*/ 42 h 42"/>
                  <a:gd name="T2" fmla="*/ 44 w 44"/>
                  <a:gd name="T3" fmla="*/ 42 h 42"/>
                  <a:gd name="T4" fmla="*/ 44 w 44"/>
                  <a:gd name="T5" fmla="*/ 0 h 42"/>
                  <a:gd name="T6" fmla="*/ 0 w 44"/>
                  <a:gd name="T7" fmla="*/ 0 h 42"/>
                  <a:gd name="T8" fmla="*/ 0 w 44"/>
                  <a:gd name="T9" fmla="*/ 42 h 42"/>
                  <a:gd name="T10" fmla="*/ 0 w 44"/>
                  <a:gd name="T11" fmla="*/ 42 h 42"/>
                </a:gdLst>
                <a:ahLst/>
                <a:cxnLst>
                  <a:cxn ang="0">
                    <a:pos x="T0" y="T1"/>
                  </a:cxn>
                  <a:cxn ang="0">
                    <a:pos x="T2" y="T3"/>
                  </a:cxn>
                  <a:cxn ang="0">
                    <a:pos x="T4" y="T5"/>
                  </a:cxn>
                  <a:cxn ang="0">
                    <a:pos x="T6" y="T7"/>
                  </a:cxn>
                  <a:cxn ang="0">
                    <a:pos x="T8" y="T9"/>
                  </a:cxn>
                  <a:cxn ang="0">
                    <a:pos x="T10" y="T11"/>
                  </a:cxn>
                </a:cxnLst>
                <a:rect l="0" t="0" r="r" b="b"/>
                <a:pathLst>
                  <a:path w="44" h="42">
                    <a:moveTo>
                      <a:pt x="0" y="42"/>
                    </a:moveTo>
                    <a:lnTo>
                      <a:pt x="44" y="42"/>
                    </a:lnTo>
                    <a:lnTo>
                      <a:pt x="44"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3" name="Freeform 90"/>
              <p:cNvSpPr>
                <a:spLocks/>
              </p:cNvSpPr>
              <p:nvPr/>
            </p:nvSpPr>
            <p:spPr bwMode="auto">
              <a:xfrm>
                <a:off x="1746" y="3147"/>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4" name="Freeform 91"/>
              <p:cNvSpPr>
                <a:spLocks/>
              </p:cNvSpPr>
              <p:nvPr/>
            </p:nvSpPr>
            <p:spPr bwMode="auto">
              <a:xfrm>
                <a:off x="1888" y="3207"/>
                <a:ext cx="47" cy="42"/>
              </a:xfrm>
              <a:custGeom>
                <a:avLst/>
                <a:gdLst>
                  <a:gd name="T0" fmla="*/ 0 w 47"/>
                  <a:gd name="T1" fmla="*/ 42 h 42"/>
                  <a:gd name="T2" fmla="*/ 47 w 47"/>
                  <a:gd name="T3" fmla="*/ 42 h 42"/>
                  <a:gd name="T4" fmla="*/ 47 w 47"/>
                  <a:gd name="T5" fmla="*/ 0 h 42"/>
                  <a:gd name="T6" fmla="*/ 0 w 47"/>
                  <a:gd name="T7" fmla="*/ 0 h 42"/>
                  <a:gd name="T8" fmla="*/ 0 w 47"/>
                  <a:gd name="T9" fmla="*/ 42 h 42"/>
                  <a:gd name="T10" fmla="*/ 0 w 47"/>
                  <a:gd name="T11" fmla="*/ 42 h 42"/>
                </a:gdLst>
                <a:ahLst/>
                <a:cxnLst>
                  <a:cxn ang="0">
                    <a:pos x="T0" y="T1"/>
                  </a:cxn>
                  <a:cxn ang="0">
                    <a:pos x="T2" y="T3"/>
                  </a:cxn>
                  <a:cxn ang="0">
                    <a:pos x="T4" y="T5"/>
                  </a:cxn>
                  <a:cxn ang="0">
                    <a:pos x="T6" y="T7"/>
                  </a:cxn>
                  <a:cxn ang="0">
                    <a:pos x="T8" y="T9"/>
                  </a:cxn>
                  <a:cxn ang="0">
                    <a:pos x="T10" y="T11"/>
                  </a:cxn>
                </a:cxnLst>
                <a:rect l="0" t="0" r="r" b="b"/>
                <a:pathLst>
                  <a:path w="47" h="42">
                    <a:moveTo>
                      <a:pt x="0" y="42"/>
                    </a:moveTo>
                    <a:lnTo>
                      <a:pt x="47" y="42"/>
                    </a:lnTo>
                    <a:lnTo>
                      <a:pt x="47"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5" name="Freeform 92"/>
              <p:cNvSpPr>
                <a:spLocks/>
              </p:cNvSpPr>
              <p:nvPr/>
            </p:nvSpPr>
            <p:spPr bwMode="auto">
              <a:xfrm>
                <a:off x="1832" y="3261"/>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6" name="Freeform 93"/>
              <p:cNvSpPr>
                <a:spLocks/>
              </p:cNvSpPr>
              <p:nvPr/>
            </p:nvSpPr>
            <p:spPr bwMode="auto">
              <a:xfrm>
                <a:off x="1888" y="3261"/>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7" name="Freeform 94"/>
              <p:cNvSpPr>
                <a:spLocks/>
              </p:cNvSpPr>
              <p:nvPr/>
            </p:nvSpPr>
            <p:spPr bwMode="auto">
              <a:xfrm>
                <a:off x="1832" y="3207"/>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8" name="Freeform 95"/>
              <p:cNvSpPr>
                <a:spLocks/>
              </p:cNvSpPr>
              <p:nvPr/>
            </p:nvSpPr>
            <p:spPr bwMode="auto">
              <a:xfrm>
                <a:off x="1888" y="3147"/>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9" name="Freeform 96"/>
              <p:cNvSpPr>
                <a:spLocks/>
              </p:cNvSpPr>
              <p:nvPr/>
            </p:nvSpPr>
            <p:spPr bwMode="auto">
              <a:xfrm>
                <a:off x="1832" y="3147"/>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0" name="Freeform 97"/>
              <p:cNvSpPr>
                <a:spLocks/>
              </p:cNvSpPr>
              <p:nvPr/>
            </p:nvSpPr>
            <p:spPr bwMode="auto">
              <a:xfrm>
                <a:off x="2033"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1" name="Freeform 98"/>
              <p:cNvSpPr>
                <a:spLocks/>
              </p:cNvSpPr>
              <p:nvPr/>
            </p:nvSpPr>
            <p:spPr bwMode="auto">
              <a:xfrm>
                <a:off x="2033"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2" name="Freeform 99"/>
              <p:cNvSpPr>
                <a:spLocks/>
              </p:cNvSpPr>
              <p:nvPr/>
            </p:nvSpPr>
            <p:spPr bwMode="auto">
              <a:xfrm>
                <a:off x="2033" y="314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3" name="Freeform 100"/>
              <p:cNvSpPr>
                <a:spLocks/>
              </p:cNvSpPr>
              <p:nvPr/>
            </p:nvSpPr>
            <p:spPr bwMode="auto">
              <a:xfrm>
                <a:off x="1975"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4" name="Freeform 101"/>
              <p:cNvSpPr>
                <a:spLocks/>
              </p:cNvSpPr>
              <p:nvPr/>
            </p:nvSpPr>
            <p:spPr bwMode="auto">
              <a:xfrm>
                <a:off x="1975"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5" name="Freeform 102"/>
              <p:cNvSpPr>
                <a:spLocks/>
              </p:cNvSpPr>
              <p:nvPr/>
            </p:nvSpPr>
            <p:spPr bwMode="auto">
              <a:xfrm>
                <a:off x="1975"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6" name="Freeform 103"/>
              <p:cNvSpPr>
                <a:spLocks/>
              </p:cNvSpPr>
              <p:nvPr/>
            </p:nvSpPr>
            <p:spPr bwMode="auto">
              <a:xfrm>
                <a:off x="2175" y="3261"/>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7" name="Freeform 104"/>
              <p:cNvSpPr>
                <a:spLocks/>
              </p:cNvSpPr>
              <p:nvPr/>
            </p:nvSpPr>
            <p:spPr bwMode="auto">
              <a:xfrm>
                <a:off x="2119" y="3261"/>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8" name="Freeform 105"/>
              <p:cNvSpPr>
                <a:spLocks/>
              </p:cNvSpPr>
              <p:nvPr/>
            </p:nvSpPr>
            <p:spPr bwMode="auto">
              <a:xfrm>
                <a:off x="2175" y="3147"/>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9" name="Freeform 106"/>
              <p:cNvSpPr>
                <a:spLocks/>
              </p:cNvSpPr>
              <p:nvPr/>
            </p:nvSpPr>
            <p:spPr bwMode="auto">
              <a:xfrm>
                <a:off x="2175" y="3207"/>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0" name="Freeform 107"/>
              <p:cNvSpPr>
                <a:spLocks/>
              </p:cNvSpPr>
              <p:nvPr/>
            </p:nvSpPr>
            <p:spPr bwMode="auto">
              <a:xfrm>
                <a:off x="2119" y="3207"/>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1" name="Freeform 108"/>
              <p:cNvSpPr>
                <a:spLocks/>
              </p:cNvSpPr>
              <p:nvPr/>
            </p:nvSpPr>
            <p:spPr bwMode="auto">
              <a:xfrm>
                <a:off x="2119" y="3147"/>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2" name="Freeform 109"/>
              <p:cNvSpPr>
                <a:spLocks/>
              </p:cNvSpPr>
              <p:nvPr/>
            </p:nvSpPr>
            <p:spPr bwMode="auto">
              <a:xfrm>
                <a:off x="1688"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3" name="Freeform 110"/>
              <p:cNvSpPr>
                <a:spLocks/>
              </p:cNvSpPr>
              <p:nvPr/>
            </p:nvSpPr>
            <p:spPr bwMode="auto">
              <a:xfrm>
                <a:off x="1688"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4" name="Freeform 111"/>
              <p:cNvSpPr>
                <a:spLocks/>
              </p:cNvSpPr>
              <p:nvPr/>
            </p:nvSpPr>
            <p:spPr bwMode="auto">
              <a:xfrm>
                <a:off x="1688"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5" name="Freeform 112"/>
              <p:cNvSpPr>
                <a:spLocks/>
              </p:cNvSpPr>
              <p:nvPr/>
            </p:nvSpPr>
            <p:spPr bwMode="auto">
              <a:xfrm>
                <a:off x="1746" y="3497"/>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6" name="Freeform 113"/>
              <p:cNvSpPr>
                <a:spLocks/>
              </p:cNvSpPr>
              <p:nvPr/>
            </p:nvSpPr>
            <p:spPr bwMode="auto">
              <a:xfrm>
                <a:off x="1746" y="3443"/>
                <a:ext cx="44" cy="42"/>
              </a:xfrm>
              <a:custGeom>
                <a:avLst/>
                <a:gdLst>
                  <a:gd name="T0" fmla="*/ 0 w 44"/>
                  <a:gd name="T1" fmla="*/ 42 h 42"/>
                  <a:gd name="T2" fmla="*/ 44 w 44"/>
                  <a:gd name="T3" fmla="*/ 42 h 42"/>
                  <a:gd name="T4" fmla="*/ 44 w 44"/>
                  <a:gd name="T5" fmla="*/ 0 h 42"/>
                  <a:gd name="T6" fmla="*/ 0 w 44"/>
                  <a:gd name="T7" fmla="*/ 0 h 42"/>
                  <a:gd name="T8" fmla="*/ 0 w 44"/>
                  <a:gd name="T9" fmla="*/ 42 h 42"/>
                  <a:gd name="T10" fmla="*/ 0 w 44"/>
                  <a:gd name="T11" fmla="*/ 42 h 42"/>
                </a:gdLst>
                <a:ahLst/>
                <a:cxnLst>
                  <a:cxn ang="0">
                    <a:pos x="T0" y="T1"/>
                  </a:cxn>
                  <a:cxn ang="0">
                    <a:pos x="T2" y="T3"/>
                  </a:cxn>
                  <a:cxn ang="0">
                    <a:pos x="T4" y="T5"/>
                  </a:cxn>
                  <a:cxn ang="0">
                    <a:pos x="T6" y="T7"/>
                  </a:cxn>
                  <a:cxn ang="0">
                    <a:pos x="T8" y="T9"/>
                  </a:cxn>
                  <a:cxn ang="0">
                    <a:pos x="T10" y="T11"/>
                  </a:cxn>
                </a:cxnLst>
                <a:rect l="0" t="0" r="r" b="b"/>
                <a:pathLst>
                  <a:path w="44" h="42">
                    <a:moveTo>
                      <a:pt x="0" y="42"/>
                    </a:moveTo>
                    <a:lnTo>
                      <a:pt x="44" y="42"/>
                    </a:lnTo>
                    <a:lnTo>
                      <a:pt x="44"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7" name="Freeform 114"/>
              <p:cNvSpPr>
                <a:spLocks/>
              </p:cNvSpPr>
              <p:nvPr/>
            </p:nvSpPr>
            <p:spPr bwMode="auto">
              <a:xfrm>
                <a:off x="1746" y="3385"/>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8" name="Freeform 115"/>
              <p:cNvSpPr>
                <a:spLocks/>
              </p:cNvSpPr>
              <p:nvPr/>
            </p:nvSpPr>
            <p:spPr bwMode="auto">
              <a:xfrm>
                <a:off x="1888" y="3443"/>
                <a:ext cx="47" cy="42"/>
              </a:xfrm>
              <a:custGeom>
                <a:avLst/>
                <a:gdLst>
                  <a:gd name="T0" fmla="*/ 0 w 47"/>
                  <a:gd name="T1" fmla="*/ 42 h 42"/>
                  <a:gd name="T2" fmla="*/ 47 w 47"/>
                  <a:gd name="T3" fmla="*/ 42 h 42"/>
                  <a:gd name="T4" fmla="*/ 47 w 47"/>
                  <a:gd name="T5" fmla="*/ 0 h 42"/>
                  <a:gd name="T6" fmla="*/ 0 w 47"/>
                  <a:gd name="T7" fmla="*/ 0 h 42"/>
                  <a:gd name="T8" fmla="*/ 0 w 47"/>
                  <a:gd name="T9" fmla="*/ 42 h 42"/>
                  <a:gd name="T10" fmla="*/ 0 w 47"/>
                  <a:gd name="T11" fmla="*/ 42 h 42"/>
                </a:gdLst>
                <a:ahLst/>
                <a:cxnLst>
                  <a:cxn ang="0">
                    <a:pos x="T0" y="T1"/>
                  </a:cxn>
                  <a:cxn ang="0">
                    <a:pos x="T2" y="T3"/>
                  </a:cxn>
                  <a:cxn ang="0">
                    <a:pos x="T4" y="T5"/>
                  </a:cxn>
                  <a:cxn ang="0">
                    <a:pos x="T6" y="T7"/>
                  </a:cxn>
                  <a:cxn ang="0">
                    <a:pos x="T8" y="T9"/>
                  </a:cxn>
                  <a:cxn ang="0">
                    <a:pos x="T10" y="T11"/>
                  </a:cxn>
                </a:cxnLst>
                <a:rect l="0" t="0" r="r" b="b"/>
                <a:pathLst>
                  <a:path w="47" h="42">
                    <a:moveTo>
                      <a:pt x="0" y="42"/>
                    </a:moveTo>
                    <a:lnTo>
                      <a:pt x="47" y="42"/>
                    </a:lnTo>
                    <a:lnTo>
                      <a:pt x="47"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9" name="Freeform 116"/>
              <p:cNvSpPr>
                <a:spLocks/>
              </p:cNvSpPr>
              <p:nvPr/>
            </p:nvSpPr>
            <p:spPr bwMode="auto">
              <a:xfrm>
                <a:off x="1832" y="3497"/>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0" name="Freeform 117"/>
              <p:cNvSpPr>
                <a:spLocks/>
              </p:cNvSpPr>
              <p:nvPr/>
            </p:nvSpPr>
            <p:spPr bwMode="auto">
              <a:xfrm>
                <a:off x="1888" y="3497"/>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1" name="Freeform 118"/>
              <p:cNvSpPr>
                <a:spLocks/>
              </p:cNvSpPr>
              <p:nvPr/>
            </p:nvSpPr>
            <p:spPr bwMode="auto">
              <a:xfrm>
                <a:off x="1832" y="3443"/>
                <a:ext cx="44" cy="42"/>
              </a:xfrm>
              <a:custGeom>
                <a:avLst/>
                <a:gdLst>
                  <a:gd name="T0" fmla="*/ 44 w 44"/>
                  <a:gd name="T1" fmla="*/ 0 h 42"/>
                  <a:gd name="T2" fmla="*/ 0 w 44"/>
                  <a:gd name="T3" fmla="*/ 0 h 42"/>
                  <a:gd name="T4" fmla="*/ 0 w 44"/>
                  <a:gd name="T5" fmla="*/ 42 h 42"/>
                  <a:gd name="T6" fmla="*/ 44 w 44"/>
                  <a:gd name="T7" fmla="*/ 42 h 42"/>
                  <a:gd name="T8" fmla="*/ 44 w 44"/>
                  <a:gd name="T9" fmla="*/ 0 h 42"/>
                  <a:gd name="T10" fmla="*/ 44 w 44"/>
                  <a:gd name="T11" fmla="*/ 0 h 42"/>
                </a:gdLst>
                <a:ahLst/>
                <a:cxnLst>
                  <a:cxn ang="0">
                    <a:pos x="T0" y="T1"/>
                  </a:cxn>
                  <a:cxn ang="0">
                    <a:pos x="T2" y="T3"/>
                  </a:cxn>
                  <a:cxn ang="0">
                    <a:pos x="T4" y="T5"/>
                  </a:cxn>
                  <a:cxn ang="0">
                    <a:pos x="T6" y="T7"/>
                  </a:cxn>
                  <a:cxn ang="0">
                    <a:pos x="T8" y="T9"/>
                  </a:cxn>
                  <a:cxn ang="0">
                    <a:pos x="T10" y="T11"/>
                  </a:cxn>
                </a:cxnLst>
                <a:rect l="0" t="0" r="r" b="b"/>
                <a:pathLst>
                  <a:path w="44" h="42">
                    <a:moveTo>
                      <a:pt x="44" y="0"/>
                    </a:moveTo>
                    <a:lnTo>
                      <a:pt x="0" y="0"/>
                    </a:lnTo>
                    <a:lnTo>
                      <a:pt x="0" y="42"/>
                    </a:lnTo>
                    <a:lnTo>
                      <a:pt x="44" y="42"/>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2" name="Freeform 119"/>
              <p:cNvSpPr>
                <a:spLocks/>
              </p:cNvSpPr>
              <p:nvPr/>
            </p:nvSpPr>
            <p:spPr bwMode="auto">
              <a:xfrm>
                <a:off x="1888" y="3385"/>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3" name="Freeform 120"/>
              <p:cNvSpPr>
                <a:spLocks/>
              </p:cNvSpPr>
              <p:nvPr/>
            </p:nvSpPr>
            <p:spPr bwMode="auto">
              <a:xfrm>
                <a:off x="1832" y="3385"/>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4" name="Freeform 121"/>
              <p:cNvSpPr>
                <a:spLocks/>
              </p:cNvSpPr>
              <p:nvPr/>
            </p:nvSpPr>
            <p:spPr bwMode="auto">
              <a:xfrm>
                <a:off x="2033"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5" name="Freeform 122"/>
              <p:cNvSpPr>
                <a:spLocks/>
              </p:cNvSpPr>
              <p:nvPr/>
            </p:nvSpPr>
            <p:spPr bwMode="auto">
              <a:xfrm>
                <a:off x="2033"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6" name="Freeform 123"/>
              <p:cNvSpPr>
                <a:spLocks/>
              </p:cNvSpPr>
              <p:nvPr/>
            </p:nvSpPr>
            <p:spPr bwMode="auto">
              <a:xfrm>
                <a:off x="2033" y="3385"/>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7" name="Freeform 124"/>
              <p:cNvSpPr>
                <a:spLocks/>
              </p:cNvSpPr>
              <p:nvPr/>
            </p:nvSpPr>
            <p:spPr bwMode="auto">
              <a:xfrm>
                <a:off x="1975"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8" name="Freeform 125"/>
              <p:cNvSpPr>
                <a:spLocks/>
              </p:cNvSpPr>
              <p:nvPr/>
            </p:nvSpPr>
            <p:spPr bwMode="auto">
              <a:xfrm>
                <a:off x="1975"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9" name="Freeform 126"/>
              <p:cNvSpPr>
                <a:spLocks/>
              </p:cNvSpPr>
              <p:nvPr/>
            </p:nvSpPr>
            <p:spPr bwMode="auto">
              <a:xfrm>
                <a:off x="1975"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0" name="Freeform 127"/>
              <p:cNvSpPr>
                <a:spLocks/>
              </p:cNvSpPr>
              <p:nvPr/>
            </p:nvSpPr>
            <p:spPr bwMode="auto">
              <a:xfrm>
                <a:off x="2175" y="3497"/>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1" name="Freeform 128"/>
              <p:cNvSpPr>
                <a:spLocks/>
              </p:cNvSpPr>
              <p:nvPr/>
            </p:nvSpPr>
            <p:spPr bwMode="auto">
              <a:xfrm>
                <a:off x="2119" y="3497"/>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2" name="Freeform 129"/>
              <p:cNvSpPr>
                <a:spLocks/>
              </p:cNvSpPr>
              <p:nvPr/>
            </p:nvSpPr>
            <p:spPr bwMode="auto">
              <a:xfrm>
                <a:off x="2175" y="3385"/>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3" name="Freeform 130"/>
              <p:cNvSpPr>
                <a:spLocks/>
              </p:cNvSpPr>
              <p:nvPr/>
            </p:nvSpPr>
            <p:spPr bwMode="auto">
              <a:xfrm>
                <a:off x="2175" y="3443"/>
                <a:ext cx="48" cy="42"/>
              </a:xfrm>
              <a:custGeom>
                <a:avLst/>
                <a:gdLst>
                  <a:gd name="T0" fmla="*/ 0 w 48"/>
                  <a:gd name="T1" fmla="*/ 42 h 42"/>
                  <a:gd name="T2" fmla="*/ 48 w 48"/>
                  <a:gd name="T3" fmla="*/ 42 h 42"/>
                  <a:gd name="T4" fmla="*/ 48 w 48"/>
                  <a:gd name="T5" fmla="*/ 0 h 42"/>
                  <a:gd name="T6" fmla="*/ 0 w 48"/>
                  <a:gd name="T7" fmla="*/ 0 h 42"/>
                  <a:gd name="T8" fmla="*/ 0 w 48"/>
                  <a:gd name="T9" fmla="*/ 42 h 42"/>
                  <a:gd name="T10" fmla="*/ 0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0" y="42"/>
                    </a:moveTo>
                    <a:lnTo>
                      <a:pt x="48" y="42"/>
                    </a:lnTo>
                    <a:lnTo>
                      <a:pt x="48" y="0"/>
                    </a:lnTo>
                    <a:lnTo>
                      <a:pt x="0" y="0"/>
                    </a:lnTo>
                    <a:lnTo>
                      <a:pt x="0" y="42"/>
                    </a:lnTo>
                    <a:lnTo>
                      <a:pt x="0" y="42"/>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4" name="Freeform 131"/>
              <p:cNvSpPr>
                <a:spLocks/>
              </p:cNvSpPr>
              <p:nvPr/>
            </p:nvSpPr>
            <p:spPr bwMode="auto">
              <a:xfrm>
                <a:off x="2119" y="3443"/>
                <a:ext cx="46" cy="42"/>
              </a:xfrm>
              <a:custGeom>
                <a:avLst/>
                <a:gdLst>
                  <a:gd name="T0" fmla="*/ 46 w 46"/>
                  <a:gd name="T1" fmla="*/ 0 h 42"/>
                  <a:gd name="T2" fmla="*/ 0 w 46"/>
                  <a:gd name="T3" fmla="*/ 0 h 42"/>
                  <a:gd name="T4" fmla="*/ 0 w 46"/>
                  <a:gd name="T5" fmla="*/ 42 h 42"/>
                  <a:gd name="T6" fmla="*/ 46 w 46"/>
                  <a:gd name="T7" fmla="*/ 42 h 42"/>
                  <a:gd name="T8" fmla="*/ 46 w 46"/>
                  <a:gd name="T9" fmla="*/ 0 h 42"/>
                  <a:gd name="T10" fmla="*/ 46 w 46"/>
                  <a:gd name="T11" fmla="*/ 0 h 42"/>
                </a:gdLst>
                <a:ahLst/>
                <a:cxnLst>
                  <a:cxn ang="0">
                    <a:pos x="T0" y="T1"/>
                  </a:cxn>
                  <a:cxn ang="0">
                    <a:pos x="T2" y="T3"/>
                  </a:cxn>
                  <a:cxn ang="0">
                    <a:pos x="T4" y="T5"/>
                  </a:cxn>
                  <a:cxn ang="0">
                    <a:pos x="T6" y="T7"/>
                  </a:cxn>
                  <a:cxn ang="0">
                    <a:pos x="T8" y="T9"/>
                  </a:cxn>
                  <a:cxn ang="0">
                    <a:pos x="T10" y="T11"/>
                  </a:cxn>
                </a:cxnLst>
                <a:rect l="0" t="0" r="r" b="b"/>
                <a:pathLst>
                  <a:path w="46" h="42">
                    <a:moveTo>
                      <a:pt x="46" y="0"/>
                    </a:moveTo>
                    <a:lnTo>
                      <a:pt x="0" y="0"/>
                    </a:lnTo>
                    <a:lnTo>
                      <a:pt x="0" y="42"/>
                    </a:lnTo>
                    <a:lnTo>
                      <a:pt x="46" y="42"/>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5" name="Freeform 132"/>
              <p:cNvSpPr>
                <a:spLocks/>
              </p:cNvSpPr>
              <p:nvPr/>
            </p:nvSpPr>
            <p:spPr bwMode="auto">
              <a:xfrm>
                <a:off x="2119" y="3385"/>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6" name="Freeform 133"/>
              <p:cNvSpPr>
                <a:spLocks/>
              </p:cNvSpPr>
              <p:nvPr/>
            </p:nvSpPr>
            <p:spPr bwMode="auto">
              <a:xfrm>
                <a:off x="1688"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7" name="Freeform 134"/>
              <p:cNvSpPr>
                <a:spLocks/>
              </p:cNvSpPr>
              <p:nvPr/>
            </p:nvSpPr>
            <p:spPr bwMode="auto">
              <a:xfrm>
                <a:off x="1688"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8" name="Freeform 135"/>
              <p:cNvSpPr>
                <a:spLocks/>
              </p:cNvSpPr>
              <p:nvPr/>
            </p:nvSpPr>
            <p:spPr bwMode="auto">
              <a:xfrm>
                <a:off x="1688"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9" name="Freeform 136"/>
              <p:cNvSpPr>
                <a:spLocks/>
              </p:cNvSpPr>
              <p:nvPr/>
            </p:nvSpPr>
            <p:spPr bwMode="auto">
              <a:xfrm>
                <a:off x="1746" y="3734"/>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0" name="Freeform 137"/>
              <p:cNvSpPr>
                <a:spLocks/>
              </p:cNvSpPr>
              <p:nvPr/>
            </p:nvSpPr>
            <p:spPr bwMode="auto">
              <a:xfrm>
                <a:off x="1746" y="3682"/>
                <a:ext cx="44" cy="40"/>
              </a:xfrm>
              <a:custGeom>
                <a:avLst/>
                <a:gdLst>
                  <a:gd name="T0" fmla="*/ 0 w 44"/>
                  <a:gd name="T1" fmla="*/ 40 h 40"/>
                  <a:gd name="T2" fmla="*/ 44 w 44"/>
                  <a:gd name="T3" fmla="*/ 40 h 40"/>
                  <a:gd name="T4" fmla="*/ 44 w 44"/>
                  <a:gd name="T5" fmla="*/ 0 h 40"/>
                  <a:gd name="T6" fmla="*/ 0 w 44"/>
                  <a:gd name="T7" fmla="*/ 0 h 40"/>
                  <a:gd name="T8" fmla="*/ 0 w 44"/>
                  <a:gd name="T9" fmla="*/ 40 h 40"/>
                  <a:gd name="T10" fmla="*/ 0 w 44"/>
                  <a:gd name="T11" fmla="*/ 40 h 40"/>
                </a:gdLst>
                <a:ahLst/>
                <a:cxnLst>
                  <a:cxn ang="0">
                    <a:pos x="T0" y="T1"/>
                  </a:cxn>
                  <a:cxn ang="0">
                    <a:pos x="T2" y="T3"/>
                  </a:cxn>
                  <a:cxn ang="0">
                    <a:pos x="T4" y="T5"/>
                  </a:cxn>
                  <a:cxn ang="0">
                    <a:pos x="T6" y="T7"/>
                  </a:cxn>
                  <a:cxn ang="0">
                    <a:pos x="T8" y="T9"/>
                  </a:cxn>
                  <a:cxn ang="0">
                    <a:pos x="T10" y="T11"/>
                  </a:cxn>
                </a:cxnLst>
                <a:rect l="0" t="0" r="r" b="b"/>
                <a:pathLst>
                  <a:path w="44" h="40">
                    <a:moveTo>
                      <a:pt x="0" y="40"/>
                    </a:moveTo>
                    <a:lnTo>
                      <a:pt x="44" y="40"/>
                    </a:lnTo>
                    <a:lnTo>
                      <a:pt x="44"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1" name="Freeform 138"/>
              <p:cNvSpPr>
                <a:spLocks/>
              </p:cNvSpPr>
              <p:nvPr/>
            </p:nvSpPr>
            <p:spPr bwMode="auto">
              <a:xfrm>
                <a:off x="1746" y="3622"/>
                <a:ext cx="44" cy="48"/>
              </a:xfrm>
              <a:custGeom>
                <a:avLst/>
                <a:gdLst>
                  <a:gd name="T0" fmla="*/ 0 w 44"/>
                  <a:gd name="T1" fmla="*/ 48 h 48"/>
                  <a:gd name="T2" fmla="*/ 44 w 44"/>
                  <a:gd name="T3" fmla="*/ 48 h 48"/>
                  <a:gd name="T4" fmla="*/ 44 w 44"/>
                  <a:gd name="T5" fmla="*/ 0 h 48"/>
                  <a:gd name="T6" fmla="*/ 0 w 44"/>
                  <a:gd name="T7" fmla="*/ 0 h 48"/>
                  <a:gd name="T8" fmla="*/ 0 w 44"/>
                  <a:gd name="T9" fmla="*/ 48 h 48"/>
                  <a:gd name="T10" fmla="*/ 0 w 44"/>
                  <a:gd name="T11" fmla="*/ 48 h 48"/>
                </a:gdLst>
                <a:ahLst/>
                <a:cxnLst>
                  <a:cxn ang="0">
                    <a:pos x="T0" y="T1"/>
                  </a:cxn>
                  <a:cxn ang="0">
                    <a:pos x="T2" y="T3"/>
                  </a:cxn>
                  <a:cxn ang="0">
                    <a:pos x="T4" y="T5"/>
                  </a:cxn>
                  <a:cxn ang="0">
                    <a:pos x="T6" y="T7"/>
                  </a:cxn>
                  <a:cxn ang="0">
                    <a:pos x="T8" y="T9"/>
                  </a:cxn>
                  <a:cxn ang="0">
                    <a:pos x="T10" y="T11"/>
                  </a:cxn>
                </a:cxnLst>
                <a:rect l="0" t="0" r="r" b="b"/>
                <a:pathLst>
                  <a:path w="44" h="48">
                    <a:moveTo>
                      <a:pt x="0" y="48"/>
                    </a:moveTo>
                    <a:lnTo>
                      <a:pt x="44" y="48"/>
                    </a:lnTo>
                    <a:lnTo>
                      <a:pt x="44"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2" name="Freeform 139"/>
              <p:cNvSpPr>
                <a:spLocks/>
              </p:cNvSpPr>
              <p:nvPr/>
            </p:nvSpPr>
            <p:spPr bwMode="auto">
              <a:xfrm>
                <a:off x="1888" y="3682"/>
                <a:ext cx="47" cy="40"/>
              </a:xfrm>
              <a:custGeom>
                <a:avLst/>
                <a:gdLst>
                  <a:gd name="T0" fmla="*/ 0 w 47"/>
                  <a:gd name="T1" fmla="*/ 40 h 40"/>
                  <a:gd name="T2" fmla="*/ 47 w 47"/>
                  <a:gd name="T3" fmla="*/ 40 h 40"/>
                  <a:gd name="T4" fmla="*/ 47 w 47"/>
                  <a:gd name="T5" fmla="*/ 0 h 40"/>
                  <a:gd name="T6" fmla="*/ 0 w 47"/>
                  <a:gd name="T7" fmla="*/ 0 h 40"/>
                  <a:gd name="T8" fmla="*/ 0 w 47"/>
                  <a:gd name="T9" fmla="*/ 40 h 40"/>
                  <a:gd name="T10" fmla="*/ 0 w 47"/>
                  <a:gd name="T11" fmla="*/ 40 h 40"/>
                </a:gdLst>
                <a:ahLst/>
                <a:cxnLst>
                  <a:cxn ang="0">
                    <a:pos x="T0" y="T1"/>
                  </a:cxn>
                  <a:cxn ang="0">
                    <a:pos x="T2" y="T3"/>
                  </a:cxn>
                  <a:cxn ang="0">
                    <a:pos x="T4" y="T5"/>
                  </a:cxn>
                  <a:cxn ang="0">
                    <a:pos x="T6" y="T7"/>
                  </a:cxn>
                  <a:cxn ang="0">
                    <a:pos x="T8" y="T9"/>
                  </a:cxn>
                  <a:cxn ang="0">
                    <a:pos x="T10" y="T11"/>
                  </a:cxn>
                </a:cxnLst>
                <a:rect l="0" t="0" r="r" b="b"/>
                <a:pathLst>
                  <a:path w="47" h="40">
                    <a:moveTo>
                      <a:pt x="0" y="40"/>
                    </a:moveTo>
                    <a:lnTo>
                      <a:pt x="47" y="40"/>
                    </a:lnTo>
                    <a:lnTo>
                      <a:pt x="47"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3" name="Freeform 140"/>
              <p:cNvSpPr>
                <a:spLocks/>
              </p:cNvSpPr>
              <p:nvPr/>
            </p:nvSpPr>
            <p:spPr bwMode="auto">
              <a:xfrm>
                <a:off x="1832" y="3734"/>
                <a:ext cx="44" cy="48"/>
              </a:xfrm>
              <a:custGeom>
                <a:avLst/>
                <a:gdLst>
                  <a:gd name="T0" fmla="*/ 0 w 44"/>
                  <a:gd name="T1" fmla="*/ 0 h 48"/>
                  <a:gd name="T2" fmla="*/ 0 w 44"/>
                  <a:gd name="T3" fmla="*/ 48 h 48"/>
                  <a:gd name="T4" fmla="*/ 44 w 44"/>
                  <a:gd name="T5" fmla="*/ 48 h 48"/>
                  <a:gd name="T6" fmla="*/ 44 w 44"/>
                  <a:gd name="T7" fmla="*/ 0 h 48"/>
                  <a:gd name="T8" fmla="*/ 0 w 44"/>
                  <a:gd name="T9" fmla="*/ 0 h 48"/>
                  <a:gd name="T10" fmla="*/ 0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0" y="0"/>
                    </a:moveTo>
                    <a:lnTo>
                      <a:pt x="0" y="48"/>
                    </a:lnTo>
                    <a:lnTo>
                      <a:pt x="44" y="48"/>
                    </a:lnTo>
                    <a:lnTo>
                      <a:pt x="44"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4" name="Freeform 141"/>
              <p:cNvSpPr>
                <a:spLocks/>
              </p:cNvSpPr>
              <p:nvPr/>
            </p:nvSpPr>
            <p:spPr bwMode="auto">
              <a:xfrm>
                <a:off x="1888" y="3734"/>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5" name="Freeform 142"/>
              <p:cNvSpPr>
                <a:spLocks/>
              </p:cNvSpPr>
              <p:nvPr/>
            </p:nvSpPr>
            <p:spPr bwMode="auto">
              <a:xfrm>
                <a:off x="1832" y="3682"/>
                <a:ext cx="44" cy="40"/>
              </a:xfrm>
              <a:custGeom>
                <a:avLst/>
                <a:gdLst>
                  <a:gd name="T0" fmla="*/ 44 w 44"/>
                  <a:gd name="T1" fmla="*/ 0 h 40"/>
                  <a:gd name="T2" fmla="*/ 0 w 44"/>
                  <a:gd name="T3" fmla="*/ 0 h 40"/>
                  <a:gd name="T4" fmla="*/ 0 w 44"/>
                  <a:gd name="T5" fmla="*/ 40 h 40"/>
                  <a:gd name="T6" fmla="*/ 44 w 44"/>
                  <a:gd name="T7" fmla="*/ 40 h 40"/>
                  <a:gd name="T8" fmla="*/ 44 w 44"/>
                  <a:gd name="T9" fmla="*/ 0 h 40"/>
                  <a:gd name="T10" fmla="*/ 4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44" y="0"/>
                    </a:moveTo>
                    <a:lnTo>
                      <a:pt x="0" y="0"/>
                    </a:lnTo>
                    <a:lnTo>
                      <a:pt x="0" y="40"/>
                    </a:lnTo>
                    <a:lnTo>
                      <a:pt x="44" y="40"/>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6" name="Freeform 143"/>
              <p:cNvSpPr>
                <a:spLocks/>
              </p:cNvSpPr>
              <p:nvPr/>
            </p:nvSpPr>
            <p:spPr bwMode="auto">
              <a:xfrm>
                <a:off x="1888" y="3622"/>
                <a:ext cx="47" cy="48"/>
              </a:xfrm>
              <a:custGeom>
                <a:avLst/>
                <a:gdLst>
                  <a:gd name="T0" fmla="*/ 0 w 47"/>
                  <a:gd name="T1" fmla="*/ 48 h 48"/>
                  <a:gd name="T2" fmla="*/ 47 w 47"/>
                  <a:gd name="T3" fmla="*/ 48 h 48"/>
                  <a:gd name="T4" fmla="*/ 47 w 47"/>
                  <a:gd name="T5" fmla="*/ 0 h 48"/>
                  <a:gd name="T6" fmla="*/ 0 w 47"/>
                  <a:gd name="T7" fmla="*/ 0 h 48"/>
                  <a:gd name="T8" fmla="*/ 0 w 47"/>
                  <a:gd name="T9" fmla="*/ 48 h 48"/>
                  <a:gd name="T10" fmla="*/ 0 w 47"/>
                  <a:gd name="T11" fmla="*/ 48 h 48"/>
                </a:gdLst>
                <a:ahLst/>
                <a:cxnLst>
                  <a:cxn ang="0">
                    <a:pos x="T0" y="T1"/>
                  </a:cxn>
                  <a:cxn ang="0">
                    <a:pos x="T2" y="T3"/>
                  </a:cxn>
                  <a:cxn ang="0">
                    <a:pos x="T4" y="T5"/>
                  </a:cxn>
                  <a:cxn ang="0">
                    <a:pos x="T6" y="T7"/>
                  </a:cxn>
                  <a:cxn ang="0">
                    <a:pos x="T8" y="T9"/>
                  </a:cxn>
                  <a:cxn ang="0">
                    <a:pos x="T10" y="T11"/>
                  </a:cxn>
                </a:cxnLst>
                <a:rect l="0" t="0" r="r" b="b"/>
                <a:pathLst>
                  <a:path w="47" h="48">
                    <a:moveTo>
                      <a:pt x="0" y="48"/>
                    </a:moveTo>
                    <a:lnTo>
                      <a:pt x="47" y="48"/>
                    </a:lnTo>
                    <a:lnTo>
                      <a:pt x="47"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7" name="Freeform 144"/>
              <p:cNvSpPr>
                <a:spLocks/>
              </p:cNvSpPr>
              <p:nvPr/>
            </p:nvSpPr>
            <p:spPr bwMode="auto">
              <a:xfrm>
                <a:off x="1832" y="3622"/>
                <a:ext cx="44" cy="48"/>
              </a:xfrm>
              <a:custGeom>
                <a:avLst/>
                <a:gdLst>
                  <a:gd name="T0" fmla="*/ 44 w 44"/>
                  <a:gd name="T1" fmla="*/ 0 h 48"/>
                  <a:gd name="T2" fmla="*/ 0 w 44"/>
                  <a:gd name="T3" fmla="*/ 0 h 48"/>
                  <a:gd name="T4" fmla="*/ 0 w 44"/>
                  <a:gd name="T5" fmla="*/ 48 h 48"/>
                  <a:gd name="T6" fmla="*/ 44 w 44"/>
                  <a:gd name="T7" fmla="*/ 48 h 48"/>
                  <a:gd name="T8" fmla="*/ 44 w 44"/>
                  <a:gd name="T9" fmla="*/ 0 h 48"/>
                  <a:gd name="T10" fmla="*/ 44 w 44"/>
                  <a:gd name="T11" fmla="*/ 0 h 48"/>
                </a:gdLst>
                <a:ahLst/>
                <a:cxnLst>
                  <a:cxn ang="0">
                    <a:pos x="T0" y="T1"/>
                  </a:cxn>
                  <a:cxn ang="0">
                    <a:pos x="T2" y="T3"/>
                  </a:cxn>
                  <a:cxn ang="0">
                    <a:pos x="T4" y="T5"/>
                  </a:cxn>
                  <a:cxn ang="0">
                    <a:pos x="T6" y="T7"/>
                  </a:cxn>
                  <a:cxn ang="0">
                    <a:pos x="T8" y="T9"/>
                  </a:cxn>
                  <a:cxn ang="0">
                    <a:pos x="T10" y="T11"/>
                  </a:cxn>
                </a:cxnLst>
                <a:rect l="0" t="0" r="r" b="b"/>
                <a:pathLst>
                  <a:path w="44" h="48">
                    <a:moveTo>
                      <a:pt x="44" y="0"/>
                    </a:moveTo>
                    <a:lnTo>
                      <a:pt x="0" y="0"/>
                    </a:lnTo>
                    <a:lnTo>
                      <a:pt x="0" y="48"/>
                    </a:lnTo>
                    <a:lnTo>
                      <a:pt x="44" y="48"/>
                    </a:lnTo>
                    <a:lnTo>
                      <a:pt x="44" y="0"/>
                    </a:lnTo>
                    <a:lnTo>
                      <a:pt x="44"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8" name="Freeform 145"/>
              <p:cNvSpPr>
                <a:spLocks/>
              </p:cNvSpPr>
              <p:nvPr/>
            </p:nvSpPr>
            <p:spPr bwMode="auto">
              <a:xfrm>
                <a:off x="2033"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9" name="Freeform 146"/>
              <p:cNvSpPr>
                <a:spLocks/>
              </p:cNvSpPr>
              <p:nvPr/>
            </p:nvSpPr>
            <p:spPr bwMode="auto">
              <a:xfrm>
                <a:off x="2033"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0" name="Freeform 147"/>
              <p:cNvSpPr>
                <a:spLocks/>
              </p:cNvSpPr>
              <p:nvPr/>
            </p:nvSpPr>
            <p:spPr bwMode="auto">
              <a:xfrm>
                <a:off x="2033" y="3622"/>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1" name="Freeform 148"/>
              <p:cNvSpPr>
                <a:spLocks/>
              </p:cNvSpPr>
              <p:nvPr/>
            </p:nvSpPr>
            <p:spPr bwMode="auto">
              <a:xfrm>
                <a:off x="1975"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2" name="Freeform 149"/>
              <p:cNvSpPr>
                <a:spLocks/>
              </p:cNvSpPr>
              <p:nvPr/>
            </p:nvSpPr>
            <p:spPr bwMode="auto">
              <a:xfrm>
                <a:off x="1975"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3" name="Freeform 150"/>
              <p:cNvSpPr>
                <a:spLocks/>
              </p:cNvSpPr>
              <p:nvPr/>
            </p:nvSpPr>
            <p:spPr bwMode="auto">
              <a:xfrm>
                <a:off x="1975"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4" name="Freeform 151"/>
              <p:cNvSpPr>
                <a:spLocks/>
              </p:cNvSpPr>
              <p:nvPr/>
            </p:nvSpPr>
            <p:spPr bwMode="auto">
              <a:xfrm>
                <a:off x="2175" y="3734"/>
                <a:ext cx="48" cy="48"/>
              </a:xfrm>
              <a:custGeom>
                <a:avLst/>
                <a:gdLst>
                  <a:gd name="T0" fmla="*/ 0 w 48"/>
                  <a:gd name="T1" fmla="*/ 48 h 48"/>
                  <a:gd name="T2" fmla="*/ 48 w 48"/>
                  <a:gd name="T3" fmla="*/ 48 h 48"/>
                  <a:gd name="T4" fmla="*/ 48 w 48"/>
                  <a:gd name="T5" fmla="*/ 0 h 48"/>
                  <a:gd name="T6" fmla="*/ 0 w 48"/>
                  <a:gd name="T7" fmla="*/ 0 h 48"/>
                  <a:gd name="T8" fmla="*/ 0 w 48"/>
                  <a:gd name="T9" fmla="*/ 48 h 48"/>
                  <a:gd name="T10" fmla="*/ 0 w 48"/>
                  <a:gd name="T11" fmla="*/ 48 h 48"/>
                </a:gdLst>
                <a:ahLst/>
                <a:cxnLst>
                  <a:cxn ang="0">
                    <a:pos x="T0" y="T1"/>
                  </a:cxn>
                  <a:cxn ang="0">
                    <a:pos x="T2" y="T3"/>
                  </a:cxn>
                  <a:cxn ang="0">
                    <a:pos x="T4" y="T5"/>
                  </a:cxn>
                  <a:cxn ang="0">
                    <a:pos x="T6" y="T7"/>
                  </a:cxn>
                  <a:cxn ang="0">
                    <a:pos x="T8" y="T9"/>
                  </a:cxn>
                  <a:cxn ang="0">
                    <a:pos x="T10" y="T11"/>
                  </a:cxn>
                </a:cxnLst>
                <a:rect l="0" t="0" r="r" b="b"/>
                <a:pathLst>
                  <a:path w="48" h="48">
                    <a:moveTo>
                      <a:pt x="0" y="48"/>
                    </a:moveTo>
                    <a:lnTo>
                      <a:pt x="48" y="48"/>
                    </a:lnTo>
                    <a:lnTo>
                      <a:pt x="48" y="0"/>
                    </a:lnTo>
                    <a:lnTo>
                      <a:pt x="0" y="0"/>
                    </a:lnTo>
                    <a:lnTo>
                      <a:pt x="0" y="48"/>
                    </a:lnTo>
                    <a:lnTo>
                      <a:pt x="0" y="4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5" name="Freeform 152"/>
              <p:cNvSpPr>
                <a:spLocks/>
              </p:cNvSpPr>
              <p:nvPr/>
            </p:nvSpPr>
            <p:spPr bwMode="auto">
              <a:xfrm>
                <a:off x="2119" y="3734"/>
                <a:ext cx="46" cy="48"/>
              </a:xfrm>
              <a:custGeom>
                <a:avLst/>
                <a:gdLst>
                  <a:gd name="T0" fmla="*/ 0 w 46"/>
                  <a:gd name="T1" fmla="*/ 0 h 48"/>
                  <a:gd name="T2" fmla="*/ 0 w 46"/>
                  <a:gd name="T3" fmla="*/ 48 h 48"/>
                  <a:gd name="T4" fmla="*/ 46 w 46"/>
                  <a:gd name="T5" fmla="*/ 48 h 48"/>
                  <a:gd name="T6" fmla="*/ 46 w 46"/>
                  <a:gd name="T7" fmla="*/ 0 h 48"/>
                  <a:gd name="T8" fmla="*/ 0 w 46"/>
                  <a:gd name="T9" fmla="*/ 0 h 48"/>
                  <a:gd name="T10" fmla="*/ 0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0" y="0"/>
                    </a:moveTo>
                    <a:lnTo>
                      <a:pt x="0" y="48"/>
                    </a:lnTo>
                    <a:lnTo>
                      <a:pt x="46" y="48"/>
                    </a:lnTo>
                    <a:lnTo>
                      <a:pt x="4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6" name="Freeform 153"/>
              <p:cNvSpPr>
                <a:spLocks/>
              </p:cNvSpPr>
              <p:nvPr/>
            </p:nvSpPr>
            <p:spPr bwMode="auto">
              <a:xfrm>
                <a:off x="2175" y="3622"/>
                <a:ext cx="48" cy="48"/>
              </a:xfrm>
              <a:custGeom>
                <a:avLst/>
                <a:gdLst>
                  <a:gd name="T0" fmla="*/ 0 w 48"/>
                  <a:gd name="T1" fmla="*/ 0 h 48"/>
                  <a:gd name="T2" fmla="*/ 0 w 48"/>
                  <a:gd name="T3" fmla="*/ 48 h 48"/>
                  <a:gd name="T4" fmla="*/ 48 w 48"/>
                  <a:gd name="T5" fmla="*/ 48 h 48"/>
                  <a:gd name="T6" fmla="*/ 48 w 48"/>
                  <a:gd name="T7" fmla="*/ 0 h 48"/>
                  <a:gd name="T8" fmla="*/ 0 w 48"/>
                  <a:gd name="T9" fmla="*/ 0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48"/>
                    </a:lnTo>
                    <a:lnTo>
                      <a:pt x="48" y="48"/>
                    </a:lnTo>
                    <a:lnTo>
                      <a:pt x="48"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7" name="Freeform 154"/>
              <p:cNvSpPr>
                <a:spLocks/>
              </p:cNvSpPr>
              <p:nvPr/>
            </p:nvSpPr>
            <p:spPr bwMode="auto">
              <a:xfrm>
                <a:off x="2175" y="3682"/>
                <a:ext cx="48" cy="40"/>
              </a:xfrm>
              <a:custGeom>
                <a:avLst/>
                <a:gdLst>
                  <a:gd name="T0" fmla="*/ 0 w 48"/>
                  <a:gd name="T1" fmla="*/ 40 h 40"/>
                  <a:gd name="T2" fmla="*/ 48 w 48"/>
                  <a:gd name="T3" fmla="*/ 40 h 40"/>
                  <a:gd name="T4" fmla="*/ 48 w 48"/>
                  <a:gd name="T5" fmla="*/ 0 h 40"/>
                  <a:gd name="T6" fmla="*/ 0 w 48"/>
                  <a:gd name="T7" fmla="*/ 0 h 40"/>
                  <a:gd name="T8" fmla="*/ 0 w 48"/>
                  <a:gd name="T9" fmla="*/ 40 h 40"/>
                  <a:gd name="T10" fmla="*/ 0 w 48"/>
                  <a:gd name="T11" fmla="*/ 40 h 40"/>
                </a:gdLst>
                <a:ahLst/>
                <a:cxnLst>
                  <a:cxn ang="0">
                    <a:pos x="T0" y="T1"/>
                  </a:cxn>
                  <a:cxn ang="0">
                    <a:pos x="T2" y="T3"/>
                  </a:cxn>
                  <a:cxn ang="0">
                    <a:pos x="T4" y="T5"/>
                  </a:cxn>
                  <a:cxn ang="0">
                    <a:pos x="T6" y="T7"/>
                  </a:cxn>
                  <a:cxn ang="0">
                    <a:pos x="T8" y="T9"/>
                  </a:cxn>
                  <a:cxn ang="0">
                    <a:pos x="T10" y="T11"/>
                  </a:cxn>
                </a:cxnLst>
                <a:rect l="0" t="0" r="r" b="b"/>
                <a:pathLst>
                  <a:path w="48" h="40">
                    <a:moveTo>
                      <a:pt x="0" y="40"/>
                    </a:moveTo>
                    <a:lnTo>
                      <a:pt x="48" y="40"/>
                    </a:lnTo>
                    <a:lnTo>
                      <a:pt x="48" y="0"/>
                    </a:lnTo>
                    <a:lnTo>
                      <a:pt x="0" y="0"/>
                    </a:lnTo>
                    <a:lnTo>
                      <a:pt x="0" y="40"/>
                    </a:lnTo>
                    <a:lnTo>
                      <a:pt x="0" y="4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8" name="Freeform 155"/>
              <p:cNvSpPr>
                <a:spLocks/>
              </p:cNvSpPr>
              <p:nvPr/>
            </p:nvSpPr>
            <p:spPr bwMode="auto">
              <a:xfrm>
                <a:off x="2119" y="3682"/>
                <a:ext cx="46" cy="40"/>
              </a:xfrm>
              <a:custGeom>
                <a:avLst/>
                <a:gdLst>
                  <a:gd name="T0" fmla="*/ 46 w 46"/>
                  <a:gd name="T1" fmla="*/ 0 h 40"/>
                  <a:gd name="T2" fmla="*/ 0 w 46"/>
                  <a:gd name="T3" fmla="*/ 0 h 40"/>
                  <a:gd name="T4" fmla="*/ 0 w 46"/>
                  <a:gd name="T5" fmla="*/ 40 h 40"/>
                  <a:gd name="T6" fmla="*/ 46 w 46"/>
                  <a:gd name="T7" fmla="*/ 40 h 40"/>
                  <a:gd name="T8" fmla="*/ 46 w 46"/>
                  <a:gd name="T9" fmla="*/ 0 h 40"/>
                  <a:gd name="T10" fmla="*/ 46 w 46"/>
                  <a:gd name="T11" fmla="*/ 0 h 40"/>
                </a:gdLst>
                <a:ahLst/>
                <a:cxnLst>
                  <a:cxn ang="0">
                    <a:pos x="T0" y="T1"/>
                  </a:cxn>
                  <a:cxn ang="0">
                    <a:pos x="T2" y="T3"/>
                  </a:cxn>
                  <a:cxn ang="0">
                    <a:pos x="T4" y="T5"/>
                  </a:cxn>
                  <a:cxn ang="0">
                    <a:pos x="T6" y="T7"/>
                  </a:cxn>
                  <a:cxn ang="0">
                    <a:pos x="T8" y="T9"/>
                  </a:cxn>
                  <a:cxn ang="0">
                    <a:pos x="T10" y="T11"/>
                  </a:cxn>
                </a:cxnLst>
                <a:rect l="0" t="0" r="r" b="b"/>
                <a:pathLst>
                  <a:path w="46" h="40">
                    <a:moveTo>
                      <a:pt x="46" y="0"/>
                    </a:moveTo>
                    <a:lnTo>
                      <a:pt x="0" y="0"/>
                    </a:lnTo>
                    <a:lnTo>
                      <a:pt x="0" y="40"/>
                    </a:lnTo>
                    <a:lnTo>
                      <a:pt x="46" y="40"/>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9" name="Freeform 156"/>
              <p:cNvSpPr>
                <a:spLocks/>
              </p:cNvSpPr>
              <p:nvPr/>
            </p:nvSpPr>
            <p:spPr bwMode="auto">
              <a:xfrm>
                <a:off x="2119" y="3622"/>
                <a:ext cx="46" cy="48"/>
              </a:xfrm>
              <a:custGeom>
                <a:avLst/>
                <a:gdLst>
                  <a:gd name="T0" fmla="*/ 46 w 46"/>
                  <a:gd name="T1" fmla="*/ 0 h 48"/>
                  <a:gd name="T2" fmla="*/ 0 w 46"/>
                  <a:gd name="T3" fmla="*/ 0 h 48"/>
                  <a:gd name="T4" fmla="*/ 0 w 46"/>
                  <a:gd name="T5" fmla="*/ 48 h 48"/>
                  <a:gd name="T6" fmla="*/ 46 w 46"/>
                  <a:gd name="T7" fmla="*/ 48 h 48"/>
                  <a:gd name="T8" fmla="*/ 46 w 46"/>
                  <a:gd name="T9" fmla="*/ 0 h 48"/>
                  <a:gd name="T10" fmla="*/ 46 w 46"/>
                  <a:gd name="T11" fmla="*/ 0 h 48"/>
                </a:gdLst>
                <a:ahLst/>
                <a:cxnLst>
                  <a:cxn ang="0">
                    <a:pos x="T0" y="T1"/>
                  </a:cxn>
                  <a:cxn ang="0">
                    <a:pos x="T2" y="T3"/>
                  </a:cxn>
                  <a:cxn ang="0">
                    <a:pos x="T4" y="T5"/>
                  </a:cxn>
                  <a:cxn ang="0">
                    <a:pos x="T6" y="T7"/>
                  </a:cxn>
                  <a:cxn ang="0">
                    <a:pos x="T8" y="T9"/>
                  </a:cxn>
                  <a:cxn ang="0">
                    <a:pos x="T10" y="T11"/>
                  </a:cxn>
                </a:cxnLst>
                <a:rect l="0" t="0" r="r" b="b"/>
                <a:pathLst>
                  <a:path w="46" h="48">
                    <a:moveTo>
                      <a:pt x="46" y="0"/>
                    </a:moveTo>
                    <a:lnTo>
                      <a:pt x="0" y="0"/>
                    </a:lnTo>
                    <a:lnTo>
                      <a:pt x="0" y="48"/>
                    </a:lnTo>
                    <a:lnTo>
                      <a:pt x="46" y="48"/>
                    </a:lnTo>
                    <a:lnTo>
                      <a:pt x="46" y="0"/>
                    </a:lnTo>
                    <a:lnTo>
                      <a:pt x="4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0" name="Freeform 157"/>
              <p:cNvSpPr>
                <a:spLocks/>
              </p:cNvSpPr>
              <p:nvPr/>
            </p:nvSpPr>
            <p:spPr bwMode="auto">
              <a:xfrm>
                <a:off x="859" y="2309"/>
                <a:ext cx="905" cy="1766"/>
              </a:xfrm>
              <a:custGeom>
                <a:avLst/>
                <a:gdLst>
                  <a:gd name="T0" fmla="*/ 0 w 905"/>
                  <a:gd name="T1" fmla="*/ 1766 h 1766"/>
                  <a:gd name="T2" fmla="*/ 905 w 905"/>
                  <a:gd name="T3" fmla="*/ 1766 h 1766"/>
                  <a:gd name="T4" fmla="*/ 905 w 905"/>
                  <a:gd name="T5" fmla="*/ 0 h 1766"/>
                  <a:gd name="T6" fmla="*/ 0 w 905"/>
                  <a:gd name="T7" fmla="*/ 0 h 1766"/>
                  <a:gd name="T8" fmla="*/ 0 w 905"/>
                  <a:gd name="T9" fmla="*/ 1766 h 1766"/>
                  <a:gd name="T10" fmla="*/ 0 w 905"/>
                  <a:gd name="T11" fmla="*/ 1766 h 1766"/>
                </a:gdLst>
                <a:ahLst/>
                <a:cxnLst>
                  <a:cxn ang="0">
                    <a:pos x="T0" y="T1"/>
                  </a:cxn>
                  <a:cxn ang="0">
                    <a:pos x="T2" y="T3"/>
                  </a:cxn>
                  <a:cxn ang="0">
                    <a:pos x="T4" y="T5"/>
                  </a:cxn>
                  <a:cxn ang="0">
                    <a:pos x="T6" y="T7"/>
                  </a:cxn>
                  <a:cxn ang="0">
                    <a:pos x="T8" y="T9"/>
                  </a:cxn>
                  <a:cxn ang="0">
                    <a:pos x="T10" y="T11"/>
                  </a:cxn>
                </a:cxnLst>
                <a:rect l="0" t="0" r="r" b="b"/>
                <a:pathLst>
                  <a:path w="905" h="1766">
                    <a:moveTo>
                      <a:pt x="0" y="1766"/>
                    </a:moveTo>
                    <a:lnTo>
                      <a:pt x="905" y="1766"/>
                    </a:lnTo>
                    <a:lnTo>
                      <a:pt x="905" y="0"/>
                    </a:lnTo>
                    <a:lnTo>
                      <a:pt x="0" y="0"/>
                    </a:lnTo>
                    <a:lnTo>
                      <a:pt x="0" y="1766"/>
                    </a:lnTo>
                    <a:lnTo>
                      <a:pt x="0" y="1766"/>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1" name="Freeform 158"/>
              <p:cNvSpPr>
                <a:spLocks/>
              </p:cNvSpPr>
              <p:nvPr/>
            </p:nvSpPr>
            <p:spPr bwMode="auto">
              <a:xfrm>
                <a:off x="813" y="2273"/>
                <a:ext cx="995" cy="36"/>
              </a:xfrm>
              <a:custGeom>
                <a:avLst/>
                <a:gdLst>
                  <a:gd name="T0" fmla="*/ 0 w 995"/>
                  <a:gd name="T1" fmla="*/ 36 h 36"/>
                  <a:gd name="T2" fmla="*/ 995 w 995"/>
                  <a:gd name="T3" fmla="*/ 36 h 36"/>
                  <a:gd name="T4" fmla="*/ 995 w 995"/>
                  <a:gd name="T5" fmla="*/ 0 h 36"/>
                  <a:gd name="T6" fmla="*/ 0 w 995"/>
                  <a:gd name="T7" fmla="*/ 0 h 36"/>
                  <a:gd name="T8" fmla="*/ 0 w 995"/>
                  <a:gd name="T9" fmla="*/ 36 h 36"/>
                  <a:gd name="T10" fmla="*/ 0 w 995"/>
                  <a:gd name="T11" fmla="*/ 36 h 36"/>
                </a:gdLst>
                <a:ahLst/>
                <a:cxnLst>
                  <a:cxn ang="0">
                    <a:pos x="T0" y="T1"/>
                  </a:cxn>
                  <a:cxn ang="0">
                    <a:pos x="T2" y="T3"/>
                  </a:cxn>
                  <a:cxn ang="0">
                    <a:pos x="T4" y="T5"/>
                  </a:cxn>
                  <a:cxn ang="0">
                    <a:pos x="T6" y="T7"/>
                  </a:cxn>
                  <a:cxn ang="0">
                    <a:pos x="T8" y="T9"/>
                  </a:cxn>
                  <a:cxn ang="0">
                    <a:pos x="T10" y="T11"/>
                  </a:cxn>
                </a:cxnLst>
                <a:rect l="0" t="0" r="r" b="b"/>
                <a:pathLst>
                  <a:path w="995" h="36">
                    <a:moveTo>
                      <a:pt x="0" y="36"/>
                    </a:moveTo>
                    <a:lnTo>
                      <a:pt x="995" y="36"/>
                    </a:lnTo>
                    <a:lnTo>
                      <a:pt x="995" y="0"/>
                    </a:lnTo>
                    <a:lnTo>
                      <a:pt x="0" y="0"/>
                    </a:lnTo>
                    <a:lnTo>
                      <a:pt x="0" y="36"/>
                    </a:lnTo>
                    <a:lnTo>
                      <a:pt x="0" y="36"/>
                    </a:ln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2" name="Freeform 159"/>
              <p:cNvSpPr>
                <a:spLocks/>
              </p:cNvSpPr>
              <p:nvPr/>
            </p:nvSpPr>
            <p:spPr bwMode="auto">
              <a:xfrm>
                <a:off x="1166"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3" name="Freeform 160"/>
              <p:cNvSpPr>
                <a:spLocks/>
              </p:cNvSpPr>
              <p:nvPr/>
            </p:nvSpPr>
            <p:spPr bwMode="auto">
              <a:xfrm>
                <a:off x="1037"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4" name="Freeform 161"/>
              <p:cNvSpPr>
                <a:spLocks/>
              </p:cNvSpPr>
              <p:nvPr/>
            </p:nvSpPr>
            <p:spPr bwMode="auto">
              <a:xfrm>
                <a:off x="1484"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5" name="Freeform 162"/>
              <p:cNvSpPr>
                <a:spLocks/>
              </p:cNvSpPr>
              <p:nvPr/>
            </p:nvSpPr>
            <p:spPr bwMode="auto">
              <a:xfrm>
                <a:off x="1356" y="3846"/>
                <a:ext cx="118" cy="229"/>
              </a:xfrm>
              <a:custGeom>
                <a:avLst/>
                <a:gdLst>
                  <a:gd name="T0" fmla="*/ 0 w 118"/>
                  <a:gd name="T1" fmla="*/ 229 h 229"/>
                  <a:gd name="T2" fmla="*/ 118 w 118"/>
                  <a:gd name="T3" fmla="*/ 229 h 229"/>
                  <a:gd name="T4" fmla="*/ 118 w 118"/>
                  <a:gd name="T5" fmla="*/ 0 h 229"/>
                  <a:gd name="T6" fmla="*/ 0 w 118"/>
                  <a:gd name="T7" fmla="*/ 0 h 229"/>
                  <a:gd name="T8" fmla="*/ 0 w 118"/>
                  <a:gd name="T9" fmla="*/ 229 h 229"/>
                  <a:gd name="T10" fmla="*/ 0 w 118"/>
                  <a:gd name="T11" fmla="*/ 229 h 229"/>
                </a:gdLst>
                <a:ahLst/>
                <a:cxnLst>
                  <a:cxn ang="0">
                    <a:pos x="T0" y="T1"/>
                  </a:cxn>
                  <a:cxn ang="0">
                    <a:pos x="T2" y="T3"/>
                  </a:cxn>
                  <a:cxn ang="0">
                    <a:pos x="T4" y="T5"/>
                  </a:cxn>
                  <a:cxn ang="0">
                    <a:pos x="T6" y="T7"/>
                  </a:cxn>
                  <a:cxn ang="0">
                    <a:pos x="T8" y="T9"/>
                  </a:cxn>
                  <a:cxn ang="0">
                    <a:pos x="T10" y="T11"/>
                  </a:cxn>
                </a:cxnLst>
                <a:rect l="0" t="0" r="r" b="b"/>
                <a:pathLst>
                  <a:path w="118" h="229">
                    <a:moveTo>
                      <a:pt x="0" y="229"/>
                    </a:moveTo>
                    <a:lnTo>
                      <a:pt x="118" y="229"/>
                    </a:lnTo>
                    <a:lnTo>
                      <a:pt x="118" y="0"/>
                    </a:lnTo>
                    <a:lnTo>
                      <a:pt x="0" y="0"/>
                    </a:lnTo>
                    <a:lnTo>
                      <a:pt x="0" y="229"/>
                    </a:lnTo>
                    <a:lnTo>
                      <a:pt x="0" y="2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6" name="Freeform 163"/>
              <p:cNvSpPr>
                <a:spLocks/>
              </p:cNvSpPr>
              <p:nvPr/>
            </p:nvSpPr>
            <p:spPr bwMode="auto">
              <a:xfrm>
                <a:off x="635" y="3962"/>
                <a:ext cx="114" cy="24"/>
              </a:xfrm>
              <a:custGeom>
                <a:avLst/>
                <a:gdLst>
                  <a:gd name="T0" fmla="*/ 57 w 57"/>
                  <a:gd name="T1" fmla="*/ 6 h 12"/>
                  <a:gd name="T2" fmla="*/ 50 w 57"/>
                  <a:gd name="T3" fmla="*/ 0 h 12"/>
                  <a:gd name="T4" fmla="*/ 50 w 57"/>
                  <a:gd name="T5" fmla="*/ 0 h 12"/>
                  <a:gd name="T6" fmla="*/ 5 w 57"/>
                  <a:gd name="T7" fmla="*/ 0 h 12"/>
                  <a:gd name="T8" fmla="*/ 5 w 57"/>
                  <a:gd name="T9" fmla="*/ 0 h 12"/>
                  <a:gd name="T10" fmla="*/ 0 w 57"/>
                  <a:gd name="T11" fmla="*/ 6 h 12"/>
                  <a:gd name="T12" fmla="*/ 5 w 57"/>
                  <a:gd name="T13" fmla="*/ 12 h 12"/>
                  <a:gd name="T14" fmla="*/ 5 w 57"/>
                  <a:gd name="T15" fmla="*/ 12 h 12"/>
                  <a:gd name="T16" fmla="*/ 5 w 57"/>
                  <a:gd name="T17" fmla="*/ 12 h 12"/>
                  <a:gd name="T18" fmla="*/ 50 w 57"/>
                  <a:gd name="T19" fmla="*/ 12 h 12"/>
                  <a:gd name="T20" fmla="*/ 50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0" y="0"/>
                    </a:cubicBezTo>
                    <a:cubicBezTo>
                      <a:pt x="50" y="0"/>
                      <a:pt x="50" y="0"/>
                      <a:pt x="50" y="0"/>
                    </a:cubicBezTo>
                    <a:cubicBezTo>
                      <a:pt x="5" y="0"/>
                      <a:pt x="5" y="0"/>
                      <a:pt x="5" y="0"/>
                    </a:cubicBezTo>
                    <a:cubicBezTo>
                      <a:pt x="5" y="0"/>
                      <a:pt x="5" y="0"/>
                      <a:pt x="5" y="0"/>
                    </a:cubicBezTo>
                    <a:cubicBezTo>
                      <a:pt x="3" y="0"/>
                      <a:pt x="0" y="3"/>
                      <a:pt x="0" y="6"/>
                    </a:cubicBezTo>
                    <a:cubicBezTo>
                      <a:pt x="0" y="9"/>
                      <a:pt x="3" y="12"/>
                      <a:pt x="5" y="12"/>
                    </a:cubicBezTo>
                    <a:cubicBezTo>
                      <a:pt x="5" y="12"/>
                      <a:pt x="5" y="12"/>
                      <a:pt x="5" y="12"/>
                    </a:cubicBezTo>
                    <a:cubicBezTo>
                      <a:pt x="5" y="12"/>
                      <a:pt x="5" y="12"/>
                      <a:pt x="5" y="12"/>
                    </a:cubicBezTo>
                    <a:cubicBezTo>
                      <a:pt x="50" y="12"/>
                      <a:pt x="50" y="12"/>
                      <a:pt x="50" y="12"/>
                    </a:cubicBezTo>
                    <a:cubicBezTo>
                      <a:pt x="50" y="12"/>
                      <a:pt x="50" y="12"/>
                      <a:pt x="50"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7" name="Freeform 164"/>
              <p:cNvSpPr>
                <a:spLocks/>
              </p:cNvSpPr>
              <p:nvPr/>
            </p:nvSpPr>
            <p:spPr bwMode="auto">
              <a:xfrm>
                <a:off x="645" y="3986"/>
                <a:ext cx="90" cy="89"/>
              </a:xfrm>
              <a:custGeom>
                <a:avLst/>
                <a:gdLst>
                  <a:gd name="T0" fmla="*/ 86 w 90"/>
                  <a:gd name="T1" fmla="*/ 89 h 89"/>
                  <a:gd name="T2" fmla="*/ 8 w 90"/>
                  <a:gd name="T3" fmla="*/ 89 h 89"/>
                  <a:gd name="T4" fmla="*/ 0 w 90"/>
                  <a:gd name="T5" fmla="*/ 0 h 89"/>
                  <a:gd name="T6" fmla="*/ 90 w 90"/>
                  <a:gd name="T7" fmla="*/ 0 h 89"/>
                  <a:gd name="T8" fmla="*/ 86 w 90"/>
                  <a:gd name="T9" fmla="*/ 89 h 89"/>
                  <a:gd name="T10" fmla="*/ 86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6" y="89"/>
                    </a:moveTo>
                    <a:lnTo>
                      <a:pt x="8" y="89"/>
                    </a:lnTo>
                    <a:lnTo>
                      <a:pt x="0" y="0"/>
                    </a:lnTo>
                    <a:lnTo>
                      <a:pt x="90" y="0"/>
                    </a:lnTo>
                    <a:lnTo>
                      <a:pt x="86" y="89"/>
                    </a:lnTo>
                    <a:lnTo>
                      <a:pt x="86"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8" name="Freeform 165"/>
              <p:cNvSpPr>
                <a:spLocks/>
              </p:cNvSpPr>
              <p:nvPr/>
            </p:nvSpPr>
            <p:spPr bwMode="auto">
              <a:xfrm>
                <a:off x="681"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9" name="Freeform 166"/>
              <p:cNvSpPr>
                <a:spLocks/>
              </p:cNvSpPr>
              <p:nvPr/>
            </p:nvSpPr>
            <p:spPr bwMode="auto">
              <a:xfrm>
                <a:off x="625" y="3740"/>
                <a:ext cx="130" cy="208"/>
              </a:xfrm>
              <a:custGeom>
                <a:avLst/>
                <a:gdLst>
                  <a:gd name="T0" fmla="*/ 48 w 65"/>
                  <a:gd name="T1" fmla="*/ 41 h 104"/>
                  <a:gd name="T2" fmla="*/ 57 w 65"/>
                  <a:gd name="T3" fmla="*/ 24 h 104"/>
                  <a:gd name="T4" fmla="*/ 33 w 65"/>
                  <a:gd name="T5" fmla="*/ 0 h 104"/>
                  <a:gd name="T6" fmla="*/ 9 w 65"/>
                  <a:gd name="T7" fmla="*/ 24 h 104"/>
                  <a:gd name="T8" fmla="*/ 18 w 65"/>
                  <a:gd name="T9" fmla="*/ 41 h 104"/>
                  <a:gd name="T10" fmla="*/ 0 w 65"/>
                  <a:gd name="T11" fmla="*/ 70 h 104"/>
                  <a:gd name="T12" fmla="*/ 33 w 65"/>
                  <a:gd name="T13" fmla="*/ 104 h 104"/>
                  <a:gd name="T14" fmla="*/ 65 w 65"/>
                  <a:gd name="T15" fmla="*/ 70 h 104"/>
                  <a:gd name="T16" fmla="*/ 48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8" y="41"/>
                    </a:moveTo>
                    <a:cubicBezTo>
                      <a:pt x="54" y="37"/>
                      <a:pt x="57" y="30"/>
                      <a:pt x="57" y="24"/>
                    </a:cubicBezTo>
                    <a:cubicBezTo>
                      <a:pt x="57" y="10"/>
                      <a:pt x="47" y="0"/>
                      <a:pt x="33" y="0"/>
                    </a:cubicBezTo>
                    <a:cubicBezTo>
                      <a:pt x="20" y="0"/>
                      <a:pt x="9" y="10"/>
                      <a:pt x="9" y="24"/>
                    </a:cubicBezTo>
                    <a:cubicBezTo>
                      <a:pt x="9" y="30"/>
                      <a:pt x="13" y="37"/>
                      <a:pt x="18" y="41"/>
                    </a:cubicBezTo>
                    <a:cubicBezTo>
                      <a:pt x="8" y="47"/>
                      <a:pt x="0" y="58"/>
                      <a:pt x="0" y="70"/>
                    </a:cubicBezTo>
                    <a:cubicBezTo>
                      <a:pt x="0" y="89"/>
                      <a:pt x="15" y="104"/>
                      <a:pt x="33" y="104"/>
                    </a:cubicBezTo>
                    <a:cubicBezTo>
                      <a:pt x="52" y="104"/>
                      <a:pt x="65" y="89"/>
                      <a:pt x="65" y="70"/>
                    </a:cubicBezTo>
                    <a:cubicBezTo>
                      <a:pt x="65" y="58"/>
                      <a:pt x="59" y="47"/>
                      <a:pt x="48"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0" name="Freeform 167"/>
              <p:cNvSpPr>
                <a:spLocks/>
              </p:cNvSpPr>
              <p:nvPr/>
            </p:nvSpPr>
            <p:spPr bwMode="auto">
              <a:xfrm>
                <a:off x="469" y="3962"/>
                <a:ext cx="114" cy="24"/>
              </a:xfrm>
              <a:custGeom>
                <a:avLst/>
                <a:gdLst>
                  <a:gd name="T0" fmla="*/ 57 w 57"/>
                  <a:gd name="T1" fmla="*/ 6 h 12"/>
                  <a:gd name="T2" fmla="*/ 52 w 57"/>
                  <a:gd name="T3" fmla="*/ 0 h 12"/>
                  <a:gd name="T4" fmla="*/ 52 w 57"/>
                  <a:gd name="T5" fmla="*/ 0 h 12"/>
                  <a:gd name="T6" fmla="*/ 7 w 57"/>
                  <a:gd name="T7" fmla="*/ 0 h 12"/>
                  <a:gd name="T8" fmla="*/ 7 w 57"/>
                  <a:gd name="T9" fmla="*/ 0 h 12"/>
                  <a:gd name="T10" fmla="*/ 0 w 57"/>
                  <a:gd name="T11" fmla="*/ 6 h 12"/>
                  <a:gd name="T12" fmla="*/ 7 w 57"/>
                  <a:gd name="T13" fmla="*/ 12 h 12"/>
                  <a:gd name="T14" fmla="*/ 7 w 57"/>
                  <a:gd name="T15" fmla="*/ 12 h 12"/>
                  <a:gd name="T16" fmla="*/ 7 w 57"/>
                  <a:gd name="T17" fmla="*/ 12 h 12"/>
                  <a:gd name="T18" fmla="*/ 52 w 57"/>
                  <a:gd name="T19" fmla="*/ 12 h 12"/>
                  <a:gd name="T20" fmla="*/ 52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2" y="0"/>
                    </a:cubicBezTo>
                    <a:cubicBezTo>
                      <a:pt x="52" y="0"/>
                      <a:pt x="52" y="0"/>
                      <a:pt x="52" y="0"/>
                    </a:cubicBezTo>
                    <a:cubicBezTo>
                      <a:pt x="7" y="0"/>
                      <a:pt x="7" y="0"/>
                      <a:pt x="7" y="0"/>
                    </a:cubicBezTo>
                    <a:cubicBezTo>
                      <a:pt x="7" y="0"/>
                      <a:pt x="7" y="0"/>
                      <a:pt x="7" y="0"/>
                    </a:cubicBezTo>
                    <a:cubicBezTo>
                      <a:pt x="3" y="0"/>
                      <a:pt x="0" y="3"/>
                      <a:pt x="0" y="6"/>
                    </a:cubicBezTo>
                    <a:cubicBezTo>
                      <a:pt x="0" y="9"/>
                      <a:pt x="3" y="12"/>
                      <a:pt x="7" y="12"/>
                    </a:cubicBezTo>
                    <a:cubicBezTo>
                      <a:pt x="7" y="12"/>
                      <a:pt x="7" y="12"/>
                      <a:pt x="7" y="12"/>
                    </a:cubicBezTo>
                    <a:cubicBezTo>
                      <a:pt x="7" y="12"/>
                      <a:pt x="7" y="12"/>
                      <a:pt x="7" y="12"/>
                    </a:cubicBezTo>
                    <a:cubicBezTo>
                      <a:pt x="52" y="12"/>
                      <a:pt x="52" y="12"/>
                      <a:pt x="52" y="12"/>
                    </a:cubicBezTo>
                    <a:cubicBezTo>
                      <a:pt x="52" y="12"/>
                      <a:pt x="52" y="12"/>
                      <a:pt x="52"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1" name="Freeform 168"/>
              <p:cNvSpPr>
                <a:spLocks/>
              </p:cNvSpPr>
              <p:nvPr/>
            </p:nvSpPr>
            <p:spPr bwMode="auto">
              <a:xfrm>
                <a:off x="483" y="3986"/>
                <a:ext cx="90" cy="89"/>
              </a:xfrm>
              <a:custGeom>
                <a:avLst/>
                <a:gdLst>
                  <a:gd name="T0" fmla="*/ 82 w 90"/>
                  <a:gd name="T1" fmla="*/ 89 h 89"/>
                  <a:gd name="T2" fmla="*/ 4 w 90"/>
                  <a:gd name="T3" fmla="*/ 89 h 89"/>
                  <a:gd name="T4" fmla="*/ 0 w 90"/>
                  <a:gd name="T5" fmla="*/ 0 h 89"/>
                  <a:gd name="T6" fmla="*/ 90 w 90"/>
                  <a:gd name="T7" fmla="*/ 0 h 89"/>
                  <a:gd name="T8" fmla="*/ 82 w 90"/>
                  <a:gd name="T9" fmla="*/ 89 h 89"/>
                  <a:gd name="T10" fmla="*/ 82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2" y="89"/>
                    </a:moveTo>
                    <a:lnTo>
                      <a:pt x="4" y="89"/>
                    </a:lnTo>
                    <a:lnTo>
                      <a:pt x="0" y="0"/>
                    </a:lnTo>
                    <a:lnTo>
                      <a:pt x="90" y="0"/>
                    </a:lnTo>
                    <a:lnTo>
                      <a:pt x="82" y="89"/>
                    </a:lnTo>
                    <a:lnTo>
                      <a:pt x="82"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2" name="Freeform 169"/>
              <p:cNvSpPr>
                <a:spLocks/>
              </p:cNvSpPr>
              <p:nvPr/>
            </p:nvSpPr>
            <p:spPr bwMode="auto">
              <a:xfrm>
                <a:off x="515"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3" name="Freeform 170"/>
              <p:cNvSpPr>
                <a:spLocks/>
              </p:cNvSpPr>
              <p:nvPr/>
            </p:nvSpPr>
            <p:spPr bwMode="auto">
              <a:xfrm>
                <a:off x="463" y="3740"/>
                <a:ext cx="130" cy="208"/>
              </a:xfrm>
              <a:custGeom>
                <a:avLst/>
                <a:gdLst>
                  <a:gd name="T0" fmla="*/ 47 w 65"/>
                  <a:gd name="T1" fmla="*/ 41 h 104"/>
                  <a:gd name="T2" fmla="*/ 56 w 65"/>
                  <a:gd name="T3" fmla="*/ 24 h 104"/>
                  <a:gd name="T4" fmla="*/ 32 w 65"/>
                  <a:gd name="T5" fmla="*/ 0 h 104"/>
                  <a:gd name="T6" fmla="*/ 8 w 65"/>
                  <a:gd name="T7" fmla="*/ 24 h 104"/>
                  <a:gd name="T8" fmla="*/ 17 w 65"/>
                  <a:gd name="T9" fmla="*/ 41 h 104"/>
                  <a:gd name="T10" fmla="*/ 0 w 65"/>
                  <a:gd name="T11" fmla="*/ 70 h 104"/>
                  <a:gd name="T12" fmla="*/ 32 w 65"/>
                  <a:gd name="T13" fmla="*/ 104 h 104"/>
                  <a:gd name="T14" fmla="*/ 65 w 65"/>
                  <a:gd name="T15" fmla="*/ 70 h 104"/>
                  <a:gd name="T16" fmla="*/ 47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7" y="41"/>
                    </a:moveTo>
                    <a:cubicBezTo>
                      <a:pt x="52" y="37"/>
                      <a:pt x="56" y="30"/>
                      <a:pt x="56" y="24"/>
                    </a:cubicBezTo>
                    <a:cubicBezTo>
                      <a:pt x="56" y="10"/>
                      <a:pt x="45" y="0"/>
                      <a:pt x="32" y="0"/>
                    </a:cubicBezTo>
                    <a:cubicBezTo>
                      <a:pt x="18" y="0"/>
                      <a:pt x="8" y="10"/>
                      <a:pt x="8" y="24"/>
                    </a:cubicBezTo>
                    <a:cubicBezTo>
                      <a:pt x="8" y="30"/>
                      <a:pt x="11" y="37"/>
                      <a:pt x="17" y="41"/>
                    </a:cubicBezTo>
                    <a:cubicBezTo>
                      <a:pt x="6" y="47"/>
                      <a:pt x="0" y="58"/>
                      <a:pt x="0" y="70"/>
                    </a:cubicBezTo>
                    <a:cubicBezTo>
                      <a:pt x="0" y="89"/>
                      <a:pt x="13" y="104"/>
                      <a:pt x="32" y="104"/>
                    </a:cubicBezTo>
                    <a:cubicBezTo>
                      <a:pt x="50" y="104"/>
                      <a:pt x="65" y="89"/>
                      <a:pt x="65" y="70"/>
                    </a:cubicBezTo>
                    <a:cubicBezTo>
                      <a:pt x="65" y="58"/>
                      <a:pt x="57" y="47"/>
                      <a:pt x="47"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4" name="Freeform 171"/>
              <p:cNvSpPr>
                <a:spLocks/>
              </p:cNvSpPr>
              <p:nvPr/>
            </p:nvSpPr>
            <p:spPr bwMode="auto">
              <a:xfrm>
                <a:off x="2025" y="3962"/>
                <a:ext cx="114" cy="24"/>
              </a:xfrm>
              <a:custGeom>
                <a:avLst/>
                <a:gdLst>
                  <a:gd name="T0" fmla="*/ 57 w 57"/>
                  <a:gd name="T1" fmla="*/ 6 h 12"/>
                  <a:gd name="T2" fmla="*/ 50 w 57"/>
                  <a:gd name="T3" fmla="*/ 0 h 12"/>
                  <a:gd name="T4" fmla="*/ 50 w 57"/>
                  <a:gd name="T5" fmla="*/ 0 h 12"/>
                  <a:gd name="T6" fmla="*/ 5 w 57"/>
                  <a:gd name="T7" fmla="*/ 0 h 12"/>
                  <a:gd name="T8" fmla="*/ 5 w 57"/>
                  <a:gd name="T9" fmla="*/ 0 h 12"/>
                  <a:gd name="T10" fmla="*/ 0 w 57"/>
                  <a:gd name="T11" fmla="*/ 6 h 12"/>
                  <a:gd name="T12" fmla="*/ 5 w 57"/>
                  <a:gd name="T13" fmla="*/ 12 h 12"/>
                  <a:gd name="T14" fmla="*/ 5 w 57"/>
                  <a:gd name="T15" fmla="*/ 12 h 12"/>
                  <a:gd name="T16" fmla="*/ 5 w 57"/>
                  <a:gd name="T17" fmla="*/ 12 h 12"/>
                  <a:gd name="T18" fmla="*/ 50 w 57"/>
                  <a:gd name="T19" fmla="*/ 12 h 12"/>
                  <a:gd name="T20" fmla="*/ 50 w 57"/>
                  <a:gd name="T21" fmla="*/ 12 h 12"/>
                  <a:gd name="T22" fmla="*/ 57 w 57"/>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12">
                    <a:moveTo>
                      <a:pt x="57" y="6"/>
                    </a:moveTo>
                    <a:cubicBezTo>
                      <a:pt x="57" y="3"/>
                      <a:pt x="54" y="0"/>
                      <a:pt x="50" y="0"/>
                    </a:cubicBezTo>
                    <a:cubicBezTo>
                      <a:pt x="50" y="0"/>
                      <a:pt x="50" y="0"/>
                      <a:pt x="50" y="0"/>
                    </a:cubicBezTo>
                    <a:cubicBezTo>
                      <a:pt x="5" y="0"/>
                      <a:pt x="5" y="0"/>
                      <a:pt x="5" y="0"/>
                    </a:cubicBezTo>
                    <a:cubicBezTo>
                      <a:pt x="5" y="0"/>
                      <a:pt x="5" y="0"/>
                      <a:pt x="5" y="0"/>
                    </a:cubicBezTo>
                    <a:cubicBezTo>
                      <a:pt x="3" y="0"/>
                      <a:pt x="0" y="3"/>
                      <a:pt x="0" y="6"/>
                    </a:cubicBezTo>
                    <a:cubicBezTo>
                      <a:pt x="0" y="9"/>
                      <a:pt x="3" y="12"/>
                      <a:pt x="5" y="12"/>
                    </a:cubicBezTo>
                    <a:cubicBezTo>
                      <a:pt x="5" y="12"/>
                      <a:pt x="5" y="12"/>
                      <a:pt x="5" y="12"/>
                    </a:cubicBezTo>
                    <a:cubicBezTo>
                      <a:pt x="5" y="12"/>
                      <a:pt x="5" y="12"/>
                      <a:pt x="5" y="12"/>
                    </a:cubicBezTo>
                    <a:cubicBezTo>
                      <a:pt x="50" y="12"/>
                      <a:pt x="50" y="12"/>
                      <a:pt x="50" y="12"/>
                    </a:cubicBezTo>
                    <a:cubicBezTo>
                      <a:pt x="50" y="12"/>
                      <a:pt x="50" y="12"/>
                      <a:pt x="50"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5" name="Freeform 172"/>
              <p:cNvSpPr>
                <a:spLocks/>
              </p:cNvSpPr>
              <p:nvPr/>
            </p:nvSpPr>
            <p:spPr bwMode="auto">
              <a:xfrm>
                <a:off x="2035" y="3986"/>
                <a:ext cx="90" cy="89"/>
              </a:xfrm>
              <a:custGeom>
                <a:avLst/>
                <a:gdLst>
                  <a:gd name="T0" fmla="*/ 86 w 90"/>
                  <a:gd name="T1" fmla="*/ 89 h 89"/>
                  <a:gd name="T2" fmla="*/ 8 w 90"/>
                  <a:gd name="T3" fmla="*/ 89 h 89"/>
                  <a:gd name="T4" fmla="*/ 0 w 90"/>
                  <a:gd name="T5" fmla="*/ 0 h 89"/>
                  <a:gd name="T6" fmla="*/ 90 w 90"/>
                  <a:gd name="T7" fmla="*/ 0 h 89"/>
                  <a:gd name="T8" fmla="*/ 86 w 90"/>
                  <a:gd name="T9" fmla="*/ 89 h 89"/>
                  <a:gd name="T10" fmla="*/ 86 w 90"/>
                  <a:gd name="T11" fmla="*/ 89 h 89"/>
                </a:gdLst>
                <a:ahLst/>
                <a:cxnLst>
                  <a:cxn ang="0">
                    <a:pos x="T0" y="T1"/>
                  </a:cxn>
                  <a:cxn ang="0">
                    <a:pos x="T2" y="T3"/>
                  </a:cxn>
                  <a:cxn ang="0">
                    <a:pos x="T4" y="T5"/>
                  </a:cxn>
                  <a:cxn ang="0">
                    <a:pos x="T6" y="T7"/>
                  </a:cxn>
                  <a:cxn ang="0">
                    <a:pos x="T8" y="T9"/>
                  </a:cxn>
                  <a:cxn ang="0">
                    <a:pos x="T10" y="T11"/>
                  </a:cxn>
                </a:cxnLst>
                <a:rect l="0" t="0" r="r" b="b"/>
                <a:pathLst>
                  <a:path w="90" h="89">
                    <a:moveTo>
                      <a:pt x="86" y="89"/>
                    </a:moveTo>
                    <a:lnTo>
                      <a:pt x="8" y="89"/>
                    </a:lnTo>
                    <a:lnTo>
                      <a:pt x="0" y="0"/>
                    </a:lnTo>
                    <a:lnTo>
                      <a:pt x="90" y="0"/>
                    </a:lnTo>
                    <a:lnTo>
                      <a:pt x="86" y="89"/>
                    </a:lnTo>
                    <a:lnTo>
                      <a:pt x="86"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6" name="Freeform 173"/>
              <p:cNvSpPr>
                <a:spLocks/>
              </p:cNvSpPr>
              <p:nvPr/>
            </p:nvSpPr>
            <p:spPr bwMode="auto">
              <a:xfrm>
                <a:off x="2071" y="3930"/>
                <a:ext cx="22" cy="32"/>
              </a:xfrm>
              <a:custGeom>
                <a:avLst/>
                <a:gdLst>
                  <a:gd name="T0" fmla="*/ 22 w 22"/>
                  <a:gd name="T1" fmla="*/ 32 h 32"/>
                  <a:gd name="T2" fmla="*/ 0 w 22"/>
                  <a:gd name="T3" fmla="*/ 32 h 32"/>
                  <a:gd name="T4" fmla="*/ 0 w 22"/>
                  <a:gd name="T5" fmla="*/ 0 h 32"/>
                  <a:gd name="T6" fmla="*/ 22 w 22"/>
                  <a:gd name="T7" fmla="*/ 0 h 32"/>
                  <a:gd name="T8" fmla="*/ 22 w 22"/>
                  <a:gd name="T9" fmla="*/ 32 h 32"/>
                  <a:gd name="T10" fmla="*/ 22 w 22"/>
                  <a:gd name="T11" fmla="*/ 32 h 32"/>
                </a:gdLst>
                <a:ahLst/>
                <a:cxnLst>
                  <a:cxn ang="0">
                    <a:pos x="T0" y="T1"/>
                  </a:cxn>
                  <a:cxn ang="0">
                    <a:pos x="T2" y="T3"/>
                  </a:cxn>
                  <a:cxn ang="0">
                    <a:pos x="T4" y="T5"/>
                  </a:cxn>
                  <a:cxn ang="0">
                    <a:pos x="T6" y="T7"/>
                  </a:cxn>
                  <a:cxn ang="0">
                    <a:pos x="T8" y="T9"/>
                  </a:cxn>
                  <a:cxn ang="0">
                    <a:pos x="T10" y="T11"/>
                  </a:cxn>
                </a:cxnLst>
                <a:rect l="0" t="0" r="r" b="b"/>
                <a:pathLst>
                  <a:path w="22" h="32">
                    <a:moveTo>
                      <a:pt x="22" y="32"/>
                    </a:moveTo>
                    <a:lnTo>
                      <a:pt x="0" y="32"/>
                    </a:lnTo>
                    <a:lnTo>
                      <a:pt x="0" y="0"/>
                    </a:lnTo>
                    <a:lnTo>
                      <a:pt x="22" y="0"/>
                    </a:lnTo>
                    <a:lnTo>
                      <a:pt x="22" y="32"/>
                    </a:lnTo>
                    <a:lnTo>
                      <a:pt x="22"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7" name="Freeform 174"/>
              <p:cNvSpPr>
                <a:spLocks/>
              </p:cNvSpPr>
              <p:nvPr/>
            </p:nvSpPr>
            <p:spPr bwMode="auto">
              <a:xfrm>
                <a:off x="2015" y="3740"/>
                <a:ext cx="134" cy="208"/>
              </a:xfrm>
              <a:custGeom>
                <a:avLst/>
                <a:gdLst>
                  <a:gd name="T0" fmla="*/ 49 w 67"/>
                  <a:gd name="T1" fmla="*/ 41 h 104"/>
                  <a:gd name="T2" fmla="*/ 57 w 67"/>
                  <a:gd name="T3" fmla="*/ 24 h 104"/>
                  <a:gd name="T4" fmla="*/ 33 w 67"/>
                  <a:gd name="T5" fmla="*/ 0 h 104"/>
                  <a:gd name="T6" fmla="*/ 9 w 67"/>
                  <a:gd name="T7" fmla="*/ 24 h 104"/>
                  <a:gd name="T8" fmla="*/ 18 w 67"/>
                  <a:gd name="T9" fmla="*/ 41 h 104"/>
                  <a:gd name="T10" fmla="*/ 0 w 67"/>
                  <a:gd name="T11" fmla="*/ 70 h 104"/>
                  <a:gd name="T12" fmla="*/ 33 w 67"/>
                  <a:gd name="T13" fmla="*/ 104 h 104"/>
                  <a:gd name="T14" fmla="*/ 67 w 67"/>
                  <a:gd name="T15" fmla="*/ 70 h 104"/>
                  <a:gd name="T16" fmla="*/ 49 w 67"/>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104">
                    <a:moveTo>
                      <a:pt x="49" y="41"/>
                    </a:moveTo>
                    <a:cubicBezTo>
                      <a:pt x="54" y="37"/>
                      <a:pt x="57" y="30"/>
                      <a:pt x="57" y="24"/>
                    </a:cubicBezTo>
                    <a:cubicBezTo>
                      <a:pt x="57" y="10"/>
                      <a:pt x="47" y="0"/>
                      <a:pt x="33" y="0"/>
                    </a:cubicBezTo>
                    <a:cubicBezTo>
                      <a:pt x="20" y="0"/>
                      <a:pt x="9" y="10"/>
                      <a:pt x="9" y="24"/>
                    </a:cubicBezTo>
                    <a:cubicBezTo>
                      <a:pt x="9" y="30"/>
                      <a:pt x="13" y="37"/>
                      <a:pt x="18" y="41"/>
                    </a:cubicBezTo>
                    <a:cubicBezTo>
                      <a:pt x="8" y="47"/>
                      <a:pt x="0" y="58"/>
                      <a:pt x="0" y="70"/>
                    </a:cubicBezTo>
                    <a:cubicBezTo>
                      <a:pt x="0" y="89"/>
                      <a:pt x="15" y="104"/>
                      <a:pt x="33" y="104"/>
                    </a:cubicBezTo>
                    <a:cubicBezTo>
                      <a:pt x="52" y="104"/>
                      <a:pt x="67" y="89"/>
                      <a:pt x="67" y="70"/>
                    </a:cubicBezTo>
                    <a:cubicBezTo>
                      <a:pt x="67" y="58"/>
                      <a:pt x="59" y="47"/>
                      <a:pt x="49"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8" name="Freeform 175"/>
              <p:cNvSpPr>
                <a:spLocks/>
              </p:cNvSpPr>
              <p:nvPr/>
            </p:nvSpPr>
            <p:spPr bwMode="auto">
              <a:xfrm>
                <a:off x="1858" y="3962"/>
                <a:ext cx="115" cy="24"/>
              </a:xfrm>
              <a:custGeom>
                <a:avLst/>
                <a:gdLst>
                  <a:gd name="T0" fmla="*/ 57 w 57"/>
                  <a:gd name="T1" fmla="*/ 6 h 12"/>
                  <a:gd name="T2" fmla="*/ 52 w 57"/>
                  <a:gd name="T3" fmla="*/ 0 h 12"/>
                  <a:gd name="T4" fmla="*/ 52 w 57"/>
                  <a:gd name="T5" fmla="*/ 0 h 12"/>
                  <a:gd name="T6" fmla="*/ 52 w 57"/>
                  <a:gd name="T7" fmla="*/ 0 h 12"/>
                  <a:gd name="T8" fmla="*/ 52 w 57"/>
                  <a:gd name="T9" fmla="*/ 0 h 12"/>
                  <a:gd name="T10" fmla="*/ 52 w 57"/>
                  <a:gd name="T11" fmla="*/ 0 h 12"/>
                  <a:gd name="T12" fmla="*/ 7 w 57"/>
                  <a:gd name="T13" fmla="*/ 0 h 12"/>
                  <a:gd name="T14" fmla="*/ 7 w 57"/>
                  <a:gd name="T15" fmla="*/ 0 h 12"/>
                  <a:gd name="T16" fmla="*/ 0 w 57"/>
                  <a:gd name="T17" fmla="*/ 6 h 12"/>
                  <a:gd name="T18" fmla="*/ 7 w 57"/>
                  <a:gd name="T19" fmla="*/ 12 h 12"/>
                  <a:gd name="T20" fmla="*/ 7 w 57"/>
                  <a:gd name="T21" fmla="*/ 12 h 12"/>
                  <a:gd name="T22" fmla="*/ 7 w 57"/>
                  <a:gd name="T23" fmla="*/ 12 h 12"/>
                  <a:gd name="T24" fmla="*/ 52 w 57"/>
                  <a:gd name="T25" fmla="*/ 12 h 12"/>
                  <a:gd name="T26" fmla="*/ 52 w 57"/>
                  <a:gd name="T27" fmla="*/ 12 h 12"/>
                  <a:gd name="T28" fmla="*/ 57 w 57"/>
                  <a:gd name="T2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12">
                    <a:moveTo>
                      <a:pt x="57" y="6"/>
                    </a:moveTo>
                    <a:cubicBezTo>
                      <a:pt x="57" y="3"/>
                      <a:pt x="54" y="0"/>
                      <a:pt x="52" y="0"/>
                    </a:cubicBezTo>
                    <a:cubicBezTo>
                      <a:pt x="52" y="0"/>
                      <a:pt x="52" y="0"/>
                      <a:pt x="52" y="0"/>
                    </a:cubicBezTo>
                    <a:cubicBezTo>
                      <a:pt x="52" y="0"/>
                      <a:pt x="52" y="0"/>
                      <a:pt x="52" y="0"/>
                    </a:cubicBezTo>
                    <a:cubicBezTo>
                      <a:pt x="52" y="0"/>
                      <a:pt x="52" y="0"/>
                      <a:pt x="52" y="0"/>
                    </a:cubicBezTo>
                    <a:cubicBezTo>
                      <a:pt x="52" y="0"/>
                      <a:pt x="52" y="0"/>
                      <a:pt x="52" y="0"/>
                    </a:cubicBezTo>
                    <a:cubicBezTo>
                      <a:pt x="7" y="0"/>
                      <a:pt x="7" y="0"/>
                      <a:pt x="7" y="0"/>
                    </a:cubicBezTo>
                    <a:cubicBezTo>
                      <a:pt x="7" y="0"/>
                      <a:pt x="7" y="0"/>
                      <a:pt x="7" y="0"/>
                    </a:cubicBezTo>
                    <a:cubicBezTo>
                      <a:pt x="3" y="0"/>
                      <a:pt x="0" y="3"/>
                      <a:pt x="0" y="6"/>
                    </a:cubicBezTo>
                    <a:cubicBezTo>
                      <a:pt x="0" y="9"/>
                      <a:pt x="3" y="12"/>
                      <a:pt x="7" y="12"/>
                    </a:cubicBezTo>
                    <a:cubicBezTo>
                      <a:pt x="7" y="12"/>
                      <a:pt x="7" y="12"/>
                      <a:pt x="7" y="12"/>
                    </a:cubicBezTo>
                    <a:cubicBezTo>
                      <a:pt x="7" y="12"/>
                      <a:pt x="7" y="12"/>
                      <a:pt x="7" y="12"/>
                    </a:cubicBezTo>
                    <a:cubicBezTo>
                      <a:pt x="52" y="12"/>
                      <a:pt x="52" y="12"/>
                      <a:pt x="52" y="12"/>
                    </a:cubicBezTo>
                    <a:cubicBezTo>
                      <a:pt x="52" y="12"/>
                      <a:pt x="52" y="12"/>
                      <a:pt x="52" y="12"/>
                    </a:cubicBezTo>
                    <a:cubicBezTo>
                      <a:pt x="54" y="12"/>
                      <a:pt x="57" y="9"/>
                      <a:pt x="57" y="6"/>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9" name="Freeform 176"/>
              <p:cNvSpPr>
                <a:spLocks/>
              </p:cNvSpPr>
              <p:nvPr/>
            </p:nvSpPr>
            <p:spPr bwMode="auto">
              <a:xfrm>
                <a:off x="1872" y="3986"/>
                <a:ext cx="91" cy="89"/>
              </a:xfrm>
              <a:custGeom>
                <a:avLst/>
                <a:gdLst>
                  <a:gd name="T0" fmla="*/ 83 w 91"/>
                  <a:gd name="T1" fmla="*/ 89 h 89"/>
                  <a:gd name="T2" fmla="*/ 4 w 91"/>
                  <a:gd name="T3" fmla="*/ 89 h 89"/>
                  <a:gd name="T4" fmla="*/ 0 w 91"/>
                  <a:gd name="T5" fmla="*/ 0 h 89"/>
                  <a:gd name="T6" fmla="*/ 91 w 91"/>
                  <a:gd name="T7" fmla="*/ 0 h 89"/>
                  <a:gd name="T8" fmla="*/ 83 w 91"/>
                  <a:gd name="T9" fmla="*/ 89 h 89"/>
                  <a:gd name="T10" fmla="*/ 83 w 91"/>
                  <a:gd name="T11" fmla="*/ 89 h 89"/>
                </a:gdLst>
                <a:ahLst/>
                <a:cxnLst>
                  <a:cxn ang="0">
                    <a:pos x="T0" y="T1"/>
                  </a:cxn>
                  <a:cxn ang="0">
                    <a:pos x="T2" y="T3"/>
                  </a:cxn>
                  <a:cxn ang="0">
                    <a:pos x="T4" y="T5"/>
                  </a:cxn>
                  <a:cxn ang="0">
                    <a:pos x="T6" y="T7"/>
                  </a:cxn>
                  <a:cxn ang="0">
                    <a:pos x="T8" y="T9"/>
                  </a:cxn>
                  <a:cxn ang="0">
                    <a:pos x="T10" y="T11"/>
                  </a:cxn>
                </a:cxnLst>
                <a:rect l="0" t="0" r="r" b="b"/>
                <a:pathLst>
                  <a:path w="91" h="89">
                    <a:moveTo>
                      <a:pt x="83" y="89"/>
                    </a:moveTo>
                    <a:lnTo>
                      <a:pt x="4" y="89"/>
                    </a:lnTo>
                    <a:lnTo>
                      <a:pt x="0" y="0"/>
                    </a:lnTo>
                    <a:lnTo>
                      <a:pt x="91" y="0"/>
                    </a:lnTo>
                    <a:lnTo>
                      <a:pt x="83" y="89"/>
                    </a:lnTo>
                    <a:lnTo>
                      <a:pt x="83" y="89"/>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0" name="Freeform 177"/>
              <p:cNvSpPr>
                <a:spLocks/>
              </p:cNvSpPr>
              <p:nvPr/>
            </p:nvSpPr>
            <p:spPr bwMode="auto">
              <a:xfrm>
                <a:off x="1904" y="3930"/>
                <a:ext cx="25" cy="32"/>
              </a:xfrm>
              <a:custGeom>
                <a:avLst/>
                <a:gdLst>
                  <a:gd name="T0" fmla="*/ 25 w 25"/>
                  <a:gd name="T1" fmla="*/ 32 h 32"/>
                  <a:gd name="T2" fmla="*/ 0 w 25"/>
                  <a:gd name="T3" fmla="*/ 32 h 32"/>
                  <a:gd name="T4" fmla="*/ 0 w 25"/>
                  <a:gd name="T5" fmla="*/ 0 h 32"/>
                  <a:gd name="T6" fmla="*/ 25 w 25"/>
                  <a:gd name="T7" fmla="*/ 0 h 32"/>
                  <a:gd name="T8" fmla="*/ 25 w 25"/>
                  <a:gd name="T9" fmla="*/ 32 h 32"/>
                  <a:gd name="T10" fmla="*/ 25 w 25"/>
                  <a:gd name="T11" fmla="*/ 32 h 32"/>
                </a:gdLst>
                <a:ahLst/>
                <a:cxnLst>
                  <a:cxn ang="0">
                    <a:pos x="T0" y="T1"/>
                  </a:cxn>
                  <a:cxn ang="0">
                    <a:pos x="T2" y="T3"/>
                  </a:cxn>
                  <a:cxn ang="0">
                    <a:pos x="T4" y="T5"/>
                  </a:cxn>
                  <a:cxn ang="0">
                    <a:pos x="T6" y="T7"/>
                  </a:cxn>
                  <a:cxn ang="0">
                    <a:pos x="T8" y="T9"/>
                  </a:cxn>
                  <a:cxn ang="0">
                    <a:pos x="T10" y="T11"/>
                  </a:cxn>
                </a:cxnLst>
                <a:rect l="0" t="0" r="r" b="b"/>
                <a:pathLst>
                  <a:path w="25" h="32">
                    <a:moveTo>
                      <a:pt x="25" y="32"/>
                    </a:moveTo>
                    <a:lnTo>
                      <a:pt x="0" y="32"/>
                    </a:lnTo>
                    <a:lnTo>
                      <a:pt x="0" y="0"/>
                    </a:lnTo>
                    <a:lnTo>
                      <a:pt x="25" y="0"/>
                    </a:lnTo>
                    <a:lnTo>
                      <a:pt x="25" y="32"/>
                    </a:lnTo>
                    <a:lnTo>
                      <a:pt x="25" y="3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1" name="Freeform 178"/>
              <p:cNvSpPr>
                <a:spLocks/>
              </p:cNvSpPr>
              <p:nvPr/>
            </p:nvSpPr>
            <p:spPr bwMode="auto">
              <a:xfrm>
                <a:off x="1852" y="3740"/>
                <a:ext cx="131" cy="208"/>
              </a:xfrm>
              <a:custGeom>
                <a:avLst/>
                <a:gdLst>
                  <a:gd name="T0" fmla="*/ 47 w 65"/>
                  <a:gd name="T1" fmla="*/ 41 h 104"/>
                  <a:gd name="T2" fmla="*/ 56 w 65"/>
                  <a:gd name="T3" fmla="*/ 24 h 104"/>
                  <a:gd name="T4" fmla="*/ 32 w 65"/>
                  <a:gd name="T5" fmla="*/ 0 h 104"/>
                  <a:gd name="T6" fmla="*/ 8 w 65"/>
                  <a:gd name="T7" fmla="*/ 24 h 104"/>
                  <a:gd name="T8" fmla="*/ 17 w 65"/>
                  <a:gd name="T9" fmla="*/ 41 h 104"/>
                  <a:gd name="T10" fmla="*/ 0 w 65"/>
                  <a:gd name="T11" fmla="*/ 70 h 104"/>
                  <a:gd name="T12" fmla="*/ 32 w 65"/>
                  <a:gd name="T13" fmla="*/ 104 h 104"/>
                  <a:gd name="T14" fmla="*/ 65 w 65"/>
                  <a:gd name="T15" fmla="*/ 70 h 104"/>
                  <a:gd name="T16" fmla="*/ 47 w 65"/>
                  <a:gd name="T1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4">
                    <a:moveTo>
                      <a:pt x="47" y="41"/>
                    </a:moveTo>
                    <a:cubicBezTo>
                      <a:pt x="52" y="37"/>
                      <a:pt x="56" y="30"/>
                      <a:pt x="56" y="24"/>
                    </a:cubicBezTo>
                    <a:cubicBezTo>
                      <a:pt x="56" y="10"/>
                      <a:pt x="45" y="0"/>
                      <a:pt x="32" y="0"/>
                    </a:cubicBezTo>
                    <a:cubicBezTo>
                      <a:pt x="18" y="0"/>
                      <a:pt x="8" y="10"/>
                      <a:pt x="8" y="24"/>
                    </a:cubicBezTo>
                    <a:cubicBezTo>
                      <a:pt x="8" y="30"/>
                      <a:pt x="12" y="37"/>
                      <a:pt x="17" y="41"/>
                    </a:cubicBezTo>
                    <a:cubicBezTo>
                      <a:pt x="7" y="47"/>
                      <a:pt x="0" y="58"/>
                      <a:pt x="0" y="70"/>
                    </a:cubicBezTo>
                    <a:cubicBezTo>
                      <a:pt x="0" y="89"/>
                      <a:pt x="13" y="104"/>
                      <a:pt x="32" y="104"/>
                    </a:cubicBezTo>
                    <a:cubicBezTo>
                      <a:pt x="50" y="104"/>
                      <a:pt x="65" y="89"/>
                      <a:pt x="65" y="70"/>
                    </a:cubicBezTo>
                    <a:cubicBezTo>
                      <a:pt x="65" y="58"/>
                      <a:pt x="57" y="47"/>
                      <a:pt x="47" y="41"/>
                    </a:cubicBezTo>
                    <a:close/>
                  </a:path>
                </a:pathLst>
              </a:custGeom>
              <a:solidFill>
                <a:srgbClr val="ADC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2" name="Freeform 179"/>
              <p:cNvSpPr>
                <a:spLocks/>
              </p:cNvSpPr>
              <p:nvPr/>
            </p:nvSpPr>
            <p:spPr bwMode="auto">
              <a:xfrm>
                <a:off x="823" y="3656"/>
                <a:ext cx="975" cy="154"/>
              </a:xfrm>
              <a:custGeom>
                <a:avLst/>
                <a:gdLst>
                  <a:gd name="T0" fmla="*/ 941 w 975"/>
                  <a:gd name="T1" fmla="*/ 0 h 154"/>
                  <a:gd name="T2" fmla="*/ 36 w 975"/>
                  <a:gd name="T3" fmla="*/ 0 h 154"/>
                  <a:gd name="T4" fmla="*/ 0 w 975"/>
                  <a:gd name="T5" fmla="*/ 154 h 154"/>
                  <a:gd name="T6" fmla="*/ 975 w 975"/>
                  <a:gd name="T7" fmla="*/ 154 h 154"/>
                  <a:gd name="T8" fmla="*/ 941 w 975"/>
                  <a:gd name="T9" fmla="*/ 0 h 154"/>
                  <a:gd name="T10" fmla="*/ 941 w 975"/>
                  <a:gd name="T11" fmla="*/ 0 h 154"/>
                </a:gdLst>
                <a:ahLst/>
                <a:cxnLst>
                  <a:cxn ang="0">
                    <a:pos x="T0" y="T1"/>
                  </a:cxn>
                  <a:cxn ang="0">
                    <a:pos x="T2" y="T3"/>
                  </a:cxn>
                  <a:cxn ang="0">
                    <a:pos x="T4" y="T5"/>
                  </a:cxn>
                  <a:cxn ang="0">
                    <a:pos x="T6" y="T7"/>
                  </a:cxn>
                  <a:cxn ang="0">
                    <a:pos x="T8" y="T9"/>
                  </a:cxn>
                  <a:cxn ang="0">
                    <a:pos x="T10" y="T11"/>
                  </a:cxn>
                </a:cxnLst>
                <a:rect l="0" t="0" r="r" b="b"/>
                <a:pathLst>
                  <a:path w="975" h="154">
                    <a:moveTo>
                      <a:pt x="941" y="0"/>
                    </a:moveTo>
                    <a:lnTo>
                      <a:pt x="36" y="0"/>
                    </a:lnTo>
                    <a:lnTo>
                      <a:pt x="0" y="154"/>
                    </a:lnTo>
                    <a:lnTo>
                      <a:pt x="975" y="154"/>
                    </a:lnTo>
                    <a:lnTo>
                      <a:pt x="941" y="0"/>
                    </a:lnTo>
                    <a:lnTo>
                      <a:pt x="94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3" name="Freeform 180"/>
              <p:cNvSpPr>
                <a:spLocks/>
              </p:cNvSpPr>
              <p:nvPr/>
            </p:nvSpPr>
            <p:spPr bwMode="auto">
              <a:xfrm>
                <a:off x="661" y="2537"/>
                <a:ext cx="150" cy="1165"/>
              </a:xfrm>
              <a:custGeom>
                <a:avLst/>
                <a:gdLst>
                  <a:gd name="T0" fmla="*/ 150 w 150"/>
                  <a:gd name="T1" fmla="*/ 1165 h 1165"/>
                  <a:gd name="T2" fmla="*/ 150 w 150"/>
                  <a:gd name="T3" fmla="*/ 0 h 1165"/>
                  <a:gd name="T4" fmla="*/ 0 w 150"/>
                  <a:gd name="T5" fmla="*/ 0 h 1165"/>
                  <a:gd name="T6" fmla="*/ 0 w 150"/>
                  <a:gd name="T7" fmla="*/ 1165 h 1165"/>
                  <a:gd name="T8" fmla="*/ 150 w 150"/>
                  <a:gd name="T9" fmla="*/ 1165 h 1165"/>
                  <a:gd name="T10" fmla="*/ 150 w 150"/>
                  <a:gd name="T11" fmla="*/ 1165 h 1165"/>
                </a:gdLst>
                <a:ahLst/>
                <a:cxnLst>
                  <a:cxn ang="0">
                    <a:pos x="T0" y="T1"/>
                  </a:cxn>
                  <a:cxn ang="0">
                    <a:pos x="T2" y="T3"/>
                  </a:cxn>
                  <a:cxn ang="0">
                    <a:pos x="T4" y="T5"/>
                  </a:cxn>
                  <a:cxn ang="0">
                    <a:pos x="T6" y="T7"/>
                  </a:cxn>
                  <a:cxn ang="0">
                    <a:pos x="T8" y="T9"/>
                  </a:cxn>
                  <a:cxn ang="0">
                    <a:pos x="T10" y="T11"/>
                  </a:cxn>
                </a:cxnLst>
                <a:rect l="0" t="0" r="r" b="b"/>
                <a:pathLst>
                  <a:path w="150" h="1165">
                    <a:moveTo>
                      <a:pt x="150" y="1165"/>
                    </a:moveTo>
                    <a:lnTo>
                      <a:pt x="150" y="0"/>
                    </a:lnTo>
                    <a:lnTo>
                      <a:pt x="0" y="0"/>
                    </a:lnTo>
                    <a:lnTo>
                      <a:pt x="0" y="1165"/>
                    </a:lnTo>
                    <a:lnTo>
                      <a:pt x="150" y="1165"/>
                    </a:lnTo>
                    <a:lnTo>
                      <a:pt x="150" y="116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4" name="Freeform 181"/>
              <p:cNvSpPr>
                <a:spLocks/>
              </p:cNvSpPr>
              <p:nvPr/>
            </p:nvSpPr>
            <p:spPr bwMode="auto">
              <a:xfrm>
                <a:off x="1011" y="300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5" name="Freeform 182"/>
              <p:cNvSpPr>
                <a:spLocks/>
              </p:cNvSpPr>
              <p:nvPr/>
            </p:nvSpPr>
            <p:spPr bwMode="auto">
              <a:xfrm>
                <a:off x="929"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6" name="Freeform 183"/>
              <p:cNvSpPr>
                <a:spLocks/>
              </p:cNvSpPr>
              <p:nvPr/>
            </p:nvSpPr>
            <p:spPr bwMode="auto">
              <a:xfrm>
                <a:off x="929"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7" name="Freeform 184"/>
              <p:cNvSpPr>
                <a:spLocks/>
              </p:cNvSpPr>
              <p:nvPr/>
            </p:nvSpPr>
            <p:spPr bwMode="auto">
              <a:xfrm>
                <a:off x="929"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8" name="Freeform 185"/>
              <p:cNvSpPr>
                <a:spLocks/>
              </p:cNvSpPr>
              <p:nvPr/>
            </p:nvSpPr>
            <p:spPr bwMode="auto">
              <a:xfrm>
                <a:off x="1011" y="31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9" name="Freeform 186"/>
              <p:cNvSpPr>
                <a:spLocks/>
              </p:cNvSpPr>
              <p:nvPr/>
            </p:nvSpPr>
            <p:spPr bwMode="auto">
              <a:xfrm>
                <a:off x="1011" y="3088"/>
                <a:ext cx="64" cy="59"/>
              </a:xfrm>
              <a:custGeom>
                <a:avLst/>
                <a:gdLst>
                  <a:gd name="T0" fmla="*/ 0 w 64"/>
                  <a:gd name="T1" fmla="*/ 59 h 59"/>
                  <a:gd name="T2" fmla="*/ 64 w 64"/>
                  <a:gd name="T3" fmla="*/ 59 h 59"/>
                  <a:gd name="T4" fmla="*/ 64 w 64"/>
                  <a:gd name="T5" fmla="*/ 0 h 59"/>
                  <a:gd name="T6" fmla="*/ 0 w 64"/>
                  <a:gd name="T7" fmla="*/ 0 h 59"/>
                  <a:gd name="T8" fmla="*/ 0 w 64"/>
                  <a:gd name="T9" fmla="*/ 59 h 59"/>
                  <a:gd name="T10" fmla="*/ 0 w 64"/>
                  <a:gd name="T11" fmla="*/ 59 h 59"/>
                </a:gdLst>
                <a:ahLst/>
                <a:cxnLst>
                  <a:cxn ang="0">
                    <a:pos x="T0" y="T1"/>
                  </a:cxn>
                  <a:cxn ang="0">
                    <a:pos x="T2" y="T3"/>
                  </a:cxn>
                  <a:cxn ang="0">
                    <a:pos x="T4" y="T5"/>
                  </a:cxn>
                  <a:cxn ang="0">
                    <a:pos x="T6" y="T7"/>
                  </a:cxn>
                  <a:cxn ang="0">
                    <a:pos x="T8" y="T9"/>
                  </a:cxn>
                  <a:cxn ang="0">
                    <a:pos x="T10" y="T11"/>
                  </a:cxn>
                </a:cxnLst>
                <a:rect l="0" t="0" r="r" b="b"/>
                <a:pathLst>
                  <a:path w="64" h="59">
                    <a:moveTo>
                      <a:pt x="0" y="59"/>
                    </a:moveTo>
                    <a:lnTo>
                      <a:pt x="64" y="59"/>
                    </a:lnTo>
                    <a:lnTo>
                      <a:pt x="64"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0" name="Freeform 187"/>
              <p:cNvSpPr>
                <a:spLocks/>
              </p:cNvSpPr>
              <p:nvPr/>
            </p:nvSpPr>
            <p:spPr bwMode="auto">
              <a:xfrm>
                <a:off x="1216" y="3088"/>
                <a:ext cx="66" cy="59"/>
              </a:xfrm>
              <a:custGeom>
                <a:avLst/>
                <a:gdLst>
                  <a:gd name="T0" fmla="*/ 0 w 66"/>
                  <a:gd name="T1" fmla="*/ 59 h 59"/>
                  <a:gd name="T2" fmla="*/ 66 w 66"/>
                  <a:gd name="T3" fmla="*/ 59 h 59"/>
                  <a:gd name="T4" fmla="*/ 66 w 66"/>
                  <a:gd name="T5" fmla="*/ 0 h 59"/>
                  <a:gd name="T6" fmla="*/ 0 w 66"/>
                  <a:gd name="T7" fmla="*/ 0 h 59"/>
                  <a:gd name="T8" fmla="*/ 0 w 66"/>
                  <a:gd name="T9" fmla="*/ 59 h 59"/>
                  <a:gd name="T10" fmla="*/ 0 w 66"/>
                  <a:gd name="T11" fmla="*/ 59 h 59"/>
                </a:gdLst>
                <a:ahLst/>
                <a:cxnLst>
                  <a:cxn ang="0">
                    <a:pos x="T0" y="T1"/>
                  </a:cxn>
                  <a:cxn ang="0">
                    <a:pos x="T2" y="T3"/>
                  </a:cxn>
                  <a:cxn ang="0">
                    <a:pos x="T4" y="T5"/>
                  </a:cxn>
                  <a:cxn ang="0">
                    <a:pos x="T6" y="T7"/>
                  </a:cxn>
                  <a:cxn ang="0">
                    <a:pos x="T8" y="T9"/>
                  </a:cxn>
                  <a:cxn ang="0">
                    <a:pos x="T10" y="T11"/>
                  </a:cxn>
                </a:cxnLst>
                <a:rect l="0" t="0" r="r" b="b"/>
                <a:pathLst>
                  <a:path w="66" h="59">
                    <a:moveTo>
                      <a:pt x="0" y="59"/>
                    </a:moveTo>
                    <a:lnTo>
                      <a:pt x="66" y="59"/>
                    </a:lnTo>
                    <a:lnTo>
                      <a:pt x="66"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1" name="Freeform 188"/>
              <p:cNvSpPr>
                <a:spLocks/>
              </p:cNvSpPr>
              <p:nvPr/>
            </p:nvSpPr>
            <p:spPr bwMode="auto">
              <a:xfrm>
                <a:off x="1133" y="3163"/>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2" name="Freeform 189"/>
              <p:cNvSpPr>
                <a:spLocks/>
              </p:cNvSpPr>
              <p:nvPr/>
            </p:nvSpPr>
            <p:spPr bwMode="auto">
              <a:xfrm>
                <a:off x="1216" y="31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3" name="Freeform 190"/>
              <p:cNvSpPr>
                <a:spLocks/>
              </p:cNvSpPr>
              <p:nvPr/>
            </p:nvSpPr>
            <p:spPr bwMode="auto">
              <a:xfrm>
                <a:off x="1133" y="3088"/>
                <a:ext cx="65" cy="59"/>
              </a:xfrm>
              <a:custGeom>
                <a:avLst/>
                <a:gdLst>
                  <a:gd name="T0" fmla="*/ 65 w 65"/>
                  <a:gd name="T1" fmla="*/ 0 h 59"/>
                  <a:gd name="T2" fmla="*/ 0 w 65"/>
                  <a:gd name="T3" fmla="*/ 0 h 59"/>
                  <a:gd name="T4" fmla="*/ 0 w 65"/>
                  <a:gd name="T5" fmla="*/ 59 h 59"/>
                  <a:gd name="T6" fmla="*/ 65 w 65"/>
                  <a:gd name="T7" fmla="*/ 59 h 59"/>
                  <a:gd name="T8" fmla="*/ 65 w 65"/>
                  <a:gd name="T9" fmla="*/ 0 h 59"/>
                  <a:gd name="T10" fmla="*/ 65 w 65"/>
                  <a:gd name="T11" fmla="*/ 0 h 59"/>
                </a:gdLst>
                <a:ahLst/>
                <a:cxnLst>
                  <a:cxn ang="0">
                    <a:pos x="T0" y="T1"/>
                  </a:cxn>
                  <a:cxn ang="0">
                    <a:pos x="T2" y="T3"/>
                  </a:cxn>
                  <a:cxn ang="0">
                    <a:pos x="T4" y="T5"/>
                  </a:cxn>
                  <a:cxn ang="0">
                    <a:pos x="T6" y="T7"/>
                  </a:cxn>
                  <a:cxn ang="0">
                    <a:pos x="T8" y="T9"/>
                  </a:cxn>
                  <a:cxn ang="0">
                    <a:pos x="T10" y="T11"/>
                  </a:cxn>
                </a:cxnLst>
                <a:rect l="0" t="0" r="r" b="b"/>
                <a:pathLst>
                  <a:path w="65" h="59">
                    <a:moveTo>
                      <a:pt x="65" y="0"/>
                    </a:moveTo>
                    <a:lnTo>
                      <a:pt x="0" y="0"/>
                    </a:lnTo>
                    <a:lnTo>
                      <a:pt x="0" y="59"/>
                    </a:lnTo>
                    <a:lnTo>
                      <a:pt x="65" y="59"/>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4" name="Freeform 191"/>
              <p:cNvSpPr>
                <a:spLocks/>
              </p:cNvSpPr>
              <p:nvPr/>
            </p:nvSpPr>
            <p:spPr bwMode="auto">
              <a:xfrm>
                <a:off x="1216" y="300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5" name="Freeform 192"/>
              <p:cNvSpPr>
                <a:spLocks/>
              </p:cNvSpPr>
              <p:nvPr/>
            </p:nvSpPr>
            <p:spPr bwMode="auto">
              <a:xfrm>
                <a:off x="1133" y="3002"/>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6" name="Freeform 193"/>
              <p:cNvSpPr>
                <a:spLocks/>
              </p:cNvSpPr>
              <p:nvPr/>
            </p:nvSpPr>
            <p:spPr bwMode="auto">
              <a:xfrm>
                <a:off x="1420" y="3088"/>
                <a:ext cx="64" cy="59"/>
              </a:xfrm>
              <a:custGeom>
                <a:avLst/>
                <a:gdLst>
                  <a:gd name="T0" fmla="*/ 0 w 64"/>
                  <a:gd name="T1" fmla="*/ 59 h 59"/>
                  <a:gd name="T2" fmla="*/ 64 w 64"/>
                  <a:gd name="T3" fmla="*/ 59 h 59"/>
                  <a:gd name="T4" fmla="*/ 64 w 64"/>
                  <a:gd name="T5" fmla="*/ 0 h 59"/>
                  <a:gd name="T6" fmla="*/ 0 w 64"/>
                  <a:gd name="T7" fmla="*/ 0 h 59"/>
                  <a:gd name="T8" fmla="*/ 0 w 64"/>
                  <a:gd name="T9" fmla="*/ 59 h 59"/>
                  <a:gd name="T10" fmla="*/ 0 w 64"/>
                  <a:gd name="T11" fmla="*/ 59 h 59"/>
                </a:gdLst>
                <a:ahLst/>
                <a:cxnLst>
                  <a:cxn ang="0">
                    <a:pos x="T0" y="T1"/>
                  </a:cxn>
                  <a:cxn ang="0">
                    <a:pos x="T2" y="T3"/>
                  </a:cxn>
                  <a:cxn ang="0">
                    <a:pos x="T4" y="T5"/>
                  </a:cxn>
                  <a:cxn ang="0">
                    <a:pos x="T6" y="T7"/>
                  </a:cxn>
                  <a:cxn ang="0">
                    <a:pos x="T8" y="T9"/>
                  </a:cxn>
                  <a:cxn ang="0">
                    <a:pos x="T10" y="T11"/>
                  </a:cxn>
                </a:cxnLst>
                <a:rect l="0" t="0" r="r" b="b"/>
                <a:pathLst>
                  <a:path w="64" h="59">
                    <a:moveTo>
                      <a:pt x="0" y="59"/>
                    </a:moveTo>
                    <a:lnTo>
                      <a:pt x="64" y="59"/>
                    </a:lnTo>
                    <a:lnTo>
                      <a:pt x="64" y="0"/>
                    </a:lnTo>
                    <a:lnTo>
                      <a:pt x="0" y="0"/>
                    </a:lnTo>
                    <a:lnTo>
                      <a:pt x="0" y="59"/>
                    </a:lnTo>
                    <a:lnTo>
                      <a:pt x="0" y="5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7" name="Freeform 194"/>
              <p:cNvSpPr>
                <a:spLocks/>
              </p:cNvSpPr>
              <p:nvPr/>
            </p:nvSpPr>
            <p:spPr bwMode="auto">
              <a:xfrm>
                <a:off x="1420" y="31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8" name="Freeform 195"/>
              <p:cNvSpPr>
                <a:spLocks/>
              </p:cNvSpPr>
              <p:nvPr/>
            </p:nvSpPr>
            <p:spPr bwMode="auto">
              <a:xfrm>
                <a:off x="1420" y="300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9" name="Freeform 196"/>
              <p:cNvSpPr>
                <a:spLocks/>
              </p:cNvSpPr>
              <p:nvPr/>
            </p:nvSpPr>
            <p:spPr bwMode="auto">
              <a:xfrm>
                <a:off x="1336"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0" name="Freeform 197"/>
              <p:cNvSpPr>
                <a:spLocks/>
              </p:cNvSpPr>
              <p:nvPr/>
            </p:nvSpPr>
            <p:spPr bwMode="auto">
              <a:xfrm>
                <a:off x="1336"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1" name="Freeform 198"/>
              <p:cNvSpPr>
                <a:spLocks/>
              </p:cNvSpPr>
              <p:nvPr/>
            </p:nvSpPr>
            <p:spPr bwMode="auto">
              <a:xfrm>
                <a:off x="1336"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2" name="Freeform 199"/>
              <p:cNvSpPr>
                <a:spLocks/>
              </p:cNvSpPr>
              <p:nvPr/>
            </p:nvSpPr>
            <p:spPr bwMode="auto">
              <a:xfrm>
                <a:off x="1622" y="31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3" name="Freeform 200"/>
              <p:cNvSpPr>
                <a:spLocks/>
              </p:cNvSpPr>
              <p:nvPr/>
            </p:nvSpPr>
            <p:spPr bwMode="auto">
              <a:xfrm>
                <a:off x="1540" y="31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4" name="Freeform 201"/>
              <p:cNvSpPr>
                <a:spLocks/>
              </p:cNvSpPr>
              <p:nvPr/>
            </p:nvSpPr>
            <p:spPr bwMode="auto">
              <a:xfrm>
                <a:off x="1622" y="300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5" name="Freeform 202"/>
              <p:cNvSpPr>
                <a:spLocks/>
              </p:cNvSpPr>
              <p:nvPr/>
            </p:nvSpPr>
            <p:spPr bwMode="auto">
              <a:xfrm>
                <a:off x="1622" y="3088"/>
                <a:ext cx="66" cy="59"/>
              </a:xfrm>
              <a:custGeom>
                <a:avLst/>
                <a:gdLst>
                  <a:gd name="T0" fmla="*/ 0 w 66"/>
                  <a:gd name="T1" fmla="*/ 59 h 59"/>
                  <a:gd name="T2" fmla="*/ 66 w 66"/>
                  <a:gd name="T3" fmla="*/ 59 h 59"/>
                  <a:gd name="T4" fmla="*/ 66 w 66"/>
                  <a:gd name="T5" fmla="*/ 0 h 59"/>
                  <a:gd name="T6" fmla="*/ 0 w 66"/>
                  <a:gd name="T7" fmla="*/ 0 h 59"/>
                  <a:gd name="T8" fmla="*/ 0 w 66"/>
                  <a:gd name="T9" fmla="*/ 59 h 59"/>
                  <a:gd name="T10" fmla="*/ 0 w 66"/>
                  <a:gd name="T11" fmla="*/ 59 h 59"/>
                </a:gdLst>
                <a:ahLst/>
                <a:cxnLst>
                  <a:cxn ang="0">
                    <a:pos x="T0" y="T1"/>
                  </a:cxn>
                  <a:cxn ang="0">
                    <a:pos x="T2" y="T3"/>
                  </a:cxn>
                  <a:cxn ang="0">
                    <a:pos x="T4" y="T5"/>
                  </a:cxn>
                  <a:cxn ang="0">
                    <a:pos x="T6" y="T7"/>
                  </a:cxn>
                  <a:cxn ang="0">
                    <a:pos x="T8" y="T9"/>
                  </a:cxn>
                  <a:cxn ang="0">
                    <a:pos x="T10" y="T11"/>
                  </a:cxn>
                </a:cxnLst>
                <a:rect l="0" t="0" r="r" b="b"/>
                <a:pathLst>
                  <a:path w="66" h="59">
                    <a:moveTo>
                      <a:pt x="0" y="59"/>
                    </a:moveTo>
                    <a:lnTo>
                      <a:pt x="66" y="59"/>
                    </a:lnTo>
                    <a:lnTo>
                      <a:pt x="66" y="0"/>
                    </a:lnTo>
                    <a:lnTo>
                      <a:pt x="0" y="0"/>
                    </a:lnTo>
                    <a:lnTo>
                      <a:pt x="0" y="59"/>
                    </a:lnTo>
                    <a:lnTo>
                      <a:pt x="0" y="5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6" name="Freeform 203"/>
              <p:cNvSpPr>
                <a:spLocks/>
              </p:cNvSpPr>
              <p:nvPr/>
            </p:nvSpPr>
            <p:spPr bwMode="auto">
              <a:xfrm>
                <a:off x="1540" y="3088"/>
                <a:ext cx="66" cy="59"/>
              </a:xfrm>
              <a:custGeom>
                <a:avLst/>
                <a:gdLst>
                  <a:gd name="T0" fmla="*/ 66 w 66"/>
                  <a:gd name="T1" fmla="*/ 0 h 59"/>
                  <a:gd name="T2" fmla="*/ 0 w 66"/>
                  <a:gd name="T3" fmla="*/ 0 h 59"/>
                  <a:gd name="T4" fmla="*/ 0 w 66"/>
                  <a:gd name="T5" fmla="*/ 59 h 59"/>
                  <a:gd name="T6" fmla="*/ 66 w 66"/>
                  <a:gd name="T7" fmla="*/ 59 h 59"/>
                  <a:gd name="T8" fmla="*/ 66 w 66"/>
                  <a:gd name="T9" fmla="*/ 0 h 59"/>
                  <a:gd name="T10" fmla="*/ 66 w 66"/>
                  <a:gd name="T11" fmla="*/ 0 h 59"/>
                </a:gdLst>
                <a:ahLst/>
                <a:cxnLst>
                  <a:cxn ang="0">
                    <a:pos x="T0" y="T1"/>
                  </a:cxn>
                  <a:cxn ang="0">
                    <a:pos x="T2" y="T3"/>
                  </a:cxn>
                  <a:cxn ang="0">
                    <a:pos x="T4" y="T5"/>
                  </a:cxn>
                  <a:cxn ang="0">
                    <a:pos x="T6" y="T7"/>
                  </a:cxn>
                  <a:cxn ang="0">
                    <a:pos x="T8" y="T9"/>
                  </a:cxn>
                  <a:cxn ang="0">
                    <a:pos x="T10" y="T11"/>
                  </a:cxn>
                </a:cxnLst>
                <a:rect l="0" t="0" r="r" b="b"/>
                <a:pathLst>
                  <a:path w="66" h="59">
                    <a:moveTo>
                      <a:pt x="66" y="0"/>
                    </a:moveTo>
                    <a:lnTo>
                      <a:pt x="0" y="0"/>
                    </a:lnTo>
                    <a:lnTo>
                      <a:pt x="0" y="59"/>
                    </a:lnTo>
                    <a:lnTo>
                      <a:pt x="66" y="59"/>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7" name="Freeform 204"/>
              <p:cNvSpPr>
                <a:spLocks/>
              </p:cNvSpPr>
              <p:nvPr/>
            </p:nvSpPr>
            <p:spPr bwMode="auto">
              <a:xfrm>
                <a:off x="1540" y="3002"/>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4" name="Group 406"/>
            <p:cNvGrpSpPr>
              <a:grpSpLocks/>
            </p:cNvGrpSpPr>
            <p:nvPr/>
          </p:nvGrpSpPr>
          <p:grpSpPr bwMode="auto">
            <a:xfrm>
              <a:off x="589" y="587"/>
              <a:ext cx="7105" cy="3572"/>
              <a:chOff x="589" y="587"/>
              <a:chExt cx="7105" cy="3572"/>
            </a:xfrm>
          </p:grpSpPr>
          <p:sp>
            <p:nvSpPr>
              <p:cNvPr id="138" name="Freeform 206"/>
              <p:cNvSpPr>
                <a:spLocks/>
              </p:cNvSpPr>
              <p:nvPr/>
            </p:nvSpPr>
            <p:spPr bwMode="auto">
              <a:xfrm>
                <a:off x="1011" y="2678"/>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Freeform 207"/>
              <p:cNvSpPr>
                <a:spLocks/>
              </p:cNvSpPr>
              <p:nvPr/>
            </p:nvSpPr>
            <p:spPr bwMode="auto">
              <a:xfrm>
                <a:off x="929"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Freeform 208"/>
              <p:cNvSpPr>
                <a:spLocks/>
              </p:cNvSpPr>
              <p:nvPr/>
            </p:nvSpPr>
            <p:spPr bwMode="auto">
              <a:xfrm>
                <a:off x="929"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Freeform 209"/>
              <p:cNvSpPr>
                <a:spLocks/>
              </p:cNvSpPr>
              <p:nvPr/>
            </p:nvSpPr>
            <p:spPr bwMode="auto">
              <a:xfrm>
                <a:off x="929"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Freeform 210"/>
              <p:cNvSpPr>
                <a:spLocks/>
              </p:cNvSpPr>
              <p:nvPr/>
            </p:nvSpPr>
            <p:spPr bwMode="auto">
              <a:xfrm>
                <a:off x="1011" y="284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Freeform 211"/>
              <p:cNvSpPr>
                <a:spLocks/>
              </p:cNvSpPr>
              <p:nvPr/>
            </p:nvSpPr>
            <p:spPr bwMode="auto">
              <a:xfrm>
                <a:off x="1011" y="2764"/>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212"/>
              <p:cNvSpPr>
                <a:spLocks/>
              </p:cNvSpPr>
              <p:nvPr/>
            </p:nvSpPr>
            <p:spPr bwMode="auto">
              <a:xfrm>
                <a:off x="1216" y="2764"/>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Freeform 213"/>
              <p:cNvSpPr>
                <a:spLocks/>
              </p:cNvSpPr>
              <p:nvPr/>
            </p:nvSpPr>
            <p:spPr bwMode="auto">
              <a:xfrm>
                <a:off x="1133" y="2842"/>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6" name="Freeform 214"/>
              <p:cNvSpPr>
                <a:spLocks/>
              </p:cNvSpPr>
              <p:nvPr/>
            </p:nvSpPr>
            <p:spPr bwMode="auto">
              <a:xfrm>
                <a:off x="1216" y="284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215"/>
              <p:cNvSpPr>
                <a:spLocks/>
              </p:cNvSpPr>
              <p:nvPr/>
            </p:nvSpPr>
            <p:spPr bwMode="auto">
              <a:xfrm>
                <a:off x="1133" y="2764"/>
                <a:ext cx="65" cy="60"/>
              </a:xfrm>
              <a:custGeom>
                <a:avLst/>
                <a:gdLst>
                  <a:gd name="T0" fmla="*/ 65 w 65"/>
                  <a:gd name="T1" fmla="*/ 0 h 60"/>
                  <a:gd name="T2" fmla="*/ 0 w 65"/>
                  <a:gd name="T3" fmla="*/ 0 h 60"/>
                  <a:gd name="T4" fmla="*/ 0 w 65"/>
                  <a:gd name="T5" fmla="*/ 60 h 60"/>
                  <a:gd name="T6" fmla="*/ 65 w 65"/>
                  <a:gd name="T7" fmla="*/ 60 h 60"/>
                  <a:gd name="T8" fmla="*/ 65 w 65"/>
                  <a:gd name="T9" fmla="*/ 0 h 60"/>
                  <a:gd name="T10" fmla="*/ 65 w 65"/>
                  <a:gd name="T11" fmla="*/ 0 h 60"/>
                </a:gdLst>
                <a:ahLst/>
                <a:cxnLst>
                  <a:cxn ang="0">
                    <a:pos x="T0" y="T1"/>
                  </a:cxn>
                  <a:cxn ang="0">
                    <a:pos x="T2" y="T3"/>
                  </a:cxn>
                  <a:cxn ang="0">
                    <a:pos x="T4" y="T5"/>
                  </a:cxn>
                  <a:cxn ang="0">
                    <a:pos x="T6" y="T7"/>
                  </a:cxn>
                  <a:cxn ang="0">
                    <a:pos x="T8" y="T9"/>
                  </a:cxn>
                  <a:cxn ang="0">
                    <a:pos x="T10" y="T11"/>
                  </a:cxn>
                </a:cxnLst>
                <a:rect l="0" t="0" r="r" b="b"/>
                <a:pathLst>
                  <a:path w="65" h="60">
                    <a:moveTo>
                      <a:pt x="65" y="0"/>
                    </a:moveTo>
                    <a:lnTo>
                      <a:pt x="0" y="0"/>
                    </a:lnTo>
                    <a:lnTo>
                      <a:pt x="0" y="60"/>
                    </a:lnTo>
                    <a:lnTo>
                      <a:pt x="65" y="60"/>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8" name="Freeform 216"/>
              <p:cNvSpPr>
                <a:spLocks/>
              </p:cNvSpPr>
              <p:nvPr/>
            </p:nvSpPr>
            <p:spPr bwMode="auto">
              <a:xfrm>
                <a:off x="1216" y="2678"/>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9" name="Freeform 217"/>
              <p:cNvSpPr>
                <a:spLocks/>
              </p:cNvSpPr>
              <p:nvPr/>
            </p:nvSpPr>
            <p:spPr bwMode="auto">
              <a:xfrm>
                <a:off x="1133" y="2678"/>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0" name="Freeform 218"/>
              <p:cNvSpPr>
                <a:spLocks/>
              </p:cNvSpPr>
              <p:nvPr/>
            </p:nvSpPr>
            <p:spPr bwMode="auto">
              <a:xfrm>
                <a:off x="1420" y="2764"/>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Freeform 219"/>
              <p:cNvSpPr>
                <a:spLocks/>
              </p:cNvSpPr>
              <p:nvPr/>
            </p:nvSpPr>
            <p:spPr bwMode="auto">
              <a:xfrm>
                <a:off x="1420" y="2842"/>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220"/>
              <p:cNvSpPr>
                <a:spLocks/>
              </p:cNvSpPr>
              <p:nvPr/>
            </p:nvSpPr>
            <p:spPr bwMode="auto">
              <a:xfrm>
                <a:off x="1420" y="2678"/>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221"/>
              <p:cNvSpPr>
                <a:spLocks/>
              </p:cNvSpPr>
              <p:nvPr/>
            </p:nvSpPr>
            <p:spPr bwMode="auto">
              <a:xfrm>
                <a:off x="1336"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222"/>
              <p:cNvSpPr>
                <a:spLocks/>
              </p:cNvSpPr>
              <p:nvPr/>
            </p:nvSpPr>
            <p:spPr bwMode="auto">
              <a:xfrm>
                <a:off x="1336"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Freeform 223"/>
              <p:cNvSpPr>
                <a:spLocks/>
              </p:cNvSpPr>
              <p:nvPr/>
            </p:nvSpPr>
            <p:spPr bwMode="auto">
              <a:xfrm>
                <a:off x="1336"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224"/>
              <p:cNvSpPr>
                <a:spLocks/>
              </p:cNvSpPr>
              <p:nvPr/>
            </p:nvSpPr>
            <p:spPr bwMode="auto">
              <a:xfrm>
                <a:off x="1622" y="2842"/>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Freeform 225"/>
              <p:cNvSpPr>
                <a:spLocks/>
              </p:cNvSpPr>
              <p:nvPr/>
            </p:nvSpPr>
            <p:spPr bwMode="auto">
              <a:xfrm>
                <a:off x="1540" y="2842"/>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226"/>
              <p:cNvSpPr>
                <a:spLocks/>
              </p:cNvSpPr>
              <p:nvPr/>
            </p:nvSpPr>
            <p:spPr bwMode="auto">
              <a:xfrm>
                <a:off x="1622" y="2678"/>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Freeform 227"/>
              <p:cNvSpPr>
                <a:spLocks/>
              </p:cNvSpPr>
              <p:nvPr/>
            </p:nvSpPr>
            <p:spPr bwMode="auto">
              <a:xfrm>
                <a:off x="1622" y="2764"/>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0" name="Freeform 228"/>
              <p:cNvSpPr>
                <a:spLocks/>
              </p:cNvSpPr>
              <p:nvPr/>
            </p:nvSpPr>
            <p:spPr bwMode="auto">
              <a:xfrm>
                <a:off x="1540" y="2764"/>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229"/>
              <p:cNvSpPr>
                <a:spLocks/>
              </p:cNvSpPr>
              <p:nvPr/>
            </p:nvSpPr>
            <p:spPr bwMode="auto">
              <a:xfrm>
                <a:off x="1540" y="2678"/>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230"/>
              <p:cNvSpPr>
                <a:spLocks/>
              </p:cNvSpPr>
              <p:nvPr/>
            </p:nvSpPr>
            <p:spPr bwMode="auto">
              <a:xfrm>
                <a:off x="1011" y="23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231"/>
              <p:cNvSpPr>
                <a:spLocks/>
              </p:cNvSpPr>
              <p:nvPr/>
            </p:nvSpPr>
            <p:spPr bwMode="auto">
              <a:xfrm>
                <a:off x="929"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232"/>
              <p:cNvSpPr>
                <a:spLocks/>
              </p:cNvSpPr>
              <p:nvPr/>
            </p:nvSpPr>
            <p:spPr bwMode="auto">
              <a:xfrm>
                <a:off x="929"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233"/>
              <p:cNvSpPr>
                <a:spLocks/>
              </p:cNvSpPr>
              <p:nvPr/>
            </p:nvSpPr>
            <p:spPr bwMode="auto">
              <a:xfrm>
                <a:off x="929"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6" name="Freeform 234"/>
              <p:cNvSpPr>
                <a:spLocks/>
              </p:cNvSpPr>
              <p:nvPr/>
            </p:nvSpPr>
            <p:spPr bwMode="auto">
              <a:xfrm>
                <a:off x="1011" y="2527"/>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7" name="Freeform 235"/>
              <p:cNvSpPr>
                <a:spLocks/>
              </p:cNvSpPr>
              <p:nvPr/>
            </p:nvSpPr>
            <p:spPr bwMode="auto">
              <a:xfrm>
                <a:off x="1011" y="2449"/>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8" name="Freeform 236"/>
              <p:cNvSpPr>
                <a:spLocks/>
              </p:cNvSpPr>
              <p:nvPr/>
            </p:nvSpPr>
            <p:spPr bwMode="auto">
              <a:xfrm>
                <a:off x="1216" y="2449"/>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9" name="Freeform 237"/>
              <p:cNvSpPr>
                <a:spLocks/>
              </p:cNvSpPr>
              <p:nvPr/>
            </p:nvSpPr>
            <p:spPr bwMode="auto">
              <a:xfrm>
                <a:off x="1133" y="2527"/>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0" name="Freeform 238"/>
              <p:cNvSpPr>
                <a:spLocks/>
              </p:cNvSpPr>
              <p:nvPr/>
            </p:nvSpPr>
            <p:spPr bwMode="auto">
              <a:xfrm>
                <a:off x="1216" y="2527"/>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1" name="Freeform 239"/>
              <p:cNvSpPr>
                <a:spLocks/>
              </p:cNvSpPr>
              <p:nvPr/>
            </p:nvSpPr>
            <p:spPr bwMode="auto">
              <a:xfrm>
                <a:off x="1133" y="2449"/>
                <a:ext cx="65" cy="60"/>
              </a:xfrm>
              <a:custGeom>
                <a:avLst/>
                <a:gdLst>
                  <a:gd name="T0" fmla="*/ 65 w 65"/>
                  <a:gd name="T1" fmla="*/ 0 h 60"/>
                  <a:gd name="T2" fmla="*/ 0 w 65"/>
                  <a:gd name="T3" fmla="*/ 0 h 60"/>
                  <a:gd name="T4" fmla="*/ 0 w 65"/>
                  <a:gd name="T5" fmla="*/ 60 h 60"/>
                  <a:gd name="T6" fmla="*/ 65 w 65"/>
                  <a:gd name="T7" fmla="*/ 60 h 60"/>
                  <a:gd name="T8" fmla="*/ 65 w 65"/>
                  <a:gd name="T9" fmla="*/ 0 h 60"/>
                  <a:gd name="T10" fmla="*/ 65 w 65"/>
                  <a:gd name="T11" fmla="*/ 0 h 60"/>
                </a:gdLst>
                <a:ahLst/>
                <a:cxnLst>
                  <a:cxn ang="0">
                    <a:pos x="T0" y="T1"/>
                  </a:cxn>
                  <a:cxn ang="0">
                    <a:pos x="T2" y="T3"/>
                  </a:cxn>
                  <a:cxn ang="0">
                    <a:pos x="T4" y="T5"/>
                  </a:cxn>
                  <a:cxn ang="0">
                    <a:pos x="T6" y="T7"/>
                  </a:cxn>
                  <a:cxn ang="0">
                    <a:pos x="T8" y="T9"/>
                  </a:cxn>
                  <a:cxn ang="0">
                    <a:pos x="T10" y="T11"/>
                  </a:cxn>
                </a:cxnLst>
                <a:rect l="0" t="0" r="r" b="b"/>
                <a:pathLst>
                  <a:path w="65" h="60">
                    <a:moveTo>
                      <a:pt x="65" y="0"/>
                    </a:moveTo>
                    <a:lnTo>
                      <a:pt x="0" y="0"/>
                    </a:lnTo>
                    <a:lnTo>
                      <a:pt x="0" y="60"/>
                    </a:lnTo>
                    <a:lnTo>
                      <a:pt x="65" y="60"/>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2" name="Freeform 240"/>
              <p:cNvSpPr>
                <a:spLocks/>
              </p:cNvSpPr>
              <p:nvPr/>
            </p:nvSpPr>
            <p:spPr bwMode="auto">
              <a:xfrm>
                <a:off x="1216" y="2363"/>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3" name="Freeform 241"/>
              <p:cNvSpPr>
                <a:spLocks/>
              </p:cNvSpPr>
              <p:nvPr/>
            </p:nvSpPr>
            <p:spPr bwMode="auto">
              <a:xfrm>
                <a:off x="1133" y="2363"/>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4" name="Freeform 242"/>
              <p:cNvSpPr>
                <a:spLocks/>
              </p:cNvSpPr>
              <p:nvPr/>
            </p:nvSpPr>
            <p:spPr bwMode="auto">
              <a:xfrm>
                <a:off x="1420" y="2449"/>
                <a:ext cx="64" cy="60"/>
              </a:xfrm>
              <a:custGeom>
                <a:avLst/>
                <a:gdLst>
                  <a:gd name="T0" fmla="*/ 0 w 64"/>
                  <a:gd name="T1" fmla="*/ 60 h 60"/>
                  <a:gd name="T2" fmla="*/ 64 w 64"/>
                  <a:gd name="T3" fmla="*/ 60 h 60"/>
                  <a:gd name="T4" fmla="*/ 64 w 64"/>
                  <a:gd name="T5" fmla="*/ 0 h 60"/>
                  <a:gd name="T6" fmla="*/ 0 w 64"/>
                  <a:gd name="T7" fmla="*/ 0 h 60"/>
                  <a:gd name="T8" fmla="*/ 0 w 64"/>
                  <a:gd name="T9" fmla="*/ 60 h 60"/>
                  <a:gd name="T10" fmla="*/ 0 w 64"/>
                  <a:gd name="T11" fmla="*/ 60 h 60"/>
                </a:gdLst>
                <a:ahLst/>
                <a:cxnLst>
                  <a:cxn ang="0">
                    <a:pos x="T0" y="T1"/>
                  </a:cxn>
                  <a:cxn ang="0">
                    <a:pos x="T2" y="T3"/>
                  </a:cxn>
                  <a:cxn ang="0">
                    <a:pos x="T4" y="T5"/>
                  </a:cxn>
                  <a:cxn ang="0">
                    <a:pos x="T6" y="T7"/>
                  </a:cxn>
                  <a:cxn ang="0">
                    <a:pos x="T8" y="T9"/>
                  </a:cxn>
                  <a:cxn ang="0">
                    <a:pos x="T10" y="T11"/>
                  </a:cxn>
                </a:cxnLst>
                <a:rect l="0" t="0" r="r" b="b"/>
                <a:pathLst>
                  <a:path w="64" h="60">
                    <a:moveTo>
                      <a:pt x="0" y="60"/>
                    </a:moveTo>
                    <a:lnTo>
                      <a:pt x="64" y="60"/>
                    </a:lnTo>
                    <a:lnTo>
                      <a:pt x="64" y="0"/>
                    </a:lnTo>
                    <a:lnTo>
                      <a:pt x="0" y="0"/>
                    </a:lnTo>
                    <a:lnTo>
                      <a:pt x="0" y="60"/>
                    </a:lnTo>
                    <a:lnTo>
                      <a:pt x="0" y="6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5" name="Freeform 243"/>
              <p:cNvSpPr>
                <a:spLocks/>
              </p:cNvSpPr>
              <p:nvPr/>
            </p:nvSpPr>
            <p:spPr bwMode="auto">
              <a:xfrm>
                <a:off x="1420" y="2527"/>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6" name="Freeform 244"/>
              <p:cNvSpPr>
                <a:spLocks/>
              </p:cNvSpPr>
              <p:nvPr/>
            </p:nvSpPr>
            <p:spPr bwMode="auto">
              <a:xfrm>
                <a:off x="1420" y="2363"/>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7" name="Freeform 245"/>
              <p:cNvSpPr>
                <a:spLocks/>
              </p:cNvSpPr>
              <p:nvPr/>
            </p:nvSpPr>
            <p:spPr bwMode="auto">
              <a:xfrm>
                <a:off x="1336"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8" name="Freeform 246"/>
              <p:cNvSpPr>
                <a:spLocks/>
              </p:cNvSpPr>
              <p:nvPr/>
            </p:nvSpPr>
            <p:spPr bwMode="auto">
              <a:xfrm>
                <a:off x="1336"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9" name="Freeform 247"/>
              <p:cNvSpPr>
                <a:spLocks/>
              </p:cNvSpPr>
              <p:nvPr/>
            </p:nvSpPr>
            <p:spPr bwMode="auto">
              <a:xfrm>
                <a:off x="1336"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Freeform 248"/>
              <p:cNvSpPr>
                <a:spLocks/>
              </p:cNvSpPr>
              <p:nvPr/>
            </p:nvSpPr>
            <p:spPr bwMode="auto">
              <a:xfrm>
                <a:off x="1622" y="2527"/>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1" name="Freeform 249"/>
              <p:cNvSpPr>
                <a:spLocks/>
              </p:cNvSpPr>
              <p:nvPr/>
            </p:nvSpPr>
            <p:spPr bwMode="auto">
              <a:xfrm>
                <a:off x="1540" y="2527"/>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Freeform 250"/>
              <p:cNvSpPr>
                <a:spLocks/>
              </p:cNvSpPr>
              <p:nvPr/>
            </p:nvSpPr>
            <p:spPr bwMode="auto">
              <a:xfrm>
                <a:off x="1622" y="2363"/>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3" name="Freeform 251"/>
              <p:cNvSpPr>
                <a:spLocks/>
              </p:cNvSpPr>
              <p:nvPr/>
            </p:nvSpPr>
            <p:spPr bwMode="auto">
              <a:xfrm>
                <a:off x="1622" y="2449"/>
                <a:ext cx="66" cy="60"/>
              </a:xfrm>
              <a:custGeom>
                <a:avLst/>
                <a:gdLst>
                  <a:gd name="T0" fmla="*/ 0 w 66"/>
                  <a:gd name="T1" fmla="*/ 60 h 60"/>
                  <a:gd name="T2" fmla="*/ 66 w 66"/>
                  <a:gd name="T3" fmla="*/ 60 h 60"/>
                  <a:gd name="T4" fmla="*/ 66 w 66"/>
                  <a:gd name="T5" fmla="*/ 0 h 60"/>
                  <a:gd name="T6" fmla="*/ 0 w 66"/>
                  <a:gd name="T7" fmla="*/ 0 h 60"/>
                  <a:gd name="T8" fmla="*/ 0 w 66"/>
                  <a:gd name="T9" fmla="*/ 60 h 60"/>
                  <a:gd name="T10" fmla="*/ 0 w 66"/>
                  <a:gd name="T11" fmla="*/ 60 h 60"/>
                </a:gdLst>
                <a:ahLst/>
                <a:cxnLst>
                  <a:cxn ang="0">
                    <a:pos x="T0" y="T1"/>
                  </a:cxn>
                  <a:cxn ang="0">
                    <a:pos x="T2" y="T3"/>
                  </a:cxn>
                  <a:cxn ang="0">
                    <a:pos x="T4" y="T5"/>
                  </a:cxn>
                  <a:cxn ang="0">
                    <a:pos x="T6" y="T7"/>
                  </a:cxn>
                  <a:cxn ang="0">
                    <a:pos x="T8" y="T9"/>
                  </a:cxn>
                  <a:cxn ang="0">
                    <a:pos x="T10" y="T11"/>
                  </a:cxn>
                </a:cxnLst>
                <a:rect l="0" t="0" r="r" b="b"/>
                <a:pathLst>
                  <a:path w="66" h="60">
                    <a:moveTo>
                      <a:pt x="0" y="60"/>
                    </a:moveTo>
                    <a:lnTo>
                      <a:pt x="66" y="60"/>
                    </a:lnTo>
                    <a:lnTo>
                      <a:pt x="66" y="0"/>
                    </a:lnTo>
                    <a:lnTo>
                      <a:pt x="0" y="0"/>
                    </a:lnTo>
                    <a:lnTo>
                      <a:pt x="0" y="60"/>
                    </a:lnTo>
                    <a:lnTo>
                      <a:pt x="0" y="6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Freeform 252"/>
              <p:cNvSpPr>
                <a:spLocks/>
              </p:cNvSpPr>
              <p:nvPr/>
            </p:nvSpPr>
            <p:spPr bwMode="auto">
              <a:xfrm>
                <a:off x="1540" y="2449"/>
                <a:ext cx="66" cy="60"/>
              </a:xfrm>
              <a:custGeom>
                <a:avLst/>
                <a:gdLst>
                  <a:gd name="T0" fmla="*/ 66 w 66"/>
                  <a:gd name="T1" fmla="*/ 0 h 60"/>
                  <a:gd name="T2" fmla="*/ 0 w 66"/>
                  <a:gd name="T3" fmla="*/ 0 h 60"/>
                  <a:gd name="T4" fmla="*/ 0 w 66"/>
                  <a:gd name="T5" fmla="*/ 60 h 60"/>
                  <a:gd name="T6" fmla="*/ 66 w 66"/>
                  <a:gd name="T7" fmla="*/ 60 h 60"/>
                  <a:gd name="T8" fmla="*/ 66 w 66"/>
                  <a:gd name="T9" fmla="*/ 0 h 60"/>
                  <a:gd name="T10" fmla="*/ 66 w 66"/>
                  <a:gd name="T11" fmla="*/ 0 h 60"/>
                </a:gdLst>
                <a:ahLst/>
                <a:cxnLst>
                  <a:cxn ang="0">
                    <a:pos x="T0" y="T1"/>
                  </a:cxn>
                  <a:cxn ang="0">
                    <a:pos x="T2" y="T3"/>
                  </a:cxn>
                  <a:cxn ang="0">
                    <a:pos x="T4" y="T5"/>
                  </a:cxn>
                  <a:cxn ang="0">
                    <a:pos x="T6" y="T7"/>
                  </a:cxn>
                  <a:cxn ang="0">
                    <a:pos x="T8" y="T9"/>
                  </a:cxn>
                  <a:cxn ang="0">
                    <a:pos x="T10" y="T11"/>
                  </a:cxn>
                </a:cxnLst>
                <a:rect l="0" t="0" r="r" b="b"/>
                <a:pathLst>
                  <a:path w="66" h="60">
                    <a:moveTo>
                      <a:pt x="66" y="0"/>
                    </a:moveTo>
                    <a:lnTo>
                      <a:pt x="0" y="0"/>
                    </a:lnTo>
                    <a:lnTo>
                      <a:pt x="0" y="60"/>
                    </a:lnTo>
                    <a:lnTo>
                      <a:pt x="66" y="60"/>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5" name="Freeform 253"/>
              <p:cNvSpPr>
                <a:spLocks/>
              </p:cNvSpPr>
              <p:nvPr/>
            </p:nvSpPr>
            <p:spPr bwMode="auto">
              <a:xfrm>
                <a:off x="1540" y="2363"/>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254"/>
              <p:cNvSpPr>
                <a:spLocks/>
              </p:cNvSpPr>
              <p:nvPr/>
            </p:nvSpPr>
            <p:spPr bwMode="auto">
              <a:xfrm>
                <a:off x="929"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255"/>
              <p:cNvSpPr>
                <a:spLocks/>
              </p:cNvSpPr>
              <p:nvPr/>
            </p:nvSpPr>
            <p:spPr bwMode="auto">
              <a:xfrm>
                <a:off x="929"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256"/>
              <p:cNvSpPr>
                <a:spLocks/>
              </p:cNvSpPr>
              <p:nvPr/>
            </p:nvSpPr>
            <p:spPr bwMode="auto">
              <a:xfrm>
                <a:off x="929"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257"/>
              <p:cNvSpPr>
                <a:spLocks/>
              </p:cNvSpPr>
              <p:nvPr/>
            </p:nvSpPr>
            <p:spPr bwMode="auto">
              <a:xfrm>
                <a:off x="1011" y="348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0" name="Freeform 258"/>
              <p:cNvSpPr>
                <a:spLocks/>
              </p:cNvSpPr>
              <p:nvPr/>
            </p:nvSpPr>
            <p:spPr bwMode="auto">
              <a:xfrm>
                <a:off x="1011" y="3409"/>
                <a:ext cx="64" cy="58"/>
              </a:xfrm>
              <a:custGeom>
                <a:avLst/>
                <a:gdLst>
                  <a:gd name="T0" fmla="*/ 0 w 64"/>
                  <a:gd name="T1" fmla="*/ 58 h 58"/>
                  <a:gd name="T2" fmla="*/ 64 w 64"/>
                  <a:gd name="T3" fmla="*/ 58 h 58"/>
                  <a:gd name="T4" fmla="*/ 64 w 64"/>
                  <a:gd name="T5" fmla="*/ 0 h 58"/>
                  <a:gd name="T6" fmla="*/ 0 w 64"/>
                  <a:gd name="T7" fmla="*/ 0 h 58"/>
                  <a:gd name="T8" fmla="*/ 0 w 64"/>
                  <a:gd name="T9" fmla="*/ 58 h 58"/>
                  <a:gd name="T10" fmla="*/ 0 w 64"/>
                  <a:gd name="T11" fmla="*/ 58 h 58"/>
                </a:gdLst>
                <a:ahLst/>
                <a:cxnLst>
                  <a:cxn ang="0">
                    <a:pos x="T0" y="T1"/>
                  </a:cxn>
                  <a:cxn ang="0">
                    <a:pos x="T2" y="T3"/>
                  </a:cxn>
                  <a:cxn ang="0">
                    <a:pos x="T4" y="T5"/>
                  </a:cxn>
                  <a:cxn ang="0">
                    <a:pos x="T6" y="T7"/>
                  </a:cxn>
                  <a:cxn ang="0">
                    <a:pos x="T8" y="T9"/>
                  </a:cxn>
                  <a:cxn ang="0">
                    <a:pos x="T10" y="T11"/>
                  </a:cxn>
                </a:cxnLst>
                <a:rect l="0" t="0" r="r" b="b"/>
                <a:pathLst>
                  <a:path w="64" h="58">
                    <a:moveTo>
                      <a:pt x="0" y="58"/>
                    </a:moveTo>
                    <a:lnTo>
                      <a:pt x="64" y="58"/>
                    </a:lnTo>
                    <a:lnTo>
                      <a:pt x="64" y="0"/>
                    </a:lnTo>
                    <a:lnTo>
                      <a:pt x="0" y="0"/>
                    </a:lnTo>
                    <a:lnTo>
                      <a:pt x="0" y="58"/>
                    </a:lnTo>
                    <a:lnTo>
                      <a:pt x="0" y="5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1" name="Freeform 259"/>
              <p:cNvSpPr>
                <a:spLocks/>
              </p:cNvSpPr>
              <p:nvPr/>
            </p:nvSpPr>
            <p:spPr bwMode="auto">
              <a:xfrm>
                <a:off x="1011" y="332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2" name="Freeform 260"/>
              <p:cNvSpPr>
                <a:spLocks/>
              </p:cNvSpPr>
              <p:nvPr/>
            </p:nvSpPr>
            <p:spPr bwMode="auto">
              <a:xfrm>
                <a:off x="1216" y="3409"/>
                <a:ext cx="66" cy="58"/>
              </a:xfrm>
              <a:custGeom>
                <a:avLst/>
                <a:gdLst>
                  <a:gd name="T0" fmla="*/ 0 w 66"/>
                  <a:gd name="T1" fmla="*/ 58 h 58"/>
                  <a:gd name="T2" fmla="*/ 66 w 66"/>
                  <a:gd name="T3" fmla="*/ 58 h 58"/>
                  <a:gd name="T4" fmla="*/ 66 w 66"/>
                  <a:gd name="T5" fmla="*/ 0 h 58"/>
                  <a:gd name="T6" fmla="*/ 0 w 66"/>
                  <a:gd name="T7" fmla="*/ 0 h 58"/>
                  <a:gd name="T8" fmla="*/ 0 w 66"/>
                  <a:gd name="T9" fmla="*/ 58 h 58"/>
                  <a:gd name="T10" fmla="*/ 0 w 66"/>
                  <a:gd name="T11" fmla="*/ 58 h 58"/>
                </a:gdLst>
                <a:ahLst/>
                <a:cxnLst>
                  <a:cxn ang="0">
                    <a:pos x="T0" y="T1"/>
                  </a:cxn>
                  <a:cxn ang="0">
                    <a:pos x="T2" y="T3"/>
                  </a:cxn>
                  <a:cxn ang="0">
                    <a:pos x="T4" y="T5"/>
                  </a:cxn>
                  <a:cxn ang="0">
                    <a:pos x="T6" y="T7"/>
                  </a:cxn>
                  <a:cxn ang="0">
                    <a:pos x="T8" y="T9"/>
                  </a:cxn>
                  <a:cxn ang="0">
                    <a:pos x="T10" y="T11"/>
                  </a:cxn>
                </a:cxnLst>
                <a:rect l="0" t="0" r="r" b="b"/>
                <a:pathLst>
                  <a:path w="66" h="58">
                    <a:moveTo>
                      <a:pt x="0" y="58"/>
                    </a:moveTo>
                    <a:lnTo>
                      <a:pt x="66" y="58"/>
                    </a:lnTo>
                    <a:lnTo>
                      <a:pt x="66"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3" name="Freeform 261"/>
              <p:cNvSpPr>
                <a:spLocks/>
              </p:cNvSpPr>
              <p:nvPr/>
            </p:nvSpPr>
            <p:spPr bwMode="auto">
              <a:xfrm>
                <a:off x="1133" y="3485"/>
                <a:ext cx="65" cy="68"/>
              </a:xfrm>
              <a:custGeom>
                <a:avLst/>
                <a:gdLst>
                  <a:gd name="T0" fmla="*/ 0 w 65"/>
                  <a:gd name="T1" fmla="*/ 0 h 68"/>
                  <a:gd name="T2" fmla="*/ 0 w 65"/>
                  <a:gd name="T3" fmla="*/ 68 h 68"/>
                  <a:gd name="T4" fmla="*/ 65 w 65"/>
                  <a:gd name="T5" fmla="*/ 68 h 68"/>
                  <a:gd name="T6" fmla="*/ 65 w 65"/>
                  <a:gd name="T7" fmla="*/ 0 h 68"/>
                  <a:gd name="T8" fmla="*/ 0 w 65"/>
                  <a:gd name="T9" fmla="*/ 0 h 68"/>
                  <a:gd name="T10" fmla="*/ 0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0" y="0"/>
                    </a:moveTo>
                    <a:lnTo>
                      <a:pt x="0" y="68"/>
                    </a:lnTo>
                    <a:lnTo>
                      <a:pt x="65" y="68"/>
                    </a:lnTo>
                    <a:lnTo>
                      <a:pt x="65"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4" name="Freeform 262"/>
              <p:cNvSpPr>
                <a:spLocks/>
              </p:cNvSpPr>
              <p:nvPr/>
            </p:nvSpPr>
            <p:spPr bwMode="auto">
              <a:xfrm>
                <a:off x="1216" y="348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5" name="Freeform 263"/>
              <p:cNvSpPr>
                <a:spLocks/>
              </p:cNvSpPr>
              <p:nvPr/>
            </p:nvSpPr>
            <p:spPr bwMode="auto">
              <a:xfrm>
                <a:off x="1133" y="3409"/>
                <a:ext cx="65" cy="58"/>
              </a:xfrm>
              <a:custGeom>
                <a:avLst/>
                <a:gdLst>
                  <a:gd name="T0" fmla="*/ 65 w 65"/>
                  <a:gd name="T1" fmla="*/ 0 h 58"/>
                  <a:gd name="T2" fmla="*/ 0 w 65"/>
                  <a:gd name="T3" fmla="*/ 0 h 58"/>
                  <a:gd name="T4" fmla="*/ 0 w 65"/>
                  <a:gd name="T5" fmla="*/ 58 h 58"/>
                  <a:gd name="T6" fmla="*/ 65 w 65"/>
                  <a:gd name="T7" fmla="*/ 58 h 58"/>
                  <a:gd name="T8" fmla="*/ 65 w 65"/>
                  <a:gd name="T9" fmla="*/ 0 h 58"/>
                  <a:gd name="T10" fmla="*/ 65 w 65"/>
                  <a:gd name="T11" fmla="*/ 0 h 58"/>
                </a:gdLst>
                <a:ahLst/>
                <a:cxnLst>
                  <a:cxn ang="0">
                    <a:pos x="T0" y="T1"/>
                  </a:cxn>
                  <a:cxn ang="0">
                    <a:pos x="T2" y="T3"/>
                  </a:cxn>
                  <a:cxn ang="0">
                    <a:pos x="T4" y="T5"/>
                  </a:cxn>
                  <a:cxn ang="0">
                    <a:pos x="T6" y="T7"/>
                  </a:cxn>
                  <a:cxn ang="0">
                    <a:pos x="T8" y="T9"/>
                  </a:cxn>
                  <a:cxn ang="0">
                    <a:pos x="T10" y="T11"/>
                  </a:cxn>
                </a:cxnLst>
                <a:rect l="0" t="0" r="r" b="b"/>
                <a:pathLst>
                  <a:path w="65" h="58">
                    <a:moveTo>
                      <a:pt x="65" y="0"/>
                    </a:moveTo>
                    <a:lnTo>
                      <a:pt x="0" y="0"/>
                    </a:lnTo>
                    <a:lnTo>
                      <a:pt x="0" y="58"/>
                    </a:lnTo>
                    <a:lnTo>
                      <a:pt x="65" y="5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6" name="Freeform 264"/>
              <p:cNvSpPr>
                <a:spLocks/>
              </p:cNvSpPr>
              <p:nvPr/>
            </p:nvSpPr>
            <p:spPr bwMode="auto">
              <a:xfrm>
                <a:off x="1216" y="332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7" name="Freeform 265"/>
              <p:cNvSpPr>
                <a:spLocks/>
              </p:cNvSpPr>
              <p:nvPr/>
            </p:nvSpPr>
            <p:spPr bwMode="auto">
              <a:xfrm>
                <a:off x="1133" y="3325"/>
                <a:ext cx="65" cy="68"/>
              </a:xfrm>
              <a:custGeom>
                <a:avLst/>
                <a:gdLst>
                  <a:gd name="T0" fmla="*/ 65 w 65"/>
                  <a:gd name="T1" fmla="*/ 0 h 68"/>
                  <a:gd name="T2" fmla="*/ 0 w 65"/>
                  <a:gd name="T3" fmla="*/ 0 h 68"/>
                  <a:gd name="T4" fmla="*/ 0 w 65"/>
                  <a:gd name="T5" fmla="*/ 68 h 68"/>
                  <a:gd name="T6" fmla="*/ 65 w 65"/>
                  <a:gd name="T7" fmla="*/ 68 h 68"/>
                  <a:gd name="T8" fmla="*/ 65 w 65"/>
                  <a:gd name="T9" fmla="*/ 0 h 68"/>
                  <a:gd name="T10" fmla="*/ 65 w 65"/>
                  <a:gd name="T11" fmla="*/ 0 h 68"/>
                </a:gdLst>
                <a:ahLst/>
                <a:cxnLst>
                  <a:cxn ang="0">
                    <a:pos x="T0" y="T1"/>
                  </a:cxn>
                  <a:cxn ang="0">
                    <a:pos x="T2" y="T3"/>
                  </a:cxn>
                  <a:cxn ang="0">
                    <a:pos x="T4" y="T5"/>
                  </a:cxn>
                  <a:cxn ang="0">
                    <a:pos x="T6" y="T7"/>
                  </a:cxn>
                  <a:cxn ang="0">
                    <a:pos x="T8" y="T9"/>
                  </a:cxn>
                  <a:cxn ang="0">
                    <a:pos x="T10" y="T11"/>
                  </a:cxn>
                </a:cxnLst>
                <a:rect l="0" t="0" r="r" b="b"/>
                <a:pathLst>
                  <a:path w="65" h="68">
                    <a:moveTo>
                      <a:pt x="65" y="0"/>
                    </a:moveTo>
                    <a:lnTo>
                      <a:pt x="0" y="0"/>
                    </a:lnTo>
                    <a:lnTo>
                      <a:pt x="0" y="68"/>
                    </a:lnTo>
                    <a:lnTo>
                      <a:pt x="65" y="68"/>
                    </a:lnTo>
                    <a:lnTo>
                      <a:pt x="65" y="0"/>
                    </a:lnTo>
                    <a:lnTo>
                      <a:pt x="65"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8" name="Freeform 266"/>
              <p:cNvSpPr>
                <a:spLocks/>
              </p:cNvSpPr>
              <p:nvPr/>
            </p:nvSpPr>
            <p:spPr bwMode="auto">
              <a:xfrm>
                <a:off x="1420" y="3409"/>
                <a:ext cx="64" cy="58"/>
              </a:xfrm>
              <a:custGeom>
                <a:avLst/>
                <a:gdLst>
                  <a:gd name="T0" fmla="*/ 0 w 64"/>
                  <a:gd name="T1" fmla="*/ 58 h 58"/>
                  <a:gd name="T2" fmla="*/ 64 w 64"/>
                  <a:gd name="T3" fmla="*/ 58 h 58"/>
                  <a:gd name="T4" fmla="*/ 64 w 64"/>
                  <a:gd name="T5" fmla="*/ 0 h 58"/>
                  <a:gd name="T6" fmla="*/ 0 w 64"/>
                  <a:gd name="T7" fmla="*/ 0 h 58"/>
                  <a:gd name="T8" fmla="*/ 0 w 64"/>
                  <a:gd name="T9" fmla="*/ 58 h 58"/>
                  <a:gd name="T10" fmla="*/ 0 w 64"/>
                  <a:gd name="T11" fmla="*/ 58 h 58"/>
                </a:gdLst>
                <a:ahLst/>
                <a:cxnLst>
                  <a:cxn ang="0">
                    <a:pos x="T0" y="T1"/>
                  </a:cxn>
                  <a:cxn ang="0">
                    <a:pos x="T2" y="T3"/>
                  </a:cxn>
                  <a:cxn ang="0">
                    <a:pos x="T4" y="T5"/>
                  </a:cxn>
                  <a:cxn ang="0">
                    <a:pos x="T6" y="T7"/>
                  </a:cxn>
                  <a:cxn ang="0">
                    <a:pos x="T8" y="T9"/>
                  </a:cxn>
                  <a:cxn ang="0">
                    <a:pos x="T10" y="T11"/>
                  </a:cxn>
                </a:cxnLst>
                <a:rect l="0" t="0" r="r" b="b"/>
                <a:pathLst>
                  <a:path w="64" h="58">
                    <a:moveTo>
                      <a:pt x="0" y="58"/>
                    </a:moveTo>
                    <a:lnTo>
                      <a:pt x="64" y="58"/>
                    </a:lnTo>
                    <a:lnTo>
                      <a:pt x="64"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9" name="Freeform 267"/>
              <p:cNvSpPr>
                <a:spLocks/>
              </p:cNvSpPr>
              <p:nvPr/>
            </p:nvSpPr>
            <p:spPr bwMode="auto">
              <a:xfrm>
                <a:off x="1420" y="348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0" name="Freeform 268"/>
              <p:cNvSpPr>
                <a:spLocks/>
              </p:cNvSpPr>
              <p:nvPr/>
            </p:nvSpPr>
            <p:spPr bwMode="auto">
              <a:xfrm>
                <a:off x="1420" y="3325"/>
                <a:ext cx="64" cy="68"/>
              </a:xfrm>
              <a:custGeom>
                <a:avLst/>
                <a:gdLst>
                  <a:gd name="T0" fmla="*/ 0 w 64"/>
                  <a:gd name="T1" fmla="*/ 68 h 68"/>
                  <a:gd name="T2" fmla="*/ 64 w 64"/>
                  <a:gd name="T3" fmla="*/ 68 h 68"/>
                  <a:gd name="T4" fmla="*/ 64 w 64"/>
                  <a:gd name="T5" fmla="*/ 0 h 68"/>
                  <a:gd name="T6" fmla="*/ 0 w 64"/>
                  <a:gd name="T7" fmla="*/ 0 h 68"/>
                  <a:gd name="T8" fmla="*/ 0 w 64"/>
                  <a:gd name="T9" fmla="*/ 68 h 68"/>
                  <a:gd name="T10" fmla="*/ 0 w 64"/>
                  <a:gd name="T11" fmla="*/ 68 h 68"/>
                </a:gdLst>
                <a:ahLst/>
                <a:cxnLst>
                  <a:cxn ang="0">
                    <a:pos x="T0" y="T1"/>
                  </a:cxn>
                  <a:cxn ang="0">
                    <a:pos x="T2" y="T3"/>
                  </a:cxn>
                  <a:cxn ang="0">
                    <a:pos x="T4" y="T5"/>
                  </a:cxn>
                  <a:cxn ang="0">
                    <a:pos x="T6" y="T7"/>
                  </a:cxn>
                  <a:cxn ang="0">
                    <a:pos x="T8" y="T9"/>
                  </a:cxn>
                  <a:cxn ang="0">
                    <a:pos x="T10" y="T11"/>
                  </a:cxn>
                </a:cxnLst>
                <a:rect l="0" t="0" r="r" b="b"/>
                <a:pathLst>
                  <a:path w="64" h="68">
                    <a:moveTo>
                      <a:pt x="0" y="68"/>
                    </a:moveTo>
                    <a:lnTo>
                      <a:pt x="64" y="68"/>
                    </a:lnTo>
                    <a:lnTo>
                      <a:pt x="64"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1" name="Freeform 269"/>
              <p:cNvSpPr>
                <a:spLocks/>
              </p:cNvSpPr>
              <p:nvPr/>
            </p:nvSpPr>
            <p:spPr bwMode="auto">
              <a:xfrm>
                <a:off x="1336"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Freeform 270"/>
              <p:cNvSpPr>
                <a:spLocks/>
              </p:cNvSpPr>
              <p:nvPr/>
            </p:nvSpPr>
            <p:spPr bwMode="auto">
              <a:xfrm>
                <a:off x="1336"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3" name="Freeform 271"/>
              <p:cNvSpPr>
                <a:spLocks/>
              </p:cNvSpPr>
              <p:nvPr/>
            </p:nvSpPr>
            <p:spPr bwMode="auto">
              <a:xfrm>
                <a:off x="1336"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4" name="Freeform 272"/>
              <p:cNvSpPr>
                <a:spLocks/>
              </p:cNvSpPr>
              <p:nvPr/>
            </p:nvSpPr>
            <p:spPr bwMode="auto">
              <a:xfrm>
                <a:off x="1622" y="3485"/>
                <a:ext cx="66" cy="68"/>
              </a:xfrm>
              <a:custGeom>
                <a:avLst/>
                <a:gdLst>
                  <a:gd name="T0" fmla="*/ 0 w 66"/>
                  <a:gd name="T1" fmla="*/ 68 h 68"/>
                  <a:gd name="T2" fmla="*/ 66 w 66"/>
                  <a:gd name="T3" fmla="*/ 68 h 68"/>
                  <a:gd name="T4" fmla="*/ 66 w 66"/>
                  <a:gd name="T5" fmla="*/ 0 h 68"/>
                  <a:gd name="T6" fmla="*/ 0 w 66"/>
                  <a:gd name="T7" fmla="*/ 0 h 68"/>
                  <a:gd name="T8" fmla="*/ 0 w 66"/>
                  <a:gd name="T9" fmla="*/ 68 h 68"/>
                  <a:gd name="T10" fmla="*/ 0 w 66"/>
                  <a:gd name="T11" fmla="*/ 68 h 68"/>
                </a:gdLst>
                <a:ahLst/>
                <a:cxnLst>
                  <a:cxn ang="0">
                    <a:pos x="T0" y="T1"/>
                  </a:cxn>
                  <a:cxn ang="0">
                    <a:pos x="T2" y="T3"/>
                  </a:cxn>
                  <a:cxn ang="0">
                    <a:pos x="T4" y="T5"/>
                  </a:cxn>
                  <a:cxn ang="0">
                    <a:pos x="T6" y="T7"/>
                  </a:cxn>
                  <a:cxn ang="0">
                    <a:pos x="T8" y="T9"/>
                  </a:cxn>
                  <a:cxn ang="0">
                    <a:pos x="T10" y="T11"/>
                  </a:cxn>
                </a:cxnLst>
                <a:rect l="0" t="0" r="r" b="b"/>
                <a:pathLst>
                  <a:path w="66" h="68">
                    <a:moveTo>
                      <a:pt x="0" y="68"/>
                    </a:moveTo>
                    <a:lnTo>
                      <a:pt x="66" y="68"/>
                    </a:lnTo>
                    <a:lnTo>
                      <a:pt x="66" y="0"/>
                    </a:lnTo>
                    <a:lnTo>
                      <a:pt x="0" y="0"/>
                    </a:lnTo>
                    <a:lnTo>
                      <a:pt x="0" y="68"/>
                    </a:lnTo>
                    <a:lnTo>
                      <a:pt x="0" y="6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Freeform 273"/>
              <p:cNvSpPr>
                <a:spLocks/>
              </p:cNvSpPr>
              <p:nvPr/>
            </p:nvSpPr>
            <p:spPr bwMode="auto">
              <a:xfrm>
                <a:off x="1540" y="348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Freeform 274"/>
              <p:cNvSpPr>
                <a:spLocks/>
              </p:cNvSpPr>
              <p:nvPr/>
            </p:nvSpPr>
            <p:spPr bwMode="auto">
              <a:xfrm>
                <a:off x="1622" y="3325"/>
                <a:ext cx="66" cy="68"/>
              </a:xfrm>
              <a:custGeom>
                <a:avLst/>
                <a:gdLst>
                  <a:gd name="T0" fmla="*/ 0 w 66"/>
                  <a:gd name="T1" fmla="*/ 0 h 68"/>
                  <a:gd name="T2" fmla="*/ 0 w 66"/>
                  <a:gd name="T3" fmla="*/ 68 h 68"/>
                  <a:gd name="T4" fmla="*/ 66 w 66"/>
                  <a:gd name="T5" fmla="*/ 68 h 68"/>
                  <a:gd name="T6" fmla="*/ 66 w 66"/>
                  <a:gd name="T7" fmla="*/ 0 h 68"/>
                  <a:gd name="T8" fmla="*/ 0 w 66"/>
                  <a:gd name="T9" fmla="*/ 0 h 68"/>
                  <a:gd name="T10" fmla="*/ 0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0" y="0"/>
                    </a:moveTo>
                    <a:lnTo>
                      <a:pt x="0" y="68"/>
                    </a:lnTo>
                    <a:lnTo>
                      <a:pt x="66" y="68"/>
                    </a:lnTo>
                    <a:lnTo>
                      <a:pt x="66" y="0"/>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7" name="Freeform 275"/>
              <p:cNvSpPr>
                <a:spLocks/>
              </p:cNvSpPr>
              <p:nvPr/>
            </p:nvSpPr>
            <p:spPr bwMode="auto">
              <a:xfrm>
                <a:off x="1622" y="3409"/>
                <a:ext cx="66" cy="58"/>
              </a:xfrm>
              <a:custGeom>
                <a:avLst/>
                <a:gdLst>
                  <a:gd name="T0" fmla="*/ 0 w 66"/>
                  <a:gd name="T1" fmla="*/ 58 h 58"/>
                  <a:gd name="T2" fmla="*/ 66 w 66"/>
                  <a:gd name="T3" fmla="*/ 58 h 58"/>
                  <a:gd name="T4" fmla="*/ 66 w 66"/>
                  <a:gd name="T5" fmla="*/ 0 h 58"/>
                  <a:gd name="T6" fmla="*/ 0 w 66"/>
                  <a:gd name="T7" fmla="*/ 0 h 58"/>
                  <a:gd name="T8" fmla="*/ 0 w 66"/>
                  <a:gd name="T9" fmla="*/ 58 h 58"/>
                  <a:gd name="T10" fmla="*/ 0 w 66"/>
                  <a:gd name="T11" fmla="*/ 58 h 58"/>
                </a:gdLst>
                <a:ahLst/>
                <a:cxnLst>
                  <a:cxn ang="0">
                    <a:pos x="T0" y="T1"/>
                  </a:cxn>
                  <a:cxn ang="0">
                    <a:pos x="T2" y="T3"/>
                  </a:cxn>
                  <a:cxn ang="0">
                    <a:pos x="T4" y="T5"/>
                  </a:cxn>
                  <a:cxn ang="0">
                    <a:pos x="T6" y="T7"/>
                  </a:cxn>
                  <a:cxn ang="0">
                    <a:pos x="T8" y="T9"/>
                  </a:cxn>
                  <a:cxn ang="0">
                    <a:pos x="T10" y="T11"/>
                  </a:cxn>
                </a:cxnLst>
                <a:rect l="0" t="0" r="r" b="b"/>
                <a:pathLst>
                  <a:path w="66" h="58">
                    <a:moveTo>
                      <a:pt x="0" y="58"/>
                    </a:moveTo>
                    <a:lnTo>
                      <a:pt x="66" y="58"/>
                    </a:lnTo>
                    <a:lnTo>
                      <a:pt x="66" y="0"/>
                    </a:lnTo>
                    <a:lnTo>
                      <a:pt x="0" y="0"/>
                    </a:lnTo>
                    <a:lnTo>
                      <a:pt x="0" y="58"/>
                    </a:lnTo>
                    <a:lnTo>
                      <a:pt x="0" y="5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8" name="Freeform 276"/>
              <p:cNvSpPr>
                <a:spLocks/>
              </p:cNvSpPr>
              <p:nvPr/>
            </p:nvSpPr>
            <p:spPr bwMode="auto">
              <a:xfrm>
                <a:off x="1540" y="3409"/>
                <a:ext cx="66" cy="58"/>
              </a:xfrm>
              <a:custGeom>
                <a:avLst/>
                <a:gdLst>
                  <a:gd name="T0" fmla="*/ 66 w 66"/>
                  <a:gd name="T1" fmla="*/ 0 h 58"/>
                  <a:gd name="T2" fmla="*/ 0 w 66"/>
                  <a:gd name="T3" fmla="*/ 0 h 58"/>
                  <a:gd name="T4" fmla="*/ 0 w 66"/>
                  <a:gd name="T5" fmla="*/ 58 h 58"/>
                  <a:gd name="T6" fmla="*/ 66 w 66"/>
                  <a:gd name="T7" fmla="*/ 58 h 58"/>
                  <a:gd name="T8" fmla="*/ 66 w 66"/>
                  <a:gd name="T9" fmla="*/ 0 h 58"/>
                  <a:gd name="T10" fmla="*/ 66 w 66"/>
                  <a:gd name="T11" fmla="*/ 0 h 58"/>
                </a:gdLst>
                <a:ahLst/>
                <a:cxnLst>
                  <a:cxn ang="0">
                    <a:pos x="T0" y="T1"/>
                  </a:cxn>
                  <a:cxn ang="0">
                    <a:pos x="T2" y="T3"/>
                  </a:cxn>
                  <a:cxn ang="0">
                    <a:pos x="T4" y="T5"/>
                  </a:cxn>
                  <a:cxn ang="0">
                    <a:pos x="T6" y="T7"/>
                  </a:cxn>
                  <a:cxn ang="0">
                    <a:pos x="T8" y="T9"/>
                  </a:cxn>
                  <a:cxn ang="0">
                    <a:pos x="T10" y="T11"/>
                  </a:cxn>
                </a:cxnLst>
                <a:rect l="0" t="0" r="r" b="b"/>
                <a:pathLst>
                  <a:path w="66" h="58">
                    <a:moveTo>
                      <a:pt x="66" y="0"/>
                    </a:moveTo>
                    <a:lnTo>
                      <a:pt x="0" y="0"/>
                    </a:lnTo>
                    <a:lnTo>
                      <a:pt x="0" y="58"/>
                    </a:lnTo>
                    <a:lnTo>
                      <a:pt x="66" y="5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9" name="Freeform 277"/>
              <p:cNvSpPr>
                <a:spLocks/>
              </p:cNvSpPr>
              <p:nvPr/>
            </p:nvSpPr>
            <p:spPr bwMode="auto">
              <a:xfrm>
                <a:off x="1540" y="3325"/>
                <a:ext cx="66" cy="68"/>
              </a:xfrm>
              <a:custGeom>
                <a:avLst/>
                <a:gdLst>
                  <a:gd name="T0" fmla="*/ 66 w 66"/>
                  <a:gd name="T1" fmla="*/ 0 h 68"/>
                  <a:gd name="T2" fmla="*/ 0 w 66"/>
                  <a:gd name="T3" fmla="*/ 0 h 68"/>
                  <a:gd name="T4" fmla="*/ 0 w 66"/>
                  <a:gd name="T5" fmla="*/ 68 h 68"/>
                  <a:gd name="T6" fmla="*/ 66 w 66"/>
                  <a:gd name="T7" fmla="*/ 68 h 68"/>
                  <a:gd name="T8" fmla="*/ 66 w 66"/>
                  <a:gd name="T9" fmla="*/ 0 h 68"/>
                  <a:gd name="T10" fmla="*/ 66 w 66"/>
                  <a:gd name="T11" fmla="*/ 0 h 68"/>
                </a:gdLst>
                <a:ahLst/>
                <a:cxnLst>
                  <a:cxn ang="0">
                    <a:pos x="T0" y="T1"/>
                  </a:cxn>
                  <a:cxn ang="0">
                    <a:pos x="T2" y="T3"/>
                  </a:cxn>
                  <a:cxn ang="0">
                    <a:pos x="T4" y="T5"/>
                  </a:cxn>
                  <a:cxn ang="0">
                    <a:pos x="T6" y="T7"/>
                  </a:cxn>
                  <a:cxn ang="0">
                    <a:pos x="T8" y="T9"/>
                  </a:cxn>
                  <a:cxn ang="0">
                    <a:pos x="T10" y="T11"/>
                  </a:cxn>
                </a:cxnLst>
                <a:rect l="0" t="0" r="r" b="b"/>
                <a:pathLst>
                  <a:path w="66" h="68">
                    <a:moveTo>
                      <a:pt x="66" y="0"/>
                    </a:moveTo>
                    <a:lnTo>
                      <a:pt x="0" y="0"/>
                    </a:lnTo>
                    <a:lnTo>
                      <a:pt x="0" y="68"/>
                    </a:lnTo>
                    <a:lnTo>
                      <a:pt x="66" y="68"/>
                    </a:lnTo>
                    <a:lnTo>
                      <a:pt x="66" y="0"/>
                    </a:lnTo>
                    <a:lnTo>
                      <a:pt x="66"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0" name="Freeform 278"/>
              <p:cNvSpPr>
                <a:spLocks/>
              </p:cNvSpPr>
              <p:nvPr/>
            </p:nvSpPr>
            <p:spPr bwMode="auto">
              <a:xfrm>
                <a:off x="1055" y="3866"/>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1" name="Freeform 279"/>
              <p:cNvSpPr>
                <a:spLocks/>
              </p:cNvSpPr>
              <p:nvPr/>
            </p:nvSpPr>
            <p:spPr bwMode="auto">
              <a:xfrm>
                <a:off x="1055" y="3970"/>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2" name="Freeform 280"/>
              <p:cNvSpPr>
                <a:spLocks/>
              </p:cNvSpPr>
              <p:nvPr/>
            </p:nvSpPr>
            <p:spPr bwMode="auto">
              <a:xfrm>
                <a:off x="1184" y="3866"/>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3" name="Freeform 281"/>
              <p:cNvSpPr>
                <a:spLocks/>
              </p:cNvSpPr>
              <p:nvPr/>
            </p:nvSpPr>
            <p:spPr bwMode="auto">
              <a:xfrm>
                <a:off x="1184" y="3970"/>
                <a:ext cx="82" cy="84"/>
              </a:xfrm>
              <a:custGeom>
                <a:avLst/>
                <a:gdLst>
                  <a:gd name="T0" fmla="*/ 82 w 82"/>
                  <a:gd name="T1" fmla="*/ 84 h 84"/>
                  <a:gd name="T2" fmla="*/ 0 w 82"/>
                  <a:gd name="T3" fmla="*/ 84 h 84"/>
                  <a:gd name="T4" fmla="*/ 0 w 82"/>
                  <a:gd name="T5" fmla="*/ 0 h 84"/>
                  <a:gd name="T6" fmla="*/ 82 w 82"/>
                  <a:gd name="T7" fmla="*/ 0 h 84"/>
                  <a:gd name="T8" fmla="*/ 82 w 82"/>
                  <a:gd name="T9" fmla="*/ 84 h 84"/>
                  <a:gd name="T10" fmla="*/ 82 w 82"/>
                  <a:gd name="T11" fmla="*/ 84 h 84"/>
                </a:gdLst>
                <a:ahLst/>
                <a:cxnLst>
                  <a:cxn ang="0">
                    <a:pos x="T0" y="T1"/>
                  </a:cxn>
                  <a:cxn ang="0">
                    <a:pos x="T2" y="T3"/>
                  </a:cxn>
                  <a:cxn ang="0">
                    <a:pos x="T4" y="T5"/>
                  </a:cxn>
                  <a:cxn ang="0">
                    <a:pos x="T6" y="T7"/>
                  </a:cxn>
                  <a:cxn ang="0">
                    <a:pos x="T8" y="T9"/>
                  </a:cxn>
                  <a:cxn ang="0">
                    <a:pos x="T10" y="T11"/>
                  </a:cxn>
                </a:cxnLst>
                <a:rect l="0" t="0" r="r" b="b"/>
                <a:pathLst>
                  <a:path w="82" h="84">
                    <a:moveTo>
                      <a:pt x="82" y="84"/>
                    </a:moveTo>
                    <a:lnTo>
                      <a:pt x="0" y="84"/>
                    </a:lnTo>
                    <a:lnTo>
                      <a:pt x="0" y="0"/>
                    </a:lnTo>
                    <a:lnTo>
                      <a:pt x="82" y="0"/>
                    </a:lnTo>
                    <a:lnTo>
                      <a:pt x="82" y="84"/>
                    </a:lnTo>
                    <a:lnTo>
                      <a:pt x="82"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4" name="Freeform 282"/>
              <p:cNvSpPr>
                <a:spLocks/>
              </p:cNvSpPr>
              <p:nvPr/>
            </p:nvSpPr>
            <p:spPr bwMode="auto">
              <a:xfrm>
                <a:off x="1372" y="3866"/>
                <a:ext cx="86" cy="84"/>
              </a:xfrm>
              <a:custGeom>
                <a:avLst/>
                <a:gdLst>
                  <a:gd name="T0" fmla="*/ 86 w 86"/>
                  <a:gd name="T1" fmla="*/ 84 h 84"/>
                  <a:gd name="T2" fmla="*/ 0 w 86"/>
                  <a:gd name="T3" fmla="*/ 84 h 84"/>
                  <a:gd name="T4" fmla="*/ 0 w 86"/>
                  <a:gd name="T5" fmla="*/ 0 h 84"/>
                  <a:gd name="T6" fmla="*/ 86 w 86"/>
                  <a:gd name="T7" fmla="*/ 0 h 84"/>
                  <a:gd name="T8" fmla="*/ 86 w 86"/>
                  <a:gd name="T9" fmla="*/ 84 h 84"/>
                  <a:gd name="T10" fmla="*/ 86 w 86"/>
                  <a:gd name="T11" fmla="*/ 84 h 84"/>
                </a:gdLst>
                <a:ahLst/>
                <a:cxnLst>
                  <a:cxn ang="0">
                    <a:pos x="T0" y="T1"/>
                  </a:cxn>
                  <a:cxn ang="0">
                    <a:pos x="T2" y="T3"/>
                  </a:cxn>
                  <a:cxn ang="0">
                    <a:pos x="T4" y="T5"/>
                  </a:cxn>
                  <a:cxn ang="0">
                    <a:pos x="T6" y="T7"/>
                  </a:cxn>
                  <a:cxn ang="0">
                    <a:pos x="T8" y="T9"/>
                  </a:cxn>
                  <a:cxn ang="0">
                    <a:pos x="T10" y="T11"/>
                  </a:cxn>
                </a:cxnLst>
                <a:rect l="0" t="0" r="r" b="b"/>
                <a:pathLst>
                  <a:path w="86" h="84">
                    <a:moveTo>
                      <a:pt x="86" y="84"/>
                    </a:moveTo>
                    <a:lnTo>
                      <a:pt x="0" y="84"/>
                    </a:lnTo>
                    <a:lnTo>
                      <a:pt x="0" y="0"/>
                    </a:lnTo>
                    <a:lnTo>
                      <a:pt x="86" y="0"/>
                    </a:lnTo>
                    <a:lnTo>
                      <a:pt x="86" y="84"/>
                    </a:lnTo>
                    <a:lnTo>
                      <a:pt x="86"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5" name="Freeform 283"/>
              <p:cNvSpPr>
                <a:spLocks/>
              </p:cNvSpPr>
              <p:nvPr/>
            </p:nvSpPr>
            <p:spPr bwMode="auto">
              <a:xfrm>
                <a:off x="1372" y="3970"/>
                <a:ext cx="86" cy="84"/>
              </a:xfrm>
              <a:custGeom>
                <a:avLst/>
                <a:gdLst>
                  <a:gd name="T0" fmla="*/ 86 w 86"/>
                  <a:gd name="T1" fmla="*/ 84 h 84"/>
                  <a:gd name="T2" fmla="*/ 0 w 86"/>
                  <a:gd name="T3" fmla="*/ 84 h 84"/>
                  <a:gd name="T4" fmla="*/ 0 w 86"/>
                  <a:gd name="T5" fmla="*/ 0 h 84"/>
                  <a:gd name="T6" fmla="*/ 86 w 86"/>
                  <a:gd name="T7" fmla="*/ 0 h 84"/>
                  <a:gd name="T8" fmla="*/ 86 w 86"/>
                  <a:gd name="T9" fmla="*/ 84 h 84"/>
                  <a:gd name="T10" fmla="*/ 86 w 86"/>
                  <a:gd name="T11" fmla="*/ 84 h 84"/>
                </a:gdLst>
                <a:ahLst/>
                <a:cxnLst>
                  <a:cxn ang="0">
                    <a:pos x="T0" y="T1"/>
                  </a:cxn>
                  <a:cxn ang="0">
                    <a:pos x="T2" y="T3"/>
                  </a:cxn>
                  <a:cxn ang="0">
                    <a:pos x="T4" y="T5"/>
                  </a:cxn>
                  <a:cxn ang="0">
                    <a:pos x="T6" y="T7"/>
                  </a:cxn>
                  <a:cxn ang="0">
                    <a:pos x="T8" y="T9"/>
                  </a:cxn>
                  <a:cxn ang="0">
                    <a:pos x="T10" y="T11"/>
                  </a:cxn>
                </a:cxnLst>
                <a:rect l="0" t="0" r="r" b="b"/>
                <a:pathLst>
                  <a:path w="86" h="84">
                    <a:moveTo>
                      <a:pt x="86" y="84"/>
                    </a:moveTo>
                    <a:lnTo>
                      <a:pt x="0" y="84"/>
                    </a:lnTo>
                    <a:lnTo>
                      <a:pt x="0" y="0"/>
                    </a:lnTo>
                    <a:lnTo>
                      <a:pt x="86" y="0"/>
                    </a:lnTo>
                    <a:lnTo>
                      <a:pt x="86" y="84"/>
                    </a:lnTo>
                    <a:lnTo>
                      <a:pt x="86"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6" name="Freeform 284"/>
              <p:cNvSpPr>
                <a:spLocks/>
              </p:cNvSpPr>
              <p:nvPr/>
            </p:nvSpPr>
            <p:spPr bwMode="auto">
              <a:xfrm>
                <a:off x="1502" y="3866"/>
                <a:ext cx="84" cy="84"/>
              </a:xfrm>
              <a:custGeom>
                <a:avLst/>
                <a:gdLst>
                  <a:gd name="T0" fmla="*/ 84 w 84"/>
                  <a:gd name="T1" fmla="*/ 84 h 84"/>
                  <a:gd name="T2" fmla="*/ 0 w 84"/>
                  <a:gd name="T3" fmla="*/ 84 h 84"/>
                  <a:gd name="T4" fmla="*/ 0 w 84"/>
                  <a:gd name="T5" fmla="*/ 0 h 84"/>
                  <a:gd name="T6" fmla="*/ 84 w 84"/>
                  <a:gd name="T7" fmla="*/ 0 h 84"/>
                  <a:gd name="T8" fmla="*/ 84 w 84"/>
                  <a:gd name="T9" fmla="*/ 84 h 84"/>
                  <a:gd name="T10" fmla="*/ 84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84" y="84"/>
                    </a:moveTo>
                    <a:lnTo>
                      <a:pt x="0" y="84"/>
                    </a:lnTo>
                    <a:lnTo>
                      <a:pt x="0" y="0"/>
                    </a:lnTo>
                    <a:lnTo>
                      <a:pt x="84" y="0"/>
                    </a:lnTo>
                    <a:lnTo>
                      <a:pt x="84" y="84"/>
                    </a:lnTo>
                    <a:lnTo>
                      <a:pt x="84"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7" name="Freeform 285"/>
              <p:cNvSpPr>
                <a:spLocks/>
              </p:cNvSpPr>
              <p:nvPr/>
            </p:nvSpPr>
            <p:spPr bwMode="auto">
              <a:xfrm>
                <a:off x="1502" y="3970"/>
                <a:ext cx="84" cy="84"/>
              </a:xfrm>
              <a:custGeom>
                <a:avLst/>
                <a:gdLst>
                  <a:gd name="T0" fmla="*/ 84 w 84"/>
                  <a:gd name="T1" fmla="*/ 84 h 84"/>
                  <a:gd name="T2" fmla="*/ 0 w 84"/>
                  <a:gd name="T3" fmla="*/ 84 h 84"/>
                  <a:gd name="T4" fmla="*/ 0 w 84"/>
                  <a:gd name="T5" fmla="*/ 0 h 84"/>
                  <a:gd name="T6" fmla="*/ 84 w 84"/>
                  <a:gd name="T7" fmla="*/ 0 h 84"/>
                  <a:gd name="T8" fmla="*/ 84 w 84"/>
                  <a:gd name="T9" fmla="*/ 84 h 84"/>
                  <a:gd name="T10" fmla="*/ 84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84" y="84"/>
                    </a:moveTo>
                    <a:lnTo>
                      <a:pt x="0" y="84"/>
                    </a:lnTo>
                    <a:lnTo>
                      <a:pt x="0" y="0"/>
                    </a:lnTo>
                    <a:lnTo>
                      <a:pt x="84" y="0"/>
                    </a:lnTo>
                    <a:lnTo>
                      <a:pt x="84" y="84"/>
                    </a:lnTo>
                    <a:lnTo>
                      <a:pt x="84"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8" name="Rectangle 286"/>
              <p:cNvSpPr>
                <a:spLocks noChangeArrowheads="1"/>
              </p:cNvSpPr>
              <p:nvPr/>
            </p:nvSpPr>
            <p:spPr bwMode="auto">
              <a:xfrm>
                <a:off x="705" y="2550"/>
                <a:ext cx="11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C</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19" name="Rectangle 287"/>
              <p:cNvSpPr>
                <a:spLocks noChangeArrowheads="1"/>
              </p:cNvSpPr>
              <p:nvPr/>
            </p:nvSpPr>
            <p:spPr bwMode="auto">
              <a:xfrm>
                <a:off x="699" y="2646"/>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0" name="Rectangle 288"/>
              <p:cNvSpPr>
                <a:spLocks noChangeArrowheads="1"/>
              </p:cNvSpPr>
              <p:nvPr/>
            </p:nvSpPr>
            <p:spPr bwMode="auto">
              <a:xfrm>
                <a:off x="699" y="2742"/>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N</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1" name="Rectangle 289"/>
              <p:cNvSpPr>
                <a:spLocks noChangeArrowheads="1"/>
              </p:cNvSpPr>
              <p:nvPr/>
            </p:nvSpPr>
            <p:spPr bwMode="auto">
              <a:xfrm>
                <a:off x="709" y="2838"/>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2" name="Rectangle 290"/>
              <p:cNvSpPr>
                <a:spLocks noChangeArrowheads="1"/>
              </p:cNvSpPr>
              <p:nvPr/>
            </p:nvSpPr>
            <p:spPr bwMode="auto">
              <a:xfrm>
                <a:off x="699" y="2934"/>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3" name="Rectangle 291"/>
              <p:cNvSpPr>
                <a:spLocks noChangeArrowheads="1"/>
              </p:cNvSpPr>
              <p:nvPr/>
            </p:nvSpPr>
            <p:spPr bwMode="auto">
              <a:xfrm>
                <a:off x="709" y="3031"/>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S</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4" name="Rectangle 292"/>
              <p:cNvSpPr>
                <a:spLocks noChangeArrowheads="1"/>
              </p:cNvSpPr>
              <p:nvPr/>
            </p:nvSpPr>
            <p:spPr bwMode="auto">
              <a:xfrm>
                <a:off x="699" y="3127"/>
                <a:ext cx="12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O</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5" name="Rectangle 293"/>
              <p:cNvSpPr>
                <a:spLocks noChangeArrowheads="1"/>
              </p:cNvSpPr>
              <p:nvPr/>
            </p:nvSpPr>
            <p:spPr bwMode="auto">
              <a:xfrm>
                <a:off x="691" y="3275"/>
                <a:ext cx="13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M</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6" name="Rectangle 294"/>
              <p:cNvSpPr>
                <a:spLocks noChangeArrowheads="1"/>
              </p:cNvSpPr>
              <p:nvPr/>
            </p:nvSpPr>
            <p:spPr bwMode="auto">
              <a:xfrm>
                <a:off x="703" y="3371"/>
                <a:ext cx="11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A</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7" name="Rectangle 295"/>
              <p:cNvSpPr>
                <a:spLocks noChangeArrowheads="1"/>
              </p:cNvSpPr>
              <p:nvPr/>
            </p:nvSpPr>
            <p:spPr bwMode="auto">
              <a:xfrm>
                <a:off x="707" y="3467"/>
                <a:ext cx="10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R</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8" name="Rectangle 296"/>
              <p:cNvSpPr>
                <a:spLocks noChangeArrowheads="1"/>
              </p:cNvSpPr>
              <p:nvPr/>
            </p:nvSpPr>
            <p:spPr bwMode="auto">
              <a:xfrm>
                <a:off x="709" y="3564"/>
                <a:ext cx="10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T</a:t>
                </a:r>
                <a:endParaRPr kumimoji="0" lang="en-US" altLang="en-US" sz="18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9" name="Rectangle 297"/>
              <p:cNvSpPr>
                <a:spLocks noChangeArrowheads="1"/>
              </p:cNvSpPr>
              <p:nvPr/>
            </p:nvSpPr>
            <p:spPr bwMode="auto">
              <a:xfrm>
                <a:off x="2153" y="4077"/>
                <a:ext cx="5541" cy="82"/>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0" name="Freeform 298"/>
              <p:cNvSpPr>
                <a:spLocks/>
              </p:cNvSpPr>
              <p:nvPr/>
            </p:nvSpPr>
            <p:spPr bwMode="auto">
              <a:xfrm>
                <a:off x="3547" y="587"/>
                <a:ext cx="4033" cy="1896"/>
              </a:xfrm>
              <a:custGeom>
                <a:avLst/>
                <a:gdLst>
                  <a:gd name="T0" fmla="*/ 1820 w 2014"/>
                  <a:gd name="T1" fmla="*/ 235 h 946"/>
                  <a:gd name="T2" fmla="*/ 1812 w 2014"/>
                  <a:gd name="T3" fmla="*/ 219 h 946"/>
                  <a:gd name="T4" fmla="*/ 1523 w 2014"/>
                  <a:gd name="T5" fmla="*/ 0 h 946"/>
                  <a:gd name="T6" fmla="*/ 1463 w 2014"/>
                  <a:gd name="T7" fmla="*/ 6 h 946"/>
                  <a:gd name="T8" fmla="*/ 1434 w 2014"/>
                  <a:gd name="T9" fmla="*/ 4 h 946"/>
                  <a:gd name="T10" fmla="*/ 1358 w 2014"/>
                  <a:gd name="T11" fmla="*/ 24 h 946"/>
                  <a:gd name="T12" fmla="*/ 1302 w 2014"/>
                  <a:gd name="T13" fmla="*/ 0 h 946"/>
                  <a:gd name="T14" fmla="*/ 1235 w 2014"/>
                  <a:gd name="T15" fmla="*/ 38 h 946"/>
                  <a:gd name="T16" fmla="*/ 1078 w 2014"/>
                  <a:gd name="T17" fmla="*/ 0 h 946"/>
                  <a:gd name="T18" fmla="*/ 908 w 2014"/>
                  <a:gd name="T19" fmla="*/ 45 h 946"/>
                  <a:gd name="T20" fmla="*/ 819 w 2014"/>
                  <a:gd name="T21" fmla="*/ 0 h 946"/>
                  <a:gd name="T22" fmla="*/ 717 w 2014"/>
                  <a:gd name="T23" fmla="*/ 67 h 946"/>
                  <a:gd name="T24" fmla="*/ 619 w 2014"/>
                  <a:gd name="T25" fmla="*/ 47 h 946"/>
                  <a:gd name="T26" fmla="*/ 388 w 2014"/>
                  <a:gd name="T27" fmla="*/ 197 h 946"/>
                  <a:gd name="T28" fmla="*/ 283 w 2014"/>
                  <a:gd name="T29" fmla="*/ 345 h 946"/>
                  <a:gd name="T30" fmla="*/ 288 w 2014"/>
                  <a:gd name="T31" fmla="*/ 384 h 946"/>
                  <a:gd name="T32" fmla="*/ 278 w 2014"/>
                  <a:gd name="T33" fmla="*/ 384 h 946"/>
                  <a:gd name="T34" fmla="*/ 0 w 2014"/>
                  <a:gd name="T35" fmla="*/ 665 h 946"/>
                  <a:gd name="T36" fmla="*/ 278 w 2014"/>
                  <a:gd name="T37" fmla="*/ 946 h 946"/>
                  <a:gd name="T38" fmla="*/ 306 w 2014"/>
                  <a:gd name="T39" fmla="*/ 944 h 946"/>
                  <a:gd name="T40" fmla="*/ 1607 w 2014"/>
                  <a:gd name="T41" fmla="*/ 944 h 946"/>
                  <a:gd name="T42" fmla="*/ 1639 w 2014"/>
                  <a:gd name="T43" fmla="*/ 946 h 946"/>
                  <a:gd name="T44" fmla="*/ 2014 w 2014"/>
                  <a:gd name="T45" fmla="*/ 567 h 946"/>
                  <a:gd name="T46" fmla="*/ 1820 w 2014"/>
                  <a:gd name="T47" fmla="*/ 235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4" h="946">
                    <a:moveTo>
                      <a:pt x="1820" y="235"/>
                    </a:moveTo>
                    <a:cubicBezTo>
                      <a:pt x="1818" y="229"/>
                      <a:pt x="1815" y="224"/>
                      <a:pt x="1812" y="219"/>
                    </a:cubicBezTo>
                    <a:cubicBezTo>
                      <a:pt x="1776" y="92"/>
                      <a:pt x="1660" y="0"/>
                      <a:pt x="1523" y="0"/>
                    </a:cubicBezTo>
                    <a:cubicBezTo>
                      <a:pt x="1503" y="0"/>
                      <a:pt x="1483" y="2"/>
                      <a:pt x="1463" y="6"/>
                    </a:cubicBezTo>
                    <a:cubicBezTo>
                      <a:pt x="1454" y="5"/>
                      <a:pt x="1444" y="4"/>
                      <a:pt x="1434" y="4"/>
                    </a:cubicBezTo>
                    <a:cubicBezTo>
                      <a:pt x="1406" y="4"/>
                      <a:pt x="1380" y="11"/>
                      <a:pt x="1358" y="24"/>
                    </a:cubicBezTo>
                    <a:cubicBezTo>
                      <a:pt x="1344" y="9"/>
                      <a:pt x="1324" y="0"/>
                      <a:pt x="1302" y="0"/>
                    </a:cubicBezTo>
                    <a:cubicBezTo>
                      <a:pt x="1274" y="0"/>
                      <a:pt x="1249" y="16"/>
                      <a:pt x="1235" y="38"/>
                    </a:cubicBezTo>
                    <a:cubicBezTo>
                      <a:pt x="1188" y="14"/>
                      <a:pt x="1135" y="0"/>
                      <a:pt x="1078" y="0"/>
                    </a:cubicBezTo>
                    <a:cubicBezTo>
                      <a:pt x="1016" y="0"/>
                      <a:pt x="959" y="17"/>
                      <a:pt x="908" y="45"/>
                    </a:cubicBezTo>
                    <a:cubicBezTo>
                      <a:pt x="888" y="18"/>
                      <a:pt x="856" y="0"/>
                      <a:pt x="819" y="0"/>
                    </a:cubicBezTo>
                    <a:cubicBezTo>
                      <a:pt x="774" y="0"/>
                      <a:pt x="734" y="28"/>
                      <a:pt x="717" y="67"/>
                    </a:cubicBezTo>
                    <a:cubicBezTo>
                      <a:pt x="687" y="54"/>
                      <a:pt x="654" y="47"/>
                      <a:pt x="619" y="47"/>
                    </a:cubicBezTo>
                    <a:cubicBezTo>
                      <a:pt x="517" y="47"/>
                      <a:pt x="429" y="108"/>
                      <a:pt x="388" y="197"/>
                    </a:cubicBezTo>
                    <a:cubicBezTo>
                      <a:pt x="327" y="217"/>
                      <a:pt x="283" y="276"/>
                      <a:pt x="283" y="345"/>
                    </a:cubicBezTo>
                    <a:cubicBezTo>
                      <a:pt x="283" y="358"/>
                      <a:pt x="285" y="372"/>
                      <a:pt x="288" y="384"/>
                    </a:cubicBezTo>
                    <a:cubicBezTo>
                      <a:pt x="285" y="384"/>
                      <a:pt x="281" y="384"/>
                      <a:pt x="278" y="384"/>
                    </a:cubicBezTo>
                    <a:cubicBezTo>
                      <a:pt x="125" y="384"/>
                      <a:pt x="0" y="510"/>
                      <a:pt x="0" y="665"/>
                    </a:cubicBezTo>
                    <a:cubicBezTo>
                      <a:pt x="0" y="820"/>
                      <a:pt x="125" y="946"/>
                      <a:pt x="278" y="946"/>
                    </a:cubicBezTo>
                    <a:cubicBezTo>
                      <a:pt x="287" y="946"/>
                      <a:pt x="297" y="945"/>
                      <a:pt x="306" y="944"/>
                    </a:cubicBezTo>
                    <a:cubicBezTo>
                      <a:pt x="1607" y="944"/>
                      <a:pt x="1607" y="944"/>
                      <a:pt x="1607" y="944"/>
                    </a:cubicBezTo>
                    <a:cubicBezTo>
                      <a:pt x="1618" y="945"/>
                      <a:pt x="1629" y="946"/>
                      <a:pt x="1639" y="946"/>
                    </a:cubicBezTo>
                    <a:cubicBezTo>
                      <a:pt x="1846" y="946"/>
                      <a:pt x="2014" y="776"/>
                      <a:pt x="2014" y="567"/>
                    </a:cubicBezTo>
                    <a:cubicBezTo>
                      <a:pt x="2014" y="424"/>
                      <a:pt x="1935" y="300"/>
                      <a:pt x="1820" y="2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1" name="Freeform 299"/>
              <p:cNvSpPr>
                <a:spLocks/>
              </p:cNvSpPr>
              <p:nvPr/>
            </p:nvSpPr>
            <p:spPr bwMode="auto">
              <a:xfrm>
                <a:off x="4514" y="780"/>
                <a:ext cx="687" cy="1651"/>
              </a:xfrm>
              <a:custGeom>
                <a:avLst/>
                <a:gdLst>
                  <a:gd name="T0" fmla="*/ 313 w 343"/>
                  <a:gd name="T1" fmla="*/ 824 h 824"/>
                  <a:gd name="T2" fmla="*/ 31 w 343"/>
                  <a:gd name="T3" fmla="*/ 824 h 824"/>
                  <a:gd name="T4" fmla="*/ 0 w 343"/>
                  <a:gd name="T5" fmla="*/ 794 h 824"/>
                  <a:gd name="T6" fmla="*/ 0 w 343"/>
                  <a:gd name="T7" fmla="*/ 31 h 824"/>
                  <a:gd name="T8" fmla="*/ 31 w 343"/>
                  <a:gd name="T9" fmla="*/ 0 h 824"/>
                  <a:gd name="T10" fmla="*/ 313 w 343"/>
                  <a:gd name="T11" fmla="*/ 0 h 824"/>
                  <a:gd name="T12" fmla="*/ 343 w 343"/>
                  <a:gd name="T13" fmla="*/ 31 h 824"/>
                  <a:gd name="T14" fmla="*/ 343 w 343"/>
                  <a:gd name="T15" fmla="*/ 794 h 824"/>
                  <a:gd name="T16" fmla="*/ 313 w 343"/>
                  <a:gd name="T17" fmla="*/ 8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824">
                    <a:moveTo>
                      <a:pt x="313" y="824"/>
                    </a:moveTo>
                    <a:cubicBezTo>
                      <a:pt x="31" y="824"/>
                      <a:pt x="31" y="824"/>
                      <a:pt x="31" y="824"/>
                    </a:cubicBezTo>
                    <a:cubicBezTo>
                      <a:pt x="14" y="824"/>
                      <a:pt x="0" y="811"/>
                      <a:pt x="0" y="794"/>
                    </a:cubicBezTo>
                    <a:cubicBezTo>
                      <a:pt x="0" y="31"/>
                      <a:pt x="0" y="31"/>
                      <a:pt x="0" y="31"/>
                    </a:cubicBezTo>
                    <a:cubicBezTo>
                      <a:pt x="0" y="14"/>
                      <a:pt x="14" y="0"/>
                      <a:pt x="31" y="0"/>
                    </a:cubicBezTo>
                    <a:cubicBezTo>
                      <a:pt x="313" y="0"/>
                      <a:pt x="313" y="0"/>
                      <a:pt x="313" y="0"/>
                    </a:cubicBezTo>
                    <a:cubicBezTo>
                      <a:pt x="330" y="0"/>
                      <a:pt x="343" y="14"/>
                      <a:pt x="343" y="31"/>
                    </a:cubicBezTo>
                    <a:cubicBezTo>
                      <a:pt x="343" y="794"/>
                      <a:pt x="343" y="794"/>
                      <a:pt x="343" y="794"/>
                    </a:cubicBezTo>
                    <a:cubicBezTo>
                      <a:pt x="343" y="811"/>
                      <a:pt x="330" y="824"/>
                      <a:pt x="313" y="82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2" name="Freeform 300"/>
              <p:cNvSpPr>
                <a:spLocks/>
              </p:cNvSpPr>
              <p:nvPr/>
            </p:nvSpPr>
            <p:spPr bwMode="auto">
              <a:xfrm>
                <a:off x="1640" y="2862"/>
                <a:ext cx="1068" cy="784"/>
              </a:xfrm>
              <a:custGeom>
                <a:avLst/>
                <a:gdLst>
                  <a:gd name="T0" fmla="*/ 0 w 1068"/>
                  <a:gd name="T1" fmla="*/ 581 h 784"/>
                  <a:gd name="T2" fmla="*/ 1047 w 1068"/>
                  <a:gd name="T3" fmla="*/ 0 h 784"/>
                  <a:gd name="T4" fmla="*/ 1068 w 1068"/>
                  <a:gd name="T5" fmla="*/ 784 h 784"/>
                  <a:gd name="T6" fmla="*/ 0 w 1068"/>
                  <a:gd name="T7" fmla="*/ 581 h 784"/>
                </a:gdLst>
                <a:ahLst/>
                <a:cxnLst>
                  <a:cxn ang="0">
                    <a:pos x="T0" y="T1"/>
                  </a:cxn>
                  <a:cxn ang="0">
                    <a:pos x="T2" y="T3"/>
                  </a:cxn>
                  <a:cxn ang="0">
                    <a:pos x="T4" y="T5"/>
                  </a:cxn>
                  <a:cxn ang="0">
                    <a:pos x="T6" y="T7"/>
                  </a:cxn>
                </a:cxnLst>
                <a:rect l="0" t="0" r="r" b="b"/>
                <a:pathLst>
                  <a:path w="1068" h="784">
                    <a:moveTo>
                      <a:pt x="0" y="581"/>
                    </a:moveTo>
                    <a:lnTo>
                      <a:pt x="1047" y="0"/>
                    </a:lnTo>
                    <a:lnTo>
                      <a:pt x="1068" y="784"/>
                    </a:lnTo>
                    <a:lnTo>
                      <a:pt x="0" y="581"/>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3" name="Freeform 301"/>
              <p:cNvSpPr>
                <a:spLocks/>
              </p:cNvSpPr>
              <p:nvPr/>
            </p:nvSpPr>
            <p:spPr bwMode="auto">
              <a:xfrm>
                <a:off x="2671" y="2854"/>
                <a:ext cx="1663" cy="790"/>
              </a:xfrm>
              <a:custGeom>
                <a:avLst/>
                <a:gdLst>
                  <a:gd name="T0" fmla="*/ 810 w 830"/>
                  <a:gd name="T1" fmla="*/ 394 h 394"/>
                  <a:gd name="T2" fmla="*/ 20 w 830"/>
                  <a:gd name="T3" fmla="*/ 394 h 394"/>
                  <a:gd name="T4" fmla="*/ 0 w 830"/>
                  <a:gd name="T5" fmla="*/ 374 h 394"/>
                  <a:gd name="T6" fmla="*/ 0 w 830"/>
                  <a:gd name="T7" fmla="*/ 20 h 394"/>
                  <a:gd name="T8" fmla="*/ 20 w 830"/>
                  <a:gd name="T9" fmla="*/ 0 h 394"/>
                  <a:gd name="T10" fmla="*/ 810 w 830"/>
                  <a:gd name="T11" fmla="*/ 0 h 394"/>
                  <a:gd name="T12" fmla="*/ 830 w 830"/>
                  <a:gd name="T13" fmla="*/ 20 h 394"/>
                  <a:gd name="T14" fmla="*/ 830 w 830"/>
                  <a:gd name="T15" fmla="*/ 374 h 394"/>
                  <a:gd name="T16" fmla="*/ 810 w 830"/>
                  <a:gd name="T17"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0" h="394">
                    <a:moveTo>
                      <a:pt x="810" y="394"/>
                    </a:moveTo>
                    <a:cubicBezTo>
                      <a:pt x="20" y="394"/>
                      <a:pt x="20" y="394"/>
                      <a:pt x="20" y="394"/>
                    </a:cubicBezTo>
                    <a:cubicBezTo>
                      <a:pt x="9" y="394"/>
                      <a:pt x="0" y="385"/>
                      <a:pt x="0" y="374"/>
                    </a:cubicBezTo>
                    <a:cubicBezTo>
                      <a:pt x="0" y="20"/>
                      <a:pt x="0" y="20"/>
                      <a:pt x="0" y="20"/>
                    </a:cubicBezTo>
                    <a:cubicBezTo>
                      <a:pt x="0" y="9"/>
                      <a:pt x="9" y="0"/>
                      <a:pt x="20" y="0"/>
                    </a:cubicBezTo>
                    <a:cubicBezTo>
                      <a:pt x="810" y="0"/>
                      <a:pt x="810" y="0"/>
                      <a:pt x="810" y="0"/>
                    </a:cubicBezTo>
                    <a:cubicBezTo>
                      <a:pt x="821" y="0"/>
                      <a:pt x="830" y="9"/>
                      <a:pt x="830" y="20"/>
                    </a:cubicBezTo>
                    <a:cubicBezTo>
                      <a:pt x="830" y="374"/>
                      <a:pt x="830" y="374"/>
                      <a:pt x="830" y="374"/>
                    </a:cubicBezTo>
                    <a:cubicBezTo>
                      <a:pt x="830" y="385"/>
                      <a:pt x="821" y="394"/>
                      <a:pt x="810" y="3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Freeform 302"/>
              <p:cNvSpPr>
                <a:spLocks noEditPoints="1"/>
              </p:cNvSpPr>
              <p:nvPr/>
            </p:nvSpPr>
            <p:spPr bwMode="auto">
              <a:xfrm>
                <a:off x="2818" y="3187"/>
                <a:ext cx="250" cy="254"/>
              </a:xfrm>
              <a:custGeom>
                <a:avLst/>
                <a:gdLst>
                  <a:gd name="T0" fmla="*/ 12 w 125"/>
                  <a:gd name="T1" fmla="*/ 89 h 127"/>
                  <a:gd name="T2" fmla="*/ 12 w 125"/>
                  <a:gd name="T3" fmla="*/ 89 h 127"/>
                  <a:gd name="T4" fmla="*/ 0 w 125"/>
                  <a:gd name="T5" fmla="*/ 77 h 127"/>
                  <a:gd name="T6" fmla="*/ 0 w 125"/>
                  <a:gd name="T7" fmla="*/ 50 h 127"/>
                  <a:gd name="T8" fmla="*/ 12 w 125"/>
                  <a:gd name="T9" fmla="*/ 38 h 127"/>
                  <a:gd name="T10" fmla="*/ 12 w 125"/>
                  <a:gd name="T11" fmla="*/ 38 h 127"/>
                  <a:gd name="T12" fmla="*/ 24 w 125"/>
                  <a:gd name="T13" fmla="*/ 50 h 127"/>
                  <a:gd name="T14" fmla="*/ 24 w 125"/>
                  <a:gd name="T15" fmla="*/ 77 h 127"/>
                  <a:gd name="T16" fmla="*/ 12 w 125"/>
                  <a:gd name="T17" fmla="*/ 89 h 127"/>
                  <a:gd name="T18" fmla="*/ 58 w 125"/>
                  <a:gd name="T19" fmla="*/ 89 h 127"/>
                  <a:gd name="T20" fmla="*/ 58 w 125"/>
                  <a:gd name="T21" fmla="*/ 38 h 127"/>
                  <a:gd name="T22" fmla="*/ 46 w 125"/>
                  <a:gd name="T23" fmla="*/ 26 h 127"/>
                  <a:gd name="T24" fmla="*/ 46 w 125"/>
                  <a:gd name="T25" fmla="*/ 26 h 127"/>
                  <a:gd name="T26" fmla="*/ 34 w 125"/>
                  <a:gd name="T27" fmla="*/ 38 h 127"/>
                  <a:gd name="T28" fmla="*/ 34 w 125"/>
                  <a:gd name="T29" fmla="*/ 89 h 127"/>
                  <a:gd name="T30" fmla="*/ 46 w 125"/>
                  <a:gd name="T31" fmla="*/ 101 h 127"/>
                  <a:gd name="T32" fmla="*/ 46 w 125"/>
                  <a:gd name="T33" fmla="*/ 101 h 127"/>
                  <a:gd name="T34" fmla="*/ 58 w 125"/>
                  <a:gd name="T35" fmla="*/ 89 h 127"/>
                  <a:gd name="T36" fmla="*/ 92 w 125"/>
                  <a:gd name="T37" fmla="*/ 102 h 127"/>
                  <a:gd name="T38" fmla="*/ 92 w 125"/>
                  <a:gd name="T39" fmla="*/ 25 h 127"/>
                  <a:gd name="T40" fmla="*/ 80 w 125"/>
                  <a:gd name="T41" fmla="*/ 13 h 127"/>
                  <a:gd name="T42" fmla="*/ 80 w 125"/>
                  <a:gd name="T43" fmla="*/ 13 h 127"/>
                  <a:gd name="T44" fmla="*/ 68 w 125"/>
                  <a:gd name="T45" fmla="*/ 25 h 127"/>
                  <a:gd name="T46" fmla="*/ 68 w 125"/>
                  <a:gd name="T47" fmla="*/ 102 h 127"/>
                  <a:gd name="T48" fmla="*/ 80 w 125"/>
                  <a:gd name="T49" fmla="*/ 114 h 127"/>
                  <a:gd name="T50" fmla="*/ 80 w 125"/>
                  <a:gd name="T51" fmla="*/ 114 h 127"/>
                  <a:gd name="T52" fmla="*/ 92 w 125"/>
                  <a:gd name="T53" fmla="*/ 102 h 127"/>
                  <a:gd name="T54" fmla="*/ 125 w 125"/>
                  <a:gd name="T55" fmla="*/ 115 h 127"/>
                  <a:gd name="T56" fmla="*/ 125 w 125"/>
                  <a:gd name="T57" fmla="*/ 12 h 127"/>
                  <a:gd name="T58" fmla="*/ 114 w 125"/>
                  <a:gd name="T59" fmla="*/ 0 h 127"/>
                  <a:gd name="T60" fmla="*/ 114 w 125"/>
                  <a:gd name="T61" fmla="*/ 0 h 127"/>
                  <a:gd name="T62" fmla="*/ 102 w 125"/>
                  <a:gd name="T63" fmla="*/ 12 h 127"/>
                  <a:gd name="T64" fmla="*/ 102 w 125"/>
                  <a:gd name="T65" fmla="*/ 115 h 127"/>
                  <a:gd name="T66" fmla="*/ 114 w 125"/>
                  <a:gd name="T67" fmla="*/ 127 h 127"/>
                  <a:gd name="T68" fmla="*/ 114 w 125"/>
                  <a:gd name="T69" fmla="*/ 127 h 127"/>
                  <a:gd name="T70" fmla="*/ 125 w 125"/>
                  <a:gd name="T71"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27">
                    <a:moveTo>
                      <a:pt x="12" y="89"/>
                    </a:moveTo>
                    <a:cubicBezTo>
                      <a:pt x="12" y="89"/>
                      <a:pt x="12" y="89"/>
                      <a:pt x="12" y="89"/>
                    </a:cubicBezTo>
                    <a:cubicBezTo>
                      <a:pt x="6" y="89"/>
                      <a:pt x="0" y="84"/>
                      <a:pt x="0" y="77"/>
                    </a:cubicBezTo>
                    <a:cubicBezTo>
                      <a:pt x="0" y="50"/>
                      <a:pt x="0" y="50"/>
                      <a:pt x="0" y="50"/>
                    </a:cubicBezTo>
                    <a:cubicBezTo>
                      <a:pt x="0" y="43"/>
                      <a:pt x="6" y="38"/>
                      <a:pt x="12" y="38"/>
                    </a:cubicBezTo>
                    <a:cubicBezTo>
                      <a:pt x="12" y="38"/>
                      <a:pt x="12" y="38"/>
                      <a:pt x="12" y="38"/>
                    </a:cubicBezTo>
                    <a:cubicBezTo>
                      <a:pt x="19" y="38"/>
                      <a:pt x="24" y="43"/>
                      <a:pt x="24" y="50"/>
                    </a:cubicBezTo>
                    <a:cubicBezTo>
                      <a:pt x="24" y="77"/>
                      <a:pt x="24" y="77"/>
                      <a:pt x="24" y="77"/>
                    </a:cubicBezTo>
                    <a:cubicBezTo>
                      <a:pt x="24" y="84"/>
                      <a:pt x="19" y="89"/>
                      <a:pt x="12" y="89"/>
                    </a:cubicBezTo>
                    <a:close/>
                    <a:moveTo>
                      <a:pt x="58" y="89"/>
                    </a:moveTo>
                    <a:cubicBezTo>
                      <a:pt x="58" y="38"/>
                      <a:pt x="58" y="38"/>
                      <a:pt x="58" y="38"/>
                    </a:cubicBezTo>
                    <a:cubicBezTo>
                      <a:pt x="58" y="31"/>
                      <a:pt x="53" y="26"/>
                      <a:pt x="46" y="26"/>
                    </a:cubicBezTo>
                    <a:cubicBezTo>
                      <a:pt x="46" y="26"/>
                      <a:pt x="46" y="26"/>
                      <a:pt x="46" y="26"/>
                    </a:cubicBezTo>
                    <a:cubicBezTo>
                      <a:pt x="40" y="26"/>
                      <a:pt x="34" y="31"/>
                      <a:pt x="34" y="38"/>
                    </a:cubicBezTo>
                    <a:cubicBezTo>
                      <a:pt x="34" y="89"/>
                      <a:pt x="34" y="89"/>
                      <a:pt x="34" y="89"/>
                    </a:cubicBezTo>
                    <a:cubicBezTo>
                      <a:pt x="34" y="96"/>
                      <a:pt x="40" y="101"/>
                      <a:pt x="46" y="101"/>
                    </a:cubicBezTo>
                    <a:cubicBezTo>
                      <a:pt x="46" y="101"/>
                      <a:pt x="46" y="101"/>
                      <a:pt x="46" y="101"/>
                    </a:cubicBezTo>
                    <a:cubicBezTo>
                      <a:pt x="53" y="101"/>
                      <a:pt x="58" y="96"/>
                      <a:pt x="58" y="89"/>
                    </a:cubicBezTo>
                    <a:close/>
                    <a:moveTo>
                      <a:pt x="92" y="102"/>
                    </a:moveTo>
                    <a:cubicBezTo>
                      <a:pt x="92" y="25"/>
                      <a:pt x="92" y="25"/>
                      <a:pt x="92" y="25"/>
                    </a:cubicBezTo>
                    <a:cubicBezTo>
                      <a:pt x="92" y="18"/>
                      <a:pt x="86" y="13"/>
                      <a:pt x="80" y="13"/>
                    </a:cubicBezTo>
                    <a:cubicBezTo>
                      <a:pt x="80" y="13"/>
                      <a:pt x="80" y="13"/>
                      <a:pt x="80" y="13"/>
                    </a:cubicBezTo>
                    <a:cubicBezTo>
                      <a:pt x="73" y="13"/>
                      <a:pt x="68" y="18"/>
                      <a:pt x="68" y="25"/>
                    </a:cubicBezTo>
                    <a:cubicBezTo>
                      <a:pt x="68" y="102"/>
                      <a:pt x="68" y="102"/>
                      <a:pt x="68" y="102"/>
                    </a:cubicBezTo>
                    <a:cubicBezTo>
                      <a:pt x="68" y="109"/>
                      <a:pt x="73" y="114"/>
                      <a:pt x="80" y="114"/>
                    </a:cubicBezTo>
                    <a:cubicBezTo>
                      <a:pt x="80" y="114"/>
                      <a:pt x="80" y="114"/>
                      <a:pt x="80" y="114"/>
                    </a:cubicBezTo>
                    <a:cubicBezTo>
                      <a:pt x="86" y="114"/>
                      <a:pt x="92" y="109"/>
                      <a:pt x="92" y="102"/>
                    </a:cubicBezTo>
                    <a:close/>
                    <a:moveTo>
                      <a:pt x="125" y="115"/>
                    </a:moveTo>
                    <a:cubicBezTo>
                      <a:pt x="125" y="12"/>
                      <a:pt x="125" y="12"/>
                      <a:pt x="125" y="12"/>
                    </a:cubicBezTo>
                    <a:cubicBezTo>
                      <a:pt x="125" y="5"/>
                      <a:pt x="120" y="0"/>
                      <a:pt x="114" y="0"/>
                    </a:cubicBezTo>
                    <a:cubicBezTo>
                      <a:pt x="114" y="0"/>
                      <a:pt x="114" y="0"/>
                      <a:pt x="114" y="0"/>
                    </a:cubicBezTo>
                    <a:cubicBezTo>
                      <a:pt x="107" y="0"/>
                      <a:pt x="102" y="5"/>
                      <a:pt x="102" y="12"/>
                    </a:cubicBezTo>
                    <a:cubicBezTo>
                      <a:pt x="102" y="115"/>
                      <a:pt x="102" y="115"/>
                      <a:pt x="102" y="115"/>
                    </a:cubicBezTo>
                    <a:cubicBezTo>
                      <a:pt x="102" y="122"/>
                      <a:pt x="107" y="127"/>
                      <a:pt x="114" y="127"/>
                    </a:cubicBezTo>
                    <a:cubicBezTo>
                      <a:pt x="114" y="127"/>
                      <a:pt x="114" y="127"/>
                      <a:pt x="114" y="127"/>
                    </a:cubicBezTo>
                    <a:cubicBezTo>
                      <a:pt x="120" y="127"/>
                      <a:pt x="125" y="122"/>
                      <a:pt x="125" y="11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Freeform 303"/>
              <p:cNvSpPr>
                <a:spLocks/>
              </p:cNvSpPr>
              <p:nvPr/>
            </p:nvSpPr>
            <p:spPr bwMode="auto">
              <a:xfrm>
                <a:off x="2830" y="3054"/>
                <a:ext cx="352" cy="351"/>
              </a:xfrm>
              <a:custGeom>
                <a:avLst/>
                <a:gdLst>
                  <a:gd name="T0" fmla="*/ 168 w 176"/>
                  <a:gd name="T1" fmla="*/ 171 h 175"/>
                  <a:gd name="T2" fmla="*/ 176 w 176"/>
                  <a:gd name="T3" fmla="*/ 155 h 175"/>
                  <a:gd name="T4" fmla="*/ 176 w 176"/>
                  <a:gd name="T5" fmla="*/ 63 h 175"/>
                  <a:gd name="T6" fmla="*/ 161 w 176"/>
                  <a:gd name="T7" fmla="*/ 43 h 175"/>
                  <a:gd name="T8" fmla="*/ 26 w 176"/>
                  <a:gd name="T9" fmla="*/ 2 h 175"/>
                  <a:gd name="T10" fmla="*/ 8 w 176"/>
                  <a:gd name="T11" fmla="*/ 5 h 175"/>
                  <a:gd name="T12" fmla="*/ 0 w 176"/>
                  <a:gd name="T13" fmla="*/ 21 h 175"/>
                  <a:gd name="T14" fmla="*/ 0 w 176"/>
                  <a:gd name="T15" fmla="*/ 86 h 175"/>
                  <a:gd name="T16" fmla="*/ 5 w 176"/>
                  <a:gd name="T17" fmla="*/ 91 h 175"/>
                  <a:gd name="T18" fmla="*/ 9 w 176"/>
                  <a:gd name="T19" fmla="*/ 86 h 175"/>
                  <a:gd name="T20" fmla="*/ 9 w 176"/>
                  <a:gd name="T21" fmla="*/ 21 h 175"/>
                  <a:gd name="T22" fmla="*/ 14 w 176"/>
                  <a:gd name="T23" fmla="*/ 13 h 175"/>
                  <a:gd name="T24" fmla="*/ 23 w 176"/>
                  <a:gd name="T25" fmla="*/ 11 h 175"/>
                  <a:gd name="T26" fmla="*/ 159 w 176"/>
                  <a:gd name="T27" fmla="*/ 53 h 175"/>
                  <a:gd name="T28" fmla="*/ 166 w 176"/>
                  <a:gd name="T29" fmla="*/ 63 h 175"/>
                  <a:gd name="T30" fmla="*/ 166 w 176"/>
                  <a:gd name="T31" fmla="*/ 155 h 175"/>
                  <a:gd name="T32" fmla="*/ 162 w 176"/>
                  <a:gd name="T33" fmla="*/ 163 h 175"/>
                  <a:gd name="T34" fmla="*/ 153 w 176"/>
                  <a:gd name="T35" fmla="*/ 165 h 175"/>
                  <a:gd name="T36" fmla="*/ 137 w 176"/>
                  <a:gd name="T37" fmla="*/ 160 h 175"/>
                  <a:gd name="T38" fmla="*/ 131 w 176"/>
                  <a:gd name="T39" fmla="*/ 163 h 175"/>
                  <a:gd name="T40" fmla="*/ 134 w 176"/>
                  <a:gd name="T41" fmla="*/ 169 h 175"/>
                  <a:gd name="T42" fmla="*/ 150 w 176"/>
                  <a:gd name="T43" fmla="*/ 174 h 175"/>
                  <a:gd name="T44" fmla="*/ 156 w 176"/>
                  <a:gd name="T45" fmla="*/ 175 h 175"/>
                  <a:gd name="T46" fmla="*/ 168 w 176"/>
                  <a:gd name="T47" fmla="*/ 17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175">
                    <a:moveTo>
                      <a:pt x="168" y="171"/>
                    </a:moveTo>
                    <a:cubicBezTo>
                      <a:pt x="173" y="167"/>
                      <a:pt x="176" y="161"/>
                      <a:pt x="176" y="155"/>
                    </a:cubicBezTo>
                    <a:cubicBezTo>
                      <a:pt x="176" y="63"/>
                      <a:pt x="176" y="63"/>
                      <a:pt x="176" y="63"/>
                    </a:cubicBezTo>
                    <a:cubicBezTo>
                      <a:pt x="176" y="54"/>
                      <a:pt x="170" y="46"/>
                      <a:pt x="161" y="43"/>
                    </a:cubicBezTo>
                    <a:cubicBezTo>
                      <a:pt x="26" y="2"/>
                      <a:pt x="26" y="2"/>
                      <a:pt x="26" y="2"/>
                    </a:cubicBezTo>
                    <a:cubicBezTo>
                      <a:pt x="20" y="0"/>
                      <a:pt x="13" y="1"/>
                      <a:pt x="8" y="5"/>
                    </a:cubicBezTo>
                    <a:cubicBezTo>
                      <a:pt x="3" y="9"/>
                      <a:pt x="0" y="15"/>
                      <a:pt x="0" y="21"/>
                    </a:cubicBezTo>
                    <a:cubicBezTo>
                      <a:pt x="0" y="86"/>
                      <a:pt x="0" y="86"/>
                      <a:pt x="0" y="86"/>
                    </a:cubicBezTo>
                    <a:cubicBezTo>
                      <a:pt x="0" y="88"/>
                      <a:pt x="2" y="91"/>
                      <a:pt x="5" y="91"/>
                    </a:cubicBezTo>
                    <a:cubicBezTo>
                      <a:pt x="7" y="91"/>
                      <a:pt x="9" y="88"/>
                      <a:pt x="9" y="86"/>
                    </a:cubicBezTo>
                    <a:cubicBezTo>
                      <a:pt x="9" y="21"/>
                      <a:pt x="9" y="21"/>
                      <a:pt x="9" y="21"/>
                    </a:cubicBezTo>
                    <a:cubicBezTo>
                      <a:pt x="9" y="18"/>
                      <a:pt x="11" y="15"/>
                      <a:pt x="14" y="13"/>
                    </a:cubicBezTo>
                    <a:cubicBezTo>
                      <a:pt x="16" y="11"/>
                      <a:pt x="20" y="10"/>
                      <a:pt x="23" y="11"/>
                    </a:cubicBezTo>
                    <a:cubicBezTo>
                      <a:pt x="159" y="53"/>
                      <a:pt x="159" y="53"/>
                      <a:pt x="159" y="53"/>
                    </a:cubicBezTo>
                    <a:cubicBezTo>
                      <a:pt x="163" y="54"/>
                      <a:pt x="166" y="58"/>
                      <a:pt x="166" y="63"/>
                    </a:cubicBezTo>
                    <a:cubicBezTo>
                      <a:pt x="166" y="155"/>
                      <a:pt x="166" y="155"/>
                      <a:pt x="166" y="155"/>
                    </a:cubicBezTo>
                    <a:cubicBezTo>
                      <a:pt x="166" y="158"/>
                      <a:pt x="165" y="161"/>
                      <a:pt x="162" y="163"/>
                    </a:cubicBezTo>
                    <a:cubicBezTo>
                      <a:pt x="159" y="165"/>
                      <a:pt x="156" y="165"/>
                      <a:pt x="153" y="165"/>
                    </a:cubicBezTo>
                    <a:cubicBezTo>
                      <a:pt x="137" y="160"/>
                      <a:pt x="137" y="160"/>
                      <a:pt x="137" y="160"/>
                    </a:cubicBezTo>
                    <a:cubicBezTo>
                      <a:pt x="134" y="159"/>
                      <a:pt x="132" y="160"/>
                      <a:pt x="131" y="163"/>
                    </a:cubicBezTo>
                    <a:cubicBezTo>
                      <a:pt x="130" y="166"/>
                      <a:pt x="132" y="168"/>
                      <a:pt x="134" y="169"/>
                    </a:cubicBezTo>
                    <a:cubicBezTo>
                      <a:pt x="150" y="174"/>
                      <a:pt x="150" y="174"/>
                      <a:pt x="150" y="174"/>
                    </a:cubicBezTo>
                    <a:cubicBezTo>
                      <a:pt x="152" y="174"/>
                      <a:pt x="154" y="175"/>
                      <a:pt x="156" y="175"/>
                    </a:cubicBezTo>
                    <a:cubicBezTo>
                      <a:pt x="160" y="175"/>
                      <a:pt x="164" y="173"/>
                      <a:pt x="168" y="171"/>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Freeform 304"/>
              <p:cNvSpPr>
                <a:spLocks/>
              </p:cNvSpPr>
              <p:nvPr/>
            </p:nvSpPr>
            <p:spPr bwMode="auto">
              <a:xfrm>
                <a:off x="5263" y="3431"/>
                <a:ext cx="278" cy="509"/>
              </a:xfrm>
              <a:custGeom>
                <a:avLst/>
                <a:gdLst>
                  <a:gd name="T0" fmla="*/ 138 w 278"/>
                  <a:gd name="T1" fmla="*/ 0 h 509"/>
                  <a:gd name="T2" fmla="*/ 0 w 278"/>
                  <a:gd name="T3" fmla="*/ 509 h 509"/>
                  <a:gd name="T4" fmla="*/ 278 w 278"/>
                  <a:gd name="T5" fmla="*/ 509 h 509"/>
                  <a:gd name="T6" fmla="*/ 138 w 278"/>
                  <a:gd name="T7" fmla="*/ 0 h 509"/>
                  <a:gd name="T8" fmla="*/ 138 w 278"/>
                  <a:gd name="T9" fmla="*/ 0 h 509"/>
                  <a:gd name="T10" fmla="*/ 138 w 278"/>
                  <a:gd name="T11" fmla="*/ 0 h 509"/>
                </a:gdLst>
                <a:ahLst/>
                <a:cxnLst>
                  <a:cxn ang="0">
                    <a:pos x="T0" y="T1"/>
                  </a:cxn>
                  <a:cxn ang="0">
                    <a:pos x="T2" y="T3"/>
                  </a:cxn>
                  <a:cxn ang="0">
                    <a:pos x="T4" y="T5"/>
                  </a:cxn>
                  <a:cxn ang="0">
                    <a:pos x="T6" y="T7"/>
                  </a:cxn>
                  <a:cxn ang="0">
                    <a:pos x="T8" y="T9"/>
                  </a:cxn>
                  <a:cxn ang="0">
                    <a:pos x="T10" y="T11"/>
                  </a:cxn>
                </a:cxnLst>
                <a:rect l="0" t="0" r="r" b="b"/>
                <a:pathLst>
                  <a:path w="278" h="509">
                    <a:moveTo>
                      <a:pt x="138" y="0"/>
                    </a:moveTo>
                    <a:lnTo>
                      <a:pt x="0" y="509"/>
                    </a:lnTo>
                    <a:lnTo>
                      <a:pt x="278" y="509"/>
                    </a:lnTo>
                    <a:lnTo>
                      <a:pt x="138" y="0"/>
                    </a:lnTo>
                    <a:lnTo>
                      <a:pt x="138" y="0"/>
                    </a:lnTo>
                    <a:lnTo>
                      <a:pt x="13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7" name="Freeform 305"/>
              <p:cNvSpPr>
                <a:spLocks/>
              </p:cNvSpPr>
              <p:nvPr/>
            </p:nvSpPr>
            <p:spPr bwMode="auto">
              <a:xfrm>
                <a:off x="5313" y="3549"/>
                <a:ext cx="176" cy="513"/>
              </a:xfrm>
              <a:custGeom>
                <a:avLst/>
                <a:gdLst>
                  <a:gd name="T0" fmla="*/ 176 w 176"/>
                  <a:gd name="T1" fmla="*/ 243 h 513"/>
                  <a:gd name="T2" fmla="*/ 104 w 176"/>
                  <a:gd name="T3" fmla="*/ 305 h 513"/>
                  <a:gd name="T4" fmla="*/ 102 w 176"/>
                  <a:gd name="T5" fmla="*/ 267 h 513"/>
                  <a:gd name="T6" fmla="*/ 160 w 176"/>
                  <a:gd name="T7" fmla="*/ 193 h 513"/>
                  <a:gd name="T8" fmla="*/ 100 w 176"/>
                  <a:gd name="T9" fmla="*/ 241 h 513"/>
                  <a:gd name="T10" fmla="*/ 94 w 176"/>
                  <a:gd name="T11" fmla="*/ 129 h 513"/>
                  <a:gd name="T12" fmla="*/ 122 w 176"/>
                  <a:gd name="T13" fmla="*/ 85 h 513"/>
                  <a:gd name="T14" fmla="*/ 94 w 176"/>
                  <a:gd name="T15" fmla="*/ 107 h 513"/>
                  <a:gd name="T16" fmla="*/ 88 w 176"/>
                  <a:gd name="T17" fmla="*/ 0 h 513"/>
                  <a:gd name="T18" fmla="*/ 80 w 176"/>
                  <a:gd name="T19" fmla="*/ 147 h 513"/>
                  <a:gd name="T20" fmla="*/ 34 w 176"/>
                  <a:gd name="T21" fmla="*/ 109 h 513"/>
                  <a:gd name="T22" fmla="*/ 78 w 176"/>
                  <a:gd name="T23" fmla="*/ 171 h 513"/>
                  <a:gd name="T24" fmla="*/ 76 w 176"/>
                  <a:gd name="T25" fmla="*/ 225 h 513"/>
                  <a:gd name="T26" fmla="*/ 18 w 176"/>
                  <a:gd name="T27" fmla="*/ 177 h 513"/>
                  <a:gd name="T28" fmla="*/ 74 w 176"/>
                  <a:gd name="T29" fmla="*/ 247 h 513"/>
                  <a:gd name="T30" fmla="*/ 70 w 176"/>
                  <a:gd name="T31" fmla="*/ 337 h 513"/>
                  <a:gd name="T32" fmla="*/ 0 w 176"/>
                  <a:gd name="T33" fmla="*/ 277 h 513"/>
                  <a:gd name="T34" fmla="*/ 70 w 176"/>
                  <a:gd name="T35" fmla="*/ 359 h 513"/>
                  <a:gd name="T36" fmla="*/ 64 w 176"/>
                  <a:gd name="T37" fmla="*/ 513 h 513"/>
                  <a:gd name="T38" fmla="*/ 114 w 176"/>
                  <a:gd name="T39" fmla="*/ 513 h 513"/>
                  <a:gd name="T40" fmla="*/ 104 w 176"/>
                  <a:gd name="T41" fmla="*/ 329 h 513"/>
                  <a:gd name="T42" fmla="*/ 176 w 176"/>
                  <a:gd name="T43" fmla="*/ 24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513">
                    <a:moveTo>
                      <a:pt x="176" y="243"/>
                    </a:moveTo>
                    <a:lnTo>
                      <a:pt x="104" y="305"/>
                    </a:lnTo>
                    <a:lnTo>
                      <a:pt x="102" y="267"/>
                    </a:lnTo>
                    <a:lnTo>
                      <a:pt x="160" y="193"/>
                    </a:lnTo>
                    <a:lnTo>
                      <a:pt x="100" y="241"/>
                    </a:lnTo>
                    <a:lnTo>
                      <a:pt x="94" y="129"/>
                    </a:lnTo>
                    <a:lnTo>
                      <a:pt x="122" y="85"/>
                    </a:lnTo>
                    <a:lnTo>
                      <a:pt x="94" y="107"/>
                    </a:lnTo>
                    <a:lnTo>
                      <a:pt x="88" y="0"/>
                    </a:lnTo>
                    <a:lnTo>
                      <a:pt x="80" y="147"/>
                    </a:lnTo>
                    <a:lnTo>
                      <a:pt x="34" y="109"/>
                    </a:lnTo>
                    <a:lnTo>
                      <a:pt x="78" y="171"/>
                    </a:lnTo>
                    <a:lnTo>
                      <a:pt x="76" y="225"/>
                    </a:lnTo>
                    <a:lnTo>
                      <a:pt x="18" y="177"/>
                    </a:lnTo>
                    <a:lnTo>
                      <a:pt x="74" y="247"/>
                    </a:lnTo>
                    <a:lnTo>
                      <a:pt x="70" y="337"/>
                    </a:lnTo>
                    <a:lnTo>
                      <a:pt x="0" y="277"/>
                    </a:lnTo>
                    <a:lnTo>
                      <a:pt x="70" y="359"/>
                    </a:lnTo>
                    <a:lnTo>
                      <a:pt x="64" y="513"/>
                    </a:lnTo>
                    <a:lnTo>
                      <a:pt x="114" y="513"/>
                    </a:lnTo>
                    <a:lnTo>
                      <a:pt x="104" y="329"/>
                    </a:lnTo>
                    <a:lnTo>
                      <a:pt x="176" y="24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8" name="Freeform 306"/>
              <p:cNvSpPr>
                <a:spLocks/>
              </p:cNvSpPr>
              <p:nvPr/>
            </p:nvSpPr>
            <p:spPr bwMode="auto">
              <a:xfrm>
                <a:off x="3965" y="3774"/>
                <a:ext cx="953" cy="264"/>
              </a:xfrm>
              <a:custGeom>
                <a:avLst/>
                <a:gdLst>
                  <a:gd name="T0" fmla="*/ 476 w 476"/>
                  <a:gd name="T1" fmla="*/ 132 h 132"/>
                  <a:gd name="T2" fmla="*/ 238 w 476"/>
                  <a:gd name="T3" fmla="*/ 0 h 132"/>
                  <a:gd name="T4" fmla="*/ 0 w 476"/>
                  <a:gd name="T5" fmla="*/ 132 h 132"/>
                  <a:gd name="T6" fmla="*/ 476 w 476"/>
                  <a:gd name="T7" fmla="*/ 132 h 132"/>
                  <a:gd name="T8" fmla="*/ 476 w 476"/>
                  <a:gd name="T9" fmla="*/ 132 h 132"/>
                </a:gdLst>
                <a:ahLst/>
                <a:cxnLst>
                  <a:cxn ang="0">
                    <a:pos x="T0" y="T1"/>
                  </a:cxn>
                  <a:cxn ang="0">
                    <a:pos x="T2" y="T3"/>
                  </a:cxn>
                  <a:cxn ang="0">
                    <a:pos x="T4" y="T5"/>
                  </a:cxn>
                  <a:cxn ang="0">
                    <a:pos x="T6" y="T7"/>
                  </a:cxn>
                  <a:cxn ang="0">
                    <a:pos x="T8" y="T9"/>
                  </a:cxn>
                </a:cxnLst>
                <a:rect l="0" t="0" r="r" b="b"/>
                <a:pathLst>
                  <a:path w="476" h="132">
                    <a:moveTo>
                      <a:pt x="476" y="132"/>
                    </a:moveTo>
                    <a:cubicBezTo>
                      <a:pt x="427" y="52"/>
                      <a:pt x="339" y="0"/>
                      <a:pt x="238" y="0"/>
                    </a:cubicBezTo>
                    <a:cubicBezTo>
                      <a:pt x="138" y="0"/>
                      <a:pt x="50" y="52"/>
                      <a:pt x="0" y="132"/>
                    </a:cubicBezTo>
                    <a:cubicBezTo>
                      <a:pt x="476" y="132"/>
                      <a:pt x="476" y="132"/>
                      <a:pt x="476" y="132"/>
                    </a:cubicBezTo>
                    <a:cubicBezTo>
                      <a:pt x="476" y="132"/>
                      <a:pt x="476" y="132"/>
                      <a:pt x="476" y="13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9" name="Freeform 307"/>
              <p:cNvSpPr>
                <a:spLocks/>
              </p:cNvSpPr>
              <p:nvPr/>
            </p:nvSpPr>
            <p:spPr bwMode="auto">
              <a:xfrm>
                <a:off x="4468" y="3551"/>
                <a:ext cx="244" cy="441"/>
              </a:xfrm>
              <a:custGeom>
                <a:avLst/>
                <a:gdLst>
                  <a:gd name="T0" fmla="*/ 120 w 244"/>
                  <a:gd name="T1" fmla="*/ 0 h 441"/>
                  <a:gd name="T2" fmla="*/ 0 w 244"/>
                  <a:gd name="T3" fmla="*/ 441 h 441"/>
                  <a:gd name="T4" fmla="*/ 244 w 244"/>
                  <a:gd name="T5" fmla="*/ 441 h 441"/>
                  <a:gd name="T6" fmla="*/ 120 w 244"/>
                  <a:gd name="T7" fmla="*/ 0 h 441"/>
                  <a:gd name="T8" fmla="*/ 120 w 244"/>
                  <a:gd name="T9" fmla="*/ 0 h 441"/>
                  <a:gd name="T10" fmla="*/ 120 w 244"/>
                  <a:gd name="T11" fmla="*/ 0 h 441"/>
                </a:gdLst>
                <a:ahLst/>
                <a:cxnLst>
                  <a:cxn ang="0">
                    <a:pos x="T0" y="T1"/>
                  </a:cxn>
                  <a:cxn ang="0">
                    <a:pos x="T2" y="T3"/>
                  </a:cxn>
                  <a:cxn ang="0">
                    <a:pos x="T4" y="T5"/>
                  </a:cxn>
                  <a:cxn ang="0">
                    <a:pos x="T6" y="T7"/>
                  </a:cxn>
                  <a:cxn ang="0">
                    <a:pos x="T8" y="T9"/>
                  </a:cxn>
                  <a:cxn ang="0">
                    <a:pos x="T10" y="T11"/>
                  </a:cxn>
                </a:cxnLst>
                <a:rect l="0" t="0" r="r" b="b"/>
                <a:pathLst>
                  <a:path w="244" h="441">
                    <a:moveTo>
                      <a:pt x="120" y="0"/>
                    </a:moveTo>
                    <a:lnTo>
                      <a:pt x="0" y="441"/>
                    </a:lnTo>
                    <a:lnTo>
                      <a:pt x="244" y="441"/>
                    </a:lnTo>
                    <a:lnTo>
                      <a:pt x="120" y="0"/>
                    </a:lnTo>
                    <a:lnTo>
                      <a:pt x="120" y="0"/>
                    </a:lnTo>
                    <a:lnTo>
                      <a:pt x="120" y="0"/>
                    </a:lnTo>
                    <a:close/>
                  </a:path>
                </a:pathLst>
              </a:custGeom>
              <a:solidFill>
                <a:srgbClr val="0070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0" name="Freeform 308"/>
              <p:cNvSpPr>
                <a:spLocks/>
              </p:cNvSpPr>
              <p:nvPr/>
            </p:nvSpPr>
            <p:spPr bwMode="auto">
              <a:xfrm>
                <a:off x="4360" y="3545"/>
                <a:ext cx="108" cy="321"/>
              </a:xfrm>
              <a:custGeom>
                <a:avLst/>
                <a:gdLst>
                  <a:gd name="T0" fmla="*/ 86 w 108"/>
                  <a:gd name="T1" fmla="*/ 177 h 321"/>
                  <a:gd name="T2" fmla="*/ 108 w 108"/>
                  <a:gd name="T3" fmla="*/ 177 h 321"/>
                  <a:gd name="T4" fmla="*/ 54 w 108"/>
                  <a:gd name="T5" fmla="*/ 0 h 321"/>
                  <a:gd name="T6" fmla="*/ 0 w 108"/>
                  <a:gd name="T7" fmla="*/ 177 h 321"/>
                  <a:gd name="T8" fmla="*/ 22 w 108"/>
                  <a:gd name="T9" fmla="*/ 177 h 321"/>
                  <a:gd name="T10" fmla="*/ 0 w 108"/>
                  <a:gd name="T11" fmla="*/ 249 h 321"/>
                  <a:gd name="T12" fmla="*/ 22 w 108"/>
                  <a:gd name="T13" fmla="*/ 249 h 321"/>
                  <a:gd name="T14" fmla="*/ 0 w 108"/>
                  <a:gd name="T15" fmla="*/ 321 h 321"/>
                  <a:gd name="T16" fmla="*/ 108 w 108"/>
                  <a:gd name="T17" fmla="*/ 321 h 321"/>
                  <a:gd name="T18" fmla="*/ 86 w 108"/>
                  <a:gd name="T19" fmla="*/ 249 h 321"/>
                  <a:gd name="T20" fmla="*/ 108 w 108"/>
                  <a:gd name="T21" fmla="*/ 249 h 321"/>
                  <a:gd name="T22" fmla="*/ 86 w 108"/>
                  <a:gd name="T23" fmla="*/ 17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321">
                    <a:moveTo>
                      <a:pt x="86" y="177"/>
                    </a:moveTo>
                    <a:lnTo>
                      <a:pt x="108" y="177"/>
                    </a:lnTo>
                    <a:lnTo>
                      <a:pt x="54" y="0"/>
                    </a:lnTo>
                    <a:lnTo>
                      <a:pt x="0" y="177"/>
                    </a:lnTo>
                    <a:lnTo>
                      <a:pt x="22" y="177"/>
                    </a:lnTo>
                    <a:lnTo>
                      <a:pt x="0" y="249"/>
                    </a:lnTo>
                    <a:lnTo>
                      <a:pt x="22" y="249"/>
                    </a:lnTo>
                    <a:lnTo>
                      <a:pt x="0" y="321"/>
                    </a:lnTo>
                    <a:lnTo>
                      <a:pt x="108" y="321"/>
                    </a:lnTo>
                    <a:lnTo>
                      <a:pt x="86" y="249"/>
                    </a:lnTo>
                    <a:lnTo>
                      <a:pt x="108" y="249"/>
                    </a:lnTo>
                    <a:lnTo>
                      <a:pt x="86" y="177"/>
                    </a:lnTo>
                    <a:close/>
                  </a:path>
                </a:pathLst>
              </a:custGeom>
              <a:solidFill>
                <a:srgbClr val="2299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1" name="Freeform 309"/>
              <p:cNvSpPr>
                <a:spLocks/>
              </p:cNvSpPr>
              <p:nvPr/>
            </p:nvSpPr>
            <p:spPr bwMode="auto">
              <a:xfrm>
                <a:off x="4163" y="3732"/>
                <a:ext cx="109" cy="202"/>
              </a:xfrm>
              <a:custGeom>
                <a:avLst/>
                <a:gdLst>
                  <a:gd name="T0" fmla="*/ 54 w 109"/>
                  <a:gd name="T1" fmla="*/ 0 h 202"/>
                  <a:gd name="T2" fmla="*/ 0 w 109"/>
                  <a:gd name="T3" fmla="*/ 202 h 202"/>
                  <a:gd name="T4" fmla="*/ 109 w 109"/>
                  <a:gd name="T5" fmla="*/ 202 h 202"/>
                  <a:gd name="T6" fmla="*/ 54 w 109"/>
                  <a:gd name="T7" fmla="*/ 0 h 202"/>
                  <a:gd name="T8" fmla="*/ 54 w 109"/>
                  <a:gd name="T9" fmla="*/ 0 h 202"/>
                  <a:gd name="T10" fmla="*/ 54 w 109"/>
                  <a:gd name="T11" fmla="*/ 0 h 202"/>
                </a:gdLst>
                <a:ahLst/>
                <a:cxnLst>
                  <a:cxn ang="0">
                    <a:pos x="T0" y="T1"/>
                  </a:cxn>
                  <a:cxn ang="0">
                    <a:pos x="T2" y="T3"/>
                  </a:cxn>
                  <a:cxn ang="0">
                    <a:pos x="T4" y="T5"/>
                  </a:cxn>
                  <a:cxn ang="0">
                    <a:pos x="T6" y="T7"/>
                  </a:cxn>
                  <a:cxn ang="0">
                    <a:pos x="T8" y="T9"/>
                  </a:cxn>
                  <a:cxn ang="0">
                    <a:pos x="T10" y="T11"/>
                  </a:cxn>
                </a:cxnLst>
                <a:rect l="0" t="0" r="r" b="b"/>
                <a:pathLst>
                  <a:path w="109" h="202">
                    <a:moveTo>
                      <a:pt x="54" y="0"/>
                    </a:moveTo>
                    <a:lnTo>
                      <a:pt x="0" y="202"/>
                    </a:lnTo>
                    <a:lnTo>
                      <a:pt x="109" y="202"/>
                    </a:lnTo>
                    <a:lnTo>
                      <a:pt x="54" y="0"/>
                    </a:lnTo>
                    <a:lnTo>
                      <a:pt x="54" y="0"/>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2" name="Freeform 310"/>
              <p:cNvSpPr>
                <a:spLocks/>
              </p:cNvSpPr>
              <p:nvPr/>
            </p:nvSpPr>
            <p:spPr bwMode="auto">
              <a:xfrm>
                <a:off x="1109" y="1032"/>
                <a:ext cx="1168" cy="479"/>
              </a:xfrm>
              <a:custGeom>
                <a:avLst/>
                <a:gdLst>
                  <a:gd name="T0" fmla="*/ 521 w 583"/>
                  <a:gd name="T1" fmla="*/ 112 h 239"/>
                  <a:gd name="T2" fmla="*/ 511 w 583"/>
                  <a:gd name="T3" fmla="*/ 112 h 239"/>
                  <a:gd name="T4" fmla="*/ 394 w 583"/>
                  <a:gd name="T5" fmla="*/ 0 h 239"/>
                  <a:gd name="T6" fmla="*/ 279 w 583"/>
                  <a:gd name="T7" fmla="*/ 88 h 239"/>
                  <a:gd name="T8" fmla="*/ 217 w 583"/>
                  <a:gd name="T9" fmla="*/ 63 h 239"/>
                  <a:gd name="T10" fmla="*/ 130 w 583"/>
                  <a:gd name="T11" fmla="*/ 142 h 239"/>
                  <a:gd name="T12" fmla="*/ 88 w 583"/>
                  <a:gd name="T13" fmla="*/ 161 h 239"/>
                  <a:gd name="T14" fmla="*/ 49 w 583"/>
                  <a:gd name="T15" fmla="*/ 140 h 239"/>
                  <a:gd name="T16" fmla="*/ 0 w 583"/>
                  <a:gd name="T17" fmla="*/ 189 h 239"/>
                  <a:gd name="T18" fmla="*/ 49 w 583"/>
                  <a:gd name="T19" fmla="*/ 239 h 239"/>
                  <a:gd name="T20" fmla="*/ 62 w 583"/>
                  <a:gd name="T21" fmla="*/ 239 h 239"/>
                  <a:gd name="T22" fmla="*/ 222 w 583"/>
                  <a:gd name="T23" fmla="*/ 239 h 239"/>
                  <a:gd name="T24" fmla="*/ 311 w 583"/>
                  <a:gd name="T25" fmla="*/ 239 h 239"/>
                  <a:gd name="T26" fmla="*/ 526 w 583"/>
                  <a:gd name="T27" fmla="*/ 239 h 239"/>
                  <a:gd name="T28" fmla="*/ 526 w 583"/>
                  <a:gd name="T29" fmla="*/ 239 h 239"/>
                  <a:gd name="T30" fmla="*/ 583 w 583"/>
                  <a:gd name="T31" fmla="*/ 174 h 239"/>
                  <a:gd name="T32" fmla="*/ 521 w 583"/>
                  <a:gd name="T33" fmla="*/ 1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3" h="239">
                    <a:moveTo>
                      <a:pt x="521" y="112"/>
                    </a:moveTo>
                    <a:cubicBezTo>
                      <a:pt x="517" y="112"/>
                      <a:pt x="515" y="112"/>
                      <a:pt x="511" y="112"/>
                    </a:cubicBezTo>
                    <a:cubicBezTo>
                      <a:pt x="509" y="50"/>
                      <a:pt x="456" y="0"/>
                      <a:pt x="394" y="0"/>
                    </a:cubicBezTo>
                    <a:cubicBezTo>
                      <a:pt x="339" y="0"/>
                      <a:pt x="292" y="37"/>
                      <a:pt x="279" y="88"/>
                    </a:cubicBezTo>
                    <a:cubicBezTo>
                      <a:pt x="262" y="71"/>
                      <a:pt x="241" y="63"/>
                      <a:pt x="217" y="63"/>
                    </a:cubicBezTo>
                    <a:cubicBezTo>
                      <a:pt x="171" y="63"/>
                      <a:pt x="134" y="97"/>
                      <a:pt x="130" y="142"/>
                    </a:cubicBezTo>
                    <a:cubicBezTo>
                      <a:pt x="113" y="144"/>
                      <a:pt x="100" y="151"/>
                      <a:pt x="88" y="161"/>
                    </a:cubicBezTo>
                    <a:cubicBezTo>
                      <a:pt x="79" y="149"/>
                      <a:pt x="64" y="140"/>
                      <a:pt x="49" y="140"/>
                    </a:cubicBezTo>
                    <a:cubicBezTo>
                      <a:pt x="22" y="140"/>
                      <a:pt x="0" y="161"/>
                      <a:pt x="0" y="189"/>
                    </a:cubicBezTo>
                    <a:cubicBezTo>
                      <a:pt x="0" y="217"/>
                      <a:pt x="22" y="239"/>
                      <a:pt x="49" y="239"/>
                    </a:cubicBezTo>
                    <a:cubicBezTo>
                      <a:pt x="62" y="239"/>
                      <a:pt x="62" y="239"/>
                      <a:pt x="62" y="239"/>
                    </a:cubicBezTo>
                    <a:cubicBezTo>
                      <a:pt x="222" y="239"/>
                      <a:pt x="222" y="239"/>
                      <a:pt x="222" y="239"/>
                    </a:cubicBezTo>
                    <a:cubicBezTo>
                      <a:pt x="311" y="239"/>
                      <a:pt x="311" y="239"/>
                      <a:pt x="311" y="239"/>
                    </a:cubicBezTo>
                    <a:cubicBezTo>
                      <a:pt x="526" y="239"/>
                      <a:pt x="526" y="239"/>
                      <a:pt x="526" y="239"/>
                    </a:cubicBezTo>
                    <a:cubicBezTo>
                      <a:pt x="526" y="239"/>
                      <a:pt x="526" y="239"/>
                      <a:pt x="526" y="239"/>
                    </a:cubicBezTo>
                    <a:cubicBezTo>
                      <a:pt x="558" y="237"/>
                      <a:pt x="583" y="209"/>
                      <a:pt x="583" y="174"/>
                    </a:cubicBezTo>
                    <a:cubicBezTo>
                      <a:pt x="583" y="140"/>
                      <a:pt x="555" y="112"/>
                      <a:pt x="521" y="11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3" name="Freeform 311"/>
              <p:cNvSpPr>
                <a:spLocks/>
              </p:cNvSpPr>
              <p:nvPr/>
            </p:nvSpPr>
            <p:spPr bwMode="auto">
              <a:xfrm>
                <a:off x="589" y="1247"/>
                <a:ext cx="927" cy="529"/>
              </a:xfrm>
              <a:custGeom>
                <a:avLst/>
                <a:gdLst>
                  <a:gd name="T0" fmla="*/ 387 w 463"/>
                  <a:gd name="T1" fmla="*/ 110 h 264"/>
                  <a:gd name="T2" fmla="*/ 378 w 463"/>
                  <a:gd name="T3" fmla="*/ 112 h 264"/>
                  <a:gd name="T4" fmla="*/ 387 w 463"/>
                  <a:gd name="T5" fmla="*/ 77 h 264"/>
                  <a:gd name="T6" fmla="*/ 310 w 463"/>
                  <a:gd name="T7" fmla="*/ 0 h 264"/>
                  <a:gd name="T8" fmla="*/ 236 w 463"/>
                  <a:gd name="T9" fmla="*/ 68 h 264"/>
                  <a:gd name="T10" fmla="*/ 180 w 463"/>
                  <a:gd name="T11" fmla="*/ 44 h 264"/>
                  <a:gd name="T12" fmla="*/ 103 w 463"/>
                  <a:gd name="T13" fmla="*/ 115 h 264"/>
                  <a:gd name="T14" fmla="*/ 77 w 463"/>
                  <a:gd name="T15" fmla="*/ 110 h 264"/>
                  <a:gd name="T16" fmla="*/ 0 w 463"/>
                  <a:gd name="T17" fmla="*/ 187 h 264"/>
                  <a:gd name="T18" fmla="*/ 77 w 463"/>
                  <a:gd name="T19" fmla="*/ 264 h 264"/>
                  <a:gd name="T20" fmla="*/ 387 w 463"/>
                  <a:gd name="T21" fmla="*/ 264 h 264"/>
                  <a:gd name="T22" fmla="*/ 463 w 463"/>
                  <a:gd name="T23" fmla="*/ 187 h 264"/>
                  <a:gd name="T24" fmla="*/ 387 w 463"/>
                  <a:gd name="T25" fmla="*/ 11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3" h="264">
                    <a:moveTo>
                      <a:pt x="387" y="110"/>
                    </a:moveTo>
                    <a:cubicBezTo>
                      <a:pt x="384" y="110"/>
                      <a:pt x="381" y="112"/>
                      <a:pt x="378" y="112"/>
                    </a:cubicBezTo>
                    <a:cubicBezTo>
                      <a:pt x="384" y="101"/>
                      <a:pt x="387" y="89"/>
                      <a:pt x="387" y="77"/>
                    </a:cubicBezTo>
                    <a:cubicBezTo>
                      <a:pt x="387" y="35"/>
                      <a:pt x="354" y="0"/>
                      <a:pt x="310" y="0"/>
                    </a:cubicBezTo>
                    <a:cubicBezTo>
                      <a:pt x="271" y="0"/>
                      <a:pt x="239" y="29"/>
                      <a:pt x="236" y="68"/>
                    </a:cubicBezTo>
                    <a:cubicBezTo>
                      <a:pt x="221" y="53"/>
                      <a:pt x="201" y="44"/>
                      <a:pt x="180" y="44"/>
                    </a:cubicBezTo>
                    <a:cubicBezTo>
                      <a:pt x="139" y="44"/>
                      <a:pt x="103" y="74"/>
                      <a:pt x="103" y="115"/>
                    </a:cubicBezTo>
                    <a:cubicBezTo>
                      <a:pt x="94" y="112"/>
                      <a:pt x="85" y="110"/>
                      <a:pt x="77" y="110"/>
                    </a:cubicBezTo>
                    <a:cubicBezTo>
                      <a:pt x="35" y="110"/>
                      <a:pt x="0" y="145"/>
                      <a:pt x="0" y="187"/>
                    </a:cubicBezTo>
                    <a:cubicBezTo>
                      <a:pt x="0" y="231"/>
                      <a:pt x="35" y="264"/>
                      <a:pt x="77" y="264"/>
                    </a:cubicBezTo>
                    <a:cubicBezTo>
                      <a:pt x="387" y="264"/>
                      <a:pt x="387" y="264"/>
                      <a:pt x="387" y="264"/>
                    </a:cubicBezTo>
                    <a:cubicBezTo>
                      <a:pt x="428" y="264"/>
                      <a:pt x="463" y="231"/>
                      <a:pt x="463" y="187"/>
                    </a:cubicBezTo>
                    <a:cubicBezTo>
                      <a:pt x="463" y="145"/>
                      <a:pt x="428" y="110"/>
                      <a:pt x="387" y="11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Freeform 312"/>
              <p:cNvSpPr>
                <a:spLocks/>
              </p:cNvSpPr>
              <p:nvPr/>
            </p:nvSpPr>
            <p:spPr bwMode="auto">
              <a:xfrm>
                <a:off x="7390" y="3626"/>
                <a:ext cx="70" cy="28"/>
              </a:xfrm>
              <a:custGeom>
                <a:avLst/>
                <a:gdLst>
                  <a:gd name="T0" fmla="*/ 0 w 35"/>
                  <a:gd name="T1" fmla="*/ 0 h 14"/>
                  <a:gd name="T2" fmla="*/ 1 w 35"/>
                  <a:gd name="T3" fmla="*/ 0 h 14"/>
                  <a:gd name="T4" fmla="*/ 9 w 35"/>
                  <a:gd name="T5" fmla="*/ 9 h 14"/>
                  <a:gd name="T6" fmla="*/ 27 w 35"/>
                  <a:gd name="T7" fmla="*/ 9 h 14"/>
                  <a:gd name="T8" fmla="*/ 35 w 35"/>
                  <a:gd name="T9" fmla="*/ 0 h 14"/>
                  <a:gd name="T10" fmla="*/ 0 w 35"/>
                  <a:gd name="T11" fmla="*/ 0 h 14"/>
                </a:gdLst>
                <a:ahLst/>
                <a:cxnLst>
                  <a:cxn ang="0">
                    <a:pos x="T0" y="T1"/>
                  </a:cxn>
                  <a:cxn ang="0">
                    <a:pos x="T2" y="T3"/>
                  </a:cxn>
                  <a:cxn ang="0">
                    <a:pos x="T4" y="T5"/>
                  </a:cxn>
                  <a:cxn ang="0">
                    <a:pos x="T6" y="T7"/>
                  </a:cxn>
                  <a:cxn ang="0">
                    <a:pos x="T8" y="T9"/>
                  </a:cxn>
                  <a:cxn ang="0">
                    <a:pos x="T10" y="T11"/>
                  </a:cxn>
                </a:cxnLst>
                <a:rect l="0" t="0" r="r" b="b"/>
                <a:pathLst>
                  <a:path w="35" h="14">
                    <a:moveTo>
                      <a:pt x="0" y="0"/>
                    </a:moveTo>
                    <a:cubicBezTo>
                      <a:pt x="1" y="0"/>
                      <a:pt x="1" y="0"/>
                      <a:pt x="1" y="0"/>
                    </a:cubicBezTo>
                    <a:cubicBezTo>
                      <a:pt x="9" y="9"/>
                      <a:pt x="9" y="9"/>
                      <a:pt x="9" y="9"/>
                    </a:cubicBezTo>
                    <a:cubicBezTo>
                      <a:pt x="14" y="14"/>
                      <a:pt x="21" y="14"/>
                      <a:pt x="27" y="9"/>
                    </a:cubicBezTo>
                    <a:cubicBezTo>
                      <a:pt x="35" y="0"/>
                      <a:pt x="35" y="0"/>
                      <a:pt x="35" y="0"/>
                    </a:cubicBez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Freeform 313"/>
              <p:cNvSpPr>
                <a:spLocks/>
              </p:cNvSpPr>
              <p:nvPr/>
            </p:nvSpPr>
            <p:spPr bwMode="auto">
              <a:xfrm>
                <a:off x="7474" y="3616"/>
                <a:ext cx="12" cy="6"/>
              </a:xfrm>
              <a:custGeom>
                <a:avLst/>
                <a:gdLst>
                  <a:gd name="T0" fmla="*/ 0 w 12"/>
                  <a:gd name="T1" fmla="*/ 6 h 6"/>
                  <a:gd name="T2" fmla="*/ 12 w 12"/>
                  <a:gd name="T3" fmla="*/ 6 h 6"/>
                  <a:gd name="T4" fmla="*/ 0 w 12"/>
                  <a:gd name="T5" fmla="*/ 0 h 6"/>
                  <a:gd name="T6" fmla="*/ 0 w 12"/>
                  <a:gd name="T7" fmla="*/ 6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12" y="6"/>
                    </a:lnTo>
                    <a:lnTo>
                      <a:pt x="0" y="0"/>
                    </a:lnTo>
                    <a:lnTo>
                      <a:pt x="0" y="6"/>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314"/>
              <p:cNvSpPr>
                <a:spLocks/>
              </p:cNvSpPr>
              <p:nvPr/>
            </p:nvSpPr>
            <p:spPr bwMode="auto">
              <a:xfrm>
                <a:off x="7474" y="3616"/>
                <a:ext cx="12" cy="6"/>
              </a:xfrm>
              <a:custGeom>
                <a:avLst/>
                <a:gdLst>
                  <a:gd name="T0" fmla="*/ 0 w 12"/>
                  <a:gd name="T1" fmla="*/ 0 h 6"/>
                  <a:gd name="T2" fmla="*/ 12 w 12"/>
                  <a:gd name="T3" fmla="*/ 0 h 6"/>
                  <a:gd name="T4" fmla="*/ 0 w 12"/>
                  <a:gd name="T5" fmla="*/ 6 h 6"/>
                  <a:gd name="T6" fmla="*/ 0 w 12"/>
                  <a:gd name="T7" fmla="*/ 0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lnTo>
                      <a:pt x="12" y="0"/>
                    </a:lnTo>
                    <a:lnTo>
                      <a:pt x="0" y="6"/>
                    </a:lnTo>
                    <a:lnTo>
                      <a:pt x="0" y="0"/>
                    </a:ln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315"/>
              <p:cNvSpPr>
                <a:spLocks/>
              </p:cNvSpPr>
              <p:nvPr/>
            </p:nvSpPr>
            <p:spPr bwMode="auto">
              <a:xfrm>
                <a:off x="7410" y="3581"/>
                <a:ext cx="68" cy="97"/>
              </a:xfrm>
              <a:custGeom>
                <a:avLst/>
                <a:gdLst>
                  <a:gd name="T0" fmla="*/ 29 w 34"/>
                  <a:gd name="T1" fmla="*/ 12 h 48"/>
                  <a:gd name="T2" fmla="*/ 29 w 34"/>
                  <a:gd name="T3" fmla="*/ 12 h 48"/>
                  <a:gd name="T4" fmla="*/ 24 w 34"/>
                  <a:gd name="T5" fmla="*/ 12 h 48"/>
                  <a:gd name="T6" fmla="*/ 24 w 34"/>
                  <a:gd name="T7" fmla="*/ 17 h 48"/>
                  <a:gd name="T8" fmla="*/ 24 w 34"/>
                  <a:gd name="T9" fmla="*/ 19 h 48"/>
                  <a:gd name="T10" fmla="*/ 22 w 34"/>
                  <a:gd name="T11" fmla="*/ 22 h 48"/>
                  <a:gd name="T12" fmla="*/ 0 w 34"/>
                  <a:gd name="T13" fmla="*/ 0 h 48"/>
                  <a:gd name="T14" fmla="*/ 0 w 34"/>
                  <a:gd name="T15" fmla="*/ 0 h 48"/>
                  <a:gd name="T16" fmla="*/ 0 w 34"/>
                  <a:gd name="T17" fmla="*/ 11 h 48"/>
                  <a:gd name="T18" fmla="*/ 13 w 34"/>
                  <a:gd name="T19" fmla="*/ 24 h 48"/>
                  <a:gd name="T20" fmla="*/ 21 w 34"/>
                  <a:gd name="T21" fmla="*/ 24 h 48"/>
                  <a:gd name="T22" fmla="*/ 10 w 34"/>
                  <a:gd name="T23" fmla="*/ 38 h 48"/>
                  <a:gd name="T24" fmla="*/ 1 w 34"/>
                  <a:gd name="T25" fmla="*/ 48 h 48"/>
                  <a:gd name="T26" fmla="*/ 5 w 34"/>
                  <a:gd name="T27" fmla="*/ 48 h 48"/>
                  <a:gd name="T28" fmla="*/ 11 w 34"/>
                  <a:gd name="T29" fmla="*/ 42 h 48"/>
                  <a:gd name="T30" fmla="*/ 11 w 34"/>
                  <a:gd name="T31" fmla="*/ 38 h 48"/>
                  <a:gd name="T32" fmla="*/ 19 w 34"/>
                  <a:gd name="T33" fmla="*/ 38 h 48"/>
                  <a:gd name="T34" fmla="*/ 21 w 34"/>
                  <a:gd name="T35" fmla="*/ 38 h 48"/>
                  <a:gd name="T36" fmla="*/ 21 w 34"/>
                  <a:gd name="T37" fmla="*/ 37 h 48"/>
                  <a:gd name="T38" fmla="*/ 29 w 34"/>
                  <a:gd name="T39" fmla="*/ 27 h 48"/>
                  <a:gd name="T40" fmla="*/ 29 w 34"/>
                  <a:gd name="T41" fmla="*/ 22 h 48"/>
                  <a:gd name="T42" fmla="*/ 34 w 34"/>
                  <a:gd name="T43" fmla="*/ 17 h 48"/>
                  <a:gd name="T44" fmla="*/ 29 w 34"/>
                  <a:gd name="T45"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8">
                    <a:moveTo>
                      <a:pt x="29" y="12"/>
                    </a:moveTo>
                    <a:cubicBezTo>
                      <a:pt x="29" y="12"/>
                      <a:pt x="29" y="12"/>
                      <a:pt x="29" y="12"/>
                    </a:cubicBezTo>
                    <a:cubicBezTo>
                      <a:pt x="24" y="12"/>
                      <a:pt x="24" y="12"/>
                      <a:pt x="24" y="12"/>
                    </a:cubicBezTo>
                    <a:cubicBezTo>
                      <a:pt x="24" y="17"/>
                      <a:pt x="24" y="17"/>
                      <a:pt x="24" y="17"/>
                    </a:cubicBezTo>
                    <a:cubicBezTo>
                      <a:pt x="24" y="18"/>
                      <a:pt x="24" y="19"/>
                      <a:pt x="24" y="19"/>
                    </a:cubicBezTo>
                    <a:cubicBezTo>
                      <a:pt x="24" y="20"/>
                      <a:pt x="23" y="21"/>
                      <a:pt x="22" y="22"/>
                    </a:cubicBezTo>
                    <a:cubicBezTo>
                      <a:pt x="0" y="0"/>
                      <a:pt x="0" y="0"/>
                      <a:pt x="0" y="0"/>
                    </a:cubicBezTo>
                    <a:cubicBezTo>
                      <a:pt x="0" y="0"/>
                      <a:pt x="0" y="0"/>
                      <a:pt x="0" y="0"/>
                    </a:cubicBezTo>
                    <a:cubicBezTo>
                      <a:pt x="0" y="11"/>
                      <a:pt x="0" y="11"/>
                      <a:pt x="0" y="11"/>
                    </a:cubicBezTo>
                    <a:cubicBezTo>
                      <a:pt x="0" y="18"/>
                      <a:pt x="6" y="24"/>
                      <a:pt x="13" y="24"/>
                    </a:cubicBezTo>
                    <a:cubicBezTo>
                      <a:pt x="16" y="24"/>
                      <a:pt x="19" y="24"/>
                      <a:pt x="21" y="24"/>
                    </a:cubicBezTo>
                    <a:cubicBezTo>
                      <a:pt x="13" y="35"/>
                      <a:pt x="11" y="38"/>
                      <a:pt x="10" y="38"/>
                    </a:cubicBezTo>
                    <a:cubicBezTo>
                      <a:pt x="1" y="48"/>
                      <a:pt x="1" y="48"/>
                      <a:pt x="1" y="48"/>
                    </a:cubicBezTo>
                    <a:cubicBezTo>
                      <a:pt x="5" y="48"/>
                      <a:pt x="5" y="48"/>
                      <a:pt x="5" y="48"/>
                    </a:cubicBezTo>
                    <a:cubicBezTo>
                      <a:pt x="8" y="48"/>
                      <a:pt x="11" y="45"/>
                      <a:pt x="11" y="42"/>
                    </a:cubicBezTo>
                    <a:cubicBezTo>
                      <a:pt x="11" y="40"/>
                      <a:pt x="11" y="39"/>
                      <a:pt x="11" y="38"/>
                    </a:cubicBezTo>
                    <a:cubicBezTo>
                      <a:pt x="19" y="38"/>
                      <a:pt x="19" y="38"/>
                      <a:pt x="19" y="38"/>
                    </a:cubicBezTo>
                    <a:cubicBezTo>
                      <a:pt x="19" y="38"/>
                      <a:pt x="20" y="38"/>
                      <a:pt x="21" y="38"/>
                    </a:cubicBezTo>
                    <a:cubicBezTo>
                      <a:pt x="21" y="37"/>
                      <a:pt x="21" y="37"/>
                      <a:pt x="21" y="37"/>
                    </a:cubicBezTo>
                    <a:cubicBezTo>
                      <a:pt x="21" y="32"/>
                      <a:pt x="24" y="28"/>
                      <a:pt x="29" y="27"/>
                    </a:cubicBezTo>
                    <a:cubicBezTo>
                      <a:pt x="29" y="25"/>
                      <a:pt x="29" y="23"/>
                      <a:pt x="29" y="22"/>
                    </a:cubicBezTo>
                    <a:cubicBezTo>
                      <a:pt x="31" y="22"/>
                      <a:pt x="34" y="20"/>
                      <a:pt x="34" y="17"/>
                    </a:cubicBezTo>
                    <a:cubicBezTo>
                      <a:pt x="34" y="14"/>
                      <a:pt x="31" y="12"/>
                      <a:pt x="29" y="12"/>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316"/>
              <p:cNvSpPr>
                <a:spLocks/>
              </p:cNvSpPr>
              <p:nvPr/>
            </p:nvSpPr>
            <p:spPr bwMode="auto">
              <a:xfrm>
                <a:off x="7452" y="3636"/>
                <a:ext cx="16" cy="22"/>
              </a:xfrm>
              <a:custGeom>
                <a:avLst/>
                <a:gdLst>
                  <a:gd name="T0" fmla="*/ 8 w 8"/>
                  <a:gd name="T1" fmla="*/ 1 h 11"/>
                  <a:gd name="T2" fmla="*/ 8 w 8"/>
                  <a:gd name="T3" fmla="*/ 0 h 11"/>
                  <a:gd name="T4" fmla="*/ 0 w 8"/>
                  <a:gd name="T5" fmla="*/ 10 h 11"/>
                  <a:gd name="T6" fmla="*/ 0 w 8"/>
                  <a:gd name="T7" fmla="*/ 11 h 11"/>
                  <a:gd name="T8" fmla="*/ 8 w 8"/>
                  <a:gd name="T9" fmla="*/ 1 h 11"/>
                </a:gdLst>
                <a:ahLst/>
                <a:cxnLst>
                  <a:cxn ang="0">
                    <a:pos x="T0" y="T1"/>
                  </a:cxn>
                  <a:cxn ang="0">
                    <a:pos x="T2" y="T3"/>
                  </a:cxn>
                  <a:cxn ang="0">
                    <a:pos x="T4" y="T5"/>
                  </a:cxn>
                  <a:cxn ang="0">
                    <a:pos x="T6" y="T7"/>
                  </a:cxn>
                  <a:cxn ang="0">
                    <a:pos x="T8" y="T9"/>
                  </a:cxn>
                </a:cxnLst>
                <a:rect l="0" t="0" r="r" b="b"/>
                <a:pathLst>
                  <a:path w="8" h="11">
                    <a:moveTo>
                      <a:pt x="8" y="1"/>
                    </a:moveTo>
                    <a:cubicBezTo>
                      <a:pt x="8" y="0"/>
                      <a:pt x="8" y="0"/>
                      <a:pt x="8" y="0"/>
                    </a:cubicBezTo>
                    <a:cubicBezTo>
                      <a:pt x="3" y="1"/>
                      <a:pt x="0" y="5"/>
                      <a:pt x="0" y="10"/>
                    </a:cubicBezTo>
                    <a:cubicBezTo>
                      <a:pt x="0" y="11"/>
                      <a:pt x="0" y="11"/>
                      <a:pt x="0" y="11"/>
                    </a:cubicBezTo>
                    <a:cubicBezTo>
                      <a:pt x="4" y="10"/>
                      <a:pt x="8" y="6"/>
                      <a:pt x="8" y="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Oval 317"/>
              <p:cNvSpPr>
                <a:spLocks noChangeArrowheads="1"/>
              </p:cNvSpPr>
              <p:nvPr/>
            </p:nvSpPr>
            <p:spPr bwMode="auto">
              <a:xfrm>
                <a:off x="7470" y="3614"/>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318"/>
              <p:cNvSpPr>
                <a:spLocks/>
              </p:cNvSpPr>
              <p:nvPr/>
            </p:nvSpPr>
            <p:spPr bwMode="auto">
              <a:xfrm>
                <a:off x="7460" y="3654"/>
                <a:ext cx="6" cy="6"/>
              </a:xfrm>
              <a:custGeom>
                <a:avLst/>
                <a:gdLst>
                  <a:gd name="T0" fmla="*/ 2 w 3"/>
                  <a:gd name="T1" fmla="*/ 0 h 3"/>
                  <a:gd name="T2" fmla="*/ 0 w 3"/>
                  <a:gd name="T3" fmla="*/ 1 h 3"/>
                  <a:gd name="T4" fmla="*/ 0 w 3"/>
                  <a:gd name="T5" fmla="*/ 3 h 3"/>
                  <a:gd name="T6" fmla="*/ 1 w 3"/>
                  <a:gd name="T7" fmla="*/ 3 h 3"/>
                  <a:gd name="T8" fmla="*/ 1 w 3"/>
                  <a:gd name="T9" fmla="*/ 1 h 3"/>
                  <a:gd name="T10" fmla="*/ 1 w 3"/>
                  <a:gd name="T11" fmla="*/ 0 h 3"/>
                  <a:gd name="T12" fmla="*/ 1 w 3"/>
                  <a:gd name="T13" fmla="*/ 3 h 3"/>
                  <a:gd name="T14" fmla="*/ 2 w 3"/>
                  <a:gd name="T15" fmla="*/ 3 h 3"/>
                  <a:gd name="T16" fmla="*/ 2 w 3"/>
                  <a:gd name="T17" fmla="*/ 0 h 3"/>
                  <a:gd name="T18" fmla="*/ 3 w 3"/>
                  <a:gd name="T19" fmla="*/ 1 h 3"/>
                  <a:gd name="T20" fmla="*/ 3 w 3"/>
                  <a:gd name="T21" fmla="*/ 3 h 3"/>
                  <a:gd name="T22" fmla="*/ 3 w 3"/>
                  <a:gd name="T23" fmla="*/ 3 h 3"/>
                  <a:gd name="T24" fmla="*/ 3 w 3"/>
                  <a:gd name="T25" fmla="*/ 1 h 3"/>
                  <a:gd name="T26" fmla="*/ 2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2" y="0"/>
                    </a:moveTo>
                    <a:cubicBezTo>
                      <a:pt x="1" y="0"/>
                      <a:pt x="0" y="0"/>
                      <a:pt x="0" y="1"/>
                    </a:cubicBezTo>
                    <a:cubicBezTo>
                      <a:pt x="0" y="3"/>
                      <a:pt x="0" y="3"/>
                      <a:pt x="0" y="3"/>
                    </a:cubicBezTo>
                    <a:cubicBezTo>
                      <a:pt x="1" y="3"/>
                      <a:pt x="1" y="3"/>
                      <a:pt x="1" y="3"/>
                    </a:cubicBezTo>
                    <a:cubicBezTo>
                      <a:pt x="1" y="1"/>
                      <a:pt x="1" y="1"/>
                      <a:pt x="1" y="1"/>
                    </a:cubicBezTo>
                    <a:cubicBezTo>
                      <a:pt x="1" y="1"/>
                      <a:pt x="1" y="0"/>
                      <a:pt x="1" y="0"/>
                    </a:cubicBezTo>
                    <a:cubicBezTo>
                      <a:pt x="1" y="3"/>
                      <a:pt x="1" y="3"/>
                      <a:pt x="1" y="3"/>
                    </a:cubicBezTo>
                    <a:cubicBezTo>
                      <a:pt x="2" y="3"/>
                      <a:pt x="2" y="3"/>
                      <a:pt x="2" y="3"/>
                    </a:cubicBezTo>
                    <a:cubicBezTo>
                      <a:pt x="2" y="0"/>
                      <a:pt x="2" y="0"/>
                      <a:pt x="2" y="0"/>
                    </a:cubicBezTo>
                    <a:cubicBezTo>
                      <a:pt x="2" y="0"/>
                      <a:pt x="3" y="1"/>
                      <a:pt x="3" y="1"/>
                    </a:cubicBezTo>
                    <a:cubicBezTo>
                      <a:pt x="3" y="3"/>
                      <a:pt x="3" y="3"/>
                      <a:pt x="3" y="3"/>
                    </a:cubicBezTo>
                    <a:cubicBezTo>
                      <a:pt x="3" y="3"/>
                      <a:pt x="3" y="3"/>
                      <a:pt x="3" y="3"/>
                    </a:cubicBezTo>
                    <a:cubicBezTo>
                      <a:pt x="3" y="1"/>
                      <a:pt x="3" y="1"/>
                      <a:pt x="3" y="1"/>
                    </a:cubicBezTo>
                    <a:cubicBezTo>
                      <a:pt x="3" y="0"/>
                      <a:pt x="3" y="0"/>
                      <a:pt x="2"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319"/>
              <p:cNvSpPr>
                <a:spLocks/>
              </p:cNvSpPr>
              <p:nvPr/>
            </p:nvSpPr>
            <p:spPr bwMode="auto">
              <a:xfrm>
                <a:off x="5926" y="3978"/>
                <a:ext cx="10" cy="4"/>
              </a:xfrm>
              <a:custGeom>
                <a:avLst/>
                <a:gdLst>
                  <a:gd name="T0" fmla="*/ 10 w 10"/>
                  <a:gd name="T1" fmla="*/ 4 h 4"/>
                  <a:gd name="T2" fmla="*/ 0 w 10"/>
                  <a:gd name="T3" fmla="*/ 4 h 4"/>
                  <a:gd name="T4" fmla="*/ 10 w 10"/>
                  <a:gd name="T5" fmla="*/ 0 h 4"/>
                  <a:gd name="T6" fmla="*/ 10 w 10"/>
                  <a:gd name="T7" fmla="*/ 4 h 4"/>
                  <a:gd name="T8" fmla="*/ 10 w 10"/>
                  <a:gd name="T9" fmla="*/ 4 h 4"/>
                </a:gdLst>
                <a:ahLst/>
                <a:cxnLst>
                  <a:cxn ang="0">
                    <a:pos x="T0" y="T1"/>
                  </a:cxn>
                  <a:cxn ang="0">
                    <a:pos x="T2" y="T3"/>
                  </a:cxn>
                  <a:cxn ang="0">
                    <a:pos x="T4" y="T5"/>
                  </a:cxn>
                  <a:cxn ang="0">
                    <a:pos x="T6" y="T7"/>
                  </a:cxn>
                  <a:cxn ang="0">
                    <a:pos x="T8" y="T9"/>
                  </a:cxn>
                </a:cxnLst>
                <a:rect l="0" t="0" r="r" b="b"/>
                <a:pathLst>
                  <a:path w="10" h="4">
                    <a:moveTo>
                      <a:pt x="10" y="4"/>
                    </a:moveTo>
                    <a:lnTo>
                      <a:pt x="0" y="4"/>
                    </a:lnTo>
                    <a:lnTo>
                      <a:pt x="10" y="0"/>
                    </a:lnTo>
                    <a:lnTo>
                      <a:pt x="10" y="4"/>
                    </a:lnTo>
                    <a:lnTo>
                      <a:pt x="1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20"/>
              <p:cNvSpPr>
                <a:spLocks/>
              </p:cNvSpPr>
              <p:nvPr/>
            </p:nvSpPr>
            <p:spPr bwMode="auto">
              <a:xfrm>
                <a:off x="5926" y="3978"/>
                <a:ext cx="10" cy="4"/>
              </a:xfrm>
              <a:custGeom>
                <a:avLst/>
                <a:gdLst>
                  <a:gd name="T0" fmla="*/ 10 w 10"/>
                  <a:gd name="T1" fmla="*/ 0 h 4"/>
                  <a:gd name="T2" fmla="*/ 0 w 10"/>
                  <a:gd name="T3" fmla="*/ 0 h 4"/>
                  <a:gd name="T4" fmla="*/ 10 w 10"/>
                  <a:gd name="T5" fmla="*/ 4 h 4"/>
                  <a:gd name="T6" fmla="*/ 10 w 10"/>
                  <a:gd name="T7" fmla="*/ 0 h 4"/>
                  <a:gd name="T8" fmla="*/ 10 w 10"/>
                  <a:gd name="T9" fmla="*/ 0 h 4"/>
                </a:gdLst>
                <a:ahLst/>
                <a:cxnLst>
                  <a:cxn ang="0">
                    <a:pos x="T0" y="T1"/>
                  </a:cxn>
                  <a:cxn ang="0">
                    <a:pos x="T2" y="T3"/>
                  </a:cxn>
                  <a:cxn ang="0">
                    <a:pos x="T4" y="T5"/>
                  </a:cxn>
                  <a:cxn ang="0">
                    <a:pos x="T6" y="T7"/>
                  </a:cxn>
                  <a:cxn ang="0">
                    <a:pos x="T8" y="T9"/>
                  </a:cxn>
                </a:cxnLst>
                <a:rect l="0" t="0" r="r" b="b"/>
                <a:pathLst>
                  <a:path w="10" h="4">
                    <a:moveTo>
                      <a:pt x="10" y="0"/>
                    </a:moveTo>
                    <a:lnTo>
                      <a:pt x="0" y="0"/>
                    </a:lnTo>
                    <a:lnTo>
                      <a:pt x="10" y="4"/>
                    </a:lnTo>
                    <a:lnTo>
                      <a:pt x="10" y="0"/>
                    </a:lnTo>
                    <a:lnTo>
                      <a:pt x="1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21"/>
              <p:cNvSpPr>
                <a:spLocks/>
              </p:cNvSpPr>
              <p:nvPr/>
            </p:nvSpPr>
            <p:spPr bwMode="auto">
              <a:xfrm>
                <a:off x="5948" y="3986"/>
                <a:ext cx="54" cy="20"/>
              </a:xfrm>
              <a:custGeom>
                <a:avLst/>
                <a:gdLst>
                  <a:gd name="T0" fmla="*/ 27 w 27"/>
                  <a:gd name="T1" fmla="*/ 0 h 10"/>
                  <a:gd name="T2" fmla="*/ 27 w 27"/>
                  <a:gd name="T3" fmla="*/ 0 h 10"/>
                  <a:gd name="T4" fmla="*/ 20 w 27"/>
                  <a:gd name="T5" fmla="*/ 6 h 10"/>
                  <a:gd name="T6" fmla="*/ 6 w 27"/>
                  <a:gd name="T7" fmla="*/ 6 h 10"/>
                  <a:gd name="T8" fmla="*/ 0 w 27"/>
                  <a:gd name="T9" fmla="*/ 0 h 10"/>
                  <a:gd name="T10" fmla="*/ 27 w 27"/>
                  <a:gd name="T11" fmla="*/ 0 h 10"/>
                </a:gdLst>
                <a:ahLst/>
                <a:cxnLst>
                  <a:cxn ang="0">
                    <a:pos x="T0" y="T1"/>
                  </a:cxn>
                  <a:cxn ang="0">
                    <a:pos x="T2" y="T3"/>
                  </a:cxn>
                  <a:cxn ang="0">
                    <a:pos x="T4" y="T5"/>
                  </a:cxn>
                  <a:cxn ang="0">
                    <a:pos x="T6" y="T7"/>
                  </a:cxn>
                  <a:cxn ang="0">
                    <a:pos x="T8" y="T9"/>
                  </a:cxn>
                  <a:cxn ang="0">
                    <a:pos x="T10" y="T11"/>
                  </a:cxn>
                </a:cxnLst>
                <a:rect l="0" t="0" r="r" b="b"/>
                <a:pathLst>
                  <a:path w="27" h="10">
                    <a:moveTo>
                      <a:pt x="27" y="0"/>
                    </a:moveTo>
                    <a:cubicBezTo>
                      <a:pt x="27" y="0"/>
                      <a:pt x="27" y="0"/>
                      <a:pt x="27" y="0"/>
                    </a:cubicBezTo>
                    <a:cubicBezTo>
                      <a:pt x="20" y="6"/>
                      <a:pt x="20" y="6"/>
                      <a:pt x="20" y="6"/>
                    </a:cubicBezTo>
                    <a:cubicBezTo>
                      <a:pt x="16" y="10"/>
                      <a:pt x="10" y="10"/>
                      <a:pt x="6" y="6"/>
                    </a:cubicBezTo>
                    <a:cubicBezTo>
                      <a:pt x="0" y="0"/>
                      <a:pt x="0" y="0"/>
                      <a:pt x="0" y="0"/>
                    </a:cubicBezTo>
                    <a:lnTo>
                      <a:pt x="27"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22"/>
              <p:cNvSpPr>
                <a:spLocks/>
              </p:cNvSpPr>
              <p:nvPr/>
            </p:nvSpPr>
            <p:spPr bwMode="auto">
              <a:xfrm>
                <a:off x="5934" y="3950"/>
                <a:ext cx="52" cy="60"/>
              </a:xfrm>
              <a:custGeom>
                <a:avLst/>
                <a:gdLst>
                  <a:gd name="T0" fmla="*/ 3 w 26"/>
                  <a:gd name="T1" fmla="*/ 10 h 30"/>
                  <a:gd name="T2" fmla="*/ 3 w 26"/>
                  <a:gd name="T3" fmla="*/ 10 h 30"/>
                  <a:gd name="T4" fmla="*/ 7 w 26"/>
                  <a:gd name="T5" fmla="*/ 10 h 30"/>
                  <a:gd name="T6" fmla="*/ 7 w 26"/>
                  <a:gd name="T7" fmla="*/ 14 h 30"/>
                  <a:gd name="T8" fmla="*/ 7 w 26"/>
                  <a:gd name="T9" fmla="*/ 14 h 30"/>
                  <a:gd name="T10" fmla="*/ 7 w 26"/>
                  <a:gd name="T11" fmla="*/ 15 h 30"/>
                  <a:gd name="T12" fmla="*/ 7 w 26"/>
                  <a:gd name="T13" fmla="*/ 15 h 30"/>
                  <a:gd name="T14" fmla="*/ 9 w 26"/>
                  <a:gd name="T15" fmla="*/ 18 h 30"/>
                  <a:gd name="T16" fmla="*/ 26 w 26"/>
                  <a:gd name="T17" fmla="*/ 0 h 30"/>
                  <a:gd name="T18" fmla="*/ 26 w 26"/>
                  <a:gd name="T19" fmla="*/ 0 h 30"/>
                  <a:gd name="T20" fmla="*/ 26 w 26"/>
                  <a:gd name="T21" fmla="*/ 9 h 30"/>
                  <a:gd name="T22" fmla="*/ 16 w 26"/>
                  <a:gd name="T23" fmla="*/ 19 h 30"/>
                  <a:gd name="T24" fmla="*/ 10 w 26"/>
                  <a:gd name="T25" fmla="*/ 19 h 30"/>
                  <a:gd name="T26" fmla="*/ 18 w 26"/>
                  <a:gd name="T27" fmla="*/ 30 h 30"/>
                  <a:gd name="T28" fmla="*/ 11 w 26"/>
                  <a:gd name="T29" fmla="*/ 30 h 30"/>
                  <a:gd name="T30" fmla="*/ 10 w 26"/>
                  <a:gd name="T31" fmla="*/ 30 h 30"/>
                  <a:gd name="T32" fmla="*/ 10 w 26"/>
                  <a:gd name="T33" fmla="*/ 29 h 30"/>
                  <a:gd name="T34" fmla="*/ 3 w 26"/>
                  <a:gd name="T35" fmla="*/ 22 h 30"/>
                  <a:gd name="T36" fmla="*/ 3 w 26"/>
                  <a:gd name="T37" fmla="*/ 18 h 30"/>
                  <a:gd name="T38" fmla="*/ 0 w 26"/>
                  <a:gd name="T39" fmla="*/ 14 h 30"/>
                  <a:gd name="T40" fmla="*/ 3 w 26"/>
                  <a:gd name="T41"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0">
                    <a:moveTo>
                      <a:pt x="3" y="10"/>
                    </a:moveTo>
                    <a:cubicBezTo>
                      <a:pt x="3" y="10"/>
                      <a:pt x="3" y="10"/>
                      <a:pt x="3" y="10"/>
                    </a:cubicBezTo>
                    <a:cubicBezTo>
                      <a:pt x="7" y="10"/>
                      <a:pt x="7" y="10"/>
                      <a:pt x="7" y="10"/>
                    </a:cubicBezTo>
                    <a:cubicBezTo>
                      <a:pt x="7" y="14"/>
                      <a:pt x="7" y="14"/>
                      <a:pt x="7" y="14"/>
                    </a:cubicBezTo>
                    <a:cubicBezTo>
                      <a:pt x="7" y="14"/>
                      <a:pt x="7" y="14"/>
                      <a:pt x="7" y="14"/>
                    </a:cubicBezTo>
                    <a:cubicBezTo>
                      <a:pt x="7" y="14"/>
                      <a:pt x="7" y="15"/>
                      <a:pt x="7" y="15"/>
                    </a:cubicBezTo>
                    <a:cubicBezTo>
                      <a:pt x="7" y="15"/>
                      <a:pt x="7" y="15"/>
                      <a:pt x="7" y="15"/>
                    </a:cubicBezTo>
                    <a:cubicBezTo>
                      <a:pt x="8" y="16"/>
                      <a:pt x="8" y="17"/>
                      <a:pt x="9" y="18"/>
                    </a:cubicBezTo>
                    <a:cubicBezTo>
                      <a:pt x="26" y="0"/>
                      <a:pt x="26" y="0"/>
                      <a:pt x="26" y="0"/>
                    </a:cubicBezTo>
                    <a:cubicBezTo>
                      <a:pt x="26" y="0"/>
                      <a:pt x="26" y="0"/>
                      <a:pt x="26" y="0"/>
                    </a:cubicBezTo>
                    <a:cubicBezTo>
                      <a:pt x="26" y="9"/>
                      <a:pt x="26" y="9"/>
                      <a:pt x="26" y="9"/>
                    </a:cubicBezTo>
                    <a:cubicBezTo>
                      <a:pt x="26" y="15"/>
                      <a:pt x="22" y="19"/>
                      <a:pt x="16" y="19"/>
                    </a:cubicBezTo>
                    <a:cubicBezTo>
                      <a:pt x="13" y="19"/>
                      <a:pt x="11" y="19"/>
                      <a:pt x="10" y="19"/>
                    </a:cubicBezTo>
                    <a:cubicBezTo>
                      <a:pt x="18" y="30"/>
                      <a:pt x="18" y="30"/>
                      <a:pt x="18" y="30"/>
                    </a:cubicBezTo>
                    <a:cubicBezTo>
                      <a:pt x="11" y="30"/>
                      <a:pt x="11" y="30"/>
                      <a:pt x="11" y="30"/>
                    </a:cubicBezTo>
                    <a:cubicBezTo>
                      <a:pt x="11" y="30"/>
                      <a:pt x="10" y="30"/>
                      <a:pt x="10" y="30"/>
                    </a:cubicBezTo>
                    <a:cubicBezTo>
                      <a:pt x="10" y="29"/>
                      <a:pt x="10" y="29"/>
                      <a:pt x="10" y="29"/>
                    </a:cubicBezTo>
                    <a:cubicBezTo>
                      <a:pt x="10" y="25"/>
                      <a:pt x="7" y="22"/>
                      <a:pt x="3" y="22"/>
                    </a:cubicBezTo>
                    <a:cubicBezTo>
                      <a:pt x="3" y="20"/>
                      <a:pt x="3" y="18"/>
                      <a:pt x="3" y="18"/>
                    </a:cubicBezTo>
                    <a:cubicBezTo>
                      <a:pt x="1" y="18"/>
                      <a:pt x="0" y="16"/>
                      <a:pt x="0" y="14"/>
                    </a:cubicBezTo>
                    <a:cubicBezTo>
                      <a:pt x="0" y="12"/>
                      <a:pt x="1" y="10"/>
                      <a:pt x="3" y="10"/>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23"/>
              <p:cNvSpPr>
                <a:spLocks/>
              </p:cNvSpPr>
              <p:nvPr/>
            </p:nvSpPr>
            <p:spPr bwMode="auto">
              <a:xfrm>
                <a:off x="5970" y="4010"/>
                <a:ext cx="16" cy="16"/>
              </a:xfrm>
              <a:custGeom>
                <a:avLst/>
                <a:gdLst>
                  <a:gd name="T0" fmla="*/ 4 w 8"/>
                  <a:gd name="T1" fmla="*/ 8 h 8"/>
                  <a:gd name="T2" fmla="*/ 0 w 8"/>
                  <a:gd name="T3" fmla="*/ 4 h 8"/>
                  <a:gd name="T4" fmla="*/ 0 w 8"/>
                  <a:gd name="T5" fmla="*/ 0 h 8"/>
                  <a:gd name="T6" fmla="*/ 8 w 8"/>
                  <a:gd name="T7" fmla="*/ 8 h 8"/>
                  <a:gd name="T8" fmla="*/ 4 w 8"/>
                  <a:gd name="T9" fmla="*/ 8 h 8"/>
                </a:gdLst>
                <a:ahLst/>
                <a:cxnLst>
                  <a:cxn ang="0">
                    <a:pos x="T0" y="T1"/>
                  </a:cxn>
                  <a:cxn ang="0">
                    <a:pos x="T2" y="T3"/>
                  </a:cxn>
                  <a:cxn ang="0">
                    <a:pos x="T4" y="T5"/>
                  </a:cxn>
                  <a:cxn ang="0">
                    <a:pos x="T6" y="T7"/>
                  </a:cxn>
                  <a:cxn ang="0">
                    <a:pos x="T8" y="T9"/>
                  </a:cxn>
                </a:cxnLst>
                <a:rect l="0" t="0" r="r" b="b"/>
                <a:pathLst>
                  <a:path w="8" h="8">
                    <a:moveTo>
                      <a:pt x="4" y="8"/>
                    </a:moveTo>
                    <a:cubicBezTo>
                      <a:pt x="2" y="8"/>
                      <a:pt x="0" y="6"/>
                      <a:pt x="0" y="4"/>
                    </a:cubicBezTo>
                    <a:cubicBezTo>
                      <a:pt x="0" y="0"/>
                      <a:pt x="0" y="0"/>
                      <a:pt x="0" y="0"/>
                    </a:cubicBezTo>
                    <a:cubicBezTo>
                      <a:pt x="8" y="8"/>
                      <a:pt x="8" y="8"/>
                      <a:pt x="8" y="8"/>
                    </a:cubicBezTo>
                    <a:cubicBezTo>
                      <a:pt x="4" y="8"/>
                      <a:pt x="4" y="8"/>
                      <a:pt x="4" y="8"/>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6" name="Freeform 324"/>
              <p:cNvSpPr>
                <a:spLocks/>
              </p:cNvSpPr>
              <p:nvPr/>
            </p:nvSpPr>
            <p:spPr bwMode="auto">
              <a:xfrm>
                <a:off x="5940" y="3994"/>
                <a:ext cx="14" cy="16"/>
              </a:xfrm>
              <a:custGeom>
                <a:avLst/>
                <a:gdLst>
                  <a:gd name="T0" fmla="*/ 0 w 7"/>
                  <a:gd name="T1" fmla="*/ 1 h 8"/>
                  <a:gd name="T2" fmla="*/ 0 w 7"/>
                  <a:gd name="T3" fmla="*/ 0 h 8"/>
                  <a:gd name="T4" fmla="*/ 7 w 7"/>
                  <a:gd name="T5" fmla="*/ 7 h 8"/>
                  <a:gd name="T6" fmla="*/ 7 w 7"/>
                  <a:gd name="T7" fmla="*/ 8 h 8"/>
                  <a:gd name="T8" fmla="*/ 0 w 7"/>
                  <a:gd name="T9" fmla="*/ 1 h 8"/>
                </a:gdLst>
                <a:ahLst/>
                <a:cxnLst>
                  <a:cxn ang="0">
                    <a:pos x="T0" y="T1"/>
                  </a:cxn>
                  <a:cxn ang="0">
                    <a:pos x="T2" y="T3"/>
                  </a:cxn>
                  <a:cxn ang="0">
                    <a:pos x="T4" y="T5"/>
                  </a:cxn>
                  <a:cxn ang="0">
                    <a:pos x="T6" y="T7"/>
                  </a:cxn>
                  <a:cxn ang="0">
                    <a:pos x="T8" y="T9"/>
                  </a:cxn>
                </a:cxnLst>
                <a:rect l="0" t="0" r="r" b="b"/>
                <a:pathLst>
                  <a:path w="7" h="8">
                    <a:moveTo>
                      <a:pt x="0" y="1"/>
                    </a:moveTo>
                    <a:cubicBezTo>
                      <a:pt x="0" y="0"/>
                      <a:pt x="0" y="0"/>
                      <a:pt x="0" y="0"/>
                    </a:cubicBezTo>
                    <a:cubicBezTo>
                      <a:pt x="4" y="0"/>
                      <a:pt x="7" y="3"/>
                      <a:pt x="7" y="7"/>
                    </a:cubicBezTo>
                    <a:cubicBezTo>
                      <a:pt x="7" y="8"/>
                      <a:pt x="7" y="8"/>
                      <a:pt x="7" y="8"/>
                    </a:cubicBezTo>
                    <a:cubicBezTo>
                      <a:pt x="3" y="8"/>
                      <a:pt x="0" y="4"/>
                      <a:pt x="0" y="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Oval 325"/>
              <p:cNvSpPr>
                <a:spLocks noChangeArrowheads="1"/>
              </p:cNvSpPr>
              <p:nvPr/>
            </p:nvSpPr>
            <p:spPr bwMode="auto">
              <a:xfrm>
                <a:off x="5936" y="3976"/>
                <a:ext cx="2" cy="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326"/>
              <p:cNvSpPr>
                <a:spLocks/>
              </p:cNvSpPr>
              <p:nvPr/>
            </p:nvSpPr>
            <p:spPr bwMode="auto">
              <a:xfrm>
                <a:off x="5942" y="4006"/>
                <a:ext cx="4" cy="6"/>
              </a:xfrm>
              <a:custGeom>
                <a:avLst/>
                <a:gdLst>
                  <a:gd name="T0" fmla="*/ 1 w 2"/>
                  <a:gd name="T1" fmla="*/ 0 h 3"/>
                  <a:gd name="T2" fmla="*/ 2 w 2"/>
                  <a:gd name="T3" fmla="*/ 1 h 3"/>
                  <a:gd name="T4" fmla="*/ 2 w 2"/>
                  <a:gd name="T5" fmla="*/ 3 h 3"/>
                  <a:gd name="T6" fmla="*/ 2 w 2"/>
                  <a:gd name="T7" fmla="*/ 3 h 3"/>
                  <a:gd name="T8" fmla="*/ 2 w 2"/>
                  <a:gd name="T9" fmla="*/ 1 h 3"/>
                  <a:gd name="T10" fmla="*/ 1 w 2"/>
                  <a:gd name="T11" fmla="*/ 1 h 3"/>
                  <a:gd name="T12" fmla="*/ 1 w 2"/>
                  <a:gd name="T13" fmla="*/ 3 h 3"/>
                  <a:gd name="T14" fmla="*/ 1 w 2"/>
                  <a:gd name="T15" fmla="*/ 3 h 3"/>
                  <a:gd name="T16" fmla="*/ 1 w 2"/>
                  <a:gd name="T17" fmla="*/ 1 h 3"/>
                  <a:gd name="T18" fmla="*/ 0 w 2"/>
                  <a:gd name="T19" fmla="*/ 1 h 3"/>
                  <a:gd name="T20" fmla="*/ 0 w 2"/>
                  <a:gd name="T21" fmla="*/ 3 h 3"/>
                  <a:gd name="T22" fmla="*/ 0 w 2"/>
                  <a:gd name="T23" fmla="*/ 3 h 3"/>
                  <a:gd name="T24" fmla="*/ 0 w 2"/>
                  <a:gd name="T25" fmla="*/ 1 h 3"/>
                  <a:gd name="T26" fmla="*/ 1 w 2"/>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3">
                    <a:moveTo>
                      <a:pt x="1" y="0"/>
                    </a:moveTo>
                    <a:cubicBezTo>
                      <a:pt x="2" y="0"/>
                      <a:pt x="2" y="1"/>
                      <a:pt x="2" y="1"/>
                    </a:cubicBezTo>
                    <a:cubicBezTo>
                      <a:pt x="2" y="3"/>
                      <a:pt x="2" y="3"/>
                      <a:pt x="2" y="3"/>
                    </a:cubicBezTo>
                    <a:cubicBezTo>
                      <a:pt x="2" y="3"/>
                      <a:pt x="2" y="3"/>
                      <a:pt x="2" y="3"/>
                    </a:cubicBezTo>
                    <a:cubicBezTo>
                      <a:pt x="2" y="1"/>
                      <a:pt x="2" y="1"/>
                      <a:pt x="2" y="1"/>
                    </a:cubicBezTo>
                    <a:cubicBezTo>
                      <a:pt x="2" y="1"/>
                      <a:pt x="2" y="1"/>
                      <a:pt x="1" y="1"/>
                    </a:cubicBezTo>
                    <a:cubicBezTo>
                      <a:pt x="1" y="3"/>
                      <a:pt x="1" y="3"/>
                      <a:pt x="1" y="3"/>
                    </a:cubicBezTo>
                    <a:cubicBezTo>
                      <a:pt x="1" y="3"/>
                      <a:pt x="1" y="3"/>
                      <a:pt x="1" y="3"/>
                    </a:cubicBezTo>
                    <a:cubicBezTo>
                      <a:pt x="1" y="1"/>
                      <a:pt x="1" y="1"/>
                      <a:pt x="1" y="1"/>
                    </a:cubicBezTo>
                    <a:cubicBezTo>
                      <a:pt x="0" y="1"/>
                      <a:pt x="0" y="1"/>
                      <a:pt x="0" y="1"/>
                    </a:cubicBezTo>
                    <a:cubicBezTo>
                      <a:pt x="0" y="3"/>
                      <a:pt x="0" y="3"/>
                      <a:pt x="0" y="3"/>
                    </a:cubicBezTo>
                    <a:cubicBezTo>
                      <a:pt x="0" y="3"/>
                      <a:pt x="0" y="3"/>
                      <a:pt x="0" y="3"/>
                    </a:cubicBezTo>
                    <a:cubicBezTo>
                      <a:pt x="0" y="1"/>
                      <a:pt x="0" y="1"/>
                      <a:pt x="0" y="1"/>
                    </a:cubicBezTo>
                    <a:cubicBezTo>
                      <a:pt x="0" y="1"/>
                      <a:pt x="0" y="0"/>
                      <a:pt x="1"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Rectangle 327"/>
              <p:cNvSpPr>
                <a:spLocks noChangeArrowheads="1"/>
              </p:cNvSpPr>
              <p:nvPr/>
            </p:nvSpPr>
            <p:spPr bwMode="auto">
              <a:xfrm>
                <a:off x="6308" y="3804"/>
                <a:ext cx="797" cy="222"/>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328"/>
              <p:cNvSpPr>
                <a:spLocks noEditPoints="1"/>
              </p:cNvSpPr>
              <p:nvPr/>
            </p:nvSpPr>
            <p:spPr bwMode="auto">
              <a:xfrm>
                <a:off x="6308" y="4014"/>
                <a:ext cx="1248" cy="101"/>
              </a:xfrm>
              <a:custGeom>
                <a:avLst/>
                <a:gdLst>
                  <a:gd name="T0" fmla="*/ 1240 w 1248"/>
                  <a:gd name="T1" fmla="*/ 61 h 101"/>
                  <a:gd name="T2" fmla="*/ 1248 w 1248"/>
                  <a:gd name="T3" fmla="*/ 69 h 101"/>
                  <a:gd name="T4" fmla="*/ 1248 w 1248"/>
                  <a:gd name="T5" fmla="*/ 97 h 101"/>
                  <a:gd name="T6" fmla="*/ 1232 w 1248"/>
                  <a:gd name="T7" fmla="*/ 101 h 101"/>
                  <a:gd name="T8" fmla="*/ 1158 w 1248"/>
                  <a:gd name="T9" fmla="*/ 93 h 101"/>
                  <a:gd name="T10" fmla="*/ 1108 w 1248"/>
                  <a:gd name="T11" fmla="*/ 93 h 101"/>
                  <a:gd name="T12" fmla="*/ 1110 w 1248"/>
                  <a:gd name="T13" fmla="*/ 89 h 101"/>
                  <a:gd name="T14" fmla="*/ 1012 w 1248"/>
                  <a:gd name="T15" fmla="*/ 89 h 101"/>
                  <a:gd name="T16" fmla="*/ 1012 w 1248"/>
                  <a:gd name="T17" fmla="*/ 89 h 101"/>
                  <a:gd name="T18" fmla="*/ 981 w 1248"/>
                  <a:gd name="T19" fmla="*/ 89 h 101"/>
                  <a:gd name="T20" fmla="*/ 981 w 1248"/>
                  <a:gd name="T21" fmla="*/ 69 h 101"/>
                  <a:gd name="T22" fmla="*/ 847 w 1248"/>
                  <a:gd name="T23" fmla="*/ 69 h 101"/>
                  <a:gd name="T24" fmla="*/ 847 w 1248"/>
                  <a:gd name="T25" fmla="*/ 77 h 101"/>
                  <a:gd name="T26" fmla="*/ 623 w 1248"/>
                  <a:gd name="T27" fmla="*/ 77 h 101"/>
                  <a:gd name="T28" fmla="*/ 623 w 1248"/>
                  <a:gd name="T29" fmla="*/ 38 h 101"/>
                  <a:gd name="T30" fmla="*/ 843 w 1248"/>
                  <a:gd name="T31" fmla="*/ 38 h 101"/>
                  <a:gd name="T32" fmla="*/ 847 w 1248"/>
                  <a:gd name="T33" fmla="*/ 38 h 101"/>
                  <a:gd name="T34" fmla="*/ 989 w 1248"/>
                  <a:gd name="T35" fmla="*/ 38 h 101"/>
                  <a:gd name="T36" fmla="*/ 1014 w 1248"/>
                  <a:gd name="T37" fmla="*/ 38 h 101"/>
                  <a:gd name="T38" fmla="*/ 1110 w 1248"/>
                  <a:gd name="T39" fmla="*/ 38 h 101"/>
                  <a:gd name="T40" fmla="*/ 1100 w 1248"/>
                  <a:gd name="T41" fmla="*/ 26 h 101"/>
                  <a:gd name="T42" fmla="*/ 1176 w 1248"/>
                  <a:gd name="T43" fmla="*/ 16 h 101"/>
                  <a:gd name="T44" fmla="*/ 1206 w 1248"/>
                  <a:gd name="T45" fmla="*/ 26 h 101"/>
                  <a:gd name="T46" fmla="*/ 1228 w 1248"/>
                  <a:gd name="T47" fmla="*/ 38 h 101"/>
                  <a:gd name="T48" fmla="*/ 1240 w 1248"/>
                  <a:gd name="T49" fmla="*/ 61 h 101"/>
                  <a:gd name="T50" fmla="*/ 1240 w 1248"/>
                  <a:gd name="T51" fmla="*/ 61 h 101"/>
                  <a:gd name="T52" fmla="*/ 261 w 1248"/>
                  <a:gd name="T53" fmla="*/ 12 h 101"/>
                  <a:gd name="T54" fmla="*/ 261 w 1248"/>
                  <a:gd name="T55" fmla="*/ 0 h 101"/>
                  <a:gd name="T56" fmla="*/ 0 w 1248"/>
                  <a:gd name="T57" fmla="*/ 0 h 101"/>
                  <a:gd name="T58" fmla="*/ 0 w 1248"/>
                  <a:gd name="T59" fmla="*/ 12 h 101"/>
                  <a:gd name="T60" fmla="*/ 0 w 1248"/>
                  <a:gd name="T61" fmla="*/ 12 h 101"/>
                  <a:gd name="T62" fmla="*/ 0 w 1248"/>
                  <a:gd name="T63" fmla="*/ 18 h 101"/>
                  <a:gd name="T64" fmla="*/ 0 w 1248"/>
                  <a:gd name="T65" fmla="*/ 26 h 101"/>
                  <a:gd name="T66" fmla="*/ 0 w 1248"/>
                  <a:gd name="T67" fmla="*/ 77 h 101"/>
                  <a:gd name="T68" fmla="*/ 261 w 1248"/>
                  <a:gd name="T69" fmla="*/ 77 h 101"/>
                  <a:gd name="T70" fmla="*/ 261 w 1248"/>
                  <a:gd name="T71" fmla="*/ 26 h 101"/>
                  <a:gd name="T72" fmla="*/ 571 w 1248"/>
                  <a:gd name="T73" fmla="*/ 26 h 101"/>
                  <a:gd name="T74" fmla="*/ 571 w 1248"/>
                  <a:gd name="T75" fmla="*/ 18 h 101"/>
                  <a:gd name="T76" fmla="*/ 797 w 1248"/>
                  <a:gd name="T77" fmla="*/ 18 h 101"/>
                  <a:gd name="T78" fmla="*/ 797 w 1248"/>
                  <a:gd name="T79" fmla="*/ 12 h 101"/>
                  <a:gd name="T80" fmla="*/ 261 w 1248"/>
                  <a:gd name="T81" fmla="*/ 12 h 101"/>
                  <a:gd name="T82" fmla="*/ 261 w 1248"/>
                  <a:gd name="T83" fmla="*/ 1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8" h="101">
                    <a:moveTo>
                      <a:pt x="1240" y="61"/>
                    </a:moveTo>
                    <a:lnTo>
                      <a:pt x="1248" y="69"/>
                    </a:lnTo>
                    <a:lnTo>
                      <a:pt x="1248" y="97"/>
                    </a:lnTo>
                    <a:lnTo>
                      <a:pt x="1232" y="101"/>
                    </a:lnTo>
                    <a:lnTo>
                      <a:pt x="1158" y="93"/>
                    </a:lnTo>
                    <a:lnTo>
                      <a:pt x="1108" y="93"/>
                    </a:lnTo>
                    <a:lnTo>
                      <a:pt x="1110" y="89"/>
                    </a:lnTo>
                    <a:lnTo>
                      <a:pt x="1012" y="89"/>
                    </a:lnTo>
                    <a:lnTo>
                      <a:pt x="1012" y="89"/>
                    </a:lnTo>
                    <a:lnTo>
                      <a:pt x="981" y="89"/>
                    </a:lnTo>
                    <a:lnTo>
                      <a:pt x="981" y="69"/>
                    </a:lnTo>
                    <a:lnTo>
                      <a:pt x="847" y="69"/>
                    </a:lnTo>
                    <a:lnTo>
                      <a:pt x="847" y="77"/>
                    </a:lnTo>
                    <a:lnTo>
                      <a:pt x="623" y="77"/>
                    </a:lnTo>
                    <a:lnTo>
                      <a:pt x="623" y="38"/>
                    </a:lnTo>
                    <a:lnTo>
                      <a:pt x="843" y="38"/>
                    </a:lnTo>
                    <a:lnTo>
                      <a:pt x="847" y="38"/>
                    </a:lnTo>
                    <a:lnTo>
                      <a:pt x="989" y="38"/>
                    </a:lnTo>
                    <a:lnTo>
                      <a:pt x="1014" y="38"/>
                    </a:lnTo>
                    <a:lnTo>
                      <a:pt x="1110" y="38"/>
                    </a:lnTo>
                    <a:lnTo>
                      <a:pt x="1100" y="26"/>
                    </a:lnTo>
                    <a:lnTo>
                      <a:pt x="1176" y="16"/>
                    </a:lnTo>
                    <a:lnTo>
                      <a:pt x="1206" y="26"/>
                    </a:lnTo>
                    <a:lnTo>
                      <a:pt x="1228" y="38"/>
                    </a:lnTo>
                    <a:lnTo>
                      <a:pt x="1240" y="61"/>
                    </a:lnTo>
                    <a:lnTo>
                      <a:pt x="1240" y="61"/>
                    </a:lnTo>
                    <a:close/>
                    <a:moveTo>
                      <a:pt x="261" y="12"/>
                    </a:moveTo>
                    <a:lnTo>
                      <a:pt x="261" y="0"/>
                    </a:lnTo>
                    <a:lnTo>
                      <a:pt x="0" y="0"/>
                    </a:lnTo>
                    <a:lnTo>
                      <a:pt x="0" y="12"/>
                    </a:lnTo>
                    <a:lnTo>
                      <a:pt x="0" y="12"/>
                    </a:lnTo>
                    <a:lnTo>
                      <a:pt x="0" y="18"/>
                    </a:lnTo>
                    <a:lnTo>
                      <a:pt x="0" y="26"/>
                    </a:lnTo>
                    <a:lnTo>
                      <a:pt x="0" y="77"/>
                    </a:lnTo>
                    <a:lnTo>
                      <a:pt x="261" y="77"/>
                    </a:lnTo>
                    <a:lnTo>
                      <a:pt x="261" y="26"/>
                    </a:lnTo>
                    <a:lnTo>
                      <a:pt x="571" y="26"/>
                    </a:lnTo>
                    <a:lnTo>
                      <a:pt x="571" y="18"/>
                    </a:lnTo>
                    <a:lnTo>
                      <a:pt x="797" y="18"/>
                    </a:lnTo>
                    <a:lnTo>
                      <a:pt x="797" y="12"/>
                    </a:lnTo>
                    <a:lnTo>
                      <a:pt x="261" y="12"/>
                    </a:lnTo>
                    <a:lnTo>
                      <a:pt x="26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29"/>
              <p:cNvSpPr>
                <a:spLocks/>
              </p:cNvSpPr>
              <p:nvPr/>
            </p:nvSpPr>
            <p:spPr bwMode="auto">
              <a:xfrm>
                <a:off x="7303" y="3910"/>
                <a:ext cx="75" cy="70"/>
              </a:xfrm>
              <a:custGeom>
                <a:avLst/>
                <a:gdLst>
                  <a:gd name="T0" fmla="*/ 75 w 75"/>
                  <a:gd name="T1" fmla="*/ 70 h 70"/>
                  <a:gd name="T2" fmla="*/ 0 w 75"/>
                  <a:gd name="T3" fmla="*/ 70 h 70"/>
                  <a:gd name="T4" fmla="*/ 0 w 75"/>
                  <a:gd name="T5" fmla="*/ 0 h 70"/>
                  <a:gd name="T6" fmla="*/ 75 w 75"/>
                  <a:gd name="T7" fmla="*/ 0 h 70"/>
                  <a:gd name="T8" fmla="*/ 75 w 75"/>
                  <a:gd name="T9" fmla="*/ 70 h 70"/>
                  <a:gd name="T10" fmla="*/ 75 w 75"/>
                  <a:gd name="T11" fmla="*/ 70 h 70"/>
                </a:gdLst>
                <a:ahLst/>
                <a:cxnLst>
                  <a:cxn ang="0">
                    <a:pos x="T0" y="T1"/>
                  </a:cxn>
                  <a:cxn ang="0">
                    <a:pos x="T2" y="T3"/>
                  </a:cxn>
                  <a:cxn ang="0">
                    <a:pos x="T4" y="T5"/>
                  </a:cxn>
                  <a:cxn ang="0">
                    <a:pos x="T6" y="T7"/>
                  </a:cxn>
                  <a:cxn ang="0">
                    <a:pos x="T8" y="T9"/>
                  </a:cxn>
                  <a:cxn ang="0">
                    <a:pos x="T10" y="T11"/>
                  </a:cxn>
                </a:cxnLst>
                <a:rect l="0" t="0" r="r" b="b"/>
                <a:pathLst>
                  <a:path w="75" h="70">
                    <a:moveTo>
                      <a:pt x="75" y="70"/>
                    </a:moveTo>
                    <a:lnTo>
                      <a:pt x="0" y="70"/>
                    </a:lnTo>
                    <a:lnTo>
                      <a:pt x="0" y="0"/>
                    </a:lnTo>
                    <a:lnTo>
                      <a:pt x="75" y="0"/>
                    </a:lnTo>
                    <a:lnTo>
                      <a:pt x="75" y="70"/>
                    </a:lnTo>
                    <a:lnTo>
                      <a:pt x="75" y="7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30"/>
              <p:cNvSpPr>
                <a:spLocks/>
              </p:cNvSpPr>
              <p:nvPr/>
            </p:nvSpPr>
            <p:spPr bwMode="auto">
              <a:xfrm>
                <a:off x="7303" y="3908"/>
                <a:ext cx="77" cy="74"/>
              </a:xfrm>
              <a:custGeom>
                <a:avLst/>
                <a:gdLst>
                  <a:gd name="T0" fmla="*/ 75 w 77"/>
                  <a:gd name="T1" fmla="*/ 72 h 74"/>
                  <a:gd name="T2" fmla="*/ 75 w 77"/>
                  <a:gd name="T3" fmla="*/ 72 h 74"/>
                  <a:gd name="T4" fmla="*/ 2 w 77"/>
                  <a:gd name="T5" fmla="*/ 72 h 74"/>
                  <a:gd name="T6" fmla="*/ 2 w 77"/>
                  <a:gd name="T7" fmla="*/ 2 h 74"/>
                  <a:gd name="T8" fmla="*/ 75 w 77"/>
                  <a:gd name="T9" fmla="*/ 2 h 74"/>
                  <a:gd name="T10" fmla="*/ 75 w 77"/>
                  <a:gd name="T11" fmla="*/ 72 h 74"/>
                  <a:gd name="T12" fmla="*/ 75 w 77"/>
                  <a:gd name="T13" fmla="*/ 72 h 74"/>
                  <a:gd name="T14" fmla="*/ 75 w 77"/>
                  <a:gd name="T15" fmla="*/ 72 h 74"/>
                  <a:gd name="T16" fmla="*/ 75 w 77"/>
                  <a:gd name="T17" fmla="*/ 72 h 74"/>
                  <a:gd name="T18" fmla="*/ 77 w 77"/>
                  <a:gd name="T19" fmla="*/ 72 h 74"/>
                  <a:gd name="T20" fmla="*/ 77 w 77"/>
                  <a:gd name="T21" fmla="*/ 2 h 74"/>
                  <a:gd name="T22" fmla="*/ 77 w 77"/>
                  <a:gd name="T23" fmla="*/ 0 h 74"/>
                  <a:gd name="T24" fmla="*/ 75 w 77"/>
                  <a:gd name="T25" fmla="*/ 0 h 74"/>
                  <a:gd name="T26" fmla="*/ 0 w 77"/>
                  <a:gd name="T27" fmla="*/ 0 h 74"/>
                  <a:gd name="T28" fmla="*/ 0 w 77"/>
                  <a:gd name="T29" fmla="*/ 0 h 74"/>
                  <a:gd name="T30" fmla="*/ 0 w 77"/>
                  <a:gd name="T31" fmla="*/ 2 h 74"/>
                  <a:gd name="T32" fmla="*/ 0 w 77"/>
                  <a:gd name="T33" fmla="*/ 72 h 74"/>
                  <a:gd name="T34" fmla="*/ 0 w 77"/>
                  <a:gd name="T35" fmla="*/ 74 h 74"/>
                  <a:gd name="T36" fmla="*/ 0 w 77"/>
                  <a:gd name="T37" fmla="*/ 74 h 74"/>
                  <a:gd name="T38" fmla="*/ 75 w 77"/>
                  <a:gd name="T39" fmla="*/ 74 h 74"/>
                  <a:gd name="T40" fmla="*/ 77 w 77"/>
                  <a:gd name="T41" fmla="*/ 74 h 74"/>
                  <a:gd name="T42" fmla="*/ 77 w 77"/>
                  <a:gd name="T43" fmla="*/ 72 h 74"/>
                  <a:gd name="T44" fmla="*/ 75 w 77"/>
                  <a:gd name="T45" fmla="*/ 72 h 74"/>
                  <a:gd name="T46" fmla="*/ 75 w 77"/>
                  <a:gd name="T47"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4">
                    <a:moveTo>
                      <a:pt x="75" y="72"/>
                    </a:moveTo>
                    <a:lnTo>
                      <a:pt x="75" y="72"/>
                    </a:lnTo>
                    <a:lnTo>
                      <a:pt x="2" y="72"/>
                    </a:lnTo>
                    <a:lnTo>
                      <a:pt x="2" y="2"/>
                    </a:lnTo>
                    <a:lnTo>
                      <a:pt x="75" y="2"/>
                    </a:lnTo>
                    <a:lnTo>
                      <a:pt x="75" y="72"/>
                    </a:lnTo>
                    <a:lnTo>
                      <a:pt x="75" y="72"/>
                    </a:lnTo>
                    <a:lnTo>
                      <a:pt x="75" y="72"/>
                    </a:lnTo>
                    <a:lnTo>
                      <a:pt x="75" y="72"/>
                    </a:lnTo>
                    <a:lnTo>
                      <a:pt x="77" y="72"/>
                    </a:lnTo>
                    <a:lnTo>
                      <a:pt x="77" y="2"/>
                    </a:lnTo>
                    <a:lnTo>
                      <a:pt x="77" y="0"/>
                    </a:lnTo>
                    <a:lnTo>
                      <a:pt x="75" y="0"/>
                    </a:lnTo>
                    <a:lnTo>
                      <a:pt x="0" y="0"/>
                    </a:lnTo>
                    <a:lnTo>
                      <a:pt x="0" y="0"/>
                    </a:lnTo>
                    <a:lnTo>
                      <a:pt x="0" y="2"/>
                    </a:lnTo>
                    <a:lnTo>
                      <a:pt x="0" y="72"/>
                    </a:lnTo>
                    <a:lnTo>
                      <a:pt x="0" y="74"/>
                    </a:lnTo>
                    <a:lnTo>
                      <a:pt x="0" y="74"/>
                    </a:lnTo>
                    <a:lnTo>
                      <a:pt x="75" y="74"/>
                    </a:lnTo>
                    <a:lnTo>
                      <a:pt x="77" y="74"/>
                    </a:lnTo>
                    <a:lnTo>
                      <a:pt x="77" y="72"/>
                    </a:lnTo>
                    <a:lnTo>
                      <a:pt x="75" y="72"/>
                    </a:lnTo>
                    <a:lnTo>
                      <a:pt x="75"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31"/>
              <p:cNvSpPr>
                <a:spLocks/>
              </p:cNvSpPr>
              <p:nvPr/>
            </p:nvSpPr>
            <p:spPr bwMode="auto">
              <a:xfrm>
                <a:off x="7326" y="4052"/>
                <a:ext cx="80" cy="51"/>
              </a:xfrm>
              <a:custGeom>
                <a:avLst/>
                <a:gdLst>
                  <a:gd name="T0" fmla="*/ 2 w 80"/>
                  <a:gd name="T1" fmla="*/ 0 h 51"/>
                  <a:gd name="T2" fmla="*/ 2 w 80"/>
                  <a:gd name="T3" fmla="*/ 2 h 51"/>
                  <a:gd name="T4" fmla="*/ 78 w 80"/>
                  <a:gd name="T5" fmla="*/ 2 h 51"/>
                  <a:gd name="T6" fmla="*/ 78 w 80"/>
                  <a:gd name="T7" fmla="*/ 49 h 51"/>
                  <a:gd name="T8" fmla="*/ 2 w 80"/>
                  <a:gd name="T9" fmla="*/ 49 h 51"/>
                  <a:gd name="T10" fmla="*/ 2 w 80"/>
                  <a:gd name="T11" fmla="*/ 0 h 51"/>
                  <a:gd name="T12" fmla="*/ 2 w 80"/>
                  <a:gd name="T13" fmla="*/ 0 h 51"/>
                  <a:gd name="T14" fmla="*/ 2 w 80"/>
                  <a:gd name="T15" fmla="*/ 2 h 51"/>
                  <a:gd name="T16" fmla="*/ 2 w 80"/>
                  <a:gd name="T17" fmla="*/ 0 h 51"/>
                  <a:gd name="T18" fmla="*/ 0 w 80"/>
                  <a:gd name="T19" fmla="*/ 0 h 51"/>
                  <a:gd name="T20" fmla="*/ 0 w 80"/>
                  <a:gd name="T21" fmla="*/ 51 h 51"/>
                  <a:gd name="T22" fmla="*/ 2 w 80"/>
                  <a:gd name="T23" fmla="*/ 51 h 51"/>
                  <a:gd name="T24" fmla="*/ 2 w 80"/>
                  <a:gd name="T25" fmla="*/ 51 h 51"/>
                  <a:gd name="T26" fmla="*/ 78 w 80"/>
                  <a:gd name="T27" fmla="*/ 51 h 51"/>
                  <a:gd name="T28" fmla="*/ 80 w 80"/>
                  <a:gd name="T29" fmla="*/ 51 h 51"/>
                  <a:gd name="T30" fmla="*/ 80 w 80"/>
                  <a:gd name="T31" fmla="*/ 51 h 51"/>
                  <a:gd name="T32" fmla="*/ 80 w 80"/>
                  <a:gd name="T33" fmla="*/ 0 h 51"/>
                  <a:gd name="T34" fmla="*/ 80 w 80"/>
                  <a:gd name="T35" fmla="*/ 0 h 51"/>
                  <a:gd name="T36" fmla="*/ 78 w 80"/>
                  <a:gd name="T37" fmla="*/ 0 h 51"/>
                  <a:gd name="T38" fmla="*/ 2 w 80"/>
                  <a:gd name="T39" fmla="*/ 0 h 51"/>
                  <a:gd name="T40" fmla="*/ 2 w 80"/>
                  <a:gd name="T41" fmla="*/ 0 h 51"/>
                  <a:gd name="T42" fmla="*/ 0 w 80"/>
                  <a:gd name="T43" fmla="*/ 0 h 51"/>
                  <a:gd name="T44" fmla="*/ 2 w 80"/>
                  <a:gd name="T45" fmla="*/ 0 h 51"/>
                  <a:gd name="T46" fmla="*/ 2 w 80"/>
                  <a:gd name="T4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51">
                    <a:moveTo>
                      <a:pt x="2" y="0"/>
                    </a:moveTo>
                    <a:lnTo>
                      <a:pt x="2" y="2"/>
                    </a:lnTo>
                    <a:lnTo>
                      <a:pt x="78" y="2"/>
                    </a:lnTo>
                    <a:lnTo>
                      <a:pt x="78" y="49"/>
                    </a:lnTo>
                    <a:lnTo>
                      <a:pt x="2" y="49"/>
                    </a:lnTo>
                    <a:lnTo>
                      <a:pt x="2" y="0"/>
                    </a:lnTo>
                    <a:lnTo>
                      <a:pt x="2" y="0"/>
                    </a:lnTo>
                    <a:lnTo>
                      <a:pt x="2" y="2"/>
                    </a:lnTo>
                    <a:lnTo>
                      <a:pt x="2" y="0"/>
                    </a:lnTo>
                    <a:lnTo>
                      <a:pt x="0" y="0"/>
                    </a:lnTo>
                    <a:lnTo>
                      <a:pt x="0" y="51"/>
                    </a:lnTo>
                    <a:lnTo>
                      <a:pt x="2" y="51"/>
                    </a:lnTo>
                    <a:lnTo>
                      <a:pt x="2" y="51"/>
                    </a:lnTo>
                    <a:lnTo>
                      <a:pt x="78" y="51"/>
                    </a:lnTo>
                    <a:lnTo>
                      <a:pt x="80" y="51"/>
                    </a:lnTo>
                    <a:lnTo>
                      <a:pt x="80" y="51"/>
                    </a:lnTo>
                    <a:lnTo>
                      <a:pt x="80" y="0"/>
                    </a:lnTo>
                    <a:lnTo>
                      <a:pt x="80" y="0"/>
                    </a:lnTo>
                    <a:lnTo>
                      <a:pt x="78" y="0"/>
                    </a:lnTo>
                    <a:lnTo>
                      <a:pt x="2" y="0"/>
                    </a:lnTo>
                    <a:lnTo>
                      <a:pt x="2" y="0"/>
                    </a:lnTo>
                    <a:lnTo>
                      <a:pt x="0" y="0"/>
                    </a:lnTo>
                    <a:lnTo>
                      <a:pt x="2"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Oval 332"/>
              <p:cNvSpPr>
                <a:spLocks noChangeArrowheads="1"/>
              </p:cNvSpPr>
              <p:nvPr/>
            </p:nvSpPr>
            <p:spPr bwMode="auto">
              <a:xfrm>
                <a:off x="7362" y="3890"/>
                <a:ext cx="10" cy="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5" name="Freeform 333"/>
              <p:cNvSpPr>
                <a:spLocks/>
              </p:cNvSpPr>
              <p:nvPr/>
            </p:nvSpPr>
            <p:spPr bwMode="auto">
              <a:xfrm>
                <a:off x="7330" y="3890"/>
                <a:ext cx="36" cy="10"/>
              </a:xfrm>
              <a:custGeom>
                <a:avLst/>
                <a:gdLst>
                  <a:gd name="T0" fmla="*/ 0 w 36"/>
                  <a:gd name="T1" fmla="*/ 10 h 10"/>
                  <a:gd name="T2" fmla="*/ 36 w 36"/>
                  <a:gd name="T3" fmla="*/ 10 h 10"/>
                  <a:gd name="T4" fmla="*/ 36 w 36"/>
                  <a:gd name="T5" fmla="*/ 0 h 10"/>
                  <a:gd name="T6" fmla="*/ 0 w 36"/>
                  <a:gd name="T7" fmla="*/ 0 h 10"/>
                  <a:gd name="T8" fmla="*/ 0 w 36"/>
                  <a:gd name="T9" fmla="*/ 10 h 10"/>
                  <a:gd name="T10" fmla="*/ 0 w 36"/>
                  <a:gd name="T11" fmla="*/ 10 h 10"/>
                </a:gdLst>
                <a:ahLst/>
                <a:cxnLst>
                  <a:cxn ang="0">
                    <a:pos x="T0" y="T1"/>
                  </a:cxn>
                  <a:cxn ang="0">
                    <a:pos x="T2" y="T3"/>
                  </a:cxn>
                  <a:cxn ang="0">
                    <a:pos x="T4" y="T5"/>
                  </a:cxn>
                  <a:cxn ang="0">
                    <a:pos x="T6" y="T7"/>
                  </a:cxn>
                  <a:cxn ang="0">
                    <a:pos x="T8" y="T9"/>
                  </a:cxn>
                  <a:cxn ang="0">
                    <a:pos x="T10" y="T11"/>
                  </a:cxn>
                </a:cxnLst>
                <a:rect l="0" t="0" r="r" b="b"/>
                <a:pathLst>
                  <a:path w="36" h="10">
                    <a:moveTo>
                      <a:pt x="0" y="10"/>
                    </a:moveTo>
                    <a:lnTo>
                      <a:pt x="36" y="10"/>
                    </a:lnTo>
                    <a:lnTo>
                      <a:pt x="36" y="0"/>
                    </a:lnTo>
                    <a:lnTo>
                      <a:pt x="0" y="0"/>
                    </a:lnTo>
                    <a:lnTo>
                      <a:pt x="0" y="10"/>
                    </a:lnTo>
                    <a:lnTo>
                      <a:pt x="0" y="1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6" name="Freeform 334"/>
              <p:cNvSpPr>
                <a:spLocks/>
              </p:cNvSpPr>
              <p:nvPr/>
            </p:nvSpPr>
            <p:spPr bwMode="auto">
              <a:xfrm>
                <a:off x="7330" y="3890"/>
                <a:ext cx="36" cy="10"/>
              </a:xfrm>
              <a:custGeom>
                <a:avLst/>
                <a:gdLst>
                  <a:gd name="T0" fmla="*/ 0 w 36"/>
                  <a:gd name="T1" fmla="*/ 10 h 10"/>
                  <a:gd name="T2" fmla="*/ 0 w 36"/>
                  <a:gd name="T3" fmla="*/ 10 h 10"/>
                  <a:gd name="T4" fmla="*/ 36 w 36"/>
                  <a:gd name="T5" fmla="*/ 10 h 10"/>
                  <a:gd name="T6" fmla="*/ 36 w 36"/>
                  <a:gd name="T7" fmla="*/ 10 h 10"/>
                  <a:gd name="T8" fmla="*/ 36 w 36"/>
                  <a:gd name="T9" fmla="*/ 10 h 10"/>
                  <a:gd name="T10" fmla="*/ 36 w 36"/>
                  <a:gd name="T11" fmla="*/ 0 h 10"/>
                  <a:gd name="T12" fmla="*/ 36 w 36"/>
                  <a:gd name="T13" fmla="*/ 0 h 10"/>
                  <a:gd name="T14" fmla="*/ 36 w 36"/>
                  <a:gd name="T15" fmla="*/ 0 h 10"/>
                  <a:gd name="T16" fmla="*/ 0 w 36"/>
                  <a:gd name="T17" fmla="*/ 0 h 10"/>
                  <a:gd name="T18" fmla="*/ 0 w 36"/>
                  <a:gd name="T19" fmla="*/ 0 h 10"/>
                  <a:gd name="T20" fmla="*/ 0 w 36"/>
                  <a:gd name="T21" fmla="*/ 0 h 10"/>
                  <a:gd name="T22" fmla="*/ 0 w 36"/>
                  <a:gd name="T23" fmla="*/ 10 h 10"/>
                  <a:gd name="T24" fmla="*/ 0 w 36"/>
                  <a:gd name="T25" fmla="*/ 10 h 10"/>
                  <a:gd name="T26" fmla="*/ 0 w 36"/>
                  <a:gd name="T27" fmla="*/ 10 h 10"/>
                  <a:gd name="T28" fmla="*/ 0 w 36"/>
                  <a:gd name="T29" fmla="*/ 10 h 10"/>
                  <a:gd name="T30" fmla="*/ 2 w 36"/>
                  <a:gd name="T31" fmla="*/ 10 h 10"/>
                  <a:gd name="T32" fmla="*/ 2 w 36"/>
                  <a:gd name="T33" fmla="*/ 2 h 10"/>
                  <a:gd name="T34" fmla="*/ 34 w 36"/>
                  <a:gd name="T35" fmla="*/ 2 h 10"/>
                  <a:gd name="T36" fmla="*/ 34 w 36"/>
                  <a:gd name="T37" fmla="*/ 8 h 10"/>
                  <a:gd name="T38" fmla="*/ 0 w 36"/>
                  <a:gd name="T39" fmla="*/ 8 h 10"/>
                  <a:gd name="T40" fmla="*/ 0 w 36"/>
                  <a:gd name="T41" fmla="*/ 10 h 10"/>
                  <a:gd name="T42" fmla="*/ 2 w 36"/>
                  <a:gd name="T43" fmla="*/ 10 h 10"/>
                  <a:gd name="T44" fmla="*/ 0 w 36"/>
                  <a:gd name="T45" fmla="*/ 10 h 10"/>
                  <a:gd name="T46" fmla="*/ 0 w 3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10">
                    <a:moveTo>
                      <a:pt x="0" y="10"/>
                    </a:moveTo>
                    <a:lnTo>
                      <a:pt x="0" y="10"/>
                    </a:lnTo>
                    <a:lnTo>
                      <a:pt x="36" y="10"/>
                    </a:lnTo>
                    <a:lnTo>
                      <a:pt x="36" y="10"/>
                    </a:lnTo>
                    <a:lnTo>
                      <a:pt x="36" y="10"/>
                    </a:lnTo>
                    <a:lnTo>
                      <a:pt x="36" y="0"/>
                    </a:lnTo>
                    <a:lnTo>
                      <a:pt x="36" y="0"/>
                    </a:lnTo>
                    <a:lnTo>
                      <a:pt x="36" y="0"/>
                    </a:lnTo>
                    <a:lnTo>
                      <a:pt x="0" y="0"/>
                    </a:lnTo>
                    <a:lnTo>
                      <a:pt x="0" y="0"/>
                    </a:lnTo>
                    <a:lnTo>
                      <a:pt x="0" y="0"/>
                    </a:lnTo>
                    <a:lnTo>
                      <a:pt x="0" y="10"/>
                    </a:lnTo>
                    <a:lnTo>
                      <a:pt x="0" y="10"/>
                    </a:lnTo>
                    <a:lnTo>
                      <a:pt x="0" y="10"/>
                    </a:lnTo>
                    <a:lnTo>
                      <a:pt x="0" y="10"/>
                    </a:lnTo>
                    <a:lnTo>
                      <a:pt x="2" y="10"/>
                    </a:lnTo>
                    <a:lnTo>
                      <a:pt x="2" y="2"/>
                    </a:lnTo>
                    <a:lnTo>
                      <a:pt x="34" y="2"/>
                    </a:lnTo>
                    <a:lnTo>
                      <a:pt x="34" y="8"/>
                    </a:lnTo>
                    <a:lnTo>
                      <a:pt x="0" y="8"/>
                    </a:lnTo>
                    <a:lnTo>
                      <a:pt x="0" y="10"/>
                    </a:lnTo>
                    <a:lnTo>
                      <a:pt x="2" y="10"/>
                    </a:lnTo>
                    <a:lnTo>
                      <a:pt x="0" y="10"/>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7" name="Freeform 335"/>
              <p:cNvSpPr>
                <a:spLocks/>
              </p:cNvSpPr>
              <p:nvPr/>
            </p:nvSpPr>
            <p:spPr bwMode="auto">
              <a:xfrm>
                <a:off x="7303" y="4058"/>
                <a:ext cx="71" cy="27"/>
              </a:xfrm>
              <a:custGeom>
                <a:avLst/>
                <a:gdLst>
                  <a:gd name="T0" fmla="*/ 71 w 71"/>
                  <a:gd name="T1" fmla="*/ 0 h 27"/>
                  <a:gd name="T2" fmla="*/ 0 w 71"/>
                  <a:gd name="T3" fmla="*/ 0 h 27"/>
                  <a:gd name="T4" fmla="*/ 0 w 71"/>
                  <a:gd name="T5" fmla="*/ 27 h 27"/>
                  <a:gd name="T6" fmla="*/ 71 w 71"/>
                  <a:gd name="T7" fmla="*/ 27 h 27"/>
                  <a:gd name="T8" fmla="*/ 71 w 71"/>
                  <a:gd name="T9" fmla="*/ 0 h 27"/>
                  <a:gd name="T10" fmla="*/ 71 w 71"/>
                  <a:gd name="T11" fmla="*/ 0 h 27"/>
                </a:gdLst>
                <a:ahLst/>
                <a:cxnLst>
                  <a:cxn ang="0">
                    <a:pos x="T0" y="T1"/>
                  </a:cxn>
                  <a:cxn ang="0">
                    <a:pos x="T2" y="T3"/>
                  </a:cxn>
                  <a:cxn ang="0">
                    <a:pos x="T4" y="T5"/>
                  </a:cxn>
                  <a:cxn ang="0">
                    <a:pos x="T6" y="T7"/>
                  </a:cxn>
                  <a:cxn ang="0">
                    <a:pos x="T8" y="T9"/>
                  </a:cxn>
                  <a:cxn ang="0">
                    <a:pos x="T10" y="T11"/>
                  </a:cxn>
                </a:cxnLst>
                <a:rect l="0" t="0" r="r" b="b"/>
                <a:pathLst>
                  <a:path w="71" h="27">
                    <a:moveTo>
                      <a:pt x="71" y="0"/>
                    </a:moveTo>
                    <a:lnTo>
                      <a:pt x="0" y="0"/>
                    </a:lnTo>
                    <a:lnTo>
                      <a:pt x="0" y="27"/>
                    </a:lnTo>
                    <a:lnTo>
                      <a:pt x="71" y="27"/>
                    </a:lnTo>
                    <a:lnTo>
                      <a:pt x="71" y="0"/>
                    </a:lnTo>
                    <a:lnTo>
                      <a:pt x="7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8" name="Freeform 336"/>
              <p:cNvSpPr>
                <a:spLocks/>
              </p:cNvSpPr>
              <p:nvPr/>
            </p:nvSpPr>
            <p:spPr bwMode="auto">
              <a:xfrm>
                <a:off x="7303" y="4058"/>
                <a:ext cx="71" cy="10"/>
              </a:xfrm>
              <a:custGeom>
                <a:avLst/>
                <a:gdLst>
                  <a:gd name="T0" fmla="*/ 0 w 71"/>
                  <a:gd name="T1" fmla="*/ 10 h 10"/>
                  <a:gd name="T2" fmla="*/ 71 w 71"/>
                  <a:gd name="T3" fmla="*/ 10 h 10"/>
                  <a:gd name="T4" fmla="*/ 71 w 71"/>
                  <a:gd name="T5" fmla="*/ 0 h 10"/>
                  <a:gd name="T6" fmla="*/ 0 w 71"/>
                  <a:gd name="T7" fmla="*/ 0 h 10"/>
                  <a:gd name="T8" fmla="*/ 0 w 71"/>
                  <a:gd name="T9" fmla="*/ 10 h 10"/>
                  <a:gd name="T10" fmla="*/ 0 w 71"/>
                  <a:gd name="T11" fmla="*/ 10 h 10"/>
                </a:gdLst>
                <a:ahLst/>
                <a:cxnLst>
                  <a:cxn ang="0">
                    <a:pos x="T0" y="T1"/>
                  </a:cxn>
                  <a:cxn ang="0">
                    <a:pos x="T2" y="T3"/>
                  </a:cxn>
                  <a:cxn ang="0">
                    <a:pos x="T4" y="T5"/>
                  </a:cxn>
                  <a:cxn ang="0">
                    <a:pos x="T6" y="T7"/>
                  </a:cxn>
                  <a:cxn ang="0">
                    <a:pos x="T8" y="T9"/>
                  </a:cxn>
                  <a:cxn ang="0">
                    <a:pos x="T10" y="T11"/>
                  </a:cxn>
                </a:cxnLst>
                <a:rect l="0" t="0" r="r" b="b"/>
                <a:pathLst>
                  <a:path w="71" h="10">
                    <a:moveTo>
                      <a:pt x="0" y="10"/>
                    </a:moveTo>
                    <a:lnTo>
                      <a:pt x="71" y="10"/>
                    </a:lnTo>
                    <a:lnTo>
                      <a:pt x="71" y="0"/>
                    </a:lnTo>
                    <a:lnTo>
                      <a:pt x="0" y="0"/>
                    </a:lnTo>
                    <a:lnTo>
                      <a:pt x="0" y="10"/>
                    </a:lnTo>
                    <a:lnTo>
                      <a:pt x="0" y="10"/>
                    </a:lnTo>
                    <a:close/>
                  </a:path>
                </a:pathLst>
              </a:custGeom>
              <a:solidFill>
                <a:srgbClr val="7B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9" name="Freeform 337"/>
              <p:cNvSpPr>
                <a:spLocks/>
              </p:cNvSpPr>
              <p:nvPr/>
            </p:nvSpPr>
            <p:spPr bwMode="auto">
              <a:xfrm>
                <a:off x="6975" y="4032"/>
                <a:ext cx="102" cy="18"/>
              </a:xfrm>
              <a:custGeom>
                <a:avLst/>
                <a:gdLst>
                  <a:gd name="T0" fmla="*/ 51 w 51"/>
                  <a:gd name="T1" fmla="*/ 3 h 9"/>
                  <a:gd name="T2" fmla="*/ 47 w 51"/>
                  <a:gd name="T3" fmla="*/ 1 h 9"/>
                  <a:gd name="T4" fmla="*/ 1 w 51"/>
                  <a:gd name="T5" fmla="*/ 9 h 9"/>
                  <a:gd name="T6" fmla="*/ 0 w 51"/>
                  <a:gd name="T7" fmla="*/ 9 h 9"/>
                  <a:gd name="T8" fmla="*/ 33 w 51"/>
                  <a:gd name="T9" fmla="*/ 9 h 9"/>
                  <a:gd name="T10" fmla="*/ 48 w 51"/>
                  <a:gd name="T11" fmla="*/ 7 h 9"/>
                  <a:gd name="T12" fmla="*/ 51 w 51"/>
                  <a:gd name="T13" fmla="*/ 4 h 9"/>
                  <a:gd name="T14" fmla="*/ 51 w 51"/>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9">
                    <a:moveTo>
                      <a:pt x="51" y="3"/>
                    </a:moveTo>
                    <a:cubicBezTo>
                      <a:pt x="51" y="1"/>
                      <a:pt x="49" y="0"/>
                      <a:pt x="47" y="1"/>
                    </a:cubicBezTo>
                    <a:cubicBezTo>
                      <a:pt x="47" y="1"/>
                      <a:pt x="47" y="1"/>
                      <a:pt x="1" y="9"/>
                    </a:cubicBezTo>
                    <a:cubicBezTo>
                      <a:pt x="0" y="9"/>
                      <a:pt x="0" y="9"/>
                      <a:pt x="0" y="9"/>
                    </a:cubicBezTo>
                    <a:cubicBezTo>
                      <a:pt x="33" y="9"/>
                      <a:pt x="33" y="9"/>
                      <a:pt x="33" y="9"/>
                    </a:cubicBezTo>
                    <a:cubicBezTo>
                      <a:pt x="38" y="9"/>
                      <a:pt x="43" y="8"/>
                      <a:pt x="48" y="7"/>
                    </a:cubicBezTo>
                    <a:cubicBezTo>
                      <a:pt x="50" y="7"/>
                      <a:pt x="51" y="5"/>
                      <a:pt x="51" y="4"/>
                    </a:cubicBezTo>
                    <a:lnTo>
                      <a:pt x="51" y="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0" name="Freeform 338"/>
              <p:cNvSpPr>
                <a:spLocks/>
              </p:cNvSpPr>
              <p:nvPr/>
            </p:nvSpPr>
            <p:spPr bwMode="auto">
              <a:xfrm>
                <a:off x="7534" y="4030"/>
                <a:ext cx="14" cy="14"/>
              </a:xfrm>
              <a:custGeom>
                <a:avLst/>
                <a:gdLst>
                  <a:gd name="T0" fmla="*/ 7 w 7"/>
                  <a:gd name="T1" fmla="*/ 5 h 7"/>
                  <a:gd name="T2" fmla="*/ 4 w 7"/>
                  <a:gd name="T3" fmla="*/ 7 h 7"/>
                  <a:gd name="T4" fmla="*/ 3 w 7"/>
                  <a:gd name="T5" fmla="*/ 7 h 7"/>
                  <a:gd name="T6" fmla="*/ 0 w 7"/>
                  <a:gd name="T7" fmla="*/ 5 h 7"/>
                  <a:gd name="T8" fmla="*/ 0 w 7"/>
                  <a:gd name="T9" fmla="*/ 3 h 7"/>
                  <a:gd name="T10" fmla="*/ 3 w 7"/>
                  <a:gd name="T11" fmla="*/ 0 h 7"/>
                  <a:gd name="T12" fmla="*/ 4 w 7"/>
                  <a:gd name="T13" fmla="*/ 0 h 7"/>
                  <a:gd name="T14" fmla="*/ 7 w 7"/>
                  <a:gd name="T15" fmla="*/ 3 h 7"/>
                  <a:gd name="T16" fmla="*/ 7 w 7"/>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5"/>
                    </a:moveTo>
                    <a:cubicBezTo>
                      <a:pt x="7" y="6"/>
                      <a:pt x="6" y="7"/>
                      <a:pt x="4" y="7"/>
                    </a:cubicBezTo>
                    <a:cubicBezTo>
                      <a:pt x="3" y="7"/>
                      <a:pt x="3" y="7"/>
                      <a:pt x="3" y="7"/>
                    </a:cubicBezTo>
                    <a:cubicBezTo>
                      <a:pt x="1" y="7"/>
                      <a:pt x="0" y="6"/>
                      <a:pt x="0" y="5"/>
                    </a:cubicBezTo>
                    <a:cubicBezTo>
                      <a:pt x="0" y="3"/>
                      <a:pt x="0" y="3"/>
                      <a:pt x="0" y="3"/>
                    </a:cubicBezTo>
                    <a:cubicBezTo>
                      <a:pt x="0" y="2"/>
                      <a:pt x="1" y="0"/>
                      <a:pt x="3" y="0"/>
                    </a:cubicBezTo>
                    <a:cubicBezTo>
                      <a:pt x="4" y="0"/>
                      <a:pt x="4" y="0"/>
                      <a:pt x="4" y="0"/>
                    </a:cubicBezTo>
                    <a:cubicBezTo>
                      <a:pt x="6" y="0"/>
                      <a:pt x="7" y="2"/>
                      <a:pt x="7" y="3"/>
                    </a:cubicBezTo>
                    <a:lnTo>
                      <a:pt x="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1" name="Freeform 339"/>
              <p:cNvSpPr>
                <a:spLocks/>
              </p:cNvSpPr>
              <p:nvPr/>
            </p:nvSpPr>
            <p:spPr bwMode="auto">
              <a:xfrm>
                <a:off x="7408" y="4030"/>
                <a:ext cx="148" cy="87"/>
              </a:xfrm>
              <a:custGeom>
                <a:avLst/>
                <a:gdLst>
                  <a:gd name="T0" fmla="*/ 8 w 148"/>
                  <a:gd name="T1" fmla="*/ 77 h 87"/>
                  <a:gd name="T2" fmla="*/ 8 w 148"/>
                  <a:gd name="T3" fmla="*/ 77 h 87"/>
                  <a:gd name="T4" fmla="*/ 58 w 148"/>
                  <a:gd name="T5" fmla="*/ 77 h 87"/>
                  <a:gd name="T6" fmla="*/ 132 w 148"/>
                  <a:gd name="T7" fmla="*/ 87 h 87"/>
                  <a:gd name="T8" fmla="*/ 132 w 148"/>
                  <a:gd name="T9" fmla="*/ 87 h 87"/>
                  <a:gd name="T10" fmla="*/ 148 w 148"/>
                  <a:gd name="T11" fmla="*/ 81 h 87"/>
                  <a:gd name="T12" fmla="*/ 148 w 148"/>
                  <a:gd name="T13" fmla="*/ 81 h 87"/>
                  <a:gd name="T14" fmla="*/ 148 w 148"/>
                  <a:gd name="T15" fmla="*/ 53 h 87"/>
                  <a:gd name="T16" fmla="*/ 148 w 148"/>
                  <a:gd name="T17" fmla="*/ 51 h 87"/>
                  <a:gd name="T18" fmla="*/ 142 w 148"/>
                  <a:gd name="T19" fmla="*/ 45 h 87"/>
                  <a:gd name="T20" fmla="*/ 128 w 148"/>
                  <a:gd name="T21" fmla="*/ 22 h 87"/>
                  <a:gd name="T22" fmla="*/ 128 w 148"/>
                  <a:gd name="T23" fmla="*/ 22 h 87"/>
                  <a:gd name="T24" fmla="*/ 106 w 148"/>
                  <a:gd name="T25" fmla="*/ 10 h 87"/>
                  <a:gd name="T26" fmla="*/ 106 w 148"/>
                  <a:gd name="T27" fmla="*/ 8 h 87"/>
                  <a:gd name="T28" fmla="*/ 76 w 148"/>
                  <a:gd name="T29" fmla="*/ 0 h 87"/>
                  <a:gd name="T30" fmla="*/ 76 w 148"/>
                  <a:gd name="T31" fmla="*/ 0 h 87"/>
                  <a:gd name="T32" fmla="*/ 0 w 148"/>
                  <a:gd name="T33" fmla="*/ 10 h 87"/>
                  <a:gd name="T34" fmla="*/ 0 w 148"/>
                  <a:gd name="T35" fmla="*/ 10 h 87"/>
                  <a:gd name="T36" fmla="*/ 0 w 148"/>
                  <a:gd name="T37" fmla="*/ 10 h 87"/>
                  <a:gd name="T38" fmla="*/ 18 w 148"/>
                  <a:gd name="T39" fmla="*/ 34 h 87"/>
                  <a:gd name="T40" fmla="*/ 8 w 148"/>
                  <a:gd name="T41" fmla="*/ 77 h 87"/>
                  <a:gd name="T42" fmla="*/ 8 w 148"/>
                  <a:gd name="T43" fmla="*/ 77 h 87"/>
                  <a:gd name="T44" fmla="*/ 8 w 148"/>
                  <a:gd name="T45" fmla="*/ 77 h 87"/>
                  <a:gd name="T46" fmla="*/ 8 w 148"/>
                  <a:gd name="T47" fmla="*/ 77 h 87"/>
                  <a:gd name="T48" fmla="*/ 10 w 148"/>
                  <a:gd name="T49" fmla="*/ 77 h 87"/>
                  <a:gd name="T50" fmla="*/ 18 w 148"/>
                  <a:gd name="T51" fmla="*/ 34 h 87"/>
                  <a:gd name="T52" fmla="*/ 18 w 148"/>
                  <a:gd name="T53" fmla="*/ 32 h 87"/>
                  <a:gd name="T54" fmla="*/ 2 w 148"/>
                  <a:gd name="T55" fmla="*/ 12 h 87"/>
                  <a:gd name="T56" fmla="*/ 76 w 148"/>
                  <a:gd name="T57" fmla="*/ 2 h 87"/>
                  <a:gd name="T58" fmla="*/ 106 w 148"/>
                  <a:gd name="T59" fmla="*/ 10 h 87"/>
                  <a:gd name="T60" fmla="*/ 126 w 148"/>
                  <a:gd name="T61" fmla="*/ 24 h 87"/>
                  <a:gd name="T62" fmla="*/ 140 w 148"/>
                  <a:gd name="T63" fmla="*/ 45 h 87"/>
                  <a:gd name="T64" fmla="*/ 140 w 148"/>
                  <a:gd name="T65" fmla="*/ 45 h 87"/>
                  <a:gd name="T66" fmla="*/ 146 w 148"/>
                  <a:gd name="T67" fmla="*/ 53 h 87"/>
                  <a:gd name="T68" fmla="*/ 146 w 148"/>
                  <a:gd name="T69" fmla="*/ 81 h 87"/>
                  <a:gd name="T70" fmla="*/ 132 w 148"/>
                  <a:gd name="T71" fmla="*/ 85 h 87"/>
                  <a:gd name="T72" fmla="*/ 58 w 148"/>
                  <a:gd name="T73" fmla="*/ 75 h 87"/>
                  <a:gd name="T74" fmla="*/ 58 w 148"/>
                  <a:gd name="T75" fmla="*/ 75 h 87"/>
                  <a:gd name="T76" fmla="*/ 8 w 148"/>
                  <a:gd name="T77" fmla="*/ 75 h 87"/>
                  <a:gd name="T78" fmla="*/ 8 w 148"/>
                  <a:gd name="T79" fmla="*/ 77 h 87"/>
                  <a:gd name="T80" fmla="*/ 10 w 148"/>
                  <a:gd name="T81" fmla="*/ 77 h 87"/>
                  <a:gd name="T82" fmla="*/ 8 w 148"/>
                  <a:gd name="T83" fmla="*/ 77 h 87"/>
                  <a:gd name="T84" fmla="*/ 8 w 148"/>
                  <a:gd name="T85" fmla="*/ 7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87">
                    <a:moveTo>
                      <a:pt x="8" y="77"/>
                    </a:moveTo>
                    <a:lnTo>
                      <a:pt x="8" y="77"/>
                    </a:lnTo>
                    <a:lnTo>
                      <a:pt x="58" y="77"/>
                    </a:lnTo>
                    <a:lnTo>
                      <a:pt x="132" y="87"/>
                    </a:lnTo>
                    <a:lnTo>
                      <a:pt x="132" y="87"/>
                    </a:lnTo>
                    <a:lnTo>
                      <a:pt x="148" y="81"/>
                    </a:lnTo>
                    <a:lnTo>
                      <a:pt x="148" y="81"/>
                    </a:lnTo>
                    <a:lnTo>
                      <a:pt x="148" y="53"/>
                    </a:lnTo>
                    <a:lnTo>
                      <a:pt x="148" y="51"/>
                    </a:lnTo>
                    <a:lnTo>
                      <a:pt x="142" y="45"/>
                    </a:lnTo>
                    <a:lnTo>
                      <a:pt x="128" y="22"/>
                    </a:lnTo>
                    <a:lnTo>
                      <a:pt x="128" y="22"/>
                    </a:lnTo>
                    <a:lnTo>
                      <a:pt x="106" y="10"/>
                    </a:lnTo>
                    <a:lnTo>
                      <a:pt x="106" y="8"/>
                    </a:lnTo>
                    <a:lnTo>
                      <a:pt x="76" y="0"/>
                    </a:lnTo>
                    <a:lnTo>
                      <a:pt x="76" y="0"/>
                    </a:lnTo>
                    <a:lnTo>
                      <a:pt x="0" y="10"/>
                    </a:lnTo>
                    <a:lnTo>
                      <a:pt x="0" y="10"/>
                    </a:lnTo>
                    <a:lnTo>
                      <a:pt x="0" y="10"/>
                    </a:lnTo>
                    <a:lnTo>
                      <a:pt x="18" y="34"/>
                    </a:lnTo>
                    <a:lnTo>
                      <a:pt x="8" y="77"/>
                    </a:lnTo>
                    <a:lnTo>
                      <a:pt x="8" y="77"/>
                    </a:lnTo>
                    <a:lnTo>
                      <a:pt x="8" y="77"/>
                    </a:lnTo>
                    <a:lnTo>
                      <a:pt x="8" y="77"/>
                    </a:lnTo>
                    <a:lnTo>
                      <a:pt x="10" y="77"/>
                    </a:lnTo>
                    <a:lnTo>
                      <a:pt x="18" y="34"/>
                    </a:lnTo>
                    <a:lnTo>
                      <a:pt x="18" y="32"/>
                    </a:lnTo>
                    <a:lnTo>
                      <a:pt x="2" y="12"/>
                    </a:lnTo>
                    <a:lnTo>
                      <a:pt x="76" y="2"/>
                    </a:lnTo>
                    <a:lnTo>
                      <a:pt x="106" y="10"/>
                    </a:lnTo>
                    <a:lnTo>
                      <a:pt x="126" y="24"/>
                    </a:lnTo>
                    <a:lnTo>
                      <a:pt x="140" y="45"/>
                    </a:lnTo>
                    <a:lnTo>
                      <a:pt x="140" y="45"/>
                    </a:lnTo>
                    <a:lnTo>
                      <a:pt x="146" y="53"/>
                    </a:lnTo>
                    <a:lnTo>
                      <a:pt x="146" y="81"/>
                    </a:lnTo>
                    <a:lnTo>
                      <a:pt x="132" y="85"/>
                    </a:lnTo>
                    <a:lnTo>
                      <a:pt x="58" y="75"/>
                    </a:lnTo>
                    <a:lnTo>
                      <a:pt x="58" y="75"/>
                    </a:lnTo>
                    <a:lnTo>
                      <a:pt x="8" y="75"/>
                    </a:lnTo>
                    <a:lnTo>
                      <a:pt x="8" y="77"/>
                    </a:lnTo>
                    <a:lnTo>
                      <a:pt x="10" y="77"/>
                    </a:lnTo>
                    <a:lnTo>
                      <a:pt x="8" y="77"/>
                    </a:lnTo>
                    <a:lnTo>
                      <a:pt x="8"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2" name="Freeform 340"/>
              <p:cNvSpPr>
                <a:spLocks noEditPoints="1"/>
              </p:cNvSpPr>
              <p:nvPr/>
            </p:nvSpPr>
            <p:spPr bwMode="auto">
              <a:xfrm>
                <a:off x="7516" y="3970"/>
                <a:ext cx="50" cy="147"/>
              </a:xfrm>
              <a:custGeom>
                <a:avLst/>
                <a:gdLst>
                  <a:gd name="T0" fmla="*/ 13 w 25"/>
                  <a:gd name="T1" fmla="*/ 38 h 73"/>
                  <a:gd name="T2" fmla="*/ 10 w 25"/>
                  <a:gd name="T3" fmla="*/ 41 h 73"/>
                  <a:gd name="T4" fmla="*/ 2 w 25"/>
                  <a:gd name="T5" fmla="*/ 35 h 73"/>
                  <a:gd name="T6" fmla="*/ 0 w 25"/>
                  <a:gd name="T7" fmla="*/ 28 h 73"/>
                  <a:gd name="T8" fmla="*/ 0 w 25"/>
                  <a:gd name="T9" fmla="*/ 3 h 73"/>
                  <a:gd name="T10" fmla="*/ 2 w 25"/>
                  <a:gd name="T11" fmla="*/ 0 h 73"/>
                  <a:gd name="T12" fmla="*/ 10 w 25"/>
                  <a:gd name="T13" fmla="*/ 0 h 73"/>
                  <a:gd name="T14" fmla="*/ 13 w 25"/>
                  <a:gd name="T15" fmla="*/ 3 h 73"/>
                  <a:gd name="T16" fmla="*/ 13 w 25"/>
                  <a:gd name="T17" fmla="*/ 38 h 73"/>
                  <a:gd name="T18" fmla="*/ 18 w 25"/>
                  <a:gd name="T19" fmla="*/ 73 h 73"/>
                  <a:gd name="T20" fmla="*/ 22 w 25"/>
                  <a:gd name="T21" fmla="*/ 73 h 73"/>
                  <a:gd name="T22" fmla="*/ 25 w 25"/>
                  <a:gd name="T23" fmla="*/ 70 h 73"/>
                  <a:gd name="T24" fmla="*/ 25 w 25"/>
                  <a:gd name="T25" fmla="*/ 59 h 73"/>
                  <a:gd name="T26" fmla="*/ 22 w 25"/>
                  <a:gd name="T27" fmla="*/ 56 h 73"/>
                  <a:gd name="T28" fmla="*/ 18 w 25"/>
                  <a:gd name="T29" fmla="*/ 56 h 73"/>
                  <a:gd name="T30" fmla="*/ 18 w 25"/>
                  <a:gd name="T3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73">
                    <a:moveTo>
                      <a:pt x="13" y="38"/>
                    </a:moveTo>
                    <a:cubicBezTo>
                      <a:pt x="13" y="40"/>
                      <a:pt x="12" y="41"/>
                      <a:pt x="10" y="41"/>
                    </a:cubicBezTo>
                    <a:cubicBezTo>
                      <a:pt x="2" y="35"/>
                      <a:pt x="2" y="35"/>
                      <a:pt x="2" y="35"/>
                    </a:cubicBezTo>
                    <a:cubicBezTo>
                      <a:pt x="1" y="35"/>
                      <a:pt x="0" y="30"/>
                      <a:pt x="0" y="28"/>
                    </a:cubicBezTo>
                    <a:cubicBezTo>
                      <a:pt x="0" y="3"/>
                      <a:pt x="0" y="3"/>
                      <a:pt x="0" y="3"/>
                    </a:cubicBezTo>
                    <a:cubicBezTo>
                      <a:pt x="0" y="2"/>
                      <a:pt x="1" y="0"/>
                      <a:pt x="2" y="0"/>
                    </a:cubicBezTo>
                    <a:cubicBezTo>
                      <a:pt x="10" y="0"/>
                      <a:pt x="10" y="0"/>
                      <a:pt x="10" y="0"/>
                    </a:cubicBezTo>
                    <a:cubicBezTo>
                      <a:pt x="12" y="0"/>
                      <a:pt x="13" y="2"/>
                      <a:pt x="13" y="3"/>
                    </a:cubicBezTo>
                    <a:cubicBezTo>
                      <a:pt x="13" y="38"/>
                      <a:pt x="13" y="38"/>
                      <a:pt x="13" y="38"/>
                    </a:cubicBezTo>
                    <a:moveTo>
                      <a:pt x="18" y="73"/>
                    </a:moveTo>
                    <a:cubicBezTo>
                      <a:pt x="18" y="73"/>
                      <a:pt x="18" y="73"/>
                      <a:pt x="22" y="73"/>
                    </a:cubicBezTo>
                    <a:cubicBezTo>
                      <a:pt x="24" y="73"/>
                      <a:pt x="25" y="72"/>
                      <a:pt x="25" y="70"/>
                    </a:cubicBezTo>
                    <a:cubicBezTo>
                      <a:pt x="25" y="70"/>
                      <a:pt x="25" y="70"/>
                      <a:pt x="25" y="59"/>
                    </a:cubicBezTo>
                    <a:cubicBezTo>
                      <a:pt x="25" y="57"/>
                      <a:pt x="24" y="56"/>
                      <a:pt x="22" y="56"/>
                    </a:cubicBezTo>
                    <a:cubicBezTo>
                      <a:pt x="22" y="56"/>
                      <a:pt x="22" y="56"/>
                      <a:pt x="18" y="56"/>
                    </a:cubicBezTo>
                    <a:lnTo>
                      <a:pt x="18" y="7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3" name="Freeform 341"/>
              <p:cNvSpPr>
                <a:spLocks/>
              </p:cNvSpPr>
              <p:nvPr/>
            </p:nvSpPr>
            <p:spPr bwMode="auto">
              <a:xfrm>
                <a:off x="7400" y="4077"/>
                <a:ext cx="0" cy="10"/>
              </a:xfrm>
              <a:custGeom>
                <a:avLst/>
                <a:gdLst>
                  <a:gd name="T0" fmla="*/ 0 h 5"/>
                  <a:gd name="T1" fmla="*/ 5 h 5"/>
                  <a:gd name="T2" fmla="*/ 5 h 5"/>
                  <a:gd name="T3" fmla="*/ 0 h 5"/>
                </a:gdLst>
                <a:ahLst/>
                <a:cxnLst>
                  <a:cxn ang="0">
                    <a:pos x="0" y="T0"/>
                  </a:cxn>
                  <a:cxn ang="0">
                    <a:pos x="0" y="T1"/>
                  </a:cxn>
                  <a:cxn ang="0">
                    <a:pos x="0" y="T2"/>
                  </a:cxn>
                  <a:cxn ang="0">
                    <a:pos x="0" y="T3"/>
                  </a:cxn>
                </a:cxnLst>
                <a:rect l="0" t="0" r="r" b="b"/>
                <a:pathLst>
                  <a:path h="5">
                    <a:moveTo>
                      <a:pt x="0" y="0"/>
                    </a:moveTo>
                    <a:cubicBezTo>
                      <a:pt x="0" y="1"/>
                      <a:pt x="0" y="3"/>
                      <a:pt x="0" y="5"/>
                    </a:cubicBezTo>
                    <a:cubicBezTo>
                      <a:pt x="0" y="5"/>
                      <a:pt x="0" y="5"/>
                      <a:pt x="0" y="5"/>
                    </a:cubicBezTo>
                    <a:cubicBezTo>
                      <a:pt x="0" y="3"/>
                      <a:pt x="0" y="1"/>
                      <a:pt x="0" y="0"/>
                    </a:cubicBezTo>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4" name="Freeform 342"/>
              <p:cNvSpPr>
                <a:spLocks/>
              </p:cNvSpPr>
              <p:nvPr/>
            </p:nvSpPr>
            <p:spPr bwMode="auto">
              <a:xfrm>
                <a:off x="7530" y="3970"/>
                <a:ext cx="0" cy="74"/>
              </a:xfrm>
              <a:custGeom>
                <a:avLst/>
                <a:gdLst>
                  <a:gd name="T0" fmla="*/ 0 h 37"/>
                  <a:gd name="T1" fmla="*/ 0 h 37"/>
                  <a:gd name="T2" fmla="*/ 37 h 37"/>
                  <a:gd name="T3" fmla="*/ 37 h 37"/>
                  <a:gd name="T4" fmla="*/ 0 h 37"/>
                </a:gdLst>
                <a:ahLst/>
                <a:cxnLst>
                  <a:cxn ang="0">
                    <a:pos x="0" y="T0"/>
                  </a:cxn>
                  <a:cxn ang="0">
                    <a:pos x="0" y="T1"/>
                  </a:cxn>
                  <a:cxn ang="0">
                    <a:pos x="0" y="T2"/>
                  </a:cxn>
                  <a:cxn ang="0">
                    <a:pos x="0" y="T3"/>
                  </a:cxn>
                  <a:cxn ang="0">
                    <a:pos x="0" y="T4"/>
                  </a:cxn>
                </a:cxnLst>
                <a:rect l="0" t="0" r="r" b="b"/>
                <a:pathLst>
                  <a:path h="37">
                    <a:moveTo>
                      <a:pt x="0" y="0"/>
                    </a:moveTo>
                    <a:cubicBezTo>
                      <a:pt x="0" y="0"/>
                      <a:pt x="0" y="0"/>
                      <a:pt x="0" y="0"/>
                    </a:cubicBezTo>
                    <a:cubicBezTo>
                      <a:pt x="0" y="0"/>
                      <a:pt x="0" y="0"/>
                      <a:pt x="0" y="37"/>
                    </a:cubicBezTo>
                    <a:cubicBezTo>
                      <a:pt x="0" y="37"/>
                      <a:pt x="0" y="37"/>
                      <a:pt x="0" y="37"/>
                    </a:cubicBezTo>
                    <a:cubicBezTo>
                      <a:pt x="0" y="0"/>
                      <a:pt x="0" y="0"/>
                      <a:pt x="0" y="0"/>
                    </a:cubicBezTo>
                  </a:path>
                </a:pathLst>
              </a:custGeom>
              <a:solidFill>
                <a:srgbClr val="80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5" name="Freeform 343"/>
              <p:cNvSpPr>
                <a:spLocks noEditPoints="1"/>
              </p:cNvSpPr>
              <p:nvPr/>
            </p:nvSpPr>
            <p:spPr bwMode="auto">
              <a:xfrm>
                <a:off x="7151" y="3848"/>
                <a:ext cx="379" cy="265"/>
              </a:xfrm>
              <a:custGeom>
                <a:avLst/>
                <a:gdLst>
                  <a:gd name="T0" fmla="*/ 135 w 189"/>
                  <a:gd name="T1" fmla="*/ 61 h 132"/>
                  <a:gd name="T2" fmla="*/ 130 w 189"/>
                  <a:gd name="T3" fmla="*/ 61 h 132"/>
                  <a:gd name="T4" fmla="*/ 123 w 189"/>
                  <a:gd name="T5" fmla="*/ 56 h 132"/>
                  <a:gd name="T6" fmla="*/ 113 w 189"/>
                  <a:gd name="T7" fmla="*/ 32 h 132"/>
                  <a:gd name="T8" fmla="*/ 120 w 189"/>
                  <a:gd name="T9" fmla="*/ 32 h 132"/>
                  <a:gd name="T10" fmla="*/ 92 w 189"/>
                  <a:gd name="T11" fmla="*/ 21 h 132"/>
                  <a:gd name="T12" fmla="*/ 69 w 189"/>
                  <a:gd name="T13" fmla="*/ 21 h 132"/>
                  <a:gd name="T14" fmla="*/ 64 w 189"/>
                  <a:gd name="T15" fmla="*/ 30 h 132"/>
                  <a:gd name="T16" fmla="*/ 0 w 189"/>
                  <a:gd name="T17" fmla="*/ 0 h 132"/>
                  <a:gd name="T18" fmla="*/ 0 w 189"/>
                  <a:gd name="T19" fmla="*/ 105 h 132"/>
                  <a:gd name="T20" fmla="*/ 110 w 189"/>
                  <a:gd name="T21" fmla="*/ 105 h 132"/>
                  <a:gd name="T22" fmla="*/ 117 w 189"/>
                  <a:gd name="T23" fmla="*/ 105 h 132"/>
                  <a:gd name="T24" fmla="*/ 119 w 189"/>
                  <a:gd name="T25" fmla="*/ 105 h 132"/>
                  <a:gd name="T26" fmla="*/ 120 w 189"/>
                  <a:gd name="T27" fmla="*/ 105 h 132"/>
                  <a:gd name="T28" fmla="*/ 121 w 189"/>
                  <a:gd name="T29" fmla="*/ 106 h 132"/>
                  <a:gd name="T30" fmla="*/ 121 w 189"/>
                  <a:gd name="T31" fmla="*/ 106 h 132"/>
                  <a:gd name="T32" fmla="*/ 122 w 189"/>
                  <a:gd name="T33" fmla="*/ 107 h 132"/>
                  <a:gd name="T34" fmla="*/ 122 w 189"/>
                  <a:gd name="T35" fmla="*/ 107 h 132"/>
                  <a:gd name="T36" fmla="*/ 123 w 189"/>
                  <a:gd name="T37" fmla="*/ 109 h 132"/>
                  <a:gd name="T38" fmla="*/ 123 w 189"/>
                  <a:gd name="T39" fmla="*/ 109 h 132"/>
                  <a:gd name="T40" fmla="*/ 123 w 189"/>
                  <a:gd name="T41" fmla="*/ 111 h 132"/>
                  <a:gd name="T42" fmla="*/ 124 w 189"/>
                  <a:gd name="T43" fmla="*/ 112 h 132"/>
                  <a:gd name="T44" fmla="*/ 124 w 189"/>
                  <a:gd name="T45" fmla="*/ 112 h 132"/>
                  <a:gd name="T46" fmla="*/ 124 w 189"/>
                  <a:gd name="T47" fmla="*/ 114 h 132"/>
                  <a:gd name="T48" fmla="*/ 124 w 189"/>
                  <a:gd name="T49" fmla="*/ 119 h 132"/>
                  <a:gd name="T50" fmla="*/ 124 w 189"/>
                  <a:gd name="T51" fmla="*/ 132 h 132"/>
                  <a:gd name="T52" fmla="*/ 135 w 189"/>
                  <a:gd name="T53" fmla="*/ 132 h 132"/>
                  <a:gd name="T54" fmla="*/ 135 w 189"/>
                  <a:gd name="T55" fmla="*/ 130 h 132"/>
                  <a:gd name="T56" fmla="*/ 135 w 189"/>
                  <a:gd name="T57" fmla="*/ 130 h 132"/>
                  <a:gd name="T58" fmla="*/ 161 w 189"/>
                  <a:gd name="T59" fmla="*/ 95 h 132"/>
                  <a:gd name="T60" fmla="*/ 164 w 189"/>
                  <a:gd name="T61" fmla="*/ 94 h 132"/>
                  <a:gd name="T62" fmla="*/ 165 w 189"/>
                  <a:gd name="T63" fmla="*/ 94 h 132"/>
                  <a:gd name="T64" fmla="*/ 171 w 189"/>
                  <a:gd name="T65" fmla="*/ 94 h 132"/>
                  <a:gd name="T66" fmla="*/ 189 w 189"/>
                  <a:gd name="T67" fmla="*/ 98 h 132"/>
                  <a:gd name="T68" fmla="*/ 189 w 189"/>
                  <a:gd name="T69" fmla="*/ 61 h 132"/>
                  <a:gd name="T70" fmla="*/ 135 w 189"/>
                  <a:gd name="T71" fmla="*/ 61 h 132"/>
                  <a:gd name="T72" fmla="*/ 83 w 189"/>
                  <a:gd name="T73" fmla="*/ 58 h 132"/>
                  <a:gd name="T74" fmla="*/ 80 w 189"/>
                  <a:gd name="T75" fmla="*/ 55 h 132"/>
                  <a:gd name="T76" fmla="*/ 80 w 189"/>
                  <a:gd name="T77" fmla="*/ 38 h 132"/>
                  <a:gd name="T78" fmla="*/ 83 w 189"/>
                  <a:gd name="T79" fmla="*/ 35 h 132"/>
                  <a:gd name="T80" fmla="*/ 106 w 189"/>
                  <a:gd name="T81" fmla="*/ 35 h 132"/>
                  <a:gd name="T82" fmla="*/ 108 w 189"/>
                  <a:gd name="T83" fmla="*/ 38 h 132"/>
                  <a:gd name="T84" fmla="*/ 113 w 189"/>
                  <a:gd name="T85" fmla="*/ 55 h 132"/>
                  <a:gd name="T86" fmla="*/ 110 w 189"/>
                  <a:gd name="T87" fmla="*/ 58 h 132"/>
                  <a:gd name="T88" fmla="*/ 83 w 189"/>
                  <a:gd name="T89" fmla="*/ 5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132">
                    <a:moveTo>
                      <a:pt x="135" y="61"/>
                    </a:moveTo>
                    <a:cubicBezTo>
                      <a:pt x="132" y="61"/>
                      <a:pt x="130" y="61"/>
                      <a:pt x="130" y="61"/>
                    </a:cubicBezTo>
                    <a:cubicBezTo>
                      <a:pt x="126" y="61"/>
                      <a:pt x="125" y="58"/>
                      <a:pt x="123" y="56"/>
                    </a:cubicBezTo>
                    <a:cubicBezTo>
                      <a:pt x="120" y="49"/>
                      <a:pt x="113" y="32"/>
                      <a:pt x="113" y="32"/>
                    </a:cubicBezTo>
                    <a:cubicBezTo>
                      <a:pt x="120" y="32"/>
                      <a:pt x="120" y="32"/>
                      <a:pt x="120" y="32"/>
                    </a:cubicBezTo>
                    <a:cubicBezTo>
                      <a:pt x="120" y="32"/>
                      <a:pt x="108" y="21"/>
                      <a:pt x="92" y="21"/>
                    </a:cubicBezTo>
                    <a:cubicBezTo>
                      <a:pt x="76" y="21"/>
                      <a:pt x="69" y="21"/>
                      <a:pt x="69" y="21"/>
                    </a:cubicBezTo>
                    <a:cubicBezTo>
                      <a:pt x="69" y="21"/>
                      <a:pt x="64" y="23"/>
                      <a:pt x="64" y="30"/>
                    </a:cubicBezTo>
                    <a:cubicBezTo>
                      <a:pt x="64" y="21"/>
                      <a:pt x="60" y="0"/>
                      <a:pt x="0" y="0"/>
                    </a:cubicBezTo>
                    <a:cubicBezTo>
                      <a:pt x="0" y="4"/>
                      <a:pt x="0" y="105"/>
                      <a:pt x="0" y="105"/>
                    </a:cubicBezTo>
                    <a:cubicBezTo>
                      <a:pt x="0" y="105"/>
                      <a:pt x="84" y="105"/>
                      <a:pt x="110" y="105"/>
                    </a:cubicBezTo>
                    <a:cubicBezTo>
                      <a:pt x="113" y="105"/>
                      <a:pt x="116" y="105"/>
                      <a:pt x="117" y="105"/>
                    </a:cubicBezTo>
                    <a:cubicBezTo>
                      <a:pt x="118" y="105"/>
                      <a:pt x="118" y="105"/>
                      <a:pt x="119" y="105"/>
                    </a:cubicBezTo>
                    <a:cubicBezTo>
                      <a:pt x="119" y="105"/>
                      <a:pt x="119" y="105"/>
                      <a:pt x="120" y="105"/>
                    </a:cubicBezTo>
                    <a:cubicBezTo>
                      <a:pt x="120" y="105"/>
                      <a:pt x="120" y="105"/>
                      <a:pt x="121" y="106"/>
                    </a:cubicBezTo>
                    <a:cubicBezTo>
                      <a:pt x="121" y="106"/>
                      <a:pt x="121" y="106"/>
                      <a:pt x="121" y="106"/>
                    </a:cubicBezTo>
                    <a:cubicBezTo>
                      <a:pt x="122" y="106"/>
                      <a:pt x="122" y="107"/>
                      <a:pt x="122" y="107"/>
                    </a:cubicBezTo>
                    <a:cubicBezTo>
                      <a:pt x="122" y="107"/>
                      <a:pt x="122" y="107"/>
                      <a:pt x="122" y="107"/>
                    </a:cubicBezTo>
                    <a:cubicBezTo>
                      <a:pt x="123" y="108"/>
                      <a:pt x="123" y="108"/>
                      <a:pt x="123" y="109"/>
                    </a:cubicBezTo>
                    <a:cubicBezTo>
                      <a:pt x="123" y="109"/>
                      <a:pt x="123" y="109"/>
                      <a:pt x="123" y="109"/>
                    </a:cubicBezTo>
                    <a:cubicBezTo>
                      <a:pt x="123" y="110"/>
                      <a:pt x="123" y="110"/>
                      <a:pt x="123" y="111"/>
                    </a:cubicBezTo>
                    <a:cubicBezTo>
                      <a:pt x="123" y="111"/>
                      <a:pt x="124" y="111"/>
                      <a:pt x="124" y="112"/>
                    </a:cubicBezTo>
                    <a:cubicBezTo>
                      <a:pt x="124" y="112"/>
                      <a:pt x="124" y="112"/>
                      <a:pt x="124" y="112"/>
                    </a:cubicBezTo>
                    <a:cubicBezTo>
                      <a:pt x="124" y="113"/>
                      <a:pt x="124" y="113"/>
                      <a:pt x="124" y="114"/>
                    </a:cubicBezTo>
                    <a:cubicBezTo>
                      <a:pt x="124" y="115"/>
                      <a:pt x="124" y="117"/>
                      <a:pt x="124" y="119"/>
                    </a:cubicBezTo>
                    <a:cubicBezTo>
                      <a:pt x="124" y="132"/>
                      <a:pt x="124" y="132"/>
                      <a:pt x="124" y="132"/>
                    </a:cubicBezTo>
                    <a:cubicBezTo>
                      <a:pt x="135" y="132"/>
                      <a:pt x="135" y="132"/>
                      <a:pt x="135" y="132"/>
                    </a:cubicBezTo>
                    <a:cubicBezTo>
                      <a:pt x="135" y="132"/>
                      <a:pt x="135" y="131"/>
                      <a:pt x="135" y="130"/>
                    </a:cubicBezTo>
                    <a:cubicBezTo>
                      <a:pt x="135" y="130"/>
                      <a:pt x="135" y="130"/>
                      <a:pt x="135" y="130"/>
                    </a:cubicBezTo>
                    <a:cubicBezTo>
                      <a:pt x="135" y="123"/>
                      <a:pt x="137" y="100"/>
                      <a:pt x="161" y="95"/>
                    </a:cubicBezTo>
                    <a:cubicBezTo>
                      <a:pt x="162" y="94"/>
                      <a:pt x="163" y="94"/>
                      <a:pt x="164" y="94"/>
                    </a:cubicBezTo>
                    <a:cubicBezTo>
                      <a:pt x="165" y="94"/>
                      <a:pt x="165" y="94"/>
                      <a:pt x="165" y="94"/>
                    </a:cubicBezTo>
                    <a:cubicBezTo>
                      <a:pt x="167" y="94"/>
                      <a:pt x="169" y="94"/>
                      <a:pt x="171" y="94"/>
                    </a:cubicBezTo>
                    <a:cubicBezTo>
                      <a:pt x="181" y="94"/>
                      <a:pt x="189" y="98"/>
                      <a:pt x="189" y="98"/>
                    </a:cubicBezTo>
                    <a:cubicBezTo>
                      <a:pt x="189" y="61"/>
                      <a:pt x="189" y="61"/>
                      <a:pt x="189" y="61"/>
                    </a:cubicBezTo>
                    <a:cubicBezTo>
                      <a:pt x="189" y="61"/>
                      <a:pt x="149" y="61"/>
                      <a:pt x="135" y="61"/>
                    </a:cubicBezTo>
                    <a:close/>
                    <a:moveTo>
                      <a:pt x="83" y="58"/>
                    </a:moveTo>
                    <a:cubicBezTo>
                      <a:pt x="81" y="58"/>
                      <a:pt x="80" y="57"/>
                      <a:pt x="80" y="55"/>
                    </a:cubicBezTo>
                    <a:cubicBezTo>
                      <a:pt x="80" y="38"/>
                      <a:pt x="80" y="38"/>
                      <a:pt x="80" y="38"/>
                    </a:cubicBezTo>
                    <a:cubicBezTo>
                      <a:pt x="80" y="37"/>
                      <a:pt x="81" y="35"/>
                      <a:pt x="83" y="35"/>
                    </a:cubicBezTo>
                    <a:cubicBezTo>
                      <a:pt x="106" y="35"/>
                      <a:pt x="106" y="35"/>
                      <a:pt x="106" y="35"/>
                    </a:cubicBezTo>
                    <a:cubicBezTo>
                      <a:pt x="107" y="35"/>
                      <a:pt x="108" y="37"/>
                      <a:pt x="108" y="38"/>
                    </a:cubicBezTo>
                    <a:cubicBezTo>
                      <a:pt x="113" y="55"/>
                      <a:pt x="113" y="55"/>
                      <a:pt x="113" y="55"/>
                    </a:cubicBezTo>
                    <a:cubicBezTo>
                      <a:pt x="113" y="57"/>
                      <a:pt x="112" y="58"/>
                      <a:pt x="110" y="58"/>
                    </a:cubicBezTo>
                    <a:cubicBezTo>
                      <a:pt x="83" y="58"/>
                      <a:pt x="83" y="58"/>
                      <a:pt x="83" y="58"/>
                    </a:cubicBez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6" name="Freeform 344"/>
              <p:cNvSpPr>
                <a:spLocks/>
              </p:cNvSpPr>
              <p:nvPr/>
            </p:nvSpPr>
            <p:spPr bwMode="auto">
              <a:xfrm>
                <a:off x="7346" y="3912"/>
                <a:ext cx="22" cy="68"/>
              </a:xfrm>
              <a:custGeom>
                <a:avLst/>
                <a:gdLst>
                  <a:gd name="T0" fmla="*/ 8 w 11"/>
                  <a:gd name="T1" fmla="*/ 0 h 34"/>
                  <a:gd name="T2" fmla="*/ 0 w 11"/>
                  <a:gd name="T3" fmla="*/ 0 h 34"/>
                  <a:gd name="T4" fmla="*/ 0 w 11"/>
                  <a:gd name="T5" fmla="*/ 1 h 34"/>
                  <a:gd name="T6" fmla="*/ 8 w 11"/>
                  <a:gd name="T7" fmla="*/ 1 h 34"/>
                  <a:gd name="T8" fmla="*/ 10 w 11"/>
                  <a:gd name="T9" fmla="*/ 3 h 34"/>
                  <a:gd name="T10" fmla="*/ 6 w 11"/>
                  <a:gd name="T11" fmla="*/ 3 h 34"/>
                  <a:gd name="T12" fmla="*/ 6 w 11"/>
                  <a:gd name="T13" fmla="*/ 24 h 34"/>
                  <a:gd name="T14" fmla="*/ 10 w 11"/>
                  <a:gd name="T15" fmla="*/ 24 h 34"/>
                  <a:gd name="T16" fmla="*/ 10 w 11"/>
                  <a:gd name="T17" fmla="*/ 26 h 34"/>
                  <a:gd name="T18" fmla="*/ 8 w 11"/>
                  <a:gd name="T19" fmla="*/ 28 h 34"/>
                  <a:gd name="T20" fmla="*/ 7 w 11"/>
                  <a:gd name="T21" fmla="*/ 28 h 34"/>
                  <a:gd name="T22" fmla="*/ 5 w 11"/>
                  <a:gd name="T23" fmla="*/ 24 h 34"/>
                  <a:gd name="T24" fmla="*/ 3 w 11"/>
                  <a:gd name="T25" fmla="*/ 28 h 34"/>
                  <a:gd name="T26" fmla="*/ 0 w 11"/>
                  <a:gd name="T27" fmla="*/ 28 h 34"/>
                  <a:gd name="T28" fmla="*/ 0 w 11"/>
                  <a:gd name="T29" fmla="*/ 30 h 34"/>
                  <a:gd name="T30" fmla="*/ 3 w 11"/>
                  <a:gd name="T31" fmla="*/ 30 h 34"/>
                  <a:gd name="T32" fmla="*/ 5 w 11"/>
                  <a:gd name="T33" fmla="*/ 34 h 34"/>
                  <a:gd name="T34" fmla="*/ 7 w 11"/>
                  <a:gd name="T35" fmla="*/ 30 h 34"/>
                  <a:gd name="T36" fmla="*/ 8 w 11"/>
                  <a:gd name="T37" fmla="*/ 30 h 34"/>
                  <a:gd name="T38" fmla="*/ 11 w 11"/>
                  <a:gd name="T39" fmla="*/ 26 h 34"/>
                  <a:gd name="T40" fmla="*/ 11 w 11"/>
                  <a:gd name="T41" fmla="*/ 3 h 34"/>
                  <a:gd name="T42" fmla="*/ 8 w 11"/>
                  <a:gd name="T4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34">
                    <a:moveTo>
                      <a:pt x="8" y="0"/>
                    </a:moveTo>
                    <a:cubicBezTo>
                      <a:pt x="8" y="0"/>
                      <a:pt x="8" y="0"/>
                      <a:pt x="0" y="0"/>
                    </a:cubicBezTo>
                    <a:cubicBezTo>
                      <a:pt x="0" y="0"/>
                      <a:pt x="0" y="0"/>
                      <a:pt x="0" y="1"/>
                    </a:cubicBezTo>
                    <a:cubicBezTo>
                      <a:pt x="0" y="1"/>
                      <a:pt x="0" y="1"/>
                      <a:pt x="8" y="1"/>
                    </a:cubicBezTo>
                    <a:cubicBezTo>
                      <a:pt x="9" y="1"/>
                      <a:pt x="10" y="2"/>
                      <a:pt x="10" y="3"/>
                    </a:cubicBezTo>
                    <a:cubicBezTo>
                      <a:pt x="6" y="3"/>
                      <a:pt x="6" y="3"/>
                      <a:pt x="6" y="3"/>
                    </a:cubicBezTo>
                    <a:cubicBezTo>
                      <a:pt x="6" y="24"/>
                      <a:pt x="6" y="24"/>
                      <a:pt x="6" y="24"/>
                    </a:cubicBezTo>
                    <a:cubicBezTo>
                      <a:pt x="10" y="24"/>
                      <a:pt x="10" y="24"/>
                      <a:pt x="10" y="24"/>
                    </a:cubicBezTo>
                    <a:cubicBezTo>
                      <a:pt x="10" y="24"/>
                      <a:pt x="10" y="25"/>
                      <a:pt x="10" y="26"/>
                    </a:cubicBezTo>
                    <a:cubicBezTo>
                      <a:pt x="10" y="27"/>
                      <a:pt x="9" y="28"/>
                      <a:pt x="8" y="28"/>
                    </a:cubicBezTo>
                    <a:cubicBezTo>
                      <a:pt x="8" y="28"/>
                      <a:pt x="8" y="28"/>
                      <a:pt x="7" y="28"/>
                    </a:cubicBezTo>
                    <a:cubicBezTo>
                      <a:pt x="6" y="25"/>
                      <a:pt x="5" y="24"/>
                      <a:pt x="5" y="24"/>
                    </a:cubicBezTo>
                    <a:cubicBezTo>
                      <a:pt x="4" y="24"/>
                      <a:pt x="3" y="25"/>
                      <a:pt x="3" y="28"/>
                    </a:cubicBezTo>
                    <a:cubicBezTo>
                      <a:pt x="2" y="28"/>
                      <a:pt x="1" y="28"/>
                      <a:pt x="0" y="28"/>
                    </a:cubicBezTo>
                    <a:cubicBezTo>
                      <a:pt x="0" y="28"/>
                      <a:pt x="0" y="28"/>
                      <a:pt x="0" y="30"/>
                    </a:cubicBezTo>
                    <a:cubicBezTo>
                      <a:pt x="0" y="30"/>
                      <a:pt x="0" y="30"/>
                      <a:pt x="3" y="30"/>
                    </a:cubicBezTo>
                    <a:cubicBezTo>
                      <a:pt x="3" y="32"/>
                      <a:pt x="4" y="34"/>
                      <a:pt x="5" y="34"/>
                    </a:cubicBezTo>
                    <a:cubicBezTo>
                      <a:pt x="5" y="34"/>
                      <a:pt x="6" y="32"/>
                      <a:pt x="7" y="30"/>
                    </a:cubicBezTo>
                    <a:cubicBezTo>
                      <a:pt x="7" y="30"/>
                      <a:pt x="7" y="30"/>
                      <a:pt x="8" y="30"/>
                    </a:cubicBezTo>
                    <a:cubicBezTo>
                      <a:pt x="10" y="30"/>
                      <a:pt x="11" y="28"/>
                      <a:pt x="11" y="26"/>
                    </a:cubicBezTo>
                    <a:cubicBezTo>
                      <a:pt x="11" y="26"/>
                      <a:pt x="11" y="26"/>
                      <a:pt x="11" y="3"/>
                    </a:cubicBezTo>
                    <a:cubicBezTo>
                      <a:pt x="11" y="1"/>
                      <a:pt x="10" y="0"/>
                      <a:pt x="8"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7" name="Freeform 345"/>
              <p:cNvSpPr>
                <a:spLocks/>
              </p:cNvSpPr>
              <p:nvPr/>
            </p:nvSpPr>
            <p:spPr bwMode="auto">
              <a:xfrm>
                <a:off x="7372" y="3900"/>
                <a:ext cx="28" cy="18"/>
              </a:xfrm>
              <a:custGeom>
                <a:avLst/>
                <a:gdLst>
                  <a:gd name="T0" fmla="*/ 0 w 14"/>
                  <a:gd name="T1" fmla="*/ 9 h 9"/>
                  <a:gd name="T2" fmla="*/ 14 w 14"/>
                  <a:gd name="T3" fmla="*/ 9 h 9"/>
                  <a:gd name="T4" fmla="*/ 0 w 14"/>
                  <a:gd name="T5" fmla="*/ 0 h 9"/>
                  <a:gd name="T6" fmla="*/ 0 w 14"/>
                  <a:gd name="T7" fmla="*/ 9 h 9"/>
                </a:gdLst>
                <a:ahLst/>
                <a:cxnLst>
                  <a:cxn ang="0">
                    <a:pos x="T0" y="T1"/>
                  </a:cxn>
                  <a:cxn ang="0">
                    <a:pos x="T2" y="T3"/>
                  </a:cxn>
                  <a:cxn ang="0">
                    <a:pos x="T4" y="T5"/>
                  </a:cxn>
                  <a:cxn ang="0">
                    <a:pos x="T6" y="T7"/>
                  </a:cxn>
                </a:cxnLst>
                <a:rect l="0" t="0" r="r" b="b"/>
                <a:pathLst>
                  <a:path w="14" h="9">
                    <a:moveTo>
                      <a:pt x="0" y="9"/>
                    </a:moveTo>
                    <a:cubicBezTo>
                      <a:pt x="14" y="9"/>
                      <a:pt x="14" y="9"/>
                      <a:pt x="14" y="9"/>
                    </a:cubicBezTo>
                    <a:cubicBezTo>
                      <a:pt x="8" y="2"/>
                      <a:pt x="0" y="0"/>
                      <a:pt x="0" y="0"/>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8" name="Freeform 346"/>
              <p:cNvSpPr>
                <a:spLocks/>
              </p:cNvSpPr>
              <p:nvPr/>
            </p:nvSpPr>
            <p:spPr bwMode="auto">
              <a:xfrm>
                <a:off x="7392" y="3972"/>
                <a:ext cx="32" cy="72"/>
              </a:xfrm>
              <a:custGeom>
                <a:avLst/>
                <a:gdLst>
                  <a:gd name="T0" fmla="*/ 16 w 16"/>
                  <a:gd name="T1" fmla="*/ 34 h 36"/>
                  <a:gd name="T2" fmla="*/ 13 w 16"/>
                  <a:gd name="T3" fmla="*/ 36 h 36"/>
                  <a:gd name="T4" fmla="*/ 3 w 16"/>
                  <a:gd name="T5" fmla="*/ 36 h 36"/>
                  <a:gd name="T6" fmla="*/ 0 w 16"/>
                  <a:gd name="T7" fmla="*/ 34 h 36"/>
                  <a:gd name="T8" fmla="*/ 0 w 16"/>
                  <a:gd name="T9" fmla="*/ 3 h 36"/>
                  <a:gd name="T10" fmla="*/ 3 w 16"/>
                  <a:gd name="T11" fmla="*/ 0 h 36"/>
                  <a:gd name="T12" fmla="*/ 13 w 16"/>
                  <a:gd name="T13" fmla="*/ 0 h 36"/>
                  <a:gd name="T14" fmla="*/ 16 w 16"/>
                  <a:gd name="T15" fmla="*/ 3 h 36"/>
                  <a:gd name="T16" fmla="*/ 16 w 16"/>
                  <a:gd name="T17"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6">
                    <a:moveTo>
                      <a:pt x="16" y="34"/>
                    </a:moveTo>
                    <a:cubicBezTo>
                      <a:pt x="16" y="35"/>
                      <a:pt x="15" y="36"/>
                      <a:pt x="13" y="36"/>
                    </a:cubicBezTo>
                    <a:cubicBezTo>
                      <a:pt x="3" y="36"/>
                      <a:pt x="3" y="36"/>
                      <a:pt x="3" y="36"/>
                    </a:cubicBezTo>
                    <a:cubicBezTo>
                      <a:pt x="2" y="36"/>
                      <a:pt x="0" y="35"/>
                      <a:pt x="0" y="34"/>
                    </a:cubicBezTo>
                    <a:cubicBezTo>
                      <a:pt x="0" y="3"/>
                      <a:pt x="0" y="3"/>
                      <a:pt x="0" y="3"/>
                    </a:cubicBezTo>
                    <a:cubicBezTo>
                      <a:pt x="0" y="1"/>
                      <a:pt x="2" y="0"/>
                      <a:pt x="3" y="0"/>
                    </a:cubicBezTo>
                    <a:cubicBezTo>
                      <a:pt x="13" y="0"/>
                      <a:pt x="13" y="0"/>
                      <a:pt x="13" y="0"/>
                    </a:cubicBezTo>
                    <a:cubicBezTo>
                      <a:pt x="15" y="0"/>
                      <a:pt x="16" y="1"/>
                      <a:pt x="16" y="3"/>
                    </a:cubicBezTo>
                    <a:lnTo>
                      <a:pt x="16" y="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9" name="Freeform 347"/>
              <p:cNvSpPr>
                <a:spLocks noEditPoints="1"/>
              </p:cNvSpPr>
              <p:nvPr/>
            </p:nvSpPr>
            <p:spPr bwMode="auto">
              <a:xfrm>
                <a:off x="7279" y="3786"/>
                <a:ext cx="107" cy="339"/>
              </a:xfrm>
              <a:custGeom>
                <a:avLst/>
                <a:gdLst>
                  <a:gd name="T0" fmla="*/ 53 w 53"/>
                  <a:gd name="T1" fmla="*/ 169 h 169"/>
                  <a:gd name="T2" fmla="*/ 11 w 53"/>
                  <a:gd name="T3" fmla="*/ 169 h 169"/>
                  <a:gd name="T4" fmla="*/ 11 w 53"/>
                  <a:gd name="T5" fmla="*/ 165 h 169"/>
                  <a:gd name="T6" fmla="*/ 53 w 53"/>
                  <a:gd name="T7" fmla="*/ 165 h 169"/>
                  <a:gd name="T8" fmla="*/ 53 w 53"/>
                  <a:gd name="T9" fmla="*/ 169 h 169"/>
                  <a:gd name="T10" fmla="*/ 12 w 53"/>
                  <a:gd name="T11" fmla="*/ 149 h 169"/>
                  <a:gd name="T12" fmla="*/ 12 w 53"/>
                  <a:gd name="T13" fmla="*/ 158 h 169"/>
                  <a:gd name="T14" fmla="*/ 6 w 53"/>
                  <a:gd name="T15" fmla="*/ 158 h 169"/>
                  <a:gd name="T16" fmla="*/ 6 w 53"/>
                  <a:gd name="T17" fmla="*/ 150 h 169"/>
                  <a:gd name="T18" fmla="*/ 10 w 53"/>
                  <a:gd name="T19" fmla="*/ 142 h 169"/>
                  <a:gd name="T20" fmla="*/ 10 w 53"/>
                  <a:gd name="T21" fmla="*/ 139 h 169"/>
                  <a:gd name="T22" fmla="*/ 11 w 53"/>
                  <a:gd name="T23" fmla="*/ 139 h 169"/>
                  <a:gd name="T24" fmla="*/ 14 w 53"/>
                  <a:gd name="T25" fmla="*/ 136 h 169"/>
                  <a:gd name="T26" fmla="*/ 14 w 53"/>
                  <a:gd name="T27" fmla="*/ 67 h 169"/>
                  <a:gd name="T28" fmla="*/ 11 w 53"/>
                  <a:gd name="T29" fmla="*/ 65 h 169"/>
                  <a:gd name="T30" fmla="*/ 10 w 53"/>
                  <a:gd name="T31" fmla="*/ 65 h 169"/>
                  <a:gd name="T32" fmla="*/ 10 w 53"/>
                  <a:gd name="T33" fmla="*/ 64 h 169"/>
                  <a:gd name="T34" fmla="*/ 10 w 53"/>
                  <a:gd name="T35" fmla="*/ 50 h 169"/>
                  <a:gd name="T36" fmla="*/ 33 w 53"/>
                  <a:gd name="T37" fmla="*/ 50 h 169"/>
                  <a:gd name="T38" fmla="*/ 38 w 53"/>
                  <a:gd name="T39" fmla="*/ 54 h 169"/>
                  <a:gd name="T40" fmla="*/ 38 w 53"/>
                  <a:gd name="T41" fmla="*/ 43 h 169"/>
                  <a:gd name="T42" fmla="*/ 33 w 53"/>
                  <a:gd name="T43" fmla="*/ 47 h 169"/>
                  <a:gd name="T44" fmla="*/ 10 w 53"/>
                  <a:gd name="T45" fmla="*/ 47 h 169"/>
                  <a:gd name="T46" fmla="*/ 10 w 53"/>
                  <a:gd name="T47" fmla="*/ 11 h 169"/>
                  <a:gd name="T48" fmla="*/ 0 w 53"/>
                  <a:gd name="T49" fmla="*/ 0 h 169"/>
                  <a:gd name="T50" fmla="*/ 0 w 53"/>
                  <a:gd name="T51" fmla="*/ 5 h 169"/>
                  <a:gd name="T52" fmla="*/ 5 w 53"/>
                  <a:gd name="T53" fmla="*/ 14 h 169"/>
                  <a:gd name="T54" fmla="*/ 5 w 53"/>
                  <a:gd name="T55" fmla="*/ 65 h 169"/>
                  <a:gd name="T56" fmla="*/ 3 w 53"/>
                  <a:gd name="T57" fmla="*/ 65 h 169"/>
                  <a:gd name="T58" fmla="*/ 0 w 53"/>
                  <a:gd name="T59" fmla="*/ 67 h 169"/>
                  <a:gd name="T60" fmla="*/ 0 w 53"/>
                  <a:gd name="T61" fmla="*/ 136 h 169"/>
                  <a:gd name="T62" fmla="*/ 3 w 53"/>
                  <a:gd name="T63" fmla="*/ 139 h 169"/>
                  <a:gd name="T64" fmla="*/ 5 w 53"/>
                  <a:gd name="T65" fmla="*/ 139 h 169"/>
                  <a:gd name="T66" fmla="*/ 5 w 53"/>
                  <a:gd name="T67" fmla="*/ 143 h 169"/>
                  <a:gd name="T68" fmla="*/ 0 w 53"/>
                  <a:gd name="T69" fmla="*/ 154 h 169"/>
                  <a:gd name="T70" fmla="*/ 7 w 53"/>
                  <a:gd name="T71" fmla="*/ 164 h 169"/>
                  <a:gd name="T72" fmla="*/ 12 w 53"/>
                  <a:gd name="T73" fmla="*/ 164 h 169"/>
                  <a:gd name="T74" fmla="*/ 13 w 53"/>
                  <a:gd name="T75" fmla="*/ 164 h 169"/>
                  <a:gd name="T76" fmla="*/ 51 w 53"/>
                  <a:gd name="T77" fmla="*/ 164 h 169"/>
                  <a:gd name="T78" fmla="*/ 51 w 53"/>
                  <a:gd name="T79" fmla="*/ 149 h 169"/>
                  <a:gd name="T80" fmla="*/ 12 w 53"/>
                  <a:gd name="T81" fmla="*/ 14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 h="169">
                    <a:moveTo>
                      <a:pt x="53" y="169"/>
                    </a:moveTo>
                    <a:cubicBezTo>
                      <a:pt x="11" y="169"/>
                      <a:pt x="11" y="169"/>
                      <a:pt x="11" y="169"/>
                    </a:cubicBezTo>
                    <a:cubicBezTo>
                      <a:pt x="11" y="165"/>
                      <a:pt x="11" y="165"/>
                      <a:pt x="11" y="165"/>
                    </a:cubicBezTo>
                    <a:cubicBezTo>
                      <a:pt x="53" y="165"/>
                      <a:pt x="53" y="165"/>
                      <a:pt x="53" y="165"/>
                    </a:cubicBezTo>
                    <a:cubicBezTo>
                      <a:pt x="53" y="169"/>
                      <a:pt x="53" y="169"/>
                      <a:pt x="53" y="169"/>
                    </a:cubicBezTo>
                    <a:close/>
                    <a:moveTo>
                      <a:pt x="12" y="149"/>
                    </a:moveTo>
                    <a:cubicBezTo>
                      <a:pt x="12" y="158"/>
                      <a:pt x="12" y="158"/>
                      <a:pt x="12" y="158"/>
                    </a:cubicBezTo>
                    <a:cubicBezTo>
                      <a:pt x="10" y="158"/>
                      <a:pt x="8" y="158"/>
                      <a:pt x="6" y="158"/>
                    </a:cubicBezTo>
                    <a:cubicBezTo>
                      <a:pt x="4" y="158"/>
                      <a:pt x="4" y="153"/>
                      <a:pt x="6" y="150"/>
                    </a:cubicBezTo>
                    <a:cubicBezTo>
                      <a:pt x="8" y="149"/>
                      <a:pt x="10" y="147"/>
                      <a:pt x="10" y="142"/>
                    </a:cubicBezTo>
                    <a:cubicBezTo>
                      <a:pt x="10" y="141"/>
                      <a:pt x="10" y="140"/>
                      <a:pt x="10" y="139"/>
                    </a:cubicBezTo>
                    <a:cubicBezTo>
                      <a:pt x="11" y="139"/>
                      <a:pt x="11" y="139"/>
                      <a:pt x="11" y="139"/>
                    </a:cubicBezTo>
                    <a:cubicBezTo>
                      <a:pt x="13" y="139"/>
                      <a:pt x="14" y="138"/>
                      <a:pt x="14" y="136"/>
                    </a:cubicBezTo>
                    <a:cubicBezTo>
                      <a:pt x="14" y="67"/>
                      <a:pt x="14" y="67"/>
                      <a:pt x="14" y="67"/>
                    </a:cubicBezTo>
                    <a:cubicBezTo>
                      <a:pt x="14" y="66"/>
                      <a:pt x="13" y="65"/>
                      <a:pt x="11" y="65"/>
                    </a:cubicBezTo>
                    <a:cubicBezTo>
                      <a:pt x="10" y="65"/>
                      <a:pt x="10" y="65"/>
                      <a:pt x="10" y="65"/>
                    </a:cubicBezTo>
                    <a:cubicBezTo>
                      <a:pt x="10" y="64"/>
                      <a:pt x="10" y="64"/>
                      <a:pt x="10" y="64"/>
                    </a:cubicBezTo>
                    <a:cubicBezTo>
                      <a:pt x="10" y="61"/>
                      <a:pt x="10" y="56"/>
                      <a:pt x="10" y="50"/>
                    </a:cubicBezTo>
                    <a:cubicBezTo>
                      <a:pt x="33" y="50"/>
                      <a:pt x="33" y="50"/>
                      <a:pt x="33" y="50"/>
                    </a:cubicBezTo>
                    <a:cubicBezTo>
                      <a:pt x="35" y="50"/>
                      <a:pt x="37" y="51"/>
                      <a:pt x="38" y="54"/>
                    </a:cubicBezTo>
                    <a:cubicBezTo>
                      <a:pt x="38" y="43"/>
                      <a:pt x="38" y="43"/>
                      <a:pt x="38" y="43"/>
                    </a:cubicBezTo>
                    <a:cubicBezTo>
                      <a:pt x="37" y="45"/>
                      <a:pt x="35" y="47"/>
                      <a:pt x="33" y="47"/>
                    </a:cubicBezTo>
                    <a:cubicBezTo>
                      <a:pt x="10" y="47"/>
                      <a:pt x="10" y="47"/>
                      <a:pt x="10" y="47"/>
                    </a:cubicBezTo>
                    <a:cubicBezTo>
                      <a:pt x="10" y="33"/>
                      <a:pt x="10" y="15"/>
                      <a:pt x="10" y="11"/>
                    </a:cubicBezTo>
                    <a:cubicBezTo>
                      <a:pt x="10" y="3"/>
                      <a:pt x="6" y="0"/>
                      <a:pt x="0" y="0"/>
                    </a:cubicBezTo>
                    <a:cubicBezTo>
                      <a:pt x="0" y="1"/>
                      <a:pt x="0" y="5"/>
                      <a:pt x="0" y="5"/>
                    </a:cubicBezTo>
                    <a:cubicBezTo>
                      <a:pt x="0" y="5"/>
                      <a:pt x="5" y="4"/>
                      <a:pt x="5" y="14"/>
                    </a:cubicBezTo>
                    <a:cubicBezTo>
                      <a:pt x="5" y="18"/>
                      <a:pt x="5" y="50"/>
                      <a:pt x="5" y="65"/>
                    </a:cubicBezTo>
                    <a:cubicBezTo>
                      <a:pt x="3" y="65"/>
                      <a:pt x="3" y="65"/>
                      <a:pt x="3" y="65"/>
                    </a:cubicBezTo>
                    <a:cubicBezTo>
                      <a:pt x="2" y="65"/>
                      <a:pt x="0" y="66"/>
                      <a:pt x="0" y="67"/>
                    </a:cubicBezTo>
                    <a:cubicBezTo>
                      <a:pt x="0" y="136"/>
                      <a:pt x="0" y="136"/>
                      <a:pt x="0" y="136"/>
                    </a:cubicBezTo>
                    <a:cubicBezTo>
                      <a:pt x="0" y="138"/>
                      <a:pt x="2" y="139"/>
                      <a:pt x="3" y="139"/>
                    </a:cubicBezTo>
                    <a:cubicBezTo>
                      <a:pt x="3" y="139"/>
                      <a:pt x="4" y="139"/>
                      <a:pt x="5" y="139"/>
                    </a:cubicBezTo>
                    <a:cubicBezTo>
                      <a:pt x="5" y="140"/>
                      <a:pt x="5" y="141"/>
                      <a:pt x="5" y="143"/>
                    </a:cubicBezTo>
                    <a:cubicBezTo>
                      <a:pt x="5" y="146"/>
                      <a:pt x="0" y="146"/>
                      <a:pt x="0" y="154"/>
                    </a:cubicBezTo>
                    <a:cubicBezTo>
                      <a:pt x="0" y="162"/>
                      <a:pt x="3" y="164"/>
                      <a:pt x="7" y="164"/>
                    </a:cubicBezTo>
                    <a:cubicBezTo>
                      <a:pt x="9" y="164"/>
                      <a:pt x="11" y="164"/>
                      <a:pt x="12" y="164"/>
                    </a:cubicBezTo>
                    <a:cubicBezTo>
                      <a:pt x="13" y="164"/>
                      <a:pt x="13" y="164"/>
                      <a:pt x="13" y="164"/>
                    </a:cubicBezTo>
                    <a:cubicBezTo>
                      <a:pt x="51" y="164"/>
                      <a:pt x="51" y="164"/>
                      <a:pt x="51" y="164"/>
                    </a:cubicBezTo>
                    <a:cubicBezTo>
                      <a:pt x="51" y="149"/>
                      <a:pt x="51" y="149"/>
                      <a:pt x="51" y="149"/>
                    </a:cubicBezTo>
                    <a:lnTo>
                      <a:pt x="12" y="14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0" name="Freeform 348"/>
              <p:cNvSpPr>
                <a:spLocks/>
              </p:cNvSpPr>
              <p:nvPr/>
            </p:nvSpPr>
            <p:spPr bwMode="auto">
              <a:xfrm>
                <a:off x="7151" y="4064"/>
                <a:ext cx="112" cy="65"/>
              </a:xfrm>
              <a:custGeom>
                <a:avLst/>
                <a:gdLst>
                  <a:gd name="T0" fmla="*/ 56 w 56"/>
                  <a:gd name="T1" fmla="*/ 2 h 32"/>
                  <a:gd name="T2" fmla="*/ 54 w 56"/>
                  <a:gd name="T3" fmla="*/ 0 h 32"/>
                  <a:gd name="T4" fmla="*/ 3 w 56"/>
                  <a:gd name="T5" fmla="*/ 0 h 32"/>
                  <a:gd name="T6" fmla="*/ 0 w 56"/>
                  <a:gd name="T7" fmla="*/ 2 h 32"/>
                  <a:gd name="T8" fmla="*/ 0 w 56"/>
                  <a:gd name="T9" fmla="*/ 29 h 32"/>
                  <a:gd name="T10" fmla="*/ 3 w 56"/>
                  <a:gd name="T11" fmla="*/ 32 h 32"/>
                  <a:gd name="T12" fmla="*/ 54 w 56"/>
                  <a:gd name="T13" fmla="*/ 32 h 32"/>
                  <a:gd name="T14" fmla="*/ 56 w 56"/>
                  <a:gd name="T15" fmla="*/ 29 h 32"/>
                  <a:gd name="T16" fmla="*/ 56 w 56"/>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2">
                    <a:moveTo>
                      <a:pt x="56" y="2"/>
                    </a:moveTo>
                    <a:cubicBezTo>
                      <a:pt x="56" y="1"/>
                      <a:pt x="55" y="0"/>
                      <a:pt x="54" y="0"/>
                    </a:cubicBezTo>
                    <a:cubicBezTo>
                      <a:pt x="3" y="0"/>
                      <a:pt x="3" y="0"/>
                      <a:pt x="3" y="0"/>
                    </a:cubicBezTo>
                    <a:cubicBezTo>
                      <a:pt x="2" y="0"/>
                      <a:pt x="0" y="1"/>
                      <a:pt x="0" y="2"/>
                    </a:cubicBezTo>
                    <a:cubicBezTo>
                      <a:pt x="0" y="29"/>
                      <a:pt x="0" y="29"/>
                      <a:pt x="0" y="29"/>
                    </a:cubicBezTo>
                    <a:cubicBezTo>
                      <a:pt x="0" y="31"/>
                      <a:pt x="2" y="32"/>
                      <a:pt x="3" y="32"/>
                    </a:cubicBezTo>
                    <a:cubicBezTo>
                      <a:pt x="54" y="32"/>
                      <a:pt x="54" y="32"/>
                      <a:pt x="54" y="32"/>
                    </a:cubicBezTo>
                    <a:cubicBezTo>
                      <a:pt x="55" y="32"/>
                      <a:pt x="56" y="31"/>
                      <a:pt x="56" y="29"/>
                    </a:cubicBezTo>
                    <a:lnTo>
                      <a:pt x="56"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1" name="Freeform 349"/>
              <p:cNvSpPr>
                <a:spLocks noEditPoints="1"/>
              </p:cNvSpPr>
              <p:nvPr/>
            </p:nvSpPr>
            <p:spPr bwMode="auto">
              <a:xfrm>
                <a:off x="7181" y="4064"/>
                <a:ext cx="52" cy="65"/>
              </a:xfrm>
              <a:custGeom>
                <a:avLst/>
                <a:gdLst>
                  <a:gd name="T0" fmla="*/ 0 w 52"/>
                  <a:gd name="T1" fmla="*/ 65 h 65"/>
                  <a:gd name="T2" fmla="*/ 0 w 52"/>
                  <a:gd name="T3" fmla="*/ 0 h 65"/>
                  <a:gd name="T4" fmla="*/ 16 w 52"/>
                  <a:gd name="T5" fmla="*/ 0 h 65"/>
                  <a:gd name="T6" fmla="*/ 16 w 52"/>
                  <a:gd name="T7" fmla="*/ 65 h 65"/>
                  <a:gd name="T8" fmla="*/ 0 w 52"/>
                  <a:gd name="T9" fmla="*/ 65 h 65"/>
                  <a:gd name="T10" fmla="*/ 0 w 52"/>
                  <a:gd name="T11" fmla="*/ 65 h 65"/>
                  <a:gd name="T12" fmla="*/ 38 w 52"/>
                  <a:gd name="T13" fmla="*/ 0 h 65"/>
                  <a:gd name="T14" fmla="*/ 38 w 52"/>
                  <a:gd name="T15" fmla="*/ 65 h 65"/>
                  <a:gd name="T16" fmla="*/ 52 w 52"/>
                  <a:gd name="T17" fmla="*/ 65 h 65"/>
                  <a:gd name="T18" fmla="*/ 52 w 52"/>
                  <a:gd name="T19" fmla="*/ 0 h 65"/>
                  <a:gd name="T20" fmla="*/ 38 w 52"/>
                  <a:gd name="T21" fmla="*/ 0 h 65"/>
                  <a:gd name="T22" fmla="*/ 38 w 5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65">
                    <a:moveTo>
                      <a:pt x="0" y="65"/>
                    </a:moveTo>
                    <a:lnTo>
                      <a:pt x="0" y="0"/>
                    </a:lnTo>
                    <a:lnTo>
                      <a:pt x="16" y="0"/>
                    </a:lnTo>
                    <a:lnTo>
                      <a:pt x="16" y="65"/>
                    </a:lnTo>
                    <a:lnTo>
                      <a:pt x="0" y="65"/>
                    </a:lnTo>
                    <a:lnTo>
                      <a:pt x="0" y="65"/>
                    </a:lnTo>
                    <a:close/>
                    <a:moveTo>
                      <a:pt x="38" y="0"/>
                    </a:moveTo>
                    <a:lnTo>
                      <a:pt x="38" y="65"/>
                    </a:lnTo>
                    <a:lnTo>
                      <a:pt x="52" y="65"/>
                    </a:lnTo>
                    <a:lnTo>
                      <a:pt x="52" y="0"/>
                    </a:lnTo>
                    <a:lnTo>
                      <a:pt x="38" y="0"/>
                    </a:lnTo>
                    <a:lnTo>
                      <a:pt x="3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2" name="Freeform 350"/>
              <p:cNvSpPr>
                <a:spLocks noEditPoints="1"/>
              </p:cNvSpPr>
              <p:nvPr/>
            </p:nvSpPr>
            <p:spPr bwMode="auto">
              <a:xfrm>
                <a:off x="7301" y="4030"/>
                <a:ext cx="255" cy="87"/>
              </a:xfrm>
              <a:custGeom>
                <a:avLst/>
                <a:gdLst>
                  <a:gd name="T0" fmla="*/ 61 w 127"/>
                  <a:gd name="T1" fmla="*/ 41 h 43"/>
                  <a:gd name="T2" fmla="*/ 57 w 127"/>
                  <a:gd name="T3" fmla="*/ 41 h 43"/>
                  <a:gd name="T4" fmla="*/ 57 w 127"/>
                  <a:gd name="T5" fmla="*/ 36 h 43"/>
                  <a:gd name="T6" fmla="*/ 94 w 127"/>
                  <a:gd name="T7" fmla="*/ 0 h 43"/>
                  <a:gd name="T8" fmla="*/ 127 w 127"/>
                  <a:gd name="T9" fmla="*/ 22 h 43"/>
                  <a:gd name="T10" fmla="*/ 123 w 127"/>
                  <a:gd name="T11" fmla="*/ 23 h 43"/>
                  <a:gd name="T12" fmla="*/ 94 w 127"/>
                  <a:gd name="T13" fmla="*/ 4 h 43"/>
                  <a:gd name="T14" fmla="*/ 61 w 127"/>
                  <a:gd name="T15" fmla="*/ 36 h 43"/>
                  <a:gd name="T16" fmla="*/ 61 w 127"/>
                  <a:gd name="T17" fmla="*/ 41 h 43"/>
                  <a:gd name="T18" fmla="*/ 40 w 127"/>
                  <a:gd name="T19" fmla="*/ 27 h 43"/>
                  <a:gd name="T20" fmla="*/ 40 w 127"/>
                  <a:gd name="T21" fmla="*/ 25 h 43"/>
                  <a:gd name="T22" fmla="*/ 1 w 127"/>
                  <a:gd name="T23" fmla="*/ 25 h 43"/>
                  <a:gd name="T24" fmla="*/ 1 w 127"/>
                  <a:gd name="T25" fmla="*/ 27 h 43"/>
                  <a:gd name="T26" fmla="*/ 40 w 127"/>
                  <a:gd name="T27" fmla="*/ 27 h 43"/>
                  <a:gd name="T28" fmla="*/ 42 w 127"/>
                  <a:gd name="T29" fmla="*/ 43 h 43"/>
                  <a:gd name="T30" fmla="*/ 42 w 127"/>
                  <a:gd name="T31" fmla="*/ 42 h 43"/>
                  <a:gd name="T32" fmla="*/ 0 w 127"/>
                  <a:gd name="T33" fmla="*/ 42 h 43"/>
                  <a:gd name="T34" fmla="*/ 0 w 127"/>
                  <a:gd name="T35" fmla="*/ 43 h 43"/>
                  <a:gd name="T36" fmla="*/ 42 w 127"/>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43">
                    <a:moveTo>
                      <a:pt x="61" y="41"/>
                    </a:moveTo>
                    <a:cubicBezTo>
                      <a:pt x="57" y="41"/>
                      <a:pt x="57" y="41"/>
                      <a:pt x="57" y="41"/>
                    </a:cubicBezTo>
                    <a:cubicBezTo>
                      <a:pt x="57" y="36"/>
                      <a:pt x="57" y="36"/>
                      <a:pt x="57" y="36"/>
                    </a:cubicBezTo>
                    <a:cubicBezTo>
                      <a:pt x="57" y="16"/>
                      <a:pt x="73" y="0"/>
                      <a:pt x="94" y="0"/>
                    </a:cubicBezTo>
                    <a:cubicBezTo>
                      <a:pt x="108" y="0"/>
                      <a:pt x="122" y="8"/>
                      <a:pt x="127" y="22"/>
                    </a:cubicBezTo>
                    <a:cubicBezTo>
                      <a:pt x="123" y="23"/>
                      <a:pt x="123" y="23"/>
                      <a:pt x="123" y="23"/>
                    </a:cubicBezTo>
                    <a:cubicBezTo>
                      <a:pt x="118" y="12"/>
                      <a:pt x="107" y="4"/>
                      <a:pt x="94" y="4"/>
                    </a:cubicBezTo>
                    <a:cubicBezTo>
                      <a:pt x="76" y="4"/>
                      <a:pt x="61" y="18"/>
                      <a:pt x="61" y="36"/>
                    </a:cubicBezTo>
                    <a:lnTo>
                      <a:pt x="61" y="41"/>
                    </a:lnTo>
                    <a:close/>
                    <a:moveTo>
                      <a:pt x="40" y="27"/>
                    </a:moveTo>
                    <a:cubicBezTo>
                      <a:pt x="40" y="25"/>
                      <a:pt x="40" y="25"/>
                      <a:pt x="40" y="25"/>
                    </a:cubicBezTo>
                    <a:cubicBezTo>
                      <a:pt x="1" y="25"/>
                      <a:pt x="1" y="25"/>
                      <a:pt x="1" y="25"/>
                    </a:cubicBezTo>
                    <a:cubicBezTo>
                      <a:pt x="1" y="27"/>
                      <a:pt x="1" y="27"/>
                      <a:pt x="1" y="27"/>
                    </a:cubicBezTo>
                    <a:cubicBezTo>
                      <a:pt x="40" y="27"/>
                      <a:pt x="40" y="27"/>
                      <a:pt x="40" y="27"/>
                    </a:cubicBezTo>
                    <a:close/>
                    <a:moveTo>
                      <a:pt x="42" y="43"/>
                    </a:moveTo>
                    <a:cubicBezTo>
                      <a:pt x="42" y="42"/>
                      <a:pt x="42" y="42"/>
                      <a:pt x="42" y="42"/>
                    </a:cubicBezTo>
                    <a:cubicBezTo>
                      <a:pt x="0" y="42"/>
                      <a:pt x="0" y="42"/>
                      <a:pt x="0" y="42"/>
                    </a:cubicBezTo>
                    <a:cubicBezTo>
                      <a:pt x="0" y="43"/>
                      <a:pt x="0" y="43"/>
                      <a:pt x="0" y="43"/>
                    </a:cubicBezTo>
                    <a:cubicBezTo>
                      <a:pt x="42" y="43"/>
                      <a:pt x="42" y="43"/>
                      <a:pt x="42" y="4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3" name="Freeform 351"/>
              <p:cNvSpPr>
                <a:spLocks/>
              </p:cNvSpPr>
              <p:nvPr/>
            </p:nvSpPr>
            <p:spPr bwMode="auto">
              <a:xfrm>
                <a:off x="7392" y="4026"/>
                <a:ext cx="32" cy="6"/>
              </a:xfrm>
              <a:custGeom>
                <a:avLst/>
                <a:gdLst>
                  <a:gd name="T0" fmla="*/ 32 w 32"/>
                  <a:gd name="T1" fmla="*/ 0 h 6"/>
                  <a:gd name="T2" fmla="*/ 0 w 32"/>
                  <a:gd name="T3" fmla="*/ 0 h 6"/>
                  <a:gd name="T4" fmla="*/ 0 w 32"/>
                  <a:gd name="T5" fmla="*/ 6 h 6"/>
                  <a:gd name="T6" fmla="*/ 32 w 32"/>
                  <a:gd name="T7" fmla="*/ 6 h 6"/>
                  <a:gd name="T8" fmla="*/ 32 w 32"/>
                  <a:gd name="T9" fmla="*/ 0 h 6"/>
                  <a:gd name="T10" fmla="*/ 32 w 32"/>
                  <a:gd name="T11" fmla="*/ 0 h 6"/>
                </a:gdLst>
                <a:ahLst/>
                <a:cxnLst>
                  <a:cxn ang="0">
                    <a:pos x="T0" y="T1"/>
                  </a:cxn>
                  <a:cxn ang="0">
                    <a:pos x="T2" y="T3"/>
                  </a:cxn>
                  <a:cxn ang="0">
                    <a:pos x="T4" y="T5"/>
                  </a:cxn>
                  <a:cxn ang="0">
                    <a:pos x="T6" y="T7"/>
                  </a:cxn>
                  <a:cxn ang="0">
                    <a:pos x="T8" y="T9"/>
                  </a:cxn>
                  <a:cxn ang="0">
                    <a:pos x="T10" y="T11"/>
                  </a:cxn>
                </a:cxnLst>
                <a:rect l="0" t="0" r="r" b="b"/>
                <a:pathLst>
                  <a:path w="32" h="6">
                    <a:moveTo>
                      <a:pt x="32" y="0"/>
                    </a:moveTo>
                    <a:lnTo>
                      <a:pt x="0" y="0"/>
                    </a:lnTo>
                    <a:lnTo>
                      <a:pt x="0" y="6"/>
                    </a:lnTo>
                    <a:lnTo>
                      <a:pt x="32" y="6"/>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4" name="Freeform 352"/>
              <p:cNvSpPr>
                <a:spLocks/>
              </p:cNvSpPr>
              <p:nvPr/>
            </p:nvSpPr>
            <p:spPr bwMode="auto">
              <a:xfrm>
                <a:off x="7392" y="4010"/>
                <a:ext cx="32" cy="6"/>
              </a:xfrm>
              <a:custGeom>
                <a:avLst/>
                <a:gdLst>
                  <a:gd name="T0" fmla="*/ 32 w 32"/>
                  <a:gd name="T1" fmla="*/ 0 h 6"/>
                  <a:gd name="T2" fmla="*/ 0 w 32"/>
                  <a:gd name="T3" fmla="*/ 0 h 6"/>
                  <a:gd name="T4" fmla="*/ 0 w 32"/>
                  <a:gd name="T5" fmla="*/ 6 h 6"/>
                  <a:gd name="T6" fmla="*/ 32 w 32"/>
                  <a:gd name="T7" fmla="*/ 6 h 6"/>
                  <a:gd name="T8" fmla="*/ 32 w 32"/>
                  <a:gd name="T9" fmla="*/ 0 h 6"/>
                  <a:gd name="T10" fmla="*/ 32 w 32"/>
                  <a:gd name="T11" fmla="*/ 0 h 6"/>
                </a:gdLst>
                <a:ahLst/>
                <a:cxnLst>
                  <a:cxn ang="0">
                    <a:pos x="T0" y="T1"/>
                  </a:cxn>
                  <a:cxn ang="0">
                    <a:pos x="T2" y="T3"/>
                  </a:cxn>
                  <a:cxn ang="0">
                    <a:pos x="T4" y="T5"/>
                  </a:cxn>
                  <a:cxn ang="0">
                    <a:pos x="T6" y="T7"/>
                  </a:cxn>
                  <a:cxn ang="0">
                    <a:pos x="T8" y="T9"/>
                  </a:cxn>
                  <a:cxn ang="0">
                    <a:pos x="T10" y="T11"/>
                  </a:cxn>
                </a:cxnLst>
                <a:rect l="0" t="0" r="r" b="b"/>
                <a:pathLst>
                  <a:path w="32" h="6">
                    <a:moveTo>
                      <a:pt x="32" y="0"/>
                    </a:moveTo>
                    <a:lnTo>
                      <a:pt x="0" y="0"/>
                    </a:lnTo>
                    <a:lnTo>
                      <a:pt x="0" y="6"/>
                    </a:lnTo>
                    <a:lnTo>
                      <a:pt x="32" y="6"/>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5" name="Freeform 353"/>
              <p:cNvSpPr>
                <a:spLocks/>
              </p:cNvSpPr>
              <p:nvPr/>
            </p:nvSpPr>
            <p:spPr bwMode="auto">
              <a:xfrm>
                <a:off x="7392" y="3976"/>
                <a:ext cx="32" cy="4"/>
              </a:xfrm>
              <a:custGeom>
                <a:avLst/>
                <a:gdLst>
                  <a:gd name="T0" fmla="*/ 32 w 32"/>
                  <a:gd name="T1" fmla="*/ 0 h 4"/>
                  <a:gd name="T2" fmla="*/ 0 w 32"/>
                  <a:gd name="T3" fmla="*/ 0 h 4"/>
                  <a:gd name="T4" fmla="*/ 0 w 32"/>
                  <a:gd name="T5" fmla="*/ 4 h 4"/>
                  <a:gd name="T6" fmla="*/ 32 w 32"/>
                  <a:gd name="T7" fmla="*/ 4 h 4"/>
                  <a:gd name="T8" fmla="*/ 32 w 32"/>
                  <a:gd name="T9" fmla="*/ 0 h 4"/>
                  <a:gd name="T10" fmla="*/ 32 w 32"/>
                  <a:gd name="T11" fmla="*/ 0 h 4"/>
                </a:gdLst>
                <a:ahLst/>
                <a:cxnLst>
                  <a:cxn ang="0">
                    <a:pos x="T0" y="T1"/>
                  </a:cxn>
                  <a:cxn ang="0">
                    <a:pos x="T2" y="T3"/>
                  </a:cxn>
                  <a:cxn ang="0">
                    <a:pos x="T4" y="T5"/>
                  </a:cxn>
                  <a:cxn ang="0">
                    <a:pos x="T6" y="T7"/>
                  </a:cxn>
                  <a:cxn ang="0">
                    <a:pos x="T8" y="T9"/>
                  </a:cxn>
                  <a:cxn ang="0">
                    <a:pos x="T10" y="T11"/>
                  </a:cxn>
                </a:cxnLst>
                <a:rect l="0" t="0" r="r" b="b"/>
                <a:pathLst>
                  <a:path w="32" h="4">
                    <a:moveTo>
                      <a:pt x="32" y="0"/>
                    </a:moveTo>
                    <a:lnTo>
                      <a:pt x="0" y="0"/>
                    </a:lnTo>
                    <a:lnTo>
                      <a:pt x="0" y="4"/>
                    </a:lnTo>
                    <a:lnTo>
                      <a:pt x="32" y="4"/>
                    </a:lnTo>
                    <a:lnTo>
                      <a:pt x="32" y="0"/>
                    </a:lnTo>
                    <a:lnTo>
                      <a:pt x="32" y="0"/>
                    </a:lnTo>
                    <a:close/>
                  </a:path>
                </a:pathLst>
              </a:custGeom>
              <a:solidFill>
                <a:srgbClr val="51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6" name="Freeform 354"/>
              <p:cNvSpPr>
                <a:spLocks/>
              </p:cNvSpPr>
              <p:nvPr/>
            </p:nvSpPr>
            <p:spPr bwMode="auto">
              <a:xfrm>
                <a:off x="7340" y="3886"/>
                <a:ext cx="4" cy="6"/>
              </a:xfrm>
              <a:custGeom>
                <a:avLst/>
                <a:gdLst>
                  <a:gd name="T0" fmla="*/ 0 w 4"/>
                  <a:gd name="T1" fmla="*/ 6 h 6"/>
                  <a:gd name="T2" fmla="*/ 4 w 4"/>
                  <a:gd name="T3" fmla="*/ 6 h 6"/>
                  <a:gd name="T4" fmla="*/ 4 w 4"/>
                  <a:gd name="T5" fmla="*/ 0 h 6"/>
                  <a:gd name="T6" fmla="*/ 0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4" y="6"/>
                    </a:lnTo>
                    <a:lnTo>
                      <a:pt x="4" y="0"/>
                    </a:lnTo>
                    <a:lnTo>
                      <a:pt x="0" y="0"/>
                    </a:lnTo>
                    <a:lnTo>
                      <a:pt x="0" y="6"/>
                    </a:lnTo>
                    <a:lnTo>
                      <a:pt x="0" y="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7" name="Freeform 355"/>
              <p:cNvSpPr>
                <a:spLocks/>
              </p:cNvSpPr>
              <p:nvPr/>
            </p:nvSpPr>
            <p:spPr bwMode="auto">
              <a:xfrm>
                <a:off x="7301" y="3886"/>
                <a:ext cx="4" cy="6"/>
              </a:xfrm>
              <a:custGeom>
                <a:avLst/>
                <a:gdLst>
                  <a:gd name="T0" fmla="*/ 0 w 4"/>
                  <a:gd name="T1" fmla="*/ 6 h 6"/>
                  <a:gd name="T2" fmla="*/ 4 w 4"/>
                  <a:gd name="T3" fmla="*/ 6 h 6"/>
                  <a:gd name="T4" fmla="*/ 4 w 4"/>
                  <a:gd name="T5" fmla="*/ 0 h 6"/>
                  <a:gd name="T6" fmla="*/ 0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4" y="6"/>
                    </a:lnTo>
                    <a:lnTo>
                      <a:pt x="4" y="0"/>
                    </a:lnTo>
                    <a:lnTo>
                      <a:pt x="0" y="0"/>
                    </a:lnTo>
                    <a:lnTo>
                      <a:pt x="0" y="6"/>
                    </a:lnTo>
                    <a:lnTo>
                      <a:pt x="0" y="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8" name="Freeform 356"/>
              <p:cNvSpPr>
                <a:spLocks/>
              </p:cNvSpPr>
              <p:nvPr/>
            </p:nvSpPr>
            <p:spPr bwMode="auto">
              <a:xfrm>
                <a:off x="7105" y="4026"/>
                <a:ext cx="2" cy="0"/>
              </a:xfrm>
              <a:custGeom>
                <a:avLst/>
                <a:gdLst>
                  <a:gd name="T0" fmla="*/ 0 w 2"/>
                  <a:gd name="T1" fmla="*/ 2 w 2"/>
                  <a:gd name="T2" fmla="*/ 2 w 2"/>
                  <a:gd name="T3" fmla="*/ 0 w 2"/>
                  <a:gd name="T4" fmla="*/ 0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2" y="0"/>
                    </a:lnTo>
                    <a:lnTo>
                      <a:pt x="2" y="0"/>
                    </a:lnTo>
                    <a:lnTo>
                      <a:pt x="0" y="0"/>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9" name="Freeform 357"/>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0" name="Freeform 358"/>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Freeform 359"/>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Freeform 360"/>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Freeform 361"/>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Freeform 36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5" name="Freeform 36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6" name="Freeform 36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7" name="Freeform 36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8" name="Freeform 36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9" name="Freeform 36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0" name="Freeform 36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1" name="Freeform 36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37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3" name="Freeform 371"/>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4" name="Freeform 37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5" name="Freeform 373"/>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374"/>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7" name="Freeform 37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8" name="Freeform 37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9" name="Freeform 377"/>
              <p:cNvSpPr>
                <a:spLocks noEditPoints="1"/>
              </p:cNvSpPr>
              <p:nvPr/>
            </p:nvSpPr>
            <p:spPr bwMode="auto">
              <a:xfrm>
                <a:off x="7105" y="40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close/>
                    <a:moveTo>
                      <a:pt x="0" y="0"/>
                    </a:moveTo>
                    <a:lnTo>
                      <a:pt x="0" y="0"/>
                    </a:lnTo>
                    <a:lnTo>
                      <a:pt x="0" y="0"/>
                    </a:lnTo>
                    <a:close/>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0" name="Freeform 378"/>
              <p:cNvSpPr>
                <a:spLocks noEditPoints="1"/>
              </p:cNvSpPr>
              <p:nvPr/>
            </p:nvSpPr>
            <p:spPr bwMode="auto">
              <a:xfrm>
                <a:off x="7105" y="402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moveTo>
                      <a:pt x="0" y="0"/>
                    </a:moveTo>
                    <a:lnTo>
                      <a:pt x="0" y="0"/>
                    </a:lnTo>
                    <a:lnTo>
                      <a:pt x="0" y="0"/>
                    </a:lnTo>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1" name="Freeform 37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2" name="Freeform 38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3" name="Freeform 38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4" name="Freeform 38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5" name="Freeform 38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6" name="Freeform 38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7" name="Freeform 38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8" name="Freeform 38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9" name="Freeform 38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0" name="Freeform 38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1" name="Freeform 38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2" name="Freeform 39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3" name="Freeform 39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4" name="Freeform 39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5" name="Freeform 39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6" name="Freeform 39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7" name="Freeform 395"/>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8" name="Freeform 39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9" name="Freeform 39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0" name="Freeform 398"/>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1" name="Freeform 39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2" name="Freeform 400"/>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3" name="Freeform 40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4" name="Freeform 402"/>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5" name="Freeform 40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6" name="Freeform 404"/>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7" name="Freeform 405"/>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5" name="Freeform 407"/>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Freeform 408"/>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Freeform 409"/>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Freeform 410"/>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Freeform 411"/>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Freeform 412"/>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Freeform 413"/>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Freeform 414"/>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Freeform 415"/>
            <p:cNvSpPr>
              <a:spLocks/>
            </p:cNvSpPr>
            <p:nvPr/>
          </p:nvSpPr>
          <p:spPr bwMode="auto">
            <a:xfrm>
              <a:off x="7105"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416"/>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Freeform 417"/>
            <p:cNvSpPr>
              <a:spLocks/>
            </p:cNvSpPr>
            <p:nvPr/>
          </p:nvSpPr>
          <p:spPr bwMode="auto">
            <a:xfrm>
              <a:off x="6308" y="40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Oval 418"/>
            <p:cNvSpPr>
              <a:spLocks noChangeArrowheads="1"/>
            </p:cNvSpPr>
            <p:nvPr/>
          </p:nvSpPr>
          <p:spPr bwMode="auto">
            <a:xfrm>
              <a:off x="7438"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Oval 419"/>
            <p:cNvSpPr>
              <a:spLocks noChangeArrowheads="1"/>
            </p:cNvSpPr>
            <p:nvPr/>
          </p:nvSpPr>
          <p:spPr bwMode="auto">
            <a:xfrm>
              <a:off x="7460"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Oval 420"/>
            <p:cNvSpPr>
              <a:spLocks noChangeArrowheads="1"/>
            </p:cNvSpPr>
            <p:nvPr/>
          </p:nvSpPr>
          <p:spPr bwMode="auto">
            <a:xfrm>
              <a:off x="7470"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 name="Freeform 421"/>
            <p:cNvSpPr>
              <a:spLocks noEditPoints="1"/>
            </p:cNvSpPr>
            <p:nvPr/>
          </p:nvSpPr>
          <p:spPr bwMode="auto">
            <a:xfrm>
              <a:off x="7472"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 name="Freeform 422"/>
            <p:cNvSpPr>
              <a:spLocks noEditPoints="1"/>
            </p:cNvSpPr>
            <p:nvPr/>
          </p:nvSpPr>
          <p:spPr bwMode="auto">
            <a:xfrm>
              <a:off x="7462"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 name="Oval 423"/>
            <p:cNvSpPr>
              <a:spLocks noChangeArrowheads="1"/>
            </p:cNvSpPr>
            <p:nvPr/>
          </p:nvSpPr>
          <p:spPr bwMode="auto">
            <a:xfrm>
              <a:off x="7005"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Oval 424"/>
            <p:cNvSpPr>
              <a:spLocks noChangeArrowheads="1"/>
            </p:cNvSpPr>
            <p:nvPr/>
          </p:nvSpPr>
          <p:spPr bwMode="auto">
            <a:xfrm>
              <a:off x="7027"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 name="Oval 425"/>
            <p:cNvSpPr>
              <a:spLocks noChangeArrowheads="1"/>
            </p:cNvSpPr>
            <p:nvPr/>
          </p:nvSpPr>
          <p:spPr bwMode="auto">
            <a:xfrm>
              <a:off x="7037"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 name="Freeform 426"/>
            <p:cNvSpPr>
              <a:spLocks noEditPoints="1"/>
            </p:cNvSpPr>
            <p:nvPr/>
          </p:nvSpPr>
          <p:spPr bwMode="auto">
            <a:xfrm>
              <a:off x="7039"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Freeform 427"/>
            <p:cNvSpPr>
              <a:spLocks noEditPoints="1"/>
            </p:cNvSpPr>
            <p:nvPr/>
          </p:nvSpPr>
          <p:spPr bwMode="auto">
            <a:xfrm>
              <a:off x="7029"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Oval 428"/>
            <p:cNvSpPr>
              <a:spLocks noChangeArrowheads="1"/>
            </p:cNvSpPr>
            <p:nvPr/>
          </p:nvSpPr>
          <p:spPr bwMode="auto">
            <a:xfrm>
              <a:off x="6887"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 name="Oval 429"/>
            <p:cNvSpPr>
              <a:spLocks noChangeArrowheads="1"/>
            </p:cNvSpPr>
            <p:nvPr/>
          </p:nvSpPr>
          <p:spPr bwMode="auto">
            <a:xfrm>
              <a:off x="6911"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 name="Oval 430"/>
            <p:cNvSpPr>
              <a:spLocks noChangeArrowheads="1"/>
            </p:cNvSpPr>
            <p:nvPr/>
          </p:nvSpPr>
          <p:spPr bwMode="auto">
            <a:xfrm>
              <a:off x="6921" y="4083"/>
              <a:ext cx="36"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Freeform 431"/>
            <p:cNvSpPr>
              <a:spLocks noEditPoints="1"/>
            </p:cNvSpPr>
            <p:nvPr/>
          </p:nvSpPr>
          <p:spPr bwMode="auto">
            <a:xfrm>
              <a:off x="6923" y="4085"/>
              <a:ext cx="32" cy="34"/>
            </a:xfrm>
            <a:custGeom>
              <a:avLst/>
              <a:gdLst>
                <a:gd name="T0" fmla="*/ 13 w 16"/>
                <a:gd name="T1" fmla="*/ 9 h 17"/>
                <a:gd name="T2" fmla="*/ 8 w 16"/>
                <a:gd name="T3" fmla="*/ 14 h 17"/>
                <a:gd name="T4" fmla="*/ 3 w 16"/>
                <a:gd name="T5" fmla="*/ 9 h 17"/>
                <a:gd name="T6" fmla="*/ 8 w 16"/>
                <a:gd name="T7" fmla="*/ 4 h 17"/>
                <a:gd name="T8" fmla="*/ 13 w 16"/>
                <a:gd name="T9" fmla="*/ 9 h 17"/>
                <a:gd name="T10" fmla="*/ 7 w 16"/>
                <a:gd name="T11" fmla="*/ 0 h 17"/>
                <a:gd name="T12" fmla="*/ 7 w 16"/>
                <a:gd name="T13" fmla="*/ 2 h 17"/>
                <a:gd name="T14" fmla="*/ 7 w 16"/>
                <a:gd name="T15" fmla="*/ 3 h 17"/>
                <a:gd name="T16" fmla="*/ 9 w 16"/>
                <a:gd name="T17" fmla="*/ 3 h 17"/>
                <a:gd name="T18" fmla="*/ 9 w 16"/>
                <a:gd name="T19" fmla="*/ 2 h 17"/>
                <a:gd name="T20" fmla="*/ 9 w 16"/>
                <a:gd name="T21" fmla="*/ 0 h 17"/>
                <a:gd name="T22" fmla="*/ 7 w 16"/>
                <a:gd name="T23" fmla="*/ 0 h 17"/>
                <a:gd name="T24" fmla="*/ 9 w 16"/>
                <a:gd name="T25" fmla="*/ 15 h 17"/>
                <a:gd name="T26" fmla="*/ 9 w 16"/>
                <a:gd name="T27" fmla="*/ 16 h 17"/>
                <a:gd name="T28" fmla="*/ 9 w 16"/>
                <a:gd name="T29" fmla="*/ 17 h 17"/>
                <a:gd name="T30" fmla="*/ 7 w 16"/>
                <a:gd name="T31" fmla="*/ 17 h 17"/>
                <a:gd name="T32" fmla="*/ 7 w 16"/>
                <a:gd name="T33" fmla="*/ 16 h 17"/>
                <a:gd name="T34" fmla="*/ 7 w 16"/>
                <a:gd name="T35" fmla="*/ 15 h 17"/>
                <a:gd name="T36" fmla="*/ 9 w 16"/>
                <a:gd name="T37" fmla="*/ 15 h 17"/>
                <a:gd name="T38" fmla="*/ 14 w 16"/>
                <a:gd name="T39" fmla="*/ 3 h 17"/>
                <a:gd name="T40" fmla="*/ 14 w 16"/>
                <a:gd name="T41" fmla="*/ 4 h 17"/>
                <a:gd name="T42" fmla="*/ 13 w 16"/>
                <a:gd name="T43" fmla="*/ 5 h 17"/>
                <a:gd name="T44" fmla="*/ 12 w 16"/>
                <a:gd name="T45" fmla="*/ 4 h 17"/>
                <a:gd name="T46" fmla="*/ 12 w 16"/>
                <a:gd name="T47" fmla="*/ 3 h 17"/>
                <a:gd name="T48" fmla="*/ 14 w 16"/>
                <a:gd name="T49" fmla="*/ 2 h 17"/>
                <a:gd name="T50" fmla="*/ 14 w 16"/>
                <a:gd name="T51" fmla="*/ 3 h 17"/>
                <a:gd name="T52" fmla="*/ 4 w 16"/>
                <a:gd name="T53" fmla="*/ 13 h 17"/>
                <a:gd name="T54" fmla="*/ 4 w 16"/>
                <a:gd name="T55" fmla="*/ 15 h 17"/>
                <a:gd name="T56" fmla="*/ 3 w 16"/>
                <a:gd name="T57" fmla="*/ 15 h 17"/>
                <a:gd name="T58" fmla="*/ 2 w 16"/>
                <a:gd name="T59" fmla="*/ 14 h 17"/>
                <a:gd name="T60" fmla="*/ 2 w 16"/>
                <a:gd name="T61" fmla="*/ 13 h 17"/>
                <a:gd name="T62" fmla="*/ 3 w 16"/>
                <a:gd name="T63" fmla="*/ 13 h 17"/>
                <a:gd name="T64" fmla="*/ 4 w 16"/>
                <a:gd name="T65" fmla="*/ 13 h 17"/>
                <a:gd name="T66" fmla="*/ 16 w 16"/>
                <a:gd name="T67" fmla="*/ 9 h 17"/>
                <a:gd name="T68" fmla="*/ 15 w 16"/>
                <a:gd name="T69" fmla="*/ 10 h 17"/>
                <a:gd name="T70" fmla="*/ 14 w 16"/>
                <a:gd name="T71" fmla="*/ 9 h 17"/>
                <a:gd name="T72" fmla="*/ 14 w 16"/>
                <a:gd name="T73" fmla="*/ 8 h 17"/>
                <a:gd name="T74" fmla="*/ 15 w 16"/>
                <a:gd name="T75" fmla="*/ 7 h 17"/>
                <a:gd name="T76" fmla="*/ 16 w 16"/>
                <a:gd name="T77" fmla="*/ 8 h 17"/>
                <a:gd name="T78" fmla="*/ 16 w 16"/>
                <a:gd name="T79" fmla="*/ 9 h 17"/>
                <a:gd name="T80" fmla="*/ 2 w 16"/>
                <a:gd name="T81" fmla="*/ 9 h 17"/>
                <a:gd name="T82" fmla="*/ 1 w 16"/>
                <a:gd name="T83" fmla="*/ 10 h 17"/>
                <a:gd name="T84" fmla="*/ 0 w 16"/>
                <a:gd name="T85" fmla="*/ 9 h 17"/>
                <a:gd name="T86" fmla="*/ 0 w 16"/>
                <a:gd name="T87" fmla="*/ 8 h 17"/>
                <a:gd name="T88" fmla="*/ 1 w 16"/>
                <a:gd name="T89" fmla="*/ 7 h 17"/>
                <a:gd name="T90" fmla="*/ 2 w 16"/>
                <a:gd name="T91" fmla="*/ 8 h 17"/>
                <a:gd name="T92" fmla="*/ 2 w 16"/>
                <a:gd name="T93" fmla="*/ 9 h 17"/>
                <a:gd name="T94" fmla="*/ 14 w 16"/>
                <a:gd name="T95" fmla="*/ 15 h 17"/>
                <a:gd name="T96" fmla="*/ 12 w 16"/>
                <a:gd name="T97" fmla="*/ 15 h 17"/>
                <a:gd name="T98" fmla="*/ 12 w 16"/>
                <a:gd name="T99" fmla="*/ 13 h 17"/>
                <a:gd name="T100" fmla="*/ 13 w 16"/>
                <a:gd name="T101" fmla="*/ 13 h 17"/>
                <a:gd name="T102" fmla="*/ 14 w 16"/>
                <a:gd name="T103" fmla="*/ 13 h 17"/>
                <a:gd name="T104" fmla="*/ 14 w 16"/>
                <a:gd name="T105" fmla="*/ 14 h 17"/>
                <a:gd name="T106" fmla="*/ 14 w 16"/>
                <a:gd name="T107" fmla="*/ 15 h 17"/>
                <a:gd name="T108" fmla="*/ 3 w 16"/>
                <a:gd name="T109" fmla="*/ 5 h 17"/>
                <a:gd name="T110" fmla="*/ 2 w 16"/>
                <a:gd name="T111" fmla="*/ 4 h 17"/>
                <a:gd name="T112" fmla="*/ 2 w 16"/>
                <a:gd name="T113" fmla="*/ 3 h 17"/>
                <a:gd name="T114" fmla="*/ 3 w 16"/>
                <a:gd name="T115" fmla="*/ 2 h 17"/>
                <a:gd name="T116" fmla="*/ 4 w 16"/>
                <a:gd name="T117" fmla="*/ 3 h 17"/>
                <a:gd name="T118" fmla="*/ 4 w 16"/>
                <a:gd name="T119" fmla="*/ 4 h 17"/>
                <a:gd name="T120" fmla="*/ 3 w 16"/>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 h="17">
                  <a:moveTo>
                    <a:pt x="13" y="9"/>
                  </a:moveTo>
                  <a:cubicBezTo>
                    <a:pt x="13" y="11"/>
                    <a:pt x="11" y="14"/>
                    <a:pt x="8" y="14"/>
                  </a:cubicBezTo>
                  <a:cubicBezTo>
                    <a:pt x="5" y="14"/>
                    <a:pt x="3" y="11"/>
                    <a:pt x="3" y="9"/>
                  </a:cubicBezTo>
                  <a:cubicBezTo>
                    <a:pt x="3" y="6"/>
                    <a:pt x="5" y="4"/>
                    <a:pt x="8" y="4"/>
                  </a:cubicBezTo>
                  <a:cubicBezTo>
                    <a:pt x="11" y="4"/>
                    <a:pt x="13" y="6"/>
                    <a:pt x="13" y="9"/>
                  </a:cubicBezTo>
                  <a:close/>
                  <a:moveTo>
                    <a:pt x="7" y="0"/>
                  </a:moveTo>
                  <a:cubicBezTo>
                    <a:pt x="7" y="2"/>
                    <a:pt x="7" y="2"/>
                    <a:pt x="7" y="2"/>
                  </a:cubicBezTo>
                  <a:cubicBezTo>
                    <a:pt x="7" y="3"/>
                    <a:pt x="7" y="3"/>
                    <a:pt x="7" y="3"/>
                  </a:cubicBezTo>
                  <a:cubicBezTo>
                    <a:pt x="9" y="3"/>
                    <a:pt x="9" y="3"/>
                    <a:pt x="9" y="3"/>
                  </a:cubicBezTo>
                  <a:cubicBezTo>
                    <a:pt x="9" y="2"/>
                    <a:pt x="9" y="2"/>
                    <a:pt x="9" y="2"/>
                  </a:cubicBezTo>
                  <a:cubicBezTo>
                    <a:pt x="9" y="0"/>
                    <a:pt x="9" y="0"/>
                    <a:pt x="9" y="0"/>
                  </a:cubicBezTo>
                  <a:lnTo>
                    <a:pt x="7" y="0"/>
                  </a:lnTo>
                  <a:close/>
                  <a:moveTo>
                    <a:pt x="9" y="15"/>
                  </a:moveTo>
                  <a:cubicBezTo>
                    <a:pt x="9" y="16"/>
                    <a:pt x="9" y="16"/>
                    <a:pt x="9" y="16"/>
                  </a:cubicBezTo>
                  <a:cubicBezTo>
                    <a:pt x="9" y="17"/>
                    <a:pt x="9" y="17"/>
                    <a:pt x="9" y="17"/>
                  </a:cubicBezTo>
                  <a:cubicBezTo>
                    <a:pt x="7" y="17"/>
                    <a:pt x="7" y="17"/>
                    <a:pt x="7" y="17"/>
                  </a:cubicBezTo>
                  <a:cubicBezTo>
                    <a:pt x="7" y="16"/>
                    <a:pt x="7" y="16"/>
                    <a:pt x="7" y="16"/>
                  </a:cubicBezTo>
                  <a:cubicBezTo>
                    <a:pt x="7" y="15"/>
                    <a:pt x="7" y="15"/>
                    <a:pt x="7" y="15"/>
                  </a:cubicBezTo>
                  <a:lnTo>
                    <a:pt x="9" y="15"/>
                  </a:lnTo>
                  <a:close/>
                  <a:moveTo>
                    <a:pt x="14" y="3"/>
                  </a:moveTo>
                  <a:cubicBezTo>
                    <a:pt x="14" y="4"/>
                    <a:pt x="14" y="4"/>
                    <a:pt x="14" y="4"/>
                  </a:cubicBezTo>
                  <a:cubicBezTo>
                    <a:pt x="13" y="5"/>
                    <a:pt x="13" y="5"/>
                    <a:pt x="13" y="5"/>
                  </a:cubicBezTo>
                  <a:cubicBezTo>
                    <a:pt x="12" y="4"/>
                    <a:pt x="12" y="4"/>
                    <a:pt x="12" y="4"/>
                  </a:cubicBezTo>
                  <a:cubicBezTo>
                    <a:pt x="12" y="3"/>
                    <a:pt x="12" y="3"/>
                    <a:pt x="12" y="3"/>
                  </a:cubicBezTo>
                  <a:cubicBezTo>
                    <a:pt x="14" y="2"/>
                    <a:pt x="14" y="2"/>
                    <a:pt x="14" y="2"/>
                  </a:cubicBezTo>
                  <a:lnTo>
                    <a:pt x="14" y="3"/>
                  </a:lnTo>
                  <a:close/>
                  <a:moveTo>
                    <a:pt x="4" y="13"/>
                  </a:moveTo>
                  <a:cubicBezTo>
                    <a:pt x="4" y="15"/>
                    <a:pt x="4" y="15"/>
                    <a:pt x="4" y="15"/>
                  </a:cubicBezTo>
                  <a:cubicBezTo>
                    <a:pt x="3" y="15"/>
                    <a:pt x="3" y="15"/>
                    <a:pt x="3" y="15"/>
                  </a:cubicBezTo>
                  <a:cubicBezTo>
                    <a:pt x="2" y="14"/>
                    <a:pt x="2" y="14"/>
                    <a:pt x="2" y="14"/>
                  </a:cubicBezTo>
                  <a:cubicBezTo>
                    <a:pt x="2" y="13"/>
                    <a:pt x="2" y="13"/>
                    <a:pt x="2" y="13"/>
                  </a:cubicBezTo>
                  <a:cubicBezTo>
                    <a:pt x="3" y="13"/>
                    <a:pt x="3" y="13"/>
                    <a:pt x="3" y="13"/>
                  </a:cubicBezTo>
                  <a:lnTo>
                    <a:pt x="4" y="13"/>
                  </a:lnTo>
                  <a:close/>
                  <a:moveTo>
                    <a:pt x="16" y="9"/>
                  </a:moveTo>
                  <a:cubicBezTo>
                    <a:pt x="15" y="10"/>
                    <a:pt x="15" y="10"/>
                    <a:pt x="15" y="10"/>
                  </a:cubicBezTo>
                  <a:cubicBezTo>
                    <a:pt x="14" y="9"/>
                    <a:pt x="14" y="9"/>
                    <a:pt x="14" y="9"/>
                  </a:cubicBezTo>
                  <a:cubicBezTo>
                    <a:pt x="14" y="8"/>
                    <a:pt x="14" y="8"/>
                    <a:pt x="14" y="8"/>
                  </a:cubicBezTo>
                  <a:cubicBezTo>
                    <a:pt x="15" y="7"/>
                    <a:pt x="15" y="7"/>
                    <a:pt x="15" y="7"/>
                  </a:cubicBezTo>
                  <a:cubicBezTo>
                    <a:pt x="16" y="8"/>
                    <a:pt x="16" y="8"/>
                    <a:pt x="16" y="8"/>
                  </a:cubicBezTo>
                  <a:lnTo>
                    <a:pt x="16" y="9"/>
                  </a:lnTo>
                  <a:close/>
                  <a:moveTo>
                    <a:pt x="2" y="9"/>
                  </a:moveTo>
                  <a:cubicBezTo>
                    <a:pt x="1" y="10"/>
                    <a:pt x="1" y="10"/>
                    <a:pt x="1" y="10"/>
                  </a:cubicBezTo>
                  <a:cubicBezTo>
                    <a:pt x="0" y="9"/>
                    <a:pt x="0" y="9"/>
                    <a:pt x="0" y="9"/>
                  </a:cubicBezTo>
                  <a:cubicBezTo>
                    <a:pt x="0" y="8"/>
                    <a:pt x="0" y="8"/>
                    <a:pt x="0" y="8"/>
                  </a:cubicBezTo>
                  <a:cubicBezTo>
                    <a:pt x="1" y="7"/>
                    <a:pt x="1" y="7"/>
                    <a:pt x="1" y="7"/>
                  </a:cubicBezTo>
                  <a:cubicBezTo>
                    <a:pt x="2" y="8"/>
                    <a:pt x="2" y="8"/>
                    <a:pt x="2" y="8"/>
                  </a:cubicBezTo>
                  <a:lnTo>
                    <a:pt x="2" y="9"/>
                  </a:lnTo>
                  <a:close/>
                  <a:moveTo>
                    <a:pt x="14" y="15"/>
                  </a:moveTo>
                  <a:cubicBezTo>
                    <a:pt x="12" y="15"/>
                    <a:pt x="12" y="15"/>
                    <a:pt x="12" y="15"/>
                  </a:cubicBezTo>
                  <a:cubicBezTo>
                    <a:pt x="12" y="13"/>
                    <a:pt x="12" y="13"/>
                    <a:pt x="12" y="13"/>
                  </a:cubicBezTo>
                  <a:cubicBezTo>
                    <a:pt x="13" y="13"/>
                    <a:pt x="13" y="13"/>
                    <a:pt x="13" y="13"/>
                  </a:cubicBezTo>
                  <a:cubicBezTo>
                    <a:pt x="14" y="13"/>
                    <a:pt x="14" y="13"/>
                    <a:pt x="14" y="13"/>
                  </a:cubicBezTo>
                  <a:cubicBezTo>
                    <a:pt x="14" y="14"/>
                    <a:pt x="14" y="14"/>
                    <a:pt x="14" y="14"/>
                  </a:cubicBezTo>
                  <a:lnTo>
                    <a:pt x="14" y="15"/>
                  </a:lnTo>
                  <a:close/>
                  <a:moveTo>
                    <a:pt x="3" y="5"/>
                  </a:moveTo>
                  <a:cubicBezTo>
                    <a:pt x="2" y="4"/>
                    <a:pt x="2" y="4"/>
                    <a:pt x="2" y="4"/>
                  </a:cubicBezTo>
                  <a:cubicBezTo>
                    <a:pt x="2" y="3"/>
                    <a:pt x="2" y="3"/>
                    <a:pt x="2" y="3"/>
                  </a:cubicBezTo>
                  <a:cubicBezTo>
                    <a:pt x="3" y="2"/>
                    <a:pt x="3" y="2"/>
                    <a:pt x="3" y="2"/>
                  </a:cubicBezTo>
                  <a:cubicBezTo>
                    <a:pt x="4" y="3"/>
                    <a:pt x="4" y="3"/>
                    <a:pt x="4" y="3"/>
                  </a:cubicBezTo>
                  <a:cubicBezTo>
                    <a:pt x="4" y="4"/>
                    <a:pt x="4" y="4"/>
                    <a:pt x="4" y="4"/>
                  </a:cubicBezTo>
                  <a:lnTo>
                    <a:pt x="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 name="Freeform 432"/>
            <p:cNvSpPr>
              <a:spLocks noEditPoints="1"/>
            </p:cNvSpPr>
            <p:nvPr/>
          </p:nvSpPr>
          <p:spPr bwMode="auto">
            <a:xfrm>
              <a:off x="6913" y="4075"/>
              <a:ext cx="52" cy="54"/>
            </a:xfrm>
            <a:custGeom>
              <a:avLst/>
              <a:gdLst>
                <a:gd name="T0" fmla="*/ 15 w 26"/>
                <a:gd name="T1" fmla="*/ 1 h 27"/>
                <a:gd name="T2" fmla="*/ 14 w 26"/>
                <a:gd name="T3" fmla="*/ 3 h 27"/>
                <a:gd name="T4" fmla="*/ 12 w 26"/>
                <a:gd name="T5" fmla="*/ 3 h 27"/>
                <a:gd name="T6" fmla="*/ 11 w 26"/>
                <a:gd name="T7" fmla="*/ 1 h 27"/>
                <a:gd name="T8" fmla="*/ 15 w 26"/>
                <a:gd name="T9" fmla="*/ 1 h 27"/>
                <a:gd name="T10" fmla="*/ 12 w 26"/>
                <a:gd name="T11" fmla="*/ 24 h 27"/>
                <a:gd name="T12" fmla="*/ 11 w 26"/>
                <a:gd name="T13" fmla="*/ 26 h 27"/>
                <a:gd name="T14" fmla="*/ 15 w 26"/>
                <a:gd name="T15" fmla="*/ 26 h 27"/>
                <a:gd name="T16" fmla="*/ 14 w 26"/>
                <a:gd name="T17" fmla="*/ 24 h 27"/>
                <a:gd name="T18" fmla="*/ 12 w 26"/>
                <a:gd name="T19" fmla="*/ 24 h 27"/>
                <a:gd name="T20" fmla="*/ 5 w 26"/>
                <a:gd name="T21" fmla="*/ 3 h 27"/>
                <a:gd name="T22" fmla="*/ 7 w 26"/>
                <a:gd name="T23" fmla="*/ 5 h 27"/>
                <a:gd name="T24" fmla="*/ 9 w 26"/>
                <a:gd name="T25" fmla="*/ 4 h 27"/>
                <a:gd name="T26" fmla="*/ 8 w 26"/>
                <a:gd name="T27" fmla="*/ 2 h 27"/>
                <a:gd name="T28" fmla="*/ 5 w 26"/>
                <a:gd name="T29" fmla="*/ 3 h 27"/>
                <a:gd name="T30" fmla="*/ 17 w 26"/>
                <a:gd name="T31" fmla="*/ 23 h 27"/>
                <a:gd name="T32" fmla="*/ 18 w 26"/>
                <a:gd name="T33" fmla="*/ 26 h 27"/>
                <a:gd name="T34" fmla="*/ 21 w 26"/>
                <a:gd name="T35" fmla="*/ 24 h 27"/>
                <a:gd name="T36" fmla="*/ 19 w 26"/>
                <a:gd name="T37" fmla="*/ 22 h 27"/>
                <a:gd name="T38" fmla="*/ 17 w 26"/>
                <a:gd name="T39" fmla="*/ 23 h 27"/>
                <a:gd name="T40" fmla="*/ 1 w 26"/>
                <a:gd name="T41" fmla="*/ 9 h 27"/>
                <a:gd name="T42" fmla="*/ 3 w 26"/>
                <a:gd name="T43" fmla="*/ 9 h 27"/>
                <a:gd name="T44" fmla="*/ 5 w 26"/>
                <a:gd name="T45" fmla="*/ 7 h 27"/>
                <a:gd name="T46" fmla="*/ 3 w 26"/>
                <a:gd name="T47" fmla="*/ 6 h 27"/>
                <a:gd name="T48" fmla="*/ 1 w 26"/>
                <a:gd name="T49" fmla="*/ 9 h 27"/>
                <a:gd name="T50" fmla="*/ 22 w 26"/>
                <a:gd name="T51" fmla="*/ 20 h 27"/>
                <a:gd name="T52" fmla="*/ 23 w 26"/>
                <a:gd name="T53" fmla="*/ 22 h 27"/>
                <a:gd name="T54" fmla="*/ 25 w 26"/>
                <a:gd name="T55" fmla="*/ 19 h 27"/>
                <a:gd name="T56" fmla="*/ 23 w 26"/>
                <a:gd name="T57" fmla="*/ 18 h 27"/>
                <a:gd name="T58" fmla="*/ 22 w 26"/>
                <a:gd name="T59" fmla="*/ 20 h 27"/>
                <a:gd name="T60" fmla="*/ 3 w 26"/>
                <a:gd name="T61" fmla="*/ 12 h 27"/>
                <a:gd name="T62" fmla="*/ 0 w 26"/>
                <a:gd name="T63" fmla="*/ 12 h 27"/>
                <a:gd name="T64" fmla="*/ 0 w 26"/>
                <a:gd name="T65" fmla="*/ 15 h 27"/>
                <a:gd name="T66" fmla="*/ 3 w 26"/>
                <a:gd name="T67" fmla="*/ 15 h 27"/>
                <a:gd name="T68" fmla="*/ 3 w 26"/>
                <a:gd name="T69" fmla="*/ 12 h 27"/>
                <a:gd name="T70" fmla="*/ 26 w 26"/>
                <a:gd name="T71" fmla="*/ 12 h 27"/>
                <a:gd name="T72" fmla="*/ 24 w 26"/>
                <a:gd name="T73" fmla="*/ 12 h 27"/>
                <a:gd name="T74" fmla="*/ 24 w 26"/>
                <a:gd name="T75" fmla="*/ 15 h 27"/>
                <a:gd name="T76" fmla="*/ 26 w 26"/>
                <a:gd name="T77" fmla="*/ 15 h 27"/>
                <a:gd name="T78" fmla="*/ 26 w 26"/>
                <a:gd name="T79" fmla="*/ 12 h 27"/>
                <a:gd name="T80" fmla="*/ 1 w 26"/>
                <a:gd name="T81" fmla="*/ 19 h 27"/>
                <a:gd name="T82" fmla="*/ 3 w 26"/>
                <a:gd name="T83" fmla="*/ 22 h 27"/>
                <a:gd name="T84" fmla="*/ 5 w 26"/>
                <a:gd name="T85" fmla="*/ 20 h 27"/>
                <a:gd name="T86" fmla="*/ 3 w 26"/>
                <a:gd name="T87" fmla="*/ 18 h 27"/>
                <a:gd name="T88" fmla="*/ 1 w 26"/>
                <a:gd name="T89" fmla="*/ 19 h 27"/>
                <a:gd name="T90" fmla="*/ 25 w 26"/>
                <a:gd name="T91" fmla="*/ 9 h 27"/>
                <a:gd name="T92" fmla="*/ 23 w 26"/>
                <a:gd name="T93" fmla="*/ 6 h 27"/>
                <a:gd name="T94" fmla="*/ 22 w 26"/>
                <a:gd name="T95" fmla="*/ 7 h 27"/>
                <a:gd name="T96" fmla="*/ 23 w 26"/>
                <a:gd name="T97" fmla="*/ 9 h 27"/>
                <a:gd name="T98" fmla="*/ 25 w 26"/>
                <a:gd name="T99" fmla="*/ 9 h 27"/>
                <a:gd name="T100" fmla="*/ 5 w 26"/>
                <a:gd name="T101" fmla="*/ 24 h 27"/>
                <a:gd name="T102" fmla="*/ 8 w 26"/>
                <a:gd name="T103" fmla="*/ 26 h 27"/>
                <a:gd name="T104" fmla="*/ 9 w 26"/>
                <a:gd name="T105" fmla="*/ 23 h 27"/>
                <a:gd name="T106" fmla="*/ 7 w 26"/>
                <a:gd name="T107" fmla="*/ 22 h 27"/>
                <a:gd name="T108" fmla="*/ 5 w 26"/>
                <a:gd name="T109" fmla="*/ 24 h 27"/>
                <a:gd name="T110" fmla="*/ 17 w 26"/>
                <a:gd name="T111" fmla="*/ 4 h 27"/>
                <a:gd name="T112" fmla="*/ 19 w 26"/>
                <a:gd name="T113" fmla="*/ 5 h 27"/>
                <a:gd name="T114" fmla="*/ 21 w 26"/>
                <a:gd name="T115" fmla="*/ 3 h 27"/>
                <a:gd name="T116" fmla="*/ 18 w 26"/>
                <a:gd name="T117" fmla="*/ 2 h 27"/>
                <a:gd name="T118" fmla="*/ 17 w 26"/>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 h="27">
                  <a:moveTo>
                    <a:pt x="15" y="1"/>
                  </a:moveTo>
                  <a:cubicBezTo>
                    <a:pt x="14" y="3"/>
                    <a:pt x="14" y="3"/>
                    <a:pt x="14" y="3"/>
                  </a:cubicBezTo>
                  <a:cubicBezTo>
                    <a:pt x="12" y="3"/>
                    <a:pt x="12" y="3"/>
                    <a:pt x="12" y="3"/>
                  </a:cubicBezTo>
                  <a:cubicBezTo>
                    <a:pt x="11" y="1"/>
                    <a:pt x="11" y="1"/>
                    <a:pt x="11" y="1"/>
                  </a:cubicBezTo>
                  <a:cubicBezTo>
                    <a:pt x="13" y="0"/>
                    <a:pt x="14" y="0"/>
                    <a:pt x="15" y="1"/>
                  </a:cubicBezTo>
                  <a:close/>
                  <a:moveTo>
                    <a:pt x="12" y="24"/>
                  </a:moveTo>
                  <a:cubicBezTo>
                    <a:pt x="11" y="26"/>
                    <a:pt x="11" y="26"/>
                    <a:pt x="11" y="26"/>
                  </a:cubicBezTo>
                  <a:cubicBezTo>
                    <a:pt x="12" y="27"/>
                    <a:pt x="14" y="27"/>
                    <a:pt x="15" y="26"/>
                  </a:cubicBezTo>
                  <a:cubicBezTo>
                    <a:pt x="14" y="24"/>
                    <a:pt x="14" y="24"/>
                    <a:pt x="14" y="24"/>
                  </a:cubicBezTo>
                  <a:lnTo>
                    <a:pt x="12" y="24"/>
                  </a:lnTo>
                  <a:close/>
                  <a:moveTo>
                    <a:pt x="5" y="3"/>
                  </a:moveTo>
                  <a:cubicBezTo>
                    <a:pt x="7" y="5"/>
                    <a:pt x="7" y="5"/>
                    <a:pt x="7" y="5"/>
                  </a:cubicBezTo>
                  <a:cubicBezTo>
                    <a:pt x="9" y="4"/>
                    <a:pt x="9" y="4"/>
                    <a:pt x="9" y="4"/>
                  </a:cubicBezTo>
                  <a:cubicBezTo>
                    <a:pt x="8" y="2"/>
                    <a:pt x="8" y="2"/>
                    <a:pt x="8" y="2"/>
                  </a:cubicBezTo>
                  <a:cubicBezTo>
                    <a:pt x="7" y="2"/>
                    <a:pt x="6" y="2"/>
                    <a:pt x="5" y="3"/>
                  </a:cubicBezTo>
                  <a:close/>
                  <a:moveTo>
                    <a:pt x="17" y="23"/>
                  </a:moveTo>
                  <a:cubicBezTo>
                    <a:pt x="18" y="26"/>
                    <a:pt x="18" y="26"/>
                    <a:pt x="18" y="26"/>
                  </a:cubicBezTo>
                  <a:cubicBezTo>
                    <a:pt x="19" y="25"/>
                    <a:pt x="20" y="25"/>
                    <a:pt x="21" y="24"/>
                  </a:cubicBezTo>
                  <a:cubicBezTo>
                    <a:pt x="19" y="22"/>
                    <a:pt x="19" y="22"/>
                    <a:pt x="19" y="22"/>
                  </a:cubicBezTo>
                  <a:lnTo>
                    <a:pt x="17" y="23"/>
                  </a:lnTo>
                  <a:close/>
                  <a:moveTo>
                    <a:pt x="1" y="9"/>
                  </a:moveTo>
                  <a:cubicBezTo>
                    <a:pt x="3" y="9"/>
                    <a:pt x="3" y="9"/>
                    <a:pt x="3" y="9"/>
                  </a:cubicBezTo>
                  <a:cubicBezTo>
                    <a:pt x="5" y="7"/>
                    <a:pt x="5" y="7"/>
                    <a:pt x="5" y="7"/>
                  </a:cubicBezTo>
                  <a:cubicBezTo>
                    <a:pt x="3" y="6"/>
                    <a:pt x="3" y="6"/>
                    <a:pt x="3" y="6"/>
                  </a:cubicBezTo>
                  <a:cubicBezTo>
                    <a:pt x="2" y="6"/>
                    <a:pt x="1" y="7"/>
                    <a:pt x="1" y="9"/>
                  </a:cubicBezTo>
                  <a:close/>
                  <a:moveTo>
                    <a:pt x="22" y="20"/>
                  </a:moveTo>
                  <a:cubicBezTo>
                    <a:pt x="23" y="22"/>
                    <a:pt x="23" y="22"/>
                    <a:pt x="23" y="22"/>
                  </a:cubicBezTo>
                  <a:cubicBezTo>
                    <a:pt x="24" y="21"/>
                    <a:pt x="25" y="20"/>
                    <a:pt x="25" y="19"/>
                  </a:cubicBezTo>
                  <a:cubicBezTo>
                    <a:pt x="23" y="18"/>
                    <a:pt x="23" y="18"/>
                    <a:pt x="23" y="18"/>
                  </a:cubicBezTo>
                  <a:lnTo>
                    <a:pt x="22" y="20"/>
                  </a:lnTo>
                  <a:close/>
                  <a:moveTo>
                    <a:pt x="3" y="12"/>
                  </a:moveTo>
                  <a:cubicBezTo>
                    <a:pt x="0" y="12"/>
                    <a:pt x="0" y="12"/>
                    <a:pt x="0" y="12"/>
                  </a:cubicBezTo>
                  <a:cubicBezTo>
                    <a:pt x="0" y="13"/>
                    <a:pt x="0" y="14"/>
                    <a:pt x="0"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6" y="14"/>
                    <a:pt x="26" y="13"/>
                    <a:pt x="26" y="12"/>
                  </a:cubicBezTo>
                  <a:close/>
                  <a:moveTo>
                    <a:pt x="1" y="19"/>
                  </a:moveTo>
                  <a:cubicBezTo>
                    <a:pt x="1" y="20"/>
                    <a:pt x="2" y="21"/>
                    <a:pt x="3" y="22"/>
                  </a:cubicBezTo>
                  <a:cubicBezTo>
                    <a:pt x="5" y="20"/>
                    <a:pt x="5" y="20"/>
                    <a:pt x="5" y="20"/>
                  </a:cubicBezTo>
                  <a:cubicBezTo>
                    <a:pt x="3" y="18"/>
                    <a:pt x="3" y="18"/>
                    <a:pt x="3" y="18"/>
                  </a:cubicBezTo>
                  <a:lnTo>
                    <a:pt x="1" y="19"/>
                  </a:lnTo>
                  <a:close/>
                  <a:moveTo>
                    <a:pt x="25" y="9"/>
                  </a:moveTo>
                  <a:cubicBezTo>
                    <a:pt x="25" y="8"/>
                    <a:pt x="24" y="7"/>
                    <a:pt x="23" y="6"/>
                  </a:cubicBezTo>
                  <a:cubicBezTo>
                    <a:pt x="22" y="7"/>
                    <a:pt x="22" y="7"/>
                    <a:pt x="22" y="7"/>
                  </a:cubicBezTo>
                  <a:cubicBezTo>
                    <a:pt x="23" y="9"/>
                    <a:pt x="23" y="9"/>
                    <a:pt x="23" y="9"/>
                  </a:cubicBezTo>
                  <a:lnTo>
                    <a:pt x="25" y="9"/>
                  </a:lnTo>
                  <a:close/>
                  <a:moveTo>
                    <a:pt x="5" y="24"/>
                  </a:moveTo>
                  <a:cubicBezTo>
                    <a:pt x="6" y="25"/>
                    <a:pt x="7" y="25"/>
                    <a:pt x="8" y="26"/>
                  </a:cubicBezTo>
                  <a:cubicBezTo>
                    <a:pt x="9" y="23"/>
                    <a:pt x="9" y="23"/>
                    <a:pt x="9" y="23"/>
                  </a:cubicBezTo>
                  <a:cubicBezTo>
                    <a:pt x="7" y="22"/>
                    <a:pt x="7" y="22"/>
                    <a:pt x="7" y="22"/>
                  </a:cubicBezTo>
                  <a:lnTo>
                    <a:pt x="5" y="24"/>
                  </a:lnTo>
                  <a:close/>
                  <a:moveTo>
                    <a:pt x="17" y="4"/>
                  </a:moveTo>
                  <a:cubicBezTo>
                    <a:pt x="19" y="5"/>
                    <a:pt x="19" y="5"/>
                    <a:pt x="19" y="5"/>
                  </a:cubicBezTo>
                  <a:cubicBezTo>
                    <a:pt x="21" y="3"/>
                    <a:pt x="21" y="3"/>
                    <a:pt x="21" y="3"/>
                  </a:cubicBezTo>
                  <a:cubicBezTo>
                    <a:pt x="20" y="2"/>
                    <a:pt x="19" y="2"/>
                    <a:pt x="18" y="2"/>
                  </a:cubicBezTo>
                  <a:lnTo>
                    <a:pt x="1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 name="Oval 433"/>
            <p:cNvSpPr>
              <a:spLocks noChangeArrowheads="1"/>
            </p:cNvSpPr>
            <p:nvPr/>
          </p:nvSpPr>
          <p:spPr bwMode="auto">
            <a:xfrm>
              <a:off x="6444" y="4050"/>
              <a:ext cx="105"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Oval 434"/>
            <p:cNvSpPr>
              <a:spLocks noChangeArrowheads="1"/>
            </p:cNvSpPr>
            <p:nvPr/>
          </p:nvSpPr>
          <p:spPr bwMode="auto">
            <a:xfrm>
              <a:off x="6466"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Oval 435"/>
            <p:cNvSpPr>
              <a:spLocks noChangeArrowheads="1"/>
            </p:cNvSpPr>
            <p:nvPr/>
          </p:nvSpPr>
          <p:spPr bwMode="auto">
            <a:xfrm>
              <a:off x="6476"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Freeform 436"/>
            <p:cNvSpPr>
              <a:spLocks noEditPoints="1"/>
            </p:cNvSpPr>
            <p:nvPr/>
          </p:nvSpPr>
          <p:spPr bwMode="auto">
            <a:xfrm>
              <a:off x="6478"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Freeform 437"/>
            <p:cNvSpPr>
              <a:spLocks noEditPoints="1"/>
            </p:cNvSpPr>
            <p:nvPr/>
          </p:nvSpPr>
          <p:spPr bwMode="auto">
            <a:xfrm>
              <a:off x="6468"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Oval 438"/>
            <p:cNvSpPr>
              <a:spLocks noChangeArrowheads="1"/>
            </p:cNvSpPr>
            <p:nvPr/>
          </p:nvSpPr>
          <p:spPr bwMode="auto">
            <a:xfrm>
              <a:off x="6330" y="4050"/>
              <a:ext cx="104" cy="10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Oval 439"/>
            <p:cNvSpPr>
              <a:spLocks noChangeArrowheads="1"/>
            </p:cNvSpPr>
            <p:nvPr/>
          </p:nvSpPr>
          <p:spPr bwMode="auto">
            <a:xfrm>
              <a:off x="6352" y="4073"/>
              <a:ext cx="58" cy="58"/>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 name="Oval 440"/>
            <p:cNvSpPr>
              <a:spLocks noChangeArrowheads="1"/>
            </p:cNvSpPr>
            <p:nvPr/>
          </p:nvSpPr>
          <p:spPr bwMode="auto">
            <a:xfrm>
              <a:off x="6362" y="4083"/>
              <a:ext cx="38" cy="38"/>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9" name="Freeform 441"/>
            <p:cNvSpPr>
              <a:spLocks noEditPoints="1"/>
            </p:cNvSpPr>
            <p:nvPr/>
          </p:nvSpPr>
          <p:spPr bwMode="auto">
            <a:xfrm>
              <a:off x="6364" y="4085"/>
              <a:ext cx="34" cy="34"/>
            </a:xfrm>
            <a:custGeom>
              <a:avLst/>
              <a:gdLst>
                <a:gd name="T0" fmla="*/ 14 w 17"/>
                <a:gd name="T1" fmla="*/ 9 h 17"/>
                <a:gd name="T2" fmla="*/ 9 w 17"/>
                <a:gd name="T3" fmla="*/ 14 h 17"/>
                <a:gd name="T4" fmla="*/ 4 w 17"/>
                <a:gd name="T5" fmla="*/ 9 h 17"/>
                <a:gd name="T6" fmla="*/ 9 w 17"/>
                <a:gd name="T7" fmla="*/ 4 h 17"/>
                <a:gd name="T8" fmla="*/ 14 w 17"/>
                <a:gd name="T9" fmla="*/ 9 h 17"/>
                <a:gd name="T10" fmla="*/ 8 w 17"/>
                <a:gd name="T11" fmla="*/ 0 h 17"/>
                <a:gd name="T12" fmla="*/ 7 w 17"/>
                <a:gd name="T13" fmla="*/ 2 h 17"/>
                <a:gd name="T14" fmla="*/ 8 w 17"/>
                <a:gd name="T15" fmla="*/ 3 h 17"/>
                <a:gd name="T16" fmla="*/ 9 w 17"/>
                <a:gd name="T17" fmla="*/ 3 h 17"/>
                <a:gd name="T18" fmla="*/ 10 w 17"/>
                <a:gd name="T19" fmla="*/ 2 h 17"/>
                <a:gd name="T20" fmla="*/ 9 w 17"/>
                <a:gd name="T21" fmla="*/ 0 h 17"/>
                <a:gd name="T22" fmla="*/ 8 w 17"/>
                <a:gd name="T23" fmla="*/ 0 h 17"/>
                <a:gd name="T24" fmla="*/ 9 w 17"/>
                <a:gd name="T25" fmla="*/ 15 h 17"/>
                <a:gd name="T26" fmla="*/ 10 w 17"/>
                <a:gd name="T27" fmla="*/ 16 h 17"/>
                <a:gd name="T28" fmla="*/ 9 w 17"/>
                <a:gd name="T29" fmla="*/ 17 h 17"/>
                <a:gd name="T30" fmla="*/ 8 w 17"/>
                <a:gd name="T31" fmla="*/ 17 h 17"/>
                <a:gd name="T32" fmla="*/ 7 w 17"/>
                <a:gd name="T33" fmla="*/ 16 h 17"/>
                <a:gd name="T34" fmla="*/ 8 w 17"/>
                <a:gd name="T35" fmla="*/ 15 h 17"/>
                <a:gd name="T36" fmla="*/ 9 w 17"/>
                <a:gd name="T37" fmla="*/ 15 h 17"/>
                <a:gd name="T38" fmla="*/ 15 w 17"/>
                <a:gd name="T39" fmla="*/ 3 h 17"/>
                <a:gd name="T40" fmla="*/ 15 w 17"/>
                <a:gd name="T41" fmla="*/ 4 h 17"/>
                <a:gd name="T42" fmla="*/ 13 w 17"/>
                <a:gd name="T43" fmla="*/ 5 h 17"/>
                <a:gd name="T44" fmla="*/ 12 w 17"/>
                <a:gd name="T45" fmla="*/ 4 h 17"/>
                <a:gd name="T46" fmla="*/ 13 w 17"/>
                <a:gd name="T47" fmla="*/ 3 h 17"/>
                <a:gd name="T48" fmla="*/ 14 w 17"/>
                <a:gd name="T49" fmla="*/ 2 h 17"/>
                <a:gd name="T50" fmla="*/ 15 w 17"/>
                <a:gd name="T51" fmla="*/ 3 h 17"/>
                <a:gd name="T52" fmla="*/ 5 w 17"/>
                <a:gd name="T53" fmla="*/ 13 h 17"/>
                <a:gd name="T54" fmla="*/ 4 w 17"/>
                <a:gd name="T55" fmla="*/ 15 h 17"/>
                <a:gd name="T56" fmla="*/ 3 w 17"/>
                <a:gd name="T57" fmla="*/ 15 h 17"/>
                <a:gd name="T58" fmla="*/ 2 w 17"/>
                <a:gd name="T59" fmla="*/ 14 h 17"/>
                <a:gd name="T60" fmla="*/ 3 w 17"/>
                <a:gd name="T61" fmla="*/ 13 h 17"/>
                <a:gd name="T62" fmla="*/ 4 w 17"/>
                <a:gd name="T63" fmla="*/ 13 h 17"/>
                <a:gd name="T64" fmla="*/ 5 w 17"/>
                <a:gd name="T65" fmla="*/ 13 h 17"/>
                <a:gd name="T66" fmla="*/ 17 w 17"/>
                <a:gd name="T67" fmla="*/ 9 h 17"/>
                <a:gd name="T68" fmla="*/ 16 w 17"/>
                <a:gd name="T69" fmla="*/ 10 h 17"/>
                <a:gd name="T70" fmla="*/ 15 w 17"/>
                <a:gd name="T71" fmla="*/ 9 h 17"/>
                <a:gd name="T72" fmla="*/ 15 w 17"/>
                <a:gd name="T73" fmla="*/ 8 h 17"/>
                <a:gd name="T74" fmla="*/ 16 w 17"/>
                <a:gd name="T75" fmla="*/ 7 h 17"/>
                <a:gd name="T76" fmla="*/ 17 w 17"/>
                <a:gd name="T77" fmla="*/ 8 h 17"/>
                <a:gd name="T78" fmla="*/ 17 w 17"/>
                <a:gd name="T79" fmla="*/ 9 h 17"/>
                <a:gd name="T80" fmla="*/ 3 w 17"/>
                <a:gd name="T81" fmla="*/ 9 h 17"/>
                <a:gd name="T82" fmla="*/ 1 w 17"/>
                <a:gd name="T83" fmla="*/ 10 h 17"/>
                <a:gd name="T84" fmla="*/ 0 w 17"/>
                <a:gd name="T85" fmla="*/ 9 h 17"/>
                <a:gd name="T86" fmla="*/ 0 w 17"/>
                <a:gd name="T87" fmla="*/ 8 h 17"/>
                <a:gd name="T88" fmla="*/ 1 w 17"/>
                <a:gd name="T89" fmla="*/ 7 h 17"/>
                <a:gd name="T90" fmla="*/ 3 w 17"/>
                <a:gd name="T91" fmla="*/ 8 h 17"/>
                <a:gd name="T92" fmla="*/ 3 w 17"/>
                <a:gd name="T93" fmla="*/ 9 h 17"/>
                <a:gd name="T94" fmla="*/ 14 w 17"/>
                <a:gd name="T95" fmla="*/ 15 h 17"/>
                <a:gd name="T96" fmla="*/ 13 w 17"/>
                <a:gd name="T97" fmla="*/ 15 h 17"/>
                <a:gd name="T98" fmla="*/ 12 w 17"/>
                <a:gd name="T99" fmla="*/ 13 h 17"/>
                <a:gd name="T100" fmla="*/ 13 w 17"/>
                <a:gd name="T101" fmla="*/ 13 h 17"/>
                <a:gd name="T102" fmla="*/ 15 w 17"/>
                <a:gd name="T103" fmla="*/ 13 h 17"/>
                <a:gd name="T104" fmla="*/ 15 w 17"/>
                <a:gd name="T105" fmla="*/ 14 h 17"/>
                <a:gd name="T106" fmla="*/ 14 w 17"/>
                <a:gd name="T107" fmla="*/ 15 h 17"/>
                <a:gd name="T108" fmla="*/ 4 w 17"/>
                <a:gd name="T109" fmla="*/ 5 h 17"/>
                <a:gd name="T110" fmla="*/ 3 w 17"/>
                <a:gd name="T111" fmla="*/ 4 h 17"/>
                <a:gd name="T112" fmla="*/ 2 w 17"/>
                <a:gd name="T113" fmla="*/ 3 h 17"/>
                <a:gd name="T114" fmla="*/ 3 w 17"/>
                <a:gd name="T115" fmla="*/ 2 h 17"/>
                <a:gd name="T116" fmla="*/ 4 w 17"/>
                <a:gd name="T117" fmla="*/ 3 h 17"/>
                <a:gd name="T118" fmla="*/ 5 w 17"/>
                <a:gd name="T119" fmla="*/ 4 h 17"/>
                <a:gd name="T120" fmla="*/ 4 w 17"/>
                <a:gd name="T1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7">
                  <a:moveTo>
                    <a:pt x="14" y="9"/>
                  </a:moveTo>
                  <a:cubicBezTo>
                    <a:pt x="14" y="11"/>
                    <a:pt x="11" y="14"/>
                    <a:pt x="9" y="14"/>
                  </a:cubicBezTo>
                  <a:cubicBezTo>
                    <a:pt x="6" y="14"/>
                    <a:pt x="4" y="11"/>
                    <a:pt x="4" y="9"/>
                  </a:cubicBezTo>
                  <a:cubicBezTo>
                    <a:pt x="4" y="6"/>
                    <a:pt x="6" y="4"/>
                    <a:pt x="9" y="4"/>
                  </a:cubicBezTo>
                  <a:cubicBezTo>
                    <a:pt x="11" y="4"/>
                    <a:pt x="14" y="6"/>
                    <a:pt x="14" y="9"/>
                  </a:cubicBezTo>
                  <a:close/>
                  <a:moveTo>
                    <a:pt x="8" y="0"/>
                  </a:moveTo>
                  <a:cubicBezTo>
                    <a:pt x="7" y="2"/>
                    <a:pt x="7" y="2"/>
                    <a:pt x="7" y="2"/>
                  </a:cubicBezTo>
                  <a:cubicBezTo>
                    <a:pt x="8" y="3"/>
                    <a:pt x="8" y="3"/>
                    <a:pt x="8" y="3"/>
                  </a:cubicBezTo>
                  <a:cubicBezTo>
                    <a:pt x="9" y="3"/>
                    <a:pt x="9" y="3"/>
                    <a:pt x="9" y="3"/>
                  </a:cubicBezTo>
                  <a:cubicBezTo>
                    <a:pt x="10" y="2"/>
                    <a:pt x="10" y="2"/>
                    <a:pt x="10" y="2"/>
                  </a:cubicBezTo>
                  <a:cubicBezTo>
                    <a:pt x="9" y="0"/>
                    <a:pt x="9" y="0"/>
                    <a:pt x="9" y="0"/>
                  </a:cubicBezTo>
                  <a:lnTo>
                    <a:pt x="8" y="0"/>
                  </a:lnTo>
                  <a:close/>
                  <a:moveTo>
                    <a:pt x="9" y="15"/>
                  </a:moveTo>
                  <a:cubicBezTo>
                    <a:pt x="10" y="16"/>
                    <a:pt x="10" y="16"/>
                    <a:pt x="10" y="16"/>
                  </a:cubicBezTo>
                  <a:cubicBezTo>
                    <a:pt x="9" y="17"/>
                    <a:pt x="9" y="17"/>
                    <a:pt x="9" y="17"/>
                  </a:cubicBezTo>
                  <a:cubicBezTo>
                    <a:pt x="8" y="17"/>
                    <a:pt x="8" y="17"/>
                    <a:pt x="8" y="17"/>
                  </a:cubicBezTo>
                  <a:cubicBezTo>
                    <a:pt x="7" y="16"/>
                    <a:pt x="7" y="16"/>
                    <a:pt x="7" y="16"/>
                  </a:cubicBezTo>
                  <a:cubicBezTo>
                    <a:pt x="8" y="15"/>
                    <a:pt x="8" y="15"/>
                    <a:pt x="8" y="15"/>
                  </a:cubicBezTo>
                  <a:lnTo>
                    <a:pt x="9" y="15"/>
                  </a:lnTo>
                  <a:close/>
                  <a:moveTo>
                    <a:pt x="15" y="3"/>
                  </a:moveTo>
                  <a:cubicBezTo>
                    <a:pt x="15" y="4"/>
                    <a:pt x="15" y="4"/>
                    <a:pt x="15" y="4"/>
                  </a:cubicBezTo>
                  <a:cubicBezTo>
                    <a:pt x="13" y="5"/>
                    <a:pt x="13" y="5"/>
                    <a:pt x="13" y="5"/>
                  </a:cubicBezTo>
                  <a:cubicBezTo>
                    <a:pt x="12" y="4"/>
                    <a:pt x="12" y="4"/>
                    <a:pt x="12" y="4"/>
                  </a:cubicBezTo>
                  <a:cubicBezTo>
                    <a:pt x="13" y="3"/>
                    <a:pt x="13" y="3"/>
                    <a:pt x="13" y="3"/>
                  </a:cubicBezTo>
                  <a:cubicBezTo>
                    <a:pt x="14" y="2"/>
                    <a:pt x="14" y="2"/>
                    <a:pt x="14" y="2"/>
                  </a:cubicBezTo>
                  <a:lnTo>
                    <a:pt x="15" y="3"/>
                  </a:lnTo>
                  <a:close/>
                  <a:moveTo>
                    <a:pt x="5" y="13"/>
                  </a:moveTo>
                  <a:cubicBezTo>
                    <a:pt x="4" y="15"/>
                    <a:pt x="4" y="15"/>
                    <a:pt x="4" y="15"/>
                  </a:cubicBezTo>
                  <a:cubicBezTo>
                    <a:pt x="3" y="15"/>
                    <a:pt x="3" y="15"/>
                    <a:pt x="3" y="15"/>
                  </a:cubicBezTo>
                  <a:cubicBezTo>
                    <a:pt x="2" y="14"/>
                    <a:pt x="2" y="14"/>
                    <a:pt x="2" y="14"/>
                  </a:cubicBezTo>
                  <a:cubicBezTo>
                    <a:pt x="3" y="13"/>
                    <a:pt x="3" y="13"/>
                    <a:pt x="3" y="13"/>
                  </a:cubicBezTo>
                  <a:cubicBezTo>
                    <a:pt x="4" y="13"/>
                    <a:pt x="4" y="13"/>
                    <a:pt x="4" y="13"/>
                  </a:cubicBezTo>
                  <a:lnTo>
                    <a:pt x="5" y="13"/>
                  </a:lnTo>
                  <a:close/>
                  <a:moveTo>
                    <a:pt x="17" y="9"/>
                  </a:moveTo>
                  <a:cubicBezTo>
                    <a:pt x="16" y="10"/>
                    <a:pt x="16" y="10"/>
                    <a:pt x="16" y="10"/>
                  </a:cubicBezTo>
                  <a:cubicBezTo>
                    <a:pt x="15" y="9"/>
                    <a:pt x="15" y="9"/>
                    <a:pt x="15" y="9"/>
                  </a:cubicBezTo>
                  <a:cubicBezTo>
                    <a:pt x="15" y="8"/>
                    <a:pt x="15" y="8"/>
                    <a:pt x="15" y="8"/>
                  </a:cubicBezTo>
                  <a:cubicBezTo>
                    <a:pt x="16" y="7"/>
                    <a:pt x="16" y="7"/>
                    <a:pt x="16" y="7"/>
                  </a:cubicBezTo>
                  <a:cubicBezTo>
                    <a:pt x="17" y="8"/>
                    <a:pt x="17" y="8"/>
                    <a:pt x="17" y="8"/>
                  </a:cubicBezTo>
                  <a:lnTo>
                    <a:pt x="17" y="9"/>
                  </a:lnTo>
                  <a:close/>
                  <a:moveTo>
                    <a:pt x="3" y="9"/>
                  </a:moveTo>
                  <a:cubicBezTo>
                    <a:pt x="1" y="10"/>
                    <a:pt x="1" y="10"/>
                    <a:pt x="1" y="10"/>
                  </a:cubicBezTo>
                  <a:cubicBezTo>
                    <a:pt x="0" y="9"/>
                    <a:pt x="0" y="9"/>
                    <a:pt x="0" y="9"/>
                  </a:cubicBezTo>
                  <a:cubicBezTo>
                    <a:pt x="0" y="8"/>
                    <a:pt x="0" y="8"/>
                    <a:pt x="0" y="8"/>
                  </a:cubicBezTo>
                  <a:cubicBezTo>
                    <a:pt x="1" y="7"/>
                    <a:pt x="1" y="7"/>
                    <a:pt x="1" y="7"/>
                  </a:cubicBezTo>
                  <a:cubicBezTo>
                    <a:pt x="3" y="8"/>
                    <a:pt x="3" y="8"/>
                    <a:pt x="3" y="8"/>
                  </a:cubicBezTo>
                  <a:lnTo>
                    <a:pt x="3" y="9"/>
                  </a:lnTo>
                  <a:close/>
                  <a:moveTo>
                    <a:pt x="14" y="15"/>
                  </a:moveTo>
                  <a:cubicBezTo>
                    <a:pt x="13" y="15"/>
                    <a:pt x="13" y="15"/>
                    <a:pt x="13" y="15"/>
                  </a:cubicBezTo>
                  <a:cubicBezTo>
                    <a:pt x="12" y="13"/>
                    <a:pt x="12" y="13"/>
                    <a:pt x="12" y="13"/>
                  </a:cubicBezTo>
                  <a:cubicBezTo>
                    <a:pt x="13" y="13"/>
                    <a:pt x="13" y="13"/>
                    <a:pt x="13" y="13"/>
                  </a:cubicBezTo>
                  <a:cubicBezTo>
                    <a:pt x="15" y="13"/>
                    <a:pt x="15" y="13"/>
                    <a:pt x="15" y="13"/>
                  </a:cubicBezTo>
                  <a:cubicBezTo>
                    <a:pt x="15" y="14"/>
                    <a:pt x="15" y="14"/>
                    <a:pt x="15" y="14"/>
                  </a:cubicBezTo>
                  <a:lnTo>
                    <a:pt x="14" y="15"/>
                  </a:lnTo>
                  <a:close/>
                  <a:moveTo>
                    <a:pt x="4" y="5"/>
                  </a:moveTo>
                  <a:cubicBezTo>
                    <a:pt x="3" y="4"/>
                    <a:pt x="3" y="4"/>
                    <a:pt x="3" y="4"/>
                  </a:cubicBezTo>
                  <a:cubicBezTo>
                    <a:pt x="2" y="3"/>
                    <a:pt x="2" y="3"/>
                    <a:pt x="2" y="3"/>
                  </a:cubicBezTo>
                  <a:cubicBezTo>
                    <a:pt x="3" y="2"/>
                    <a:pt x="3" y="2"/>
                    <a:pt x="3" y="2"/>
                  </a:cubicBezTo>
                  <a:cubicBezTo>
                    <a:pt x="4" y="3"/>
                    <a:pt x="4" y="3"/>
                    <a:pt x="4" y="3"/>
                  </a:cubicBezTo>
                  <a:cubicBezTo>
                    <a:pt x="5" y="4"/>
                    <a:pt x="5" y="4"/>
                    <a:pt x="5" y="4"/>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Freeform 442"/>
            <p:cNvSpPr>
              <a:spLocks noEditPoints="1"/>
            </p:cNvSpPr>
            <p:nvPr/>
          </p:nvSpPr>
          <p:spPr bwMode="auto">
            <a:xfrm>
              <a:off x="6354" y="4075"/>
              <a:ext cx="54" cy="54"/>
            </a:xfrm>
            <a:custGeom>
              <a:avLst/>
              <a:gdLst>
                <a:gd name="T0" fmla="*/ 15 w 27"/>
                <a:gd name="T1" fmla="*/ 1 h 27"/>
                <a:gd name="T2" fmla="*/ 15 w 27"/>
                <a:gd name="T3" fmla="*/ 3 h 27"/>
                <a:gd name="T4" fmla="*/ 12 w 27"/>
                <a:gd name="T5" fmla="*/ 3 h 27"/>
                <a:gd name="T6" fmla="*/ 12 w 27"/>
                <a:gd name="T7" fmla="*/ 1 h 27"/>
                <a:gd name="T8" fmla="*/ 15 w 27"/>
                <a:gd name="T9" fmla="*/ 1 h 27"/>
                <a:gd name="T10" fmla="*/ 12 w 27"/>
                <a:gd name="T11" fmla="*/ 24 h 27"/>
                <a:gd name="T12" fmla="*/ 12 w 27"/>
                <a:gd name="T13" fmla="*/ 26 h 27"/>
                <a:gd name="T14" fmla="*/ 15 w 27"/>
                <a:gd name="T15" fmla="*/ 26 h 27"/>
                <a:gd name="T16" fmla="*/ 15 w 27"/>
                <a:gd name="T17" fmla="*/ 24 h 27"/>
                <a:gd name="T18" fmla="*/ 12 w 27"/>
                <a:gd name="T19" fmla="*/ 24 h 27"/>
                <a:gd name="T20" fmla="*/ 6 w 27"/>
                <a:gd name="T21" fmla="*/ 3 h 27"/>
                <a:gd name="T22" fmla="*/ 7 w 27"/>
                <a:gd name="T23" fmla="*/ 5 h 27"/>
                <a:gd name="T24" fmla="*/ 9 w 27"/>
                <a:gd name="T25" fmla="*/ 4 h 27"/>
                <a:gd name="T26" fmla="*/ 9 w 27"/>
                <a:gd name="T27" fmla="*/ 2 h 27"/>
                <a:gd name="T28" fmla="*/ 6 w 27"/>
                <a:gd name="T29" fmla="*/ 3 h 27"/>
                <a:gd name="T30" fmla="*/ 18 w 27"/>
                <a:gd name="T31" fmla="*/ 23 h 27"/>
                <a:gd name="T32" fmla="*/ 18 w 27"/>
                <a:gd name="T33" fmla="*/ 26 h 27"/>
                <a:gd name="T34" fmla="*/ 21 w 27"/>
                <a:gd name="T35" fmla="*/ 24 h 27"/>
                <a:gd name="T36" fmla="*/ 20 w 27"/>
                <a:gd name="T37" fmla="*/ 22 h 27"/>
                <a:gd name="T38" fmla="*/ 18 w 27"/>
                <a:gd name="T39" fmla="*/ 23 h 27"/>
                <a:gd name="T40" fmla="*/ 2 w 27"/>
                <a:gd name="T41" fmla="*/ 9 h 27"/>
                <a:gd name="T42" fmla="*/ 4 w 27"/>
                <a:gd name="T43" fmla="*/ 9 h 27"/>
                <a:gd name="T44" fmla="*/ 5 w 27"/>
                <a:gd name="T45" fmla="*/ 7 h 27"/>
                <a:gd name="T46" fmla="*/ 3 w 27"/>
                <a:gd name="T47" fmla="*/ 6 h 27"/>
                <a:gd name="T48" fmla="*/ 2 w 27"/>
                <a:gd name="T49" fmla="*/ 9 h 27"/>
                <a:gd name="T50" fmla="*/ 22 w 27"/>
                <a:gd name="T51" fmla="*/ 20 h 27"/>
                <a:gd name="T52" fmla="*/ 24 w 27"/>
                <a:gd name="T53" fmla="*/ 22 h 27"/>
                <a:gd name="T54" fmla="*/ 26 w 27"/>
                <a:gd name="T55" fmla="*/ 19 h 27"/>
                <a:gd name="T56" fmla="*/ 23 w 27"/>
                <a:gd name="T57" fmla="*/ 18 h 27"/>
                <a:gd name="T58" fmla="*/ 22 w 27"/>
                <a:gd name="T59" fmla="*/ 20 h 27"/>
                <a:gd name="T60" fmla="*/ 3 w 27"/>
                <a:gd name="T61" fmla="*/ 12 h 27"/>
                <a:gd name="T62" fmla="*/ 1 w 27"/>
                <a:gd name="T63" fmla="*/ 12 h 27"/>
                <a:gd name="T64" fmla="*/ 1 w 27"/>
                <a:gd name="T65" fmla="*/ 15 h 27"/>
                <a:gd name="T66" fmla="*/ 3 w 27"/>
                <a:gd name="T67" fmla="*/ 15 h 27"/>
                <a:gd name="T68" fmla="*/ 3 w 27"/>
                <a:gd name="T69" fmla="*/ 12 h 27"/>
                <a:gd name="T70" fmla="*/ 26 w 27"/>
                <a:gd name="T71" fmla="*/ 12 h 27"/>
                <a:gd name="T72" fmla="*/ 24 w 27"/>
                <a:gd name="T73" fmla="*/ 12 h 27"/>
                <a:gd name="T74" fmla="*/ 24 w 27"/>
                <a:gd name="T75" fmla="*/ 15 h 27"/>
                <a:gd name="T76" fmla="*/ 26 w 27"/>
                <a:gd name="T77" fmla="*/ 15 h 27"/>
                <a:gd name="T78" fmla="*/ 26 w 27"/>
                <a:gd name="T79" fmla="*/ 12 h 27"/>
                <a:gd name="T80" fmla="*/ 2 w 27"/>
                <a:gd name="T81" fmla="*/ 19 h 27"/>
                <a:gd name="T82" fmla="*/ 3 w 27"/>
                <a:gd name="T83" fmla="*/ 22 h 27"/>
                <a:gd name="T84" fmla="*/ 5 w 27"/>
                <a:gd name="T85" fmla="*/ 20 h 27"/>
                <a:gd name="T86" fmla="*/ 4 w 27"/>
                <a:gd name="T87" fmla="*/ 18 h 27"/>
                <a:gd name="T88" fmla="*/ 2 w 27"/>
                <a:gd name="T89" fmla="*/ 19 h 27"/>
                <a:gd name="T90" fmla="*/ 26 w 27"/>
                <a:gd name="T91" fmla="*/ 9 h 27"/>
                <a:gd name="T92" fmla="*/ 24 w 27"/>
                <a:gd name="T93" fmla="*/ 6 h 27"/>
                <a:gd name="T94" fmla="*/ 22 w 27"/>
                <a:gd name="T95" fmla="*/ 7 h 27"/>
                <a:gd name="T96" fmla="*/ 23 w 27"/>
                <a:gd name="T97" fmla="*/ 9 h 27"/>
                <a:gd name="T98" fmla="*/ 26 w 27"/>
                <a:gd name="T99" fmla="*/ 9 h 27"/>
                <a:gd name="T100" fmla="*/ 6 w 27"/>
                <a:gd name="T101" fmla="*/ 24 h 27"/>
                <a:gd name="T102" fmla="*/ 9 w 27"/>
                <a:gd name="T103" fmla="*/ 26 h 27"/>
                <a:gd name="T104" fmla="*/ 9 w 27"/>
                <a:gd name="T105" fmla="*/ 23 h 27"/>
                <a:gd name="T106" fmla="*/ 7 w 27"/>
                <a:gd name="T107" fmla="*/ 22 h 27"/>
                <a:gd name="T108" fmla="*/ 6 w 27"/>
                <a:gd name="T109" fmla="*/ 24 h 27"/>
                <a:gd name="T110" fmla="*/ 18 w 27"/>
                <a:gd name="T111" fmla="*/ 4 h 27"/>
                <a:gd name="T112" fmla="*/ 20 w 27"/>
                <a:gd name="T113" fmla="*/ 5 h 27"/>
                <a:gd name="T114" fmla="*/ 21 w 27"/>
                <a:gd name="T115" fmla="*/ 3 h 27"/>
                <a:gd name="T116" fmla="*/ 18 w 27"/>
                <a:gd name="T117" fmla="*/ 2 h 27"/>
                <a:gd name="T118" fmla="*/ 18 w 27"/>
                <a:gd name="T1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 h="27">
                  <a:moveTo>
                    <a:pt x="15" y="1"/>
                  </a:moveTo>
                  <a:cubicBezTo>
                    <a:pt x="15" y="3"/>
                    <a:pt x="15" y="3"/>
                    <a:pt x="15" y="3"/>
                  </a:cubicBezTo>
                  <a:cubicBezTo>
                    <a:pt x="12" y="3"/>
                    <a:pt x="12" y="3"/>
                    <a:pt x="12" y="3"/>
                  </a:cubicBezTo>
                  <a:cubicBezTo>
                    <a:pt x="12" y="1"/>
                    <a:pt x="12" y="1"/>
                    <a:pt x="12" y="1"/>
                  </a:cubicBezTo>
                  <a:cubicBezTo>
                    <a:pt x="13" y="0"/>
                    <a:pt x="14" y="0"/>
                    <a:pt x="15" y="1"/>
                  </a:cubicBezTo>
                  <a:close/>
                  <a:moveTo>
                    <a:pt x="12" y="24"/>
                  </a:moveTo>
                  <a:cubicBezTo>
                    <a:pt x="12" y="26"/>
                    <a:pt x="12" y="26"/>
                    <a:pt x="12" y="26"/>
                  </a:cubicBezTo>
                  <a:cubicBezTo>
                    <a:pt x="13" y="27"/>
                    <a:pt x="14" y="27"/>
                    <a:pt x="15" y="26"/>
                  </a:cubicBezTo>
                  <a:cubicBezTo>
                    <a:pt x="15" y="24"/>
                    <a:pt x="15" y="24"/>
                    <a:pt x="15" y="24"/>
                  </a:cubicBezTo>
                  <a:lnTo>
                    <a:pt x="12" y="24"/>
                  </a:lnTo>
                  <a:close/>
                  <a:moveTo>
                    <a:pt x="6" y="3"/>
                  </a:moveTo>
                  <a:cubicBezTo>
                    <a:pt x="7" y="5"/>
                    <a:pt x="7" y="5"/>
                    <a:pt x="7" y="5"/>
                  </a:cubicBezTo>
                  <a:cubicBezTo>
                    <a:pt x="9" y="4"/>
                    <a:pt x="9" y="4"/>
                    <a:pt x="9" y="4"/>
                  </a:cubicBezTo>
                  <a:cubicBezTo>
                    <a:pt x="9" y="2"/>
                    <a:pt x="9" y="2"/>
                    <a:pt x="9" y="2"/>
                  </a:cubicBezTo>
                  <a:cubicBezTo>
                    <a:pt x="7" y="2"/>
                    <a:pt x="6" y="2"/>
                    <a:pt x="6" y="3"/>
                  </a:cubicBezTo>
                  <a:close/>
                  <a:moveTo>
                    <a:pt x="18" y="23"/>
                  </a:moveTo>
                  <a:cubicBezTo>
                    <a:pt x="18" y="26"/>
                    <a:pt x="18" y="26"/>
                    <a:pt x="18" y="26"/>
                  </a:cubicBezTo>
                  <a:cubicBezTo>
                    <a:pt x="20" y="25"/>
                    <a:pt x="21" y="25"/>
                    <a:pt x="21" y="24"/>
                  </a:cubicBezTo>
                  <a:cubicBezTo>
                    <a:pt x="20" y="22"/>
                    <a:pt x="20" y="22"/>
                    <a:pt x="20" y="22"/>
                  </a:cubicBezTo>
                  <a:lnTo>
                    <a:pt x="18" y="23"/>
                  </a:lnTo>
                  <a:close/>
                  <a:moveTo>
                    <a:pt x="2" y="9"/>
                  </a:moveTo>
                  <a:cubicBezTo>
                    <a:pt x="4" y="9"/>
                    <a:pt x="4" y="9"/>
                    <a:pt x="4" y="9"/>
                  </a:cubicBezTo>
                  <a:cubicBezTo>
                    <a:pt x="5" y="7"/>
                    <a:pt x="5" y="7"/>
                    <a:pt x="5" y="7"/>
                  </a:cubicBezTo>
                  <a:cubicBezTo>
                    <a:pt x="3" y="6"/>
                    <a:pt x="3" y="6"/>
                    <a:pt x="3" y="6"/>
                  </a:cubicBezTo>
                  <a:cubicBezTo>
                    <a:pt x="2" y="6"/>
                    <a:pt x="2" y="7"/>
                    <a:pt x="2" y="9"/>
                  </a:cubicBezTo>
                  <a:close/>
                  <a:moveTo>
                    <a:pt x="22" y="20"/>
                  </a:moveTo>
                  <a:cubicBezTo>
                    <a:pt x="24" y="22"/>
                    <a:pt x="24" y="22"/>
                    <a:pt x="24" y="22"/>
                  </a:cubicBezTo>
                  <a:cubicBezTo>
                    <a:pt x="25" y="21"/>
                    <a:pt x="25" y="20"/>
                    <a:pt x="26" y="19"/>
                  </a:cubicBezTo>
                  <a:cubicBezTo>
                    <a:pt x="23" y="18"/>
                    <a:pt x="23" y="18"/>
                    <a:pt x="23" y="18"/>
                  </a:cubicBezTo>
                  <a:lnTo>
                    <a:pt x="22" y="20"/>
                  </a:lnTo>
                  <a:close/>
                  <a:moveTo>
                    <a:pt x="3" y="12"/>
                  </a:moveTo>
                  <a:cubicBezTo>
                    <a:pt x="1" y="12"/>
                    <a:pt x="1" y="12"/>
                    <a:pt x="1" y="12"/>
                  </a:cubicBezTo>
                  <a:cubicBezTo>
                    <a:pt x="0" y="13"/>
                    <a:pt x="0" y="14"/>
                    <a:pt x="1" y="15"/>
                  </a:cubicBezTo>
                  <a:cubicBezTo>
                    <a:pt x="3" y="15"/>
                    <a:pt x="3" y="15"/>
                    <a:pt x="3" y="15"/>
                  </a:cubicBezTo>
                  <a:lnTo>
                    <a:pt x="3" y="12"/>
                  </a:lnTo>
                  <a:close/>
                  <a:moveTo>
                    <a:pt x="26" y="12"/>
                  </a:moveTo>
                  <a:cubicBezTo>
                    <a:pt x="24" y="12"/>
                    <a:pt x="24" y="12"/>
                    <a:pt x="24" y="12"/>
                  </a:cubicBezTo>
                  <a:cubicBezTo>
                    <a:pt x="24" y="15"/>
                    <a:pt x="24" y="15"/>
                    <a:pt x="24" y="15"/>
                  </a:cubicBezTo>
                  <a:cubicBezTo>
                    <a:pt x="26" y="15"/>
                    <a:pt x="26" y="15"/>
                    <a:pt x="26" y="15"/>
                  </a:cubicBezTo>
                  <a:cubicBezTo>
                    <a:pt x="27" y="14"/>
                    <a:pt x="27" y="13"/>
                    <a:pt x="26" y="12"/>
                  </a:cubicBezTo>
                  <a:close/>
                  <a:moveTo>
                    <a:pt x="2" y="19"/>
                  </a:moveTo>
                  <a:cubicBezTo>
                    <a:pt x="2" y="20"/>
                    <a:pt x="2" y="21"/>
                    <a:pt x="3" y="22"/>
                  </a:cubicBezTo>
                  <a:cubicBezTo>
                    <a:pt x="5" y="20"/>
                    <a:pt x="5" y="20"/>
                    <a:pt x="5" y="20"/>
                  </a:cubicBezTo>
                  <a:cubicBezTo>
                    <a:pt x="4" y="18"/>
                    <a:pt x="4" y="18"/>
                    <a:pt x="4" y="18"/>
                  </a:cubicBezTo>
                  <a:lnTo>
                    <a:pt x="2" y="19"/>
                  </a:lnTo>
                  <a:close/>
                  <a:moveTo>
                    <a:pt x="26" y="9"/>
                  </a:moveTo>
                  <a:cubicBezTo>
                    <a:pt x="25" y="8"/>
                    <a:pt x="25" y="7"/>
                    <a:pt x="24" y="6"/>
                  </a:cubicBezTo>
                  <a:cubicBezTo>
                    <a:pt x="22" y="7"/>
                    <a:pt x="22" y="7"/>
                    <a:pt x="22" y="7"/>
                  </a:cubicBezTo>
                  <a:cubicBezTo>
                    <a:pt x="23" y="9"/>
                    <a:pt x="23" y="9"/>
                    <a:pt x="23" y="9"/>
                  </a:cubicBezTo>
                  <a:lnTo>
                    <a:pt x="26" y="9"/>
                  </a:lnTo>
                  <a:close/>
                  <a:moveTo>
                    <a:pt x="6" y="24"/>
                  </a:moveTo>
                  <a:cubicBezTo>
                    <a:pt x="6" y="25"/>
                    <a:pt x="7" y="25"/>
                    <a:pt x="9" y="26"/>
                  </a:cubicBezTo>
                  <a:cubicBezTo>
                    <a:pt x="9" y="23"/>
                    <a:pt x="9" y="23"/>
                    <a:pt x="9" y="23"/>
                  </a:cubicBezTo>
                  <a:cubicBezTo>
                    <a:pt x="7" y="22"/>
                    <a:pt x="7" y="22"/>
                    <a:pt x="7" y="22"/>
                  </a:cubicBezTo>
                  <a:lnTo>
                    <a:pt x="6" y="24"/>
                  </a:lnTo>
                  <a:close/>
                  <a:moveTo>
                    <a:pt x="18" y="4"/>
                  </a:moveTo>
                  <a:cubicBezTo>
                    <a:pt x="20" y="5"/>
                    <a:pt x="20" y="5"/>
                    <a:pt x="20" y="5"/>
                  </a:cubicBezTo>
                  <a:cubicBezTo>
                    <a:pt x="21" y="3"/>
                    <a:pt x="21" y="3"/>
                    <a:pt x="21" y="3"/>
                  </a:cubicBezTo>
                  <a:cubicBezTo>
                    <a:pt x="21" y="2"/>
                    <a:pt x="20" y="2"/>
                    <a:pt x="18" y="2"/>
                  </a:cubicBezTo>
                  <a:lnTo>
                    <a:pt x="1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Freeform 443"/>
            <p:cNvSpPr>
              <a:spLocks/>
            </p:cNvSpPr>
            <p:nvPr/>
          </p:nvSpPr>
          <p:spPr bwMode="auto">
            <a:xfrm>
              <a:off x="98" y="4075"/>
              <a:ext cx="2417" cy="252"/>
            </a:xfrm>
            <a:custGeom>
              <a:avLst/>
              <a:gdLst>
                <a:gd name="T0" fmla="*/ 2417 w 2417"/>
                <a:gd name="T1" fmla="*/ 252 h 252"/>
                <a:gd name="T2" fmla="*/ 0 w 2417"/>
                <a:gd name="T3" fmla="*/ 252 h 252"/>
                <a:gd name="T4" fmla="*/ 367 w 2417"/>
                <a:gd name="T5" fmla="*/ 0 h 252"/>
                <a:gd name="T6" fmla="*/ 2051 w 2417"/>
                <a:gd name="T7" fmla="*/ 0 h 252"/>
                <a:gd name="T8" fmla="*/ 2417 w 2417"/>
                <a:gd name="T9" fmla="*/ 252 h 252"/>
              </a:gdLst>
              <a:ahLst/>
              <a:cxnLst>
                <a:cxn ang="0">
                  <a:pos x="T0" y="T1"/>
                </a:cxn>
                <a:cxn ang="0">
                  <a:pos x="T2" y="T3"/>
                </a:cxn>
                <a:cxn ang="0">
                  <a:pos x="T4" y="T5"/>
                </a:cxn>
                <a:cxn ang="0">
                  <a:pos x="T6" y="T7"/>
                </a:cxn>
                <a:cxn ang="0">
                  <a:pos x="T8" y="T9"/>
                </a:cxn>
              </a:cxnLst>
              <a:rect l="0" t="0" r="r" b="b"/>
              <a:pathLst>
                <a:path w="2417" h="252">
                  <a:moveTo>
                    <a:pt x="2417" y="252"/>
                  </a:moveTo>
                  <a:lnTo>
                    <a:pt x="0" y="252"/>
                  </a:lnTo>
                  <a:lnTo>
                    <a:pt x="367" y="0"/>
                  </a:lnTo>
                  <a:lnTo>
                    <a:pt x="2051" y="0"/>
                  </a:lnTo>
                  <a:lnTo>
                    <a:pt x="2417" y="2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 name="Freeform 444"/>
            <p:cNvSpPr>
              <a:spLocks/>
            </p:cNvSpPr>
            <p:nvPr/>
          </p:nvSpPr>
          <p:spPr bwMode="auto">
            <a:xfrm>
              <a:off x="3342" y="4054"/>
              <a:ext cx="327" cy="61"/>
            </a:xfrm>
            <a:custGeom>
              <a:avLst/>
              <a:gdLst>
                <a:gd name="T0" fmla="*/ 0 w 327"/>
                <a:gd name="T1" fmla="*/ 0 h 61"/>
                <a:gd name="T2" fmla="*/ 327 w 327"/>
                <a:gd name="T3" fmla="*/ 0 h 61"/>
                <a:gd name="T4" fmla="*/ 327 w 327"/>
                <a:gd name="T5" fmla="*/ 61 h 61"/>
                <a:gd name="T6" fmla="*/ 0 w 327"/>
                <a:gd name="T7" fmla="*/ 61 h 61"/>
                <a:gd name="T8" fmla="*/ 0 w 327"/>
                <a:gd name="T9" fmla="*/ 0 h 61"/>
                <a:gd name="T10" fmla="*/ 0 w 327"/>
                <a:gd name="T11" fmla="*/ 0 h 61"/>
              </a:gdLst>
              <a:ahLst/>
              <a:cxnLst>
                <a:cxn ang="0">
                  <a:pos x="T0" y="T1"/>
                </a:cxn>
                <a:cxn ang="0">
                  <a:pos x="T2" y="T3"/>
                </a:cxn>
                <a:cxn ang="0">
                  <a:pos x="T4" y="T5"/>
                </a:cxn>
                <a:cxn ang="0">
                  <a:pos x="T6" y="T7"/>
                </a:cxn>
                <a:cxn ang="0">
                  <a:pos x="T8" y="T9"/>
                </a:cxn>
                <a:cxn ang="0">
                  <a:pos x="T10" y="T11"/>
                </a:cxn>
              </a:cxnLst>
              <a:rect l="0" t="0" r="r" b="b"/>
              <a:pathLst>
                <a:path w="327" h="61">
                  <a:moveTo>
                    <a:pt x="0" y="0"/>
                  </a:moveTo>
                  <a:lnTo>
                    <a:pt x="327" y="0"/>
                  </a:lnTo>
                  <a:lnTo>
                    <a:pt x="327" y="61"/>
                  </a:lnTo>
                  <a:lnTo>
                    <a:pt x="0" y="61"/>
                  </a:lnTo>
                  <a:lnTo>
                    <a:pt x="0"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3" name="Freeform 445"/>
            <p:cNvSpPr>
              <a:spLocks/>
            </p:cNvSpPr>
            <p:nvPr/>
          </p:nvSpPr>
          <p:spPr bwMode="auto">
            <a:xfrm>
              <a:off x="3310" y="3964"/>
              <a:ext cx="385" cy="151"/>
            </a:xfrm>
            <a:custGeom>
              <a:avLst/>
              <a:gdLst>
                <a:gd name="T0" fmla="*/ 168 w 192"/>
                <a:gd name="T1" fmla="*/ 0 h 75"/>
                <a:gd name="T2" fmla="*/ 92 w 192"/>
                <a:gd name="T3" fmla="*/ 0 h 75"/>
                <a:gd name="T4" fmla="*/ 63 w 192"/>
                <a:gd name="T5" fmla="*/ 30 h 75"/>
                <a:gd name="T6" fmla="*/ 5 w 192"/>
                <a:gd name="T7" fmla="*/ 44 h 75"/>
                <a:gd name="T8" fmla="*/ 5 w 192"/>
                <a:gd name="T9" fmla="*/ 75 h 75"/>
                <a:gd name="T10" fmla="*/ 19 w 192"/>
                <a:gd name="T11" fmla="*/ 75 h 75"/>
                <a:gd name="T12" fmla="*/ 41 w 192"/>
                <a:gd name="T13" fmla="*/ 53 h 75"/>
                <a:gd name="T14" fmla="*/ 63 w 192"/>
                <a:gd name="T15" fmla="*/ 75 h 75"/>
                <a:gd name="T16" fmla="*/ 131 w 192"/>
                <a:gd name="T17" fmla="*/ 75 h 75"/>
                <a:gd name="T18" fmla="*/ 152 w 192"/>
                <a:gd name="T19" fmla="*/ 53 h 75"/>
                <a:gd name="T20" fmla="*/ 174 w 192"/>
                <a:gd name="T21" fmla="*/ 75 h 75"/>
                <a:gd name="T22" fmla="*/ 192 w 192"/>
                <a:gd name="T23" fmla="*/ 75 h 75"/>
                <a:gd name="T24" fmla="*/ 191 w 192"/>
                <a:gd name="T25" fmla="*/ 65 h 75"/>
                <a:gd name="T26" fmla="*/ 168 w 192"/>
                <a:gd name="T2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5">
                  <a:moveTo>
                    <a:pt x="168" y="0"/>
                  </a:moveTo>
                  <a:cubicBezTo>
                    <a:pt x="92" y="0"/>
                    <a:pt x="92" y="0"/>
                    <a:pt x="92" y="0"/>
                  </a:cubicBezTo>
                  <a:cubicBezTo>
                    <a:pt x="88" y="0"/>
                    <a:pt x="72" y="13"/>
                    <a:pt x="63" y="30"/>
                  </a:cubicBezTo>
                  <a:cubicBezTo>
                    <a:pt x="51" y="31"/>
                    <a:pt x="18" y="35"/>
                    <a:pt x="5" y="44"/>
                  </a:cubicBezTo>
                  <a:cubicBezTo>
                    <a:pt x="0" y="61"/>
                    <a:pt x="5" y="75"/>
                    <a:pt x="5" y="75"/>
                  </a:cubicBezTo>
                  <a:cubicBezTo>
                    <a:pt x="19" y="75"/>
                    <a:pt x="19" y="75"/>
                    <a:pt x="19" y="75"/>
                  </a:cubicBezTo>
                  <a:cubicBezTo>
                    <a:pt x="19" y="63"/>
                    <a:pt x="29" y="53"/>
                    <a:pt x="41" y="53"/>
                  </a:cubicBezTo>
                  <a:cubicBezTo>
                    <a:pt x="53" y="53"/>
                    <a:pt x="63" y="63"/>
                    <a:pt x="63" y="75"/>
                  </a:cubicBezTo>
                  <a:cubicBezTo>
                    <a:pt x="131" y="75"/>
                    <a:pt x="131" y="75"/>
                    <a:pt x="131" y="75"/>
                  </a:cubicBezTo>
                  <a:cubicBezTo>
                    <a:pt x="131" y="63"/>
                    <a:pt x="140" y="53"/>
                    <a:pt x="152" y="53"/>
                  </a:cubicBezTo>
                  <a:cubicBezTo>
                    <a:pt x="164" y="53"/>
                    <a:pt x="174" y="63"/>
                    <a:pt x="174" y="75"/>
                  </a:cubicBezTo>
                  <a:cubicBezTo>
                    <a:pt x="192" y="75"/>
                    <a:pt x="192" y="75"/>
                    <a:pt x="192" y="75"/>
                  </a:cubicBezTo>
                  <a:cubicBezTo>
                    <a:pt x="192" y="72"/>
                    <a:pt x="192" y="68"/>
                    <a:pt x="191" y="65"/>
                  </a:cubicBezTo>
                  <a:cubicBezTo>
                    <a:pt x="190" y="33"/>
                    <a:pt x="179" y="0"/>
                    <a:pt x="168" y="0"/>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4" name="Oval 446"/>
            <p:cNvSpPr>
              <a:spLocks noChangeArrowheads="1"/>
            </p:cNvSpPr>
            <p:nvPr/>
          </p:nvSpPr>
          <p:spPr bwMode="auto">
            <a:xfrm>
              <a:off x="3356" y="4075"/>
              <a:ext cx="72" cy="7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5" name="Oval 447"/>
            <p:cNvSpPr>
              <a:spLocks noChangeArrowheads="1"/>
            </p:cNvSpPr>
            <p:nvPr/>
          </p:nvSpPr>
          <p:spPr bwMode="auto">
            <a:xfrm>
              <a:off x="3368" y="4091"/>
              <a:ext cx="48" cy="44"/>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6" name="Oval 448"/>
            <p:cNvSpPr>
              <a:spLocks noChangeArrowheads="1"/>
            </p:cNvSpPr>
            <p:nvPr/>
          </p:nvSpPr>
          <p:spPr bwMode="auto">
            <a:xfrm>
              <a:off x="3386" y="4095"/>
              <a:ext cx="10"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7" name="Oval 449"/>
            <p:cNvSpPr>
              <a:spLocks noChangeArrowheads="1"/>
            </p:cNvSpPr>
            <p:nvPr/>
          </p:nvSpPr>
          <p:spPr bwMode="auto">
            <a:xfrm>
              <a:off x="3386" y="4123"/>
              <a:ext cx="10"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8" name="Freeform 450"/>
            <p:cNvSpPr>
              <a:spLocks/>
            </p:cNvSpPr>
            <p:nvPr/>
          </p:nvSpPr>
          <p:spPr bwMode="auto">
            <a:xfrm>
              <a:off x="3372" y="4099"/>
              <a:ext cx="14" cy="16"/>
            </a:xfrm>
            <a:custGeom>
              <a:avLst/>
              <a:gdLst>
                <a:gd name="T0" fmla="*/ 4 w 7"/>
                <a:gd name="T1" fmla="*/ 1 h 8"/>
                <a:gd name="T2" fmla="*/ 6 w 7"/>
                <a:gd name="T3" fmla="*/ 6 h 8"/>
                <a:gd name="T4" fmla="*/ 2 w 7"/>
                <a:gd name="T5" fmla="*/ 7 h 8"/>
                <a:gd name="T6" fmla="*/ 1 w 7"/>
                <a:gd name="T7" fmla="*/ 3 h 8"/>
                <a:gd name="T8" fmla="*/ 4 w 7"/>
                <a:gd name="T9" fmla="*/ 1 h 8"/>
              </a:gdLst>
              <a:ahLst/>
              <a:cxnLst>
                <a:cxn ang="0">
                  <a:pos x="T0" y="T1"/>
                </a:cxn>
                <a:cxn ang="0">
                  <a:pos x="T2" y="T3"/>
                </a:cxn>
                <a:cxn ang="0">
                  <a:pos x="T4" y="T5"/>
                </a:cxn>
                <a:cxn ang="0">
                  <a:pos x="T6" y="T7"/>
                </a:cxn>
                <a:cxn ang="0">
                  <a:pos x="T8" y="T9"/>
                </a:cxn>
              </a:cxnLst>
              <a:rect l="0" t="0" r="r" b="b"/>
              <a:pathLst>
                <a:path w="7" h="8">
                  <a:moveTo>
                    <a:pt x="4" y="1"/>
                  </a:moveTo>
                  <a:cubicBezTo>
                    <a:pt x="6" y="2"/>
                    <a:pt x="7" y="4"/>
                    <a:pt x="6" y="6"/>
                  </a:cubicBezTo>
                  <a:cubicBezTo>
                    <a:pt x="5" y="8"/>
                    <a:pt x="4" y="8"/>
                    <a:pt x="2" y="7"/>
                  </a:cubicBezTo>
                  <a:cubicBezTo>
                    <a:pt x="1" y="6"/>
                    <a:pt x="0" y="4"/>
                    <a:pt x="1" y="3"/>
                  </a:cubicBezTo>
                  <a:cubicBezTo>
                    <a:pt x="2" y="1"/>
                    <a:pt x="4" y="0"/>
                    <a:pt x="4"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Freeform 451"/>
            <p:cNvSpPr>
              <a:spLocks/>
            </p:cNvSpPr>
            <p:nvPr/>
          </p:nvSpPr>
          <p:spPr bwMode="auto">
            <a:xfrm>
              <a:off x="3396" y="4115"/>
              <a:ext cx="14" cy="12"/>
            </a:xfrm>
            <a:custGeom>
              <a:avLst/>
              <a:gdLst>
                <a:gd name="T0" fmla="*/ 2 w 7"/>
                <a:gd name="T1" fmla="*/ 5 h 6"/>
                <a:gd name="T2" fmla="*/ 1 w 7"/>
                <a:gd name="T3" fmla="*/ 2 h 6"/>
                <a:gd name="T4" fmla="*/ 5 w 7"/>
                <a:gd name="T5" fmla="*/ 0 h 6"/>
                <a:gd name="T6" fmla="*/ 7 w 7"/>
                <a:gd name="T7" fmla="*/ 4 h 6"/>
                <a:gd name="T8" fmla="*/ 2 w 7"/>
                <a:gd name="T9" fmla="*/ 5 h 6"/>
              </a:gdLst>
              <a:ahLst/>
              <a:cxnLst>
                <a:cxn ang="0">
                  <a:pos x="T0" y="T1"/>
                </a:cxn>
                <a:cxn ang="0">
                  <a:pos x="T2" y="T3"/>
                </a:cxn>
                <a:cxn ang="0">
                  <a:pos x="T4" y="T5"/>
                </a:cxn>
                <a:cxn ang="0">
                  <a:pos x="T6" y="T7"/>
                </a:cxn>
                <a:cxn ang="0">
                  <a:pos x="T8" y="T9"/>
                </a:cxn>
              </a:cxnLst>
              <a:rect l="0" t="0" r="r" b="b"/>
              <a:pathLst>
                <a:path w="7" h="6">
                  <a:moveTo>
                    <a:pt x="2" y="5"/>
                  </a:moveTo>
                  <a:cubicBezTo>
                    <a:pt x="1" y="5"/>
                    <a:pt x="0" y="3"/>
                    <a:pt x="1" y="2"/>
                  </a:cubicBezTo>
                  <a:cubicBezTo>
                    <a:pt x="2" y="0"/>
                    <a:pt x="3" y="0"/>
                    <a:pt x="5" y="0"/>
                  </a:cubicBezTo>
                  <a:cubicBezTo>
                    <a:pt x="7" y="1"/>
                    <a:pt x="7" y="3"/>
                    <a:pt x="7" y="4"/>
                  </a:cubicBezTo>
                  <a:cubicBezTo>
                    <a:pt x="6" y="5"/>
                    <a:pt x="3" y="6"/>
                    <a:pt x="2"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0" name="Freeform 452"/>
            <p:cNvSpPr>
              <a:spLocks/>
            </p:cNvSpPr>
            <p:nvPr/>
          </p:nvSpPr>
          <p:spPr bwMode="auto">
            <a:xfrm>
              <a:off x="3372" y="4115"/>
              <a:ext cx="14" cy="12"/>
            </a:xfrm>
            <a:custGeom>
              <a:avLst/>
              <a:gdLst>
                <a:gd name="T0" fmla="*/ 2 w 7"/>
                <a:gd name="T1" fmla="*/ 1 h 6"/>
                <a:gd name="T2" fmla="*/ 6 w 7"/>
                <a:gd name="T3" fmla="*/ 2 h 6"/>
                <a:gd name="T4" fmla="*/ 5 w 7"/>
                <a:gd name="T5" fmla="*/ 5 h 6"/>
                <a:gd name="T6" fmla="*/ 1 w 7"/>
                <a:gd name="T7" fmla="*/ 4 h 6"/>
                <a:gd name="T8" fmla="*/ 2 w 7"/>
                <a:gd name="T9" fmla="*/ 1 h 6"/>
              </a:gdLst>
              <a:ahLst/>
              <a:cxnLst>
                <a:cxn ang="0">
                  <a:pos x="T0" y="T1"/>
                </a:cxn>
                <a:cxn ang="0">
                  <a:pos x="T2" y="T3"/>
                </a:cxn>
                <a:cxn ang="0">
                  <a:pos x="T4" y="T5"/>
                </a:cxn>
                <a:cxn ang="0">
                  <a:pos x="T6" y="T7"/>
                </a:cxn>
                <a:cxn ang="0">
                  <a:pos x="T8" y="T9"/>
                </a:cxn>
              </a:cxnLst>
              <a:rect l="0" t="0" r="r" b="b"/>
              <a:pathLst>
                <a:path w="7" h="6">
                  <a:moveTo>
                    <a:pt x="2" y="1"/>
                  </a:moveTo>
                  <a:cubicBezTo>
                    <a:pt x="4" y="0"/>
                    <a:pt x="5" y="0"/>
                    <a:pt x="6" y="2"/>
                  </a:cubicBezTo>
                  <a:cubicBezTo>
                    <a:pt x="7" y="3"/>
                    <a:pt x="7" y="4"/>
                    <a:pt x="5" y="5"/>
                  </a:cubicBezTo>
                  <a:cubicBezTo>
                    <a:pt x="4" y="6"/>
                    <a:pt x="2" y="5"/>
                    <a:pt x="1" y="4"/>
                  </a:cubicBezTo>
                  <a:cubicBezTo>
                    <a:pt x="0" y="3"/>
                    <a:pt x="1" y="2"/>
                    <a:pt x="2"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 name="Freeform 453"/>
            <p:cNvSpPr>
              <a:spLocks/>
            </p:cNvSpPr>
            <p:nvPr/>
          </p:nvSpPr>
          <p:spPr bwMode="auto">
            <a:xfrm>
              <a:off x="3396" y="4099"/>
              <a:ext cx="14" cy="16"/>
            </a:xfrm>
            <a:custGeom>
              <a:avLst/>
              <a:gdLst>
                <a:gd name="T0" fmla="*/ 5 w 7"/>
                <a:gd name="T1" fmla="*/ 7 h 8"/>
                <a:gd name="T2" fmla="*/ 1 w 7"/>
                <a:gd name="T3" fmla="*/ 5 h 8"/>
                <a:gd name="T4" fmla="*/ 2 w 7"/>
                <a:gd name="T5" fmla="*/ 1 h 8"/>
                <a:gd name="T6" fmla="*/ 7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2" y="7"/>
                    <a:pt x="1" y="5"/>
                  </a:cubicBezTo>
                  <a:cubicBezTo>
                    <a:pt x="0" y="4"/>
                    <a:pt x="1" y="2"/>
                    <a:pt x="2" y="1"/>
                  </a:cubicBezTo>
                  <a:cubicBezTo>
                    <a:pt x="4" y="0"/>
                    <a:pt x="5" y="0"/>
                    <a:pt x="7" y="2"/>
                  </a:cubicBezTo>
                  <a:cubicBezTo>
                    <a:pt x="7" y="3"/>
                    <a:pt x="7" y="6"/>
                    <a:pt x="5" y="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2" name="Oval 454"/>
            <p:cNvSpPr>
              <a:spLocks noChangeArrowheads="1"/>
            </p:cNvSpPr>
            <p:nvPr/>
          </p:nvSpPr>
          <p:spPr bwMode="auto">
            <a:xfrm>
              <a:off x="3579" y="4075"/>
              <a:ext cx="76" cy="76"/>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3" name="Oval 455"/>
            <p:cNvSpPr>
              <a:spLocks noChangeArrowheads="1"/>
            </p:cNvSpPr>
            <p:nvPr/>
          </p:nvSpPr>
          <p:spPr bwMode="auto">
            <a:xfrm>
              <a:off x="3591" y="4091"/>
              <a:ext cx="48" cy="44"/>
            </a:xfrm>
            <a:prstGeom prst="ellipse">
              <a:avLst/>
            </a:pr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Oval 456"/>
            <p:cNvSpPr>
              <a:spLocks noChangeArrowheads="1"/>
            </p:cNvSpPr>
            <p:nvPr/>
          </p:nvSpPr>
          <p:spPr bwMode="auto">
            <a:xfrm>
              <a:off x="3609" y="4095"/>
              <a:ext cx="12"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 name="Oval 457"/>
            <p:cNvSpPr>
              <a:spLocks noChangeArrowheads="1"/>
            </p:cNvSpPr>
            <p:nvPr/>
          </p:nvSpPr>
          <p:spPr bwMode="auto">
            <a:xfrm>
              <a:off x="3609" y="4123"/>
              <a:ext cx="12" cy="1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Freeform 458"/>
            <p:cNvSpPr>
              <a:spLocks/>
            </p:cNvSpPr>
            <p:nvPr/>
          </p:nvSpPr>
          <p:spPr bwMode="auto">
            <a:xfrm>
              <a:off x="3597" y="4099"/>
              <a:ext cx="12" cy="16"/>
            </a:xfrm>
            <a:custGeom>
              <a:avLst/>
              <a:gdLst>
                <a:gd name="T0" fmla="*/ 4 w 6"/>
                <a:gd name="T1" fmla="*/ 1 h 8"/>
                <a:gd name="T2" fmla="*/ 5 w 6"/>
                <a:gd name="T3" fmla="*/ 6 h 8"/>
                <a:gd name="T4" fmla="*/ 2 w 6"/>
                <a:gd name="T5" fmla="*/ 7 h 8"/>
                <a:gd name="T6" fmla="*/ 0 w 6"/>
                <a:gd name="T7" fmla="*/ 3 h 8"/>
                <a:gd name="T8" fmla="*/ 4 w 6"/>
                <a:gd name="T9" fmla="*/ 1 h 8"/>
              </a:gdLst>
              <a:ahLst/>
              <a:cxnLst>
                <a:cxn ang="0">
                  <a:pos x="T0" y="T1"/>
                </a:cxn>
                <a:cxn ang="0">
                  <a:pos x="T2" y="T3"/>
                </a:cxn>
                <a:cxn ang="0">
                  <a:pos x="T4" y="T5"/>
                </a:cxn>
                <a:cxn ang="0">
                  <a:pos x="T6" y="T7"/>
                </a:cxn>
                <a:cxn ang="0">
                  <a:pos x="T8" y="T9"/>
                </a:cxn>
              </a:cxnLst>
              <a:rect l="0" t="0" r="r" b="b"/>
              <a:pathLst>
                <a:path w="6" h="8">
                  <a:moveTo>
                    <a:pt x="4" y="1"/>
                  </a:moveTo>
                  <a:cubicBezTo>
                    <a:pt x="5" y="2"/>
                    <a:pt x="6" y="4"/>
                    <a:pt x="5" y="6"/>
                  </a:cubicBezTo>
                  <a:cubicBezTo>
                    <a:pt x="5" y="8"/>
                    <a:pt x="3" y="8"/>
                    <a:pt x="2" y="7"/>
                  </a:cubicBezTo>
                  <a:cubicBezTo>
                    <a:pt x="0" y="6"/>
                    <a:pt x="0" y="4"/>
                    <a:pt x="0" y="3"/>
                  </a:cubicBezTo>
                  <a:cubicBezTo>
                    <a:pt x="1" y="1"/>
                    <a:pt x="2" y="0"/>
                    <a:pt x="4"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Freeform 459"/>
            <p:cNvSpPr>
              <a:spLocks/>
            </p:cNvSpPr>
            <p:nvPr/>
          </p:nvSpPr>
          <p:spPr bwMode="auto">
            <a:xfrm>
              <a:off x="3621" y="4115"/>
              <a:ext cx="14" cy="12"/>
            </a:xfrm>
            <a:custGeom>
              <a:avLst/>
              <a:gdLst>
                <a:gd name="T0" fmla="*/ 2 w 7"/>
                <a:gd name="T1" fmla="*/ 5 h 6"/>
                <a:gd name="T2" fmla="*/ 1 w 7"/>
                <a:gd name="T3" fmla="*/ 2 h 6"/>
                <a:gd name="T4" fmla="*/ 5 w 7"/>
                <a:gd name="T5" fmla="*/ 0 h 6"/>
                <a:gd name="T6" fmla="*/ 6 w 7"/>
                <a:gd name="T7" fmla="*/ 4 h 6"/>
                <a:gd name="T8" fmla="*/ 2 w 7"/>
                <a:gd name="T9" fmla="*/ 5 h 6"/>
              </a:gdLst>
              <a:ahLst/>
              <a:cxnLst>
                <a:cxn ang="0">
                  <a:pos x="T0" y="T1"/>
                </a:cxn>
                <a:cxn ang="0">
                  <a:pos x="T2" y="T3"/>
                </a:cxn>
                <a:cxn ang="0">
                  <a:pos x="T4" y="T5"/>
                </a:cxn>
                <a:cxn ang="0">
                  <a:pos x="T6" y="T7"/>
                </a:cxn>
                <a:cxn ang="0">
                  <a:pos x="T8" y="T9"/>
                </a:cxn>
              </a:cxnLst>
              <a:rect l="0" t="0" r="r" b="b"/>
              <a:pathLst>
                <a:path w="7" h="6">
                  <a:moveTo>
                    <a:pt x="2" y="5"/>
                  </a:moveTo>
                  <a:cubicBezTo>
                    <a:pt x="0" y="5"/>
                    <a:pt x="0" y="3"/>
                    <a:pt x="1" y="2"/>
                  </a:cubicBezTo>
                  <a:cubicBezTo>
                    <a:pt x="2" y="0"/>
                    <a:pt x="3" y="0"/>
                    <a:pt x="5" y="0"/>
                  </a:cubicBezTo>
                  <a:cubicBezTo>
                    <a:pt x="6" y="1"/>
                    <a:pt x="7" y="3"/>
                    <a:pt x="6" y="4"/>
                  </a:cubicBezTo>
                  <a:cubicBezTo>
                    <a:pt x="5" y="5"/>
                    <a:pt x="3" y="6"/>
                    <a:pt x="2" y="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Freeform 460"/>
            <p:cNvSpPr>
              <a:spLocks/>
            </p:cNvSpPr>
            <p:nvPr/>
          </p:nvSpPr>
          <p:spPr bwMode="auto">
            <a:xfrm>
              <a:off x="3597" y="4115"/>
              <a:ext cx="12" cy="12"/>
            </a:xfrm>
            <a:custGeom>
              <a:avLst/>
              <a:gdLst>
                <a:gd name="T0" fmla="*/ 2 w 6"/>
                <a:gd name="T1" fmla="*/ 1 h 6"/>
                <a:gd name="T2" fmla="*/ 5 w 6"/>
                <a:gd name="T3" fmla="*/ 2 h 6"/>
                <a:gd name="T4" fmla="*/ 5 w 6"/>
                <a:gd name="T5" fmla="*/ 5 h 6"/>
                <a:gd name="T6" fmla="*/ 0 w 6"/>
                <a:gd name="T7" fmla="*/ 4 h 6"/>
                <a:gd name="T8" fmla="*/ 2 w 6"/>
                <a:gd name="T9" fmla="*/ 1 h 6"/>
              </a:gdLst>
              <a:ahLst/>
              <a:cxnLst>
                <a:cxn ang="0">
                  <a:pos x="T0" y="T1"/>
                </a:cxn>
                <a:cxn ang="0">
                  <a:pos x="T2" y="T3"/>
                </a:cxn>
                <a:cxn ang="0">
                  <a:pos x="T4" y="T5"/>
                </a:cxn>
                <a:cxn ang="0">
                  <a:pos x="T6" y="T7"/>
                </a:cxn>
                <a:cxn ang="0">
                  <a:pos x="T8" y="T9"/>
                </a:cxn>
              </a:cxnLst>
              <a:rect l="0" t="0" r="r" b="b"/>
              <a:pathLst>
                <a:path w="6" h="6">
                  <a:moveTo>
                    <a:pt x="2" y="1"/>
                  </a:moveTo>
                  <a:cubicBezTo>
                    <a:pt x="3" y="0"/>
                    <a:pt x="5" y="0"/>
                    <a:pt x="5" y="2"/>
                  </a:cubicBezTo>
                  <a:cubicBezTo>
                    <a:pt x="6" y="3"/>
                    <a:pt x="6" y="4"/>
                    <a:pt x="5" y="5"/>
                  </a:cubicBezTo>
                  <a:cubicBezTo>
                    <a:pt x="3" y="6"/>
                    <a:pt x="1" y="5"/>
                    <a:pt x="0" y="4"/>
                  </a:cubicBezTo>
                  <a:cubicBezTo>
                    <a:pt x="0" y="3"/>
                    <a:pt x="0" y="2"/>
                    <a:pt x="2" y="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Freeform 461"/>
            <p:cNvSpPr>
              <a:spLocks/>
            </p:cNvSpPr>
            <p:nvPr/>
          </p:nvSpPr>
          <p:spPr bwMode="auto">
            <a:xfrm>
              <a:off x="3619" y="4099"/>
              <a:ext cx="14" cy="16"/>
            </a:xfrm>
            <a:custGeom>
              <a:avLst/>
              <a:gdLst>
                <a:gd name="T0" fmla="*/ 5 w 7"/>
                <a:gd name="T1" fmla="*/ 7 h 8"/>
                <a:gd name="T2" fmla="*/ 1 w 7"/>
                <a:gd name="T3" fmla="*/ 5 h 8"/>
                <a:gd name="T4" fmla="*/ 3 w 7"/>
                <a:gd name="T5" fmla="*/ 1 h 8"/>
                <a:gd name="T6" fmla="*/ 6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3" y="7"/>
                    <a:pt x="1" y="5"/>
                  </a:cubicBezTo>
                  <a:cubicBezTo>
                    <a:pt x="0" y="4"/>
                    <a:pt x="1" y="2"/>
                    <a:pt x="3" y="1"/>
                  </a:cubicBezTo>
                  <a:cubicBezTo>
                    <a:pt x="4" y="0"/>
                    <a:pt x="5" y="0"/>
                    <a:pt x="6" y="2"/>
                  </a:cubicBezTo>
                  <a:cubicBezTo>
                    <a:pt x="7" y="3"/>
                    <a:pt x="7" y="6"/>
                    <a:pt x="5" y="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Freeform 462"/>
            <p:cNvSpPr>
              <a:spLocks/>
            </p:cNvSpPr>
            <p:nvPr/>
          </p:nvSpPr>
          <p:spPr bwMode="auto">
            <a:xfrm>
              <a:off x="3471" y="3972"/>
              <a:ext cx="198" cy="52"/>
            </a:xfrm>
            <a:custGeom>
              <a:avLst/>
              <a:gdLst>
                <a:gd name="T0" fmla="*/ 0 w 99"/>
                <a:gd name="T1" fmla="*/ 26 h 26"/>
                <a:gd name="T2" fmla="*/ 99 w 99"/>
                <a:gd name="T3" fmla="*/ 26 h 26"/>
                <a:gd name="T4" fmla="*/ 86 w 99"/>
                <a:gd name="T5" fmla="*/ 0 h 26"/>
                <a:gd name="T6" fmla="*/ 15 w 99"/>
                <a:gd name="T7" fmla="*/ 0 h 26"/>
                <a:gd name="T8" fmla="*/ 0 w 99"/>
                <a:gd name="T9" fmla="*/ 26 h 26"/>
              </a:gdLst>
              <a:ahLst/>
              <a:cxnLst>
                <a:cxn ang="0">
                  <a:pos x="T0" y="T1"/>
                </a:cxn>
                <a:cxn ang="0">
                  <a:pos x="T2" y="T3"/>
                </a:cxn>
                <a:cxn ang="0">
                  <a:pos x="T4" y="T5"/>
                </a:cxn>
                <a:cxn ang="0">
                  <a:pos x="T6" y="T7"/>
                </a:cxn>
                <a:cxn ang="0">
                  <a:pos x="T8" y="T9"/>
                </a:cxn>
              </a:cxnLst>
              <a:rect l="0" t="0" r="r" b="b"/>
              <a:pathLst>
                <a:path w="99" h="26">
                  <a:moveTo>
                    <a:pt x="0" y="26"/>
                  </a:moveTo>
                  <a:cubicBezTo>
                    <a:pt x="99" y="26"/>
                    <a:pt x="99" y="26"/>
                    <a:pt x="99" y="26"/>
                  </a:cubicBezTo>
                  <a:cubicBezTo>
                    <a:pt x="99" y="26"/>
                    <a:pt x="99" y="11"/>
                    <a:pt x="86" y="0"/>
                  </a:cubicBezTo>
                  <a:cubicBezTo>
                    <a:pt x="15" y="0"/>
                    <a:pt x="15" y="0"/>
                    <a:pt x="15" y="0"/>
                  </a:cubicBezTo>
                  <a:cubicBezTo>
                    <a:pt x="15" y="0"/>
                    <a:pt x="4" y="16"/>
                    <a:pt x="0" y="2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463"/>
            <p:cNvSpPr>
              <a:spLocks/>
            </p:cNvSpPr>
            <p:nvPr/>
          </p:nvSpPr>
          <p:spPr bwMode="auto">
            <a:xfrm>
              <a:off x="3436" y="3972"/>
              <a:ext cx="63" cy="52"/>
            </a:xfrm>
            <a:custGeom>
              <a:avLst/>
              <a:gdLst>
                <a:gd name="T0" fmla="*/ 0 w 31"/>
                <a:gd name="T1" fmla="*/ 26 h 26"/>
                <a:gd name="T2" fmla="*/ 13 w 31"/>
                <a:gd name="T3" fmla="*/ 26 h 26"/>
                <a:gd name="T4" fmla="*/ 31 w 31"/>
                <a:gd name="T5" fmla="*/ 0 h 26"/>
                <a:gd name="T6" fmla="*/ 21 w 31"/>
                <a:gd name="T7" fmla="*/ 0 h 26"/>
                <a:gd name="T8" fmla="*/ 0 w 31"/>
                <a:gd name="T9" fmla="*/ 26 h 26"/>
              </a:gdLst>
              <a:ahLst/>
              <a:cxnLst>
                <a:cxn ang="0">
                  <a:pos x="T0" y="T1"/>
                </a:cxn>
                <a:cxn ang="0">
                  <a:pos x="T2" y="T3"/>
                </a:cxn>
                <a:cxn ang="0">
                  <a:pos x="T4" y="T5"/>
                </a:cxn>
                <a:cxn ang="0">
                  <a:pos x="T6" y="T7"/>
                </a:cxn>
                <a:cxn ang="0">
                  <a:pos x="T8" y="T9"/>
                </a:cxn>
              </a:cxnLst>
              <a:rect l="0" t="0" r="r" b="b"/>
              <a:pathLst>
                <a:path w="31" h="26">
                  <a:moveTo>
                    <a:pt x="0" y="26"/>
                  </a:moveTo>
                  <a:cubicBezTo>
                    <a:pt x="13" y="26"/>
                    <a:pt x="13" y="26"/>
                    <a:pt x="13" y="26"/>
                  </a:cubicBezTo>
                  <a:cubicBezTo>
                    <a:pt x="31" y="0"/>
                    <a:pt x="31" y="0"/>
                    <a:pt x="31" y="0"/>
                  </a:cubicBezTo>
                  <a:cubicBezTo>
                    <a:pt x="21" y="0"/>
                    <a:pt x="21" y="0"/>
                    <a:pt x="21" y="0"/>
                  </a:cubicBezTo>
                  <a:cubicBezTo>
                    <a:pt x="21" y="0"/>
                    <a:pt x="6" y="11"/>
                    <a:pt x="0" y="2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Freeform 464"/>
            <p:cNvSpPr>
              <a:spLocks/>
            </p:cNvSpPr>
            <p:nvPr/>
          </p:nvSpPr>
          <p:spPr bwMode="auto">
            <a:xfrm>
              <a:off x="3567" y="3970"/>
              <a:ext cx="8" cy="58"/>
            </a:xfrm>
            <a:custGeom>
              <a:avLst/>
              <a:gdLst>
                <a:gd name="T0" fmla="*/ 6 w 8"/>
                <a:gd name="T1" fmla="*/ 0 h 58"/>
                <a:gd name="T2" fmla="*/ 0 w 8"/>
                <a:gd name="T3" fmla="*/ 58 h 58"/>
                <a:gd name="T4" fmla="*/ 4 w 8"/>
                <a:gd name="T5" fmla="*/ 58 h 58"/>
                <a:gd name="T6" fmla="*/ 8 w 8"/>
                <a:gd name="T7" fmla="*/ 0 h 58"/>
                <a:gd name="T8" fmla="*/ 6 w 8"/>
                <a:gd name="T9" fmla="*/ 0 h 58"/>
                <a:gd name="T10" fmla="*/ 6 w 8"/>
                <a:gd name="T11" fmla="*/ 0 h 58"/>
                <a:gd name="T12" fmla="*/ 6 w 8"/>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 h="58">
                  <a:moveTo>
                    <a:pt x="6" y="0"/>
                  </a:moveTo>
                  <a:lnTo>
                    <a:pt x="0" y="58"/>
                  </a:lnTo>
                  <a:lnTo>
                    <a:pt x="4" y="58"/>
                  </a:lnTo>
                  <a:lnTo>
                    <a:pt x="8" y="0"/>
                  </a:lnTo>
                  <a:lnTo>
                    <a:pt x="6" y="0"/>
                  </a:lnTo>
                  <a:lnTo>
                    <a:pt x="6" y="0"/>
                  </a:lnTo>
                  <a:lnTo>
                    <a:pt x="6"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3" name="Freeform 465"/>
            <p:cNvSpPr>
              <a:spLocks/>
            </p:cNvSpPr>
            <p:nvPr/>
          </p:nvSpPr>
          <p:spPr bwMode="auto">
            <a:xfrm>
              <a:off x="3647" y="3940"/>
              <a:ext cx="42" cy="24"/>
            </a:xfrm>
            <a:custGeom>
              <a:avLst/>
              <a:gdLst>
                <a:gd name="T0" fmla="*/ 2 w 42"/>
                <a:gd name="T1" fmla="*/ 24 h 24"/>
                <a:gd name="T2" fmla="*/ 42 w 42"/>
                <a:gd name="T3" fmla="*/ 0 h 24"/>
                <a:gd name="T4" fmla="*/ 42 w 42"/>
                <a:gd name="T5" fmla="*/ 0 h 24"/>
                <a:gd name="T6" fmla="*/ 0 w 42"/>
                <a:gd name="T7" fmla="*/ 22 h 24"/>
                <a:gd name="T8" fmla="*/ 2 w 42"/>
                <a:gd name="T9" fmla="*/ 24 h 24"/>
                <a:gd name="T10" fmla="*/ 2 w 42"/>
                <a:gd name="T11" fmla="*/ 24 h 24"/>
                <a:gd name="T12" fmla="*/ 2 w 4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2" h="24">
                  <a:moveTo>
                    <a:pt x="2" y="24"/>
                  </a:moveTo>
                  <a:lnTo>
                    <a:pt x="42" y="0"/>
                  </a:lnTo>
                  <a:lnTo>
                    <a:pt x="42" y="0"/>
                  </a:lnTo>
                  <a:lnTo>
                    <a:pt x="0" y="22"/>
                  </a:lnTo>
                  <a:lnTo>
                    <a:pt x="2" y="24"/>
                  </a:lnTo>
                  <a:lnTo>
                    <a:pt x="2" y="24"/>
                  </a:lnTo>
                  <a:lnTo>
                    <a:pt x="2" y="24"/>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4" name="Freeform 466"/>
            <p:cNvSpPr>
              <a:spLocks/>
            </p:cNvSpPr>
            <p:nvPr/>
          </p:nvSpPr>
          <p:spPr bwMode="auto">
            <a:xfrm>
              <a:off x="3456" y="4010"/>
              <a:ext cx="21" cy="28"/>
            </a:xfrm>
            <a:custGeom>
              <a:avLst/>
              <a:gdLst>
                <a:gd name="T0" fmla="*/ 10 w 10"/>
                <a:gd name="T1" fmla="*/ 0 h 14"/>
                <a:gd name="T2" fmla="*/ 7 w 10"/>
                <a:gd name="T3" fmla="*/ 0 h 14"/>
                <a:gd name="T4" fmla="*/ 0 w 10"/>
                <a:gd name="T5" fmla="*/ 7 h 14"/>
                <a:gd name="T6" fmla="*/ 7 w 10"/>
                <a:gd name="T7" fmla="*/ 14 h 14"/>
                <a:gd name="T8" fmla="*/ 10 w 10"/>
                <a:gd name="T9" fmla="*/ 14 h 14"/>
                <a:gd name="T10" fmla="*/ 10 w 10"/>
                <a:gd name="T11" fmla="*/ 0 h 14"/>
                <a:gd name="T12" fmla="*/ 10 w 1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10" y="0"/>
                  </a:moveTo>
                  <a:cubicBezTo>
                    <a:pt x="7" y="0"/>
                    <a:pt x="7" y="0"/>
                    <a:pt x="7" y="0"/>
                  </a:cubicBezTo>
                  <a:cubicBezTo>
                    <a:pt x="3" y="0"/>
                    <a:pt x="0" y="3"/>
                    <a:pt x="0" y="7"/>
                  </a:cubicBezTo>
                  <a:cubicBezTo>
                    <a:pt x="0" y="11"/>
                    <a:pt x="3" y="14"/>
                    <a:pt x="7" y="14"/>
                  </a:cubicBezTo>
                  <a:cubicBezTo>
                    <a:pt x="10" y="14"/>
                    <a:pt x="10" y="14"/>
                    <a:pt x="10" y="14"/>
                  </a:cubicBezTo>
                  <a:cubicBezTo>
                    <a:pt x="10" y="0"/>
                    <a:pt x="10" y="0"/>
                    <a:pt x="10" y="0"/>
                  </a:cubicBezTo>
                  <a:cubicBezTo>
                    <a:pt x="10" y="0"/>
                    <a:pt x="10" y="0"/>
                    <a:pt x="10"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5" name="Freeform 467"/>
            <p:cNvSpPr>
              <a:spLocks/>
            </p:cNvSpPr>
            <p:nvPr/>
          </p:nvSpPr>
          <p:spPr bwMode="auto">
            <a:xfrm>
              <a:off x="3687" y="4079"/>
              <a:ext cx="16" cy="26"/>
            </a:xfrm>
            <a:custGeom>
              <a:avLst/>
              <a:gdLst>
                <a:gd name="T0" fmla="*/ 8 w 8"/>
                <a:gd name="T1" fmla="*/ 9 h 13"/>
                <a:gd name="T2" fmla="*/ 4 w 8"/>
                <a:gd name="T3" fmla="*/ 13 h 13"/>
                <a:gd name="T4" fmla="*/ 0 w 8"/>
                <a:gd name="T5" fmla="*/ 9 h 13"/>
                <a:gd name="T6" fmla="*/ 0 w 8"/>
                <a:gd name="T7" fmla="*/ 5 h 13"/>
                <a:gd name="T8" fmla="*/ 4 w 8"/>
                <a:gd name="T9" fmla="*/ 0 h 13"/>
                <a:gd name="T10" fmla="*/ 8 w 8"/>
                <a:gd name="T11" fmla="*/ 5 h 13"/>
                <a:gd name="T12" fmla="*/ 8 w 8"/>
                <a:gd name="T13" fmla="*/ 9 h 13"/>
                <a:gd name="T14" fmla="*/ 8 w 8"/>
                <a:gd name="T15" fmla="*/ 9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8" y="9"/>
                  </a:moveTo>
                  <a:cubicBezTo>
                    <a:pt x="8" y="11"/>
                    <a:pt x="6" y="13"/>
                    <a:pt x="4" y="13"/>
                  </a:cubicBezTo>
                  <a:cubicBezTo>
                    <a:pt x="1" y="13"/>
                    <a:pt x="0" y="11"/>
                    <a:pt x="0" y="9"/>
                  </a:cubicBezTo>
                  <a:cubicBezTo>
                    <a:pt x="0" y="5"/>
                    <a:pt x="0" y="5"/>
                    <a:pt x="0" y="5"/>
                  </a:cubicBezTo>
                  <a:cubicBezTo>
                    <a:pt x="0" y="3"/>
                    <a:pt x="1" y="0"/>
                    <a:pt x="4" y="0"/>
                  </a:cubicBezTo>
                  <a:cubicBezTo>
                    <a:pt x="6" y="0"/>
                    <a:pt x="8" y="3"/>
                    <a:pt x="8" y="5"/>
                  </a:cubicBezTo>
                  <a:cubicBezTo>
                    <a:pt x="8" y="9"/>
                    <a:pt x="8" y="9"/>
                    <a:pt x="8" y="9"/>
                  </a:cubicBezTo>
                  <a:cubicBezTo>
                    <a:pt x="8" y="9"/>
                    <a:pt x="8" y="9"/>
                    <a:pt x="8" y="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6" name="Freeform 468"/>
            <p:cNvSpPr>
              <a:spLocks/>
            </p:cNvSpPr>
            <p:nvPr/>
          </p:nvSpPr>
          <p:spPr bwMode="auto">
            <a:xfrm>
              <a:off x="3336" y="4079"/>
              <a:ext cx="12" cy="8"/>
            </a:xfrm>
            <a:custGeom>
              <a:avLst/>
              <a:gdLst>
                <a:gd name="T0" fmla="*/ 2 w 6"/>
                <a:gd name="T1" fmla="*/ 4 h 4"/>
                <a:gd name="T2" fmla="*/ 0 w 6"/>
                <a:gd name="T3" fmla="*/ 2 h 4"/>
                <a:gd name="T4" fmla="*/ 2 w 6"/>
                <a:gd name="T5" fmla="*/ 0 h 4"/>
                <a:gd name="T6" fmla="*/ 4 w 6"/>
                <a:gd name="T7" fmla="*/ 0 h 4"/>
                <a:gd name="T8" fmla="*/ 6 w 6"/>
                <a:gd name="T9" fmla="*/ 2 h 4"/>
                <a:gd name="T10" fmla="*/ 4 w 6"/>
                <a:gd name="T11" fmla="*/ 4 h 4"/>
                <a:gd name="T12" fmla="*/ 2 w 6"/>
                <a:gd name="T13" fmla="*/ 4 h 4"/>
                <a:gd name="T14" fmla="*/ 2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4"/>
                  </a:moveTo>
                  <a:cubicBezTo>
                    <a:pt x="1" y="4"/>
                    <a:pt x="0" y="3"/>
                    <a:pt x="0" y="2"/>
                  </a:cubicBezTo>
                  <a:cubicBezTo>
                    <a:pt x="0" y="1"/>
                    <a:pt x="1" y="0"/>
                    <a:pt x="2" y="0"/>
                  </a:cubicBezTo>
                  <a:cubicBezTo>
                    <a:pt x="4" y="0"/>
                    <a:pt x="4" y="0"/>
                    <a:pt x="4" y="0"/>
                  </a:cubicBezTo>
                  <a:cubicBezTo>
                    <a:pt x="6" y="0"/>
                    <a:pt x="6" y="1"/>
                    <a:pt x="6" y="2"/>
                  </a:cubicBezTo>
                  <a:cubicBezTo>
                    <a:pt x="6" y="3"/>
                    <a:pt x="6" y="4"/>
                    <a:pt x="4" y="4"/>
                  </a:cubicBezTo>
                  <a:cubicBezTo>
                    <a:pt x="2" y="4"/>
                    <a:pt x="2" y="4"/>
                    <a:pt x="2" y="4"/>
                  </a:cubicBezTo>
                  <a:cubicBezTo>
                    <a:pt x="2" y="4"/>
                    <a:pt x="2" y="4"/>
                    <a:pt x="2" y="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Freeform 469"/>
            <p:cNvSpPr>
              <a:spLocks/>
            </p:cNvSpPr>
            <p:nvPr/>
          </p:nvSpPr>
          <p:spPr bwMode="auto">
            <a:xfrm>
              <a:off x="3316" y="4066"/>
              <a:ext cx="14" cy="33"/>
            </a:xfrm>
            <a:custGeom>
              <a:avLst/>
              <a:gdLst>
                <a:gd name="T0" fmla="*/ 1 w 7"/>
                <a:gd name="T1" fmla="*/ 0 h 16"/>
                <a:gd name="T2" fmla="*/ 1 w 7"/>
                <a:gd name="T3" fmla="*/ 16 h 16"/>
                <a:gd name="T4" fmla="*/ 7 w 7"/>
                <a:gd name="T5" fmla="*/ 8 h 16"/>
                <a:gd name="T6" fmla="*/ 1 w 7"/>
                <a:gd name="T7" fmla="*/ 0 h 16"/>
              </a:gdLst>
              <a:ahLst/>
              <a:cxnLst>
                <a:cxn ang="0">
                  <a:pos x="T0" y="T1"/>
                </a:cxn>
                <a:cxn ang="0">
                  <a:pos x="T2" y="T3"/>
                </a:cxn>
                <a:cxn ang="0">
                  <a:pos x="T4" y="T5"/>
                </a:cxn>
                <a:cxn ang="0">
                  <a:pos x="T6" y="T7"/>
                </a:cxn>
              </a:cxnLst>
              <a:rect l="0" t="0" r="r" b="b"/>
              <a:pathLst>
                <a:path w="7" h="16">
                  <a:moveTo>
                    <a:pt x="1" y="0"/>
                  </a:moveTo>
                  <a:cubicBezTo>
                    <a:pt x="0" y="6"/>
                    <a:pt x="0" y="12"/>
                    <a:pt x="1" y="16"/>
                  </a:cubicBezTo>
                  <a:cubicBezTo>
                    <a:pt x="5" y="15"/>
                    <a:pt x="7" y="12"/>
                    <a:pt x="7" y="8"/>
                  </a:cubicBezTo>
                  <a:cubicBezTo>
                    <a:pt x="7" y="4"/>
                    <a:pt x="5" y="1"/>
                    <a:pt x="1" y="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8" name="Freeform 470"/>
            <p:cNvSpPr>
              <a:spLocks/>
            </p:cNvSpPr>
            <p:nvPr/>
          </p:nvSpPr>
          <p:spPr bwMode="auto">
            <a:xfrm>
              <a:off x="3675" y="4024"/>
              <a:ext cx="18" cy="40"/>
            </a:xfrm>
            <a:custGeom>
              <a:avLst/>
              <a:gdLst>
                <a:gd name="T0" fmla="*/ 0 w 9"/>
                <a:gd name="T1" fmla="*/ 0 h 20"/>
                <a:gd name="T2" fmla="*/ 3 w 9"/>
                <a:gd name="T3" fmla="*/ 20 h 20"/>
                <a:gd name="T4" fmla="*/ 9 w 9"/>
                <a:gd name="T5" fmla="*/ 20 h 20"/>
                <a:gd name="T6" fmla="*/ 5 w 9"/>
                <a:gd name="T7" fmla="*/ 0 h 20"/>
                <a:gd name="T8" fmla="*/ 0 w 9"/>
                <a:gd name="T9" fmla="*/ 0 h 20"/>
              </a:gdLst>
              <a:ahLst/>
              <a:cxnLst>
                <a:cxn ang="0">
                  <a:pos x="T0" y="T1"/>
                </a:cxn>
                <a:cxn ang="0">
                  <a:pos x="T2" y="T3"/>
                </a:cxn>
                <a:cxn ang="0">
                  <a:pos x="T4" y="T5"/>
                </a:cxn>
                <a:cxn ang="0">
                  <a:pos x="T6" y="T7"/>
                </a:cxn>
                <a:cxn ang="0">
                  <a:pos x="T8" y="T9"/>
                </a:cxn>
              </a:cxnLst>
              <a:rect l="0" t="0" r="r" b="b"/>
              <a:pathLst>
                <a:path w="9" h="20">
                  <a:moveTo>
                    <a:pt x="0" y="0"/>
                  </a:moveTo>
                  <a:cubicBezTo>
                    <a:pt x="2" y="10"/>
                    <a:pt x="3" y="20"/>
                    <a:pt x="3" y="20"/>
                  </a:cubicBezTo>
                  <a:cubicBezTo>
                    <a:pt x="9" y="20"/>
                    <a:pt x="9" y="20"/>
                    <a:pt x="9" y="20"/>
                  </a:cubicBezTo>
                  <a:cubicBezTo>
                    <a:pt x="8" y="12"/>
                    <a:pt x="7" y="6"/>
                    <a:pt x="5" y="0"/>
                  </a:cubicBezTo>
                  <a:cubicBezTo>
                    <a:pt x="4" y="0"/>
                    <a:pt x="2" y="0"/>
                    <a:pt x="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9" name="Oval 471"/>
            <p:cNvSpPr>
              <a:spLocks noChangeArrowheads="1"/>
            </p:cNvSpPr>
            <p:nvPr/>
          </p:nvSpPr>
          <p:spPr bwMode="auto">
            <a:xfrm>
              <a:off x="3386" y="4107"/>
              <a:ext cx="10" cy="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0" name="Oval 472"/>
            <p:cNvSpPr>
              <a:spLocks noChangeArrowheads="1"/>
            </p:cNvSpPr>
            <p:nvPr/>
          </p:nvSpPr>
          <p:spPr bwMode="auto">
            <a:xfrm>
              <a:off x="3609" y="4107"/>
              <a:ext cx="12" cy="12"/>
            </a:xfrm>
            <a:prstGeom prst="ellipse">
              <a:avLst/>
            </a:pr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473"/>
            <p:cNvSpPr>
              <a:spLocks/>
            </p:cNvSpPr>
            <p:nvPr/>
          </p:nvSpPr>
          <p:spPr bwMode="auto">
            <a:xfrm>
              <a:off x="5087" y="3932"/>
              <a:ext cx="284" cy="82"/>
            </a:xfrm>
            <a:custGeom>
              <a:avLst/>
              <a:gdLst>
                <a:gd name="T0" fmla="*/ 142 w 142"/>
                <a:gd name="T1" fmla="*/ 0 h 41"/>
                <a:gd name="T2" fmla="*/ 29 w 142"/>
                <a:gd name="T3" fmla="*/ 0 h 41"/>
                <a:gd name="T4" fmla="*/ 0 w 142"/>
                <a:gd name="T5" fmla="*/ 29 h 41"/>
                <a:gd name="T6" fmla="*/ 0 w 142"/>
                <a:gd name="T7" fmla="*/ 41 h 41"/>
                <a:gd name="T8" fmla="*/ 142 w 142"/>
                <a:gd name="T9" fmla="*/ 41 h 41"/>
                <a:gd name="T10" fmla="*/ 142 w 142"/>
                <a:gd name="T11" fmla="*/ 0 h 41"/>
              </a:gdLst>
              <a:ahLst/>
              <a:cxnLst>
                <a:cxn ang="0">
                  <a:pos x="T0" y="T1"/>
                </a:cxn>
                <a:cxn ang="0">
                  <a:pos x="T2" y="T3"/>
                </a:cxn>
                <a:cxn ang="0">
                  <a:pos x="T4" y="T5"/>
                </a:cxn>
                <a:cxn ang="0">
                  <a:pos x="T6" y="T7"/>
                </a:cxn>
                <a:cxn ang="0">
                  <a:pos x="T8" y="T9"/>
                </a:cxn>
                <a:cxn ang="0">
                  <a:pos x="T10" y="T11"/>
                </a:cxn>
              </a:cxnLst>
              <a:rect l="0" t="0" r="r" b="b"/>
              <a:pathLst>
                <a:path w="142" h="41">
                  <a:moveTo>
                    <a:pt x="142" y="0"/>
                  </a:moveTo>
                  <a:cubicBezTo>
                    <a:pt x="120" y="0"/>
                    <a:pt x="29" y="0"/>
                    <a:pt x="29" y="0"/>
                  </a:cubicBezTo>
                  <a:cubicBezTo>
                    <a:pt x="14" y="0"/>
                    <a:pt x="0" y="13"/>
                    <a:pt x="0" y="29"/>
                  </a:cubicBezTo>
                  <a:cubicBezTo>
                    <a:pt x="0" y="41"/>
                    <a:pt x="0" y="41"/>
                    <a:pt x="0" y="41"/>
                  </a:cubicBezTo>
                  <a:cubicBezTo>
                    <a:pt x="142" y="41"/>
                    <a:pt x="142" y="41"/>
                    <a:pt x="142" y="41"/>
                  </a:cubicBezTo>
                  <a:lnTo>
                    <a:pt x="142"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474"/>
            <p:cNvSpPr>
              <a:spLocks/>
            </p:cNvSpPr>
            <p:nvPr/>
          </p:nvSpPr>
          <p:spPr bwMode="auto">
            <a:xfrm>
              <a:off x="5151" y="3932"/>
              <a:ext cx="284" cy="82"/>
            </a:xfrm>
            <a:custGeom>
              <a:avLst/>
              <a:gdLst>
                <a:gd name="T0" fmla="*/ 0 w 142"/>
                <a:gd name="T1" fmla="*/ 0 h 41"/>
                <a:gd name="T2" fmla="*/ 113 w 142"/>
                <a:gd name="T3" fmla="*/ 0 h 41"/>
                <a:gd name="T4" fmla="*/ 142 w 142"/>
                <a:gd name="T5" fmla="*/ 29 h 41"/>
                <a:gd name="T6" fmla="*/ 142 w 142"/>
                <a:gd name="T7" fmla="*/ 41 h 41"/>
                <a:gd name="T8" fmla="*/ 0 w 142"/>
                <a:gd name="T9" fmla="*/ 41 h 41"/>
                <a:gd name="T10" fmla="*/ 0 w 142"/>
                <a:gd name="T11" fmla="*/ 0 h 41"/>
              </a:gdLst>
              <a:ahLst/>
              <a:cxnLst>
                <a:cxn ang="0">
                  <a:pos x="T0" y="T1"/>
                </a:cxn>
                <a:cxn ang="0">
                  <a:pos x="T2" y="T3"/>
                </a:cxn>
                <a:cxn ang="0">
                  <a:pos x="T4" y="T5"/>
                </a:cxn>
                <a:cxn ang="0">
                  <a:pos x="T6" y="T7"/>
                </a:cxn>
                <a:cxn ang="0">
                  <a:pos x="T8" y="T9"/>
                </a:cxn>
                <a:cxn ang="0">
                  <a:pos x="T10" y="T11"/>
                </a:cxn>
              </a:cxnLst>
              <a:rect l="0" t="0" r="r" b="b"/>
              <a:pathLst>
                <a:path w="142" h="41">
                  <a:moveTo>
                    <a:pt x="0" y="0"/>
                  </a:moveTo>
                  <a:cubicBezTo>
                    <a:pt x="23" y="0"/>
                    <a:pt x="113" y="0"/>
                    <a:pt x="113" y="0"/>
                  </a:cubicBezTo>
                  <a:cubicBezTo>
                    <a:pt x="129" y="0"/>
                    <a:pt x="142" y="13"/>
                    <a:pt x="142" y="29"/>
                  </a:cubicBezTo>
                  <a:cubicBezTo>
                    <a:pt x="142" y="41"/>
                    <a:pt x="142" y="41"/>
                    <a:pt x="142" y="41"/>
                  </a:cubicBezTo>
                  <a:cubicBezTo>
                    <a:pt x="0" y="41"/>
                    <a:pt x="0" y="41"/>
                    <a:pt x="0" y="41"/>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475"/>
            <p:cNvSpPr>
              <a:spLocks/>
            </p:cNvSpPr>
            <p:nvPr/>
          </p:nvSpPr>
          <p:spPr bwMode="auto">
            <a:xfrm>
              <a:off x="5197" y="3950"/>
              <a:ext cx="216" cy="56"/>
            </a:xfrm>
            <a:custGeom>
              <a:avLst/>
              <a:gdLst>
                <a:gd name="T0" fmla="*/ 0 w 108"/>
                <a:gd name="T1" fmla="*/ 0 h 28"/>
                <a:gd name="T2" fmla="*/ 86 w 108"/>
                <a:gd name="T3" fmla="*/ 0 h 28"/>
                <a:gd name="T4" fmla="*/ 108 w 108"/>
                <a:gd name="T5" fmla="*/ 22 h 28"/>
                <a:gd name="T6" fmla="*/ 108 w 108"/>
                <a:gd name="T7" fmla="*/ 28 h 28"/>
                <a:gd name="T8" fmla="*/ 0 w 108"/>
                <a:gd name="T9" fmla="*/ 28 h 28"/>
                <a:gd name="T10" fmla="*/ 0 w 108"/>
                <a:gd name="T11" fmla="*/ 0 h 28"/>
              </a:gdLst>
              <a:ahLst/>
              <a:cxnLst>
                <a:cxn ang="0">
                  <a:pos x="T0" y="T1"/>
                </a:cxn>
                <a:cxn ang="0">
                  <a:pos x="T2" y="T3"/>
                </a:cxn>
                <a:cxn ang="0">
                  <a:pos x="T4" y="T5"/>
                </a:cxn>
                <a:cxn ang="0">
                  <a:pos x="T6" y="T7"/>
                </a:cxn>
                <a:cxn ang="0">
                  <a:pos x="T8" y="T9"/>
                </a:cxn>
                <a:cxn ang="0">
                  <a:pos x="T10" y="T11"/>
                </a:cxn>
              </a:cxnLst>
              <a:rect l="0" t="0" r="r" b="b"/>
              <a:pathLst>
                <a:path w="108" h="28">
                  <a:moveTo>
                    <a:pt x="0" y="0"/>
                  </a:moveTo>
                  <a:cubicBezTo>
                    <a:pt x="17" y="0"/>
                    <a:pt x="86" y="0"/>
                    <a:pt x="86" y="0"/>
                  </a:cubicBezTo>
                  <a:cubicBezTo>
                    <a:pt x="98" y="0"/>
                    <a:pt x="108" y="10"/>
                    <a:pt x="108" y="22"/>
                  </a:cubicBezTo>
                  <a:cubicBezTo>
                    <a:pt x="108" y="28"/>
                    <a:pt x="108" y="28"/>
                    <a:pt x="108" y="28"/>
                  </a:cubicBezTo>
                  <a:cubicBezTo>
                    <a:pt x="0" y="28"/>
                    <a:pt x="0" y="28"/>
                    <a:pt x="0" y="28"/>
                  </a:cubicBezTo>
                  <a:lnTo>
                    <a:pt x="0"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4" name="Freeform 476"/>
            <p:cNvSpPr>
              <a:spLocks/>
            </p:cNvSpPr>
            <p:nvPr/>
          </p:nvSpPr>
          <p:spPr bwMode="auto">
            <a:xfrm>
              <a:off x="5143" y="3950"/>
              <a:ext cx="226" cy="56"/>
            </a:xfrm>
            <a:custGeom>
              <a:avLst/>
              <a:gdLst>
                <a:gd name="T0" fmla="*/ 8 w 113"/>
                <a:gd name="T1" fmla="*/ 0 h 28"/>
                <a:gd name="T2" fmla="*/ 0 w 113"/>
                <a:gd name="T3" fmla="*/ 8 h 28"/>
                <a:gd name="T4" fmla="*/ 0 w 113"/>
                <a:gd name="T5" fmla="*/ 28 h 28"/>
                <a:gd name="T6" fmla="*/ 113 w 113"/>
                <a:gd name="T7" fmla="*/ 28 h 28"/>
                <a:gd name="T8" fmla="*/ 113 w 113"/>
                <a:gd name="T9" fmla="*/ 0 h 28"/>
                <a:gd name="T10" fmla="*/ 8 w 113"/>
                <a:gd name="T11" fmla="*/ 0 h 28"/>
              </a:gdLst>
              <a:ahLst/>
              <a:cxnLst>
                <a:cxn ang="0">
                  <a:pos x="T0" y="T1"/>
                </a:cxn>
                <a:cxn ang="0">
                  <a:pos x="T2" y="T3"/>
                </a:cxn>
                <a:cxn ang="0">
                  <a:pos x="T4" y="T5"/>
                </a:cxn>
                <a:cxn ang="0">
                  <a:pos x="T6" y="T7"/>
                </a:cxn>
                <a:cxn ang="0">
                  <a:pos x="T8" y="T9"/>
                </a:cxn>
                <a:cxn ang="0">
                  <a:pos x="T10" y="T11"/>
                </a:cxn>
              </a:cxnLst>
              <a:rect l="0" t="0" r="r" b="b"/>
              <a:pathLst>
                <a:path w="113" h="28">
                  <a:moveTo>
                    <a:pt x="8" y="0"/>
                  </a:moveTo>
                  <a:cubicBezTo>
                    <a:pt x="3" y="0"/>
                    <a:pt x="0" y="4"/>
                    <a:pt x="0" y="8"/>
                  </a:cubicBezTo>
                  <a:cubicBezTo>
                    <a:pt x="0" y="28"/>
                    <a:pt x="0" y="28"/>
                    <a:pt x="0" y="28"/>
                  </a:cubicBezTo>
                  <a:cubicBezTo>
                    <a:pt x="113" y="28"/>
                    <a:pt x="113" y="28"/>
                    <a:pt x="113" y="28"/>
                  </a:cubicBezTo>
                  <a:cubicBezTo>
                    <a:pt x="113" y="0"/>
                    <a:pt x="113" y="0"/>
                    <a:pt x="113" y="0"/>
                  </a:cubicBezTo>
                  <a:lnTo>
                    <a:pt x="8" y="0"/>
                  </a:lnTo>
                  <a:close/>
                </a:path>
              </a:pathLst>
            </a:custGeom>
            <a:solidFill>
              <a:srgbClr val="012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5" name="Freeform 477"/>
            <p:cNvSpPr>
              <a:spLocks/>
            </p:cNvSpPr>
            <p:nvPr/>
          </p:nvSpPr>
          <p:spPr bwMode="auto">
            <a:xfrm>
              <a:off x="5197" y="3948"/>
              <a:ext cx="10" cy="62"/>
            </a:xfrm>
            <a:custGeom>
              <a:avLst/>
              <a:gdLst>
                <a:gd name="T0" fmla="*/ 10 w 10"/>
                <a:gd name="T1" fmla="*/ 62 h 62"/>
                <a:gd name="T2" fmla="*/ 0 w 10"/>
                <a:gd name="T3" fmla="*/ 62 h 62"/>
                <a:gd name="T4" fmla="*/ 0 w 10"/>
                <a:gd name="T5" fmla="*/ 0 h 62"/>
                <a:gd name="T6" fmla="*/ 10 w 10"/>
                <a:gd name="T7" fmla="*/ 0 h 62"/>
                <a:gd name="T8" fmla="*/ 10 w 10"/>
                <a:gd name="T9" fmla="*/ 62 h 62"/>
                <a:gd name="T10" fmla="*/ 10 w 10"/>
                <a:gd name="T11" fmla="*/ 62 h 62"/>
              </a:gdLst>
              <a:ahLst/>
              <a:cxnLst>
                <a:cxn ang="0">
                  <a:pos x="T0" y="T1"/>
                </a:cxn>
                <a:cxn ang="0">
                  <a:pos x="T2" y="T3"/>
                </a:cxn>
                <a:cxn ang="0">
                  <a:pos x="T4" y="T5"/>
                </a:cxn>
                <a:cxn ang="0">
                  <a:pos x="T6" y="T7"/>
                </a:cxn>
                <a:cxn ang="0">
                  <a:pos x="T8" y="T9"/>
                </a:cxn>
                <a:cxn ang="0">
                  <a:pos x="T10" y="T11"/>
                </a:cxn>
              </a:cxnLst>
              <a:rect l="0" t="0" r="r" b="b"/>
              <a:pathLst>
                <a:path w="10" h="62">
                  <a:moveTo>
                    <a:pt x="10" y="62"/>
                  </a:moveTo>
                  <a:lnTo>
                    <a:pt x="0" y="62"/>
                  </a:lnTo>
                  <a:lnTo>
                    <a:pt x="0" y="0"/>
                  </a:lnTo>
                  <a:lnTo>
                    <a:pt x="10" y="0"/>
                  </a:lnTo>
                  <a:lnTo>
                    <a:pt x="10" y="62"/>
                  </a:lnTo>
                  <a:lnTo>
                    <a:pt x="10" y="6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Freeform 478"/>
            <p:cNvSpPr>
              <a:spLocks/>
            </p:cNvSpPr>
            <p:nvPr/>
          </p:nvSpPr>
          <p:spPr bwMode="auto">
            <a:xfrm>
              <a:off x="5197" y="3948"/>
              <a:ext cx="10" cy="62"/>
            </a:xfrm>
            <a:custGeom>
              <a:avLst/>
              <a:gdLst>
                <a:gd name="T0" fmla="*/ 10 w 10"/>
                <a:gd name="T1" fmla="*/ 62 h 62"/>
                <a:gd name="T2" fmla="*/ 0 w 10"/>
                <a:gd name="T3" fmla="*/ 62 h 62"/>
                <a:gd name="T4" fmla="*/ 0 w 10"/>
                <a:gd name="T5" fmla="*/ 0 h 62"/>
                <a:gd name="T6" fmla="*/ 10 w 10"/>
                <a:gd name="T7" fmla="*/ 0 h 62"/>
                <a:gd name="T8" fmla="*/ 10 w 10"/>
                <a:gd name="T9" fmla="*/ 62 h 62"/>
                <a:gd name="T10" fmla="*/ 10 w 10"/>
                <a:gd name="T11" fmla="*/ 62 h 62"/>
              </a:gdLst>
              <a:ahLst/>
              <a:cxnLst>
                <a:cxn ang="0">
                  <a:pos x="T0" y="T1"/>
                </a:cxn>
                <a:cxn ang="0">
                  <a:pos x="T2" y="T3"/>
                </a:cxn>
                <a:cxn ang="0">
                  <a:pos x="T4" y="T5"/>
                </a:cxn>
                <a:cxn ang="0">
                  <a:pos x="T6" y="T7"/>
                </a:cxn>
                <a:cxn ang="0">
                  <a:pos x="T8" y="T9"/>
                </a:cxn>
                <a:cxn ang="0">
                  <a:pos x="T10" y="T11"/>
                </a:cxn>
              </a:cxnLst>
              <a:rect l="0" t="0" r="r" b="b"/>
              <a:pathLst>
                <a:path w="10" h="62">
                  <a:moveTo>
                    <a:pt x="10" y="62"/>
                  </a:moveTo>
                  <a:lnTo>
                    <a:pt x="0" y="62"/>
                  </a:lnTo>
                  <a:lnTo>
                    <a:pt x="0" y="0"/>
                  </a:lnTo>
                  <a:lnTo>
                    <a:pt x="10" y="0"/>
                  </a:lnTo>
                  <a:lnTo>
                    <a:pt x="10" y="62"/>
                  </a:lnTo>
                  <a:lnTo>
                    <a:pt x="10" y="62"/>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7" name="Freeform 479"/>
            <p:cNvSpPr>
              <a:spLocks/>
            </p:cNvSpPr>
            <p:nvPr/>
          </p:nvSpPr>
          <p:spPr bwMode="auto">
            <a:xfrm>
              <a:off x="5309" y="3948"/>
              <a:ext cx="8" cy="62"/>
            </a:xfrm>
            <a:custGeom>
              <a:avLst/>
              <a:gdLst>
                <a:gd name="T0" fmla="*/ 8 w 8"/>
                <a:gd name="T1" fmla="*/ 62 h 62"/>
                <a:gd name="T2" fmla="*/ 0 w 8"/>
                <a:gd name="T3" fmla="*/ 62 h 62"/>
                <a:gd name="T4" fmla="*/ 0 w 8"/>
                <a:gd name="T5" fmla="*/ 0 h 62"/>
                <a:gd name="T6" fmla="*/ 8 w 8"/>
                <a:gd name="T7" fmla="*/ 0 h 62"/>
                <a:gd name="T8" fmla="*/ 8 w 8"/>
                <a:gd name="T9" fmla="*/ 62 h 62"/>
                <a:gd name="T10" fmla="*/ 8 w 8"/>
                <a:gd name="T11" fmla="*/ 62 h 62"/>
              </a:gdLst>
              <a:ahLst/>
              <a:cxnLst>
                <a:cxn ang="0">
                  <a:pos x="T0" y="T1"/>
                </a:cxn>
                <a:cxn ang="0">
                  <a:pos x="T2" y="T3"/>
                </a:cxn>
                <a:cxn ang="0">
                  <a:pos x="T4" y="T5"/>
                </a:cxn>
                <a:cxn ang="0">
                  <a:pos x="T6" y="T7"/>
                </a:cxn>
                <a:cxn ang="0">
                  <a:pos x="T8" y="T9"/>
                </a:cxn>
                <a:cxn ang="0">
                  <a:pos x="T10" y="T11"/>
                </a:cxn>
              </a:cxnLst>
              <a:rect l="0" t="0" r="r" b="b"/>
              <a:pathLst>
                <a:path w="8" h="62">
                  <a:moveTo>
                    <a:pt x="8" y="62"/>
                  </a:moveTo>
                  <a:lnTo>
                    <a:pt x="0" y="62"/>
                  </a:lnTo>
                  <a:lnTo>
                    <a:pt x="0" y="0"/>
                  </a:lnTo>
                  <a:lnTo>
                    <a:pt x="8" y="0"/>
                  </a:lnTo>
                  <a:lnTo>
                    <a:pt x="8" y="62"/>
                  </a:lnTo>
                  <a:lnTo>
                    <a:pt x="8" y="6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8" name="Freeform 480"/>
            <p:cNvSpPr>
              <a:spLocks/>
            </p:cNvSpPr>
            <p:nvPr/>
          </p:nvSpPr>
          <p:spPr bwMode="auto">
            <a:xfrm>
              <a:off x="5309" y="3948"/>
              <a:ext cx="8" cy="62"/>
            </a:xfrm>
            <a:custGeom>
              <a:avLst/>
              <a:gdLst>
                <a:gd name="T0" fmla="*/ 8 w 8"/>
                <a:gd name="T1" fmla="*/ 62 h 62"/>
                <a:gd name="T2" fmla="*/ 0 w 8"/>
                <a:gd name="T3" fmla="*/ 62 h 62"/>
                <a:gd name="T4" fmla="*/ 0 w 8"/>
                <a:gd name="T5" fmla="*/ 0 h 62"/>
                <a:gd name="T6" fmla="*/ 8 w 8"/>
                <a:gd name="T7" fmla="*/ 0 h 62"/>
                <a:gd name="T8" fmla="*/ 8 w 8"/>
                <a:gd name="T9" fmla="*/ 62 h 62"/>
                <a:gd name="T10" fmla="*/ 8 w 8"/>
                <a:gd name="T11" fmla="*/ 62 h 62"/>
              </a:gdLst>
              <a:ahLst/>
              <a:cxnLst>
                <a:cxn ang="0">
                  <a:pos x="T0" y="T1"/>
                </a:cxn>
                <a:cxn ang="0">
                  <a:pos x="T2" y="T3"/>
                </a:cxn>
                <a:cxn ang="0">
                  <a:pos x="T4" y="T5"/>
                </a:cxn>
                <a:cxn ang="0">
                  <a:pos x="T6" y="T7"/>
                </a:cxn>
                <a:cxn ang="0">
                  <a:pos x="T8" y="T9"/>
                </a:cxn>
                <a:cxn ang="0">
                  <a:pos x="T10" y="T11"/>
                </a:cxn>
              </a:cxnLst>
              <a:rect l="0" t="0" r="r" b="b"/>
              <a:pathLst>
                <a:path w="8" h="62">
                  <a:moveTo>
                    <a:pt x="8" y="62"/>
                  </a:moveTo>
                  <a:lnTo>
                    <a:pt x="0" y="62"/>
                  </a:lnTo>
                  <a:lnTo>
                    <a:pt x="0" y="0"/>
                  </a:lnTo>
                  <a:lnTo>
                    <a:pt x="8" y="0"/>
                  </a:lnTo>
                  <a:lnTo>
                    <a:pt x="8" y="62"/>
                  </a:lnTo>
                  <a:lnTo>
                    <a:pt x="8" y="62"/>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Freeform 481"/>
            <p:cNvSpPr>
              <a:spLocks/>
            </p:cNvSpPr>
            <p:nvPr/>
          </p:nvSpPr>
          <p:spPr bwMode="auto">
            <a:xfrm>
              <a:off x="5087" y="4014"/>
              <a:ext cx="348" cy="75"/>
            </a:xfrm>
            <a:custGeom>
              <a:avLst/>
              <a:gdLst>
                <a:gd name="T0" fmla="*/ 0 w 348"/>
                <a:gd name="T1" fmla="*/ 8 h 75"/>
                <a:gd name="T2" fmla="*/ 0 w 348"/>
                <a:gd name="T3" fmla="*/ 75 h 75"/>
                <a:gd name="T4" fmla="*/ 58 w 348"/>
                <a:gd name="T5" fmla="*/ 75 h 75"/>
                <a:gd name="T6" fmla="*/ 290 w 348"/>
                <a:gd name="T7" fmla="*/ 75 h 75"/>
                <a:gd name="T8" fmla="*/ 348 w 348"/>
                <a:gd name="T9" fmla="*/ 75 h 75"/>
                <a:gd name="T10" fmla="*/ 348 w 348"/>
                <a:gd name="T11" fmla="*/ 8 h 75"/>
                <a:gd name="T12" fmla="*/ 348 w 348"/>
                <a:gd name="T13" fmla="*/ 0 h 75"/>
                <a:gd name="T14" fmla="*/ 0 w 348"/>
                <a:gd name="T15" fmla="*/ 0 h 75"/>
                <a:gd name="T16" fmla="*/ 0 w 348"/>
                <a:gd name="T17" fmla="*/ 8 h 75"/>
                <a:gd name="T18" fmla="*/ 0 w 348"/>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75">
                  <a:moveTo>
                    <a:pt x="0" y="8"/>
                  </a:moveTo>
                  <a:lnTo>
                    <a:pt x="0" y="75"/>
                  </a:lnTo>
                  <a:lnTo>
                    <a:pt x="58" y="75"/>
                  </a:lnTo>
                  <a:lnTo>
                    <a:pt x="290" y="75"/>
                  </a:lnTo>
                  <a:lnTo>
                    <a:pt x="348" y="75"/>
                  </a:lnTo>
                  <a:lnTo>
                    <a:pt x="348" y="8"/>
                  </a:lnTo>
                  <a:lnTo>
                    <a:pt x="348" y="0"/>
                  </a:lnTo>
                  <a:lnTo>
                    <a:pt x="0" y="0"/>
                  </a:lnTo>
                  <a:lnTo>
                    <a:pt x="0" y="8"/>
                  </a:lnTo>
                  <a:lnTo>
                    <a:pt x="0" y="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482"/>
            <p:cNvSpPr>
              <a:spLocks/>
            </p:cNvSpPr>
            <p:nvPr/>
          </p:nvSpPr>
          <p:spPr bwMode="auto">
            <a:xfrm>
              <a:off x="5087" y="4014"/>
              <a:ext cx="348" cy="75"/>
            </a:xfrm>
            <a:custGeom>
              <a:avLst/>
              <a:gdLst>
                <a:gd name="T0" fmla="*/ 0 w 348"/>
                <a:gd name="T1" fmla="*/ 8 h 75"/>
                <a:gd name="T2" fmla="*/ 0 w 348"/>
                <a:gd name="T3" fmla="*/ 75 h 75"/>
                <a:gd name="T4" fmla="*/ 58 w 348"/>
                <a:gd name="T5" fmla="*/ 75 h 75"/>
                <a:gd name="T6" fmla="*/ 290 w 348"/>
                <a:gd name="T7" fmla="*/ 75 h 75"/>
                <a:gd name="T8" fmla="*/ 348 w 348"/>
                <a:gd name="T9" fmla="*/ 75 h 75"/>
                <a:gd name="T10" fmla="*/ 348 w 348"/>
                <a:gd name="T11" fmla="*/ 8 h 75"/>
                <a:gd name="T12" fmla="*/ 348 w 348"/>
                <a:gd name="T13" fmla="*/ 0 h 75"/>
                <a:gd name="T14" fmla="*/ 0 w 348"/>
                <a:gd name="T15" fmla="*/ 0 h 75"/>
                <a:gd name="T16" fmla="*/ 0 w 348"/>
                <a:gd name="T17" fmla="*/ 8 h 75"/>
                <a:gd name="T18" fmla="*/ 0 w 348"/>
                <a:gd name="T19"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75">
                  <a:moveTo>
                    <a:pt x="0" y="8"/>
                  </a:moveTo>
                  <a:lnTo>
                    <a:pt x="0" y="75"/>
                  </a:lnTo>
                  <a:lnTo>
                    <a:pt x="58" y="75"/>
                  </a:lnTo>
                  <a:lnTo>
                    <a:pt x="290" y="75"/>
                  </a:lnTo>
                  <a:lnTo>
                    <a:pt x="348" y="75"/>
                  </a:lnTo>
                  <a:lnTo>
                    <a:pt x="348" y="8"/>
                  </a:lnTo>
                  <a:lnTo>
                    <a:pt x="348" y="0"/>
                  </a:lnTo>
                  <a:lnTo>
                    <a:pt x="0" y="0"/>
                  </a:lnTo>
                  <a:lnTo>
                    <a:pt x="0" y="8"/>
                  </a:lnTo>
                  <a:lnTo>
                    <a:pt x="0" y="8"/>
                  </a:lnTo>
                  <a:close/>
                </a:path>
              </a:pathLst>
            </a:custGeom>
            <a:noFill/>
            <a:ln w="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Freeform 483"/>
            <p:cNvSpPr>
              <a:spLocks/>
            </p:cNvSpPr>
            <p:nvPr/>
          </p:nvSpPr>
          <p:spPr bwMode="auto">
            <a:xfrm>
              <a:off x="5087" y="4014"/>
              <a:ext cx="350" cy="56"/>
            </a:xfrm>
            <a:custGeom>
              <a:avLst/>
              <a:gdLst>
                <a:gd name="T0" fmla="*/ 174 w 175"/>
                <a:gd name="T1" fmla="*/ 0 h 28"/>
                <a:gd name="T2" fmla="*/ 0 w 175"/>
                <a:gd name="T3" fmla="*/ 0 h 28"/>
                <a:gd name="T4" fmla="*/ 0 w 175"/>
                <a:gd name="T5" fmla="*/ 3 h 28"/>
                <a:gd name="T6" fmla="*/ 147 w 175"/>
                <a:gd name="T7" fmla="*/ 3 h 28"/>
                <a:gd name="T8" fmla="*/ 174 w 175"/>
                <a:gd name="T9" fmla="*/ 28 h 28"/>
                <a:gd name="T10" fmla="*/ 174 w 175"/>
                <a:gd name="T11" fmla="*/ 0 h 28"/>
              </a:gdLst>
              <a:ahLst/>
              <a:cxnLst>
                <a:cxn ang="0">
                  <a:pos x="T0" y="T1"/>
                </a:cxn>
                <a:cxn ang="0">
                  <a:pos x="T2" y="T3"/>
                </a:cxn>
                <a:cxn ang="0">
                  <a:pos x="T4" y="T5"/>
                </a:cxn>
                <a:cxn ang="0">
                  <a:pos x="T6" y="T7"/>
                </a:cxn>
                <a:cxn ang="0">
                  <a:pos x="T8" y="T9"/>
                </a:cxn>
                <a:cxn ang="0">
                  <a:pos x="T10" y="T11"/>
                </a:cxn>
              </a:cxnLst>
              <a:rect l="0" t="0" r="r" b="b"/>
              <a:pathLst>
                <a:path w="175" h="28">
                  <a:moveTo>
                    <a:pt x="174" y="0"/>
                  </a:moveTo>
                  <a:cubicBezTo>
                    <a:pt x="0" y="0"/>
                    <a:pt x="0" y="0"/>
                    <a:pt x="0" y="0"/>
                  </a:cubicBezTo>
                  <a:cubicBezTo>
                    <a:pt x="0" y="3"/>
                    <a:pt x="0" y="3"/>
                    <a:pt x="0" y="3"/>
                  </a:cubicBezTo>
                  <a:cubicBezTo>
                    <a:pt x="0" y="3"/>
                    <a:pt x="119" y="3"/>
                    <a:pt x="147" y="3"/>
                  </a:cubicBezTo>
                  <a:cubicBezTo>
                    <a:pt x="175" y="3"/>
                    <a:pt x="174" y="28"/>
                    <a:pt x="174" y="28"/>
                  </a:cubicBezTo>
                  <a:lnTo>
                    <a:pt x="174"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Freeform 484"/>
            <p:cNvSpPr>
              <a:spLocks/>
            </p:cNvSpPr>
            <p:nvPr/>
          </p:nvSpPr>
          <p:spPr bwMode="auto">
            <a:xfrm>
              <a:off x="5117" y="4062"/>
              <a:ext cx="76" cy="27"/>
            </a:xfrm>
            <a:custGeom>
              <a:avLst/>
              <a:gdLst>
                <a:gd name="T0" fmla="*/ 32 w 38"/>
                <a:gd name="T1" fmla="*/ 0 h 13"/>
                <a:gd name="T2" fmla="*/ 7 w 38"/>
                <a:gd name="T3" fmla="*/ 0 h 13"/>
                <a:gd name="T4" fmla="*/ 0 w 38"/>
                <a:gd name="T5" fmla="*/ 7 h 13"/>
                <a:gd name="T6" fmla="*/ 0 w 38"/>
                <a:gd name="T7" fmla="*/ 13 h 13"/>
                <a:gd name="T8" fmla="*/ 38 w 38"/>
                <a:gd name="T9" fmla="*/ 13 h 13"/>
                <a:gd name="T10" fmla="*/ 38 w 38"/>
                <a:gd name="T11" fmla="*/ 7 h 13"/>
                <a:gd name="T12" fmla="*/ 32 w 3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8" h="13">
                  <a:moveTo>
                    <a:pt x="32" y="0"/>
                  </a:moveTo>
                  <a:cubicBezTo>
                    <a:pt x="7" y="0"/>
                    <a:pt x="7" y="0"/>
                    <a:pt x="7" y="0"/>
                  </a:cubicBezTo>
                  <a:cubicBezTo>
                    <a:pt x="3" y="0"/>
                    <a:pt x="0" y="3"/>
                    <a:pt x="0" y="7"/>
                  </a:cubicBezTo>
                  <a:cubicBezTo>
                    <a:pt x="0" y="13"/>
                    <a:pt x="0" y="13"/>
                    <a:pt x="0" y="13"/>
                  </a:cubicBezTo>
                  <a:cubicBezTo>
                    <a:pt x="38" y="13"/>
                    <a:pt x="38" y="13"/>
                    <a:pt x="38" y="13"/>
                  </a:cubicBezTo>
                  <a:cubicBezTo>
                    <a:pt x="38" y="7"/>
                    <a:pt x="38" y="7"/>
                    <a:pt x="38" y="7"/>
                  </a:cubicBezTo>
                  <a:cubicBezTo>
                    <a:pt x="38" y="3"/>
                    <a:pt x="35" y="0"/>
                    <a:pt x="32" y="0"/>
                  </a:cubicBez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Oval 485"/>
            <p:cNvSpPr>
              <a:spLocks noChangeArrowheads="1"/>
            </p:cNvSpPr>
            <p:nvPr/>
          </p:nvSpPr>
          <p:spPr bwMode="auto">
            <a:xfrm>
              <a:off x="5127" y="4056"/>
              <a:ext cx="56" cy="5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Oval 486"/>
            <p:cNvSpPr>
              <a:spLocks noChangeArrowheads="1"/>
            </p:cNvSpPr>
            <p:nvPr/>
          </p:nvSpPr>
          <p:spPr bwMode="auto">
            <a:xfrm>
              <a:off x="5141" y="4070"/>
              <a:ext cx="30" cy="2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487"/>
            <p:cNvSpPr>
              <a:spLocks/>
            </p:cNvSpPr>
            <p:nvPr/>
          </p:nvSpPr>
          <p:spPr bwMode="auto">
            <a:xfrm>
              <a:off x="5311" y="4062"/>
              <a:ext cx="76" cy="27"/>
            </a:xfrm>
            <a:custGeom>
              <a:avLst/>
              <a:gdLst>
                <a:gd name="T0" fmla="*/ 32 w 38"/>
                <a:gd name="T1" fmla="*/ 0 h 13"/>
                <a:gd name="T2" fmla="*/ 7 w 38"/>
                <a:gd name="T3" fmla="*/ 0 h 13"/>
                <a:gd name="T4" fmla="*/ 0 w 38"/>
                <a:gd name="T5" fmla="*/ 7 h 13"/>
                <a:gd name="T6" fmla="*/ 0 w 38"/>
                <a:gd name="T7" fmla="*/ 13 h 13"/>
                <a:gd name="T8" fmla="*/ 38 w 38"/>
                <a:gd name="T9" fmla="*/ 13 h 13"/>
                <a:gd name="T10" fmla="*/ 38 w 38"/>
                <a:gd name="T11" fmla="*/ 7 h 13"/>
                <a:gd name="T12" fmla="*/ 32 w 3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8" h="13">
                  <a:moveTo>
                    <a:pt x="32" y="0"/>
                  </a:moveTo>
                  <a:cubicBezTo>
                    <a:pt x="7" y="0"/>
                    <a:pt x="7" y="0"/>
                    <a:pt x="7" y="0"/>
                  </a:cubicBezTo>
                  <a:cubicBezTo>
                    <a:pt x="3" y="0"/>
                    <a:pt x="0" y="3"/>
                    <a:pt x="0" y="7"/>
                  </a:cubicBezTo>
                  <a:cubicBezTo>
                    <a:pt x="0" y="13"/>
                    <a:pt x="0" y="13"/>
                    <a:pt x="0" y="13"/>
                  </a:cubicBezTo>
                  <a:cubicBezTo>
                    <a:pt x="38" y="13"/>
                    <a:pt x="38" y="13"/>
                    <a:pt x="38" y="13"/>
                  </a:cubicBezTo>
                  <a:cubicBezTo>
                    <a:pt x="38" y="7"/>
                    <a:pt x="38" y="7"/>
                    <a:pt x="38" y="7"/>
                  </a:cubicBezTo>
                  <a:cubicBezTo>
                    <a:pt x="38" y="3"/>
                    <a:pt x="35" y="0"/>
                    <a:pt x="32" y="0"/>
                  </a:cubicBezTo>
                  <a:close/>
                </a:path>
              </a:pathLst>
            </a:custGeom>
            <a:solidFill>
              <a:srgbClr val="008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Oval 488"/>
            <p:cNvSpPr>
              <a:spLocks noChangeArrowheads="1"/>
            </p:cNvSpPr>
            <p:nvPr/>
          </p:nvSpPr>
          <p:spPr bwMode="auto">
            <a:xfrm>
              <a:off x="5321" y="4056"/>
              <a:ext cx="56" cy="5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Oval 489"/>
            <p:cNvSpPr>
              <a:spLocks noChangeArrowheads="1"/>
            </p:cNvSpPr>
            <p:nvPr/>
          </p:nvSpPr>
          <p:spPr bwMode="auto">
            <a:xfrm>
              <a:off x="5335" y="4070"/>
              <a:ext cx="30" cy="2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490"/>
            <p:cNvSpPr>
              <a:spLocks/>
            </p:cNvSpPr>
            <p:nvPr/>
          </p:nvSpPr>
          <p:spPr bwMode="auto">
            <a:xfrm>
              <a:off x="5403" y="4070"/>
              <a:ext cx="44" cy="19"/>
            </a:xfrm>
            <a:custGeom>
              <a:avLst/>
              <a:gdLst>
                <a:gd name="T0" fmla="*/ 22 w 22"/>
                <a:gd name="T1" fmla="*/ 4 h 9"/>
                <a:gd name="T2" fmla="*/ 18 w 22"/>
                <a:gd name="T3" fmla="*/ 0 h 9"/>
                <a:gd name="T4" fmla="*/ 4 w 22"/>
                <a:gd name="T5" fmla="*/ 0 h 9"/>
                <a:gd name="T6" fmla="*/ 0 w 22"/>
                <a:gd name="T7" fmla="*/ 4 h 9"/>
                <a:gd name="T8" fmla="*/ 0 w 22"/>
                <a:gd name="T9" fmla="*/ 4 h 9"/>
                <a:gd name="T10" fmla="*/ 4 w 22"/>
                <a:gd name="T11" fmla="*/ 9 h 9"/>
                <a:gd name="T12" fmla="*/ 18 w 22"/>
                <a:gd name="T13" fmla="*/ 9 h 9"/>
                <a:gd name="T14" fmla="*/ 22 w 22"/>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
                  <a:moveTo>
                    <a:pt x="22" y="4"/>
                  </a:moveTo>
                  <a:cubicBezTo>
                    <a:pt x="22" y="2"/>
                    <a:pt x="20" y="0"/>
                    <a:pt x="18" y="0"/>
                  </a:cubicBezTo>
                  <a:cubicBezTo>
                    <a:pt x="4" y="0"/>
                    <a:pt x="4" y="0"/>
                    <a:pt x="4" y="0"/>
                  </a:cubicBezTo>
                  <a:cubicBezTo>
                    <a:pt x="2" y="0"/>
                    <a:pt x="0" y="2"/>
                    <a:pt x="0" y="4"/>
                  </a:cubicBezTo>
                  <a:cubicBezTo>
                    <a:pt x="0" y="4"/>
                    <a:pt x="0" y="4"/>
                    <a:pt x="0" y="4"/>
                  </a:cubicBezTo>
                  <a:cubicBezTo>
                    <a:pt x="0" y="7"/>
                    <a:pt x="2" y="9"/>
                    <a:pt x="4" y="9"/>
                  </a:cubicBezTo>
                  <a:cubicBezTo>
                    <a:pt x="18" y="9"/>
                    <a:pt x="18" y="9"/>
                    <a:pt x="18" y="9"/>
                  </a:cubicBezTo>
                  <a:cubicBezTo>
                    <a:pt x="20" y="9"/>
                    <a:pt x="22" y="7"/>
                    <a:pt x="22" y="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491"/>
            <p:cNvSpPr>
              <a:spLocks/>
            </p:cNvSpPr>
            <p:nvPr/>
          </p:nvSpPr>
          <p:spPr bwMode="auto">
            <a:xfrm>
              <a:off x="5079" y="4070"/>
              <a:ext cx="38" cy="19"/>
            </a:xfrm>
            <a:custGeom>
              <a:avLst/>
              <a:gdLst>
                <a:gd name="T0" fmla="*/ 19 w 19"/>
                <a:gd name="T1" fmla="*/ 0 h 9"/>
                <a:gd name="T2" fmla="*/ 4 w 19"/>
                <a:gd name="T3" fmla="*/ 0 h 9"/>
                <a:gd name="T4" fmla="*/ 0 w 19"/>
                <a:gd name="T5" fmla="*/ 4 h 9"/>
                <a:gd name="T6" fmla="*/ 4 w 19"/>
                <a:gd name="T7" fmla="*/ 9 h 9"/>
                <a:gd name="T8" fmla="*/ 19 w 19"/>
                <a:gd name="T9" fmla="*/ 9 h 9"/>
                <a:gd name="T10" fmla="*/ 19 w 19"/>
                <a:gd name="T11" fmla="*/ 0 h 9"/>
              </a:gdLst>
              <a:ahLst/>
              <a:cxnLst>
                <a:cxn ang="0">
                  <a:pos x="T0" y="T1"/>
                </a:cxn>
                <a:cxn ang="0">
                  <a:pos x="T2" y="T3"/>
                </a:cxn>
                <a:cxn ang="0">
                  <a:pos x="T4" y="T5"/>
                </a:cxn>
                <a:cxn ang="0">
                  <a:pos x="T6" y="T7"/>
                </a:cxn>
                <a:cxn ang="0">
                  <a:pos x="T8" y="T9"/>
                </a:cxn>
                <a:cxn ang="0">
                  <a:pos x="T10" y="T11"/>
                </a:cxn>
              </a:cxnLst>
              <a:rect l="0" t="0" r="r" b="b"/>
              <a:pathLst>
                <a:path w="19" h="9">
                  <a:moveTo>
                    <a:pt x="19" y="0"/>
                  </a:moveTo>
                  <a:cubicBezTo>
                    <a:pt x="4" y="0"/>
                    <a:pt x="4" y="0"/>
                    <a:pt x="4" y="0"/>
                  </a:cubicBezTo>
                  <a:cubicBezTo>
                    <a:pt x="2" y="0"/>
                    <a:pt x="0" y="2"/>
                    <a:pt x="0" y="4"/>
                  </a:cubicBezTo>
                  <a:cubicBezTo>
                    <a:pt x="0" y="7"/>
                    <a:pt x="2" y="9"/>
                    <a:pt x="4" y="9"/>
                  </a:cubicBezTo>
                  <a:cubicBezTo>
                    <a:pt x="19" y="9"/>
                    <a:pt x="19" y="9"/>
                    <a:pt x="19" y="9"/>
                  </a:cubicBezTo>
                  <a:lnTo>
                    <a:pt x="19"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492"/>
            <p:cNvSpPr>
              <a:spLocks noEditPoints="1"/>
            </p:cNvSpPr>
            <p:nvPr/>
          </p:nvSpPr>
          <p:spPr bwMode="auto">
            <a:xfrm>
              <a:off x="5832" y="1437"/>
              <a:ext cx="374" cy="361"/>
            </a:xfrm>
            <a:custGeom>
              <a:avLst/>
              <a:gdLst>
                <a:gd name="T0" fmla="*/ 135 w 187"/>
                <a:gd name="T1" fmla="*/ 105 h 180"/>
                <a:gd name="T2" fmla="*/ 134 w 187"/>
                <a:gd name="T3" fmla="*/ 105 h 180"/>
                <a:gd name="T4" fmla="*/ 134 w 187"/>
                <a:gd name="T5" fmla="*/ 56 h 180"/>
                <a:gd name="T6" fmla="*/ 83 w 187"/>
                <a:gd name="T7" fmla="*/ 102 h 180"/>
                <a:gd name="T8" fmla="*/ 83 w 187"/>
                <a:gd name="T9" fmla="*/ 16 h 180"/>
                <a:gd name="T10" fmla="*/ 83 w 187"/>
                <a:gd name="T11" fmla="*/ 16 h 180"/>
                <a:gd name="T12" fmla="*/ 83 w 187"/>
                <a:gd name="T13" fmla="*/ 16 h 180"/>
                <a:gd name="T14" fmla="*/ 70 w 187"/>
                <a:gd name="T15" fmla="*/ 4 h 180"/>
                <a:gd name="T16" fmla="*/ 57 w 187"/>
                <a:gd name="T17" fmla="*/ 1 h 180"/>
                <a:gd name="T18" fmla="*/ 42 w 187"/>
                <a:gd name="T19" fmla="*/ 0 h 180"/>
                <a:gd name="T20" fmla="*/ 42 w 187"/>
                <a:gd name="T21" fmla="*/ 0 h 180"/>
                <a:gd name="T22" fmla="*/ 29 w 187"/>
                <a:gd name="T23" fmla="*/ 1 h 180"/>
                <a:gd name="T24" fmla="*/ 6 w 187"/>
                <a:gd name="T25" fmla="*/ 8 h 180"/>
                <a:gd name="T26" fmla="*/ 5 w 187"/>
                <a:gd name="T27" fmla="*/ 9 h 180"/>
                <a:gd name="T28" fmla="*/ 0 w 187"/>
                <a:gd name="T29" fmla="*/ 16 h 180"/>
                <a:gd name="T30" fmla="*/ 0 w 187"/>
                <a:gd name="T31" fmla="*/ 16 h 180"/>
                <a:gd name="T32" fmla="*/ 0 w 187"/>
                <a:gd name="T33" fmla="*/ 105 h 180"/>
                <a:gd name="T34" fmla="*/ 0 w 187"/>
                <a:gd name="T35" fmla="*/ 163 h 180"/>
                <a:gd name="T36" fmla="*/ 0 w 187"/>
                <a:gd name="T37" fmla="*/ 180 h 180"/>
                <a:gd name="T38" fmla="*/ 187 w 187"/>
                <a:gd name="T39" fmla="*/ 180 h 180"/>
                <a:gd name="T40" fmla="*/ 187 w 187"/>
                <a:gd name="T41" fmla="*/ 127 h 180"/>
                <a:gd name="T42" fmla="*/ 187 w 187"/>
                <a:gd name="T43" fmla="*/ 105 h 180"/>
                <a:gd name="T44" fmla="*/ 187 w 187"/>
                <a:gd name="T45" fmla="*/ 56 h 180"/>
                <a:gd name="T46" fmla="*/ 135 w 187"/>
                <a:gd name="T47" fmla="*/ 105 h 180"/>
                <a:gd name="T48" fmla="*/ 8 w 187"/>
                <a:gd name="T49" fmla="*/ 14 h 180"/>
                <a:gd name="T50" fmla="*/ 42 w 187"/>
                <a:gd name="T51" fmla="*/ 4 h 180"/>
                <a:gd name="T52" fmla="*/ 76 w 187"/>
                <a:gd name="T53" fmla="*/ 14 h 180"/>
                <a:gd name="T54" fmla="*/ 42 w 187"/>
                <a:gd name="T55" fmla="*/ 24 h 180"/>
                <a:gd name="T56" fmla="*/ 8 w 187"/>
                <a:gd name="T57" fmla="*/ 1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 h="180">
                  <a:moveTo>
                    <a:pt x="135" y="105"/>
                  </a:moveTo>
                  <a:cubicBezTo>
                    <a:pt x="134" y="105"/>
                    <a:pt x="134" y="105"/>
                    <a:pt x="134" y="105"/>
                  </a:cubicBezTo>
                  <a:cubicBezTo>
                    <a:pt x="134" y="56"/>
                    <a:pt x="134" y="56"/>
                    <a:pt x="134" y="56"/>
                  </a:cubicBezTo>
                  <a:cubicBezTo>
                    <a:pt x="83" y="102"/>
                    <a:pt x="83" y="102"/>
                    <a:pt x="83" y="102"/>
                  </a:cubicBezTo>
                  <a:cubicBezTo>
                    <a:pt x="83" y="57"/>
                    <a:pt x="83" y="16"/>
                    <a:pt x="83" y="16"/>
                  </a:cubicBezTo>
                  <a:cubicBezTo>
                    <a:pt x="83" y="16"/>
                    <a:pt x="83" y="16"/>
                    <a:pt x="83" y="16"/>
                  </a:cubicBezTo>
                  <a:cubicBezTo>
                    <a:pt x="83" y="16"/>
                    <a:pt x="83" y="16"/>
                    <a:pt x="83" y="16"/>
                  </a:cubicBezTo>
                  <a:cubicBezTo>
                    <a:pt x="83" y="10"/>
                    <a:pt x="75" y="6"/>
                    <a:pt x="70" y="4"/>
                  </a:cubicBezTo>
                  <a:cubicBezTo>
                    <a:pt x="66" y="3"/>
                    <a:pt x="62" y="2"/>
                    <a:pt x="57" y="1"/>
                  </a:cubicBezTo>
                  <a:cubicBezTo>
                    <a:pt x="53" y="0"/>
                    <a:pt x="48" y="0"/>
                    <a:pt x="42" y="0"/>
                  </a:cubicBezTo>
                  <a:cubicBezTo>
                    <a:pt x="42" y="0"/>
                    <a:pt x="42" y="0"/>
                    <a:pt x="42" y="0"/>
                  </a:cubicBezTo>
                  <a:cubicBezTo>
                    <a:pt x="37" y="0"/>
                    <a:pt x="33" y="0"/>
                    <a:pt x="29" y="1"/>
                  </a:cubicBezTo>
                  <a:cubicBezTo>
                    <a:pt x="21" y="2"/>
                    <a:pt x="13" y="3"/>
                    <a:pt x="6" y="8"/>
                  </a:cubicBezTo>
                  <a:cubicBezTo>
                    <a:pt x="6" y="8"/>
                    <a:pt x="5" y="8"/>
                    <a:pt x="5" y="9"/>
                  </a:cubicBezTo>
                  <a:cubicBezTo>
                    <a:pt x="2" y="11"/>
                    <a:pt x="0" y="14"/>
                    <a:pt x="0" y="16"/>
                  </a:cubicBezTo>
                  <a:cubicBezTo>
                    <a:pt x="0" y="16"/>
                    <a:pt x="0" y="16"/>
                    <a:pt x="0" y="16"/>
                  </a:cubicBezTo>
                  <a:cubicBezTo>
                    <a:pt x="0" y="45"/>
                    <a:pt x="0" y="77"/>
                    <a:pt x="0" y="105"/>
                  </a:cubicBezTo>
                  <a:cubicBezTo>
                    <a:pt x="0" y="163"/>
                    <a:pt x="0" y="163"/>
                    <a:pt x="0" y="163"/>
                  </a:cubicBezTo>
                  <a:cubicBezTo>
                    <a:pt x="0" y="180"/>
                    <a:pt x="0" y="180"/>
                    <a:pt x="0" y="180"/>
                  </a:cubicBezTo>
                  <a:cubicBezTo>
                    <a:pt x="187" y="180"/>
                    <a:pt x="187" y="180"/>
                    <a:pt x="187" y="180"/>
                  </a:cubicBezTo>
                  <a:cubicBezTo>
                    <a:pt x="187" y="127"/>
                    <a:pt x="187" y="127"/>
                    <a:pt x="187" y="127"/>
                  </a:cubicBezTo>
                  <a:cubicBezTo>
                    <a:pt x="187" y="105"/>
                    <a:pt x="187" y="105"/>
                    <a:pt x="187" y="105"/>
                  </a:cubicBezTo>
                  <a:cubicBezTo>
                    <a:pt x="187" y="56"/>
                    <a:pt x="187" y="56"/>
                    <a:pt x="187" y="56"/>
                  </a:cubicBezTo>
                  <a:lnTo>
                    <a:pt x="135" y="105"/>
                  </a:lnTo>
                  <a:close/>
                  <a:moveTo>
                    <a:pt x="8" y="14"/>
                  </a:moveTo>
                  <a:cubicBezTo>
                    <a:pt x="8" y="9"/>
                    <a:pt x="23" y="4"/>
                    <a:pt x="42" y="4"/>
                  </a:cubicBezTo>
                  <a:cubicBezTo>
                    <a:pt x="62" y="4"/>
                    <a:pt x="76" y="9"/>
                    <a:pt x="76" y="14"/>
                  </a:cubicBezTo>
                  <a:cubicBezTo>
                    <a:pt x="76" y="20"/>
                    <a:pt x="62" y="24"/>
                    <a:pt x="42" y="24"/>
                  </a:cubicBezTo>
                  <a:cubicBezTo>
                    <a:pt x="23" y="24"/>
                    <a:pt x="8" y="20"/>
                    <a:pt x="8" y="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Rectangle 493"/>
            <p:cNvSpPr>
              <a:spLocks noChangeArrowheads="1"/>
            </p:cNvSpPr>
            <p:nvPr/>
          </p:nvSpPr>
          <p:spPr bwMode="auto">
            <a:xfrm>
              <a:off x="5974" y="1698"/>
              <a:ext cx="38"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Rectangle 494"/>
            <p:cNvSpPr>
              <a:spLocks noChangeArrowheads="1"/>
            </p:cNvSpPr>
            <p:nvPr/>
          </p:nvSpPr>
          <p:spPr bwMode="auto">
            <a:xfrm>
              <a:off x="6048" y="1698"/>
              <a:ext cx="40"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Rectangle 495"/>
            <p:cNvSpPr>
              <a:spLocks noChangeArrowheads="1"/>
            </p:cNvSpPr>
            <p:nvPr/>
          </p:nvSpPr>
          <p:spPr bwMode="auto">
            <a:xfrm>
              <a:off x="6124" y="1698"/>
              <a:ext cx="38" cy="3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6"/>
            <p:cNvSpPr>
              <a:spLocks/>
            </p:cNvSpPr>
            <p:nvPr/>
          </p:nvSpPr>
          <p:spPr bwMode="auto">
            <a:xfrm>
              <a:off x="6324" y="3684"/>
              <a:ext cx="219" cy="573"/>
            </a:xfrm>
            <a:custGeom>
              <a:avLst/>
              <a:gdLst>
                <a:gd name="T0" fmla="*/ 219 w 219"/>
                <a:gd name="T1" fmla="*/ 573 h 573"/>
                <a:gd name="T2" fmla="*/ 178 w 219"/>
                <a:gd name="T3" fmla="*/ 431 h 573"/>
                <a:gd name="T4" fmla="*/ 202 w 219"/>
                <a:gd name="T5" fmla="*/ 431 h 573"/>
                <a:gd name="T6" fmla="*/ 148 w 219"/>
                <a:gd name="T7" fmla="*/ 232 h 573"/>
                <a:gd name="T8" fmla="*/ 172 w 219"/>
                <a:gd name="T9" fmla="*/ 232 h 573"/>
                <a:gd name="T10" fmla="*/ 108 w 219"/>
                <a:gd name="T11" fmla="*/ 0 h 573"/>
                <a:gd name="T12" fmla="*/ 46 w 219"/>
                <a:gd name="T13" fmla="*/ 232 h 573"/>
                <a:gd name="T14" fmla="*/ 68 w 219"/>
                <a:gd name="T15" fmla="*/ 232 h 573"/>
                <a:gd name="T16" fmla="*/ 18 w 219"/>
                <a:gd name="T17" fmla="*/ 431 h 573"/>
                <a:gd name="T18" fmla="*/ 38 w 219"/>
                <a:gd name="T19" fmla="*/ 431 h 573"/>
                <a:gd name="T20" fmla="*/ 0 w 219"/>
                <a:gd name="T21" fmla="*/ 573 h 573"/>
                <a:gd name="T22" fmla="*/ 219 w 219"/>
                <a:gd name="T23"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573">
                  <a:moveTo>
                    <a:pt x="219" y="573"/>
                  </a:moveTo>
                  <a:lnTo>
                    <a:pt x="178" y="431"/>
                  </a:lnTo>
                  <a:lnTo>
                    <a:pt x="202" y="431"/>
                  </a:lnTo>
                  <a:lnTo>
                    <a:pt x="148" y="232"/>
                  </a:lnTo>
                  <a:lnTo>
                    <a:pt x="172" y="232"/>
                  </a:lnTo>
                  <a:lnTo>
                    <a:pt x="108" y="0"/>
                  </a:lnTo>
                  <a:lnTo>
                    <a:pt x="46" y="232"/>
                  </a:lnTo>
                  <a:lnTo>
                    <a:pt x="68" y="232"/>
                  </a:lnTo>
                  <a:lnTo>
                    <a:pt x="18" y="431"/>
                  </a:lnTo>
                  <a:lnTo>
                    <a:pt x="38" y="431"/>
                  </a:lnTo>
                  <a:lnTo>
                    <a:pt x="0" y="573"/>
                  </a:lnTo>
                  <a:lnTo>
                    <a:pt x="219" y="573"/>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Freeform 497"/>
            <p:cNvSpPr>
              <a:spLocks noEditPoints="1"/>
            </p:cNvSpPr>
            <p:nvPr/>
          </p:nvSpPr>
          <p:spPr bwMode="auto">
            <a:xfrm>
              <a:off x="4604" y="844"/>
              <a:ext cx="515" cy="377"/>
            </a:xfrm>
            <a:custGeom>
              <a:avLst/>
              <a:gdLst>
                <a:gd name="T0" fmla="*/ 92 w 257"/>
                <a:gd name="T1" fmla="*/ 173 h 188"/>
                <a:gd name="T2" fmla="*/ 98 w 257"/>
                <a:gd name="T3" fmla="*/ 155 h 188"/>
                <a:gd name="T4" fmla="*/ 76 w 257"/>
                <a:gd name="T5" fmla="*/ 151 h 188"/>
                <a:gd name="T6" fmla="*/ 74 w 257"/>
                <a:gd name="T7" fmla="*/ 163 h 188"/>
                <a:gd name="T8" fmla="*/ 69 w 257"/>
                <a:gd name="T9" fmla="*/ 176 h 188"/>
                <a:gd name="T10" fmla="*/ 41 w 257"/>
                <a:gd name="T11" fmla="*/ 183 h 188"/>
                <a:gd name="T12" fmla="*/ 35 w 257"/>
                <a:gd name="T13" fmla="*/ 163 h 188"/>
                <a:gd name="T14" fmla="*/ 26 w 257"/>
                <a:gd name="T15" fmla="*/ 167 h 188"/>
                <a:gd name="T16" fmla="*/ 6 w 257"/>
                <a:gd name="T17" fmla="*/ 140 h 188"/>
                <a:gd name="T18" fmla="*/ 20 w 257"/>
                <a:gd name="T19" fmla="*/ 125 h 188"/>
                <a:gd name="T20" fmla="*/ 19 w 257"/>
                <a:gd name="T21" fmla="*/ 106 h 188"/>
                <a:gd name="T22" fmla="*/ 17 w 257"/>
                <a:gd name="T23" fmla="*/ 97 h 188"/>
                <a:gd name="T24" fmla="*/ 3 w 257"/>
                <a:gd name="T25" fmla="*/ 71 h 188"/>
                <a:gd name="T26" fmla="*/ 18 w 257"/>
                <a:gd name="T27" fmla="*/ 65 h 188"/>
                <a:gd name="T28" fmla="*/ 16 w 257"/>
                <a:gd name="T29" fmla="*/ 81 h 188"/>
                <a:gd name="T30" fmla="*/ 24 w 257"/>
                <a:gd name="T31" fmla="*/ 76 h 188"/>
                <a:gd name="T32" fmla="*/ 61 w 257"/>
                <a:gd name="T33" fmla="*/ 45 h 188"/>
                <a:gd name="T34" fmla="*/ 84 w 257"/>
                <a:gd name="T35" fmla="*/ 43 h 188"/>
                <a:gd name="T36" fmla="*/ 109 w 257"/>
                <a:gd name="T37" fmla="*/ 25 h 188"/>
                <a:gd name="T38" fmla="*/ 142 w 257"/>
                <a:gd name="T39" fmla="*/ 1 h 188"/>
                <a:gd name="T40" fmla="*/ 191 w 257"/>
                <a:gd name="T41" fmla="*/ 22 h 188"/>
                <a:gd name="T42" fmla="*/ 207 w 257"/>
                <a:gd name="T43" fmla="*/ 43 h 188"/>
                <a:gd name="T44" fmla="*/ 210 w 257"/>
                <a:gd name="T45" fmla="*/ 54 h 188"/>
                <a:gd name="T46" fmla="*/ 216 w 257"/>
                <a:gd name="T47" fmla="*/ 58 h 188"/>
                <a:gd name="T48" fmla="*/ 217 w 257"/>
                <a:gd name="T49" fmla="*/ 32 h 188"/>
                <a:gd name="T50" fmla="*/ 235 w 257"/>
                <a:gd name="T51" fmla="*/ 9 h 188"/>
                <a:gd name="T52" fmla="*/ 250 w 257"/>
                <a:gd name="T53" fmla="*/ 17 h 188"/>
                <a:gd name="T54" fmla="*/ 236 w 257"/>
                <a:gd name="T55" fmla="*/ 110 h 188"/>
                <a:gd name="T56" fmla="*/ 197 w 257"/>
                <a:gd name="T57" fmla="*/ 116 h 188"/>
                <a:gd name="T58" fmla="*/ 177 w 257"/>
                <a:gd name="T59" fmla="*/ 136 h 188"/>
                <a:gd name="T60" fmla="*/ 157 w 257"/>
                <a:gd name="T61" fmla="*/ 129 h 188"/>
                <a:gd name="T62" fmla="*/ 165 w 257"/>
                <a:gd name="T63" fmla="*/ 160 h 188"/>
                <a:gd name="T64" fmla="*/ 158 w 257"/>
                <a:gd name="T65" fmla="*/ 182 h 188"/>
                <a:gd name="T66" fmla="*/ 132 w 257"/>
                <a:gd name="T67" fmla="*/ 176 h 188"/>
                <a:gd name="T68" fmla="*/ 152 w 257"/>
                <a:gd name="T69" fmla="*/ 142 h 188"/>
                <a:gd name="T70" fmla="*/ 130 w 257"/>
                <a:gd name="T71" fmla="*/ 174 h 188"/>
                <a:gd name="T72" fmla="*/ 29 w 257"/>
                <a:gd name="T73" fmla="*/ 141 h 188"/>
                <a:gd name="T74" fmla="*/ 36 w 257"/>
                <a:gd name="T75" fmla="*/ 154 h 188"/>
                <a:gd name="T76" fmla="*/ 29 w 257"/>
                <a:gd name="T77" fmla="*/ 141 h 188"/>
                <a:gd name="T78" fmla="*/ 174 w 257"/>
                <a:gd name="T79" fmla="*/ 119 h 188"/>
                <a:gd name="T80" fmla="*/ 187 w 257"/>
                <a:gd name="T81" fmla="*/ 116 h 188"/>
                <a:gd name="T82" fmla="*/ 171 w 257"/>
                <a:gd name="T83" fmla="*/ 102 h 188"/>
                <a:gd name="T84" fmla="*/ 71 w 257"/>
                <a:gd name="T85" fmla="*/ 116 h 188"/>
                <a:gd name="T86" fmla="*/ 69 w 257"/>
                <a:gd name="T87" fmla="*/ 113 h 188"/>
                <a:gd name="T88" fmla="*/ 128 w 257"/>
                <a:gd name="T89" fmla="*/ 107 h 188"/>
                <a:gd name="T90" fmla="*/ 72 w 257"/>
                <a:gd name="T91" fmla="*/ 100 h 188"/>
                <a:gd name="T92" fmla="*/ 72 w 257"/>
                <a:gd name="T93" fmla="*/ 100 h 188"/>
                <a:gd name="T94" fmla="*/ 69 w 257"/>
                <a:gd name="T95" fmla="*/ 95 h 188"/>
                <a:gd name="T96" fmla="*/ 64 w 257"/>
                <a:gd name="T97" fmla="*/ 89 h 188"/>
                <a:gd name="T98" fmla="*/ 61 w 257"/>
                <a:gd name="T99" fmla="*/ 85 h 188"/>
                <a:gd name="T100" fmla="*/ 165 w 257"/>
                <a:gd name="T101" fmla="*/ 60 h 188"/>
                <a:gd name="T102" fmla="*/ 175 w 257"/>
                <a:gd name="T103" fmla="*/ 57 h 188"/>
                <a:gd name="T104" fmla="*/ 163 w 257"/>
                <a:gd name="T105" fmla="*/ 5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7" h="188">
                  <a:moveTo>
                    <a:pt x="109" y="188"/>
                  </a:moveTo>
                  <a:cubicBezTo>
                    <a:pt x="105" y="188"/>
                    <a:pt x="103" y="186"/>
                    <a:pt x="101" y="184"/>
                  </a:cubicBezTo>
                  <a:cubicBezTo>
                    <a:pt x="97" y="180"/>
                    <a:pt x="94" y="177"/>
                    <a:pt x="92" y="173"/>
                  </a:cubicBezTo>
                  <a:cubicBezTo>
                    <a:pt x="90" y="171"/>
                    <a:pt x="88" y="167"/>
                    <a:pt x="89" y="164"/>
                  </a:cubicBezTo>
                  <a:cubicBezTo>
                    <a:pt x="90" y="160"/>
                    <a:pt x="94" y="157"/>
                    <a:pt x="96" y="156"/>
                  </a:cubicBezTo>
                  <a:cubicBezTo>
                    <a:pt x="97" y="156"/>
                    <a:pt x="97" y="155"/>
                    <a:pt x="98" y="155"/>
                  </a:cubicBezTo>
                  <a:cubicBezTo>
                    <a:pt x="96" y="156"/>
                    <a:pt x="94" y="156"/>
                    <a:pt x="92" y="156"/>
                  </a:cubicBezTo>
                  <a:cubicBezTo>
                    <a:pt x="91" y="156"/>
                    <a:pt x="90" y="156"/>
                    <a:pt x="89" y="156"/>
                  </a:cubicBezTo>
                  <a:cubicBezTo>
                    <a:pt x="84" y="155"/>
                    <a:pt x="79" y="154"/>
                    <a:pt x="76" y="151"/>
                  </a:cubicBezTo>
                  <a:cubicBezTo>
                    <a:pt x="76" y="151"/>
                    <a:pt x="76" y="152"/>
                    <a:pt x="76" y="152"/>
                  </a:cubicBezTo>
                  <a:cubicBezTo>
                    <a:pt x="76" y="154"/>
                    <a:pt x="76" y="155"/>
                    <a:pt x="76" y="157"/>
                  </a:cubicBezTo>
                  <a:cubicBezTo>
                    <a:pt x="76" y="159"/>
                    <a:pt x="75" y="161"/>
                    <a:pt x="74" y="163"/>
                  </a:cubicBezTo>
                  <a:cubicBezTo>
                    <a:pt x="74" y="163"/>
                    <a:pt x="74" y="163"/>
                    <a:pt x="74" y="163"/>
                  </a:cubicBezTo>
                  <a:cubicBezTo>
                    <a:pt x="73" y="166"/>
                    <a:pt x="72" y="168"/>
                    <a:pt x="71" y="170"/>
                  </a:cubicBezTo>
                  <a:cubicBezTo>
                    <a:pt x="70" y="171"/>
                    <a:pt x="70" y="173"/>
                    <a:pt x="69" y="176"/>
                  </a:cubicBezTo>
                  <a:cubicBezTo>
                    <a:pt x="69" y="181"/>
                    <a:pt x="68" y="186"/>
                    <a:pt x="58" y="186"/>
                  </a:cubicBezTo>
                  <a:cubicBezTo>
                    <a:pt x="58" y="186"/>
                    <a:pt x="57" y="186"/>
                    <a:pt x="57" y="186"/>
                  </a:cubicBezTo>
                  <a:cubicBezTo>
                    <a:pt x="51" y="186"/>
                    <a:pt x="46" y="185"/>
                    <a:pt x="41" y="183"/>
                  </a:cubicBezTo>
                  <a:cubicBezTo>
                    <a:pt x="33" y="180"/>
                    <a:pt x="31" y="174"/>
                    <a:pt x="34" y="167"/>
                  </a:cubicBezTo>
                  <a:cubicBezTo>
                    <a:pt x="34" y="165"/>
                    <a:pt x="35" y="164"/>
                    <a:pt x="35" y="162"/>
                  </a:cubicBezTo>
                  <a:cubicBezTo>
                    <a:pt x="35" y="162"/>
                    <a:pt x="35" y="163"/>
                    <a:pt x="35" y="163"/>
                  </a:cubicBezTo>
                  <a:cubicBezTo>
                    <a:pt x="33" y="164"/>
                    <a:pt x="31" y="167"/>
                    <a:pt x="27" y="167"/>
                  </a:cubicBezTo>
                  <a:cubicBezTo>
                    <a:pt x="27" y="167"/>
                    <a:pt x="27" y="167"/>
                    <a:pt x="27" y="167"/>
                  </a:cubicBezTo>
                  <a:cubicBezTo>
                    <a:pt x="27" y="167"/>
                    <a:pt x="27" y="167"/>
                    <a:pt x="26" y="167"/>
                  </a:cubicBezTo>
                  <a:cubicBezTo>
                    <a:pt x="22" y="167"/>
                    <a:pt x="19" y="165"/>
                    <a:pt x="17" y="163"/>
                  </a:cubicBezTo>
                  <a:cubicBezTo>
                    <a:pt x="13" y="160"/>
                    <a:pt x="10" y="156"/>
                    <a:pt x="7" y="151"/>
                  </a:cubicBezTo>
                  <a:cubicBezTo>
                    <a:pt x="4" y="148"/>
                    <a:pt x="4" y="144"/>
                    <a:pt x="6" y="140"/>
                  </a:cubicBezTo>
                  <a:cubicBezTo>
                    <a:pt x="8" y="136"/>
                    <a:pt x="11" y="133"/>
                    <a:pt x="13" y="130"/>
                  </a:cubicBezTo>
                  <a:cubicBezTo>
                    <a:pt x="14" y="129"/>
                    <a:pt x="15" y="128"/>
                    <a:pt x="16" y="127"/>
                  </a:cubicBezTo>
                  <a:cubicBezTo>
                    <a:pt x="17" y="126"/>
                    <a:pt x="19" y="125"/>
                    <a:pt x="20" y="125"/>
                  </a:cubicBezTo>
                  <a:cubicBezTo>
                    <a:pt x="20" y="125"/>
                    <a:pt x="21" y="126"/>
                    <a:pt x="22" y="126"/>
                  </a:cubicBezTo>
                  <a:cubicBezTo>
                    <a:pt x="20" y="120"/>
                    <a:pt x="19" y="114"/>
                    <a:pt x="19" y="107"/>
                  </a:cubicBezTo>
                  <a:cubicBezTo>
                    <a:pt x="19" y="106"/>
                    <a:pt x="19" y="106"/>
                    <a:pt x="19" y="106"/>
                  </a:cubicBezTo>
                  <a:cubicBezTo>
                    <a:pt x="19" y="104"/>
                    <a:pt x="19" y="101"/>
                    <a:pt x="19" y="97"/>
                  </a:cubicBezTo>
                  <a:cubicBezTo>
                    <a:pt x="19" y="98"/>
                    <a:pt x="19" y="98"/>
                    <a:pt x="19" y="98"/>
                  </a:cubicBezTo>
                  <a:cubicBezTo>
                    <a:pt x="18" y="98"/>
                    <a:pt x="17" y="97"/>
                    <a:pt x="17" y="97"/>
                  </a:cubicBezTo>
                  <a:cubicBezTo>
                    <a:pt x="9" y="96"/>
                    <a:pt x="5" y="91"/>
                    <a:pt x="4" y="83"/>
                  </a:cubicBezTo>
                  <a:cubicBezTo>
                    <a:pt x="4" y="82"/>
                    <a:pt x="4" y="82"/>
                    <a:pt x="3" y="82"/>
                  </a:cubicBezTo>
                  <a:cubicBezTo>
                    <a:pt x="2" y="80"/>
                    <a:pt x="0" y="76"/>
                    <a:pt x="3" y="71"/>
                  </a:cubicBezTo>
                  <a:cubicBezTo>
                    <a:pt x="5" y="66"/>
                    <a:pt x="9" y="63"/>
                    <a:pt x="12" y="61"/>
                  </a:cubicBezTo>
                  <a:cubicBezTo>
                    <a:pt x="20" y="55"/>
                    <a:pt x="20" y="55"/>
                    <a:pt x="20" y="55"/>
                  </a:cubicBezTo>
                  <a:cubicBezTo>
                    <a:pt x="18" y="65"/>
                    <a:pt x="18" y="65"/>
                    <a:pt x="18" y="65"/>
                  </a:cubicBezTo>
                  <a:cubicBezTo>
                    <a:pt x="18" y="67"/>
                    <a:pt x="18" y="70"/>
                    <a:pt x="18" y="73"/>
                  </a:cubicBezTo>
                  <a:cubicBezTo>
                    <a:pt x="18" y="75"/>
                    <a:pt x="18" y="76"/>
                    <a:pt x="18" y="77"/>
                  </a:cubicBezTo>
                  <a:cubicBezTo>
                    <a:pt x="18" y="79"/>
                    <a:pt x="17" y="80"/>
                    <a:pt x="16" y="81"/>
                  </a:cubicBezTo>
                  <a:cubicBezTo>
                    <a:pt x="17" y="82"/>
                    <a:pt x="17" y="82"/>
                    <a:pt x="17" y="82"/>
                  </a:cubicBezTo>
                  <a:cubicBezTo>
                    <a:pt x="18" y="82"/>
                    <a:pt x="19" y="81"/>
                    <a:pt x="20" y="81"/>
                  </a:cubicBezTo>
                  <a:cubicBezTo>
                    <a:pt x="22" y="80"/>
                    <a:pt x="23" y="78"/>
                    <a:pt x="24" y="76"/>
                  </a:cubicBezTo>
                  <a:cubicBezTo>
                    <a:pt x="27" y="73"/>
                    <a:pt x="27" y="73"/>
                    <a:pt x="27" y="73"/>
                  </a:cubicBezTo>
                  <a:cubicBezTo>
                    <a:pt x="30" y="70"/>
                    <a:pt x="32" y="66"/>
                    <a:pt x="35" y="63"/>
                  </a:cubicBezTo>
                  <a:cubicBezTo>
                    <a:pt x="43" y="53"/>
                    <a:pt x="53" y="48"/>
                    <a:pt x="61" y="45"/>
                  </a:cubicBezTo>
                  <a:cubicBezTo>
                    <a:pt x="67" y="43"/>
                    <a:pt x="73" y="41"/>
                    <a:pt x="79" y="40"/>
                  </a:cubicBezTo>
                  <a:cubicBezTo>
                    <a:pt x="83" y="40"/>
                    <a:pt x="83" y="40"/>
                    <a:pt x="83" y="40"/>
                  </a:cubicBezTo>
                  <a:cubicBezTo>
                    <a:pt x="84" y="43"/>
                    <a:pt x="84" y="43"/>
                    <a:pt x="84" y="43"/>
                  </a:cubicBezTo>
                  <a:cubicBezTo>
                    <a:pt x="84" y="43"/>
                    <a:pt x="84" y="43"/>
                    <a:pt x="84" y="44"/>
                  </a:cubicBezTo>
                  <a:cubicBezTo>
                    <a:pt x="88" y="39"/>
                    <a:pt x="91" y="35"/>
                    <a:pt x="95" y="31"/>
                  </a:cubicBezTo>
                  <a:cubicBezTo>
                    <a:pt x="99" y="28"/>
                    <a:pt x="103" y="25"/>
                    <a:pt x="109" y="25"/>
                  </a:cubicBezTo>
                  <a:cubicBezTo>
                    <a:pt x="109" y="23"/>
                    <a:pt x="109" y="23"/>
                    <a:pt x="109" y="23"/>
                  </a:cubicBezTo>
                  <a:cubicBezTo>
                    <a:pt x="110" y="20"/>
                    <a:pt x="112" y="18"/>
                    <a:pt x="113" y="17"/>
                  </a:cubicBezTo>
                  <a:cubicBezTo>
                    <a:pt x="120" y="8"/>
                    <a:pt x="130" y="3"/>
                    <a:pt x="142" y="1"/>
                  </a:cubicBezTo>
                  <a:cubicBezTo>
                    <a:pt x="146" y="1"/>
                    <a:pt x="150" y="0"/>
                    <a:pt x="153" y="0"/>
                  </a:cubicBezTo>
                  <a:cubicBezTo>
                    <a:pt x="158" y="0"/>
                    <a:pt x="162" y="1"/>
                    <a:pt x="166" y="2"/>
                  </a:cubicBezTo>
                  <a:cubicBezTo>
                    <a:pt x="178" y="6"/>
                    <a:pt x="186" y="15"/>
                    <a:pt x="191" y="22"/>
                  </a:cubicBezTo>
                  <a:cubicBezTo>
                    <a:pt x="192" y="23"/>
                    <a:pt x="192" y="24"/>
                    <a:pt x="192" y="25"/>
                  </a:cubicBezTo>
                  <a:cubicBezTo>
                    <a:pt x="198" y="27"/>
                    <a:pt x="202" y="30"/>
                    <a:pt x="206" y="35"/>
                  </a:cubicBezTo>
                  <a:cubicBezTo>
                    <a:pt x="207" y="37"/>
                    <a:pt x="209" y="40"/>
                    <a:pt x="207" y="43"/>
                  </a:cubicBezTo>
                  <a:cubicBezTo>
                    <a:pt x="206" y="46"/>
                    <a:pt x="204" y="47"/>
                    <a:pt x="202" y="47"/>
                  </a:cubicBezTo>
                  <a:cubicBezTo>
                    <a:pt x="202" y="47"/>
                    <a:pt x="203" y="48"/>
                    <a:pt x="203" y="50"/>
                  </a:cubicBezTo>
                  <a:cubicBezTo>
                    <a:pt x="206" y="50"/>
                    <a:pt x="208" y="51"/>
                    <a:pt x="210" y="54"/>
                  </a:cubicBezTo>
                  <a:cubicBezTo>
                    <a:pt x="210" y="54"/>
                    <a:pt x="211" y="55"/>
                    <a:pt x="211" y="56"/>
                  </a:cubicBezTo>
                  <a:cubicBezTo>
                    <a:pt x="211" y="56"/>
                    <a:pt x="211" y="56"/>
                    <a:pt x="211" y="56"/>
                  </a:cubicBezTo>
                  <a:cubicBezTo>
                    <a:pt x="213" y="56"/>
                    <a:pt x="214" y="57"/>
                    <a:pt x="216" y="58"/>
                  </a:cubicBezTo>
                  <a:cubicBezTo>
                    <a:pt x="217" y="59"/>
                    <a:pt x="218" y="59"/>
                    <a:pt x="218" y="60"/>
                  </a:cubicBezTo>
                  <a:cubicBezTo>
                    <a:pt x="219" y="59"/>
                    <a:pt x="219" y="58"/>
                    <a:pt x="219" y="57"/>
                  </a:cubicBezTo>
                  <a:cubicBezTo>
                    <a:pt x="220" y="48"/>
                    <a:pt x="218" y="40"/>
                    <a:pt x="217" y="32"/>
                  </a:cubicBezTo>
                  <a:cubicBezTo>
                    <a:pt x="215" y="25"/>
                    <a:pt x="217" y="22"/>
                    <a:pt x="224" y="19"/>
                  </a:cubicBezTo>
                  <a:cubicBezTo>
                    <a:pt x="228" y="18"/>
                    <a:pt x="231" y="15"/>
                    <a:pt x="233" y="12"/>
                  </a:cubicBezTo>
                  <a:cubicBezTo>
                    <a:pt x="234" y="11"/>
                    <a:pt x="235" y="10"/>
                    <a:pt x="235" y="9"/>
                  </a:cubicBezTo>
                  <a:cubicBezTo>
                    <a:pt x="237" y="8"/>
                    <a:pt x="239" y="7"/>
                    <a:pt x="240" y="7"/>
                  </a:cubicBezTo>
                  <a:cubicBezTo>
                    <a:pt x="242" y="7"/>
                    <a:pt x="243" y="8"/>
                    <a:pt x="245" y="9"/>
                  </a:cubicBezTo>
                  <a:cubicBezTo>
                    <a:pt x="248" y="12"/>
                    <a:pt x="249" y="15"/>
                    <a:pt x="250" y="17"/>
                  </a:cubicBezTo>
                  <a:cubicBezTo>
                    <a:pt x="254" y="26"/>
                    <a:pt x="255" y="34"/>
                    <a:pt x="256" y="42"/>
                  </a:cubicBezTo>
                  <a:cubicBezTo>
                    <a:pt x="257" y="47"/>
                    <a:pt x="257" y="52"/>
                    <a:pt x="257" y="57"/>
                  </a:cubicBezTo>
                  <a:cubicBezTo>
                    <a:pt x="257" y="73"/>
                    <a:pt x="254" y="94"/>
                    <a:pt x="236" y="110"/>
                  </a:cubicBezTo>
                  <a:cubicBezTo>
                    <a:pt x="230" y="115"/>
                    <a:pt x="222" y="118"/>
                    <a:pt x="212" y="118"/>
                  </a:cubicBezTo>
                  <a:cubicBezTo>
                    <a:pt x="211" y="118"/>
                    <a:pt x="208" y="118"/>
                    <a:pt x="206" y="118"/>
                  </a:cubicBezTo>
                  <a:cubicBezTo>
                    <a:pt x="203" y="117"/>
                    <a:pt x="200" y="117"/>
                    <a:pt x="197" y="116"/>
                  </a:cubicBezTo>
                  <a:cubicBezTo>
                    <a:pt x="197" y="117"/>
                    <a:pt x="197" y="118"/>
                    <a:pt x="196" y="120"/>
                  </a:cubicBezTo>
                  <a:cubicBezTo>
                    <a:pt x="195" y="124"/>
                    <a:pt x="193" y="127"/>
                    <a:pt x="191" y="130"/>
                  </a:cubicBezTo>
                  <a:cubicBezTo>
                    <a:pt x="187" y="134"/>
                    <a:pt x="183" y="136"/>
                    <a:pt x="177" y="136"/>
                  </a:cubicBezTo>
                  <a:cubicBezTo>
                    <a:pt x="174" y="136"/>
                    <a:pt x="170" y="135"/>
                    <a:pt x="166" y="132"/>
                  </a:cubicBezTo>
                  <a:cubicBezTo>
                    <a:pt x="163" y="130"/>
                    <a:pt x="160" y="128"/>
                    <a:pt x="158" y="125"/>
                  </a:cubicBezTo>
                  <a:cubicBezTo>
                    <a:pt x="158" y="126"/>
                    <a:pt x="158" y="128"/>
                    <a:pt x="157" y="129"/>
                  </a:cubicBezTo>
                  <a:cubicBezTo>
                    <a:pt x="157" y="129"/>
                    <a:pt x="155" y="134"/>
                    <a:pt x="155" y="134"/>
                  </a:cubicBezTo>
                  <a:cubicBezTo>
                    <a:pt x="159" y="141"/>
                    <a:pt x="159" y="141"/>
                    <a:pt x="159" y="141"/>
                  </a:cubicBezTo>
                  <a:cubicBezTo>
                    <a:pt x="162" y="146"/>
                    <a:pt x="166" y="152"/>
                    <a:pt x="165" y="160"/>
                  </a:cubicBezTo>
                  <a:cubicBezTo>
                    <a:pt x="165" y="164"/>
                    <a:pt x="165" y="166"/>
                    <a:pt x="166" y="169"/>
                  </a:cubicBezTo>
                  <a:cubicBezTo>
                    <a:pt x="168" y="172"/>
                    <a:pt x="168" y="175"/>
                    <a:pt x="166" y="178"/>
                  </a:cubicBezTo>
                  <a:cubicBezTo>
                    <a:pt x="165" y="181"/>
                    <a:pt x="161" y="182"/>
                    <a:pt x="158" y="182"/>
                  </a:cubicBezTo>
                  <a:cubicBezTo>
                    <a:pt x="140" y="182"/>
                    <a:pt x="140" y="182"/>
                    <a:pt x="140" y="182"/>
                  </a:cubicBezTo>
                  <a:cubicBezTo>
                    <a:pt x="139" y="182"/>
                    <a:pt x="137" y="182"/>
                    <a:pt x="134" y="180"/>
                  </a:cubicBezTo>
                  <a:cubicBezTo>
                    <a:pt x="134" y="180"/>
                    <a:pt x="132" y="178"/>
                    <a:pt x="132" y="176"/>
                  </a:cubicBezTo>
                  <a:cubicBezTo>
                    <a:pt x="132" y="174"/>
                    <a:pt x="133" y="173"/>
                    <a:pt x="135" y="171"/>
                  </a:cubicBezTo>
                  <a:cubicBezTo>
                    <a:pt x="144" y="164"/>
                    <a:pt x="149" y="155"/>
                    <a:pt x="152" y="143"/>
                  </a:cubicBezTo>
                  <a:cubicBezTo>
                    <a:pt x="152" y="143"/>
                    <a:pt x="152" y="143"/>
                    <a:pt x="152" y="142"/>
                  </a:cubicBezTo>
                  <a:cubicBezTo>
                    <a:pt x="152" y="142"/>
                    <a:pt x="152" y="142"/>
                    <a:pt x="152" y="142"/>
                  </a:cubicBezTo>
                  <a:cubicBezTo>
                    <a:pt x="150" y="148"/>
                    <a:pt x="147" y="154"/>
                    <a:pt x="144" y="160"/>
                  </a:cubicBezTo>
                  <a:cubicBezTo>
                    <a:pt x="140" y="166"/>
                    <a:pt x="135" y="170"/>
                    <a:pt x="130" y="174"/>
                  </a:cubicBezTo>
                  <a:cubicBezTo>
                    <a:pt x="126" y="178"/>
                    <a:pt x="121" y="181"/>
                    <a:pt x="116" y="185"/>
                  </a:cubicBezTo>
                  <a:cubicBezTo>
                    <a:pt x="114" y="187"/>
                    <a:pt x="112" y="188"/>
                    <a:pt x="109" y="188"/>
                  </a:cubicBezTo>
                  <a:close/>
                  <a:moveTo>
                    <a:pt x="29" y="141"/>
                  </a:moveTo>
                  <a:cubicBezTo>
                    <a:pt x="31" y="146"/>
                    <a:pt x="33" y="150"/>
                    <a:pt x="36" y="154"/>
                  </a:cubicBezTo>
                  <a:cubicBezTo>
                    <a:pt x="36" y="154"/>
                    <a:pt x="36" y="155"/>
                    <a:pt x="36" y="155"/>
                  </a:cubicBezTo>
                  <a:cubicBezTo>
                    <a:pt x="36" y="154"/>
                    <a:pt x="36" y="154"/>
                    <a:pt x="36" y="154"/>
                  </a:cubicBezTo>
                  <a:cubicBezTo>
                    <a:pt x="36" y="154"/>
                    <a:pt x="36" y="154"/>
                    <a:pt x="36" y="154"/>
                  </a:cubicBezTo>
                  <a:cubicBezTo>
                    <a:pt x="36" y="153"/>
                    <a:pt x="36" y="153"/>
                    <a:pt x="36" y="153"/>
                  </a:cubicBezTo>
                  <a:cubicBezTo>
                    <a:pt x="33" y="149"/>
                    <a:pt x="31" y="145"/>
                    <a:pt x="29" y="141"/>
                  </a:cubicBezTo>
                  <a:close/>
                  <a:moveTo>
                    <a:pt x="171" y="102"/>
                  </a:moveTo>
                  <a:cubicBezTo>
                    <a:pt x="171" y="107"/>
                    <a:pt x="172" y="111"/>
                    <a:pt x="173" y="115"/>
                  </a:cubicBezTo>
                  <a:cubicBezTo>
                    <a:pt x="173" y="116"/>
                    <a:pt x="174" y="118"/>
                    <a:pt x="174" y="119"/>
                  </a:cubicBezTo>
                  <a:cubicBezTo>
                    <a:pt x="176" y="121"/>
                    <a:pt x="178" y="122"/>
                    <a:pt x="180" y="122"/>
                  </a:cubicBezTo>
                  <a:cubicBezTo>
                    <a:pt x="181" y="122"/>
                    <a:pt x="183" y="122"/>
                    <a:pt x="184" y="120"/>
                  </a:cubicBezTo>
                  <a:cubicBezTo>
                    <a:pt x="185" y="119"/>
                    <a:pt x="186" y="117"/>
                    <a:pt x="187" y="116"/>
                  </a:cubicBezTo>
                  <a:cubicBezTo>
                    <a:pt x="188" y="115"/>
                    <a:pt x="188" y="114"/>
                    <a:pt x="189" y="113"/>
                  </a:cubicBezTo>
                  <a:cubicBezTo>
                    <a:pt x="185" y="111"/>
                    <a:pt x="180" y="109"/>
                    <a:pt x="176" y="106"/>
                  </a:cubicBezTo>
                  <a:cubicBezTo>
                    <a:pt x="174" y="104"/>
                    <a:pt x="173" y="103"/>
                    <a:pt x="171" y="102"/>
                  </a:cubicBezTo>
                  <a:close/>
                  <a:moveTo>
                    <a:pt x="69" y="113"/>
                  </a:moveTo>
                  <a:cubicBezTo>
                    <a:pt x="69" y="114"/>
                    <a:pt x="70" y="115"/>
                    <a:pt x="71" y="116"/>
                  </a:cubicBezTo>
                  <a:cubicBezTo>
                    <a:pt x="71" y="116"/>
                    <a:pt x="71" y="116"/>
                    <a:pt x="71" y="116"/>
                  </a:cubicBezTo>
                  <a:cubicBezTo>
                    <a:pt x="70" y="114"/>
                    <a:pt x="70" y="112"/>
                    <a:pt x="72" y="108"/>
                  </a:cubicBezTo>
                  <a:cubicBezTo>
                    <a:pt x="71" y="109"/>
                    <a:pt x="71" y="110"/>
                    <a:pt x="70" y="111"/>
                  </a:cubicBezTo>
                  <a:cubicBezTo>
                    <a:pt x="70" y="112"/>
                    <a:pt x="69" y="113"/>
                    <a:pt x="69" y="113"/>
                  </a:cubicBezTo>
                  <a:close/>
                  <a:moveTo>
                    <a:pt x="125" y="112"/>
                  </a:moveTo>
                  <a:cubicBezTo>
                    <a:pt x="125" y="112"/>
                    <a:pt x="126" y="112"/>
                    <a:pt x="127" y="113"/>
                  </a:cubicBezTo>
                  <a:cubicBezTo>
                    <a:pt x="127" y="111"/>
                    <a:pt x="128" y="109"/>
                    <a:pt x="128" y="107"/>
                  </a:cubicBezTo>
                  <a:cubicBezTo>
                    <a:pt x="128" y="108"/>
                    <a:pt x="128" y="108"/>
                    <a:pt x="128" y="108"/>
                  </a:cubicBezTo>
                  <a:cubicBezTo>
                    <a:pt x="127" y="110"/>
                    <a:pt x="126" y="112"/>
                    <a:pt x="125" y="112"/>
                  </a:cubicBezTo>
                  <a:close/>
                  <a:moveTo>
                    <a:pt x="72" y="100"/>
                  </a:moveTo>
                  <a:cubicBezTo>
                    <a:pt x="73" y="102"/>
                    <a:pt x="74" y="104"/>
                    <a:pt x="73" y="106"/>
                  </a:cubicBezTo>
                  <a:cubicBezTo>
                    <a:pt x="74" y="104"/>
                    <a:pt x="75" y="103"/>
                    <a:pt x="75" y="101"/>
                  </a:cubicBezTo>
                  <a:cubicBezTo>
                    <a:pt x="74" y="101"/>
                    <a:pt x="73" y="101"/>
                    <a:pt x="72" y="100"/>
                  </a:cubicBezTo>
                  <a:close/>
                  <a:moveTo>
                    <a:pt x="62" y="86"/>
                  </a:moveTo>
                  <a:cubicBezTo>
                    <a:pt x="64" y="89"/>
                    <a:pt x="65" y="91"/>
                    <a:pt x="67" y="93"/>
                  </a:cubicBezTo>
                  <a:cubicBezTo>
                    <a:pt x="69" y="95"/>
                    <a:pt x="69" y="95"/>
                    <a:pt x="69" y="95"/>
                  </a:cubicBezTo>
                  <a:cubicBezTo>
                    <a:pt x="70" y="96"/>
                    <a:pt x="70" y="96"/>
                    <a:pt x="70" y="96"/>
                  </a:cubicBezTo>
                  <a:cubicBezTo>
                    <a:pt x="70" y="97"/>
                    <a:pt x="70" y="97"/>
                    <a:pt x="71" y="97"/>
                  </a:cubicBezTo>
                  <a:cubicBezTo>
                    <a:pt x="69" y="94"/>
                    <a:pt x="67" y="92"/>
                    <a:pt x="64" y="89"/>
                  </a:cubicBezTo>
                  <a:cubicBezTo>
                    <a:pt x="63" y="88"/>
                    <a:pt x="63" y="87"/>
                    <a:pt x="62" y="86"/>
                  </a:cubicBezTo>
                  <a:close/>
                  <a:moveTo>
                    <a:pt x="61" y="84"/>
                  </a:moveTo>
                  <a:cubicBezTo>
                    <a:pt x="61" y="84"/>
                    <a:pt x="61" y="84"/>
                    <a:pt x="61" y="85"/>
                  </a:cubicBezTo>
                  <a:cubicBezTo>
                    <a:pt x="61" y="84"/>
                    <a:pt x="61" y="84"/>
                    <a:pt x="61" y="84"/>
                  </a:cubicBezTo>
                  <a:close/>
                  <a:moveTo>
                    <a:pt x="163" y="59"/>
                  </a:moveTo>
                  <a:cubicBezTo>
                    <a:pt x="164" y="59"/>
                    <a:pt x="164" y="60"/>
                    <a:pt x="165" y="60"/>
                  </a:cubicBezTo>
                  <a:cubicBezTo>
                    <a:pt x="165" y="61"/>
                    <a:pt x="165" y="61"/>
                    <a:pt x="166" y="61"/>
                  </a:cubicBezTo>
                  <a:cubicBezTo>
                    <a:pt x="166" y="62"/>
                    <a:pt x="167" y="62"/>
                    <a:pt x="167" y="63"/>
                  </a:cubicBezTo>
                  <a:cubicBezTo>
                    <a:pt x="169" y="61"/>
                    <a:pt x="172" y="59"/>
                    <a:pt x="175" y="57"/>
                  </a:cubicBezTo>
                  <a:cubicBezTo>
                    <a:pt x="174" y="56"/>
                    <a:pt x="173" y="55"/>
                    <a:pt x="172" y="54"/>
                  </a:cubicBezTo>
                  <a:cubicBezTo>
                    <a:pt x="171" y="53"/>
                    <a:pt x="171" y="53"/>
                    <a:pt x="171" y="53"/>
                  </a:cubicBezTo>
                  <a:cubicBezTo>
                    <a:pt x="168" y="55"/>
                    <a:pt x="165" y="56"/>
                    <a:pt x="163" y="59"/>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6" name="Freeform 498"/>
            <p:cNvSpPr>
              <a:spLocks noEditPoints="1"/>
            </p:cNvSpPr>
            <p:nvPr/>
          </p:nvSpPr>
          <p:spPr bwMode="auto">
            <a:xfrm>
              <a:off x="4596" y="836"/>
              <a:ext cx="531" cy="393"/>
            </a:xfrm>
            <a:custGeom>
              <a:avLst/>
              <a:gdLst>
                <a:gd name="T0" fmla="*/ 188 w 265"/>
                <a:gd name="T1" fmla="*/ 32 h 196"/>
                <a:gd name="T2" fmla="*/ 207 w 265"/>
                <a:gd name="T3" fmla="*/ 42 h 196"/>
                <a:gd name="T4" fmla="*/ 204 w 265"/>
                <a:gd name="T5" fmla="*/ 47 h 196"/>
                <a:gd name="T6" fmla="*/ 201 w 265"/>
                <a:gd name="T7" fmla="*/ 58 h 196"/>
                <a:gd name="T8" fmla="*/ 208 w 265"/>
                <a:gd name="T9" fmla="*/ 67 h 196"/>
                <a:gd name="T10" fmla="*/ 220 w 265"/>
                <a:gd name="T11" fmla="*/ 71 h 196"/>
                <a:gd name="T12" fmla="*/ 225 w 265"/>
                <a:gd name="T13" fmla="*/ 35 h 196"/>
                <a:gd name="T14" fmla="*/ 246 w 265"/>
                <a:gd name="T15" fmla="*/ 16 h 196"/>
                <a:gd name="T16" fmla="*/ 216 w 265"/>
                <a:gd name="T17" fmla="*/ 118 h 196"/>
                <a:gd name="T18" fmla="*/ 172 w 265"/>
                <a:gd name="T19" fmla="*/ 98 h 196"/>
                <a:gd name="T20" fmla="*/ 191 w 265"/>
                <a:gd name="T21" fmla="*/ 127 h 196"/>
                <a:gd name="T22" fmla="*/ 192 w 265"/>
                <a:gd name="T23" fmla="*/ 131 h 196"/>
                <a:gd name="T24" fmla="*/ 148 w 265"/>
                <a:gd name="T25" fmla="*/ 116 h 196"/>
                <a:gd name="T26" fmla="*/ 144 w 265"/>
                <a:gd name="T27" fmla="*/ 162 h 196"/>
                <a:gd name="T28" fmla="*/ 99 w 265"/>
                <a:gd name="T29" fmla="*/ 175 h 196"/>
                <a:gd name="T30" fmla="*/ 111 w 265"/>
                <a:gd name="T31" fmla="*/ 146 h 196"/>
                <a:gd name="T32" fmla="*/ 75 w 265"/>
                <a:gd name="T33" fmla="*/ 146 h 196"/>
                <a:gd name="T34" fmla="*/ 62 w 265"/>
                <a:gd name="T35" fmla="*/ 186 h 196"/>
                <a:gd name="T36" fmla="*/ 43 w 265"/>
                <a:gd name="T37" fmla="*/ 155 h 196"/>
                <a:gd name="T38" fmla="*/ 26 w 265"/>
                <a:gd name="T39" fmla="*/ 97 h 196"/>
                <a:gd name="T40" fmla="*/ 10 w 265"/>
                <a:gd name="T41" fmla="*/ 76 h 196"/>
                <a:gd name="T42" fmla="*/ 21 w 265"/>
                <a:gd name="T43" fmla="*/ 90 h 196"/>
                <a:gd name="T44" fmla="*/ 84 w 265"/>
                <a:gd name="T45" fmla="*/ 48 h 196"/>
                <a:gd name="T46" fmla="*/ 70 w 265"/>
                <a:gd name="T47" fmla="*/ 102 h 196"/>
                <a:gd name="T48" fmla="*/ 89 w 265"/>
                <a:gd name="T49" fmla="*/ 133 h 196"/>
                <a:gd name="T50" fmla="*/ 132 w 265"/>
                <a:gd name="T51" fmla="*/ 121 h 196"/>
                <a:gd name="T52" fmla="*/ 133 w 265"/>
                <a:gd name="T53" fmla="*/ 56 h 196"/>
                <a:gd name="T54" fmla="*/ 126 w 265"/>
                <a:gd name="T55" fmla="*/ 113 h 196"/>
                <a:gd name="T56" fmla="*/ 90 w 265"/>
                <a:gd name="T57" fmla="*/ 125 h 196"/>
                <a:gd name="T58" fmla="*/ 91 w 265"/>
                <a:gd name="T59" fmla="*/ 89 h 196"/>
                <a:gd name="T60" fmla="*/ 71 w 265"/>
                <a:gd name="T61" fmla="*/ 90 h 196"/>
                <a:gd name="T62" fmla="*/ 131 w 265"/>
                <a:gd name="T63" fmla="*/ 29 h 196"/>
                <a:gd name="T64" fmla="*/ 157 w 265"/>
                <a:gd name="T65" fmla="*/ 8 h 196"/>
                <a:gd name="T66" fmla="*/ 245 w 265"/>
                <a:gd name="T67" fmla="*/ 19 h 196"/>
                <a:gd name="T68" fmla="*/ 230 w 265"/>
                <a:gd name="T69" fmla="*/ 34 h 196"/>
                <a:gd name="T70" fmla="*/ 154 w 265"/>
                <a:gd name="T71" fmla="*/ 40 h 196"/>
                <a:gd name="T72" fmla="*/ 161 w 265"/>
                <a:gd name="T73" fmla="*/ 67 h 196"/>
                <a:gd name="T74" fmla="*/ 167 w 265"/>
                <a:gd name="T75" fmla="*/ 76 h 196"/>
                <a:gd name="T76" fmla="*/ 183 w 265"/>
                <a:gd name="T77" fmla="*/ 60 h 196"/>
                <a:gd name="T78" fmla="*/ 27 w 265"/>
                <a:gd name="T79" fmla="*/ 142 h 196"/>
                <a:gd name="T80" fmla="*/ 23 w 265"/>
                <a:gd name="T81" fmla="*/ 164 h 196"/>
                <a:gd name="T82" fmla="*/ 160 w 265"/>
                <a:gd name="T83" fmla="*/ 147 h 196"/>
                <a:gd name="T84" fmla="*/ 149 w 265"/>
                <a:gd name="T85" fmla="*/ 182 h 196"/>
                <a:gd name="T86" fmla="*/ 160 w 265"/>
                <a:gd name="T87" fmla="*/ 148 h 196"/>
                <a:gd name="T88" fmla="*/ 110 w 265"/>
                <a:gd name="T89" fmla="*/ 25 h 196"/>
                <a:gd name="T90" fmla="*/ 63 w 265"/>
                <a:gd name="T91" fmla="*/ 46 h 196"/>
                <a:gd name="T92" fmla="*/ 30 w 265"/>
                <a:gd name="T93" fmla="*/ 51 h 196"/>
                <a:gd name="T94" fmla="*/ 19 w 265"/>
                <a:gd name="T95" fmla="*/ 110 h 196"/>
                <a:gd name="T96" fmla="*/ 7 w 265"/>
                <a:gd name="T97" fmla="*/ 142 h 196"/>
                <a:gd name="T98" fmla="*/ 33 w 265"/>
                <a:gd name="T99" fmla="*/ 175 h 196"/>
                <a:gd name="T100" fmla="*/ 78 w 265"/>
                <a:gd name="T101" fmla="*/ 176 h 196"/>
                <a:gd name="T102" fmla="*/ 89 w 265"/>
                <a:gd name="T103" fmla="*/ 167 h 196"/>
                <a:gd name="T104" fmla="*/ 133 w 265"/>
                <a:gd name="T105" fmla="*/ 184 h 196"/>
                <a:gd name="T106" fmla="*/ 156 w 265"/>
                <a:gd name="T107" fmla="*/ 190 h 196"/>
                <a:gd name="T108" fmla="*/ 167 w 265"/>
                <a:gd name="T109" fmla="*/ 143 h 196"/>
                <a:gd name="T110" fmla="*/ 198 w 265"/>
                <a:gd name="T111" fmla="*/ 136 h 196"/>
                <a:gd name="T112" fmla="*/ 243 w 265"/>
                <a:gd name="T113" fmla="*/ 117 h 196"/>
                <a:gd name="T114" fmla="*/ 244 w 265"/>
                <a:gd name="T115" fmla="*/ 7 h 196"/>
                <a:gd name="T116" fmla="*/ 219 w 265"/>
                <a:gd name="T117" fmla="*/ 57 h 196"/>
                <a:gd name="T118" fmla="*/ 213 w 265"/>
                <a:gd name="T119" fmla="*/ 37 h 196"/>
                <a:gd name="T120" fmla="*/ 184 w 265"/>
                <a:gd name="T121" fmla="*/ 122 h 196"/>
                <a:gd name="T122" fmla="*/ 185 w 265"/>
                <a:gd name="T123" fmla="*/ 12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5" h="196">
                  <a:moveTo>
                    <a:pt x="157" y="8"/>
                  </a:moveTo>
                  <a:cubicBezTo>
                    <a:pt x="161" y="8"/>
                    <a:pt x="165" y="9"/>
                    <a:pt x="169" y="10"/>
                  </a:cubicBezTo>
                  <a:cubicBezTo>
                    <a:pt x="179" y="13"/>
                    <a:pt x="186" y="20"/>
                    <a:pt x="192" y="28"/>
                  </a:cubicBezTo>
                  <a:cubicBezTo>
                    <a:pt x="193" y="29"/>
                    <a:pt x="192" y="30"/>
                    <a:pt x="191" y="30"/>
                  </a:cubicBezTo>
                  <a:cubicBezTo>
                    <a:pt x="190" y="31"/>
                    <a:pt x="189" y="31"/>
                    <a:pt x="188" y="32"/>
                  </a:cubicBezTo>
                  <a:cubicBezTo>
                    <a:pt x="187" y="32"/>
                    <a:pt x="187" y="32"/>
                    <a:pt x="187" y="33"/>
                  </a:cubicBezTo>
                  <a:cubicBezTo>
                    <a:pt x="188" y="33"/>
                    <a:pt x="188" y="33"/>
                    <a:pt x="189" y="33"/>
                  </a:cubicBezTo>
                  <a:cubicBezTo>
                    <a:pt x="189" y="33"/>
                    <a:pt x="190" y="33"/>
                    <a:pt x="190" y="33"/>
                  </a:cubicBezTo>
                  <a:cubicBezTo>
                    <a:pt x="191" y="33"/>
                    <a:pt x="192" y="33"/>
                    <a:pt x="192" y="33"/>
                  </a:cubicBezTo>
                  <a:cubicBezTo>
                    <a:pt x="199" y="33"/>
                    <a:pt x="203" y="37"/>
                    <a:pt x="207" y="42"/>
                  </a:cubicBezTo>
                  <a:cubicBezTo>
                    <a:pt x="207" y="43"/>
                    <a:pt x="208" y="44"/>
                    <a:pt x="208" y="46"/>
                  </a:cubicBezTo>
                  <a:cubicBezTo>
                    <a:pt x="207" y="47"/>
                    <a:pt x="206" y="47"/>
                    <a:pt x="205" y="47"/>
                  </a:cubicBezTo>
                  <a:cubicBezTo>
                    <a:pt x="204" y="47"/>
                    <a:pt x="204" y="47"/>
                    <a:pt x="204" y="47"/>
                  </a:cubicBezTo>
                  <a:cubicBezTo>
                    <a:pt x="204" y="47"/>
                    <a:pt x="204" y="47"/>
                    <a:pt x="204" y="47"/>
                  </a:cubicBezTo>
                  <a:cubicBezTo>
                    <a:pt x="204" y="47"/>
                    <a:pt x="204" y="47"/>
                    <a:pt x="204" y="47"/>
                  </a:cubicBezTo>
                  <a:cubicBezTo>
                    <a:pt x="203" y="47"/>
                    <a:pt x="203" y="47"/>
                    <a:pt x="202" y="47"/>
                  </a:cubicBezTo>
                  <a:cubicBezTo>
                    <a:pt x="200" y="47"/>
                    <a:pt x="198" y="47"/>
                    <a:pt x="196" y="49"/>
                  </a:cubicBezTo>
                  <a:cubicBezTo>
                    <a:pt x="198" y="49"/>
                    <a:pt x="201" y="49"/>
                    <a:pt x="202" y="52"/>
                  </a:cubicBezTo>
                  <a:cubicBezTo>
                    <a:pt x="204" y="54"/>
                    <a:pt x="203" y="56"/>
                    <a:pt x="200" y="58"/>
                  </a:cubicBezTo>
                  <a:cubicBezTo>
                    <a:pt x="200" y="58"/>
                    <a:pt x="201" y="58"/>
                    <a:pt x="201" y="58"/>
                  </a:cubicBezTo>
                  <a:cubicBezTo>
                    <a:pt x="203" y="58"/>
                    <a:pt x="204" y="58"/>
                    <a:pt x="205" y="58"/>
                  </a:cubicBezTo>
                  <a:cubicBezTo>
                    <a:pt x="205" y="58"/>
                    <a:pt x="205" y="58"/>
                    <a:pt x="206" y="58"/>
                  </a:cubicBezTo>
                  <a:cubicBezTo>
                    <a:pt x="208" y="58"/>
                    <a:pt x="209" y="58"/>
                    <a:pt x="210" y="60"/>
                  </a:cubicBezTo>
                  <a:cubicBezTo>
                    <a:pt x="211" y="61"/>
                    <a:pt x="211" y="63"/>
                    <a:pt x="210" y="64"/>
                  </a:cubicBezTo>
                  <a:cubicBezTo>
                    <a:pt x="209" y="65"/>
                    <a:pt x="209" y="66"/>
                    <a:pt x="208" y="67"/>
                  </a:cubicBezTo>
                  <a:cubicBezTo>
                    <a:pt x="207" y="68"/>
                    <a:pt x="206" y="68"/>
                    <a:pt x="206" y="70"/>
                  </a:cubicBezTo>
                  <a:cubicBezTo>
                    <a:pt x="208" y="69"/>
                    <a:pt x="209" y="67"/>
                    <a:pt x="211" y="66"/>
                  </a:cubicBezTo>
                  <a:cubicBezTo>
                    <a:pt x="212" y="65"/>
                    <a:pt x="214" y="64"/>
                    <a:pt x="215" y="64"/>
                  </a:cubicBezTo>
                  <a:cubicBezTo>
                    <a:pt x="216" y="64"/>
                    <a:pt x="217" y="65"/>
                    <a:pt x="218" y="65"/>
                  </a:cubicBezTo>
                  <a:cubicBezTo>
                    <a:pt x="220" y="67"/>
                    <a:pt x="220" y="68"/>
                    <a:pt x="220" y="71"/>
                  </a:cubicBezTo>
                  <a:cubicBezTo>
                    <a:pt x="219" y="75"/>
                    <a:pt x="217" y="78"/>
                    <a:pt x="215" y="81"/>
                  </a:cubicBezTo>
                  <a:cubicBezTo>
                    <a:pt x="215" y="82"/>
                    <a:pt x="214" y="83"/>
                    <a:pt x="214" y="84"/>
                  </a:cubicBezTo>
                  <a:cubicBezTo>
                    <a:pt x="216" y="84"/>
                    <a:pt x="217" y="82"/>
                    <a:pt x="218" y="81"/>
                  </a:cubicBezTo>
                  <a:cubicBezTo>
                    <a:pt x="224" y="76"/>
                    <a:pt x="226" y="69"/>
                    <a:pt x="227" y="61"/>
                  </a:cubicBezTo>
                  <a:cubicBezTo>
                    <a:pt x="228" y="52"/>
                    <a:pt x="226" y="44"/>
                    <a:pt x="225" y="35"/>
                  </a:cubicBezTo>
                  <a:cubicBezTo>
                    <a:pt x="224" y="30"/>
                    <a:pt x="224" y="29"/>
                    <a:pt x="229" y="27"/>
                  </a:cubicBezTo>
                  <a:cubicBezTo>
                    <a:pt x="234" y="25"/>
                    <a:pt x="238" y="23"/>
                    <a:pt x="241" y="18"/>
                  </a:cubicBezTo>
                  <a:cubicBezTo>
                    <a:pt x="241" y="17"/>
                    <a:pt x="242" y="17"/>
                    <a:pt x="243" y="16"/>
                  </a:cubicBezTo>
                  <a:cubicBezTo>
                    <a:pt x="243" y="16"/>
                    <a:pt x="244" y="15"/>
                    <a:pt x="244" y="15"/>
                  </a:cubicBezTo>
                  <a:cubicBezTo>
                    <a:pt x="245" y="15"/>
                    <a:pt x="245" y="16"/>
                    <a:pt x="246" y="16"/>
                  </a:cubicBezTo>
                  <a:cubicBezTo>
                    <a:pt x="248" y="18"/>
                    <a:pt x="250" y="20"/>
                    <a:pt x="251" y="23"/>
                  </a:cubicBezTo>
                  <a:cubicBezTo>
                    <a:pt x="254" y="31"/>
                    <a:pt x="255" y="39"/>
                    <a:pt x="256" y="47"/>
                  </a:cubicBezTo>
                  <a:cubicBezTo>
                    <a:pt x="257" y="51"/>
                    <a:pt x="257" y="56"/>
                    <a:pt x="257" y="61"/>
                  </a:cubicBezTo>
                  <a:cubicBezTo>
                    <a:pt x="257" y="80"/>
                    <a:pt x="253" y="97"/>
                    <a:pt x="237" y="111"/>
                  </a:cubicBezTo>
                  <a:cubicBezTo>
                    <a:pt x="231" y="116"/>
                    <a:pt x="224" y="118"/>
                    <a:pt x="216" y="118"/>
                  </a:cubicBezTo>
                  <a:cubicBezTo>
                    <a:pt x="215" y="118"/>
                    <a:pt x="213" y="118"/>
                    <a:pt x="211" y="118"/>
                  </a:cubicBezTo>
                  <a:cubicBezTo>
                    <a:pt x="200" y="117"/>
                    <a:pt x="191" y="113"/>
                    <a:pt x="182" y="106"/>
                  </a:cubicBezTo>
                  <a:cubicBezTo>
                    <a:pt x="179" y="104"/>
                    <a:pt x="176" y="101"/>
                    <a:pt x="174" y="98"/>
                  </a:cubicBezTo>
                  <a:cubicBezTo>
                    <a:pt x="173" y="98"/>
                    <a:pt x="173" y="98"/>
                    <a:pt x="173" y="98"/>
                  </a:cubicBezTo>
                  <a:cubicBezTo>
                    <a:pt x="173" y="98"/>
                    <a:pt x="173" y="98"/>
                    <a:pt x="172" y="98"/>
                  </a:cubicBezTo>
                  <a:cubicBezTo>
                    <a:pt x="172" y="98"/>
                    <a:pt x="172" y="98"/>
                    <a:pt x="172" y="99"/>
                  </a:cubicBezTo>
                  <a:cubicBezTo>
                    <a:pt x="171" y="106"/>
                    <a:pt x="171" y="113"/>
                    <a:pt x="173" y="120"/>
                  </a:cubicBezTo>
                  <a:cubicBezTo>
                    <a:pt x="173" y="122"/>
                    <a:pt x="174" y="123"/>
                    <a:pt x="175" y="125"/>
                  </a:cubicBezTo>
                  <a:cubicBezTo>
                    <a:pt x="177" y="129"/>
                    <a:pt x="180" y="130"/>
                    <a:pt x="184" y="130"/>
                  </a:cubicBezTo>
                  <a:cubicBezTo>
                    <a:pt x="186" y="130"/>
                    <a:pt x="189" y="129"/>
                    <a:pt x="191" y="127"/>
                  </a:cubicBezTo>
                  <a:cubicBezTo>
                    <a:pt x="192" y="126"/>
                    <a:pt x="194" y="124"/>
                    <a:pt x="195" y="122"/>
                  </a:cubicBezTo>
                  <a:cubicBezTo>
                    <a:pt x="195" y="121"/>
                    <a:pt x="195" y="121"/>
                    <a:pt x="196" y="121"/>
                  </a:cubicBezTo>
                  <a:cubicBezTo>
                    <a:pt x="196" y="121"/>
                    <a:pt x="196" y="121"/>
                    <a:pt x="197" y="121"/>
                  </a:cubicBezTo>
                  <a:cubicBezTo>
                    <a:pt x="197" y="121"/>
                    <a:pt x="197" y="122"/>
                    <a:pt x="197" y="123"/>
                  </a:cubicBezTo>
                  <a:cubicBezTo>
                    <a:pt x="195" y="126"/>
                    <a:pt x="194" y="129"/>
                    <a:pt x="192" y="131"/>
                  </a:cubicBezTo>
                  <a:cubicBezTo>
                    <a:pt x="189" y="134"/>
                    <a:pt x="185" y="136"/>
                    <a:pt x="181" y="136"/>
                  </a:cubicBezTo>
                  <a:cubicBezTo>
                    <a:pt x="179" y="136"/>
                    <a:pt x="175" y="135"/>
                    <a:pt x="172" y="133"/>
                  </a:cubicBezTo>
                  <a:cubicBezTo>
                    <a:pt x="169" y="131"/>
                    <a:pt x="166" y="128"/>
                    <a:pt x="163" y="125"/>
                  </a:cubicBezTo>
                  <a:cubicBezTo>
                    <a:pt x="162" y="124"/>
                    <a:pt x="161" y="123"/>
                    <a:pt x="160" y="123"/>
                  </a:cubicBezTo>
                  <a:cubicBezTo>
                    <a:pt x="155" y="121"/>
                    <a:pt x="151" y="119"/>
                    <a:pt x="148" y="116"/>
                  </a:cubicBezTo>
                  <a:cubicBezTo>
                    <a:pt x="147" y="115"/>
                    <a:pt x="146" y="114"/>
                    <a:pt x="144" y="113"/>
                  </a:cubicBezTo>
                  <a:cubicBezTo>
                    <a:pt x="146" y="118"/>
                    <a:pt x="148" y="121"/>
                    <a:pt x="151" y="124"/>
                  </a:cubicBezTo>
                  <a:cubicBezTo>
                    <a:pt x="153" y="126"/>
                    <a:pt x="155" y="127"/>
                    <a:pt x="157" y="129"/>
                  </a:cubicBezTo>
                  <a:cubicBezTo>
                    <a:pt x="158" y="130"/>
                    <a:pt x="158" y="130"/>
                    <a:pt x="158" y="131"/>
                  </a:cubicBezTo>
                  <a:cubicBezTo>
                    <a:pt x="153" y="142"/>
                    <a:pt x="150" y="152"/>
                    <a:pt x="144" y="162"/>
                  </a:cubicBezTo>
                  <a:cubicBezTo>
                    <a:pt x="141" y="167"/>
                    <a:pt x="136" y="171"/>
                    <a:pt x="132" y="175"/>
                  </a:cubicBezTo>
                  <a:cubicBezTo>
                    <a:pt x="127" y="179"/>
                    <a:pt x="122" y="183"/>
                    <a:pt x="117" y="186"/>
                  </a:cubicBezTo>
                  <a:cubicBezTo>
                    <a:pt x="115" y="188"/>
                    <a:pt x="114" y="188"/>
                    <a:pt x="113" y="188"/>
                  </a:cubicBezTo>
                  <a:cubicBezTo>
                    <a:pt x="111" y="188"/>
                    <a:pt x="109" y="187"/>
                    <a:pt x="108" y="185"/>
                  </a:cubicBezTo>
                  <a:cubicBezTo>
                    <a:pt x="104" y="182"/>
                    <a:pt x="102" y="179"/>
                    <a:pt x="99" y="175"/>
                  </a:cubicBezTo>
                  <a:cubicBezTo>
                    <a:pt x="96" y="170"/>
                    <a:pt x="97" y="167"/>
                    <a:pt x="102" y="164"/>
                  </a:cubicBezTo>
                  <a:cubicBezTo>
                    <a:pt x="104" y="162"/>
                    <a:pt x="106" y="161"/>
                    <a:pt x="108" y="160"/>
                  </a:cubicBezTo>
                  <a:cubicBezTo>
                    <a:pt x="110" y="159"/>
                    <a:pt x="111" y="158"/>
                    <a:pt x="111" y="155"/>
                  </a:cubicBezTo>
                  <a:cubicBezTo>
                    <a:pt x="111" y="152"/>
                    <a:pt x="111" y="149"/>
                    <a:pt x="111" y="146"/>
                  </a:cubicBezTo>
                  <a:cubicBezTo>
                    <a:pt x="111" y="146"/>
                    <a:pt x="111" y="146"/>
                    <a:pt x="111" y="146"/>
                  </a:cubicBezTo>
                  <a:cubicBezTo>
                    <a:pt x="111" y="146"/>
                    <a:pt x="111" y="146"/>
                    <a:pt x="110" y="147"/>
                  </a:cubicBezTo>
                  <a:cubicBezTo>
                    <a:pt x="107" y="153"/>
                    <a:pt x="102" y="156"/>
                    <a:pt x="96" y="156"/>
                  </a:cubicBezTo>
                  <a:cubicBezTo>
                    <a:pt x="95" y="156"/>
                    <a:pt x="94" y="156"/>
                    <a:pt x="93" y="156"/>
                  </a:cubicBezTo>
                  <a:cubicBezTo>
                    <a:pt x="85" y="155"/>
                    <a:pt x="80" y="152"/>
                    <a:pt x="76" y="145"/>
                  </a:cubicBezTo>
                  <a:cubicBezTo>
                    <a:pt x="75" y="145"/>
                    <a:pt x="75" y="146"/>
                    <a:pt x="75" y="146"/>
                  </a:cubicBezTo>
                  <a:cubicBezTo>
                    <a:pt x="76" y="151"/>
                    <a:pt x="76" y="156"/>
                    <a:pt x="76" y="161"/>
                  </a:cubicBezTo>
                  <a:cubicBezTo>
                    <a:pt x="76" y="162"/>
                    <a:pt x="75" y="164"/>
                    <a:pt x="75" y="165"/>
                  </a:cubicBezTo>
                  <a:cubicBezTo>
                    <a:pt x="74" y="167"/>
                    <a:pt x="73" y="170"/>
                    <a:pt x="71" y="172"/>
                  </a:cubicBezTo>
                  <a:cubicBezTo>
                    <a:pt x="70" y="174"/>
                    <a:pt x="70" y="177"/>
                    <a:pt x="69" y="179"/>
                  </a:cubicBezTo>
                  <a:cubicBezTo>
                    <a:pt x="69" y="185"/>
                    <a:pt x="68" y="186"/>
                    <a:pt x="62" y="186"/>
                  </a:cubicBezTo>
                  <a:cubicBezTo>
                    <a:pt x="62" y="186"/>
                    <a:pt x="61" y="186"/>
                    <a:pt x="61" y="186"/>
                  </a:cubicBezTo>
                  <a:cubicBezTo>
                    <a:pt x="56" y="186"/>
                    <a:pt x="51" y="185"/>
                    <a:pt x="46" y="183"/>
                  </a:cubicBezTo>
                  <a:cubicBezTo>
                    <a:pt x="41" y="181"/>
                    <a:pt x="39" y="178"/>
                    <a:pt x="41" y="172"/>
                  </a:cubicBezTo>
                  <a:cubicBezTo>
                    <a:pt x="43" y="168"/>
                    <a:pt x="44" y="163"/>
                    <a:pt x="44" y="158"/>
                  </a:cubicBezTo>
                  <a:cubicBezTo>
                    <a:pt x="45" y="157"/>
                    <a:pt x="44" y="156"/>
                    <a:pt x="43" y="155"/>
                  </a:cubicBezTo>
                  <a:cubicBezTo>
                    <a:pt x="38" y="148"/>
                    <a:pt x="34" y="140"/>
                    <a:pt x="31" y="132"/>
                  </a:cubicBezTo>
                  <a:cubicBezTo>
                    <a:pt x="28" y="126"/>
                    <a:pt x="27" y="119"/>
                    <a:pt x="27" y="112"/>
                  </a:cubicBezTo>
                  <a:cubicBezTo>
                    <a:pt x="27" y="107"/>
                    <a:pt x="27" y="103"/>
                    <a:pt x="28" y="99"/>
                  </a:cubicBezTo>
                  <a:cubicBezTo>
                    <a:pt x="28" y="97"/>
                    <a:pt x="28" y="97"/>
                    <a:pt x="27" y="97"/>
                  </a:cubicBezTo>
                  <a:cubicBezTo>
                    <a:pt x="27" y="97"/>
                    <a:pt x="26" y="97"/>
                    <a:pt x="26" y="97"/>
                  </a:cubicBezTo>
                  <a:cubicBezTo>
                    <a:pt x="25" y="97"/>
                    <a:pt x="24" y="98"/>
                    <a:pt x="23" y="98"/>
                  </a:cubicBezTo>
                  <a:cubicBezTo>
                    <a:pt x="22" y="98"/>
                    <a:pt x="22" y="97"/>
                    <a:pt x="21" y="97"/>
                  </a:cubicBezTo>
                  <a:cubicBezTo>
                    <a:pt x="15" y="96"/>
                    <a:pt x="12" y="93"/>
                    <a:pt x="12" y="87"/>
                  </a:cubicBezTo>
                  <a:cubicBezTo>
                    <a:pt x="12" y="85"/>
                    <a:pt x="11" y="84"/>
                    <a:pt x="10" y="83"/>
                  </a:cubicBezTo>
                  <a:cubicBezTo>
                    <a:pt x="9" y="81"/>
                    <a:pt x="9" y="79"/>
                    <a:pt x="10" y="76"/>
                  </a:cubicBezTo>
                  <a:cubicBezTo>
                    <a:pt x="12" y="73"/>
                    <a:pt x="15" y="70"/>
                    <a:pt x="19" y="68"/>
                  </a:cubicBezTo>
                  <a:cubicBezTo>
                    <a:pt x="18" y="72"/>
                    <a:pt x="18" y="77"/>
                    <a:pt x="18" y="81"/>
                  </a:cubicBezTo>
                  <a:cubicBezTo>
                    <a:pt x="18" y="82"/>
                    <a:pt x="17" y="83"/>
                    <a:pt x="16" y="84"/>
                  </a:cubicBezTo>
                  <a:cubicBezTo>
                    <a:pt x="14" y="84"/>
                    <a:pt x="15" y="85"/>
                    <a:pt x="15" y="86"/>
                  </a:cubicBezTo>
                  <a:cubicBezTo>
                    <a:pt x="16" y="88"/>
                    <a:pt x="19" y="90"/>
                    <a:pt x="21" y="90"/>
                  </a:cubicBezTo>
                  <a:cubicBezTo>
                    <a:pt x="23" y="90"/>
                    <a:pt x="25" y="89"/>
                    <a:pt x="26" y="88"/>
                  </a:cubicBezTo>
                  <a:cubicBezTo>
                    <a:pt x="28" y="87"/>
                    <a:pt x="30" y="84"/>
                    <a:pt x="32" y="82"/>
                  </a:cubicBezTo>
                  <a:cubicBezTo>
                    <a:pt x="35" y="78"/>
                    <a:pt x="39" y="74"/>
                    <a:pt x="42" y="69"/>
                  </a:cubicBezTo>
                  <a:cubicBezTo>
                    <a:pt x="48" y="61"/>
                    <a:pt x="57" y="57"/>
                    <a:pt x="66" y="53"/>
                  </a:cubicBezTo>
                  <a:cubicBezTo>
                    <a:pt x="72" y="51"/>
                    <a:pt x="78" y="49"/>
                    <a:pt x="84" y="48"/>
                  </a:cubicBezTo>
                  <a:cubicBezTo>
                    <a:pt x="84" y="49"/>
                    <a:pt x="84" y="50"/>
                    <a:pt x="83" y="50"/>
                  </a:cubicBezTo>
                  <a:cubicBezTo>
                    <a:pt x="78" y="56"/>
                    <a:pt x="72" y="62"/>
                    <a:pt x="67" y="68"/>
                  </a:cubicBezTo>
                  <a:cubicBezTo>
                    <a:pt x="64" y="72"/>
                    <a:pt x="62" y="76"/>
                    <a:pt x="61" y="81"/>
                  </a:cubicBezTo>
                  <a:cubicBezTo>
                    <a:pt x="60" y="84"/>
                    <a:pt x="60" y="88"/>
                    <a:pt x="62" y="91"/>
                  </a:cubicBezTo>
                  <a:cubicBezTo>
                    <a:pt x="64" y="95"/>
                    <a:pt x="67" y="98"/>
                    <a:pt x="70" y="102"/>
                  </a:cubicBezTo>
                  <a:cubicBezTo>
                    <a:pt x="70" y="102"/>
                    <a:pt x="70" y="102"/>
                    <a:pt x="70" y="103"/>
                  </a:cubicBezTo>
                  <a:cubicBezTo>
                    <a:pt x="74" y="107"/>
                    <a:pt x="74" y="108"/>
                    <a:pt x="71" y="113"/>
                  </a:cubicBezTo>
                  <a:cubicBezTo>
                    <a:pt x="67" y="118"/>
                    <a:pt x="67" y="118"/>
                    <a:pt x="72" y="123"/>
                  </a:cubicBezTo>
                  <a:cubicBezTo>
                    <a:pt x="74" y="125"/>
                    <a:pt x="76" y="126"/>
                    <a:pt x="78" y="128"/>
                  </a:cubicBezTo>
                  <a:cubicBezTo>
                    <a:pt x="82" y="132"/>
                    <a:pt x="85" y="133"/>
                    <a:pt x="89" y="133"/>
                  </a:cubicBezTo>
                  <a:cubicBezTo>
                    <a:pt x="92" y="133"/>
                    <a:pt x="95" y="132"/>
                    <a:pt x="99" y="130"/>
                  </a:cubicBezTo>
                  <a:cubicBezTo>
                    <a:pt x="103" y="128"/>
                    <a:pt x="107" y="126"/>
                    <a:pt x="111" y="124"/>
                  </a:cubicBezTo>
                  <a:cubicBezTo>
                    <a:pt x="115" y="121"/>
                    <a:pt x="119" y="120"/>
                    <a:pt x="124" y="120"/>
                  </a:cubicBezTo>
                  <a:cubicBezTo>
                    <a:pt x="126" y="120"/>
                    <a:pt x="128" y="120"/>
                    <a:pt x="131" y="121"/>
                  </a:cubicBezTo>
                  <a:cubicBezTo>
                    <a:pt x="131" y="121"/>
                    <a:pt x="132" y="121"/>
                    <a:pt x="132" y="121"/>
                  </a:cubicBezTo>
                  <a:cubicBezTo>
                    <a:pt x="134" y="121"/>
                    <a:pt x="134" y="120"/>
                    <a:pt x="135" y="118"/>
                  </a:cubicBezTo>
                  <a:cubicBezTo>
                    <a:pt x="136" y="112"/>
                    <a:pt x="138" y="105"/>
                    <a:pt x="138" y="98"/>
                  </a:cubicBezTo>
                  <a:cubicBezTo>
                    <a:pt x="138" y="93"/>
                    <a:pt x="137" y="87"/>
                    <a:pt x="136" y="82"/>
                  </a:cubicBezTo>
                  <a:cubicBezTo>
                    <a:pt x="133" y="75"/>
                    <a:pt x="132" y="67"/>
                    <a:pt x="133" y="59"/>
                  </a:cubicBezTo>
                  <a:cubicBezTo>
                    <a:pt x="133" y="58"/>
                    <a:pt x="133" y="57"/>
                    <a:pt x="133" y="56"/>
                  </a:cubicBezTo>
                  <a:cubicBezTo>
                    <a:pt x="132" y="56"/>
                    <a:pt x="132" y="57"/>
                    <a:pt x="131" y="58"/>
                  </a:cubicBezTo>
                  <a:cubicBezTo>
                    <a:pt x="128" y="64"/>
                    <a:pt x="128" y="71"/>
                    <a:pt x="128" y="79"/>
                  </a:cubicBezTo>
                  <a:cubicBezTo>
                    <a:pt x="129" y="84"/>
                    <a:pt x="131" y="90"/>
                    <a:pt x="131" y="95"/>
                  </a:cubicBezTo>
                  <a:cubicBezTo>
                    <a:pt x="131" y="101"/>
                    <a:pt x="130" y="106"/>
                    <a:pt x="128" y="111"/>
                  </a:cubicBezTo>
                  <a:cubicBezTo>
                    <a:pt x="128" y="112"/>
                    <a:pt x="127" y="113"/>
                    <a:pt x="126" y="113"/>
                  </a:cubicBezTo>
                  <a:cubicBezTo>
                    <a:pt x="126" y="113"/>
                    <a:pt x="126" y="113"/>
                    <a:pt x="126" y="113"/>
                  </a:cubicBezTo>
                  <a:cubicBezTo>
                    <a:pt x="125" y="113"/>
                    <a:pt x="124" y="113"/>
                    <a:pt x="124" y="113"/>
                  </a:cubicBezTo>
                  <a:cubicBezTo>
                    <a:pt x="116" y="113"/>
                    <a:pt x="110" y="115"/>
                    <a:pt x="104" y="119"/>
                  </a:cubicBezTo>
                  <a:cubicBezTo>
                    <a:pt x="101" y="121"/>
                    <a:pt x="97" y="122"/>
                    <a:pt x="94" y="124"/>
                  </a:cubicBezTo>
                  <a:cubicBezTo>
                    <a:pt x="93" y="125"/>
                    <a:pt x="91" y="125"/>
                    <a:pt x="90" y="125"/>
                  </a:cubicBezTo>
                  <a:cubicBezTo>
                    <a:pt x="89" y="125"/>
                    <a:pt x="87" y="125"/>
                    <a:pt x="86" y="124"/>
                  </a:cubicBezTo>
                  <a:cubicBezTo>
                    <a:pt x="85" y="124"/>
                    <a:pt x="84" y="123"/>
                    <a:pt x="83" y="123"/>
                  </a:cubicBezTo>
                  <a:cubicBezTo>
                    <a:pt x="77" y="119"/>
                    <a:pt x="77" y="118"/>
                    <a:pt x="80" y="112"/>
                  </a:cubicBezTo>
                  <a:cubicBezTo>
                    <a:pt x="84" y="105"/>
                    <a:pt x="87" y="98"/>
                    <a:pt x="91" y="91"/>
                  </a:cubicBezTo>
                  <a:cubicBezTo>
                    <a:pt x="91" y="90"/>
                    <a:pt x="92" y="89"/>
                    <a:pt x="91" y="89"/>
                  </a:cubicBezTo>
                  <a:cubicBezTo>
                    <a:pt x="90" y="89"/>
                    <a:pt x="89" y="91"/>
                    <a:pt x="88" y="92"/>
                  </a:cubicBezTo>
                  <a:cubicBezTo>
                    <a:pt x="85" y="95"/>
                    <a:pt x="83" y="97"/>
                    <a:pt x="81" y="100"/>
                  </a:cubicBezTo>
                  <a:cubicBezTo>
                    <a:pt x="80" y="101"/>
                    <a:pt x="80" y="101"/>
                    <a:pt x="80" y="101"/>
                  </a:cubicBezTo>
                  <a:cubicBezTo>
                    <a:pt x="79" y="101"/>
                    <a:pt x="79" y="101"/>
                    <a:pt x="79" y="100"/>
                  </a:cubicBezTo>
                  <a:cubicBezTo>
                    <a:pt x="77" y="96"/>
                    <a:pt x="74" y="93"/>
                    <a:pt x="71" y="90"/>
                  </a:cubicBezTo>
                  <a:cubicBezTo>
                    <a:pt x="67" y="86"/>
                    <a:pt x="67" y="83"/>
                    <a:pt x="70" y="79"/>
                  </a:cubicBezTo>
                  <a:cubicBezTo>
                    <a:pt x="74" y="69"/>
                    <a:pt x="81" y="62"/>
                    <a:pt x="88" y="54"/>
                  </a:cubicBezTo>
                  <a:cubicBezTo>
                    <a:pt x="93" y="48"/>
                    <a:pt x="97" y="43"/>
                    <a:pt x="102" y="38"/>
                  </a:cubicBezTo>
                  <a:cubicBezTo>
                    <a:pt x="105" y="35"/>
                    <a:pt x="109" y="33"/>
                    <a:pt x="114" y="33"/>
                  </a:cubicBezTo>
                  <a:cubicBezTo>
                    <a:pt x="119" y="32"/>
                    <a:pt x="125" y="31"/>
                    <a:pt x="131" y="29"/>
                  </a:cubicBezTo>
                  <a:cubicBezTo>
                    <a:pt x="131" y="29"/>
                    <a:pt x="132" y="29"/>
                    <a:pt x="133" y="27"/>
                  </a:cubicBezTo>
                  <a:cubicBezTo>
                    <a:pt x="127" y="28"/>
                    <a:pt x="122" y="28"/>
                    <a:pt x="117" y="28"/>
                  </a:cubicBezTo>
                  <a:cubicBezTo>
                    <a:pt x="118" y="26"/>
                    <a:pt x="119" y="25"/>
                    <a:pt x="120" y="23"/>
                  </a:cubicBezTo>
                  <a:cubicBezTo>
                    <a:pt x="127" y="15"/>
                    <a:pt x="136" y="11"/>
                    <a:pt x="146" y="9"/>
                  </a:cubicBezTo>
                  <a:cubicBezTo>
                    <a:pt x="150" y="9"/>
                    <a:pt x="154" y="8"/>
                    <a:pt x="157" y="8"/>
                  </a:cubicBezTo>
                  <a:moveTo>
                    <a:pt x="230" y="34"/>
                  </a:moveTo>
                  <a:cubicBezTo>
                    <a:pt x="230" y="34"/>
                    <a:pt x="230" y="34"/>
                    <a:pt x="230" y="34"/>
                  </a:cubicBezTo>
                  <a:cubicBezTo>
                    <a:pt x="230" y="34"/>
                    <a:pt x="230" y="34"/>
                    <a:pt x="230" y="34"/>
                  </a:cubicBezTo>
                  <a:cubicBezTo>
                    <a:pt x="235" y="34"/>
                    <a:pt x="243" y="28"/>
                    <a:pt x="245" y="23"/>
                  </a:cubicBezTo>
                  <a:cubicBezTo>
                    <a:pt x="245" y="21"/>
                    <a:pt x="246" y="20"/>
                    <a:pt x="245" y="19"/>
                  </a:cubicBezTo>
                  <a:cubicBezTo>
                    <a:pt x="244" y="19"/>
                    <a:pt x="244" y="19"/>
                    <a:pt x="244" y="19"/>
                  </a:cubicBezTo>
                  <a:cubicBezTo>
                    <a:pt x="243" y="19"/>
                    <a:pt x="242" y="20"/>
                    <a:pt x="241" y="21"/>
                  </a:cubicBezTo>
                  <a:cubicBezTo>
                    <a:pt x="238" y="25"/>
                    <a:pt x="234" y="28"/>
                    <a:pt x="229" y="30"/>
                  </a:cubicBezTo>
                  <a:cubicBezTo>
                    <a:pt x="228" y="31"/>
                    <a:pt x="227" y="31"/>
                    <a:pt x="227" y="32"/>
                  </a:cubicBezTo>
                  <a:cubicBezTo>
                    <a:pt x="227" y="34"/>
                    <a:pt x="229" y="34"/>
                    <a:pt x="230" y="34"/>
                  </a:cubicBezTo>
                  <a:moveTo>
                    <a:pt x="151" y="55"/>
                  </a:moveTo>
                  <a:cubicBezTo>
                    <a:pt x="155" y="48"/>
                    <a:pt x="158" y="40"/>
                    <a:pt x="168" y="40"/>
                  </a:cubicBezTo>
                  <a:cubicBezTo>
                    <a:pt x="165" y="39"/>
                    <a:pt x="163" y="38"/>
                    <a:pt x="160" y="38"/>
                  </a:cubicBezTo>
                  <a:cubicBezTo>
                    <a:pt x="158" y="38"/>
                    <a:pt x="157" y="38"/>
                    <a:pt x="156" y="38"/>
                  </a:cubicBezTo>
                  <a:cubicBezTo>
                    <a:pt x="155" y="39"/>
                    <a:pt x="154" y="39"/>
                    <a:pt x="154" y="40"/>
                  </a:cubicBezTo>
                  <a:cubicBezTo>
                    <a:pt x="151" y="45"/>
                    <a:pt x="151" y="50"/>
                    <a:pt x="151" y="55"/>
                  </a:cubicBezTo>
                  <a:moveTo>
                    <a:pt x="181" y="52"/>
                  </a:moveTo>
                  <a:cubicBezTo>
                    <a:pt x="172" y="52"/>
                    <a:pt x="164" y="58"/>
                    <a:pt x="159" y="68"/>
                  </a:cubicBezTo>
                  <a:cubicBezTo>
                    <a:pt x="159" y="68"/>
                    <a:pt x="160" y="68"/>
                    <a:pt x="160" y="68"/>
                  </a:cubicBezTo>
                  <a:cubicBezTo>
                    <a:pt x="160" y="68"/>
                    <a:pt x="161" y="67"/>
                    <a:pt x="161" y="67"/>
                  </a:cubicBezTo>
                  <a:cubicBezTo>
                    <a:pt x="162" y="66"/>
                    <a:pt x="163" y="65"/>
                    <a:pt x="163" y="65"/>
                  </a:cubicBezTo>
                  <a:cubicBezTo>
                    <a:pt x="164" y="65"/>
                    <a:pt x="165" y="66"/>
                    <a:pt x="166" y="67"/>
                  </a:cubicBezTo>
                  <a:cubicBezTo>
                    <a:pt x="166" y="68"/>
                    <a:pt x="167" y="68"/>
                    <a:pt x="168" y="69"/>
                  </a:cubicBezTo>
                  <a:cubicBezTo>
                    <a:pt x="169" y="70"/>
                    <a:pt x="169" y="71"/>
                    <a:pt x="168" y="72"/>
                  </a:cubicBezTo>
                  <a:cubicBezTo>
                    <a:pt x="167" y="73"/>
                    <a:pt x="166" y="74"/>
                    <a:pt x="167" y="76"/>
                  </a:cubicBezTo>
                  <a:cubicBezTo>
                    <a:pt x="173" y="70"/>
                    <a:pt x="180" y="64"/>
                    <a:pt x="189" y="60"/>
                  </a:cubicBezTo>
                  <a:cubicBezTo>
                    <a:pt x="188" y="60"/>
                    <a:pt x="188" y="60"/>
                    <a:pt x="187" y="60"/>
                  </a:cubicBezTo>
                  <a:cubicBezTo>
                    <a:pt x="186" y="60"/>
                    <a:pt x="185" y="60"/>
                    <a:pt x="184" y="61"/>
                  </a:cubicBezTo>
                  <a:cubicBezTo>
                    <a:pt x="184" y="61"/>
                    <a:pt x="184" y="61"/>
                    <a:pt x="184" y="61"/>
                  </a:cubicBezTo>
                  <a:cubicBezTo>
                    <a:pt x="183" y="61"/>
                    <a:pt x="183" y="61"/>
                    <a:pt x="183" y="60"/>
                  </a:cubicBezTo>
                  <a:cubicBezTo>
                    <a:pt x="182" y="58"/>
                    <a:pt x="180" y="56"/>
                    <a:pt x="178" y="55"/>
                  </a:cubicBezTo>
                  <a:cubicBezTo>
                    <a:pt x="179" y="53"/>
                    <a:pt x="181" y="54"/>
                    <a:pt x="181" y="52"/>
                  </a:cubicBezTo>
                  <a:moveTo>
                    <a:pt x="24" y="133"/>
                  </a:moveTo>
                  <a:cubicBezTo>
                    <a:pt x="24" y="133"/>
                    <a:pt x="24" y="134"/>
                    <a:pt x="24" y="134"/>
                  </a:cubicBezTo>
                  <a:cubicBezTo>
                    <a:pt x="25" y="137"/>
                    <a:pt x="26" y="139"/>
                    <a:pt x="27" y="142"/>
                  </a:cubicBezTo>
                  <a:cubicBezTo>
                    <a:pt x="29" y="148"/>
                    <a:pt x="32" y="154"/>
                    <a:pt x="36" y="160"/>
                  </a:cubicBezTo>
                  <a:cubicBezTo>
                    <a:pt x="37" y="161"/>
                    <a:pt x="37" y="162"/>
                    <a:pt x="36" y="164"/>
                  </a:cubicBezTo>
                  <a:cubicBezTo>
                    <a:pt x="35" y="165"/>
                    <a:pt x="33" y="167"/>
                    <a:pt x="31" y="167"/>
                  </a:cubicBezTo>
                  <a:cubicBezTo>
                    <a:pt x="31" y="167"/>
                    <a:pt x="31" y="167"/>
                    <a:pt x="31" y="167"/>
                  </a:cubicBezTo>
                  <a:cubicBezTo>
                    <a:pt x="27" y="167"/>
                    <a:pt x="25" y="165"/>
                    <a:pt x="23" y="164"/>
                  </a:cubicBezTo>
                  <a:cubicBezTo>
                    <a:pt x="20" y="161"/>
                    <a:pt x="17" y="157"/>
                    <a:pt x="14" y="153"/>
                  </a:cubicBezTo>
                  <a:cubicBezTo>
                    <a:pt x="12" y="151"/>
                    <a:pt x="12" y="148"/>
                    <a:pt x="14" y="146"/>
                  </a:cubicBezTo>
                  <a:cubicBezTo>
                    <a:pt x="16" y="141"/>
                    <a:pt x="20" y="138"/>
                    <a:pt x="23" y="134"/>
                  </a:cubicBezTo>
                  <a:cubicBezTo>
                    <a:pt x="23" y="134"/>
                    <a:pt x="24" y="133"/>
                    <a:pt x="24" y="133"/>
                  </a:cubicBezTo>
                  <a:moveTo>
                    <a:pt x="160" y="147"/>
                  </a:moveTo>
                  <a:cubicBezTo>
                    <a:pt x="163" y="152"/>
                    <a:pt x="166" y="157"/>
                    <a:pt x="165" y="164"/>
                  </a:cubicBezTo>
                  <a:cubicBezTo>
                    <a:pt x="165" y="167"/>
                    <a:pt x="165" y="171"/>
                    <a:pt x="167" y="175"/>
                  </a:cubicBezTo>
                  <a:cubicBezTo>
                    <a:pt x="169" y="179"/>
                    <a:pt x="166" y="182"/>
                    <a:pt x="162" y="182"/>
                  </a:cubicBezTo>
                  <a:cubicBezTo>
                    <a:pt x="160" y="182"/>
                    <a:pt x="158" y="182"/>
                    <a:pt x="156" y="182"/>
                  </a:cubicBezTo>
                  <a:cubicBezTo>
                    <a:pt x="154" y="182"/>
                    <a:pt x="152" y="182"/>
                    <a:pt x="149" y="182"/>
                  </a:cubicBezTo>
                  <a:cubicBezTo>
                    <a:pt x="148" y="182"/>
                    <a:pt x="146" y="182"/>
                    <a:pt x="144" y="182"/>
                  </a:cubicBezTo>
                  <a:cubicBezTo>
                    <a:pt x="144" y="182"/>
                    <a:pt x="144" y="182"/>
                    <a:pt x="144" y="182"/>
                  </a:cubicBezTo>
                  <a:cubicBezTo>
                    <a:pt x="143" y="182"/>
                    <a:pt x="142" y="182"/>
                    <a:pt x="141" y="181"/>
                  </a:cubicBezTo>
                  <a:cubicBezTo>
                    <a:pt x="140" y="180"/>
                    <a:pt x="140" y="180"/>
                    <a:pt x="141" y="178"/>
                  </a:cubicBezTo>
                  <a:cubicBezTo>
                    <a:pt x="151" y="171"/>
                    <a:pt x="157" y="160"/>
                    <a:pt x="160" y="148"/>
                  </a:cubicBezTo>
                  <a:cubicBezTo>
                    <a:pt x="160" y="148"/>
                    <a:pt x="160" y="148"/>
                    <a:pt x="160" y="147"/>
                  </a:cubicBezTo>
                  <a:moveTo>
                    <a:pt x="157" y="0"/>
                  </a:moveTo>
                  <a:cubicBezTo>
                    <a:pt x="154" y="0"/>
                    <a:pt x="150" y="1"/>
                    <a:pt x="145" y="1"/>
                  </a:cubicBezTo>
                  <a:cubicBezTo>
                    <a:pt x="132" y="3"/>
                    <a:pt x="122" y="9"/>
                    <a:pt x="114" y="18"/>
                  </a:cubicBezTo>
                  <a:cubicBezTo>
                    <a:pt x="113" y="20"/>
                    <a:pt x="111" y="22"/>
                    <a:pt x="110" y="25"/>
                  </a:cubicBezTo>
                  <a:cubicBezTo>
                    <a:pt x="104" y="26"/>
                    <a:pt x="100" y="29"/>
                    <a:pt x="96" y="33"/>
                  </a:cubicBezTo>
                  <a:cubicBezTo>
                    <a:pt x="94" y="35"/>
                    <a:pt x="92" y="37"/>
                    <a:pt x="90" y="40"/>
                  </a:cubicBezTo>
                  <a:cubicBezTo>
                    <a:pt x="90" y="39"/>
                    <a:pt x="90" y="39"/>
                    <a:pt x="90" y="39"/>
                  </a:cubicBezTo>
                  <a:cubicBezTo>
                    <a:pt x="83" y="40"/>
                    <a:pt x="83" y="40"/>
                    <a:pt x="83" y="40"/>
                  </a:cubicBezTo>
                  <a:cubicBezTo>
                    <a:pt x="76" y="42"/>
                    <a:pt x="70" y="43"/>
                    <a:pt x="63" y="46"/>
                  </a:cubicBezTo>
                  <a:cubicBezTo>
                    <a:pt x="55" y="48"/>
                    <a:pt x="44" y="54"/>
                    <a:pt x="36" y="64"/>
                  </a:cubicBezTo>
                  <a:cubicBezTo>
                    <a:pt x="33" y="68"/>
                    <a:pt x="30" y="71"/>
                    <a:pt x="28" y="75"/>
                  </a:cubicBezTo>
                  <a:cubicBezTo>
                    <a:pt x="26" y="77"/>
                    <a:pt x="26" y="77"/>
                    <a:pt x="26" y="77"/>
                  </a:cubicBezTo>
                  <a:cubicBezTo>
                    <a:pt x="26" y="74"/>
                    <a:pt x="26" y="72"/>
                    <a:pt x="26" y="70"/>
                  </a:cubicBezTo>
                  <a:cubicBezTo>
                    <a:pt x="30" y="51"/>
                    <a:pt x="30" y="51"/>
                    <a:pt x="30" y="51"/>
                  </a:cubicBezTo>
                  <a:cubicBezTo>
                    <a:pt x="14" y="61"/>
                    <a:pt x="14" y="61"/>
                    <a:pt x="14" y="61"/>
                  </a:cubicBezTo>
                  <a:cubicBezTo>
                    <a:pt x="10" y="64"/>
                    <a:pt x="6" y="68"/>
                    <a:pt x="3" y="73"/>
                  </a:cubicBezTo>
                  <a:cubicBezTo>
                    <a:pt x="0" y="78"/>
                    <a:pt x="1" y="84"/>
                    <a:pt x="4" y="88"/>
                  </a:cubicBezTo>
                  <a:cubicBezTo>
                    <a:pt x="5" y="97"/>
                    <a:pt x="10" y="103"/>
                    <a:pt x="19" y="105"/>
                  </a:cubicBezTo>
                  <a:cubicBezTo>
                    <a:pt x="19" y="107"/>
                    <a:pt x="19" y="109"/>
                    <a:pt x="19" y="110"/>
                  </a:cubicBezTo>
                  <a:cubicBezTo>
                    <a:pt x="19" y="111"/>
                    <a:pt x="19" y="111"/>
                    <a:pt x="19" y="111"/>
                  </a:cubicBezTo>
                  <a:cubicBezTo>
                    <a:pt x="19" y="117"/>
                    <a:pt x="19" y="122"/>
                    <a:pt x="20" y="126"/>
                  </a:cubicBezTo>
                  <a:cubicBezTo>
                    <a:pt x="19" y="127"/>
                    <a:pt x="18" y="128"/>
                    <a:pt x="17" y="129"/>
                  </a:cubicBezTo>
                  <a:cubicBezTo>
                    <a:pt x="16" y="130"/>
                    <a:pt x="15" y="131"/>
                    <a:pt x="14" y="132"/>
                  </a:cubicBezTo>
                  <a:cubicBezTo>
                    <a:pt x="12" y="135"/>
                    <a:pt x="9" y="138"/>
                    <a:pt x="7" y="142"/>
                  </a:cubicBezTo>
                  <a:cubicBezTo>
                    <a:pt x="4" y="147"/>
                    <a:pt x="4" y="153"/>
                    <a:pt x="7" y="158"/>
                  </a:cubicBezTo>
                  <a:cubicBezTo>
                    <a:pt x="11" y="163"/>
                    <a:pt x="14" y="167"/>
                    <a:pt x="18" y="170"/>
                  </a:cubicBezTo>
                  <a:cubicBezTo>
                    <a:pt x="21" y="172"/>
                    <a:pt x="25" y="175"/>
                    <a:pt x="30" y="175"/>
                  </a:cubicBezTo>
                  <a:cubicBezTo>
                    <a:pt x="30" y="175"/>
                    <a:pt x="31" y="175"/>
                    <a:pt x="31" y="175"/>
                  </a:cubicBezTo>
                  <a:cubicBezTo>
                    <a:pt x="32" y="175"/>
                    <a:pt x="32" y="175"/>
                    <a:pt x="33" y="175"/>
                  </a:cubicBezTo>
                  <a:cubicBezTo>
                    <a:pt x="32" y="182"/>
                    <a:pt x="36" y="188"/>
                    <a:pt x="43" y="191"/>
                  </a:cubicBezTo>
                  <a:cubicBezTo>
                    <a:pt x="48" y="193"/>
                    <a:pt x="54" y="194"/>
                    <a:pt x="61" y="194"/>
                  </a:cubicBezTo>
                  <a:cubicBezTo>
                    <a:pt x="61" y="194"/>
                    <a:pt x="62" y="194"/>
                    <a:pt x="62" y="194"/>
                  </a:cubicBezTo>
                  <a:cubicBezTo>
                    <a:pt x="72" y="194"/>
                    <a:pt x="77" y="190"/>
                    <a:pt x="77" y="180"/>
                  </a:cubicBezTo>
                  <a:cubicBezTo>
                    <a:pt x="77" y="178"/>
                    <a:pt x="78" y="177"/>
                    <a:pt x="78" y="176"/>
                  </a:cubicBezTo>
                  <a:cubicBezTo>
                    <a:pt x="79" y="174"/>
                    <a:pt x="81" y="172"/>
                    <a:pt x="82" y="169"/>
                  </a:cubicBezTo>
                  <a:cubicBezTo>
                    <a:pt x="82" y="169"/>
                    <a:pt x="82" y="169"/>
                    <a:pt x="82" y="169"/>
                  </a:cubicBezTo>
                  <a:cubicBezTo>
                    <a:pt x="83" y="167"/>
                    <a:pt x="84" y="165"/>
                    <a:pt x="84" y="162"/>
                  </a:cubicBezTo>
                  <a:cubicBezTo>
                    <a:pt x="86" y="163"/>
                    <a:pt x="88" y="163"/>
                    <a:pt x="91" y="164"/>
                  </a:cubicBezTo>
                  <a:cubicBezTo>
                    <a:pt x="90" y="164"/>
                    <a:pt x="90" y="165"/>
                    <a:pt x="89" y="167"/>
                  </a:cubicBezTo>
                  <a:cubicBezTo>
                    <a:pt x="88" y="173"/>
                    <a:pt x="91" y="178"/>
                    <a:pt x="92" y="179"/>
                  </a:cubicBezTo>
                  <a:cubicBezTo>
                    <a:pt x="95" y="183"/>
                    <a:pt x="98" y="187"/>
                    <a:pt x="102" y="191"/>
                  </a:cubicBezTo>
                  <a:cubicBezTo>
                    <a:pt x="104" y="193"/>
                    <a:pt x="108" y="196"/>
                    <a:pt x="113" y="196"/>
                  </a:cubicBezTo>
                  <a:cubicBezTo>
                    <a:pt x="117" y="196"/>
                    <a:pt x="120" y="194"/>
                    <a:pt x="122" y="193"/>
                  </a:cubicBezTo>
                  <a:cubicBezTo>
                    <a:pt x="126" y="190"/>
                    <a:pt x="130" y="187"/>
                    <a:pt x="133" y="184"/>
                  </a:cubicBezTo>
                  <a:cubicBezTo>
                    <a:pt x="134" y="185"/>
                    <a:pt x="135" y="186"/>
                    <a:pt x="136" y="187"/>
                  </a:cubicBezTo>
                  <a:cubicBezTo>
                    <a:pt x="139" y="190"/>
                    <a:pt x="143" y="190"/>
                    <a:pt x="144" y="190"/>
                  </a:cubicBezTo>
                  <a:cubicBezTo>
                    <a:pt x="149" y="190"/>
                    <a:pt x="149" y="190"/>
                    <a:pt x="149" y="190"/>
                  </a:cubicBezTo>
                  <a:cubicBezTo>
                    <a:pt x="153" y="190"/>
                    <a:pt x="153" y="190"/>
                    <a:pt x="153" y="190"/>
                  </a:cubicBezTo>
                  <a:cubicBezTo>
                    <a:pt x="156" y="190"/>
                    <a:pt x="156" y="190"/>
                    <a:pt x="156" y="190"/>
                  </a:cubicBezTo>
                  <a:cubicBezTo>
                    <a:pt x="158" y="190"/>
                    <a:pt x="160" y="190"/>
                    <a:pt x="162" y="190"/>
                  </a:cubicBezTo>
                  <a:cubicBezTo>
                    <a:pt x="167" y="190"/>
                    <a:pt x="171" y="188"/>
                    <a:pt x="174" y="184"/>
                  </a:cubicBezTo>
                  <a:cubicBezTo>
                    <a:pt x="176" y="180"/>
                    <a:pt x="176" y="176"/>
                    <a:pt x="174" y="171"/>
                  </a:cubicBezTo>
                  <a:cubicBezTo>
                    <a:pt x="173" y="169"/>
                    <a:pt x="173" y="167"/>
                    <a:pt x="173" y="164"/>
                  </a:cubicBezTo>
                  <a:cubicBezTo>
                    <a:pt x="174" y="155"/>
                    <a:pt x="170" y="149"/>
                    <a:pt x="167" y="143"/>
                  </a:cubicBezTo>
                  <a:cubicBezTo>
                    <a:pt x="164" y="138"/>
                    <a:pt x="164" y="138"/>
                    <a:pt x="164" y="138"/>
                  </a:cubicBezTo>
                  <a:cubicBezTo>
                    <a:pt x="164" y="137"/>
                    <a:pt x="164" y="137"/>
                    <a:pt x="164" y="137"/>
                  </a:cubicBezTo>
                  <a:cubicBezTo>
                    <a:pt x="165" y="138"/>
                    <a:pt x="167" y="139"/>
                    <a:pt x="168" y="140"/>
                  </a:cubicBezTo>
                  <a:cubicBezTo>
                    <a:pt x="172" y="142"/>
                    <a:pt x="177" y="144"/>
                    <a:pt x="181" y="144"/>
                  </a:cubicBezTo>
                  <a:cubicBezTo>
                    <a:pt x="188" y="144"/>
                    <a:pt x="193" y="141"/>
                    <a:pt x="198" y="136"/>
                  </a:cubicBezTo>
                  <a:cubicBezTo>
                    <a:pt x="200" y="134"/>
                    <a:pt x="202" y="130"/>
                    <a:pt x="204" y="126"/>
                  </a:cubicBezTo>
                  <a:cubicBezTo>
                    <a:pt x="204" y="125"/>
                    <a:pt x="204" y="125"/>
                    <a:pt x="204" y="125"/>
                  </a:cubicBezTo>
                  <a:cubicBezTo>
                    <a:pt x="206" y="125"/>
                    <a:pt x="208" y="125"/>
                    <a:pt x="210" y="126"/>
                  </a:cubicBezTo>
                  <a:cubicBezTo>
                    <a:pt x="212" y="126"/>
                    <a:pt x="214" y="126"/>
                    <a:pt x="216" y="126"/>
                  </a:cubicBezTo>
                  <a:cubicBezTo>
                    <a:pt x="227" y="126"/>
                    <a:pt x="235" y="123"/>
                    <a:pt x="243" y="117"/>
                  </a:cubicBezTo>
                  <a:cubicBezTo>
                    <a:pt x="262" y="100"/>
                    <a:pt x="265" y="77"/>
                    <a:pt x="265" y="61"/>
                  </a:cubicBezTo>
                  <a:cubicBezTo>
                    <a:pt x="265" y="56"/>
                    <a:pt x="265" y="51"/>
                    <a:pt x="264" y="46"/>
                  </a:cubicBezTo>
                  <a:cubicBezTo>
                    <a:pt x="263" y="38"/>
                    <a:pt x="262" y="29"/>
                    <a:pt x="258" y="20"/>
                  </a:cubicBezTo>
                  <a:cubicBezTo>
                    <a:pt x="257" y="17"/>
                    <a:pt x="255" y="13"/>
                    <a:pt x="251" y="10"/>
                  </a:cubicBezTo>
                  <a:cubicBezTo>
                    <a:pt x="249" y="8"/>
                    <a:pt x="246" y="7"/>
                    <a:pt x="244" y="7"/>
                  </a:cubicBezTo>
                  <a:cubicBezTo>
                    <a:pt x="242" y="7"/>
                    <a:pt x="239" y="8"/>
                    <a:pt x="237" y="10"/>
                  </a:cubicBezTo>
                  <a:cubicBezTo>
                    <a:pt x="236" y="11"/>
                    <a:pt x="235" y="13"/>
                    <a:pt x="234" y="14"/>
                  </a:cubicBezTo>
                  <a:cubicBezTo>
                    <a:pt x="232" y="16"/>
                    <a:pt x="230" y="18"/>
                    <a:pt x="227" y="19"/>
                  </a:cubicBezTo>
                  <a:cubicBezTo>
                    <a:pt x="218" y="22"/>
                    <a:pt x="215" y="28"/>
                    <a:pt x="217" y="37"/>
                  </a:cubicBezTo>
                  <a:cubicBezTo>
                    <a:pt x="218" y="43"/>
                    <a:pt x="219" y="50"/>
                    <a:pt x="219" y="57"/>
                  </a:cubicBezTo>
                  <a:cubicBezTo>
                    <a:pt x="219" y="57"/>
                    <a:pt x="218" y="57"/>
                    <a:pt x="218" y="56"/>
                  </a:cubicBezTo>
                  <a:cubicBezTo>
                    <a:pt x="217" y="56"/>
                    <a:pt x="217" y="56"/>
                    <a:pt x="217" y="55"/>
                  </a:cubicBezTo>
                  <a:cubicBezTo>
                    <a:pt x="216" y="54"/>
                    <a:pt x="215" y="52"/>
                    <a:pt x="213" y="52"/>
                  </a:cubicBezTo>
                  <a:cubicBezTo>
                    <a:pt x="214" y="51"/>
                    <a:pt x="214" y="50"/>
                    <a:pt x="215" y="49"/>
                  </a:cubicBezTo>
                  <a:cubicBezTo>
                    <a:pt x="217" y="45"/>
                    <a:pt x="216" y="41"/>
                    <a:pt x="213" y="37"/>
                  </a:cubicBezTo>
                  <a:cubicBezTo>
                    <a:pt x="209" y="32"/>
                    <a:pt x="205" y="28"/>
                    <a:pt x="200" y="26"/>
                  </a:cubicBezTo>
                  <a:cubicBezTo>
                    <a:pt x="200" y="25"/>
                    <a:pt x="199" y="24"/>
                    <a:pt x="198" y="23"/>
                  </a:cubicBezTo>
                  <a:cubicBezTo>
                    <a:pt x="193" y="16"/>
                    <a:pt x="184" y="6"/>
                    <a:pt x="171" y="2"/>
                  </a:cubicBezTo>
                  <a:cubicBezTo>
                    <a:pt x="167" y="1"/>
                    <a:pt x="162" y="0"/>
                    <a:pt x="157" y="0"/>
                  </a:cubicBezTo>
                  <a:close/>
                  <a:moveTo>
                    <a:pt x="184" y="122"/>
                  </a:moveTo>
                  <a:cubicBezTo>
                    <a:pt x="183" y="122"/>
                    <a:pt x="182" y="122"/>
                    <a:pt x="182" y="121"/>
                  </a:cubicBezTo>
                  <a:cubicBezTo>
                    <a:pt x="181" y="120"/>
                    <a:pt x="181" y="119"/>
                    <a:pt x="181" y="118"/>
                  </a:cubicBezTo>
                  <a:cubicBezTo>
                    <a:pt x="180" y="117"/>
                    <a:pt x="180" y="116"/>
                    <a:pt x="180" y="115"/>
                  </a:cubicBezTo>
                  <a:cubicBezTo>
                    <a:pt x="182" y="116"/>
                    <a:pt x="185" y="118"/>
                    <a:pt x="187" y="119"/>
                  </a:cubicBezTo>
                  <a:cubicBezTo>
                    <a:pt x="187" y="120"/>
                    <a:pt x="186" y="121"/>
                    <a:pt x="185" y="121"/>
                  </a:cubicBezTo>
                  <a:cubicBezTo>
                    <a:pt x="185" y="122"/>
                    <a:pt x="184" y="122"/>
                    <a:pt x="184" y="12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7" name="Freeform 499"/>
            <p:cNvSpPr>
              <a:spLocks/>
            </p:cNvSpPr>
            <p:nvPr/>
          </p:nvSpPr>
          <p:spPr bwMode="auto">
            <a:xfrm>
              <a:off x="4714" y="1974"/>
              <a:ext cx="297" cy="341"/>
            </a:xfrm>
            <a:custGeom>
              <a:avLst/>
              <a:gdLst>
                <a:gd name="T0" fmla="*/ 0 w 148"/>
                <a:gd name="T1" fmla="*/ 170 h 170"/>
                <a:gd name="T2" fmla="*/ 0 w 148"/>
                <a:gd name="T3" fmla="*/ 25 h 170"/>
                <a:gd name="T4" fmla="*/ 74 w 148"/>
                <a:gd name="T5" fmla="*/ 0 h 170"/>
                <a:gd name="T6" fmla="*/ 148 w 148"/>
                <a:gd name="T7" fmla="*/ 25 h 170"/>
                <a:gd name="T8" fmla="*/ 148 w 148"/>
                <a:gd name="T9" fmla="*/ 170 h 170"/>
                <a:gd name="T10" fmla="*/ 0 w 148"/>
                <a:gd name="T11" fmla="*/ 170 h 170"/>
              </a:gdLst>
              <a:ahLst/>
              <a:cxnLst>
                <a:cxn ang="0">
                  <a:pos x="T0" y="T1"/>
                </a:cxn>
                <a:cxn ang="0">
                  <a:pos x="T2" y="T3"/>
                </a:cxn>
                <a:cxn ang="0">
                  <a:pos x="T4" y="T5"/>
                </a:cxn>
                <a:cxn ang="0">
                  <a:pos x="T6" y="T7"/>
                </a:cxn>
                <a:cxn ang="0">
                  <a:pos x="T8" y="T9"/>
                </a:cxn>
                <a:cxn ang="0">
                  <a:pos x="T10" y="T11"/>
                </a:cxn>
              </a:cxnLst>
              <a:rect l="0" t="0" r="r" b="b"/>
              <a:pathLst>
                <a:path w="148" h="170">
                  <a:moveTo>
                    <a:pt x="0" y="170"/>
                  </a:moveTo>
                  <a:cubicBezTo>
                    <a:pt x="0" y="25"/>
                    <a:pt x="0" y="25"/>
                    <a:pt x="0" y="25"/>
                  </a:cubicBezTo>
                  <a:cubicBezTo>
                    <a:pt x="0" y="13"/>
                    <a:pt x="30" y="0"/>
                    <a:pt x="74" y="0"/>
                  </a:cubicBezTo>
                  <a:cubicBezTo>
                    <a:pt x="118" y="0"/>
                    <a:pt x="148" y="13"/>
                    <a:pt x="148" y="25"/>
                  </a:cubicBezTo>
                  <a:cubicBezTo>
                    <a:pt x="148" y="170"/>
                    <a:pt x="148" y="170"/>
                    <a:pt x="148" y="170"/>
                  </a:cubicBezTo>
                  <a:lnTo>
                    <a:pt x="0" y="170"/>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8" name="Freeform 500"/>
            <p:cNvSpPr>
              <a:spLocks noEditPoints="1"/>
            </p:cNvSpPr>
            <p:nvPr/>
          </p:nvSpPr>
          <p:spPr bwMode="auto">
            <a:xfrm>
              <a:off x="4706" y="1966"/>
              <a:ext cx="315" cy="359"/>
            </a:xfrm>
            <a:custGeom>
              <a:avLst/>
              <a:gdLst>
                <a:gd name="T0" fmla="*/ 78 w 157"/>
                <a:gd name="T1" fmla="*/ 9 h 179"/>
                <a:gd name="T2" fmla="*/ 148 w 157"/>
                <a:gd name="T3" fmla="*/ 29 h 179"/>
                <a:gd name="T4" fmla="*/ 148 w 157"/>
                <a:gd name="T5" fmla="*/ 81 h 179"/>
                <a:gd name="T6" fmla="*/ 148 w 157"/>
                <a:gd name="T7" fmla="*/ 112 h 179"/>
                <a:gd name="T8" fmla="*/ 148 w 157"/>
                <a:gd name="T9" fmla="*/ 170 h 179"/>
                <a:gd name="T10" fmla="*/ 8 w 157"/>
                <a:gd name="T11" fmla="*/ 170 h 179"/>
                <a:gd name="T12" fmla="*/ 8 w 157"/>
                <a:gd name="T13" fmla="*/ 114 h 179"/>
                <a:gd name="T14" fmla="*/ 8 w 157"/>
                <a:gd name="T15" fmla="*/ 81 h 179"/>
                <a:gd name="T16" fmla="*/ 8 w 157"/>
                <a:gd name="T17" fmla="*/ 29 h 179"/>
                <a:gd name="T18" fmla="*/ 78 w 157"/>
                <a:gd name="T19" fmla="*/ 9 h 179"/>
                <a:gd name="T20" fmla="*/ 78 w 157"/>
                <a:gd name="T21" fmla="*/ 0 h 179"/>
                <a:gd name="T22" fmla="*/ 0 w 157"/>
                <a:gd name="T23" fmla="*/ 29 h 179"/>
                <a:gd name="T24" fmla="*/ 0 w 157"/>
                <a:gd name="T25" fmla="*/ 81 h 179"/>
                <a:gd name="T26" fmla="*/ 0 w 157"/>
                <a:gd name="T27" fmla="*/ 114 h 179"/>
                <a:gd name="T28" fmla="*/ 0 w 157"/>
                <a:gd name="T29" fmla="*/ 179 h 179"/>
                <a:gd name="T30" fmla="*/ 157 w 157"/>
                <a:gd name="T31" fmla="*/ 179 h 179"/>
                <a:gd name="T32" fmla="*/ 157 w 157"/>
                <a:gd name="T33" fmla="*/ 112 h 179"/>
                <a:gd name="T34" fmla="*/ 157 w 157"/>
                <a:gd name="T35" fmla="*/ 81 h 179"/>
                <a:gd name="T36" fmla="*/ 157 w 157"/>
                <a:gd name="T37" fmla="*/ 29 h 179"/>
                <a:gd name="T38" fmla="*/ 78 w 157"/>
                <a:gd name="T3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79">
                  <a:moveTo>
                    <a:pt x="78" y="9"/>
                  </a:moveTo>
                  <a:cubicBezTo>
                    <a:pt x="121" y="9"/>
                    <a:pt x="148" y="22"/>
                    <a:pt x="148" y="29"/>
                  </a:cubicBezTo>
                  <a:cubicBezTo>
                    <a:pt x="148" y="81"/>
                    <a:pt x="148" y="81"/>
                    <a:pt x="148" y="81"/>
                  </a:cubicBezTo>
                  <a:cubicBezTo>
                    <a:pt x="148" y="112"/>
                    <a:pt x="148" y="112"/>
                    <a:pt x="148" y="112"/>
                  </a:cubicBezTo>
                  <a:cubicBezTo>
                    <a:pt x="148" y="170"/>
                    <a:pt x="148" y="170"/>
                    <a:pt x="148" y="170"/>
                  </a:cubicBezTo>
                  <a:cubicBezTo>
                    <a:pt x="8" y="170"/>
                    <a:pt x="8" y="170"/>
                    <a:pt x="8" y="170"/>
                  </a:cubicBezTo>
                  <a:cubicBezTo>
                    <a:pt x="8" y="114"/>
                    <a:pt x="8" y="114"/>
                    <a:pt x="8" y="114"/>
                  </a:cubicBezTo>
                  <a:cubicBezTo>
                    <a:pt x="8" y="81"/>
                    <a:pt x="8" y="81"/>
                    <a:pt x="8" y="81"/>
                  </a:cubicBezTo>
                  <a:cubicBezTo>
                    <a:pt x="8" y="29"/>
                    <a:pt x="8" y="29"/>
                    <a:pt x="8" y="29"/>
                  </a:cubicBezTo>
                  <a:cubicBezTo>
                    <a:pt x="8" y="22"/>
                    <a:pt x="35" y="9"/>
                    <a:pt x="78" y="9"/>
                  </a:cubicBezTo>
                  <a:moveTo>
                    <a:pt x="78" y="0"/>
                  </a:moveTo>
                  <a:cubicBezTo>
                    <a:pt x="35" y="0"/>
                    <a:pt x="0" y="13"/>
                    <a:pt x="0" y="29"/>
                  </a:cubicBezTo>
                  <a:cubicBezTo>
                    <a:pt x="0" y="81"/>
                    <a:pt x="0" y="81"/>
                    <a:pt x="0" y="81"/>
                  </a:cubicBezTo>
                  <a:cubicBezTo>
                    <a:pt x="0" y="114"/>
                    <a:pt x="0" y="114"/>
                    <a:pt x="0" y="114"/>
                  </a:cubicBezTo>
                  <a:cubicBezTo>
                    <a:pt x="0" y="179"/>
                    <a:pt x="0" y="179"/>
                    <a:pt x="0" y="179"/>
                  </a:cubicBezTo>
                  <a:cubicBezTo>
                    <a:pt x="157" y="179"/>
                    <a:pt x="157" y="179"/>
                    <a:pt x="157" y="179"/>
                  </a:cubicBezTo>
                  <a:cubicBezTo>
                    <a:pt x="157" y="112"/>
                    <a:pt x="157" y="112"/>
                    <a:pt x="157" y="112"/>
                  </a:cubicBezTo>
                  <a:cubicBezTo>
                    <a:pt x="157" y="81"/>
                    <a:pt x="157" y="81"/>
                    <a:pt x="157" y="81"/>
                  </a:cubicBezTo>
                  <a:cubicBezTo>
                    <a:pt x="157" y="29"/>
                    <a:pt x="157" y="29"/>
                    <a:pt x="157" y="29"/>
                  </a:cubicBezTo>
                  <a:cubicBezTo>
                    <a:pt x="157" y="13"/>
                    <a:pt x="121" y="0"/>
                    <a:pt x="78"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501"/>
            <p:cNvSpPr>
              <a:spLocks/>
            </p:cNvSpPr>
            <p:nvPr/>
          </p:nvSpPr>
          <p:spPr bwMode="auto">
            <a:xfrm>
              <a:off x="4706" y="2201"/>
              <a:ext cx="315" cy="182"/>
            </a:xfrm>
            <a:custGeom>
              <a:avLst/>
              <a:gdLst>
                <a:gd name="T0" fmla="*/ 157 w 157"/>
                <a:gd name="T1" fmla="*/ 4 h 91"/>
                <a:gd name="T2" fmla="*/ 157 w 157"/>
                <a:gd name="T3" fmla="*/ 62 h 91"/>
                <a:gd name="T4" fmla="*/ 78 w 157"/>
                <a:gd name="T5" fmla="*/ 91 h 91"/>
                <a:gd name="T6" fmla="*/ 0 w 157"/>
                <a:gd name="T7" fmla="*/ 62 h 91"/>
                <a:gd name="T8" fmla="*/ 0 w 157"/>
                <a:gd name="T9" fmla="*/ 6 h 91"/>
                <a:gd name="T10" fmla="*/ 23 w 157"/>
                <a:gd name="T11" fmla="*/ 16 h 91"/>
                <a:gd name="T12" fmla="*/ 50 w 157"/>
                <a:gd name="T13" fmla="*/ 0 h 91"/>
                <a:gd name="T14" fmla="*/ 78 w 157"/>
                <a:gd name="T15" fmla="*/ 16 h 91"/>
                <a:gd name="T16" fmla="*/ 105 w 157"/>
                <a:gd name="T17" fmla="*/ 1 h 91"/>
                <a:gd name="T18" fmla="*/ 132 w 157"/>
                <a:gd name="T19" fmla="*/ 16 h 91"/>
                <a:gd name="T20" fmla="*/ 157 w 157"/>
                <a:gd name="T21"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91">
                  <a:moveTo>
                    <a:pt x="157" y="4"/>
                  </a:moveTo>
                  <a:cubicBezTo>
                    <a:pt x="157" y="62"/>
                    <a:pt x="157" y="62"/>
                    <a:pt x="157" y="62"/>
                  </a:cubicBezTo>
                  <a:cubicBezTo>
                    <a:pt x="157" y="78"/>
                    <a:pt x="121" y="91"/>
                    <a:pt x="78" y="91"/>
                  </a:cubicBezTo>
                  <a:cubicBezTo>
                    <a:pt x="35" y="91"/>
                    <a:pt x="0" y="78"/>
                    <a:pt x="0" y="62"/>
                  </a:cubicBezTo>
                  <a:cubicBezTo>
                    <a:pt x="0" y="6"/>
                    <a:pt x="0" y="6"/>
                    <a:pt x="0" y="6"/>
                  </a:cubicBezTo>
                  <a:cubicBezTo>
                    <a:pt x="5" y="12"/>
                    <a:pt x="14" y="16"/>
                    <a:pt x="23" y="16"/>
                  </a:cubicBezTo>
                  <a:cubicBezTo>
                    <a:pt x="35" y="16"/>
                    <a:pt x="45" y="10"/>
                    <a:pt x="50" y="0"/>
                  </a:cubicBezTo>
                  <a:cubicBezTo>
                    <a:pt x="55" y="10"/>
                    <a:pt x="66" y="16"/>
                    <a:pt x="78" y="16"/>
                  </a:cubicBezTo>
                  <a:cubicBezTo>
                    <a:pt x="90" y="16"/>
                    <a:pt x="100" y="10"/>
                    <a:pt x="105" y="1"/>
                  </a:cubicBezTo>
                  <a:cubicBezTo>
                    <a:pt x="111" y="10"/>
                    <a:pt x="121" y="16"/>
                    <a:pt x="132" y="16"/>
                  </a:cubicBezTo>
                  <a:cubicBezTo>
                    <a:pt x="142" y="16"/>
                    <a:pt x="151" y="11"/>
                    <a:pt x="157" y="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Oval 502"/>
            <p:cNvSpPr>
              <a:spLocks noChangeArrowheads="1"/>
            </p:cNvSpPr>
            <p:nvPr/>
          </p:nvSpPr>
          <p:spPr bwMode="auto">
            <a:xfrm>
              <a:off x="4706" y="1966"/>
              <a:ext cx="315" cy="11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Oval 503"/>
            <p:cNvSpPr>
              <a:spLocks noChangeArrowheads="1"/>
            </p:cNvSpPr>
            <p:nvPr/>
          </p:nvSpPr>
          <p:spPr bwMode="auto">
            <a:xfrm>
              <a:off x="4746" y="1982"/>
              <a:ext cx="234"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 name="Freeform 504"/>
            <p:cNvSpPr>
              <a:spLocks noEditPoints="1"/>
            </p:cNvSpPr>
            <p:nvPr/>
          </p:nvSpPr>
          <p:spPr bwMode="auto">
            <a:xfrm>
              <a:off x="1071" y="669"/>
              <a:ext cx="313" cy="173"/>
            </a:xfrm>
            <a:custGeom>
              <a:avLst/>
              <a:gdLst>
                <a:gd name="T0" fmla="*/ 156 w 156"/>
                <a:gd name="T1" fmla="*/ 32 h 86"/>
                <a:gd name="T2" fmla="*/ 78 w 156"/>
                <a:gd name="T3" fmla="*/ 51 h 86"/>
                <a:gd name="T4" fmla="*/ 48 w 156"/>
                <a:gd name="T5" fmla="*/ 74 h 86"/>
                <a:gd name="T6" fmla="*/ 48 w 156"/>
                <a:gd name="T7" fmla="*/ 46 h 86"/>
                <a:gd name="T8" fmla="*/ 28 w 156"/>
                <a:gd name="T9" fmla="*/ 46 h 86"/>
                <a:gd name="T10" fmla="*/ 28 w 156"/>
                <a:gd name="T11" fmla="*/ 21 h 86"/>
                <a:gd name="T12" fmla="*/ 9 w 156"/>
                <a:gd name="T13" fmla="*/ 21 h 86"/>
                <a:gd name="T14" fmla="*/ 43 w 156"/>
                <a:gd name="T15" fmla="*/ 0 h 86"/>
                <a:gd name="T16" fmla="*/ 77 w 156"/>
                <a:gd name="T17" fmla="*/ 22 h 86"/>
                <a:gd name="T18" fmla="*/ 156 w 156"/>
                <a:gd name="T19" fmla="*/ 22 h 86"/>
                <a:gd name="T20" fmla="*/ 156 w 156"/>
                <a:gd name="T21" fmla="*/ 32 h 86"/>
                <a:gd name="T22" fmla="*/ 78 w 156"/>
                <a:gd name="T23" fmla="*/ 86 h 86"/>
                <a:gd name="T24" fmla="*/ 93 w 156"/>
                <a:gd name="T25" fmla="*/ 71 h 86"/>
                <a:gd name="T26" fmla="*/ 91 w 156"/>
                <a:gd name="T27" fmla="*/ 69 h 86"/>
                <a:gd name="T28" fmla="*/ 89 w 156"/>
                <a:gd name="T29" fmla="*/ 71 h 86"/>
                <a:gd name="T30" fmla="*/ 78 w 156"/>
                <a:gd name="T31" fmla="*/ 81 h 86"/>
                <a:gd name="T32" fmla="*/ 15 w 156"/>
                <a:gd name="T33" fmla="*/ 81 h 86"/>
                <a:gd name="T34" fmla="*/ 4 w 156"/>
                <a:gd name="T35" fmla="*/ 71 h 86"/>
                <a:gd name="T36" fmla="*/ 3 w 156"/>
                <a:gd name="T37" fmla="*/ 69 h 86"/>
                <a:gd name="T38" fmla="*/ 0 w 156"/>
                <a:gd name="T39" fmla="*/ 71 h 86"/>
                <a:gd name="T40" fmla="*/ 15 w 156"/>
                <a:gd name="T41" fmla="*/ 86 h 86"/>
                <a:gd name="T42" fmla="*/ 78 w 156"/>
                <a:gd name="T4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86">
                  <a:moveTo>
                    <a:pt x="156" y="32"/>
                  </a:moveTo>
                  <a:cubicBezTo>
                    <a:pt x="156" y="32"/>
                    <a:pt x="156" y="32"/>
                    <a:pt x="78" y="51"/>
                  </a:cubicBezTo>
                  <a:cubicBezTo>
                    <a:pt x="73" y="63"/>
                    <a:pt x="62" y="72"/>
                    <a:pt x="48" y="74"/>
                  </a:cubicBezTo>
                  <a:cubicBezTo>
                    <a:pt x="48" y="74"/>
                    <a:pt x="48" y="74"/>
                    <a:pt x="48" y="46"/>
                  </a:cubicBezTo>
                  <a:cubicBezTo>
                    <a:pt x="48" y="46"/>
                    <a:pt x="48" y="46"/>
                    <a:pt x="28" y="46"/>
                  </a:cubicBezTo>
                  <a:cubicBezTo>
                    <a:pt x="28" y="46"/>
                    <a:pt x="28" y="46"/>
                    <a:pt x="28" y="21"/>
                  </a:cubicBezTo>
                  <a:cubicBezTo>
                    <a:pt x="28" y="21"/>
                    <a:pt x="28" y="21"/>
                    <a:pt x="9" y="21"/>
                  </a:cubicBezTo>
                  <a:cubicBezTo>
                    <a:pt x="15" y="9"/>
                    <a:pt x="28" y="0"/>
                    <a:pt x="43" y="0"/>
                  </a:cubicBezTo>
                  <a:cubicBezTo>
                    <a:pt x="58" y="0"/>
                    <a:pt x="71" y="9"/>
                    <a:pt x="77" y="22"/>
                  </a:cubicBezTo>
                  <a:cubicBezTo>
                    <a:pt x="77" y="22"/>
                    <a:pt x="77" y="22"/>
                    <a:pt x="156" y="22"/>
                  </a:cubicBezTo>
                  <a:lnTo>
                    <a:pt x="156" y="32"/>
                  </a:lnTo>
                  <a:close/>
                  <a:moveTo>
                    <a:pt x="78" y="86"/>
                  </a:moveTo>
                  <a:cubicBezTo>
                    <a:pt x="87" y="86"/>
                    <a:pt x="93" y="79"/>
                    <a:pt x="93" y="71"/>
                  </a:cubicBezTo>
                  <a:cubicBezTo>
                    <a:pt x="93" y="70"/>
                    <a:pt x="92" y="69"/>
                    <a:pt x="91" y="69"/>
                  </a:cubicBezTo>
                  <a:cubicBezTo>
                    <a:pt x="90" y="69"/>
                    <a:pt x="89" y="70"/>
                    <a:pt x="89" y="71"/>
                  </a:cubicBezTo>
                  <a:cubicBezTo>
                    <a:pt x="89" y="77"/>
                    <a:pt x="84" y="81"/>
                    <a:pt x="78" y="81"/>
                  </a:cubicBezTo>
                  <a:cubicBezTo>
                    <a:pt x="78" y="81"/>
                    <a:pt x="78" y="81"/>
                    <a:pt x="15" y="81"/>
                  </a:cubicBezTo>
                  <a:cubicBezTo>
                    <a:pt x="9" y="81"/>
                    <a:pt x="4" y="77"/>
                    <a:pt x="4" y="71"/>
                  </a:cubicBezTo>
                  <a:cubicBezTo>
                    <a:pt x="4" y="70"/>
                    <a:pt x="3" y="69"/>
                    <a:pt x="3" y="69"/>
                  </a:cubicBezTo>
                  <a:cubicBezTo>
                    <a:pt x="1" y="69"/>
                    <a:pt x="0" y="70"/>
                    <a:pt x="0" y="71"/>
                  </a:cubicBezTo>
                  <a:cubicBezTo>
                    <a:pt x="0" y="79"/>
                    <a:pt x="6" y="86"/>
                    <a:pt x="15" y="86"/>
                  </a:cubicBezTo>
                  <a:cubicBezTo>
                    <a:pt x="15" y="86"/>
                    <a:pt x="15" y="86"/>
                    <a:pt x="78" y="8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3" name="Freeform 505"/>
            <p:cNvSpPr>
              <a:spLocks/>
            </p:cNvSpPr>
            <p:nvPr/>
          </p:nvSpPr>
          <p:spPr bwMode="auto">
            <a:xfrm>
              <a:off x="1366" y="724"/>
              <a:ext cx="14" cy="34"/>
            </a:xfrm>
            <a:custGeom>
              <a:avLst/>
              <a:gdLst>
                <a:gd name="T0" fmla="*/ 7 w 7"/>
                <a:gd name="T1" fmla="*/ 17 h 17"/>
                <a:gd name="T2" fmla="*/ 7 w 7"/>
                <a:gd name="T3" fmla="*/ 0 h 17"/>
                <a:gd name="T4" fmla="*/ 0 w 7"/>
                <a:gd name="T5" fmla="*/ 16 h 17"/>
                <a:gd name="T6" fmla="*/ 7 w 7"/>
                <a:gd name="T7" fmla="*/ 17 h 17"/>
              </a:gdLst>
              <a:ahLst/>
              <a:cxnLst>
                <a:cxn ang="0">
                  <a:pos x="T0" y="T1"/>
                </a:cxn>
                <a:cxn ang="0">
                  <a:pos x="T2" y="T3"/>
                </a:cxn>
                <a:cxn ang="0">
                  <a:pos x="T4" y="T5"/>
                </a:cxn>
                <a:cxn ang="0">
                  <a:pos x="T6" y="T7"/>
                </a:cxn>
              </a:cxnLst>
              <a:rect l="0" t="0" r="r" b="b"/>
              <a:pathLst>
                <a:path w="7" h="17">
                  <a:moveTo>
                    <a:pt x="7" y="17"/>
                  </a:moveTo>
                  <a:cubicBezTo>
                    <a:pt x="7" y="0"/>
                    <a:pt x="7" y="0"/>
                    <a:pt x="7" y="0"/>
                  </a:cubicBezTo>
                  <a:cubicBezTo>
                    <a:pt x="0" y="16"/>
                    <a:pt x="0" y="16"/>
                    <a:pt x="0" y="16"/>
                  </a:cubicBezTo>
                  <a:cubicBezTo>
                    <a:pt x="2" y="17"/>
                    <a:pt x="5" y="17"/>
                    <a:pt x="7" y="17"/>
                  </a:cubicBezTo>
                  <a:close/>
                </a:path>
              </a:pathLst>
            </a:custGeom>
            <a:solidFill>
              <a:srgbClr val="4657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4" name="Freeform 506"/>
            <p:cNvSpPr>
              <a:spLocks/>
            </p:cNvSpPr>
            <p:nvPr/>
          </p:nvSpPr>
          <p:spPr bwMode="auto">
            <a:xfrm>
              <a:off x="1380" y="687"/>
              <a:ext cx="18" cy="35"/>
            </a:xfrm>
            <a:custGeom>
              <a:avLst/>
              <a:gdLst>
                <a:gd name="T0" fmla="*/ 1 w 9"/>
                <a:gd name="T1" fmla="*/ 0 h 17"/>
                <a:gd name="T2" fmla="*/ 0 w 9"/>
                <a:gd name="T3" fmla="*/ 0 h 17"/>
                <a:gd name="T4" fmla="*/ 0 w 9"/>
                <a:gd name="T5" fmla="*/ 17 h 17"/>
                <a:gd name="T6" fmla="*/ 9 w 9"/>
                <a:gd name="T7" fmla="*/ 2 h 17"/>
                <a:gd name="T8" fmla="*/ 1 w 9"/>
                <a:gd name="T9" fmla="*/ 0 h 17"/>
              </a:gdLst>
              <a:ahLst/>
              <a:cxnLst>
                <a:cxn ang="0">
                  <a:pos x="T0" y="T1"/>
                </a:cxn>
                <a:cxn ang="0">
                  <a:pos x="T2" y="T3"/>
                </a:cxn>
                <a:cxn ang="0">
                  <a:pos x="T4" y="T5"/>
                </a:cxn>
                <a:cxn ang="0">
                  <a:pos x="T6" y="T7"/>
                </a:cxn>
                <a:cxn ang="0">
                  <a:pos x="T8" y="T9"/>
                </a:cxn>
              </a:cxnLst>
              <a:rect l="0" t="0" r="r" b="b"/>
              <a:pathLst>
                <a:path w="9" h="17">
                  <a:moveTo>
                    <a:pt x="1" y="0"/>
                  </a:moveTo>
                  <a:cubicBezTo>
                    <a:pt x="0" y="0"/>
                    <a:pt x="0" y="0"/>
                    <a:pt x="0" y="0"/>
                  </a:cubicBezTo>
                  <a:cubicBezTo>
                    <a:pt x="0" y="17"/>
                    <a:pt x="0" y="17"/>
                    <a:pt x="0" y="17"/>
                  </a:cubicBezTo>
                  <a:cubicBezTo>
                    <a:pt x="9" y="2"/>
                    <a:pt x="9" y="2"/>
                    <a:pt x="9" y="2"/>
                  </a:cubicBezTo>
                  <a:cubicBezTo>
                    <a:pt x="7" y="1"/>
                    <a:pt x="4" y="0"/>
                    <a:pt x="1" y="0"/>
                  </a:cubicBezTo>
                  <a:close/>
                </a:path>
              </a:pathLst>
            </a:custGeom>
            <a:solidFill>
              <a:srgbClr val="4657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5" name="Freeform 507"/>
            <p:cNvSpPr>
              <a:spLocks/>
            </p:cNvSpPr>
            <p:nvPr/>
          </p:nvSpPr>
          <p:spPr bwMode="auto">
            <a:xfrm>
              <a:off x="1081" y="712"/>
              <a:ext cx="87" cy="106"/>
            </a:xfrm>
            <a:custGeom>
              <a:avLst/>
              <a:gdLst>
                <a:gd name="T0" fmla="*/ 24 w 43"/>
                <a:gd name="T1" fmla="*/ 0 h 53"/>
                <a:gd name="T2" fmla="*/ 4 w 43"/>
                <a:gd name="T3" fmla="*/ 0 h 53"/>
                <a:gd name="T4" fmla="*/ 0 w 43"/>
                <a:gd name="T5" fmla="*/ 16 h 53"/>
                <a:gd name="T6" fmla="*/ 38 w 43"/>
                <a:gd name="T7" fmla="*/ 53 h 53"/>
                <a:gd name="T8" fmla="*/ 43 w 43"/>
                <a:gd name="T9" fmla="*/ 53 h 53"/>
                <a:gd name="T10" fmla="*/ 43 w 43"/>
                <a:gd name="T11" fmla="*/ 19 h 53"/>
                <a:gd name="T12" fmla="*/ 24 w 43"/>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3" h="53">
                  <a:moveTo>
                    <a:pt x="24" y="0"/>
                  </a:moveTo>
                  <a:cubicBezTo>
                    <a:pt x="4" y="0"/>
                    <a:pt x="4" y="0"/>
                    <a:pt x="4" y="0"/>
                  </a:cubicBezTo>
                  <a:cubicBezTo>
                    <a:pt x="2" y="5"/>
                    <a:pt x="0" y="10"/>
                    <a:pt x="0" y="16"/>
                  </a:cubicBezTo>
                  <a:cubicBezTo>
                    <a:pt x="0" y="37"/>
                    <a:pt x="17" y="53"/>
                    <a:pt x="38" y="53"/>
                  </a:cubicBezTo>
                  <a:cubicBezTo>
                    <a:pt x="40" y="53"/>
                    <a:pt x="41" y="53"/>
                    <a:pt x="43" y="53"/>
                  </a:cubicBezTo>
                  <a:cubicBezTo>
                    <a:pt x="43" y="19"/>
                    <a:pt x="43" y="19"/>
                    <a:pt x="43" y="19"/>
                  </a:cubicBezTo>
                  <a:cubicBezTo>
                    <a:pt x="43" y="9"/>
                    <a:pt x="34" y="0"/>
                    <a:pt x="24" y="0"/>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508"/>
            <p:cNvSpPr>
              <a:spLocks/>
            </p:cNvSpPr>
            <p:nvPr/>
          </p:nvSpPr>
          <p:spPr bwMode="auto">
            <a:xfrm>
              <a:off x="1155" y="669"/>
              <a:ext cx="153" cy="16"/>
            </a:xfrm>
            <a:custGeom>
              <a:avLst/>
              <a:gdLst>
                <a:gd name="T0" fmla="*/ 0 w 76"/>
                <a:gd name="T1" fmla="*/ 0 h 8"/>
                <a:gd name="T2" fmla="*/ 64 w 76"/>
                <a:gd name="T3" fmla="*/ 8 h 8"/>
                <a:gd name="T4" fmla="*/ 76 w 76"/>
                <a:gd name="T5" fmla="*/ 0 h 8"/>
                <a:gd name="T6" fmla="*/ 0 w 76"/>
                <a:gd name="T7" fmla="*/ 0 h 8"/>
              </a:gdLst>
              <a:ahLst/>
              <a:cxnLst>
                <a:cxn ang="0">
                  <a:pos x="T0" y="T1"/>
                </a:cxn>
                <a:cxn ang="0">
                  <a:pos x="T2" y="T3"/>
                </a:cxn>
                <a:cxn ang="0">
                  <a:pos x="T4" y="T5"/>
                </a:cxn>
                <a:cxn ang="0">
                  <a:pos x="T6" y="T7"/>
                </a:cxn>
              </a:cxnLst>
              <a:rect l="0" t="0" r="r" b="b"/>
              <a:pathLst>
                <a:path w="76" h="8">
                  <a:moveTo>
                    <a:pt x="0" y="0"/>
                  </a:moveTo>
                  <a:cubicBezTo>
                    <a:pt x="64" y="8"/>
                    <a:pt x="64" y="8"/>
                    <a:pt x="64" y="8"/>
                  </a:cubicBezTo>
                  <a:cubicBezTo>
                    <a:pt x="72" y="6"/>
                    <a:pt x="76" y="3"/>
                    <a:pt x="76" y="0"/>
                  </a:cubicBez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509"/>
            <p:cNvSpPr>
              <a:spLocks/>
            </p:cNvSpPr>
            <p:nvPr/>
          </p:nvSpPr>
          <p:spPr bwMode="auto">
            <a:xfrm>
              <a:off x="1001" y="657"/>
              <a:ext cx="146" cy="12"/>
            </a:xfrm>
            <a:custGeom>
              <a:avLst/>
              <a:gdLst>
                <a:gd name="T0" fmla="*/ 0 w 73"/>
                <a:gd name="T1" fmla="*/ 6 h 6"/>
                <a:gd name="T2" fmla="*/ 0 w 73"/>
                <a:gd name="T3" fmla="*/ 6 h 6"/>
                <a:gd name="T4" fmla="*/ 73 w 73"/>
                <a:gd name="T5" fmla="*/ 6 h 6"/>
                <a:gd name="T6" fmla="*/ 6 w 73"/>
                <a:gd name="T7" fmla="*/ 0 h 6"/>
                <a:gd name="T8" fmla="*/ 0 w 73"/>
                <a:gd name="T9" fmla="*/ 6 h 6"/>
              </a:gdLst>
              <a:ahLst/>
              <a:cxnLst>
                <a:cxn ang="0">
                  <a:pos x="T0" y="T1"/>
                </a:cxn>
                <a:cxn ang="0">
                  <a:pos x="T2" y="T3"/>
                </a:cxn>
                <a:cxn ang="0">
                  <a:pos x="T4" y="T5"/>
                </a:cxn>
                <a:cxn ang="0">
                  <a:pos x="T6" y="T7"/>
                </a:cxn>
                <a:cxn ang="0">
                  <a:pos x="T8" y="T9"/>
                </a:cxn>
              </a:cxnLst>
              <a:rect l="0" t="0" r="r" b="b"/>
              <a:pathLst>
                <a:path w="73" h="6">
                  <a:moveTo>
                    <a:pt x="0" y="6"/>
                  </a:moveTo>
                  <a:cubicBezTo>
                    <a:pt x="0" y="6"/>
                    <a:pt x="0" y="6"/>
                    <a:pt x="0" y="6"/>
                  </a:cubicBezTo>
                  <a:cubicBezTo>
                    <a:pt x="73" y="6"/>
                    <a:pt x="73" y="6"/>
                    <a:pt x="73" y="6"/>
                  </a:cubicBezTo>
                  <a:cubicBezTo>
                    <a:pt x="6" y="0"/>
                    <a:pt x="6" y="0"/>
                    <a:pt x="6" y="0"/>
                  </a:cubicBezTo>
                  <a:cubicBezTo>
                    <a:pt x="2" y="2"/>
                    <a:pt x="0" y="4"/>
                    <a:pt x="0" y="6"/>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8" name="Freeform 510"/>
            <p:cNvSpPr>
              <a:spLocks noEditPoints="1"/>
            </p:cNvSpPr>
            <p:nvPr/>
          </p:nvSpPr>
          <p:spPr bwMode="auto">
            <a:xfrm>
              <a:off x="1089" y="637"/>
              <a:ext cx="139" cy="65"/>
            </a:xfrm>
            <a:custGeom>
              <a:avLst/>
              <a:gdLst>
                <a:gd name="T0" fmla="*/ 69 w 69"/>
                <a:gd name="T1" fmla="*/ 2 h 32"/>
                <a:gd name="T2" fmla="*/ 28 w 69"/>
                <a:gd name="T3" fmla="*/ 16 h 32"/>
                <a:gd name="T4" fmla="*/ 28 w 69"/>
                <a:gd name="T5" fmla="*/ 0 h 32"/>
                <a:gd name="T6" fmla="*/ 33 w 69"/>
                <a:gd name="T7" fmla="*/ 0 h 32"/>
                <a:gd name="T8" fmla="*/ 69 w 69"/>
                <a:gd name="T9" fmla="*/ 2 h 32"/>
                <a:gd name="T10" fmla="*/ 29 w 69"/>
                <a:gd name="T11" fmla="*/ 32 h 32"/>
                <a:gd name="T12" fmla="*/ 29 w 69"/>
                <a:gd name="T13" fmla="*/ 17 h 32"/>
                <a:gd name="T14" fmla="*/ 0 w 69"/>
                <a:gd name="T15" fmla="*/ 30 h 32"/>
                <a:gd name="T16" fmla="*/ 29 w 69"/>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32">
                  <a:moveTo>
                    <a:pt x="69" y="2"/>
                  </a:moveTo>
                  <a:cubicBezTo>
                    <a:pt x="28" y="16"/>
                    <a:pt x="28" y="16"/>
                    <a:pt x="28" y="16"/>
                  </a:cubicBezTo>
                  <a:cubicBezTo>
                    <a:pt x="28" y="0"/>
                    <a:pt x="28" y="0"/>
                    <a:pt x="28" y="0"/>
                  </a:cubicBezTo>
                  <a:cubicBezTo>
                    <a:pt x="30" y="0"/>
                    <a:pt x="31" y="0"/>
                    <a:pt x="33" y="0"/>
                  </a:cubicBezTo>
                  <a:cubicBezTo>
                    <a:pt x="46" y="0"/>
                    <a:pt x="58" y="1"/>
                    <a:pt x="69" y="2"/>
                  </a:cubicBezTo>
                  <a:close/>
                  <a:moveTo>
                    <a:pt x="29" y="32"/>
                  </a:moveTo>
                  <a:cubicBezTo>
                    <a:pt x="29" y="17"/>
                    <a:pt x="29" y="17"/>
                    <a:pt x="29" y="17"/>
                  </a:cubicBezTo>
                  <a:cubicBezTo>
                    <a:pt x="0" y="30"/>
                    <a:pt x="0" y="30"/>
                    <a:pt x="0" y="30"/>
                  </a:cubicBezTo>
                  <a:cubicBezTo>
                    <a:pt x="9" y="31"/>
                    <a:pt x="19" y="32"/>
                    <a:pt x="29" y="32"/>
                  </a:cubicBezTo>
                  <a:close/>
                </a:path>
              </a:pathLst>
            </a:custGeom>
            <a:solidFill>
              <a:srgbClr val="607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Oval 511"/>
            <p:cNvSpPr>
              <a:spLocks noChangeArrowheads="1"/>
            </p:cNvSpPr>
            <p:nvPr/>
          </p:nvSpPr>
          <p:spPr bwMode="auto">
            <a:xfrm>
              <a:off x="1131" y="663"/>
              <a:ext cx="47" cy="1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512"/>
            <p:cNvSpPr>
              <a:spLocks/>
            </p:cNvSpPr>
            <p:nvPr/>
          </p:nvSpPr>
          <p:spPr bwMode="auto">
            <a:xfrm>
              <a:off x="1382" y="722"/>
              <a:ext cx="36" cy="20"/>
            </a:xfrm>
            <a:custGeom>
              <a:avLst/>
              <a:gdLst>
                <a:gd name="T0" fmla="*/ 15 w 18"/>
                <a:gd name="T1" fmla="*/ 10 h 10"/>
                <a:gd name="T2" fmla="*/ 18 w 18"/>
                <a:gd name="T3" fmla="*/ 0 h 10"/>
                <a:gd name="T4" fmla="*/ 0 w 18"/>
                <a:gd name="T5" fmla="*/ 0 h 10"/>
                <a:gd name="T6" fmla="*/ 15 w 18"/>
                <a:gd name="T7" fmla="*/ 10 h 10"/>
              </a:gdLst>
              <a:ahLst/>
              <a:cxnLst>
                <a:cxn ang="0">
                  <a:pos x="T0" y="T1"/>
                </a:cxn>
                <a:cxn ang="0">
                  <a:pos x="T2" y="T3"/>
                </a:cxn>
                <a:cxn ang="0">
                  <a:pos x="T4" y="T5"/>
                </a:cxn>
                <a:cxn ang="0">
                  <a:pos x="T6" y="T7"/>
                </a:cxn>
              </a:cxnLst>
              <a:rect l="0" t="0" r="r" b="b"/>
              <a:pathLst>
                <a:path w="18" h="10">
                  <a:moveTo>
                    <a:pt x="15" y="10"/>
                  </a:moveTo>
                  <a:cubicBezTo>
                    <a:pt x="17" y="7"/>
                    <a:pt x="18" y="4"/>
                    <a:pt x="18" y="0"/>
                  </a:cubicBezTo>
                  <a:cubicBezTo>
                    <a:pt x="0" y="0"/>
                    <a:pt x="0" y="0"/>
                    <a:pt x="0" y="0"/>
                  </a:cubicBezTo>
                  <a:lnTo>
                    <a:pt x="15" y="1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1" name="Freeform 513"/>
            <p:cNvSpPr>
              <a:spLocks/>
            </p:cNvSpPr>
            <p:nvPr/>
          </p:nvSpPr>
          <p:spPr bwMode="auto">
            <a:xfrm>
              <a:off x="1346" y="710"/>
              <a:ext cx="34" cy="14"/>
            </a:xfrm>
            <a:custGeom>
              <a:avLst/>
              <a:gdLst>
                <a:gd name="T0" fmla="*/ 1 w 17"/>
                <a:gd name="T1" fmla="*/ 0 h 7"/>
                <a:gd name="T2" fmla="*/ 0 w 17"/>
                <a:gd name="T3" fmla="*/ 6 h 7"/>
                <a:gd name="T4" fmla="*/ 0 w 17"/>
                <a:gd name="T5" fmla="*/ 7 h 7"/>
                <a:gd name="T6" fmla="*/ 17 w 17"/>
                <a:gd name="T7" fmla="*/ 7 h 7"/>
                <a:gd name="T8" fmla="*/ 1 w 17"/>
                <a:gd name="T9" fmla="*/ 0 h 7"/>
              </a:gdLst>
              <a:ahLst/>
              <a:cxnLst>
                <a:cxn ang="0">
                  <a:pos x="T0" y="T1"/>
                </a:cxn>
                <a:cxn ang="0">
                  <a:pos x="T2" y="T3"/>
                </a:cxn>
                <a:cxn ang="0">
                  <a:pos x="T4" y="T5"/>
                </a:cxn>
                <a:cxn ang="0">
                  <a:pos x="T6" y="T7"/>
                </a:cxn>
                <a:cxn ang="0">
                  <a:pos x="T8" y="T9"/>
                </a:cxn>
              </a:cxnLst>
              <a:rect l="0" t="0" r="r" b="b"/>
              <a:pathLst>
                <a:path w="17" h="7">
                  <a:moveTo>
                    <a:pt x="1" y="0"/>
                  </a:moveTo>
                  <a:cubicBezTo>
                    <a:pt x="0" y="2"/>
                    <a:pt x="0" y="4"/>
                    <a:pt x="0" y="6"/>
                  </a:cubicBezTo>
                  <a:cubicBezTo>
                    <a:pt x="0" y="7"/>
                    <a:pt x="0" y="7"/>
                    <a:pt x="0" y="7"/>
                  </a:cubicBezTo>
                  <a:cubicBezTo>
                    <a:pt x="17" y="7"/>
                    <a:pt x="17" y="7"/>
                    <a:pt x="17" y="7"/>
                  </a:cubicBezTo>
                  <a:lnTo>
                    <a:pt x="1"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Oval 514"/>
            <p:cNvSpPr>
              <a:spLocks noChangeArrowheads="1"/>
            </p:cNvSpPr>
            <p:nvPr/>
          </p:nvSpPr>
          <p:spPr bwMode="auto">
            <a:xfrm>
              <a:off x="1368" y="710"/>
              <a:ext cx="26" cy="2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3" name="Freeform 515"/>
            <p:cNvSpPr>
              <a:spLocks/>
            </p:cNvSpPr>
            <p:nvPr/>
          </p:nvSpPr>
          <p:spPr bwMode="auto">
            <a:xfrm>
              <a:off x="164" y="4275"/>
              <a:ext cx="523" cy="6"/>
            </a:xfrm>
            <a:custGeom>
              <a:avLst/>
              <a:gdLst>
                <a:gd name="T0" fmla="*/ 513 w 523"/>
                <a:gd name="T1" fmla="*/ 6 h 6"/>
                <a:gd name="T2" fmla="*/ 0 w 523"/>
                <a:gd name="T3" fmla="*/ 6 h 6"/>
                <a:gd name="T4" fmla="*/ 10 w 523"/>
                <a:gd name="T5" fmla="*/ 0 h 6"/>
                <a:gd name="T6" fmla="*/ 523 w 523"/>
                <a:gd name="T7" fmla="*/ 0 h 6"/>
                <a:gd name="T8" fmla="*/ 513 w 523"/>
                <a:gd name="T9" fmla="*/ 6 h 6"/>
              </a:gdLst>
              <a:ahLst/>
              <a:cxnLst>
                <a:cxn ang="0">
                  <a:pos x="T0" y="T1"/>
                </a:cxn>
                <a:cxn ang="0">
                  <a:pos x="T2" y="T3"/>
                </a:cxn>
                <a:cxn ang="0">
                  <a:pos x="T4" y="T5"/>
                </a:cxn>
                <a:cxn ang="0">
                  <a:pos x="T6" y="T7"/>
                </a:cxn>
                <a:cxn ang="0">
                  <a:pos x="T8" y="T9"/>
                </a:cxn>
              </a:cxnLst>
              <a:rect l="0" t="0" r="r" b="b"/>
              <a:pathLst>
                <a:path w="523" h="6">
                  <a:moveTo>
                    <a:pt x="513" y="6"/>
                  </a:moveTo>
                  <a:lnTo>
                    <a:pt x="0" y="6"/>
                  </a:lnTo>
                  <a:lnTo>
                    <a:pt x="10" y="0"/>
                  </a:lnTo>
                  <a:lnTo>
                    <a:pt x="523" y="0"/>
                  </a:lnTo>
                  <a:lnTo>
                    <a:pt x="513" y="6"/>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Freeform 516"/>
            <p:cNvSpPr>
              <a:spLocks/>
            </p:cNvSpPr>
            <p:nvPr/>
          </p:nvSpPr>
          <p:spPr bwMode="auto">
            <a:xfrm>
              <a:off x="304" y="4177"/>
              <a:ext cx="523" cy="8"/>
            </a:xfrm>
            <a:custGeom>
              <a:avLst/>
              <a:gdLst>
                <a:gd name="T0" fmla="*/ 513 w 523"/>
                <a:gd name="T1" fmla="*/ 8 h 8"/>
                <a:gd name="T2" fmla="*/ 0 w 523"/>
                <a:gd name="T3" fmla="*/ 8 h 8"/>
                <a:gd name="T4" fmla="*/ 10 w 523"/>
                <a:gd name="T5" fmla="*/ 0 h 8"/>
                <a:gd name="T6" fmla="*/ 523 w 523"/>
                <a:gd name="T7" fmla="*/ 0 h 8"/>
                <a:gd name="T8" fmla="*/ 513 w 523"/>
                <a:gd name="T9" fmla="*/ 8 h 8"/>
              </a:gdLst>
              <a:ahLst/>
              <a:cxnLst>
                <a:cxn ang="0">
                  <a:pos x="T0" y="T1"/>
                </a:cxn>
                <a:cxn ang="0">
                  <a:pos x="T2" y="T3"/>
                </a:cxn>
                <a:cxn ang="0">
                  <a:pos x="T4" y="T5"/>
                </a:cxn>
                <a:cxn ang="0">
                  <a:pos x="T6" y="T7"/>
                </a:cxn>
                <a:cxn ang="0">
                  <a:pos x="T8" y="T9"/>
                </a:cxn>
              </a:cxnLst>
              <a:rect l="0" t="0" r="r" b="b"/>
              <a:pathLst>
                <a:path w="523" h="8">
                  <a:moveTo>
                    <a:pt x="513" y="8"/>
                  </a:moveTo>
                  <a:lnTo>
                    <a:pt x="0" y="8"/>
                  </a:lnTo>
                  <a:lnTo>
                    <a:pt x="10" y="0"/>
                  </a:lnTo>
                  <a:lnTo>
                    <a:pt x="523" y="0"/>
                  </a:lnTo>
                  <a:lnTo>
                    <a:pt x="513" y="8"/>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Freeform 517"/>
            <p:cNvSpPr>
              <a:spLocks/>
            </p:cNvSpPr>
            <p:nvPr/>
          </p:nvSpPr>
          <p:spPr bwMode="auto">
            <a:xfrm>
              <a:off x="1926" y="4275"/>
              <a:ext cx="525" cy="6"/>
            </a:xfrm>
            <a:custGeom>
              <a:avLst/>
              <a:gdLst>
                <a:gd name="T0" fmla="*/ 11 w 525"/>
                <a:gd name="T1" fmla="*/ 6 h 6"/>
                <a:gd name="T2" fmla="*/ 525 w 525"/>
                <a:gd name="T3" fmla="*/ 6 h 6"/>
                <a:gd name="T4" fmla="*/ 515 w 525"/>
                <a:gd name="T5" fmla="*/ 0 h 6"/>
                <a:gd name="T6" fmla="*/ 0 w 525"/>
                <a:gd name="T7" fmla="*/ 0 h 6"/>
                <a:gd name="T8" fmla="*/ 11 w 525"/>
                <a:gd name="T9" fmla="*/ 6 h 6"/>
              </a:gdLst>
              <a:ahLst/>
              <a:cxnLst>
                <a:cxn ang="0">
                  <a:pos x="T0" y="T1"/>
                </a:cxn>
                <a:cxn ang="0">
                  <a:pos x="T2" y="T3"/>
                </a:cxn>
                <a:cxn ang="0">
                  <a:pos x="T4" y="T5"/>
                </a:cxn>
                <a:cxn ang="0">
                  <a:pos x="T6" y="T7"/>
                </a:cxn>
                <a:cxn ang="0">
                  <a:pos x="T8" y="T9"/>
                </a:cxn>
              </a:cxnLst>
              <a:rect l="0" t="0" r="r" b="b"/>
              <a:pathLst>
                <a:path w="525" h="6">
                  <a:moveTo>
                    <a:pt x="11" y="6"/>
                  </a:moveTo>
                  <a:lnTo>
                    <a:pt x="525" y="6"/>
                  </a:lnTo>
                  <a:lnTo>
                    <a:pt x="515" y="0"/>
                  </a:lnTo>
                  <a:lnTo>
                    <a:pt x="0" y="0"/>
                  </a:lnTo>
                  <a:lnTo>
                    <a:pt x="11" y="6"/>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Freeform 518"/>
            <p:cNvSpPr>
              <a:spLocks/>
            </p:cNvSpPr>
            <p:nvPr/>
          </p:nvSpPr>
          <p:spPr bwMode="auto">
            <a:xfrm>
              <a:off x="1786" y="4177"/>
              <a:ext cx="523" cy="8"/>
            </a:xfrm>
            <a:custGeom>
              <a:avLst/>
              <a:gdLst>
                <a:gd name="T0" fmla="*/ 10 w 523"/>
                <a:gd name="T1" fmla="*/ 8 h 8"/>
                <a:gd name="T2" fmla="*/ 523 w 523"/>
                <a:gd name="T3" fmla="*/ 8 h 8"/>
                <a:gd name="T4" fmla="*/ 513 w 523"/>
                <a:gd name="T5" fmla="*/ 0 h 8"/>
                <a:gd name="T6" fmla="*/ 0 w 523"/>
                <a:gd name="T7" fmla="*/ 0 h 8"/>
                <a:gd name="T8" fmla="*/ 10 w 523"/>
                <a:gd name="T9" fmla="*/ 8 h 8"/>
              </a:gdLst>
              <a:ahLst/>
              <a:cxnLst>
                <a:cxn ang="0">
                  <a:pos x="T0" y="T1"/>
                </a:cxn>
                <a:cxn ang="0">
                  <a:pos x="T2" y="T3"/>
                </a:cxn>
                <a:cxn ang="0">
                  <a:pos x="T4" y="T5"/>
                </a:cxn>
                <a:cxn ang="0">
                  <a:pos x="T6" y="T7"/>
                </a:cxn>
                <a:cxn ang="0">
                  <a:pos x="T8" y="T9"/>
                </a:cxn>
              </a:cxnLst>
              <a:rect l="0" t="0" r="r" b="b"/>
              <a:pathLst>
                <a:path w="523" h="8">
                  <a:moveTo>
                    <a:pt x="10" y="8"/>
                  </a:moveTo>
                  <a:lnTo>
                    <a:pt x="523" y="8"/>
                  </a:lnTo>
                  <a:lnTo>
                    <a:pt x="513" y="0"/>
                  </a:lnTo>
                  <a:lnTo>
                    <a:pt x="0" y="0"/>
                  </a:lnTo>
                  <a:lnTo>
                    <a:pt x="10" y="8"/>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Freeform 519"/>
            <p:cNvSpPr>
              <a:spLocks/>
            </p:cNvSpPr>
            <p:nvPr/>
          </p:nvSpPr>
          <p:spPr bwMode="auto">
            <a:xfrm>
              <a:off x="5141" y="1571"/>
              <a:ext cx="618" cy="93"/>
            </a:xfrm>
            <a:custGeom>
              <a:avLst/>
              <a:gdLst>
                <a:gd name="T0" fmla="*/ 287 w 309"/>
                <a:gd name="T1" fmla="*/ 0 h 46"/>
                <a:gd name="T2" fmla="*/ 265 w 309"/>
                <a:gd name="T3" fmla="*/ 17 h 46"/>
                <a:gd name="T4" fmla="*/ 6 w 309"/>
                <a:gd name="T5" fmla="*/ 17 h 46"/>
                <a:gd name="T6" fmla="*/ 0 w 309"/>
                <a:gd name="T7" fmla="*/ 23 h 46"/>
                <a:gd name="T8" fmla="*/ 6 w 309"/>
                <a:gd name="T9" fmla="*/ 29 h 46"/>
                <a:gd name="T10" fmla="*/ 265 w 309"/>
                <a:gd name="T11" fmla="*/ 29 h 46"/>
                <a:gd name="T12" fmla="*/ 287 w 309"/>
                <a:gd name="T13" fmla="*/ 46 h 46"/>
                <a:gd name="T14" fmla="*/ 309 w 309"/>
                <a:gd name="T15" fmla="*/ 23 h 46"/>
                <a:gd name="T16" fmla="*/ 287 w 30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46">
                  <a:moveTo>
                    <a:pt x="287" y="0"/>
                  </a:moveTo>
                  <a:cubicBezTo>
                    <a:pt x="276" y="0"/>
                    <a:pt x="268" y="8"/>
                    <a:pt x="265" y="17"/>
                  </a:cubicBezTo>
                  <a:cubicBezTo>
                    <a:pt x="6" y="17"/>
                    <a:pt x="6" y="17"/>
                    <a:pt x="6" y="17"/>
                  </a:cubicBezTo>
                  <a:cubicBezTo>
                    <a:pt x="2" y="17"/>
                    <a:pt x="0" y="20"/>
                    <a:pt x="0" y="23"/>
                  </a:cubicBezTo>
                  <a:cubicBezTo>
                    <a:pt x="0" y="26"/>
                    <a:pt x="2" y="29"/>
                    <a:pt x="6" y="29"/>
                  </a:cubicBezTo>
                  <a:cubicBezTo>
                    <a:pt x="265" y="29"/>
                    <a:pt x="265" y="29"/>
                    <a:pt x="265" y="29"/>
                  </a:cubicBezTo>
                  <a:cubicBezTo>
                    <a:pt x="268" y="39"/>
                    <a:pt x="276" y="46"/>
                    <a:pt x="287" y="46"/>
                  </a:cubicBezTo>
                  <a:cubicBezTo>
                    <a:pt x="299" y="46"/>
                    <a:pt x="309" y="36"/>
                    <a:pt x="309" y="23"/>
                  </a:cubicBezTo>
                  <a:cubicBezTo>
                    <a:pt x="309" y="11"/>
                    <a:pt x="299" y="0"/>
                    <a:pt x="287" y="0"/>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4" name="Straight Arrow Connector 3"/>
          <p:cNvCxnSpPr>
            <a:cxnSpLocks/>
          </p:cNvCxnSpPr>
          <p:nvPr/>
        </p:nvCxnSpPr>
        <p:spPr>
          <a:xfrm flipV="1">
            <a:off x="7646438" y="2054674"/>
            <a:ext cx="0" cy="951202"/>
          </a:xfrm>
          <a:prstGeom prst="straightConnector1">
            <a:avLst/>
          </a:prstGeom>
          <a:ln w="38100" cap="rnd">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cxnSpLocks/>
          </p:cNvCxnSpPr>
          <p:nvPr/>
        </p:nvCxnSpPr>
        <p:spPr>
          <a:xfrm>
            <a:off x="7774452" y="2059124"/>
            <a:ext cx="0" cy="944613"/>
          </a:xfrm>
          <a:prstGeom prst="straightConnector1">
            <a:avLst/>
          </a:prstGeom>
          <a:ln w="38100" cap="rnd">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p:cNvCxnSpPr>
            <a:cxnSpLocks/>
          </p:cNvCxnSpPr>
          <p:nvPr/>
        </p:nvCxnSpPr>
        <p:spPr>
          <a:xfrm flipV="1">
            <a:off x="2800351" y="3448388"/>
            <a:ext cx="4553927" cy="461794"/>
          </a:xfrm>
          <a:prstGeom prst="bentConnector3">
            <a:avLst>
              <a:gd name="adj1" fmla="val 50000"/>
            </a:avLst>
          </a:prstGeom>
          <a:ln w="38100" cap="rnd">
            <a:solidFill>
              <a:srgbClr val="FF8C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312326" y="3095334"/>
            <a:ext cx="2576427" cy="753770"/>
            <a:chOff x="267351" y="1275254"/>
            <a:chExt cx="2576427" cy="753770"/>
          </a:xfrm>
        </p:grpSpPr>
        <p:sp>
          <p:nvSpPr>
            <p:cNvPr id="11" name="Rectangle 10"/>
            <p:cNvSpPr/>
            <p:nvPr/>
          </p:nvSpPr>
          <p:spPr>
            <a:xfrm>
              <a:off x="267351" y="1475026"/>
              <a:ext cx="2576427" cy="553998"/>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Stores raw transactional data, demand forecasts, price elasticity calculations and price recommendations.</a:t>
              </a:r>
            </a:p>
          </p:txBody>
        </p:sp>
        <p:sp>
          <p:nvSpPr>
            <p:cNvPr id="12" name="Rectangle 11"/>
            <p:cNvSpPr/>
            <p:nvPr/>
          </p:nvSpPr>
          <p:spPr>
            <a:xfrm>
              <a:off x="273702" y="1275254"/>
              <a:ext cx="17265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Azure Data Lake Store</a:t>
              </a:r>
            </a:p>
          </p:txBody>
        </p:sp>
      </p:grpSp>
      <p:grpSp>
        <p:nvGrpSpPr>
          <p:cNvPr id="13" name="Group 12"/>
          <p:cNvGrpSpPr/>
          <p:nvPr/>
        </p:nvGrpSpPr>
        <p:grpSpPr>
          <a:xfrm>
            <a:off x="9880494" y="2231911"/>
            <a:ext cx="1833451" cy="761387"/>
            <a:chOff x="10130751" y="2879525"/>
            <a:chExt cx="1833451" cy="761387"/>
          </a:xfrm>
        </p:grpSpPr>
        <p:sp>
          <p:nvSpPr>
            <p:cNvPr id="14" name="Rectangle 13"/>
            <p:cNvSpPr/>
            <p:nvPr/>
          </p:nvSpPr>
          <p:spPr>
            <a:xfrm>
              <a:off x="10130751" y="3086914"/>
              <a:ext cx="1739907" cy="553998"/>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mn-ea"/>
                  <a:cs typeface="Segoe UI Semilight" panose="020B0402040204020203" pitchFamily="34" charset="0"/>
                </a:rPr>
                <a:t>Coordinates data transfer between HDInsight and Azure Data Lake Store.</a:t>
              </a:r>
            </a:p>
          </p:txBody>
        </p:sp>
        <p:sp>
          <p:nvSpPr>
            <p:cNvPr id="15" name="Rectangle 14"/>
            <p:cNvSpPr/>
            <p:nvPr/>
          </p:nvSpPr>
          <p:spPr>
            <a:xfrm>
              <a:off x="10137102" y="2879525"/>
              <a:ext cx="1827100" cy="276999"/>
            </a:xfrm>
            <a:prstGeom prst="rect">
              <a:avLst/>
            </a:prstGeom>
          </p:spPr>
          <p:txBody>
            <a:bodyPr wrap="square" anchor="b">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mn-ea"/>
                  <a:cs typeface="Segoe UI" panose="020B0502040204020203" pitchFamily="34" charset="0"/>
                </a:rPr>
                <a:t>Azure Data Factory</a:t>
              </a:r>
            </a:p>
          </p:txBody>
        </p:sp>
      </p:grpSp>
      <p:grpSp>
        <p:nvGrpSpPr>
          <p:cNvPr id="16" name="Group 15"/>
          <p:cNvGrpSpPr/>
          <p:nvPr/>
        </p:nvGrpSpPr>
        <p:grpSpPr>
          <a:xfrm>
            <a:off x="8305975" y="1343863"/>
            <a:ext cx="2582778" cy="599882"/>
            <a:chOff x="267351" y="1275254"/>
            <a:chExt cx="2582778" cy="599882"/>
          </a:xfrm>
        </p:grpSpPr>
        <p:sp>
          <p:nvSpPr>
            <p:cNvPr id="17" name="Rectangle 16"/>
            <p:cNvSpPr/>
            <p:nvPr/>
          </p:nvSpPr>
          <p:spPr>
            <a:xfrm>
              <a:off x="267351" y="1475026"/>
              <a:ext cx="2582778" cy="40011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Forecasts demand, calculates price elasticity and gives price recommendations</a:t>
              </a:r>
            </a:p>
          </p:txBody>
        </p:sp>
        <p:sp>
          <p:nvSpPr>
            <p:cNvPr id="18" name="Rectangle 17"/>
            <p:cNvSpPr/>
            <p:nvPr/>
          </p:nvSpPr>
          <p:spPr>
            <a:xfrm>
              <a:off x="273702" y="1275254"/>
              <a:ext cx="201864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Spark on HDInsight</a:t>
              </a:r>
            </a:p>
          </p:txBody>
        </p:sp>
      </p:grpSp>
      <p:grpSp>
        <p:nvGrpSpPr>
          <p:cNvPr id="19" name="Group 18"/>
          <p:cNvGrpSpPr/>
          <p:nvPr/>
        </p:nvGrpSpPr>
        <p:grpSpPr>
          <a:xfrm>
            <a:off x="5124304" y="4628705"/>
            <a:ext cx="1746297" cy="1061546"/>
            <a:chOff x="267351" y="1275254"/>
            <a:chExt cx="1746297" cy="1061546"/>
          </a:xfrm>
        </p:grpSpPr>
        <p:sp>
          <p:nvSpPr>
            <p:cNvPr id="20" name="Rectangle 19"/>
            <p:cNvSpPr/>
            <p:nvPr/>
          </p:nvSpPr>
          <p:spPr>
            <a:xfrm>
              <a:off x="267351" y="1475026"/>
              <a:ext cx="1746297" cy="861774"/>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Creates reports and visualizations based on the</a:t>
              </a:r>
              <a:b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1000" b="0" i="0" u="none" strike="noStrike" kern="1200" cap="none" spc="0" normalizeH="0" baseline="0" noProof="0" dirty="0">
                  <a:ln>
                    <a:noFill/>
                  </a:ln>
                  <a:solidFill>
                    <a:srgbClr val="282828"/>
                  </a:solidFill>
                  <a:effectLst/>
                  <a:uLnTx/>
                  <a:uFillTx/>
                  <a:latin typeface="Segoe UI Semilight" panose="020B0402040204020203" pitchFamily="34" charset="0"/>
                  <a:ea typeface="Segoe UI" pitchFamily="34" charset="0"/>
                  <a:cs typeface="Segoe UI Semilight" panose="020B0402040204020203" pitchFamily="34" charset="0"/>
                </a:rPr>
                <a:t>transactional data, forecasts, price elasticity and price recommendations</a:t>
              </a:r>
            </a:p>
          </p:txBody>
        </p:sp>
        <p:sp>
          <p:nvSpPr>
            <p:cNvPr id="21" name="Rectangle 20"/>
            <p:cNvSpPr/>
            <p:nvPr/>
          </p:nvSpPr>
          <p:spPr>
            <a:xfrm>
              <a:off x="273702" y="1275254"/>
              <a:ext cx="144961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panose="020B0502040204020203" pitchFamily="34" charset="0"/>
                  <a:ea typeface="Times New Roman" panose="02020603050405020304" pitchFamily="18" charset="0"/>
                  <a:cs typeface="Segoe UI" panose="020B0502040204020203" pitchFamily="34" charset="0"/>
                </a:rPr>
                <a:t>Power BI</a:t>
              </a:r>
            </a:p>
          </p:txBody>
        </p:sp>
      </p:grpSp>
      <p:cxnSp>
        <p:nvCxnSpPr>
          <p:cNvPr id="540" name="Connector: Elbow 539"/>
          <p:cNvCxnSpPr>
            <a:cxnSpLocks/>
          </p:cNvCxnSpPr>
          <p:nvPr/>
        </p:nvCxnSpPr>
        <p:spPr>
          <a:xfrm rot="5400000">
            <a:off x="6668431" y="4117402"/>
            <a:ext cx="1295923" cy="789781"/>
          </a:xfrm>
          <a:prstGeom prst="bentConnector3">
            <a:avLst>
              <a:gd name="adj1" fmla="val 100143"/>
            </a:avLst>
          </a:prstGeom>
          <a:ln w="38100" cap="rnd">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7" name="Rectangle 546"/>
          <p:cNvSpPr/>
          <p:nvPr/>
        </p:nvSpPr>
        <p:spPr>
          <a:xfrm>
            <a:off x="3057426" y="3542438"/>
            <a:ext cx="1955473" cy="276999"/>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Semilight" panose="020B0402040204020203" pitchFamily="34" charset="0"/>
                <a:ea typeface="Segoe UI" pitchFamily="34" charset="0"/>
                <a:cs typeface="Segoe UI Semilight" panose="020B0402040204020203" pitchFamily="34" charset="0"/>
              </a:rPr>
              <a:t>Historical transaction data </a:t>
            </a:r>
          </a:p>
        </p:txBody>
      </p:sp>
      <p:sp>
        <p:nvSpPr>
          <p:cNvPr id="538" name="Title 1"/>
          <p:cNvSpPr txBox="1">
            <a:spLocks/>
          </p:cNvSpPr>
          <p:nvPr/>
        </p:nvSpPr>
        <p:spPr>
          <a:xfrm>
            <a:off x="0" y="3975"/>
            <a:ext cx="12192000" cy="883395"/>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78D7">
                    <a:lumMod val="75000"/>
                  </a:srgbClr>
                </a:solidFill>
                <a:effectLst/>
                <a:uLnTx/>
                <a:uFillTx/>
                <a:latin typeface="Segoe UI Light"/>
                <a:ea typeface="+mn-ea"/>
                <a:cs typeface="Segoe UI" pitchFamily="34" charset="0"/>
              </a:rPr>
              <a:t>Solution Path</a:t>
            </a:r>
          </a:p>
        </p:txBody>
      </p:sp>
    </p:spTree>
    <p:extLst>
      <p:ext uri="{BB962C8B-B14F-4D97-AF65-F5344CB8AC3E}">
        <p14:creationId xmlns:p14="http://schemas.microsoft.com/office/powerpoint/2010/main" val="11704933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IoT Solutions - Composition</a:t>
            </a:r>
            <a:endParaRPr lang="en-US" sz="4000" dirty="0"/>
          </a:p>
        </p:txBody>
      </p:sp>
      <p:sp>
        <p:nvSpPr>
          <p:cNvPr id="17" name="cloud"/>
          <p:cNvSpPr>
            <a:spLocks noChangeAspect="1"/>
          </p:cNvSpPr>
          <p:nvPr/>
        </p:nvSpPr>
        <p:spPr bwMode="black">
          <a:xfrm>
            <a:off x="2990745" y="983010"/>
            <a:ext cx="9196438" cy="54499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40000"/>
              <a:lumOff val="6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843" rtlCol="0" anchor="ctr"/>
          <a:lstStyle/>
          <a:p>
            <a:pPr algn="ctr" defTabSz="914225">
              <a:lnSpc>
                <a:spcPct val="80000"/>
              </a:lnSpc>
              <a:defRPr/>
            </a:pPr>
            <a:endParaRPr lang="en-US" sz="4400" kern="0" spc="-150" dirty="0">
              <a:solidFill>
                <a:srgbClr val="FFFFFF"/>
              </a:solidFill>
              <a:latin typeface="Segoe UI Light"/>
            </a:endParaRPr>
          </a:p>
        </p:txBody>
      </p:sp>
      <p:cxnSp>
        <p:nvCxnSpPr>
          <p:cNvPr id="18" name="2 fg"/>
          <p:cNvCxnSpPr/>
          <p:nvPr/>
        </p:nvCxnSpPr>
        <p:spPr>
          <a:xfrm>
            <a:off x="863495" y="5159788"/>
            <a:ext cx="338694" cy="10453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9" name="2   Arrow fg"/>
          <p:cNvCxnSpPr/>
          <p:nvPr/>
        </p:nvCxnSpPr>
        <p:spPr>
          <a:xfrm>
            <a:off x="2037338" y="5494750"/>
            <a:ext cx="1593134" cy="317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 name="2 Arrow"/>
          <p:cNvCxnSpPr/>
          <p:nvPr/>
        </p:nvCxnSpPr>
        <p:spPr>
          <a:xfrm>
            <a:off x="867981" y="2267192"/>
            <a:ext cx="2780491" cy="1305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 name="2 Field Gateway"/>
          <p:cNvGrpSpPr/>
          <p:nvPr/>
        </p:nvGrpSpPr>
        <p:grpSpPr>
          <a:xfrm>
            <a:off x="1244125" y="4957680"/>
            <a:ext cx="768982" cy="1063458"/>
            <a:chOff x="1547306" y="5067599"/>
            <a:chExt cx="769091" cy="1063609"/>
          </a:xfrm>
        </p:grpSpPr>
        <p:sp>
          <p:nvSpPr>
            <p:cNvPr id="22" name="Rectangle 21"/>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Field Gateway</a:t>
              </a:r>
            </a:p>
          </p:txBody>
        </p:sp>
        <p:sp>
          <p:nvSpPr>
            <p:cNvPr id="23"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grpSp>
      <p:sp>
        <p:nvSpPr>
          <p:cNvPr id="24" name="2 Device"/>
          <p:cNvSpPr txBox="1"/>
          <p:nvPr/>
        </p:nvSpPr>
        <p:spPr>
          <a:xfrm>
            <a:off x="1225277" y="6100353"/>
            <a:ext cx="3583417"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pPr defTabSz="932418">
              <a:defRPr/>
            </a:pPr>
            <a:r>
              <a:rPr lang="en-US" kern="0" dirty="0">
                <a:solidFill>
                  <a:srgbClr val="FFFFFF"/>
                </a:solidFill>
                <a:latin typeface="Segoe UI"/>
              </a:rPr>
              <a:t>Device </a:t>
            </a:r>
          </a:p>
          <a:p>
            <a:pPr defTabSz="932418">
              <a:defRPr/>
            </a:pPr>
            <a:r>
              <a:rPr lang="en-US" kern="0" dirty="0">
                <a:solidFill>
                  <a:srgbClr val="FFFFFF"/>
                </a:solidFill>
                <a:latin typeface="Segoe UI"/>
              </a:rPr>
              <a:t>Connectivity &amp; Management</a:t>
            </a:r>
          </a:p>
        </p:txBody>
      </p:sp>
      <p:sp>
        <p:nvSpPr>
          <p:cNvPr id="25" name="3"/>
          <p:cNvSpPr txBox="1"/>
          <p:nvPr/>
        </p:nvSpPr>
        <p:spPr>
          <a:xfrm>
            <a:off x="5307659" y="6100353"/>
            <a:ext cx="3680910"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p>
            <a:pPr defTabSz="932418">
              <a:defRPr/>
            </a:pPr>
            <a:r>
              <a:rPr lang="en-US" sz="1600" kern="0" dirty="0">
                <a:solidFill>
                  <a:srgbClr val="FFFFFF"/>
                </a:solidFill>
                <a:latin typeface="Segoe UI"/>
              </a:rPr>
              <a:t>Analytics &amp; </a:t>
            </a:r>
          </a:p>
          <a:p>
            <a:pPr defTabSz="932418">
              <a:defRPr/>
            </a:pPr>
            <a:r>
              <a:rPr lang="en-US" sz="1600" kern="0" dirty="0">
                <a:solidFill>
                  <a:srgbClr val="FFFFFF"/>
                </a:solidFill>
                <a:latin typeface="Segoe UI"/>
              </a:rPr>
              <a:t>Operationalized Insights</a:t>
            </a:r>
          </a:p>
        </p:txBody>
      </p:sp>
      <p:sp>
        <p:nvSpPr>
          <p:cNvPr id="26" name="7 Presentation"/>
          <p:cNvSpPr txBox="1"/>
          <p:nvPr/>
        </p:nvSpPr>
        <p:spPr>
          <a:xfrm>
            <a:off x="9572116" y="6100353"/>
            <a:ext cx="2179059" cy="686886"/>
          </a:xfrm>
          <a:prstGeom prst="rect">
            <a:avLst/>
          </a:prstGeom>
          <a:gradFill>
            <a:gsLst>
              <a:gs pos="28000">
                <a:srgbClr val="5EB6DA"/>
              </a:gs>
              <a:gs pos="28000">
                <a:srgbClr val="3999C6"/>
              </a:gs>
            </a:gsLst>
            <a:lin ang="8100000" scaled="1"/>
          </a:gradFill>
        </p:spPr>
        <p:txBody>
          <a:bodyPr wrap="square" lIns="91427" tIns="91427" rIns="0" bIns="91427" rtlCol="0">
            <a:spAutoFit/>
          </a:bodyPr>
          <a:lstStyle>
            <a:defPPr>
              <a:defRPr lang="en-US"/>
            </a:defPPr>
            <a:lvl1pPr defTabSz="932597">
              <a:defRPr sz="1600">
                <a:solidFill>
                  <a:schemeClr val="bg2"/>
                </a:solidFill>
              </a:defRPr>
            </a:lvl1pPr>
          </a:lstStyle>
          <a:p>
            <a:pPr defTabSz="932418">
              <a:defRPr/>
            </a:pPr>
            <a:r>
              <a:rPr lang="en-US" kern="0" dirty="0">
                <a:solidFill>
                  <a:srgbClr val="FFFFFF"/>
                </a:solidFill>
                <a:latin typeface="Segoe UI"/>
              </a:rPr>
              <a:t>Presentation &amp; </a:t>
            </a:r>
          </a:p>
          <a:p>
            <a:pPr defTabSz="932418">
              <a:defRPr/>
            </a:pPr>
            <a:r>
              <a:rPr lang="en-US" kern="0" dirty="0">
                <a:solidFill>
                  <a:srgbClr val="FFFFFF"/>
                </a:solidFill>
                <a:latin typeface="Segoe UI"/>
              </a:rPr>
              <a:t>Business Connectivity</a:t>
            </a:r>
          </a:p>
        </p:txBody>
      </p:sp>
      <p:cxnSp>
        <p:nvCxnSpPr>
          <p:cNvPr id="27" name="Straight Arrow Connector 26"/>
          <p:cNvCxnSpPr/>
          <p:nvPr/>
        </p:nvCxnSpPr>
        <p:spPr>
          <a:xfrm>
            <a:off x="4808693" y="5125661"/>
            <a:ext cx="45713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p:cNvCxnSpPr/>
          <p:nvPr/>
        </p:nvCxnSpPr>
        <p:spPr>
          <a:xfrm>
            <a:off x="4808693" y="3834849"/>
            <a:ext cx="45713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p:cNvCxnSpPr/>
          <p:nvPr/>
        </p:nvCxnSpPr>
        <p:spPr>
          <a:xfrm>
            <a:off x="4808693" y="2620388"/>
            <a:ext cx="457135"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0" name="Straight Arrow Connector 29"/>
          <p:cNvCxnSpPr/>
          <p:nvPr/>
        </p:nvCxnSpPr>
        <p:spPr>
          <a:xfrm>
            <a:off x="9110869" y="5125661"/>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p:cNvCxnSpPr/>
          <p:nvPr/>
        </p:nvCxnSpPr>
        <p:spPr>
          <a:xfrm>
            <a:off x="9110869" y="3968799"/>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p:cNvCxnSpPr/>
          <p:nvPr/>
        </p:nvCxnSpPr>
        <p:spPr>
          <a:xfrm>
            <a:off x="9110869" y="2620388"/>
            <a:ext cx="365708"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33" name="1 Devices - sensors"/>
          <p:cNvGrpSpPr/>
          <p:nvPr/>
        </p:nvGrpSpPr>
        <p:grpSpPr>
          <a:xfrm>
            <a:off x="-26121" y="2043275"/>
            <a:ext cx="871063" cy="3991018"/>
            <a:chOff x="276880" y="1995491"/>
            <a:chExt cx="871188" cy="3991584"/>
          </a:xfrm>
        </p:grpSpPr>
        <p:sp>
          <p:nvSpPr>
            <p:cNvPr id="34" name="Rectangle 33"/>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35" name="TextBox 34"/>
            <p:cNvSpPr txBox="1"/>
            <p:nvPr/>
          </p:nvSpPr>
          <p:spPr>
            <a:xfrm rot="16200000">
              <a:off x="-1511456" y="3783827"/>
              <a:ext cx="3976839" cy="400167"/>
            </a:xfrm>
            <a:prstGeom prst="rect">
              <a:avLst/>
            </a:prstGeom>
            <a:noFill/>
            <a:ln>
              <a:noFill/>
              <a:headEnd type="none" w="med" len="med"/>
              <a:tailEnd type="none" w="med" len="med"/>
            </a:ln>
          </p:spPr>
          <p:txBody>
            <a:bodyPr wrap="square" lIns="0" tIns="0" rIns="0" bIns="0" rtlCol="0">
              <a:spAutoFit/>
            </a:bodyPr>
            <a:lstStyle/>
            <a:p>
              <a:pPr algn="ctr" defTabSz="932205">
                <a:defRPr/>
              </a:pPr>
              <a:r>
                <a:rPr lang="en-US" sz="1400" kern="0" spc="-38"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205">
                <a:defRPr/>
              </a:pPr>
              <a:r>
                <a:rPr lang="en-US" sz="1200" kern="0" spc="-38" dirty="0">
                  <a:solidFill>
                    <a:srgbClr val="FFFFFF"/>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36"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37" name="Rectangle 36"/>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38"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39" name="Rectangle 38"/>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0"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1" name="Rectangle 40"/>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2"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3" name="Rectangle 42"/>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4"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5" name="Rectangle 44"/>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6"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7" name="Rectangle 46"/>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48"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49" name="Rectangle 48"/>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0"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1" name="Rectangle 50"/>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2"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3" name="Rectangle 52"/>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4"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sp>
          <p:nvSpPr>
            <p:cNvPr id="55" name="Rectangle 54"/>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sp>
          <p:nvSpPr>
            <p:cNvPr id="56"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89" fontAlgn="base">
                <a:spcBef>
                  <a:spcPct val="0"/>
                </a:spcBef>
                <a:spcAft>
                  <a:spcPct val="0"/>
                </a:spcAft>
                <a:defRPr/>
              </a:pPr>
              <a:endParaRPr lang="en-US" sz="2353" kern="0" spc="-59" dirty="0">
                <a:solidFill>
                  <a:srgbClr val="FFFFFF"/>
                </a:solidFill>
                <a:latin typeface="Segoe UI"/>
                <a:ea typeface="Segoe UI" pitchFamily="34" charset="0"/>
                <a:cs typeface="Segoe UI" pitchFamily="34" charset="0"/>
              </a:endParaRPr>
            </a:p>
          </p:txBody>
        </p:sp>
      </p:grpSp>
      <p:grpSp>
        <p:nvGrpSpPr>
          <p:cNvPr id="57" name="3 Protocol Adaptation"/>
          <p:cNvGrpSpPr/>
          <p:nvPr/>
        </p:nvGrpSpPr>
        <p:grpSpPr>
          <a:xfrm>
            <a:off x="2815145" y="2430604"/>
            <a:ext cx="830270" cy="1062079"/>
            <a:chOff x="2503269" y="3539000"/>
            <a:chExt cx="901479" cy="1062230"/>
          </a:xfrm>
        </p:grpSpPr>
        <p:sp>
          <p:nvSpPr>
            <p:cNvPr id="58" name="Rectangle 57"/>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Protocol Adaptation</a:t>
              </a:r>
            </a:p>
          </p:txBody>
        </p:sp>
        <p:sp>
          <p:nvSpPr>
            <p:cNvPr id="5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6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cxnSp>
          <p:nvCxnSpPr>
            <p:cNvPr id="64" name="Elbow Connector 63"/>
            <p:cNvCxnSpPr>
              <a:stCxn id="59" idx="3"/>
              <a:endCxn id="6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60" idx="3"/>
              <a:endCxn id="6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1" idx="3"/>
              <a:endCxn id="6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3" idx="3"/>
              <a:endCxn id="6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4  Batch Analytics &amp; Visualizations"/>
          <p:cNvGrpSpPr/>
          <p:nvPr/>
        </p:nvGrpSpPr>
        <p:grpSpPr>
          <a:xfrm>
            <a:off x="5307660" y="2008446"/>
            <a:ext cx="3671587" cy="1204128"/>
            <a:chOff x="5450423" y="2008244"/>
            <a:chExt cx="3672108" cy="1204299"/>
          </a:xfrm>
        </p:grpSpPr>
        <p:sp>
          <p:nvSpPr>
            <p:cNvPr id="69" name="Rectangle 68"/>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old Path Analytics</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HDInsight, AzureML </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Data Lake, Data Lake Analytics</a:t>
              </a:r>
            </a:p>
          </p:txBody>
        </p:sp>
        <p:sp>
          <p:nvSpPr>
            <p:cNvPr id="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600" kern="0" spc="-50" dirty="0">
                <a:solidFill>
                  <a:srgbClr val="FFFFFF"/>
                </a:solidFill>
                <a:latin typeface="Segoe UI"/>
                <a:ea typeface="Segoe UI" pitchFamily="34" charset="0"/>
                <a:cs typeface="Segoe UI" pitchFamily="34" charset="0"/>
              </a:endParaRPr>
            </a:p>
          </p:txBody>
        </p:sp>
        <p:pic>
          <p:nvPicPr>
            <p:cNvPr id="71" name="Picture 70"/>
            <p:cNvPicPr>
              <a:picLocks noChangeAspect="1"/>
            </p:cNvPicPr>
            <p:nvPr/>
          </p:nvPicPr>
          <p:blipFill>
            <a:blip r:embed="rId9">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72" name="5 Hot Path Analytics"/>
          <p:cNvGrpSpPr/>
          <p:nvPr/>
        </p:nvGrpSpPr>
        <p:grpSpPr>
          <a:xfrm>
            <a:off x="5307659" y="3328747"/>
            <a:ext cx="3680910" cy="1276961"/>
            <a:chOff x="5450422" y="3278736"/>
            <a:chExt cx="3681432" cy="1184581"/>
          </a:xfrm>
        </p:grpSpPr>
        <p:sp>
          <p:nvSpPr>
            <p:cNvPr id="73" name="Rectangle 72"/>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zure Stream Analytics, Azure HDInsight Storm</a:t>
              </a:r>
            </a:p>
          </p:txBody>
        </p:sp>
        <p:pic>
          <p:nvPicPr>
            <p:cNvPr id="74" name="Picture 73"/>
            <p:cNvPicPr>
              <a:picLocks noChangeAspect="1"/>
            </p:cNvPicPr>
            <p:nvPr/>
          </p:nvPicPr>
          <p:blipFill>
            <a:blip r:embed="rId10">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75" name="Freeform 74"/>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grpSp>
          <p:nvGrpSpPr>
            <p:cNvPr id="76" name="Group 75"/>
            <p:cNvGrpSpPr/>
            <p:nvPr/>
          </p:nvGrpSpPr>
          <p:grpSpPr>
            <a:xfrm>
              <a:off x="8351817" y="3852488"/>
              <a:ext cx="490879" cy="404121"/>
              <a:chOff x="7675590" y="3471813"/>
              <a:chExt cx="577669" cy="475570"/>
            </a:xfrm>
          </p:grpSpPr>
          <p:sp>
            <p:nvSpPr>
              <p:cNvPr id="77" name="Freeform 76"/>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34289" bIns="34289" numCol="1" spcCol="0" rtlCol="0" fromWordArt="0" anchor="b" anchorCtr="0" forceAA="0" compatLnSpc="1">
                <a:prstTxWarp prst="textNoShape">
                  <a:avLst/>
                </a:prstTxWarp>
                <a:noAutofit/>
              </a:bodyPr>
              <a:lstStyle/>
              <a:p>
                <a:pPr algn="ctr" defTabSz="932227">
                  <a:defRPr/>
                </a:pPr>
                <a:endParaRPr lang="en-US" sz="800" kern="0" dirty="0">
                  <a:solidFill>
                    <a:srgbClr val="FFFFFF"/>
                  </a:solidFill>
                  <a:latin typeface="Segoe UI"/>
                  <a:ea typeface="Segoe UI" pitchFamily="34" charset="0"/>
                  <a:cs typeface="Segoe UI" pitchFamily="34" charset="0"/>
                </a:endParaRPr>
              </a:p>
            </p:txBody>
          </p:sp>
          <p:grpSp>
            <p:nvGrpSpPr>
              <p:cNvPr id="78" name="Group 77"/>
              <p:cNvGrpSpPr/>
              <p:nvPr/>
            </p:nvGrpSpPr>
            <p:grpSpPr>
              <a:xfrm>
                <a:off x="7782698" y="3571498"/>
                <a:ext cx="341279" cy="239441"/>
                <a:chOff x="9441838" y="3565088"/>
                <a:chExt cx="1231545" cy="864052"/>
              </a:xfrm>
              <a:solidFill>
                <a:schemeClr val="bg1"/>
              </a:solidFill>
            </p:grpSpPr>
            <p:sp>
              <p:nvSpPr>
                <p:cNvPr id="82" name="Oval 81"/>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defRPr/>
                  </a:pPr>
                  <a:endParaRPr lang="en-US" sz="800" kern="0" dirty="0">
                    <a:solidFill>
                      <a:srgbClr val="FFFFFF"/>
                    </a:solidFill>
                    <a:latin typeface="Segoe UI"/>
                    <a:ea typeface="Segoe UI" pitchFamily="34" charset="0"/>
                    <a:cs typeface="Segoe UI" pitchFamily="34" charset="0"/>
                  </a:endParaRPr>
                </a:p>
              </p:txBody>
            </p:sp>
            <p:sp>
              <p:nvSpPr>
                <p:cNvPr id="83" name="Oval 82"/>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defRPr/>
                  </a:pPr>
                  <a:endParaRPr lang="en-US" sz="800" kern="0" dirty="0">
                    <a:solidFill>
                      <a:srgbClr val="FFFFFF"/>
                    </a:solidFill>
                    <a:latin typeface="Segoe UI"/>
                    <a:ea typeface="Segoe UI" pitchFamily="34" charset="0"/>
                    <a:cs typeface="Segoe UI" pitchFamily="34" charset="0"/>
                  </a:endParaRPr>
                </a:p>
              </p:txBody>
            </p:sp>
          </p:grpSp>
          <p:sp>
            <p:nvSpPr>
              <p:cNvPr id="79" name="Freeform 78"/>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sp>
            <p:nvSpPr>
              <p:cNvPr id="80" name="Freeform 79"/>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sp>
            <p:nvSpPr>
              <p:cNvPr id="81" name="Freeform 80"/>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kern="0" dirty="0">
                  <a:solidFill>
                    <a:srgbClr val="FFFFFF"/>
                  </a:solidFill>
                  <a:latin typeface="Segoe UI"/>
                </a:endParaRPr>
              </a:p>
            </p:txBody>
          </p:sp>
        </p:grpSp>
      </p:grpSp>
      <p:grpSp>
        <p:nvGrpSpPr>
          <p:cNvPr id="84" name="8"/>
          <p:cNvGrpSpPr/>
          <p:nvPr/>
        </p:nvGrpSpPr>
        <p:grpSpPr>
          <a:xfrm>
            <a:off x="9572116" y="2010106"/>
            <a:ext cx="2185272" cy="3976275"/>
            <a:chOff x="9715484" y="2009904"/>
            <a:chExt cx="2185582" cy="3976839"/>
          </a:xfrm>
        </p:grpSpPr>
        <p:sp>
          <p:nvSpPr>
            <p:cNvPr id="85" name="Rectangle 84"/>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App Service, Websites</a:t>
              </a: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endParaRPr lang="en-US" sz="11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Logic Apps, BizTalk Services, Notification Hubs</a:t>
              </a:r>
            </a:p>
          </p:txBody>
        </p:sp>
        <p:sp>
          <p:nvSpPr>
            <p:cNvPr id="86" name="Freeform 85"/>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87"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pic>
          <p:nvPicPr>
            <p:cNvPr id="88" name="Picture 87"/>
            <p:cNvPicPr>
              <a:picLocks noChangeAspect="1"/>
            </p:cNvPicPr>
            <p:nvPr/>
          </p:nvPicPr>
          <p:blipFill>
            <a:blip r:embed="rId11"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89" name="Group 57"/>
            <p:cNvGrpSpPr>
              <a:grpSpLocks noChangeAspect="1"/>
            </p:cNvGrpSpPr>
            <p:nvPr/>
          </p:nvGrpSpPr>
          <p:grpSpPr bwMode="auto">
            <a:xfrm>
              <a:off x="9926638" y="3368675"/>
              <a:ext cx="777875" cy="800100"/>
              <a:chOff x="6253" y="2122"/>
              <a:chExt cx="490" cy="504"/>
            </a:xfrm>
          </p:grpSpPr>
          <p:sp>
            <p:nvSpPr>
              <p:cNvPr id="105"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6"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7"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8"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9"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0"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1"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2"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3"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14"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90" name="Group 69"/>
            <p:cNvGrpSpPr>
              <a:grpSpLocks noChangeAspect="1"/>
            </p:cNvGrpSpPr>
            <p:nvPr/>
          </p:nvGrpSpPr>
          <p:grpSpPr bwMode="auto">
            <a:xfrm>
              <a:off x="11045825" y="3357563"/>
              <a:ext cx="385763" cy="696912"/>
              <a:chOff x="6958" y="2115"/>
              <a:chExt cx="243" cy="439"/>
            </a:xfrm>
          </p:grpSpPr>
          <p:sp>
            <p:nvSpPr>
              <p:cNvPr id="98"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9"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0"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1"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2"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3"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04"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nvGrpSpPr>
            <p:cNvPr id="91" name="Group 78"/>
            <p:cNvGrpSpPr>
              <a:grpSpLocks noChangeAspect="1"/>
            </p:cNvGrpSpPr>
            <p:nvPr/>
          </p:nvGrpSpPr>
          <p:grpSpPr bwMode="auto">
            <a:xfrm>
              <a:off x="10161588" y="2198688"/>
              <a:ext cx="1373187" cy="590550"/>
              <a:chOff x="6401" y="1385"/>
              <a:chExt cx="865" cy="372"/>
            </a:xfrm>
          </p:grpSpPr>
          <p:sp>
            <p:nvSpPr>
              <p:cNvPr id="9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9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grpSp>
        <p:nvGrpSpPr>
          <p:cNvPr id="115" name="6 Hot Path Business Logic"/>
          <p:cNvGrpSpPr/>
          <p:nvPr/>
        </p:nvGrpSpPr>
        <p:grpSpPr>
          <a:xfrm>
            <a:off x="5307659" y="4672028"/>
            <a:ext cx="3673174" cy="1322849"/>
            <a:chOff x="5450422" y="4485437"/>
            <a:chExt cx="3673695" cy="1201144"/>
          </a:xfrm>
        </p:grpSpPr>
        <p:sp>
          <p:nvSpPr>
            <p:cNvPr id="116" name="Rectangle 115"/>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Service Fabric &amp; Actor Framework</a:t>
              </a:r>
            </a:p>
          </p:txBody>
        </p:sp>
        <p:pic>
          <p:nvPicPr>
            <p:cNvPr id="117" name="Picture 116"/>
            <p:cNvPicPr>
              <a:picLocks noChangeAspect="1"/>
            </p:cNvPicPr>
            <p:nvPr/>
          </p:nvPicPr>
          <p:blipFill>
            <a:blip r:embed="rId10">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18" name="2 Cloud Gateway"/>
          <p:cNvGrpSpPr/>
          <p:nvPr/>
        </p:nvGrpSpPr>
        <p:grpSpPr>
          <a:xfrm>
            <a:off x="3650831" y="2010106"/>
            <a:ext cx="1150505" cy="3976275"/>
            <a:chOff x="3791485" y="2035023"/>
            <a:chExt cx="1150668" cy="3976839"/>
          </a:xfrm>
        </p:grpSpPr>
        <p:sp>
          <p:nvSpPr>
            <p:cNvPr id="119" name="Rectangle 118"/>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defRPr/>
              </a:pPr>
              <a:r>
                <a:rPr lang="en-US" sz="11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573" fontAlgn="base">
                <a:lnSpc>
                  <a:spcPct val="90000"/>
                </a:lnSpc>
                <a:spcBef>
                  <a:spcPct val="0"/>
                </a:spcBef>
                <a:defRPr/>
              </a:pPr>
              <a:endParaRPr lang="en-US" sz="800" kern="0" dirty="0">
                <a:solidFill>
                  <a:srgbClr val="FFFFFF"/>
                </a:solidFill>
                <a:latin typeface="Segoe UI Semibold" panose="020B0702040204020203" pitchFamily="34" charset="0"/>
                <a:ea typeface="Segoe UI" pitchFamily="34" charset="0"/>
                <a:cs typeface="Segoe UI" pitchFamily="34" charset="0"/>
              </a:endParaRPr>
            </a:p>
            <a:p>
              <a:pPr defTabSz="913573" fontAlgn="base">
                <a:lnSpc>
                  <a:spcPct val="90000"/>
                </a:lnSpc>
                <a:spcBef>
                  <a:spcPct val="0"/>
                </a:spcBef>
                <a:defRPr/>
              </a:pPr>
              <a:r>
                <a:rPr lang="en-US" sz="1100" kern="0" dirty="0">
                  <a:solidFill>
                    <a:srgbClr val="FFFFFF"/>
                  </a:solidFill>
                  <a:latin typeface="Segoe UI Semibold" panose="020B0702040204020203" pitchFamily="34" charset="0"/>
                  <a:ea typeface="Segoe UI" pitchFamily="34" charset="0"/>
                  <a:cs typeface="Segoe UI" pitchFamily="34" charset="0"/>
                </a:rPr>
                <a:t>IoT Hub</a:t>
              </a:r>
            </a:p>
          </p:txBody>
        </p:sp>
        <p:grpSp>
          <p:nvGrpSpPr>
            <p:cNvPr id="120" name="Group 119"/>
            <p:cNvGrpSpPr/>
            <p:nvPr/>
          </p:nvGrpSpPr>
          <p:grpSpPr>
            <a:xfrm>
              <a:off x="3937962" y="4220312"/>
              <a:ext cx="828568" cy="927456"/>
              <a:chOff x="3889806" y="5487539"/>
              <a:chExt cx="981584" cy="1503221"/>
            </a:xfrm>
          </p:grpSpPr>
          <p:grpSp>
            <p:nvGrpSpPr>
              <p:cNvPr id="121" name="Group 120"/>
              <p:cNvGrpSpPr/>
              <p:nvPr/>
            </p:nvGrpSpPr>
            <p:grpSpPr>
              <a:xfrm>
                <a:off x="4088810" y="5729796"/>
                <a:ext cx="640698" cy="978963"/>
                <a:chOff x="3994663" y="7008709"/>
                <a:chExt cx="745465" cy="1374671"/>
              </a:xfrm>
            </p:grpSpPr>
            <p:sp>
              <p:nvSpPr>
                <p:cNvPr id="124" name="Rectangle 123"/>
                <p:cNvSpPr/>
                <p:nvPr>
                  <p:custDataLst>
                    <p:tags r:id="rId1"/>
                  </p:custDataLst>
                </p:nvPr>
              </p:nvSpPr>
              <p:spPr bwMode="auto">
                <a:xfrm>
                  <a:off x="3994666" y="7008709"/>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5" name="Rectangle 124"/>
                <p:cNvSpPr/>
                <p:nvPr>
                  <p:custDataLst>
                    <p:tags r:id="rId2"/>
                  </p:custDataLst>
                </p:nvPr>
              </p:nvSpPr>
              <p:spPr bwMode="auto">
                <a:xfrm>
                  <a:off x="4285373" y="726272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6" name="Rectangle 125"/>
                <p:cNvSpPr/>
                <p:nvPr>
                  <p:custDataLst>
                    <p:tags r:id="rId3"/>
                  </p:custDataLst>
                </p:nvPr>
              </p:nvSpPr>
              <p:spPr bwMode="auto">
                <a:xfrm>
                  <a:off x="3994666" y="7513163"/>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7" name="Rectangle 126"/>
                <p:cNvSpPr/>
                <p:nvPr>
                  <p:custDataLst>
                    <p:tags r:id="rId4"/>
                  </p:custDataLst>
                </p:nvPr>
              </p:nvSpPr>
              <p:spPr bwMode="auto">
                <a:xfrm>
                  <a:off x="4285373" y="7799841"/>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8" name="Rectangle 127"/>
                <p:cNvSpPr/>
                <p:nvPr>
                  <p:custDataLst>
                    <p:tags r:id="rId5"/>
                  </p:custDataLst>
                </p:nvPr>
              </p:nvSpPr>
              <p:spPr bwMode="auto">
                <a:xfrm>
                  <a:off x="3994663" y="801762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sp>
              <p:nvSpPr>
                <p:cNvPr id="129" name="Rectangle 128"/>
                <p:cNvSpPr/>
                <p:nvPr>
                  <p:custDataLst>
                    <p:tags r:id="rId6"/>
                  </p:custDataLst>
                </p:nvPr>
              </p:nvSpPr>
              <p:spPr bwMode="auto">
                <a:xfrm>
                  <a:off x="4557249" y="7511750"/>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defTabSz="932227">
                    <a:defRPr/>
                  </a:pPr>
                  <a:endParaRPr lang="en-US" sz="1500" kern="0" dirty="0">
                    <a:solidFill>
                      <a:srgbClr val="FFFFFF"/>
                    </a:solidFill>
                    <a:latin typeface="Segoe UI"/>
                    <a:ea typeface="Segoe UI" pitchFamily="34" charset="0"/>
                    <a:cs typeface="Segoe UI" pitchFamily="34" charset="0"/>
                  </a:endParaRPr>
                </a:p>
              </p:txBody>
            </p:sp>
          </p:grpSp>
          <p:sp>
            <p:nvSpPr>
              <p:cNvPr id="122" name="Freeform 121"/>
              <p:cNvSpPr/>
              <p:nvPr/>
            </p:nvSpPr>
            <p:spPr bwMode="auto">
              <a:xfrm rot="5400000">
                <a:off x="4215162" y="5164755"/>
                <a:ext cx="333444" cy="979012"/>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23" name="Freeform 122"/>
              <p:cNvSpPr/>
              <p:nvPr/>
            </p:nvSpPr>
            <p:spPr bwMode="auto">
              <a:xfrm rot="16200000" flipV="1">
                <a:off x="4212592" y="6334530"/>
                <a:ext cx="333444" cy="97901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grpSp>
      </p:grpSp>
      <p:pic>
        <p:nvPicPr>
          <p:cNvPr id="130" name="Picture 12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23441" y="5398737"/>
            <a:ext cx="384191" cy="384191"/>
          </a:xfrm>
          <a:prstGeom prst="rect">
            <a:avLst/>
          </a:prstGeom>
        </p:spPr>
      </p:pic>
      <p:cxnSp>
        <p:nvCxnSpPr>
          <p:cNvPr id="131" name="2 fg"/>
          <p:cNvCxnSpPr/>
          <p:nvPr/>
        </p:nvCxnSpPr>
        <p:spPr>
          <a:xfrm flipV="1">
            <a:off x="859721" y="5514965"/>
            <a:ext cx="345574" cy="357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2" name="2 fg"/>
          <p:cNvCxnSpPr/>
          <p:nvPr/>
        </p:nvCxnSpPr>
        <p:spPr>
          <a:xfrm flipV="1">
            <a:off x="854152" y="5764214"/>
            <a:ext cx="339996" cy="11240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33" name="2 fg"/>
          <p:cNvCxnSpPr/>
          <p:nvPr/>
        </p:nvCxnSpPr>
        <p:spPr>
          <a:xfrm flipV="1">
            <a:off x="861204" y="4597321"/>
            <a:ext cx="333684" cy="20010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134" name="2 Field Gateway"/>
          <p:cNvGrpSpPr/>
          <p:nvPr/>
        </p:nvGrpSpPr>
        <p:grpSpPr>
          <a:xfrm>
            <a:off x="1242157" y="3692623"/>
            <a:ext cx="768982" cy="1063458"/>
            <a:chOff x="1547306" y="5067599"/>
            <a:chExt cx="769091" cy="1063609"/>
          </a:xfrm>
        </p:grpSpPr>
        <p:sp>
          <p:nvSpPr>
            <p:cNvPr id="135" name="Rectangle 13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Field Gateway</a:t>
              </a:r>
            </a:p>
          </p:txBody>
        </p:sp>
        <p:sp>
          <p:nvSpPr>
            <p:cNvPr id="13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kern="0" spc="-50" dirty="0">
                <a:solidFill>
                  <a:srgbClr val="FFFFFF"/>
                </a:solidFill>
                <a:latin typeface="Segoe UI"/>
                <a:ea typeface="Segoe UI" pitchFamily="34" charset="0"/>
                <a:cs typeface="Segoe UI" pitchFamily="34" charset="0"/>
              </a:endParaRPr>
            </a:p>
          </p:txBody>
        </p:sp>
      </p:grpSp>
      <p:grpSp>
        <p:nvGrpSpPr>
          <p:cNvPr id="137" name="3 Protocol Adaptation"/>
          <p:cNvGrpSpPr/>
          <p:nvPr/>
        </p:nvGrpSpPr>
        <p:grpSpPr>
          <a:xfrm>
            <a:off x="2006900" y="3694000"/>
            <a:ext cx="808245" cy="1062079"/>
            <a:chOff x="2505117" y="3539000"/>
            <a:chExt cx="877565" cy="1062230"/>
          </a:xfrm>
        </p:grpSpPr>
        <p:sp>
          <p:nvSpPr>
            <p:cNvPr id="138" name="Rectangle 137"/>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41"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kern="0" dirty="0">
                  <a:solidFill>
                    <a:srgbClr val="FFFFFF"/>
                  </a:solidFill>
                  <a:latin typeface="Segoe UI Semibold" panose="020B0702040204020203" pitchFamily="34" charset="0"/>
                  <a:ea typeface="Segoe UI" pitchFamily="34" charset="0"/>
                  <a:cs typeface="Segoe UI" pitchFamily="34" charset="0"/>
                </a:rPr>
                <a:t>Protocol Adaptation</a:t>
              </a:r>
            </a:p>
          </p:txBody>
        </p:sp>
        <p:sp>
          <p:nvSpPr>
            <p:cNvPr id="139"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0"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1"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2"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sp>
          <p:nvSpPr>
            <p:cNvPr id="143"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FFFFFF"/>
                </a:solidFill>
                <a:latin typeface="Segoe UI"/>
              </a:endParaRPr>
            </a:p>
          </p:txBody>
        </p:sp>
        <p:cxnSp>
          <p:nvCxnSpPr>
            <p:cNvPr id="144" name="Elbow Connector 143"/>
            <p:cNvCxnSpPr>
              <a:stCxn id="139" idx="3"/>
              <a:endCxn id="142"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42"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41" idx="3"/>
              <a:endCxn id="142"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Elbow Connector 146"/>
            <p:cNvCxnSpPr>
              <a:stCxn id="143" idx="3"/>
              <a:endCxn id="142"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8" name="2   Arrow fg"/>
          <p:cNvCxnSpPr/>
          <p:nvPr/>
        </p:nvCxnSpPr>
        <p:spPr>
          <a:xfrm>
            <a:off x="2833760" y="4229134"/>
            <a:ext cx="765476" cy="221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49" name="2   Arrow fg"/>
          <p:cNvCxnSpPr/>
          <p:nvPr/>
        </p:nvCxnSpPr>
        <p:spPr>
          <a:xfrm flipV="1">
            <a:off x="867917" y="2998674"/>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0" name="2   Arrow fg"/>
          <p:cNvCxnSpPr/>
          <p:nvPr/>
        </p:nvCxnSpPr>
        <p:spPr>
          <a:xfrm flipV="1">
            <a:off x="867916" y="2643855"/>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1" name="2   Arrow fg"/>
          <p:cNvCxnSpPr/>
          <p:nvPr/>
        </p:nvCxnSpPr>
        <p:spPr>
          <a:xfrm flipV="1">
            <a:off x="867916" y="3344906"/>
            <a:ext cx="1908778" cy="262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2" name="2 fg"/>
          <p:cNvCxnSpPr/>
          <p:nvPr/>
        </p:nvCxnSpPr>
        <p:spPr>
          <a:xfrm>
            <a:off x="863769" y="3719719"/>
            <a:ext cx="325613" cy="16006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3" name="2 fg"/>
          <p:cNvCxnSpPr/>
          <p:nvPr/>
        </p:nvCxnSpPr>
        <p:spPr>
          <a:xfrm>
            <a:off x="867169" y="4092838"/>
            <a:ext cx="326980" cy="5813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4" name="2 fg"/>
          <p:cNvCxnSpPr/>
          <p:nvPr/>
        </p:nvCxnSpPr>
        <p:spPr>
          <a:xfrm flipV="1">
            <a:off x="869676" y="4373036"/>
            <a:ext cx="319705" cy="8693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55" name="Picture 154"/>
          <p:cNvPicPr>
            <a:picLocks noChangeAspect="1"/>
          </p:cNvPicPr>
          <p:nvPr/>
        </p:nvPicPr>
        <p:blipFill rotWithShape="1">
          <a:blip r:embed="rId13"/>
          <a:srcRect l="4124" t="4367" r="3458" b="2343"/>
          <a:stretch/>
        </p:blipFill>
        <p:spPr>
          <a:xfrm>
            <a:off x="9772731" y="2927760"/>
            <a:ext cx="227552" cy="228697"/>
          </a:xfrm>
          <a:prstGeom prst="rect">
            <a:avLst/>
          </a:prstGeom>
        </p:spPr>
      </p:pic>
      <p:sp>
        <p:nvSpPr>
          <p:cNvPr id="156" name="Rectangle 155"/>
          <p:cNvSpPr/>
          <p:nvPr/>
        </p:nvSpPr>
        <p:spPr>
          <a:xfrm>
            <a:off x="10023083" y="2921478"/>
            <a:ext cx="761639" cy="264972"/>
          </a:xfrm>
          <a:prstGeom prst="rect">
            <a:avLst/>
          </a:prstGeom>
        </p:spPr>
        <p:txBody>
          <a:bodyPr wrap="none">
            <a:spAutoFit/>
          </a:bodyPr>
          <a:lstStyle/>
          <a:p>
            <a:pPr defTabSz="914225">
              <a:defRPr/>
            </a:pPr>
            <a:r>
              <a:rPr lang="en-US" sz="1100" kern="0" dirty="0">
                <a:solidFill>
                  <a:srgbClr val="FFFFFF"/>
                </a:solidFill>
                <a:latin typeface="Segoe UI Semibold" panose="020B0702040204020203" pitchFamily="34" charset="0"/>
                <a:ea typeface="Segoe UI" pitchFamily="34" charset="0"/>
                <a:cs typeface="Segoe UI" pitchFamily="34" charset="0"/>
              </a:rPr>
              <a:t>Power BI</a:t>
            </a:r>
            <a:endParaRPr lang="en-US" sz="1100" kern="0" dirty="0">
              <a:solidFill>
                <a:srgbClr val="FFFFFF"/>
              </a:solidFill>
              <a:latin typeface="Segoe UI"/>
            </a:endParaRPr>
          </a:p>
        </p:txBody>
      </p:sp>
      <p:sp>
        <p:nvSpPr>
          <p:cNvPr id="158" name="Rectangle 157"/>
          <p:cNvSpPr/>
          <p:nvPr/>
        </p:nvSpPr>
        <p:spPr bwMode="auto">
          <a:xfrm rot="16200000">
            <a:off x="7320235" y="-2527638"/>
            <a:ext cx="800419" cy="8105766"/>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27" tIns="91427" rIns="0" bIns="91401" numCol="1" spcCol="0" rtlCol="0" fromWordArt="0" anchor="b" anchorCtr="0" forceAA="0" compatLnSpc="1">
            <a:prstTxWarp prst="textNoShape">
              <a:avLst/>
            </a:prstTxWarp>
            <a:noAutofit/>
          </a:bodyPr>
          <a:lstStyle/>
          <a:p>
            <a:pPr defTabSz="913573" fontAlgn="base">
              <a:lnSpc>
                <a:spcPct val="90000"/>
              </a:lnSpc>
              <a:spcBef>
                <a:spcPct val="0"/>
              </a:spcBef>
              <a:spcAft>
                <a:spcPts val="600"/>
              </a:spcAft>
              <a:defRPr/>
            </a:pPr>
            <a:r>
              <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IoT Solutions</a:t>
            </a:r>
          </a:p>
          <a:p>
            <a:pPr defTabSz="913573" fontAlgn="base">
              <a:lnSpc>
                <a:spcPct val="90000"/>
              </a:lnSpc>
              <a:spcBef>
                <a:spcPct val="0"/>
              </a:spcBef>
              <a:spcAft>
                <a:spcPts val="600"/>
              </a:spcAft>
              <a:defRPr/>
            </a:pPr>
            <a:endPar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a:p>
            <a:pPr defTabSz="913573" fontAlgn="base">
              <a:lnSpc>
                <a:spcPct val="90000"/>
              </a:lnSpc>
              <a:spcBef>
                <a:spcPct val="0"/>
              </a:spcBef>
              <a:spcAft>
                <a:spcPts val="600"/>
              </a:spcAft>
              <a:defRPr/>
            </a:pPr>
            <a:endParaRPr lang="en-US" sz="1100" b="1"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819961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0" presetClass="entr" presetSubtype="0" fill="hold" nodeType="withEffect">
                                  <p:stCondLst>
                                    <p:cond delay="0"/>
                                  </p:stCondLst>
                                  <p:childTnLst>
                                    <p:set>
                                      <p:cBhvr>
                                        <p:cTn id="27" dur="1" fill="hold">
                                          <p:stCondLst>
                                            <p:cond delay="0"/>
                                          </p:stCondLst>
                                        </p:cTn>
                                        <p:tgtEl>
                                          <p:spTgt spid="131"/>
                                        </p:tgtEl>
                                        <p:attrNameLst>
                                          <p:attrName>style.visibility</p:attrName>
                                        </p:attrNameLst>
                                      </p:cBhvr>
                                      <p:to>
                                        <p:strVal val="visible"/>
                                      </p:to>
                                    </p:set>
                                    <p:animEffect transition="in" filter="fade">
                                      <p:cBhvr>
                                        <p:cTn id="28" dur="500"/>
                                        <p:tgtEl>
                                          <p:spTgt spid="131"/>
                                        </p:tgtEl>
                                      </p:cBhvr>
                                    </p:animEffect>
                                  </p:childTnLst>
                                </p:cTn>
                              </p:par>
                              <p:par>
                                <p:cTn id="29" presetID="10" presetClass="entr" presetSubtype="0" fill="hold" nodeType="withEffect">
                                  <p:stCondLst>
                                    <p:cond delay="0"/>
                                  </p:stCondLst>
                                  <p:childTnLst>
                                    <p:set>
                                      <p:cBhvr>
                                        <p:cTn id="30" dur="1" fill="hold">
                                          <p:stCondLst>
                                            <p:cond delay="0"/>
                                          </p:stCondLst>
                                        </p:cTn>
                                        <p:tgtEl>
                                          <p:spTgt spid="132"/>
                                        </p:tgtEl>
                                        <p:attrNameLst>
                                          <p:attrName>style.visibility</p:attrName>
                                        </p:attrNameLst>
                                      </p:cBhvr>
                                      <p:to>
                                        <p:strVal val="visible"/>
                                      </p:to>
                                    </p:set>
                                    <p:animEffect transition="in" filter="fade">
                                      <p:cBhvr>
                                        <p:cTn id="31" dur="500"/>
                                        <p:tgtEl>
                                          <p:spTgt spid="132"/>
                                        </p:tgtEl>
                                      </p:cBhvr>
                                    </p:animEffect>
                                  </p:childTnLst>
                                </p:cTn>
                              </p:par>
                              <p:par>
                                <p:cTn id="32" presetID="10" presetClass="entr" presetSubtype="0" fill="hold" nodeType="withEffect">
                                  <p:stCondLst>
                                    <p:cond delay="0"/>
                                  </p:stCondLst>
                                  <p:childTnLst>
                                    <p:set>
                                      <p:cBhvr>
                                        <p:cTn id="33" dur="1" fill="hold">
                                          <p:stCondLst>
                                            <p:cond delay="0"/>
                                          </p:stCondLst>
                                        </p:cTn>
                                        <p:tgtEl>
                                          <p:spTgt spid="133"/>
                                        </p:tgtEl>
                                        <p:attrNameLst>
                                          <p:attrName>style.visibility</p:attrName>
                                        </p:attrNameLst>
                                      </p:cBhvr>
                                      <p:to>
                                        <p:strVal val="visible"/>
                                      </p:to>
                                    </p:set>
                                    <p:animEffect transition="in" filter="fade">
                                      <p:cBhvr>
                                        <p:cTn id="34" dur="500"/>
                                        <p:tgtEl>
                                          <p:spTgt spid="133"/>
                                        </p:tgtEl>
                                      </p:cBhvr>
                                    </p:animEffect>
                                  </p:childTnLst>
                                </p:cTn>
                              </p:par>
                              <p:par>
                                <p:cTn id="35" presetID="10" presetClass="entr" presetSubtype="0" fill="hold" nodeType="withEffect">
                                  <p:stCondLst>
                                    <p:cond delay="0"/>
                                  </p:stCondLst>
                                  <p:childTnLst>
                                    <p:set>
                                      <p:cBhvr>
                                        <p:cTn id="36" dur="1" fill="hold">
                                          <p:stCondLst>
                                            <p:cond delay="0"/>
                                          </p:stCondLst>
                                        </p:cTn>
                                        <p:tgtEl>
                                          <p:spTgt spid="134"/>
                                        </p:tgtEl>
                                        <p:attrNameLst>
                                          <p:attrName>style.visibility</p:attrName>
                                        </p:attrNameLst>
                                      </p:cBhvr>
                                      <p:to>
                                        <p:strVal val="visible"/>
                                      </p:to>
                                    </p:set>
                                    <p:animEffect transition="in" filter="fade">
                                      <p:cBhvr>
                                        <p:cTn id="37" dur="500"/>
                                        <p:tgtEl>
                                          <p:spTgt spid="134"/>
                                        </p:tgtEl>
                                      </p:cBhvr>
                                    </p:animEffect>
                                  </p:childTnLst>
                                </p:cTn>
                              </p:par>
                              <p:par>
                                <p:cTn id="38" presetID="10" presetClass="entr" presetSubtype="0" fill="hold" nodeType="withEffect">
                                  <p:stCondLst>
                                    <p:cond delay="0"/>
                                  </p:stCondLst>
                                  <p:childTnLst>
                                    <p:set>
                                      <p:cBhvr>
                                        <p:cTn id="39" dur="1" fill="hold">
                                          <p:stCondLst>
                                            <p:cond delay="0"/>
                                          </p:stCondLst>
                                        </p:cTn>
                                        <p:tgtEl>
                                          <p:spTgt spid="137"/>
                                        </p:tgtEl>
                                        <p:attrNameLst>
                                          <p:attrName>style.visibility</p:attrName>
                                        </p:attrNameLst>
                                      </p:cBhvr>
                                      <p:to>
                                        <p:strVal val="visible"/>
                                      </p:to>
                                    </p:set>
                                    <p:animEffect transition="in" filter="fade">
                                      <p:cBhvr>
                                        <p:cTn id="40" dur="500"/>
                                        <p:tgtEl>
                                          <p:spTgt spid="137"/>
                                        </p:tgtEl>
                                      </p:cBhvr>
                                    </p:animEffect>
                                  </p:childTnLst>
                                </p:cTn>
                              </p:par>
                              <p:par>
                                <p:cTn id="41" presetID="10" presetClass="entr" presetSubtype="0" fill="hold" nodeType="withEffect">
                                  <p:stCondLst>
                                    <p:cond delay="0"/>
                                  </p:stCondLst>
                                  <p:childTnLst>
                                    <p:set>
                                      <p:cBhvr>
                                        <p:cTn id="42" dur="1" fill="hold">
                                          <p:stCondLst>
                                            <p:cond delay="0"/>
                                          </p:stCondLst>
                                        </p:cTn>
                                        <p:tgtEl>
                                          <p:spTgt spid="148"/>
                                        </p:tgtEl>
                                        <p:attrNameLst>
                                          <p:attrName>style.visibility</p:attrName>
                                        </p:attrNameLst>
                                      </p:cBhvr>
                                      <p:to>
                                        <p:strVal val="visible"/>
                                      </p:to>
                                    </p:set>
                                    <p:animEffect transition="in" filter="fade">
                                      <p:cBhvr>
                                        <p:cTn id="43" dur="500"/>
                                        <p:tgtEl>
                                          <p:spTgt spid="148"/>
                                        </p:tgtEl>
                                      </p:cBhvr>
                                    </p:animEffect>
                                  </p:childTnLst>
                                </p:cTn>
                              </p:par>
                              <p:par>
                                <p:cTn id="44" presetID="10" presetClass="entr" presetSubtype="0" fill="hold" nodeType="withEffect">
                                  <p:stCondLst>
                                    <p:cond delay="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10" presetClass="entr" presetSubtype="0" fill="hold" nodeType="withEffect">
                                  <p:stCondLst>
                                    <p:cond delay="0"/>
                                  </p:stCondLst>
                                  <p:childTnLst>
                                    <p:set>
                                      <p:cBhvr>
                                        <p:cTn id="48" dur="1" fill="hold">
                                          <p:stCondLst>
                                            <p:cond delay="0"/>
                                          </p:stCondLst>
                                        </p:cTn>
                                        <p:tgtEl>
                                          <p:spTgt spid="150"/>
                                        </p:tgtEl>
                                        <p:attrNameLst>
                                          <p:attrName>style.visibility</p:attrName>
                                        </p:attrNameLst>
                                      </p:cBhvr>
                                      <p:to>
                                        <p:strVal val="visible"/>
                                      </p:to>
                                    </p:set>
                                    <p:animEffect transition="in" filter="fade">
                                      <p:cBhvr>
                                        <p:cTn id="49" dur="500"/>
                                        <p:tgtEl>
                                          <p:spTgt spid="150"/>
                                        </p:tgtEl>
                                      </p:cBhvr>
                                    </p:animEffect>
                                  </p:childTnLst>
                                </p:cTn>
                              </p:par>
                              <p:par>
                                <p:cTn id="50" presetID="10" presetClass="entr" presetSubtype="0" fill="hold" nodeType="withEffect">
                                  <p:stCondLst>
                                    <p:cond delay="0"/>
                                  </p:stCondLst>
                                  <p:childTnLst>
                                    <p:set>
                                      <p:cBhvr>
                                        <p:cTn id="51" dur="1" fill="hold">
                                          <p:stCondLst>
                                            <p:cond delay="0"/>
                                          </p:stCondLst>
                                        </p:cTn>
                                        <p:tgtEl>
                                          <p:spTgt spid="151"/>
                                        </p:tgtEl>
                                        <p:attrNameLst>
                                          <p:attrName>style.visibility</p:attrName>
                                        </p:attrNameLst>
                                      </p:cBhvr>
                                      <p:to>
                                        <p:strVal val="visible"/>
                                      </p:to>
                                    </p:set>
                                    <p:animEffect transition="in" filter="fade">
                                      <p:cBhvr>
                                        <p:cTn id="52" dur="500"/>
                                        <p:tgtEl>
                                          <p:spTgt spid="151"/>
                                        </p:tgtEl>
                                      </p:cBhvr>
                                    </p:animEffect>
                                  </p:childTnLst>
                                </p:cTn>
                              </p:par>
                              <p:par>
                                <p:cTn id="53" presetID="10" presetClass="entr" presetSubtype="0" fill="hold" nodeType="withEffect">
                                  <p:stCondLst>
                                    <p:cond delay="0"/>
                                  </p:stCondLst>
                                  <p:childTnLst>
                                    <p:set>
                                      <p:cBhvr>
                                        <p:cTn id="54" dur="1" fill="hold">
                                          <p:stCondLst>
                                            <p:cond delay="0"/>
                                          </p:stCondLst>
                                        </p:cTn>
                                        <p:tgtEl>
                                          <p:spTgt spid="152"/>
                                        </p:tgtEl>
                                        <p:attrNameLst>
                                          <p:attrName>style.visibility</p:attrName>
                                        </p:attrNameLst>
                                      </p:cBhvr>
                                      <p:to>
                                        <p:strVal val="visible"/>
                                      </p:to>
                                    </p:set>
                                    <p:animEffect transition="in" filter="fade">
                                      <p:cBhvr>
                                        <p:cTn id="55" dur="500"/>
                                        <p:tgtEl>
                                          <p:spTgt spid="152"/>
                                        </p:tgtEl>
                                      </p:cBhvr>
                                    </p:animEffect>
                                  </p:childTnLst>
                                </p:cTn>
                              </p:par>
                              <p:par>
                                <p:cTn id="56" presetID="10" presetClass="entr" presetSubtype="0" fill="hold" nodeType="withEffect">
                                  <p:stCondLst>
                                    <p:cond delay="0"/>
                                  </p:stCondLst>
                                  <p:childTnLst>
                                    <p:set>
                                      <p:cBhvr>
                                        <p:cTn id="57" dur="1" fill="hold">
                                          <p:stCondLst>
                                            <p:cond delay="0"/>
                                          </p:stCondLst>
                                        </p:cTn>
                                        <p:tgtEl>
                                          <p:spTgt spid="153"/>
                                        </p:tgtEl>
                                        <p:attrNameLst>
                                          <p:attrName>style.visibility</p:attrName>
                                        </p:attrNameLst>
                                      </p:cBhvr>
                                      <p:to>
                                        <p:strVal val="visible"/>
                                      </p:to>
                                    </p:set>
                                    <p:animEffect transition="in" filter="fade">
                                      <p:cBhvr>
                                        <p:cTn id="58" dur="500"/>
                                        <p:tgtEl>
                                          <p:spTgt spid="153"/>
                                        </p:tgtEl>
                                      </p:cBhvr>
                                    </p:animEffect>
                                  </p:childTnLst>
                                </p:cTn>
                              </p:par>
                              <p:par>
                                <p:cTn id="59" presetID="10" presetClass="entr" presetSubtype="0" fill="hold" nodeType="withEffect">
                                  <p:stCondLst>
                                    <p:cond delay="0"/>
                                  </p:stCondLst>
                                  <p:childTnLst>
                                    <p:set>
                                      <p:cBhvr>
                                        <p:cTn id="60" dur="1" fill="hold">
                                          <p:stCondLst>
                                            <p:cond delay="0"/>
                                          </p:stCondLst>
                                        </p:cTn>
                                        <p:tgtEl>
                                          <p:spTgt spid="154"/>
                                        </p:tgtEl>
                                        <p:attrNameLst>
                                          <p:attrName>style.visibility</p:attrName>
                                        </p:attrNameLst>
                                      </p:cBhvr>
                                      <p:to>
                                        <p:strVal val="visible"/>
                                      </p:to>
                                    </p:set>
                                    <p:animEffect transition="in" filter="fade">
                                      <p:cBhvr>
                                        <p:cTn id="61" dur="500"/>
                                        <p:tgtEl>
                                          <p:spTgt spid="15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500"/>
                                        <p:tgtEl>
                                          <p:spTgt spid="29"/>
                                        </p:tgtEl>
                                      </p:cBhvr>
                                    </p:animEffect>
                                  </p:childTnLst>
                                </p:cTn>
                              </p:par>
                              <p:par>
                                <p:cTn id="76" presetID="10" presetClass="entr" presetSubtype="0" fill="hold" nodeType="withEffect">
                                  <p:stCondLst>
                                    <p:cond delay="0"/>
                                  </p:stCondLst>
                                  <p:childTnLst>
                                    <p:set>
                                      <p:cBhvr>
                                        <p:cTn id="77" dur="1" fill="hold">
                                          <p:stCondLst>
                                            <p:cond delay="0"/>
                                          </p:stCondLst>
                                        </p:cTn>
                                        <p:tgtEl>
                                          <p:spTgt spid="68"/>
                                        </p:tgtEl>
                                        <p:attrNameLst>
                                          <p:attrName>style.visibility</p:attrName>
                                        </p:attrNameLst>
                                      </p:cBhvr>
                                      <p:to>
                                        <p:strVal val="visible"/>
                                      </p:to>
                                    </p:set>
                                    <p:animEffect transition="in" filter="fade">
                                      <p:cBhvr>
                                        <p:cTn id="78" dur="500"/>
                                        <p:tgtEl>
                                          <p:spTgt spid="68"/>
                                        </p:tgtEl>
                                      </p:cBhvr>
                                    </p:animEffect>
                                  </p:childTnLst>
                                </p:cTn>
                              </p:par>
                              <p:par>
                                <p:cTn id="79" presetID="10" presetClass="entr" presetSubtype="0" fill="hold" nodeType="withEffect">
                                  <p:stCondLst>
                                    <p:cond delay="0"/>
                                  </p:stCondLst>
                                  <p:childTnLst>
                                    <p:set>
                                      <p:cBhvr>
                                        <p:cTn id="80" dur="1" fill="hold">
                                          <p:stCondLst>
                                            <p:cond delay="0"/>
                                          </p:stCondLst>
                                        </p:cTn>
                                        <p:tgtEl>
                                          <p:spTgt spid="72"/>
                                        </p:tgtEl>
                                        <p:attrNameLst>
                                          <p:attrName>style.visibility</p:attrName>
                                        </p:attrNameLst>
                                      </p:cBhvr>
                                      <p:to>
                                        <p:strVal val="visible"/>
                                      </p:to>
                                    </p:set>
                                    <p:animEffect transition="in" filter="fade">
                                      <p:cBhvr>
                                        <p:cTn id="81" dur="500"/>
                                        <p:tgtEl>
                                          <p:spTgt spid="72"/>
                                        </p:tgtEl>
                                      </p:cBhvr>
                                    </p:animEffect>
                                  </p:childTnLst>
                                </p:cTn>
                              </p:par>
                              <p:par>
                                <p:cTn id="82" presetID="10" presetClass="entr" presetSubtype="0" fill="hold" nodeType="withEffect">
                                  <p:stCondLst>
                                    <p:cond delay="0"/>
                                  </p:stCondLst>
                                  <p:childTnLst>
                                    <p:set>
                                      <p:cBhvr>
                                        <p:cTn id="83" dur="1" fill="hold">
                                          <p:stCondLst>
                                            <p:cond delay="0"/>
                                          </p:stCondLst>
                                        </p:cTn>
                                        <p:tgtEl>
                                          <p:spTgt spid="115"/>
                                        </p:tgtEl>
                                        <p:attrNameLst>
                                          <p:attrName>style.visibility</p:attrName>
                                        </p:attrNameLst>
                                      </p:cBhvr>
                                      <p:to>
                                        <p:strVal val="visible"/>
                                      </p:to>
                                    </p:set>
                                    <p:animEffect transition="in" filter="fade">
                                      <p:cBhvr>
                                        <p:cTn id="84" dur="500"/>
                                        <p:tgtEl>
                                          <p:spTgt spid="115"/>
                                        </p:tgtEl>
                                      </p:cBhvr>
                                    </p:animEffect>
                                  </p:childTnLst>
                                </p:cTn>
                              </p:par>
                              <p:par>
                                <p:cTn id="85" presetID="10" presetClass="entr" presetSubtype="0" fill="hold" nodeType="withEffect">
                                  <p:stCondLst>
                                    <p:cond delay="0"/>
                                  </p:stCondLst>
                                  <p:childTnLst>
                                    <p:set>
                                      <p:cBhvr>
                                        <p:cTn id="86" dur="1" fill="hold">
                                          <p:stCondLst>
                                            <p:cond delay="0"/>
                                          </p:stCondLst>
                                        </p:cTn>
                                        <p:tgtEl>
                                          <p:spTgt spid="130"/>
                                        </p:tgtEl>
                                        <p:attrNameLst>
                                          <p:attrName>style.visibility</p:attrName>
                                        </p:attrNameLst>
                                      </p:cBhvr>
                                      <p:to>
                                        <p:strVal val="visible"/>
                                      </p:to>
                                    </p:set>
                                    <p:animEffect transition="in" filter="fade">
                                      <p:cBhvr>
                                        <p:cTn id="87" dur="500"/>
                                        <p:tgtEl>
                                          <p:spTgt spid="130"/>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500"/>
                                        <p:tgtEl>
                                          <p:spTgt spid="26"/>
                                        </p:tgtEl>
                                      </p:cBhvr>
                                    </p:animEffect>
                                  </p:childTnLst>
                                </p:cTn>
                              </p:par>
                              <p:par>
                                <p:cTn id="93" presetID="10" presetClass="entr" presetSubtype="0" fill="hold" nodeType="with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fade">
                                      <p:cBhvr>
                                        <p:cTn id="95" dur="500"/>
                                        <p:tgtEl>
                                          <p:spTgt spid="30"/>
                                        </p:tgtEl>
                                      </p:cBhvr>
                                    </p:animEffect>
                                  </p:childTnLst>
                                </p:cTn>
                              </p:par>
                              <p:par>
                                <p:cTn id="96" presetID="10" presetClass="entr" presetSubtype="0" fill="hold"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fade">
                                      <p:cBhvr>
                                        <p:cTn id="98" dur="500"/>
                                        <p:tgtEl>
                                          <p:spTgt spid="31"/>
                                        </p:tgtEl>
                                      </p:cBhvr>
                                    </p:animEffect>
                                  </p:childTnLst>
                                </p:cTn>
                              </p:par>
                              <p:par>
                                <p:cTn id="99" presetID="10" presetClass="entr" presetSubtype="0" fill="hold" nodeType="withEffect">
                                  <p:stCondLst>
                                    <p:cond delay="0"/>
                                  </p:stCondLst>
                                  <p:childTnLst>
                                    <p:set>
                                      <p:cBhvr>
                                        <p:cTn id="100" dur="1" fill="hold">
                                          <p:stCondLst>
                                            <p:cond delay="0"/>
                                          </p:stCondLst>
                                        </p:cTn>
                                        <p:tgtEl>
                                          <p:spTgt spid="32"/>
                                        </p:tgtEl>
                                        <p:attrNameLst>
                                          <p:attrName>style.visibility</p:attrName>
                                        </p:attrNameLst>
                                      </p:cBhvr>
                                      <p:to>
                                        <p:strVal val="visible"/>
                                      </p:to>
                                    </p:set>
                                    <p:animEffect transition="in" filter="fade">
                                      <p:cBhvr>
                                        <p:cTn id="101" dur="500"/>
                                        <p:tgtEl>
                                          <p:spTgt spid="32"/>
                                        </p:tgtEl>
                                      </p:cBhvr>
                                    </p:animEffect>
                                  </p:childTnLst>
                                </p:cTn>
                              </p:par>
                              <p:par>
                                <p:cTn id="102" presetID="10" presetClass="entr" presetSubtype="0" fill="hold" nodeType="withEffect">
                                  <p:stCondLst>
                                    <p:cond delay="0"/>
                                  </p:stCondLst>
                                  <p:childTnLst>
                                    <p:set>
                                      <p:cBhvr>
                                        <p:cTn id="103" dur="1" fill="hold">
                                          <p:stCondLst>
                                            <p:cond delay="0"/>
                                          </p:stCondLst>
                                        </p:cTn>
                                        <p:tgtEl>
                                          <p:spTgt spid="84"/>
                                        </p:tgtEl>
                                        <p:attrNameLst>
                                          <p:attrName>style.visibility</p:attrName>
                                        </p:attrNameLst>
                                      </p:cBhvr>
                                      <p:to>
                                        <p:strVal val="visible"/>
                                      </p:to>
                                    </p:set>
                                    <p:animEffect transition="in" filter="fade">
                                      <p:cBhvr>
                                        <p:cTn id="104" dur="500"/>
                                        <p:tgtEl>
                                          <p:spTgt spid="84"/>
                                        </p:tgtEl>
                                      </p:cBhvr>
                                    </p:animEffect>
                                  </p:childTnLst>
                                </p:cTn>
                              </p:par>
                              <p:par>
                                <p:cTn id="105" presetID="10" presetClass="entr" presetSubtype="0" fill="hold" nodeType="withEffect">
                                  <p:stCondLst>
                                    <p:cond delay="0"/>
                                  </p:stCondLst>
                                  <p:childTnLst>
                                    <p:set>
                                      <p:cBhvr>
                                        <p:cTn id="106" dur="1" fill="hold">
                                          <p:stCondLst>
                                            <p:cond delay="0"/>
                                          </p:stCondLst>
                                        </p:cTn>
                                        <p:tgtEl>
                                          <p:spTgt spid="155"/>
                                        </p:tgtEl>
                                        <p:attrNameLst>
                                          <p:attrName>style.visibility</p:attrName>
                                        </p:attrNameLst>
                                      </p:cBhvr>
                                      <p:to>
                                        <p:strVal val="visible"/>
                                      </p:to>
                                    </p:set>
                                    <p:animEffect transition="in" filter="fade">
                                      <p:cBhvr>
                                        <p:cTn id="107" dur="500"/>
                                        <p:tgtEl>
                                          <p:spTgt spid="155"/>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6"/>
                                        </p:tgtEl>
                                        <p:attrNameLst>
                                          <p:attrName>style.visibility</p:attrName>
                                        </p:attrNameLst>
                                      </p:cBhvr>
                                      <p:to>
                                        <p:strVal val="visible"/>
                                      </p:to>
                                    </p:set>
                                    <p:animEffect transition="in" filter="fade">
                                      <p:cBhvr>
                                        <p:cTn id="110" dur="500"/>
                                        <p:tgtEl>
                                          <p:spTgt spid="156"/>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0" nodeType="clickEffect">
                                  <p:stCondLst>
                                    <p:cond delay="0"/>
                                  </p:stCondLst>
                                  <p:childTnLst>
                                    <p:set>
                                      <p:cBhvr>
                                        <p:cTn id="114" dur="1" fill="hold">
                                          <p:stCondLst>
                                            <p:cond delay="0"/>
                                          </p:stCondLst>
                                        </p:cTn>
                                        <p:tgtEl>
                                          <p:spTgt spid="158"/>
                                        </p:tgtEl>
                                        <p:attrNameLst>
                                          <p:attrName>style.visibility</p:attrName>
                                        </p:attrNameLst>
                                      </p:cBhvr>
                                      <p:to>
                                        <p:strVal val="visible"/>
                                      </p:to>
                                    </p:set>
                                    <p:animEffect transition="in" filter="fade">
                                      <p:cBhvr>
                                        <p:cTn id="115" dur="500"/>
                                        <p:tgtEl>
                                          <p:spTgt spid="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56" grpId="0"/>
      <p:bldP spid="15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177387" y="1835301"/>
            <a:ext cx="2603038" cy="335585"/>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lnSpc>
                <a:spcPct val="90000"/>
              </a:lnSpc>
              <a:spcBef>
                <a:spcPct val="0"/>
              </a:spcBef>
              <a:spcAft>
                <a:spcPct val="0"/>
              </a:spcAft>
              <a:defRPr/>
            </a:pPr>
            <a:r>
              <a:rPr lang="en-US" sz="1400" kern="0" dirty="0">
                <a:solidFill>
                  <a:prstClr val="white"/>
                </a:solidFill>
                <a:latin typeface="Segoe UI"/>
              </a:rPr>
              <a:t>Business Connectivity</a:t>
            </a:r>
            <a:endParaRPr lang="en-US" sz="1200" kern="0" dirty="0">
              <a:solidFill>
                <a:prstClr val="white"/>
              </a:solidFill>
              <a:latin typeface="Segoe UI"/>
            </a:endParaRPr>
          </a:p>
        </p:txBody>
      </p:sp>
      <p:sp>
        <p:nvSpPr>
          <p:cNvPr id="74" name="Rectangle 73"/>
          <p:cNvSpPr/>
          <p:nvPr/>
        </p:nvSpPr>
        <p:spPr bwMode="auto">
          <a:xfrm>
            <a:off x="4874189" y="1835300"/>
            <a:ext cx="4011736" cy="340388"/>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lnSpc>
                <a:spcPct val="90000"/>
              </a:lnSpc>
              <a:spcBef>
                <a:spcPct val="0"/>
              </a:spcBef>
              <a:spcAft>
                <a:spcPct val="0"/>
              </a:spcAft>
              <a:defRPr/>
            </a:pPr>
            <a:r>
              <a:rPr lang="en-US" sz="1400" kern="0" dirty="0">
                <a:solidFill>
                  <a:prstClr val="white"/>
                </a:solidFill>
                <a:latin typeface="Segoe UI"/>
              </a:rPr>
              <a:t>Data Processing, Analytics and Management</a:t>
            </a:r>
          </a:p>
        </p:txBody>
      </p:sp>
      <p:sp>
        <p:nvSpPr>
          <p:cNvPr id="76" name="Rectangle 75"/>
          <p:cNvSpPr/>
          <p:nvPr/>
        </p:nvSpPr>
        <p:spPr bwMode="auto">
          <a:xfrm>
            <a:off x="591215" y="1835300"/>
            <a:ext cx="3983645" cy="335585"/>
          </a:xfrm>
          <a:prstGeom prst="rect">
            <a:avLst/>
          </a:prstGeom>
          <a:solidFill>
            <a:srgbClr val="00188F"/>
          </a:solidFill>
          <a:ln w="10795" cap="flat" cmpd="sng" algn="ctr">
            <a:noFill/>
            <a:prstDash val="solid"/>
            <a:headEnd type="none" w="med" len="med"/>
            <a:tailEnd type="none" w="med" len="med"/>
          </a:ln>
          <a:effectLst/>
        </p:spPr>
        <p:txBody>
          <a:bodyPr vert="horz" wrap="square" lIns="146284" tIns="182724" rIns="91427" bIns="146179" numCol="1" rtlCol="0" anchor="ctr" anchorCtr="0" compatLnSpc="1">
            <a:prstTxWarp prst="textNoShape">
              <a:avLst/>
            </a:prstTxWarp>
            <a:noAutofit/>
          </a:bodyPr>
          <a:lstStyle/>
          <a:p>
            <a:pPr algn="ctr" defTabSz="931398" fontAlgn="base">
              <a:spcBef>
                <a:spcPct val="0"/>
              </a:spcBef>
              <a:spcAft>
                <a:spcPct val="0"/>
              </a:spcAft>
              <a:defRPr/>
            </a:pPr>
            <a:r>
              <a:rPr lang="en-US" sz="1400" kern="0" dirty="0">
                <a:solidFill>
                  <a:srgbClr val="FFFFFF"/>
                </a:solidFill>
                <a:latin typeface="Segoe UI"/>
              </a:rPr>
              <a:t>Device Connectivity and Management</a:t>
            </a:r>
          </a:p>
        </p:txBody>
      </p:sp>
      <p:grpSp>
        <p:nvGrpSpPr>
          <p:cNvPr id="109" name="Group 108"/>
          <p:cNvGrpSpPr/>
          <p:nvPr/>
        </p:nvGrpSpPr>
        <p:grpSpPr>
          <a:xfrm>
            <a:off x="602350" y="4615642"/>
            <a:ext cx="1213254" cy="933749"/>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Low power devices</a:t>
              </a:r>
              <a:endParaRPr lang="en-US" sz="1050" dirty="0">
                <a:latin typeface="Segoe UI"/>
              </a:endParaRPr>
            </a:p>
          </p:txBody>
        </p:sp>
      </p:grpSp>
      <p:grpSp>
        <p:nvGrpSpPr>
          <p:cNvPr id="131" name="Group 130"/>
          <p:cNvGrpSpPr/>
          <p:nvPr/>
        </p:nvGrpSpPr>
        <p:grpSpPr>
          <a:xfrm>
            <a:off x="602033" y="3531706"/>
            <a:ext cx="1213254" cy="933749"/>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Existing </a:t>
              </a:r>
              <a:r>
                <a:rPr lang="en-US" sz="1100" dirty="0" err="1">
                  <a:latin typeface="Segoe UI"/>
                </a:rPr>
                <a:t>IoT</a:t>
              </a:r>
              <a:r>
                <a:rPr lang="en-US" sz="1100" dirty="0">
                  <a:latin typeface="Segoe UI"/>
                </a:rPr>
                <a:t> devices</a:t>
              </a:r>
            </a:p>
            <a:p>
              <a:pPr defTabSz="896214">
                <a:defRPr/>
              </a:pPr>
              <a:endParaRPr lang="en-US" sz="1100" dirty="0">
                <a:latin typeface="Segoe UI"/>
              </a:endParaRPr>
            </a:p>
            <a:p>
              <a:pPr defTabSz="896214">
                <a:defRPr/>
              </a:pPr>
              <a:endParaRPr lang="en-US" sz="1050" dirty="0">
                <a:latin typeface="Segoe UI"/>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sp>
        <p:nvSpPr>
          <p:cNvPr id="136" name="Oval 135"/>
          <p:cNvSpPr/>
          <p:nvPr/>
        </p:nvSpPr>
        <p:spPr>
          <a:xfrm>
            <a:off x="8222978" y="3570789"/>
            <a:ext cx="207738" cy="203374"/>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048">
              <a:defRPr/>
            </a:pPr>
            <a:endParaRPr lang="en-US" sz="1099" kern="0">
              <a:solidFill>
                <a:prstClr val="white"/>
              </a:solidFill>
              <a:latin typeface="Segoe UI"/>
              <a:cs typeface="Arial" panose="020B0604020202020204" pitchFamily="34" charset="0"/>
            </a:endParaRPr>
          </a:p>
        </p:txBody>
      </p:sp>
      <p:sp>
        <p:nvSpPr>
          <p:cNvPr id="137" name="Oval 136"/>
          <p:cNvSpPr/>
          <p:nvPr/>
        </p:nvSpPr>
        <p:spPr>
          <a:xfrm>
            <a:off x="8222978" y="3570789"/>
            <a:ext cx="207738" cy="203374"/>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14048">
              <a:defRPr/>
            </a:pPr>
            <a:endParaRPr lang="en-US" sz="1099" kern="0">
              <a:solidFill>
                <a:prstClr val="white"/>
              </a:solidFill>
              <a:latin typeface="Segoe UI"/>
              <a:cs typeface="Arial" panose="020B0604020202020204" pitchFamily="34" charset="0"/>
            </a:endParaRPr>
          </a:p>
        </p:txBody>
      </p:sp>
      <p:sp>
        <p:nvSpPr>
          <p:cNvPr id="138" name="Rectangle 137"/>
          <p:cNvSpPr/>
          <p:nvPr/>
        </p:nvSpPr>
        <p:spPr>
          <a:xfrm>
            <a:off x="3630446" y="2334464"/>
            <a:ext cx="6525877" cy="310289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048">
              <a:defRPr/>
            </a:pPr>
            <a:endParaRPr lang="en-US" sz="1099" kern="0" dirty="0">
              <a:solidFill>
                <a:prstClr val="black"/>
              </a:solidFill>
              <a:latin typeface="Segoe UI"/>
              <a:cs typeface="Arial" panose="020B0604020202020204" pitchFamily="34" charset="0"/>
            </a:endParaRPr>
          </a:p>
        </p:txBody>
      </p:sp>
      <p:sp>
        <p:nvSpPr>
          <p:cNvPr id="139" name="Rectangle 138"/>
          <p:cNvSpPr/>
          <p:nvPr/>
        </p:nvSpPr>
        <p:spPr>
          <a:xfrm>
            <a:off x="9187435" y="2527020"/>
            <a:ext cx="826016" cy="124714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olution UX</a:t>
            </a:r>
          </a:p>
        </p:txBody>
      </p:sp>
      <p:sp>
        <p:nvSpPr>
          <p:cNvPr id="140" name="Rectangle 139"/>
          <p:cNvSpPr/>
          <p:nvPr/>
        </p:nvSpPr>
        <p:spPr>
          <a:xfrm>
            <a:off x="4874188" y="2520386"/>
            <a:ext cx="2057109" cy="39474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Provisioning API</a:t>
            </a:r>
          </a:p>
        </p:txBody>
      </p:sp>
      <p:sp>
        <p:nvSpPr>
          <p:cNvPr id="141" name="Rectangle 140"/>
          <p:cNvSpPr/>
          <p:nvPr/>
        </p:nvSpPr>
        <p:spPr>
          <a:xfrm>
            <a:off x="4877768" y="3170273"/>
            <a:ext cx="1691327" cy="29972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5902743" y="2915129"/>
            <a:ext cx="2784" cy="258094"/>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7960030" y="2915128"/>
            <a:ext cx="0" cy="247158"/>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6923399" y="3467010"/>
            <a:ext cx="343032" cy="1802"/>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874191" y="3949480"/>
            <a:ext cx="4000112" cy="372644"/>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tream Processors</a:t>
            </a:r>
          </a:p>
        </p:txBody>
      </p:sp>
      <p:sp>
        <p:nvSpPr>
          <p:cNvPr id="146" name="Rectangle 145"/>
          <p:cNvSpPr/>
          <p:nvPr/>
        </p:nvSpPr>
        <p:spPr>
          <a:xfrm>
            <a:off x="7282227" y="4504739"/>
            <a:ext cx="1592075" cy="77695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Analytics &amp;</a:t>
            </a:r>
            <a:br>
              <a:rPr lang="en-US" sz="1000" kern="0" dirty="0">
                <a:solidFill>
                  <a:srgbClr val="FFFFFF"/>
                </a:solidFill>
                <a:latin typeface="Segoe UI" panose="020B0502040204020203" pitchFamily="34" charset="0"/>
                <a:cs typeface="Segoe UI" panose="020B0502040204020203" pitchFamily="34" charset="0"/>
              </a:rPr>
            </a:br>
            <a:r>
              <a:rPr lang="en-US" sz="1000" kern="0" dirty="0">
                <a:solidFill>
                  <a:srgbClr val="FFFFFF"/>
                </a:solidFill>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582727" y="4135402"/>
            <a:ext cx="291463" cy="400"/>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187433" y="3821368"/>
            <a:ext cx="826017" cy="1460322"/>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Business Integration Connectors and Gateway(s)</a:t>
            </a:r>
          </a:p>
          <a:p>
            <a:pPr algn="ctr" defTabSz="914192">
              <a:defRPr/>
            </a:pPr>
            <a:endParaRPr lang="en-US" sz="1000" kern="0" dirty="0">
              <a:solidFill>
                <a:srgbClr val="FFFFFF"/>
              </a:solidFill>
              <a:latin typeface="Segoe UI" panose="020B0502040204020203" pitchFamily="34" charset="0"/>
              <a:cs typeface="Segoe UI" panose="020B0502040204020203" pitchFamily="34" charset="0"/>
            </a:endParaRPr>
          </a:p>
          <a:p>
            <a:pPr algn="ctr" defTabSz="914192">
              <a:defRPr/>
            </a:pPr>
            <a:endParaRPr lang="en-US" sz="1000" kern="0" dirty="0">
              <a:solidFill>
                <a:srgbClr val="FFFFFF"/>
              </a:solidFill>
              <a:latin typeface="Segoe UI" panose="020B0502040204020203" pitchFamily="34" charset="0"/>
              <a:cs typeface="Segoe UI" panose="020B0502040204020203" pitchFamily="34" charset="0"/>
            </a:endParaRPr>
          </a:p>
        </p:txBody>
      </p:sp>
      <p:sp>
        <p:nvSpPr>
          <p:cNvPr id="149" name="L-Shape 148"/>
          <p:cNvSpPr/>
          <p:nvPr/>
        </p:nvSpPr>
        <p:spPr>
          <a:xfrm flipH="1">
            <a:off x="4877768" y="3170274"/>
            <a:ext cx="2045631" cy="5934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Device State Store</a:t>
            </a:r>
          </a:p>
        </p:txBody>
      </p:sp>
      <p:sp>
        <p:nvSpPr>
          <p:cNvPr id="150" name="Rectangle 149"/>
          <p:cNvSpPr/>
          <p:nvPr/>
        </p:nvSpPr>
        <p:spPr>
          <a:xfrm>
            <a:off x="2150796" y="4080531"/>
            <a:ext cx="1019416" cy="910191"/>
          </a:xfrm>
          <a:prstGeom prst="rect">
            <a:avLst/>
          </a:prstGeom>
          <a:noFill/>
          <a:ln w="15875" cap="flat" cmpd="sng" algn="ctr">
            <a:solidFill>
              <a:srgbClr val="0078D7"/>
            </a:solidFill>
            <a:prstDash val="dash"/>
            <a:miter lim="800000"/>
          </a:ln>
          <a:effectLst/>
        </p:spPr>
        <p:txBody>
          <a:bodyPr rtlCol="0" anchor="ctr"/>
          <a:lstStyle/>
          <a:p>
            <a:pPr algn="ctr" defTabSz="914048">
              <a:defRPr/>
            </a:pPr>
            <a:r>
              <a:rPr lang="en-US" sz="1100" kern="0" dirty="0">
                <a:solidFill>
                  <a:prstClr val="white"/>
                </a:solidFill>
                <a:latin typeface="Segoe UI"/>
                <a:cs typeface="Arial" panose="020B0604020202020204" pitchFamily="34" charset="0"/>
              </a:rPr>
              <a:t>Gateway</a:t>
            </a:r>
            <a:r>
              <a:rPr lang="en-US" sz="1200" kern="0" dirty="0">
                <a:solidFill>
                  <a:prstClr val="white"/>
                </a:solidFill>
                <a:latin typeface="Segoe UI"/>
                <a:cs typeface="Arial" panose="020B0604020202020204" pitchFamily="34" charset="0"/>
              </a:rPr>
              <a:t/>
            </a:r>
            <a:br>
              <a:rPr lang="en-US" sz="1200" kern="0" dirty="0">
                <a:solidFill>
                  <a:prstClr val="white"/>
                </a:solidFill>
                <a:latin typeface="Segoe UI"/>
                <a:cs typeface="Arial" panose="020B0604020202020204" pitchFamily="34" charset="0"/>
              </a:rPr>
            </a:br>
            <a:endParaRPr lang="en-US" sz="1200" kern="0" dirty="0">
              <a:solidFill>
                <a:prstClr val="white"/>
              </a:solidFill>
              <a:latin typeface="Segoe UI"/>
              <a:cs typeface="Arial" panose="020B0604020202020204" pitchFamily="34" charset="0"/>
            </a:endParaRPr>
          </a:p>
        </p:txBody>
      </p:sp>
      <p:sp>
        <p:nvSpPr>
          <p:cNvPr id="151" name="Rectangle 150"/>
          <p:cNvSpPr/>
          <p:nvPr/>
        </p:nvSpPr>
        <p:spPr>
          <a:xfrm>
            <a:off x="4874188" y="4504739"/>
            <a:ext cx="2049210" cy="77695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6931296" y="4893215"/>
            <a:ext cx="343032"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039528" y="3774162"/>
            <a:ext cx="0" cy="175318"/>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811368" y="4409704"/>
            <a:ext cx="188680" cy="360"/>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7958218" y="4413433"/>
            <a:ext cx="182616"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752891" y="2520386"/>
            <a:ext cx="822843" cy="276130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Cloud Gateway</a:t>
            </a:r>
          </a:p>
        </p:txBody>
      </p:sp>
      <p:cxnSp>
        <p:nvCxnSpPr>
          <p:cNvPr id="157" name="Elbow Connector 156"/>
          <p:cNvCxnSpPr>
            <a:endCxn id="150" idx="1"/>
          </p:cNvCxnSpPr>
          <p:nvPr/>
        </p:nvCxnSpPr>
        <p:spPr>
          <a:xfrm flipV="1">
            <a:off x="1668822" y="4535627"/>
            <a:ext cx="481974" cy="465526"/>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667032" y="4080534"/>
            <a:ext cx="483764" cy="455093"/>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01002" y="4535628"/>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676239" y="3821367"/>
            <a:ext cx="1923418"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574861" y="2717757"/>
            <a:ext cx="299328"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574864" y="3030366"/>
            <a:ext cx="2711594" cy="127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274329" y="2520386"/>
            <a:ext cx="1599972" cy="125377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a:solidFill>
                  <a:srgbClr val="FFFFFF"/>
                </a:solidFill>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6931296" y="2717757"/>
            <a:ext cx="343032"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5902743" y="3770024"/>
            <a:ext cx="3076" cy="186322"/>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8874303" y="4135803"/>
            <a:ext cx="304772" cy="5318"/>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8885925" y="4872890"/>
            <a:ext cx="291462" cy="400"/>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23878" y="4681485"/>
            <a:ext cx="688521" cy="26992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nvGrpSpPr>
          <p:cNvPr id="169" name="Group 168"/>
          <p:cNvGrpSpPr/>
          <p:nvPr/>
        </p:nvGrpSpPr>
        <p:grpSpPr>
          <a:xfrm>
            <a:off x="10583070" y="2527020"/>
            <a:ext cx="1213254" cy="933749"/>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Personal mobile devices</a:t>
              </a:r>
              <a:endParaRPr lang="en-US" sz="1050" dirty="0">
                <a:latin typeface="Segoe UI"/>
              </a:endParaRPr>
            </a:p>
          </p:txBody>
        </p:sp>
      </p:grpSp>
      <p:grpSp>
        <p:nvGrpSpPr>
          <p:cNvPr id="173" name="Group 172"/>
          <p:cNvGrpSpPr/>
          <p:nvPr/>
        </p:nvGrpSpPr>
        <p:grpSpPr>
          <a:xfrm>
            <a:off x="600560" y="2367245"/>
            <a:ext cx="1213254" cy="933749"/>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IP capable devices</a:t>
              </a:r>
            </a:p>
            <a:p>
              <a:pPr defTabSz="896214">
                <a:defRPr/>
              </a:pPr>
              <a:endParaRPr lang="en-US" sz="1100" dirty="0">
                <a:latin typeface="Segoe UI"/>
              </a:endParaRPr>
            </a:p>
            <a:p>
              <a:pPr defTabSz="896214">
                <a:defRPr/>
              </a:pPr>
              <a:endParaRPr lang="en-US" sz="1050" dirty="0">
                <a:latin typeface="Segoe UI"/>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0943" rIns="60943" rtlCol="0" anchor="ctr"/>
            <a:lstStyle/>
            <a:p>
              <a:pPr algn="ctr" defTabSz="914192">
                <a:defRPr/>
              </a:pPr>
              <a:r>
                <a:rPr lang="en-US" sz="1000" kern="0" dirty="0" err="1">
                  <a:solidFill>
                    <a:srgbClr val="FFFFFF"/>
                  </a:solidFill>
                  <a:latin typeface="Segoe UI" panose="020B0502040204020203" pitchFamily="34" charset="0"/>
                  <a:cs typeface="Segoe UI" panose="020B0502040204020203" pitchFamily="34" charset="0"/>
                </a:rPr>
                <a:t>IoT</a:t>
              </a:r>
              <a:r>
                <a:rPr lang="en-US" sz="1000" kern="0" dirty="0">
                  <a:solidFill>
                    <a:srgbClr val="FFFFFF"/>
                  </a:solidFill>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676239" y="2783501"/>
            <a:ext cx="1923418"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172601" y="2927296"/>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575668" y="4330415"/>
            <a:ext cx="1213254" cy="933749"/>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endParaRPr lang="en-US" sz="1099" dirty="0">
                <a:latin typeface="Segoe UI"/>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96214">
                <a:defRPr/>
              </a:pPr>
              <a:r>
                <a:rPr lang="en-US" sz="1100" dirty="0">
                  <a:latin typeface="Segoe UI"/>
                </a:rPr>
                <a:t>Business systems</a:t>
              </a:r>
              <a:endParaRPr lang="en-US" sz="1050" dirty="0">
                <a:latin typeface="Segoe UI"/>
              </a:endParaRPr>
            </a:p>
          </p:txBody>
        </p:sp>
      </p:grpSp>
      <p:cxnSp>
        <p:nvCxnSpPr>
          <p:cNvPr id="184" name="Straight Arrow Connector 183"/>
          <p:cNvCxnSpPr/>
          <p:nvPr/>
        </p:nvCxnSpPr>
        <p:spPr>
          <a:xfrm>
            <a:off x="10165201" y="4730691"/>
            <a:ext cx="401592" cy="2053"/>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8885601" y="2904552"/>
            <a:ext cx="291462" cy="400"/>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8864526" y="3640159"/>
            <a:ext cx="488027" cy="157797"/>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100932" y="3298041"/>
            <a:ext cx="7401" cy="1032375"/>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574859" y="4866922"/>
            <a:ext cx="291463" cy="400"/>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8878817" y="3482243"/>
            <a:ext cx="155320"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3977668" y="4681484"/>
            <a:ext cx="409893" cy="436714"/>
          </a:xfrm>
          <a:prstGeom prst="rect">
            <a:avLst/>
          </a:prstGeom>
        </p:spPr>
      </p:pic>
      <p:pic>
        <p:nvPicPr>
          <p:cNvPr id="191" name="Picture 190"/>
          <p:cNvPicPr>
            <a:picLocks noChangeAspect="1"/>
          </p:cNvPicPr>
          <p:nvPr/>
        </p:nvPicPr>
        <p:blipFill>
          <a:blip r:embed="rId4">
            <a:biLevel thresh="25000"/>
          </a:blip>
          <a:stretch>
            <a:fillRect/>
          </a:stretch>
        </p:blipFill>
        <p:spPr>
          <a:xfrm>
            <a:off x="6495731" y="4932226"/>
            <a:ext cx="364419" cy="320519"/>
          </a:xfrm>
          <a:prstGeom prst="rect">
            <a:avLst/>
          </a:prstGeom>
        </p:spPr>
      </p:pic>
      <p:pic>
        <p:nvPicPr>
          <p:cNvPr id="192" name="Picture 191"/>
          <p:cNvPicPr>
            <a:picLocks noChangeAspect="1"/>
          </p:cNvPicPr>
          <p:nvPr/>
        </p:nvPicPr>
        <p:blipFill>
          <a:blip r:embed="rId5">
            <a:biLevel thresh="25000"/>
          </a:blip>
          <a:stretch>
            <a:fillRect/>
          </a:stretch>
        </p:blipFill>
        <p:spPr>
          <a:xfrm>
            <a:off x="8552547" y="4965058"/>
            <a:ext cx="288288" cy="306278"/>
          </a:xfrm>
          <a:prstGeom prst="rect">
            <a:avLst/>
          </a:prstGeom>
        </p:spPr>
      </p:pic>
      <p:grpSp>
        <p:nvGrpSpPr>
          <p:cNvPr id="193" name="Group 192"/>
          <p:cNvGrpSpPr/>
          <p:nvPr/>
        </p:nvGrpSpPr>
        <p:grpSpPr>
          <a:xfrm>
            <a:off x="4964957" y="4932228"/>
            <a:ext cx="274281" cy="274281"/>
            <a:chOff x="5040580" y="4001605"/>
            <a:chExt cx="365760" cy="363316"/>
          </a:xfrm>
        </p:grpSpPr>
        <p:sp>
          <p:nvSpPr>
            <p:cNvPr id="194" name="Rounded Rectangle 193"/>
            <p:cNvSpPr/>
            <p:nvPr/>
          </p:nvSpPr>
          <p:spPr bwMode="auto">
            <a:xfrm>
              <a:off x="5040580" y="4001605"/>
              <a:ext cx="365760" cy="363316"/>
            </a:xfrm>
            <a:prstGeom prst="roundRect">
              <a:avLst/>
            </a:prstGeom>
            <a:ln>
              <a:solidFill>
                <a:schemeClr val="bg1"/>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5" name="Oval 194"/>
            <p:cNvSpPr/>
            <p:nvPr/>
          </p:nvSpPr>
          <p:spPr bwMode="auto">
            <a:xfrm>
              <a:off x="5076613"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6" name="Rectangle 195"/>
            <p:cNvSpPr/>
            <p:nvPr/>
          </p:nvSpPr>
          <p:spPr bwMode="auto">
            <a:xfrm>
              <a:off x="5154805"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7" name="Oval 196"/>
            <p:cNvSpPr/>
            <p:nvPr/>
          </p:nvSpPr>
          <p:spPr bwMode="auto">
            <a:xfrm>
              <a:off x="5236112" y="402700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8" name="Rectangle 197"/>
            <p:cNvSpPr/>
            <p:nvPr/>
          </p:nvSpPr>
          <p:spPr bwMode="auto">
            <a:xfrm>
              <a:off x="5311129" y="402700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99" name="Oval 198"/>
            <p:cNvSpPr/>
            <p:nvPr/>
          </p:nvSpPr>
          <p:spPr bwMode="auto">
            <a:xfrm>
              <a:off x="5156378"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0" name="Rectangle 199"/>
            <p:cNvSpPr/>
            <p:nvPr/>
          </p:nvSpPr>
          <p:spPr bwMode="auto">
            <a:xfrm>
              <a:off x="5234540"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1" name="Oval 200"/>
            <p:cNvSpPr/>
            <p:nvPr/>
          </p:nvSpPr>
          <p:spPr bwMode="auto">
            <a:xfrm>
              <a:off x="5076613"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2" name="Rectangle 201"/>
            <p:cNvSpPr/>
            <p:nvPr/>
          </p:nvSpPr>
          <p:spPr bwMode="auto">
            <a:xfrm>
              <a:off x="5154805"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3" name="Oval 202"/>
            <p:cNvSpPr/>
            <p:nvPr/>
          </p:nvSpPr>
          <p:spPr bwMode="auto">
            <a:xfrm>
              <a:off x="5236112" y="4192600"/>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4" name="Rectangle 203"/>
            <p:cNvSpPr/>
            <p:nvPr/>
          </p:nvSpPr>
          <p:spPr bwMode="auto">
            <a:xfrm>
              <a:off x="5311129" y="4192600"/>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5" name="Oval 204"/>
            <p:cNvSpPr/>
            <p:nvPr/>
          </p:nvSpPr>
          <p:spPr bwMode="auto">
            <a:xfrm>
              <a:off x="5156378"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6" name="Rectangle 205"/>
            <p:cNvSpPr/>
            <p:nvPr/>
          </p:nvSpPr>
          <p:spPr bwMode="auto">
            <a:xfrm>
              <a:off x="5234540"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7" name="Rectangle 206"/>
            <p:cNvSpPr/>
            <p:nvPr/>
          </p:nvSpPr>
          <p:spPr bwMode="auto">
            <a:xfrm>
              <a:off x="5075041" y="4106574"/>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8" name="Rectangle 207"/>
            <p:cNvSpPr/>
            <p:nvPr/>
          </p:nvSpPr>
          <p:spPr bwMode="auto">
            <a:xfrm>
              <a:off x="5075041" y="4277777"/>
              <a:ext cx="62179" cy="63538"/>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09" name="Oval 208"/>
            <p:cNvSpPr/>
            <p:nvPr/>
          </p:nvSpPr>
          <p:spPr bwMode="auto">
            <a:xfrm>
              <a:off x="5312701" y="4106574"/>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10" name="Oval 209"/>
            <p:cNvSpPr/>
            <p:nvPr/>
          </p:nvSpPr>
          <p:spPr bwMode="auto">
            <a:xfrm>
              <a:off x="5312701" y="4277777"/>
              <a:ext cx="59033" cy="69377"/>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pic>
        <p:nvPicPr>
          <p:cNvPr id="211" name="Picture 210"/>
          <p:cNvPicPr>
            <a:picLocks noChangeAspect="1"/>
          </p:cNvPicPr>
          <p:nvPr/>
        </p:nvPicPr>
        <p:blipFill>
          <a:blip r:embed="rId6">
            <a:biLevel thresh="25000"/>
          </a:blip>
          <a:stretch>
            <a:fillRect/>
          </a:stretch>
        </p:blipFill>
        <p:spPr>
          <a:xfrm>
            <a:off x="5131801" y="3993839"/>
            <a:ext cx="416049" cy="321704"/>
          </a:xfrm>
          <a:prstGeom prst="rect">
            <a:avLst/>
          </a:prstGeom>
        </p:spPr>
      </p:pic>
      <p:pic>
        <p:nvPicPr>
          <p:cNvPr id="212" name="Picture 211"/>
          <p:cNvPicPr>
            <a:picLocks noChangeAspect="1"/>
          </p:cNvPicPr>
          <p:nvPr/>
        </p:nvPicPr>
        <p:blipFill>
          <a:blip r:embed="rId7">
            <a:biLevel thresh="25000"/>
          </a:blip>
          <a:stretch>
            <a:fillRect/>
          </a:stretch>
        </p:blipFill>
        <p:spPr>
          <a:xfrm>
            <a:off x="7380650" y="3360966"/>
            <a:ext cx="319994" cy="320537"/>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431919" y="3349162"/>
            <a:ext cx="332342" cy="332342"/>
          </a:xfrm>
          <a:prstGeom prst="rect">
            <a:avLst/>
          </a:prstGeom>
        </p:spPr>
      </p:pic>
      <p:pic>
        <p:nvPicPr>
          <p:cNvPr id="214" name="Picture 213"/>
          <p:cNvPicPr>
            <a:picLocks noChangeAspect="1"/>
          </p:cNvPicPr>
          <p:nvPr/>
        </p:nvPicPr>
        <p:blipFill>
          <a:blip r:embed="rId9">
            <a:biLevel thresh="25000"/>
          </a:blip>
          <a:stretch>
            <a:fillRect/>
          </a:stretch>
        </p:blipFill>
        <p:spPr>
          <a:xfrm>
            <a:off x="6495732" y="3342617"/>
            <a:ext cx="250382" cy="319994"/>
          </a:xfrm>
          <a:prstGeom prst="rect">
            <a:avLst/>
          </a:prstGeom>
        </p:spPr>
      </p:pic>
      <p:pic>
        <p:nvPicPr>
          <p:cNvPr id="215" name="Picture 214"/>
          <p:cNvPicPr>
            <a:picLocks noChangeAspect="1"/>
          </p:cNvPicPr>
          <p:nvPr/>
        </p:nvPicPr>
        <p:blipFill>
          <a:blip r:embed="rId10">
            <a:biLevel thresh="25000"/>
          </a:blip>
          <a:stretch>
            <a:fillRect/>
          </a:stretch>
        </p:blipFill>
        <p:spPr>
          <a:xfrm>
            <a:off x="6502582" y="2598171"/>
            <a:ext cx="314591" cy="314279"/>
          </a:xfrm>
          <a:prstGeom prst="rect">
            <a:avLst/>
          </a:prstGeom>
        </p:spPr>
      </p:pic>
      <p:pic>
        <p:nvPicPr>
          <p:cNvPr id="218" name="Picture 217"/>
          <p:cNvPicPr>
            <a:picLocks noChangeAspect="1"/>
          </p:cNvPicPr>
          <p:nvPr/>
        </p:nvPicPr>
        <p:blipFill>
          <a:blip r:embed="rId11">
            <a:biLevel thresh="25000"/>
          </a:blip>
          <a:stretch>
            <a:fillRect/>
          </a:stretch>
        </p:blipFill>
        <p:spPr>
          <a:xfrm>
            <a:off x="9428570" y="3366714"/>
            <a:ext cx="337197" cy="337767"/>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26374" y="2643754"/>
            <a:ext cx="319994" cy="319078"/>
          </a:xfrm>
          <a:prstGeom prst="rect">
            <a:avLst/>
          </a:prstGeom>
        </p:spPr>
      </p:pic>
      <p:pic>
        <p:nvPicPr>
          <p:cNvPr id="220" name="Picture 219"/>
          <p:cNvPicPr>
            <a:picLocks noChangeAspect="1"/>
          </p:cNvPicPr>
          <p:nvPr/>
        </p:nvPicPr>
        <p:blipFill>
          <a:blip r:embed="rId13">
            <a:biLevel thresh="25000"/>
          </a:blip>
          <a:stretch>
            <a:fillRect/>
          </a:stretch>
        </p:blipFill>
        <p:spPr>
          <a:xfrm>
            <a:off x="9456376" y="4909100"/>
            <a:ext cx="319994" cy="320536"/>
          </a:xfrm>
          <a:prstGeom prst="rect">
            <a:avLst/>
          </a:prstGeom>
        </p:spPr>
      </p:pic>
      <p:grpSp>
        <p:nvGrpSpPr>
          <p:cNvPr id="221" name="Group 220"/>
          <p:cNvGrpSpPr/>
          <p:nvPr/>
        </p:nvGrpSpPr>
        <p:grpSpPr>
          <a:xfrm>
            <a:off x="599084" y="5770172"/>
            <a:ext cx="1828113" cy="544108"/>
            <a:chOff x="865965" y="5370682"/>
            <a:chExt cx="1828372" cy="544186"/>
          </a:xfrm>
        </p:grpSpPr>
        <p:grpSp>
          <p:nvGrpSpPr>
            <p:cNvPr id="222" name="Group 221"/>
            <p:cNvGrpSpPr/>
            <p:nvPr/>
          </p:nvGrpSpPr>
          <p:grpSpPr>
            <a:xfrm>
              <a:off x="865965" y="5370682"/>
              <a:ext cx="1828372" cy="544186"/>
              <a:chOff x="1223726" y="6180584"/>
              <a:chExt cx="1828372" cy="544186"/>
            </a:xfrm>
          </p:grpSpPr>
          <p:sp>
            <p:nvSpPr>
              <p:cNvPr id="224" name="TextBox 223"/>
              <p:cNvSpPr txBox="1"/>
              <p:nvPr/>
            </p:nvSpPr>
            <p:spPr>
              <a:xfrm>
                <a:off x="1509790" y="6180584"/>
                <a:ext cx="497001"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1427" rtlCol="0" anchor="t"/>
              <a:lstStyle/>
              <a:p>
                <a:pPr algn="ctr" defTabSz="914225">
                  <a:lnSpc>
                    <a:spcPct val="90000"/>
                  </a:lnSpc>
                  <a:defRPr/>
                </a:pPr>
                <a:endParaRPr lang="en-US" sz="1000" kern="0">
                  <a:solidFill>
                    <a:srgbClr val="B4A0FF"/>
                  </a:solidFill>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497417"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914225">
                  <a:lnSpc>
                    <a:spcPct val="90000"/>
                  </a:lnSpc>
                  <a:defRPr/>
                </a:pPr>
                <a:endParaRPr lang="en-US" sz="1000" ker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42308" cy="138519"/>
              </a:xfrm>
              <a:prstGeom prst="rect">
                <a:avLst/>
              </a:prstGeom>
              <a:noFill/>
            </p:spPr>
            <p:txBody>
              <a:bodyPr wrap="none" lIns="0" tIns="0" rIns="0" bIns="0" rtlCol="0">
                <a:spAutoFit/>
              </a:bodyPr>
              <a:lstStyle/>
              <a:p>
                <a:pPr defTabSz="914225">
                  <a:defRPr/>
                </a:pPr>
                <a:r>
                  <a:rPr lang="en-US" sz="900" kern="0" dirty="0">
                    <a:solidFill>
                      <a:srgbClr val="F8F8F8"/>
                    </a:solidFill>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dirty="0"/>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390842" y="3999770"/>
            <a:ext cx="385945" cy="2865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6301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4024" y="3177848"/>
            <a:ext cx="1366644" cy="2265042"/>
          </a:xfrm>
          <a:prstGeom prst="rect">
            <a:avLst/>
          </a:prstGeom>
          <a:solidFill>
            <a:schemeClr val="bg2">
              <a:lumMod val="10000"/>
              <a:lumOff val="90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prstClr val="white"/>
                </a:solidFill>
                <a:latin typeface="Segoe UI Light" panose="020B0502040204020203" pitchFamily="34" charset="0"/>
                <a:cs typeface="Segoe UI Light" panose="020B0502040204020203" pitchFamily="34" charset="0"/>
              </a:rPr>
              <a:t>Devices</a:t>
            </a: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2943725" y="1977832"/>
            <a:ext cx="6559980" cy="4091372"/>
          </a:xfrm>
          <a:prstGeom prst="rect">
            <a:avLst/>
          </a:prstGeom>
          <a:solidFill>
            <a:schemeClr val="bg2">
              <a:lumMod val="75000"/>
            </a:schemeClr>
          </a:solidFill>
          <a:ln>
            <a:noFill/>
          </a:ln>
        </p:spPr>
        <p:txBody>
          <a:bodyPr vert="horz" wrap="square" lIns="91427" tIns="45713" rIns="91427" bIns="45713" numCol="1" anchor="t" anchorCtr="0" compatLnSpc="1">
            <a:prstTxWarp prst="textNoShape">
              <a:avLst/>
            </a:prstTxWarp>
          </a:bodyPr>
          <a:lstStyle/>
          <a:p>
            <a:pPr defTabSz="914225">
              <a:defRPr/>
            </a:pPr>
            <a:r>
              <a:rPr lang="en-US" altLang="en-US" dirty="0">
                <a:solidFill>
                  <a:srgbClr val="FFFFFF"/>
                </a:solidFill>
                <a:latin typeface="Segoe UI Light" panose="020B0502040204020203" pitchFamily="34" charset="0"/>
              </a:rPr>
              <a:t>Azure </a:t>
            </a:r>
            <a:r>
              <a:rPr lang="en-US" altLang="en-US" dirty="0" err="1">
                <a:solidFill>
                  <a:srgbClr val="FFFFFF"/>
                </a:solidFill>
                <a:latin typeface="Segoe UI Light" panose="020B0502040204020203" pitchFamily="34" charset="0"/>
              </a:rPr>
              <a:t>IoT</a:t>
            </a:r>
            <a:r>
              <a:rPr lang="en-US" altLang="en-US" dirty="0">
                <a:solidFill>
                  <a:srgbClr val="FFFFFF"/>
                </a:solidFill>
                <a:latin typeface="Segoe UI Light" panose="020B0502040204020203" pitchFamily="34" charset="0"/>
              </a:rPr>
              <a:t> Suite Remote Monitoring</a:t>
            </a:r>
            <a:endParaRPr lang="en-US" altLang="en-US" sz="1400" dirty="0">
              <a:solidFill>
                <a:srgbClr val="FFFFFF"/>
              </a:solidFill>
              <a:latin typeface="Arial" panose="020B0604020202020204" pitchFamily="34" charset="0"/>
            </a:endParaRPr>
          </a:p>
          <a:p>
            <a:pPr defTabSz="914225">
              <a:defRPr/>
            </a:pPr>
            <a:endParaRPr lang="en-US" dirty="0">
              <a:solidFill>
                <a:srgbClr val="FFFFFF"/>
              </a:solidFill>
              <a:latin typeface="Segoe UI"/>
            </a:endParaRPr>
          </a:p>
        </p:txBody>
      </p:sp>
      <p:sp>
        <p:nvSpPr>
          <p:cNvPr id="115" name="Title 1"/>
          <p:cNvSpPr>
            <a:spLocks noGrp="1"/>
          </p:cNvSpPr>
          <p:nvPr>
            <p:ph type="title"/>
          </p:nvPr>
        </p:nvSpPr>
        <p:spPr/>
        <p:txBody>
          <a:bodyPr/>
          <a:lstStyle/>
          <a:p>
            <a:r>
              <a:rPr lang="en-US" sz="3600"/>
              <a:t>What you get with remote monitoring preconfigured solution</a:t>
            </a:r>
            <a:endParaRPr lang="en-US" sz="3600" dirty="0"/>
          </a:p>
        </p:txBody>
      </p:sp>
      <p:sp>
        <p:nvSpPr>
          <p:cNvPr id="3080" name="Rectangle 148"/>
          <p:cNvSpPr>
            <a:spLocks noChangeArrowheads="1"/>
          </p:cNvSpPr>
          <p:nvPr/>
        </p:nvSpPr>
        <p:spPr bwMode="auto">
          <a:xfrm>
            <a:off x="6914909" y="3089136"/>
            <a:ext cx="3366922" cy="2364863"/>
          </a:xfrm>
          <a:prstGeom prst="rect">
            <a:avLst/>
          </a:prstGeom>
          <a:noFill/>
          <a:ln>
            <a:noFill/>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293" name="Group 12292"/>
          <p:cNvGrpSpPr/>
          <p:nvPr/>
        </p:nvGrpSpPr>
        <p:grpSpPr>
          <a:xfrm>
            <a:off x="1775746" y="4307987"/>
            <a:ext cx="1053950" cy="115872"/>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12295" name="Group 12294"/>
          <p:cNvGrpSpPr/>
          <p:nvPr/>
        </p:nvGrpSpPr>
        <p:grpSpPr>
          <a:xfrm>
            <a:off x="1775746" y="4568300"/>
            <a:ext cx="1041253" cy="115872"/>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12289" name="Group 12288"/>
          <p:cNvGrpSpPr/>
          <p:nvPr/>
        </p:nvGrpSpPr>
        <p:grpSpPr>
          <a:xfrm>
            <a:off x="863064" y="3790535"/>
            <a:ext cx="326978" cy="338090"/>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210" name="Rectangle 20"/>
          <p:cNvSpPr>
            <a:spLocks noChangeArrowheads="1"/>
          </p:cNvSpPr>
          <p:nvPr/>
        </p:nvSpPr>
        <p:spPr bwMode="auto">
          <a:xfrm>
            <a:off x="10654514" y="3441564"/>
            <a:ext cx="1315433" cy="1825366"/>
          </a:xfrm>
          <a:prstGeom prst="rect">
            <a:avLst/>
          </a:prstGeom>
          <a:solidFill>
            <a:schemeClr val="bg2">
              <a:lumMod val="10000"/>
              <a:lumOff val="90000"/>
              <a:alpha val="4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418">
              <a:defRPr/>
            </a:pPr>
            <a:r>
              <a:rPr lang="en-US" altLang="en-US" sz="1600" kern="0" dirty="0">
                <a:solidFill>
                  <a:prstClr val="white"/>
                </a:solidFill>
                <a:latin typeface="Segoe UI Light" panose="020B0502040204020203" pitchFamily="34" charset="0"/>
                <a:cs typeface="Segoe UI Light" panose="020B0502040204020203" pitchFamily="34" charset="0"/>
              </a:rPr>
              <a:t>Back end systems and processes</a:t>
            </a:r>
          </a:p>
          <a:p>
            <a:pPr defTabSz="932418">
              <a:defRPr/>
            </a:pPr>
            <a:endParaRPr lang="en-US" sz="1600"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47192" y="4236559"/>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dirty="0">
                <a:solidFill>
                  <a:srgbClr val="00188F"/>
                </a:solidFill>
                <a:latin typeface="Segoe UI" panose="020B0502040204020203" pitchFamily="34" charset="0"/>
              </a:rPr>
              <a:t> </a:t>
            </a:r>
            <a:endParaRPr lang="en-US" altLang="en-US" dirty="0">
              <a:solidFill>
                <a:prstClr val="black"/>
              </a:solidFill>
            </a:endParaRPr>
          </a:p>
        </p:txBody>
      </p:sp>
      <p:sp>
        <p:nvSpPr>
          <p:cNvPr id="254" name="Rectangle 128"/>
          <p:cNvSpPr>
            <a:spLocks noChangeArrowheads="1"/>
          </p:cNvSpPr>
          <p:nvPr/>
        </p:nvSpPr>
        <p:spPr bwMode="auto">
          <a:xfrm>
            <a:off x="667492" y="4277313"/>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000" dirty="0">
                <a:solidFill>
                  <a:prstClr val="white"/>
                </a:solidFill>
                <a:latin typeface="Segoe UI" panose="020B0502040204020203" pitchFamily="34" charset="0"/>
              </a:rPr>
              <a:t>C# simulator</a:t>
            </a:r>
            <a:endParaRPr lang="en-US" altLang="en-US" dirty="0">
              <a:solidFill>
                <a:prstClr val="white"/>
              </a:solidFill>
            </a:endParaRPr>
          </a:p>
        </p:txBody>
      </p:sp>
      <p:sp>
        <p:nvSpPr>
          <p:cNvPr id="387" name="Freeform 386"/>
          <p:cNvSpPr>
            <a:spLocks noChangeAspect="1"/>
          </p:cNvSpPr>
          <p:nvPr/>
        </p:nvSpPr>
        <p:spPr bwMode="auto">
          <a:xfrm rot="5280000">
            <a:off x="3231868" y="3973000"/>
            <a:ext cx="447268" cy="56873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366149" y="4023944"/>
            <a:ext cx="484118" cy="498404"/>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369" name="Rectangle 180"/>
          <p:cNvSpPr>
            <a:spLocks noChangeArrowheads="1"/>
          </p:cNvSpPr>
          <p:nvPr/>
        </p:nvSpPr>
        <p:spPr bwMode="auto">
          <a:xfrm>
            <a:off x="5289960" y="4527109"/>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Event Hub</a:t>
            </a:r>
            <a:endParaRPr lang="en-US" altLang="en-US" dirty="0">
              <a:solidFill>
                <a:srgbClr val="FFFFFF"/>
              </a:solidFill>
            </a:endParaRPr>
          </a:p>
        </p:txBody>
      </p:sp>
      <p:sp>
        <p:nvSpPr>
          <p:cNvPr id="12370" name="Line 181"/>
          <p:cNvSpPr>
            <a:spLocks noChangeShapeType="1"/>
          </p:cNvSpPr>
          <p:nvPr/>
        </p:nvSpPr>
        <p:spPr bwMode="auto">
          <a:xfrm>
            <a:off x="3691574" y="4273145"/>
            <a:ext cx="38094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1" name="Freeform 182"/>
          <p:cNvSpPr>
            <a:spLocks/>
          </p:cNvSpPr>
          <p:nvPr/>
        </p:nvSpPr>
        <p:spPr bwMode="auto">
          <a:xfrm>
            <a:off x="4040775"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2" name="Line 183"/>
          <p:cNvSpPr>
            <a:spLocks noChangeShapeType="1"/>
          </p:cNvSpPr>
          <p:nvPr/>
        </p:nvSpPr>
        <p:spPr bwMode="auto">
          <a:xfrm>
            <a:off x="5858204" y="4273145"/>
            <a:ext cx="46031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3" name="Freeform 184"/>
          <p:cNvSpPr>
            <a:spLocks/>
          </p:cNvSpPr>
          <p:nvPr/>
        </p:nvSpPr>
        <p:spPr bwMode="auto">
          <a:xfrm>
            <a:off x="6288356" y="4209654"/>
            <a:ext cx="126982" cy="126982"/>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4" name="Group 12573"/>
          <p:cNvGrpSpPr/>
          <p:nvPr/>
        </p:nvGrpSpPr>
        <p:grpSpPr>
          <a:xfrm>
            <a:off x="5386784" y="3184276"/>
            <a:ext cx="458722" cy="398406"/>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378" name="Rectangle 189"/>
          <p:cNvSpPr>
            <a:spLocks noChangeArrowheads="1"/>
          </p:cNvSpPr>
          <p:nvPr/>
        </p:nvSpPr>
        <p:spPr bwMode="auto">
          <a:xfrm>
            <a:off x="5185200" y="3598555"/>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Storage blobs</a:t>
            </a:r>
            <a:endParaRPr lang="en-US" altLang="en-US">
              <a:solidFill>
                <a:srgbClr val="FFFFFF"/>
              </a:solidFill>
            </a:endParaRPr>
          </a:p>
        </p:txBody>
      </p:sp>
      <p:sp>
        <p:nvSpPr>
          <p:cNvPr id="12379" name="Freeform 190"/>
          <p:cNvSpPr>
            <a:spLocks noEditPoints="1"/>
          </p:cNvSpPr>
          <p:nvPr/>
        </p:nvSpPr>
        <p:spPr bwMode="auto">
          <a:xfrm>
            <a:off x="7510557" y="3179514"/>
            <a:ext cx="311106" cy="40634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0" name="Rectangle 191"/>
          <p:cNvSpPr>
            <a:spLocks noChangeArrowheads="1"/>
          </p:cNvSpPr>
          <p:nvPr/>
        </p:nvSpPr>
        <p:spPr bwMode="auto">
          <a:xfrm>
            <a:off x="7272467" y="3579507"/>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DocumentDB</a:t>
            </a:r>
            <a:endParaRPr lang="en-US" altLang="en-US">
              <a:solidFill>
                <a:srgbClr val="FFFFFF"/>
              </a:solidFill>
            </a:endParaRPr>
          </a:p>
        </p:txBody>
      </p:sp>
      <p:sp>
        <p:nvSpPr>
          <p:cNvPr id="12381" name="Freeform 192"/>
          <p:cNvSpPr>
            <a:spLocks/>
          </p:cNvSpPr>
          <p:nvPr/>
        </p:nvSpPr>
        <p:spPr bwMode="auto">
          <a:xfrm>
            <a:off x="6878822" y="3873152"/>
            <a:ext cx="787288" cy="37618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2" name="Freeform 193"/>
          <p:cNvSpPr>
            <a:spLocks/>
          </p:cNvSpPr>
          <p:nvPr/>
        </p:nvSpPr>
        <p:spPr bwMode="auto">
          <a:xfrm>
            <a:off x="7602619" y="3776329"/>
            <a:ext cx="126982" cy="126982"/>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3" name="Freeform 194"/>
          <p:cNvSpPr>
            <a:spLocks/>
          </p:cNvSpPr>
          <p:nvPr/>
        </p:nvSpPr>
        <p:spPr bwMode="auto">
          <a:xfrm>
            <a:off x="4497909" y="3384273"/>
            <a:ext cx="773003" cy="639672"/>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4" name="Freeform 195"/>
          <p:cNvSpPr>
            <a:spLocks/>
          </p:cNvSpPr>
          <p:nvPr/>
        </p:nvSpPr>
        <p:spPr bwMode="auto">
          <a:xfrm>
            <a:off x="5239168" y="3319194"/>
            <a:ext cx="128569" cy="128570"/>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9" name="Group 12578"/>
          <p:cNvGrpSpPr/>
          <p:nvPr/>
        </p:nvGrpSpPr>
        <p:grpSpPr>
          <a:xfrm>
            <a:off x="6383593" y="2416034"/>
            <a:ext cx="507928" cy="450786"/>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12402" name="Rectangle 212"/>
          <p:cNvSpPr>
            <a:spLocks noChangeArrowheads="1"/>
          </p:cNvSpPr>
          <p:nvPr/>
        </p:nvSpPr>
        <p:spPr bwMode="auto">
          <a:xfrm>
            <a:off x="6170035" y="286121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Web/Mobile App</a:t>
            </a:r>
            <a:endParaRPr lang="en-US" altLang="en-US" dirty="0">
              <a:solidFill>
                <a:srgbClr val="FFFFFF"/>
              </a:solidFill>
            </a:endParaRPr>
          </a:p>
        </p:txBody>
      </p:sp>
      <p:sp>
        <p:nvSpPr>
          <p:cNvPr id="12403" name="Freeform 213"/>
          <p:cNvSpPr>
            <a:spLocks/>
          </p:cNvSpPr>
          <p:nvPr/>
        </p:nvSpPr>
        <p:spPr bwMode="auto">
          <a:xfrm>
            <a:off x="6974059" y="2641428"/>
            <a:ext cx="692052" cy="441263"/>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4" name="Freeform 214"/>
          <p:cNvSpPr>
            <a:spLocks/>
          </p:cNvSpPr>
          <p:nvPr/>
        </p:nvSpPr>
        <p:spPr bwMode="auto">
          <a:xfrm>
            <a:off x="6878822" y="2577935"/>
            <a:ext cx="125395" cy="126982"/>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5" name="Freeform 215"/>
          <p:cNvSpPr>
            <a:spLocks/>
          </p:cNvSpPr>
          <p:nvPr/>
        </p:nvSpPr>
        <p:spPr bwMode="auto">
          <a:xfrm>
            <a:off x="7602619" y="3052532"/>
            <a:ext cx="126982" cy="126982"/>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6" name="Freeform 216"/>
          <p:cNvSpPr>
            <a:spLocks/>
          </p:cNvSpPr>
          <p:nvPr/>
        </p:nvSpPr>
        <p:spPr bwMode="auto">
          <a:xfrm>
            <a:off x="5616938" y="2641427"/>
            <a:ext cx="771416" cy="528563"/>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7" name="Line 217"/>
          <p:cNvSpPr>
            <a:spLocks noChangeShapeType="1"/>
          </p:cNvSpPr>
          <p:nvPr/>
        </p:nvSpPr>
        <p:spPr bwMode="auto">
          <a:xfrm flipV="1">
            <a:off x="6637557" y="3238243"/>
            <a:ext cx="0" cy="77935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408" name="Freeform 218"/>
          <p:cNvSpPr>
            <a:spLocks/>
          </p:cNvSpPr>
          <p:nvPr/>
        </p:nvSpPr>
        <p:spPr bwMode="auto">
          <a:xfrm>
            <a:off x="6574066" y="3141418"/>
            <a:ext cx="126982" cy="126982"/>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4" name="Freeform 234"/>
          <p:cNvSpPr>
            <a:spLocks/>
          </p:cNvSpPr>
          <p:nvPr/>
        </p:nvSpPr>
        <p:spPr bwMode="auto">
          <a:xfrm>
            <a:off x="3418563" y="2641428"/>
            <a:ext cx="2969791" cy="128728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5" name="Freeform 235"/>
          <p:cNvSpPr>
            <a:spLocks/>
          </p:cNvSpPr>
          <p:nvPr/>
        </p:nvSpPr>
        <p:spPr bwMode="auto">
          <a:xfrm>
            <a:off x="3355072" y="3896961"/>
            <a:ext cx="126982" cy="126982"/>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6" name="Group 12575"/>
          <p:cNvGrpSpPr/>
          <p:nvPr/>
        </p:nvGrpSpPr>
        <p:grpSpPr>
          <a:xfrm>
            <a:off x="4177281" y="4023944"/>
            <a:ext cx="641258" cy="498404"/>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40" name="Rectangle 240"/>
          <p:cNvSpPr>
            <a:spLocks noChangeArrowheads="1"/>
          </p:cNvSpPr>
          <p:nvPr/>
        </p:nvSpPr>
        <p:spPr bwMode="auto">
          <a:xfrm>
            <a:off x="3983634" y="4528697"/>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Stream Analytics</a:t>
            </a:r>
            <a:endParaRPr lang="en-US" altLang="en-US">
              <a:solidFill>
                <a:srgbClr val="FFFFFF"/>
              </a:solidFill>
            </a:endParaRPr>
          </a:p>
        </p:txBody>
      </p:sp>
      <p:sp>
        <p:nvSpPr>
          <p:cNvPr id="341" name="Line 241"/>
          <p:cNvSpPr>
            <a:spLocks noChangeShapeType="1"/>
          </p:cNvSpPr>
          <p:nvPr/>
        </p:nvSpPr>
        <p:spPr bwMode="auto">
          <a:xfrm>
            <a:off x="4836000" y="4273145"/>
            <a:ext cx="426976"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42" name="Freeform 242"/>
          <p:cNvSpPr>
            <a:spLocks/>
          </p:cNvSpPr>
          <p:nvPr/>
        </p:nvSpPr>
        <p:spPr bwMode="auto">
          <a:xfrm>
            <a:off x="5231232" y="4209654"/>
            <a:ext cx="128569"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12577" name="Group 12576"/>
          <p:cNvGrpSpPr/>
          <p:nvPr/>
        </p:nvGrpSpPr>
        <p:grpSpPr>
          <a:xfrm>
            <a:off x="8805773" y="4035055"/>
            <a:ext cx="425390" cy="426977"/>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50" name="Rectangle 250"/>
          <p:cNvSpPr>
            <a:spLocks noChangeArrowheads="1"/>
          </p:cNvSpPr>
          <p:nvPr/>
        </p:nvSpPr>
        <p:spPr bwMode="auto">
          <a:xfrm>
            <a:off x="8643873" y="4476317"/>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Logic Apps</a:t>
            </a:r>
            <a:endParaRPr lang="en-US" altLang="en-US">
              <a:solidFill>
                <a:srgbClr val="FFFFFF"/>
              </a:solidFill>
            </a:endParaRPr>
          </a:p>
        </p:txBody>
      </p:sp>
      <p:sp>
        <p:nvSpPr>
          <p:cNvPr id="352" name="Line 251"/>
          <p:cNvSpPr>
            <a:spLocks noChangeShapeType="1"/>
          </p:cNvSpPr>
          <p:nvPr/>
        </p:nvSpPr>
        <p:spPr bwMode="auto">
          <a:xfrm>
            <a:off x="6878822" y="4249337"/>
            <a:ext cx="1820604"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3" name="Freeform 252"/>
          <p:cNvSpPr>
            <a:spLocks/>
          </p:cNvSpPr>
          <p:nvPr/>
        </p:nvSpPr>
        <p:spPr bwMode="auto">
          <a:xfrm>
            <a:off x="8667680" y="4185846"/>
            <a:ext cx="126982" cy="126982"/>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nvGrpSpPr>
          <p:cNvPr id="2" name="Group 1"/>
          <p:cNvGrpSpPr/>
          <p:nvPr/>
        </p:nvGrpSpPr>
        <p:grpSpPr>
          <a:xfrm>
            <a:off x="7424845" y="4979483"/>
            <a:ext cx="479357" cy="485707"/>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375" name="Rectangle 256"/>
          <p:cNvSpPr>
            <a:spLocks noChangeArrowheads="1"/>
          </p:cNvSpPr>
          <p:nvPr/>
        </p:nvSpPr>
        <p:spPr bwMode="auto">
          <a:xfrm>
            <a:off x="7489923" y="5523918"/>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Azure </a:t>
            </a:r>
            <a:endParaRPr lang="en-US" altLang="en-US">
              <a:solidFill>
                <a:srgbClr val="FFFFFF"/>
              </a:solidFill>
            </a:endParaRPr>
          </a:p>
        </p:txBody>
      </p:sp>
      <p:sp>
        <p:nvSpPr>
          <p:cNvPr id="376" name="Rectangle 257"/>
          <p:cNvSpPr>
            <a:spLocks noChangeArrowheads="1"/>
          </p:cNvSpPr>
          <p:nvPr/>
        </p:nvSpPr>
        <p:spPr bwMode="auto">
          <a:xfrm>
            <a:off x="7172467" y="5696932"/>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a:solidFill>
                  <a:srgbClr val="FFFFFF"/>
                </a:solidFill>
                <a:latin typeface="Segoe UI" panose="020B0502040204020203" pitchFamily="34" charset="0"/>
              </a:rPr>
              <a:t>Active Directory</a:t>
            </a:r>
            <a:endParaRPr lang="en-US" altLang="en-US">
              <a:solidFill>
                <a:srgbClr val="FFFFFF"/>
              </a:solidFill>
            </a:endParaRPr>
          </a:p>
        </p:txBody>
      </p:sp>
      <p:sp>
        <p:nvSpPr>
          <p:cNvPr id="378" name="Rectangle 260"/>
          <p:cNvSpPr>
            <a:spLocks noChangeArrowheads="1"/>
          </p:cNvSpPr>
          <p:nvPr/>
        </p:nvSpPr>
        <p:spPr bwMode="auto">
          <a:xfrm>
            <a:off x="3193170" y="4546157"/>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err="1">
                <a:solidFill>
                  <a:srgbClr val="FFFFFF"/>
                </a:solidFill>
                <a:latin typeface="Segoe UI" panose="020B0502040204020203" pitchFamily="34" charset="0"/>
              </a:rPr>
              <a:t>IoT</a:t>
            </a:r>
            <a:r>
              <a:rPr lang="en-US" altLang="en-US" sz="1100" dirty="0">
                <a:solidFill>
                  <a:srgbClr val="FFFFFF"/>
                </a:solidFill>
                <a:latin typeface="Segoe UI" panose="020B0502040204020203" pitchFamily="34" charset="0"/>
              </a:rPr>
              <a:t> Hub</a:t>
            </a:r>
            <a:endParaRPr lang="en-US" altLang="en-US" dirty="0">
              <a:solidFill>
                <a:srgbClr val="FFFFFF"/>
              </a:solidFill>
            </a:endParaRPr>
          </a:p>
        </p:txBody>
      </p:sp>
      <p:grpSp>
        <p:nvGrpSpPr>
          <p:cNvPr id="12570" name="Group 12569"/>
          <p:cNvGrpSpPr/>
          <p:nvPr/>
        </p:nvGrpSpPr>
        <p:grpSpPr>
          <a:xfrm>
            <a:off x="6383593" y="4023944"/>
            <a:ext cx="507928" cy="449200"/>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
        <p:nvSpPr>
          <p:cNvPr id="12559" name="Rectangle 275"/>
          <p:cNvSpPr>
            <a:spLocks noChangeArrowheads="1"/>
          </p:cNvSpPr>
          <p:nvPr/>
        </p:nvSpPr>
        <p:spPr bwMode="auto">
          <a:xfrm>
            <a:off x="6339150" y="44858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FFFFFF"/>
                </a:solidFill>
                <a:latin typeface="Segoe UI" panose="020B0502040204020203" pitchFamily="34" charset="0"/>
              </a:rPr>
              <a:t>Web Jobs</a:t>
            </a:r>
            <a:endParaRPr lang="en-US" altLang="en-US" dirty="0">
              <a:solidFill>
                <a:srgbClr val="FFFFFF"/>
              </a:solidFill>
            </a:endParaRPr>
          </a:p>
        </p:txBody>
      </p:sp>
      <p:sp>
        <p:nvSpPr>
          <p:cNvPr id="12569" name="Rectangle 287"/>
          <p:cNvSpPr>
            <a:spLocks noChangeArrowheads="1"/>
          </p:cNvSpPr>
          <p:nvPr/>
        </p:nvSpPr>
        <p:spPr bwMode="auto">
          <a:xfrm>
            <a:off x="8463927" y="2952413"/>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100" dirty="0">
                <a:solidFill>
                  <a:srgbClr val="0070C0"/>
                </a:solidFill>
                <a:latin typeface="Segoe UI" panose="020B0502040204020203" pitchFamily="34" charset="0"/>
              </a:rPr>
              <a:t>Power BI</a:t>
            </a:r>
            <a:endParaRPr lang="en-US" altLang="en-US" dirty="0">
              <a:solidFill>
                <a:prstClr val="black"/>
              </a:solidFill>
            </a:endParaRPr>
          </a:p>
        </p:txBody>
      </p:sp>
      <p:sp>
        <p:nvSpPr>
          <p:cNvPr id="12581" name="Rectangle 12580"/>
          <p:cNvSpPr/>
          <p:nvPr>
            <p:custDataLst>
              <p:tags r:id="rId1"/>
            </p:custDataLst>
          </p:nvPr>
        </p:nvSpPr>
        <p:spPr bwMode="auto">
          <a:xfrm>
            <a:off x="8468867" y="2377872"/>
            <a:ext cx="533460" cy="53346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defTabSz="932293" fontAlgn="base">
              <a:spcBef>
                <a:spcPct val="0"/>
              </a:spcBef>
              <a:spcAft>
                <a:spcPct val="0"/>
              </a:spcAft>
              <a:defRPr/>
            </a:pPr>
            <a:endParaRPr lang="en-US" sz="150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601038" y="2515223"/>
            <a:ext cx="269119" cy="28026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prstClr val="white"/>
                </a:solidFill>
                <a:latin typeface="Segoe UI"/>
              </a:endParaRPr>
            </a:p>
          </p:txBody>
        </p:sp>
      </p:grpSp>
      <p:grpSp>
        <p:nvGrpSpPr>
          <p:cNvPr id="299" name="Group 298"/>
          <p:cNvGrpSpPr/>
          <p:nvPr/>
        </p:nvGrpSpPr>
        <p:grpSpPr>
          <a:xfrm>
            <a:off x="9581860" y="4636004"/>
            <a:ext cx="1053950" cy="115872"/>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nvGrpSpPr>
          <p:cNvPr id="302" name="Group 301"/>
          <p:cNvGrpSpPr/>
          <p:nvPr/>
        </p:nvGrpSpPr>
        <p:grpSpPr>
          <a:xfrm>
            <a:off x="9523925" y="4399469"/>
            <a:ext cx="1041253" cy="115872"/>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spTree>
    <p:extLst>
      <p:ext uri="{BB962C8B-B14F-4D97-AF65-F5344CB8AC3E}">
        <p14:creationId xmlns:p14="http://schemas.microsoft.com/office/powerpoint/2010/main" val="260731340"/>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a:t>
            </a:r>
            <a:r>
              <a:rPr lang="en-US"/>
              <a:t>Hub Endpoints</a:t>
            </a:r>
            <a:endParaRPr lang="en-US" b="1" dirty="0"/>
          </a:p>
        </p:txBody>
      </p:sp>
      <p:sp>
        <p:nvSpPr>
          <p:cNvPr id="19" name="device"/>
          <p:cNvSpPr/>
          <p:nvPr/>
        </p:nvSpPr>
        <p:spPr bwMode="auto">
          <a:xfrm>
            <a:off x="1076789" y="2873830"/>
            <a:ext cx="1314071" cy="134441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2747" y="2353608"/>
            <a:ext cx="2832223" cy="74692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Event processing</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2747" y="5086897"/>
            <a:ext cx="2832223" cy="77160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 provisioning </a:t>
            </a:r>
            <a:br>
              <a:rPr lang="en-US" sz="1371" kern="0" dirty="0">
                <a:solidFill>
                  <a:prstClr val="white"/>
                </a:solidFill>
                <a:latin typeface="Segoe UI Semibold" panose="020B0702040204020203" pitchFamily="34" charset="0"/>
                <a:ea typeface="Segoe UI" pitchFamily="34" charset="0"/>
                <a:cs typeface="Segoe UI" pitchFamily="34" charset="0"/>
              </a:rPr>
            </a:br>
            <a:r>
              <a:rPr lang="en-US" sz="1371" kern="0" dirty="0">
                <a:solidFill>
                  <a:prstClr val="white"/>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25938" y="2233876"/>
            <a:ext cx="4122340" cy="35945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t" anchorCtr="0" forceAA="0" compatLnSpc="1">
            <a:prstTxWarp prst="textNoShape">
              <a:avLst/>
            </a:prstTxWarp>
            <a:noAutofit/>
          </a:bodyPr>
          <a:lstStyle/>
          <a:p>
            <a:pPr defTabSz="895575">
              <a:lnSpc>
                <a:spcPct val="90000"/>
              </a:lnSpc>
              <a:defRPr/>
            </a:pPr>
            <a:r>
              <a:rPr lang="en-US" sz="1765" kern="0" dirty="0">
                <a:solidFill>
                  <a:prstClr val="white"/>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9173" y="2801688"/>
            <a:ext cx="1344241" cy="1523474"/>
            <a:chOff x="1829165" y="3680140"/>
            <a:chExt cx="1371585" cy="1554464"/>
          </a:xfrm>
        </p:grpSpPr>
        <p:sp>
          <p:nvSpPr>
            <p:cNvPr id="8" name="Rectangle 7"/>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r>
                <a:rPr lang="en-US" sz="1077" kern="0" dirty="0">
                  <a:solidFill>
                    <a:prstClr val="white"/>
                  </a:solidFill>
                  <a:latin typeface="Segoe UI"/>
                </a:rPr>
                <a:t>C2D queue</a:t>
              </a:r>
            </a:p>
            <a:p>
              <a:pPr defTabSz="914192">
                <a:defRPr/>
              </a:pPr>
              <a:r>
                <a:rPr lang="en-US" sz="1077" kern="0" dirty="0">
                  <a:solidFill>
                    <a:prstClr val="white"/>
                  </a:solidFill>
                  <a:latin typeface="Segoe UI"/>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r>
                <a:rPr lang="en-US" sz="1077" kern="0" dirty="0">
                  <a:solidFill>
                    <a:prstClr val="white"/>
                  </a:solidFill>
                  <a:latin typeface="Segoe UI"/>
                </a:rPr>
                <a:t>D2C send endpoint</a:t>
              </a:r>
            </a:p>
          </p:txBody>
        </p:sp>
      </p:grpSp>
      <p:sp>
        <p:nvSpPr>
          <p:cNvPr id="12" name="Device … 2"/>
          <p:cNvSpPr/>
          <p:nvPr/>
        </p:nvSpPr>
        <p:spPr bwMode="auto">
          <a:xfrm>
            <a:off x="3479173" y="4504395"/>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9173" y="4977045"/>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9170" y="5409377"/>
            <a:ext cx="1344241" cy="35846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04" y="2801689"/>
            <a:ext cx="1344241" cy="8387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04" y="3697849"/>
            <a:ext cx="1344241" cy="5816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03" y="4325163"/>
            <a:ext cx="1344241" cy="76173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err="1">
                <a:solidFill>
                  <a:prstClr val="white"/>
                </a:solidFill>
                <a:latin typeface="Segoe UI Semibold" panose="020B0702040204020203" pitchFamily="34" charset="0"/>
                <a:ea typeface="Segoe UI" pitchFamily="34" charset="0"/>
                <a:cs typeface="Segoe UI" pitchFamily="34" charset="0"/>
              </a:rPr>
              <a:t>Msg</a:t>
            </a:r>
            <a:r>
              <a:rPr lang="en-US" sz="1077" kern="0" dirty="0">
                <a:solidFill>
                  <a:prstClr val="white"/>
                </a:solidFill>
                <a:latin typeface="Segoe UI Semibold" panose="020B0702040204020203" pitchFamily="34" charset="0"/>
                <a:ea typeface="Segoe UI" pitchFamily="34" charset="0"/>
                <a:cs typeface="Segoe UI" pitchFamily="34" charset="0"/>
              </a:rPr>
              <a:t> feedback </a:t>
            </a:r>
            <a:br>
              <a:rPr lang="en-US" sz="1077" kern="0" dirty="0">
                <a:solidFill>
                  <a:prstClr val="white"/>
                </a:solidFill>
                <a:latin typeface="Segoe UI Semibold" panose="020B0702040204020203" pitchFamily="34" charset="0"/>
                <a:ea typeface="Segoe UI" pitchFamily="34" charset="0"/>
                <a:cs typeface="Segoe UI" pitchFamily="34" charset="0"/>
              </a:rPr>
            </a:br>
            <a:r>
              <a:rPr lang="en-US" sz="1077" kern="0" dirty="0">
                <a:solidFill>
                  <a:prstClr val="white"/>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02" y="5156277"/>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60012" y="5335510"/>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9055" y="3112990"/>
            <a:ext cx="931764"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5585" y="2436387"/>
            <a:ext cx="537773" cy="544464"/>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grpSp>
      <p:cxnSp>
        <p:nvCxnSpPr>
          <p:cNvPr id="53" name="Straight Arrow Connector 52"/>
          <p:cNvCxnSpPr/>
          <p:nvPr/>
        </p:nvCxnSpPr>
        <p:spPr>
          <a:xfrm>
            <a:off x="2389055" y="3640418"/>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9055" y="4694722"/>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9055" y="5175706"/>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9055" y="5649984"/>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575" y="3070485"/>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575" y="3470602"/>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575" y="4067890"/>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575" y="4623415"/>
            <a:ext cx="931764"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575" y="5607480"/>
            <a:ext cx="931764"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853" y="4528978"/>
            <a:ext cx="186744" cy="309297"/>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62" name="device"/>
          <p:cNvGrpSpPr/>
          <p:nvPr/>
        </p:nvGrpSpPr>
        <p:grpSpPr>
          <a:xfrm>
            <a:off x="1268614" y="3070485"/>
            <a:ext cx="896260" cy="860711"/>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765" kern="0">
                  <a:solidFill>
                    <a:prstClr val="white"/>
                  </a:solidFill>
                  <a:latin typeface="Segoe UI"/>
                  <a:ea typeface="MS PGothic" panose="020B0600070205080204" pitchFamily="34" charset="-128"/>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grpSp>
        <p:nvGrpSpPr>
          <p:cNvPr id="85" name="Device …4"/>
          <p:cNvGrpSpPr/>
          <p:nvPr/>
        </p:nvGrpSpPr>
        <p:grpSpPr>
          <a:xfrm>
            <a:off x="4338184" y="5424275"/>
            <a:ext cx="399830" cy="330975"/>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30" tIns="44814" rIns="89630" bIns="44814" numCol="1" anchor="t" anchorCtr="0" compatLnSpc="1">
              <a:prstTxWarp prst="textNoShape">
                <a:avLst/>
              </a:prstTxWarp>
            </a:bodyPr>
            <a:lstStyle/>
            <a:p>
              <a:pPr defTabSz="914139">
                <a:defRPr/>
              </a:pPr>
              <a:endParaRPr lang="en-US" sz="1765" kern="0">
                <a:solidFill>
                  <a:prstClr val="white"/>
                </a:solidFill>
                <a:latin typeface="Segoe UI"/>
                <a:ea typeface="MS PGothic" panose="020B0600070205080204" pitchFamily="34" charset="-128"/>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89" name="Device …3"/>
          <p:cNvGrpSpPr/>
          <p:nvPr/>
        </p:nvGrpSpPr>
        <p:grpSpPr>
          <a:xfrm>
            <a:off x="4376289" y="5038873"/>
            <a:ext cx="332975" cy="200584"/>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sp>
        <p:nvSpPr>
          <p:cNvPr id="98" name="Device … 1"/>
          <p:cNvSpPr>
            <a:spLocks noEditPoints="1"/>
          </p:cNvSpPr>
          <p:nvPr/>
        </p:nvSpPr>
        <p:spPr bwMode="black">
          <a:xfrm>
            <a:off x="4402028" y="3988105"/>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nvGrpSpPr>
          <p:cNvPr id="52" name="IoT Hub management"/>
          <p:cNvGrpSpPr/>
          <p:nvPr/>
        </p:nvGrpSpPr>
        <p:grpSpPr>
          <a:xfrm>
            <a:off x="5823714" y="5363620"/>
            <a:ext cx="417093" cy="367765"/>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1567" kern="0" spc="-49" dirty="0">
                <a:solidFill>
                  <a:prstClr val="white"/>
                </a:solidFill>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2353" kern="0" dirty="0" err="1">
                  <a:solidFill>
                    <a:prstClr val="white"/>
                  </a:solidFill>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448" y="5217931"/>
            <a:ext cx="291569" cy="29137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2" name="Device provisioning"/>
          <p:cNvSpPr>
            <a:spLocks noChangeAspect="1" noEditPoints="1"/>
          </p:cNvSpPr>
          <p:nvPr/>
        </p:nvSpPr>
        <p:spPr bwMode="auto">
          <a:xfrm>
            <a:off x="10907028" y="5175707"/>
            <a:ext cx="714753" cy="579544"/>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nvGrpSpPr>
          <p:cNvPr id="113" name="C2D send endpoint"/>
          <p:cNvGrpSpPr>
            <a:grpSpLocks noChangeAspect="1"/>
          </p:cNvGrpSpPr>
          <p:nvPr/>
        </p:nvGrpSpPr>
        <p:grpSpPr bwMode="auto">
          <a:xfrm>
            <a:off x="7464476" y="3785793"/>
            <a:ext cx="180973" cy="18271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077" kern="0">
                <a:solidFill>
                  <a:prstClr val="white"/>
                </a:solidFill>
                <a:latin typeface="Segoe UI"/>
              </a:endParaRPr>
            </a:p>
          </p:txBody>
        </p:sp>
      </p:grpSp>
      <p:grpSp>
        <p:nvGrpSpPr>
          <p:cNvPr id="3" name="Group 2"/>
          <p:cNvGrpSpPr/>
          <p:nvPr/>
        </p:nvGrpSpPr>
        <p:grpSpPr>
          <a:xfrm>
            <a:off x="8892746" y="3223535"/>
            <a:ext cx="2921804" cy="1753509"/>
            <a:chOff x="9071468" y="3287646"/>
            <a:chExt cx="2980815" cy="1788925"/>
          </a:xfrm>
        </p:grpSpPr>
        <p:sp>
          <p:nvSpPr>
            <p:cNvPr id="26" name="Device business logic,"/>
            <p:cNvSpPr/>
            <p:nvPr/>
          </p:nvSpPr>
          <p:spPr>
            <a:xfrm>
              <a:off x="9071468" y="3287646"/>
              <a:ext cx="2887291" cy="178892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Device business logic,</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621" y="2940021"/>
            <a:ext cx="342384" cy="195339"/>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14192">
              <a:defRPr/>
            </a:pPr>
            <a:endParaRPr lang="en-US" sz="1765" kern="0">
              <a:solidFill>
                <a:prstClr val="white"/>
              </a:solidFill>
              <a:latin typeface="Segoe UI"/>
            </a:endParaRPr>
          </a:p>
        </p:txBody>
      </p:sp>
      <p:grpSp>
        <p:nvGrpSpPr>
          <p:cNvPr id="120" name="feedback icon"/>
          <p:cNvGrpSpPr/>
          <p:nvPr/>
        </p:nvGrpSpPr>
        <p:grpSpPr>
          <a:xfrm>
            <a:off x="7431377" y="4381360"/>
            <a:ext cx="279336" cy="265804"/>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grpSp>
        <p:nvGrpSpPr>
          <p:cNvPr id="2" name="Group 1"/>
          <p:cNvGrpSpPr/>
          <p:nvPr/>
        </p:nvGrpSpPr>
        <p:grpSpPr>
          <a:xfrm>
            <a:off x="1077466" y="4334856"/>
            <a:ext cx="1311591" cy="1523645"/>
            <a:chOff x="1098343" y="4421413"/>
            <a:chExt cx="1338081" cy="1554418"/>
          </a:xfrm>
        </p:grpSpPr>
        <p:sp>
          <p:nvSpPr>
            <p:cNvPr id="92" name="Field GW /"/>
            <p:cNvSpPr/>
            <p:nvPr/>
          </p:nvSpPr>
          <p:spPr bwMode="auto">
            <a:xfrm>
              <a:off x="1098343" y="4421413"/>
              <a:ext cx="1338081" cy="155441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Field GW /</a:t>
              </a:r>
            </a:p>
            <a:p>
              <a:pPr defTabSz="895575">
                <a:lnSpc>
                  <a:spcPct val="90000"/>
                </a:lnSpc>
                <a:defRPr/>
              </a:pPr>
              <a:r>
                <a:rPr lang="en-US" sz="1371" kern="0" dirty="0">
                  <a:solidFill>
                    <a:prstClr val="white"/>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lnSpc>
                    <a:spcPct val="80000"/>
                  </a:lnSpc>
                  <a:defRPr/>
                </a:pPr>
                <a:endParaRPr lang="en-US" sz="4312" kern="0" spc="-147">
                  <a:solidFill>
                    <a:prstClr val="white"/>
                  </a:solidFill>
                  <a:latin typeface="Segoe UI Light"/>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defTabSz="913862">
                      <a:defRPr/>
                    </a:pPr>
                    <a:endParaRPr lang="en-US" sz="1469" kern="0" dirty="0">
                      <a:solidFill>
                        <a:prstClr val="white"/>
                      </a:solidFill>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dirty="0">
                    <a:solidFill>
                      <a:prstClr val="white"/>
                    </a:solidFill>
                    <a:latin typeface="Segoe UI"/>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668" rtlCol="0" anchor="ctr"/>
              <a:lstStyle/>
              <a:p>
                <a:pPr algn="ctr" defTabSz="914192">
                  <a:lnSpc>
                    <a:spcPct val="80000"/>
                  </a:lnSpc>
                  <a:defRPr/>
                </a:pPr>
                <a:endParaRPr lang="en-US" sz="4312" kern="0" spc="-147">
                  <a:solidFill>
                    <a:prstClr val="white"/>
                  </a:solidFill>
                  <a:latin typeface="Segoe UI Light"/>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a:defRPr/>
                </a:pPr>
                <a:endParaRPr lang="en-US" sz="1567" kern="0" spc="-49" dirty="0" err="1">
                  <a:solidFill>
                    <a:prstClr val="white"/>
                  </a:solidFill>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extLst>
              <a:ext uri="{28A0092B-C50C-407E-A947-70E740481C1C}">
                <a14:useLocalDpi xmlns:a14="http://schemas.microsoft.com/office/drawing/2010/main" val="0"/>
              </a:ext>
            </a:extLst>
          </a:blip>
          <a:srcRect r="-632"/>
          <a:stretch>
            <a:fillRect/>
          </a:stretch>
        </p:blipFill>
        <p:spPr bwMode="auto">
          <a:xfrm>
            <a:off x="5345073" y="3821341"/>
            <a:ext cx="490623" cy="494128"/>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ular Callout 5"/>
          <p:cNvSpPr/>
          <p:nvPr/>
        </p:nvSpPr>
        <p:spPr bwMode="auto">
          <a:xfrm>
            <a:off x="270068" y="1314836"/>
            <a:ext cx="3734275" cy="896109"/>
          </a:xfrm>
          <a:prstGeom prst="wedgeRoundRectCallout">
            <a:avLst>
              <a:gd name="adj1" fmla="val 16997"/>
              <a:gd name="adj2" fmla="val 175119"/>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AMQP/WS, AMQP, MQTT, HTTPS</a:t>
            </a:r>
          </a:p>
        </p:txBody>
      </p:sp>
      <p:sp>
        <p:nvSpPr>
          <p:cNvPr id="111" name="Rounded Rectangular Callout 110"/>
          <p:cNvSpPr/>
          <p:nvPr/>
        </p:nvSpPr>
        <p:spPr bwMode="auto">
          <a:xfrm>
            <a:off x="6590201" y="1379642"/>
            <a:ext cx="2930096" cy="542205"/>
          </a:xfrm>
          <a:prstGeom prst="wedgeRoundRectCallout">
            <a:avLst>
              <a:gd name="adj1" fmla="val 6831"/>
              <a:gd name="adj2" fmla="val 532109"/>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Operations monitoring</a:t>
            </a:r>
            <a:endParaRPr lang="en-US" sz="1600" kern="0" dirty="0">
              <a:solidFill>
                <a:prstClr val="black"/>
              </a:solidFill>
              <a:latin typeface="Segoe UI"/>
            </a:endParaRPr>
          </a:p>
        </p:txBody>
      </p:sp>
      <p:sp>
        <p:nvSpPr>
          <p:cNvPr id="137" name="Rounded Rectangular Callout 136"/>
          <p:cNvSpPr/>
          <p:nvPr/>
        </p:nvSpPr>
        <p:spPr bwMode="auto">
          <a:xfrm>
            <a:off x="6074969" y="6079432"/>
            <a:ext cx="4652077" cy="542205"/>
          </a:xfrm>
          <a:prstGeom prst="wedgeRoundRectCallout">
            <a:avLst>
              <a:gd name="adj1" fmla="val -26941"/>
              <a:gd name="adj2" fmla="val -104130"/>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896386">
              <a:lnSpc>
                <a:spcPct val="90000"/>
              </a:lnSpc>
              <a:spcAft>
                <a:spcPts val="600"/>
              </a:spcAft>
              <a:defRPr/>
            </a:pPr>
            <a:r>
              <a:rPr lang="en-US" sz="1600" b="1" kern="0" dirty="0">
                <a:solidFill>
                  <a:prstClr val="black"/>
                </a:solidFill>
                <a:latin typeface="Segoe UI"/>
              </a:rPr>
              <a:t>Bulk import/export of device identities</a:t>
            </a:r>
          </a:p>
        </p:txBody>
      </p:sp>
      <p:sp>
        <p:nvSpPr>
          <p:cNvPr id="138" name="IoT Hub management"/>
          <p:cNvSpPr/>
          <p:nvPr/>
        </p:nvSpPr>
        <p:spPr bwMode="auto">
          <a:xfrm>
            <a:off x="4939791" y="4611312"/>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Device management Twin</a:t>
            </a:r>
          </a:p>
        </p:txBody>
      </p:sp>
      <p:sp>
        <p:nvSpPr>
          <p:cNvPr id="139" name="IoT Hub management"/>
          <p:cNvSpPr/>
          <p:nvPr/>
        </p:nvSpPr>
        <p:spPr bwMode="auto">
          <a:xfrm>
            <a:off x="4902568" y="2911320"/>
            <a:ext cx="1344241" cy="62895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89630" rIns="0" bIns="89604" numCol="1" spcCol="0" rtlCol="0" fromWordArt="0" anchor="b" anchorCtr="0" forceAA="0" compatLnSpc="1">
            <a:prstTxWarp prst="textNoShape">
              <a:avLst/>
            </a:prstTxWarp>
            <a:noAutofit/>
          </a:bodyPr>
          <a:lstStyle/>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IoT Hub</a:t>
            </a:r>
          </a:p>
          <a:p>
            <a:pPr defTabSz="895575">
              <a:lnSpc>
                <a:spcPct val="90000"/>
              </a:lnSpc>
              <a:defRPr/>
            </a:pPr>
            <a:r>
              <a:rPr lang="en-US" sz="1077" kern="0" dirty="0">
                <a:solidFill>
                  <a:prstClr val="white"/>
                </a:solidFill>
                <a:latin typeface="Segoe UI Semibold" panose="020B0702040204020203" pitchFamily="34" charset="0"/>
                <a:ea typeface="Segoe UI" pitchFamily="34" charset="0"/>
                <a:cs typeface="Segoe UI" pitchFamily="34" charset="0"/>
              </a:rPr>
              <a:t>File Upload</a:t>
            </a:r>
          </a:p>
        </p:txBody>
      </p:sp>
      <p:grpSp>
        <p:nvGrpSpPr>
          <p:cNvPr id="140" name="feedback icon"/>
          <p:cNvGrpSpPr/>
          <p:nvPr/>
        </p:nvGrpSpPr>
        <p:grpSpPr>
          <a:xfrm>
            <a:off x="5838885" y="2973938"/>
            <a:ext cx="279336" cy="265804"/>
            <a:chOff x="11209667" y="1326560"/>
            <a:chExt cx="1287867" cy="1225483"/>
          </a:xfrm>
        </p:grpSpPr>
        <p:grpSp>
          <p:nvGrpSpPr>
            <p:cNvPr id="141" name="Group 140"/>
            <p:cNvGrpSpPr/>
            <p:nvPr/>
          </p:nvGrpSpPr>
          <p:grpSpPr>
            <a:xfrm>
              <a:off x="11209667" y="1326560"/>
              <a:ext cx="901749" cy="772996"/>
              <a:chOff x="11148003" y="2486796"/>
              <a:chExt cx="1527631" cy="1309513"/>
            </a:xfrm>
          </p:grpSpPr>
          <p:sp>
            <p:nvSpPr>
              <p:cNvPr id="14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42" name="Group 141"/>
            <p:cNvGrpSpPr/>
            <p:nvPr/>
          </p:nvGrpSpPr>
          <p:grpSpPr>
            <a:xfrm>
              <a:off x="11403194" y="1550235"/>
              <a:ext cx="900814" cy="772996"/>
              <a:chOff x="11148003" y="2486796"/>
              <a:chExt cx="1526047" cy="1309513"/>
            </a:xfrm>
          </p:grpSpPr>
          <p:sp>
            <p:nvSpPr>
              <p:cNvPr id="14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nvGrpSpPr>
            <p:cNvPr id="143" name="Group 142"/>
            <p:cNvGrpSpPr/>
            <p:nvPr/>
          </p:nvGrpSpPr>
          <p:grpSpPr>
            <a:xfrm>
              <a:off x="11595785" y="1779047"/>
              <a:ext cx="901749" cy="772996"/>
              <a:chOff x="11148003" y="2486796"/>
              <a:chExt cx="1527631" cy="1309513"/>
            </a:xfrm>
          </p:grpSpPr>
          <p:sp>
            <p:nvSpPr>
              <p:cNvPr id="14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sp>
            <p:nvSpPr>
              <p:cNvPr id="14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30" tIns="44814" rIns="89630" bIns="44814" numCol="1" anchor="t" anchorCtr="0" compatLnSpc="1">
                <a:prstTxWarp prst="textNoShape">
                  <a:avLst/>
                </a:prstTxWarp>
              </a:bodyPr>
              <a:lstStyle/>
              <a:p>
                <a:pPr defTabSz="914192">
                  <a:defRPr/>
                </a:pPr>
                <a:endParaRPr lang="en-US" sz="1077" kern="0" dirty="0" err="1">
                  <a:solidFill>
                    <a:prstClr val="white"/>
                  </a:solidFill>
                  <a:latin typeface="Segoe UI"/>
                </a:endParaRPr>
              </a:p>
            </p:txBody>
          </p:sp>
        </p:grpSp>
      </p:grpSp>
    </p:spTree>
    <p:extLst>
      <p:ext uri="{BB962C8B-B14F-4D97-AF65-F5344CB8AC3E}">
        <p14:creationId xmlns:p14="http://schemas.microsoft.com/office/powerpoint/2010/main" val="400440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1" grpId="0" animBg="1"/>
      <p:bldP spid="13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6">
            <a:lumMod val="10000"/>
            <a:lumOff val="90000"/>
          </a:schemeClr>
        </a:solidFill>
        <a:effectLst/>
      </p:bgPr>
    </p:bg>
    <p:spTree>
      <p:nvGrpSpPr>
        <p:cNvPr id="1" name=""/>
        <p:cNvGrpSpPr/>
        <p:nvPr/>
      </p:nvGrpSpPr>
      <p:grpSpPr>
        <a:xfrm>
          <a:off x="0" y="0"/>
          <a:ext cx="0" cy="0"/>
          <a:chOff x="0" y="0"/>
          <a:chExt cx="0" cy="0"/>
        </a:xfrm>
      </p:grpSpPr>
      <p:sp>
        <p:nvSpPr>
          <p:cNvPr id="5" name="L-Shape 4"/>
          <p:cNvSpPr/>
          <p:nvPr/>
        </p:nvSpPr>
        <p:spPr bwMode="auto">
          <a:xfrm rot="5400000">
            <a:off x="3553525" y="598220"/>
            <a:ext cx="4715301" cy="4976958"/>
          </a:xfrm>
          <a:prstGeom prst="corner">
            <a:avLst>
              <a:gd name="adj1" fmla="val 47639"/>
              <a:gd name="adj2" fmla="val 69598"/>
            </a:avLst>
          </a:prstGeom>
          <a:noFill/>
          <a:ln w="38100">
            <a:solidFill>
              <a:srgbClr val="9F9F9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a:xfrm>
            <a:off x="2640545" y="4138601"/>
            <a:ext cx="1878615" cy="1152807"/>
          </a:xfrm>
          <a:prstGeom prst="rect">
            <a:avLst/>
          </a:prstGeom>
          <a:noFill/>
          <a:ln w="12700" cap="flat" cmpd="sng" algn="ctr">
            <a:solidFill>
              <a:srgbClr val="0078D7"/>
            </a:solidFill>
            <a:prstDash val="dash"/>
            <a:miter lim="800000"/>
          </a:ln>
          <a:effectLst/>
        </p:spPr>
        <p:txBody>
          <a:bodyPr tIns="89618" rtlCol="0" anchor="ctr"/>
          <a:lstStyle/>
          <a:p>
            <a:pPr algn="ctr" defTabSz="896238">
              <a:lnSpc>
                <a:spcPct val="90000"/>
              </a:lnSpc>
              <a:defRPr/>
            </a:pPr>
            <a:endParaRPr lang="en-US" sz="980" kern="0" dirty="0">
              <a:solidFill>
                <a:srgbClr val="44546A"/>
              </a:solidFill>
              <a:latin typeface="Calibri" panose="020F0502020204030204"/>
              <a:ea typeface="Segoe UI" panose="020B0502040204020203" pitchFamily="34" charset="0"/>
              <a:cs typeface="Segoe UI" panose="020B0502040204020203" pitchFamily="34" charset="0"/>
            </a:endParaRPr>
          </a:p>
        </p:txBody>
      </p:sp>
      <p:sp>
        <p:nvSpPr>
          <p:cNvPr id="7" name="Rectangle 6"/>
          <p:cNvSpPr/>
          <p:nvPr/>
        </p:nvSpPr>
        <p:spPr>
          <a:xfrm>
            <a:off x="1895662" y="4255495"/>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defRPr/>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8" name="Elbow Connector 7"/>
          <p:cNvCxnSpPr/>
          <p:nvPr/>
        </p:nvCxnSpPr>
        <p:spPr>
          <a:xfrm>
            <a:off x="1436875" y="4375194"/>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9" name="Straight Arrow Connector 8"/>
          <p:cNvCxnSpPr/>
          <p:nvPr/>
        </p:nvCxnSpPr>
        <p:spPr>
          <a:xfrm>
            <a:off x="1594956" y="4680710"/>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10" name="Isosceles Triangle 9"/>
          <p:cNvSpPr/>
          <p:nvPr/>
        </p:nvSpPr>
        <p:spPr>
          <a:xfrm rot="16200000">
            <a:off x="1270689" y="4312058"/>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1" name="Isosceles Triangle 10"/>
          <p:cNvSpPr/>
          <p:nvPr/>
        </p:nvSpPr>
        <p:spPr>
          <a:xfrm rot="5400000">
            <a:off x="1691163" y="462463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2" name="Isosceles Triangle 11"/>
          <p:cNvSpPr/>
          <p:nvPr/>
        </p:nvSpPr>
        <p:spPr>
          <a:xfrm rot="16200000">
            <a:off x="1270689" y="4937916"/>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13" name="TextBox 12"/>
          <p:cNvSpPr txBox="1"/>
          <p:nvPr/>
        </p:nvSpPr>
        <p:spPr>
          <a:xfrm>
            <a:off x="254424" y="4613238"/>
            <a:ext cx="1226847"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oAP, AllJoyn, OPC, …</a:t>
            </a:r>
          </a:p>
        </p:txBody>
      </p:sp>
      <p:cxnSp>
        <p:nvCxnSpPr>
          <p:cNvPr id="14" name="Straight Arrow Connector 13"/>
          <p:cNvCxnSpPr>
            <a:stCxn id="7" idx="3"/>
            <a:endCxn id="15" idx="1"/>
          </p:cNvCxnSpPr>
          <p:nvPr/>
        </p:nvCxnSpPr>
        <p:spPr>
          <a:xfrm>
            <a:off x="2791847" y="4709718"/>
            <a:ext cx="1577948"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5" name="Rectangle 14"/>
          <p:cNvSpPr/>
          <p:nvPr/>
        </p:nvSpPr>
        <p:spPr>
          <a:xfrm>
            <a:off x="4369793" y="4255495"/>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defRPr/>
            </a:pPr>
            <a:endParaRPr lang="en-US" sz="980" kern="0" dirty="0">
              <a:solidFill>
                <a:sysClr val="windowText" lastClr="000000"/>
              </a:solidFill>
              <a:latin typeface="Calibri" panose="020F0502020204030204"/>
              <a:cs typeface="Arial" panose="020B0604020202020204" pitchFamily="34" charset="0"/>
            </a:endParaRPr>
          </a:p>
          <a:p>
            <a:pPr algn="ctr" defTabSz="878581">
              <a:defRPr/>
            </a:pPr>
            <a:endParaRPr lang="en-US" sz="980" kern="0" dirty="0">
              <a:solidFill>
                <a:sysClr val="windowText" lastClr="000000"/>
              </a:solidFill>
              <a:latin typeface="Calibri" panose="020F0502020204030204"/>
              <a:cs typeface="Arial" panose="020B0604020202020204" pitchFamily="34" charset="0"/>
            </a:endParaRPr>
          </a:p>
          <a:p>
            <a:pPr algn="ctr" defTabSz="878581">
              <a:defRPr/>
            </a:pPr>
            <a:r>
              <a:rPr lang="en-US" sz="980" kern="0" dirty="0">
                <a:solidFill>
                  <a:sysClr val="windowText" lastClr="000000"/>
                </a:solidFill>
                <a:latin typeface="Calibri" panose="020F0502020204030204"/>
                <a:cs typeface="Arial" panose="020B0604020202020204" pitchFamily="34" charset="0"/>
              </a:rPr>
              <a:t>Custom Cloud Gateway</a:t>
            </a:r>
          </a:p>
          <a:p>
            <a:pPr algn="ctr" defTabSz="878581">
              <a:defRPr/>
            </a:pPr>
            <a:r>
              <a:rPr lang="en-US" sz="980" kern="0" dirty="0">
                <a:solidFill>
                  <a:sysClr val="windowText" lastClr="000000"/>
                </a:solidFill>
                <a:latin typeface="Calibri" panose="020F0502020204030204"/>
                <a:cs typeface="Arial" panose="020B0604020202020204" pitchFamily="34" charset="0"/>
              </a:rPr>
              <a:t>(Cloud Service, VM)</a:t>
            </a:r>
          </a:p>
        </p:txBody>
      </p:sp>
      <p:sp>
        <p:nvSpPr>
          <p:cNvPr id="16" name="TextBox 15"/>
          <p:cNvSpPr txBox="1"/>
          <p:nvPr/>
        </p:nvSpPr>
        <p:spPr>
          <a:xfrm>
            <a:off x="2989422" y="4895621"/>
            <a:ext cx="1156325"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VPN/ExpressRoute</a:t>
            </a:r>
          </a:p>
        </p:txBody>
      </p:sp>
      <p:sp>
        <p:nvSpPr>
          <p:cNvPr id="17" name="TextBox 16"/>
          <p:cNvSpPr txBox="1"/>
          <p:nvPr/>
        </p:nvSpPr>
        <p:spPr>
          <a:xfrm>
            <a:off x="3025520" y="4470517"/>
            <a:ext cx="1156325"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OPC, HTTP, </a:t>
            </a:r>
            <a:r>
              <a:rPr lang="en-US" sz="980" kern="0" dirty="0" err="1">
                <a:solidFill>
                  <a:srgbClr val="44546A"/>
                </a:solidFill>
                <a:latin typeface="Segoe UI"/>
                <a:ea typeface="Segoe UI" panose="020B0502040204020203" pitchFamily="34" charset="0"/>
                <a:cs typeface="Segoe UI" panose="020B0502040204020203" pitchFamily="34" charset="0"/>
              </a:rPr>
              <a:t>CoAP</a:t>
            </a:r>
            <a:r>
              <a:rPr lang="en-US" sz="980" kern="0" dirty="0">
                <a:solidFill>
                  <a:srgbClr val="44546A"/>
                </a:solidFill>
                <a:latin typeface="Segoe UI"/>
                <a:ea typeface="Segoe UI" panose="020B0502040204020203" pitchFamily="34" charset="0"/>
                <a:cs typeface="Segoe UI" panose="020B0502040204020203" pitchFamily="34" charset="0"/>
              </a:rPr>
              <a:t>,…</a:t>
            </a:r>
          </a:p>
        </p:txBody>
      </p:sp>
      <p:sp>
        <p:nvSpPr>
          <p:cNvPr id="18" name="Rectangle 17"/>
          <p:cNvSpPr/>
          <p:nvPr/>
        </p:nvSpPr>
        <p:spPr>
          <a:xfrm>
            <a:off x="1895662" y="2939967"/>
            <a:ext cx="896184" cy="908446"/>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p>
            <a:pPr algn="ctr" defTabSz="878581">
              <a:spcBef>
                <a:spcPts val="588"/>
              </a:spcBef>
              <a:defRPr/>
            </a:pPr>
            <a:r>
              <a:rPr lang="en-US" sz="1175" kern="0" dirty="0">
                <a:solidFill>
                  <a:sysClr val="windowText" lastClr="000000"/>
                </a:solidFill>
                <a:latin typeface="Calibri" panose="020F0502020204030204"/>
                <a:cs typeface="Arial" panose="020B0604020202020204" pitchFamily="34" charset="0"/>
              </a:rPr>
              <a:t>Field </a:t>
            </a:r>
            <a:br>
              <a:rPr lang="en-US" sz="1175" kern="0" dirty="0">
                <a:solidFill>
                  <a:sysClr val="windowText" lastClr="000000"/>
                </a:solidFill>
                <a:latin typeface="Calibri" panose="020F0502020204030204"/>
                <a:cs typeface="Arial" panose="020B0604020202020204" pitchFamily="34" charset="0"/>
              </a:rPr>
            </a:br>
            <a:r>
              <a:rPr lang="en-US" sz="1175" kern="0" dirty="0">
                <a:solidFill>
                  <a:sysClr val="windowText" lastClr="000000"/>
                </a:solidFill>
                <a:latin typeface="Calibri" panose="020F0502020204030204"/>
                <a:cs typeface="Arial" panose="020B0604020202020204" pitchFamily="34" charset="0"/>
              </a:rPr>
              <a:t>Gateway</a:t>
            </a:r>
          </a:p>
        </p:txBody>
      </p:sp>
      <p:cxnSp>
        <p:nvCxnSpPr>
          <p:cNvPr id="19" name="Elbow Connector 18"/>
          <p:cNvCxnSpPr/>
          <p:nvPr/>
        </p:nvCxnSpPr>
        <p:spPr>
          <a:xfrm>
            <a:off x="1436875" y="3059664"/>
            <a:ext cx="12446" cy="627329"/>
          </a:xfrm>
          <a:prstGeom prst="bentConnector3">
            <a:avLst>
              <a:gd name="adj1" fmla="val 1301228"/>
            </a:avLst>
          </a:prstGeom>
          <a:noFill/>
          <a:ln w="76200" cap="flat" cmpd="sng" algn="ctr">
            <a:solidFill>
              <a:srgbClr val="E7E6E6">
                <a:lumMod val="50000"/>
              </a:srgbClr>
            </a:solidFill>
            <a:prstDash val="solid"/>
            <a:miter lim="800000"/>
            <a:headEnd type="none" w="med" len="med"/>
            <a:tailEnd type="none" w="med" len="med"/>
          </a:ln>
          <a:effectLst/>
        </p:spPr>
      </p:cxnSp>
      <p:cxnSp>
        <p:nvCxnSpPr>
          <p:cNvPr id="20" name="Straight Arrow Connector 19"/>
          <p:cNvCxnSpPr/>
          <p:nvPr/>
        </p:nvCxnSpPr>
        <p:spPr>
          <a:xfrm>
            <a:off x="1594956" y="3365181"/>
            <a:ext cx="179237" cy="0"/>
          </a:xfrm>
          <a:prstGeom prst="straightConnector1">
            <a:avLst/>
          </a:prstGeom>
          <a:noFill/>
          <a:ln w="76200" cap="flat" cmpd="sng" algn="ctr">
            <a:solidFill>
              <a:srgbClr val="E7E6E6">
                <a:lumMod val="50000"/>
              </a:srgbClr>
            </a:solidFill>
            <a:prstDash val="solid"/>
            <a:miter lim="800000"/>
            <a:headEnd type="none" w="med" len="med"/>
            <a:tailEnd type="none" w="med" len="med"/>
          </a:ln>
          <a:effectLst/>
        </p:spPr>
      </p:cxnSp>
      <p:sp>
        <p:nvSpPr>
          <p:cNvPr id="21" name="Isosceles Triangle 20"/>
          <p:cNvSpPr/>
          <p:nvPr/>
        </p:nvSpPr>
        <p:spPr>
          <a:xfrm rot="16200000">
            <a:off x="1270689" y="2996529"/>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2" name="Isosceles Triangle 21"/>
          <p:cNvSpPr/>
          <p:nvPr/>
        </p:nvSpPr>
        <p:spPr>
          <a:xfrm rot="5400000">
            <a:off x="1691163" y="3309101"/>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3" name="Isosceles Triangle 22"/>
          <p:cNvSpPr/>
          <p:nvPr/>
        </p:nvSpPr>
        <p:spPr>
          <a:xfrm rot="16200000">
            <a:off x="1270689" y="3622389"/>
            <a:ext cx="268855" cy="120658"/>
          </a:xfrm>
          <a:prstGeom prst="triangle">
            <a:avLst/>
          </a:prstGeom>
          <a:solidFill>
            <a:srgbClr val="E7E6E6">
              <a:lumMod val="50000"/>
            </a:srgbClr>
          </a:solidFill>
          <a:ln w="12700" cap="flat" cmpd="sng" algn="ctr">
            <a:noFill/>
            <a:prstDash val="solid"/>
            <a:miter lim="800000"/>
          </a:ln>
          <a:effectLst/>
        </p:spPr>
        <p:txBody>
          <a:bodyPr rtlCol="0" anchor="ctr"/>
          <a:lstStyle/>
          <a:p>
            <a:pPr algn="ctr" defTabSz="896238">
              <a:defRPr/>
            </a:pPr>
            <a:endParaRPr lang="en-US" sz="1766" kern="0">
              <a:solidFill>
                <a:prstClr val="white"/>
              </a:solidFill>
              <a:latin typeface="Calibri" panose="020F0502020204030204"/>
            </a:endParaRPr>
          </a:p>
        </p:txBody>
      </p:sp>
      <p:sp>
        <p:nvSpPr>
          <p:cNvPr id="24" name="TextBox 23"/>
          <p:cNvSpPr txBox="1"/>
          <p:nvPr/>
        </p:nvSpPr>
        <p:spPr>
          <a:xfrm>
            <a:off x="247722" y="3297711"/>
            <a:ext cx="1233549"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oAP, AllJoyn, OPC,…</a:t>
            </a:r>
          </a:p>
        </p:txBody>
      </p:sp>
      <p:cxnSp>
        <p:nvCxnSpPr>
          <p:cNvPr id="25" name="Straight Arrow Connector 24"/>
          <p:cNvCxnSpPr/>
          <p:nvPr/>
        </p:nvCxnSpPr>
        <p:spPr>
          <a:xfrm flipV="1">
            <a:off x="2706660" y="3722261"/>
            <a:ext cx="1657725" cy="9388"/>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26" name="Rectangle 25"/>
          <p:cNvSpPr/>
          <p:nvPr/>
        </p:nvSpPr>
        <p:spPr>
          <a:xfrm>
            <a:off x="4369793" y="2165407"/>
            <a:ext cx="896184" cy="1808994"/>
          </a:xfrm>
          <a:prstGeom prst="rect">
            <a:avLst/>
          </a:prstGeom>
          <a:solidFill>
            <a:schemeClr val="bg2">
              <a:lumMod val="50000"/>
            </a:schemeClr>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980" kern="0" dirty="0" err="1">
                <a:solidFill>
                  <a:srgbClr val="FFFFFF"/>
                </a:solidFill>
                <a:latin typeface="Calibri" panose="020F0502020204030204"/>
                <a:cs typeface="Segoe UI" panose="020B0502040204020203" pitchFamily="34" charset="0"/>
              </a:rPr>
              <a:t>IoT</a:t>
            </a:r>
            <a:r>
              <a:rPr lang="en-US" sz="980" kern="0" dirty="0">
                <a:solidFill>
                  <a:srgbClr val="FFFFFF"/>
                </a:solidFill>
                <a:latin typeface="Calibri" panose="020F0502020204030204"/>
                <a:cs typeface="Segoe UI" panose="020B0502040204020203" pitchFamily="34" charset="0"/>
              </a:rPr>
              <a:t> Hub</a:t>
            </a:r>
          </a:p>
        </p:txBody>
      </p:sp>
      <p:sp>
        <p:nvSpPr>
          <p:cNvPr id="27" name="Rectangle 26"/>
          <p:cNvSpPr/>
          <p:nvPr/>
        </p:nvSpPr>
        <p:spPr>
          <a:xfrm>
            <a:off x="4369795" y="954577"/>
            <a:ext cx="892267" cy="913355"/>
          </a:xfrm>
          <a:prstGeom prst="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p>
            <a:pPr defTabSz="878581">
              <a:spcBef>
                <a:spcPts val="588"/>
              </a:spcBef>
              <a:defRPr/>
            </a:pPr>
            <a:r>
              <a:rPr lang="en-US" sz="882" kern="0" dirty="0">
                <a:solidFill>
                  <a:sysClr val="windowText" lastClr="000000"/>
                </a:solidFill>
                <a:latin typeface="Calibri" panose="020F0502020204030204"/>
                <a:cs typeface="Arial" panose="020B0604020202020204" pitchFamily="34" charset="0"/>
              </a:rPr>
              <a:t>Custom Cloud Gateway</a:t>
            </a:r>
          </a:p>
          <a:p>
            <a:pPr defTabSz="878581">
              <a:spcBef>
                <a:spcPts val="588"/>
              </a:spcBef>
              <a:defRPr/>
            </a:pPr>
            <a:r>
              <a:rPr lang="en-US" sz="882" kern="0" dirty="0">
                <a:solidFill>
                  <a:sysClr val="windowText" lastClr="000000"/>
                </a:solidFill>
                <a:latin typeface="Calibri" panose="020F0502020204030204"/>
                <a:cs typeface="Arial" panose="020B0604020202020204" pitchFamily="34" charset="0"/>
              </a:rPr>
              <a:t>(Cloud Service, VM)</a:t>
            </a:r>
          </a:p>
        </p:txBody>
      </p:sp>
      <p:sp>
        <p:nvSpPr>
          <p:cNvPr id="28" name="TextBox 27"/>
          <p:cNvSpPr txBox="1"/>
          <p:nvPr/>
        </p:nvSpPr>
        <p:spPr>
          <a:xfrm>
            <a:off x="2219002" y="2223694"/>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cxnSp>
        <p:nvCxnSpPr>
          <p:cNvPr id="29" name="Straight Arrow Connector 28"/>
          <p:cNvCxnSpPr>
            <a:stCxn id="36" idx="3"/>
            <a:endCxn id="27" idx="1"/>
          </p:cNvCxnSpPr>
          <p:nvPr/>
        </p:nvCxnSpPr>
        <p:spPr>
          <a:xfrm>
            <a:off x="1310431" y="1410704"/>
            <a:ext cx="3059363" cy="549"/>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30" name="TextBox 29"/>
          <p:cNvSpPr txBox="1"/>
          <p:nvPr/>
        </p:nvSpPr>
        <p:spPr>
          <a:xfrm>
            <a:off x="1533417" y="1196821"/>
            <a:ext cx="2612332"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Custom Protocols</a:t>
            </a:r>
          </a:p>
        </p:txBody>
      </p:sp>
      <p:grpSp>
        <p:nvGrpSpPr>
          <p:cNvPr id="31" name="Group 30"/>
          <p:cNvGrpSpPr/>
          <p:nvPr/>
        </p:nvGrpSpPr>
        <p:grpSpPr>
          <a:xfrm>
            <a:off x="9196057" y="4943567"/>
            <a:ext cx="1678994" cy="347825"/>
            <a:chOff x="1223726" y="5922121"/>
            <a:chExt cx="1713123" cy="354897"/>
          </a:xfrm>
        </p:grpSpPr>
        <p:sp>
          <p:nvSpPr>
            <p:cNvPr id="32" name="Rectangle 31"/>
            <p:cNvSpPr/>
            <p:nvPr/>
          </p:nvSpPr>
          <p:spPr>
            <a:xfrm>
              <a:off x="1223726" y="5928063"/>
              <a:ext cx="238367" cy="140896"/>
            </a:xfrm>
            <a:prstGeom prst="rect">
              <a:avLst/>
            </a:prstGeom>
            <a:solidFill>
              <a:srgbClr val="EAEBEC"/>
            </a:solidFill>
            <a:ln w="12700" cap="flat" cmpd="sng" algn="ctr">
              <a:solidFill>
                <a:srgbClr val="0078D7"/>
              </a:solidFill>
              <a:prstDash val="solid"/>
              <a:miter lim="800000"/>
            </a:ln>
            <a:effectLst/>
          </p:spPr>
          <p:txBody>
            <a:bodyPr tIns="89618" rtlCol="0" anchor="t"/>
            <a:lstStyle/>
            <a:p>
              <a:pPr algn="ctr" defTabSz="896238">
                <a:lnSpc>
                  <a:spcPct val="90000"/>
                </a:lnSpc>
                <a:defRPr/>
              </a:pPr>
              <a:endParaRPr lang="en-US" sz="980" kern="0" dirty="0">
                <a:solidFill>
                  <a:srgbClr val="4472C4"/>
                </a:solidFill>
                <a:latin typeface="Calibri" panose="020F0502020204030204"/>
                <a:ea typeface="Segoe UI" panose="020B0502040204020203" pitchFamily="34" charset="0"/>
                <a:cs typeface="Segoe UI" panose="020B0502040204020203" pitchFamily="34" charset="0"/>
              </a:endParaRPr>
            </a:p>
          </p:txBody>
        </p:sp>
        <p:sp>
          <p:nvSpPr>
            <p:cNvPr id="33" name="Rectangle 32"/>
            <p:cNvSpPr/>
            <p:nvPr/>
          </p:nvSpPr>
          <p:spPr>
            <a:xfrm>
              <a:off x="1223726" y="6136122"/>
              <a:ext cx="238367" cy="140896"/>
            </a:xfrm>
            <a:prstGeom prst="rect">
              <a:avLst/>
            </a:prstGeom>
            <a:solidFill>
              <a:srgbClr val="0078D7"/>
            </a:solidFill>
            <a:ln w="19050" cap="flat" cmpd="sng" algn="ctr">
              <a:noFill/>
              <a:prstDash val="solid"/>
              <a:miter lim="800000"/>
            </a:ln>
            <a:effectLst/>
          </p:spPr>
          <p:txBody>
            <a:bodyPr rtlCol="0" anchor="ctr"/>
            <a:lstStyle/>
            <a:p>
              <a:pPr algn="ctr" defTabSz="896238">
                <a:lnSpc>
                  <a:spcPct val="90000"/>
                </a:lnSpc>
                <a:defRPr/>
              </a:pPr>
              <a:endParaRPr lang="en-US" sz="980" kern="0">
                <a:solidFill>
                  <a:prstClr val="white"/>
                </a:solidFill>
                <a:latin typeface="Calibri" panose="020F0502020204030204"/>
                <a:ea typeface="Segoe UI" panose="020B0502040204020203" pitchFamily="34" charset="0"/>
                <a:cs typeface="Segoe UI" panose="020B0502040204020203" pitchFamily="34" charset="0"/>
              </a:endParaRPr>
            </a:p>
          </p:txBody>
        </p:sp>
        <p:sp>
          <p:nvSpPr>
            <p:cNvPr id="34" name="TextBox 33"/>
            <p:cNvSpPr txBox="1"/>
            <p:nvPr/>
          </p:nvSpPr>
          <p:spPr>
            <a:xfrm>
              <a:off x="1509791" y="5922121"/>
              <a:ext cx="517910" cy="138537"/>
            </a:xfrm>
            <a:prstGeom prst="rect">
              <a:avLst/>
            </a:prstGeom>
            <a:noFill/>
          </p:spPr>
          <p:txBody>
            <a:bodyPr wrap="none" lIns="0" tIns="0" rIns="0" bIns="0" rtlCol="0">
              <a:spAutoFit/>
            </a:bodyPr>
            <a:lstStyle/>
            <a:p>
              <a:pPr defTabSz="896238">
                <a:defRPr/>
              </a:pPr>
              <a:r>
                <a:rPr lang="en-US" sz="882" kern="0" dirty="0">
                  <a:solidFill>
                    <a:srgbClr val="44546A"/>
                  </a:solidFill>
                  <a:latin typeface="Segoe UI"/>
                  <a:ea typeface="Segoe UI" panose="020B0502040204020203" pitchFamily="34" charset="0"/>
                  <a:cs typeface="Segoe UI" panose="020B0502040204020203" pitchFamily="34" charset="0"/>
                </a:rPr>
                <a:t>Your code</a:t>
              </a:r>
            </a:p>
          </p:txBody>
        </p:sp>
        <p:sp>
          <p:nvSpPr>
            <p:cNvPr id="35" name="TextBox 34"/>
            <p:cNvSpPr txBox="1"/>
            <p:nvPr/>
          </p:nvSpPr>
          <p:spPr>
            <a:xfrm>
              <a:off x="1509791" y="6134177"/>
              <a:ext cx="1427058" cy="138537"/>
            </a:xfrm>
            <a:prstGeom prst="rect">
              <a:avLst/>
            </a:prstGeom>
            <a:noFill/>
          </p:spPr>
          <p:txBody>
            <a:bodyPr wrap="none" lIns="0" tIns="0" rIns="0" bIns="0" rtlCol="0">
              <a:spAutoFit/>
            </a:bodyPr>
            <a:lstStyle/>
            <a:p>
              <a:pPr defTabSz="896238">
                <a:defRPr/>
              </a:pPr>
              <a:r>
                <a:rPr lang="en-US" sz="882" kern="0" dirty="0">
                  <a:solidFill>
                    <a:srgbClr val="44546A"/>
                  </a:solidFill>
                  <a:latin typeface="Segoe UI"/>
                  <a:ea typeface="Segoe UI" panose="020B0502040204020203" pitchFamily="34" charset="0"/>
                  <a:cs typeface="Segoe UI" panose="020B0502040204020203" pitchFamily="34" charset="0"/>
                </a:rPr>
                <a:t>Azure IoT open source code</a:t>
              </a:r>
            </a:p>
          </p:txBody>
        </p:sp>
      </p:grpSp>
      <p:sp>
        <p:nvSpPr>
          <p:cNvPr id="36" name="TextBox 35"/>
          <p:cNvSpPr txBox="1"/>
          <p:nvPr/>
        </p:nvSpPr>
        <p:spPr>
          <a:xfrm>
            <a:off x="280687" y="1183280"/>
            <a:ext cx="1029742" cy="454850"/>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p:txBody>
      </p:sp>
      <p:sp>
        <p:nvSpPr>
          <p:cNvPr id="37" name="TextBox 36"/>
          <p:cNvSpPr txBox="1"/>
          <p:nvPr/>
        </p:nvSpPr>
        <p:spPr>
          <a:xfrm>
            <a:off x="280687" y="2212363"/>
            <a:ext cx="1029742" cy="454850"/>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a:p>
            <a:pPr defTabSz="1194861">
              <a:spcBef>
                <a:spcPts val="800"/>
              </a:spcBef>
              <a:defRPr/>
            </a:pPr>
            <a:endParaRPr lang="en-US" sz="1175" dirty="0"/>
          </a:p>
        </p:txBody>
      </p:sp>
      <p:sp>
        <p:nvSpPr>
          <p:cNvPr id="38" name="Rectangle 37"/>
          <p:cNvSpPr/>
          <p:nvPr/>
        </p:nvSpPr>
        <p:spPr>
          <a:xfrm>
            <a:off x="488853" y="2443701"/>
            <a:ext cx="644156" cy="202079"/>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Hub device SDK</a:t>
            </a:r>
          </a:p>
        </p:txBody>
      </p:sp>
      <p:sp>
        <p:nvSpPr>
          <p:cNvPr id="39" name="TextBox 38"/>
          <p:cNvSpPr txBox="1"/>
          <p:nvPr/>
        </p:nvSpPr>
        <p:spPr>
          <a:xfrm>
            <a:off x="298353" y="2846092"/>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800"/>
              </a:spcBef>
              <a:defRPr/>
            </a:pPr>
            <a:r>
              <a:rPr lang="en-US" sz="1175" dirty="0"/>
              <a:t>Device</a:t>
            </a:r>
          </a:p>
        </p:txBody>
      </p:sp>
      <p:sp>
        <p:nvSpPr>
          <p:cNvPr id="40" name="Rectangle 39"/>
          <p:cNvSpPr/>
          <p:nvPr/>
        </p:nvSpPr>
        <p:spPr>
          <a:xfrm>
            <a:off x="2014228" y="3635051"/>
            <a:ext cx="666975" cy="17442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IoT </a:t>
            </a:r>
            <a:r>
              <a:rPr lang="en-US" sz="686" kern="0">
                <a:solidFill>
                  <a:srgbClr val="FFFFFF"/>
                </a:solidFill>
                <a:latin typeface="Calibri" panose="020F0502020204030204"/>
                <a:cs typeface="Segoe UI" panose="020B0502040204020203" pitchFamily="34" charset="0"/>
              </a:rPr>
              <a:t>Hub Gateway </a:t>
            </a:r>
            <a:r>
              <a:rPr lang="en-US" sz="686" kern="0" dirty="0">
                <a:solidFill>
                  <a:srgbClr val="FFFFFF"/>
                </a:solidFill>
                <a:latin typeface="Calibri" panose="020F0502020204030204"/>
                <a:cs typeface="Segoe UI" panose="020B0502040204020203" pitchFamily="34" charset="0"/>
              </a:rPr>
              <a:t>SDK</a:t>
            </a:r>
          </a:p>
        </p:txBody>
      </p:sp>
      <p:sp>
        <p:nvSpPr>
          <p:cNvPr id="41" name="TextBox 40"/>
          <p:cNvSpPr txBox="1"/>
          <p:nvPr/>
        </p:nvSpPr>
        <p:spPr>
          <a:xfrm>
            <a:off x="298353" y="3472988"/>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2" name="TextBox 41"/>
          <p:cNvSpPr txBox="1"/>
          <p:nvPr/>
        </p:nvSpPr>
        <p:spPr>
          <a:xfrm>
            <a:off x="307609" y="4160745"/>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3" name="TextBox 42"/>
          <p:cNvSpPr txBox="1"/>
          <p:nvPr/>
        </p:nvSpPr>
        <p:spPr>
          <a:xfrm>
            <a:off x="299220" y="4796504"/>
            <a:ext cx="1029742" cy="412771"/>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Device</a:t>
            </a:r>
          </a:p>
        </p:txBody>
      </p:sp>
      <p:sp>
        <p:nvSpPr>
          <p:cNvPr id="44" name="TextBox 43"/>
          <p:cNvSpPr txBox="1"/>
          <p:nvPr/>
        </p:nvSpPr>
        <p:spPr>
          <a:xfrm>
            <a:off x="2888003" y="3448322"/>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sp>
        <p:nvSpPr>
          <p:cNvPr id="45" name="TextBox 44"/>
          <p:cNvSpPr txBox="1"/>
          <p:nvPr/>
        </p:nvSpPr>
        <p:spPr>
          <a:xfrm>
            <a:off x="6447736" y="852246"/>
            <a:ext cx="1506165"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296">
              <a:spcBef>
                <a:spcPts val="600"/>
              </a:spcBef>
              <a:defRPr sz="1200" kern="0">
                <a:solidFill>
                  <a:sysClr val="windowText" lastClr="000000"/>
                </a:solidFill>
                <a:latin typeface="Calibri" panose="020F0502020204030204"/>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194861">
              <a:spcBef>
                <a:spcPts val="0"/>
              </a:spcBef>
              <a:defRPr/>
            </a:pPr>
            <a:r>
              <a:rPr lang="en-US" sz="1029" dirty="0"/>
              <a:t>Management app</a:t>
            </a:r>
          </a:p>
          <a:p>
            <a:pPr defTabSz="1194861">
              <a:spcBef>
                <a:spcPts val="0"/>
              </a:spcBef>
              <a:defRPr/>
            </a:pPr>
            <a:r>
              <a:rPr lang="en-US" sz="1029" dirty="0"/>
              <a:t>Device registry</a:t>
            </a:r>
          </a:p>
          <a:p>
            <a:pPr defTabSz="1194861">
              <a:spcBef>
                <a:spcPts val="0"/>
              </a:spcBef>
              <a:defRPr/>
            </a:pPr>
            <a:r>
              <a:rPr lang="en-US" sz="1029" dirty="0"/>
              <a:t>Monitoring</a:t>
            </a:r>
          </a:p>
          <a:p>
            <a:pPr defTabSz="1194861">
              <a:spcBef>
                <a:spcPts val="0"/>
              </a:spcBef>
              <a:defRPr/>
            </a:pPr>
            <a:r>
              <a:rPr lang="en-US" sz="1029" dirty="0"/>
              <a:t>Send commands</a:t>
            </a:r>
          </a:p>
          <a:p>
            <a:pPr defTabSz="1194861">
              <a:spcBef>
                <a:spcPts val="800"/>
              </a:spcBef>
              <a:defRPr/>
            </a:pPr>
            <a:endParaRPr lang="en-US" sz="1029" dirty="0"/>
          </a:p>
        </p:txBody>
      </p:sp>
      <p:sp>
        <p:nvSpPr>
          <p:cNvPr id="46" name="Rectangle 45"/>
          <p:cNvSpPr/>
          <p:nvPr/>
        </p:nvSpPr>
        <p:spPr>
          <a:xfrm>
            <a:off x="6540253" y="1605171"/>
            <a:ext cx="1300655" cy="195881"/>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SDK</a:t>
            </a:r>
          </a:p>
        </p:txBody>
      </p:sp>
      <p:sp>
        <p:nvSpPr>
          <p:cNvPr id="47" name="TextBox 46"/>
          <p:cNvSpPr txBox="1"/>
          <p:nvPr/>
        </p:nvSpPr>
        <p:spPr>
          <a:xfrm>
            <a:off x="6549463" y="4389391"/>
            <a:ext cx="1506165" cy="1015686"/>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878581">
              <a:spcBef>
                <a:spcPts val="588"/>
              </a:spcBef>
              <a:defRPr/>
            </a:pPr>
            <a:r>
              <a:rPr lang="en-US" sz="1175" dirty="0">
                <a:latin typeface="Calibri" panose="020F0502020204030204"/>
              </a:rPr>
              <a:t>Management app</a:t>
            </a:r>
          </a:p>
          <a:p>
            <a:pPr marL="168062" indent="-168062" algn="l" defTabSz="878581">
              <a:buFontTx/>
              <a:buChar char="-"/>
              <a:defRPr/>
            </a:pPr>
            <a:r>
              <a:rPr lang="en-US" sz="1175" dirty="0">
                <a:latin typeface="Calibri" panose="020F0502020204030204"/>
              </a:rPr>
              <a:t>Device registry</a:t>
            </a:r>
          </a:p>
          <a:p>
            <a:pPr marL="168062" indent="-168062" algn="l" defTabSz="878581">
              <a:buFontTx/>
              <a:buChar char="-"/>
              <a:defRPr/>
            </a:pPr>
            <a:r>
              <a:rPr lang="en-US" sz="1175" dirty="0">
                <a:latin typeface="Calibri" panose="020F0502020204030204"/>
              </a:rPr>
              <a:t>Monitoring</a:t>
            </a:r>
          </a:p>
          <a:p>
            <a:pPr marL="168062" indent="-168062" algn="l" defTabSz="878581">
              <a:buFontTx/>
              <a:buChar char="-"/>
              <a:defRPr/>
            </a:pPr>
            <a:r>
              <a:rPr lang="en-US" sz="1175" dirty="0">
                <a:latin typeface="Calibri" panose="020F0502020204030204"/>
              </a:rPr>
              <a:t>Send commands</a:t>
            </a:r>
          </a:p>
          <a:p>
            <a:pPr defTabSz="878581">
              <a:spcBef>
                <a:spcPts val="588"/>
              </a:spcBef>
              <a:defRPr/>
            </a:pPr>
            <a:endParaRPr lang="en-US" sz="1077" dirty="0">
              <a:latin typeface="Calibri" panose="020F0502020204030204"/>
            </a:endParaRPr>
          </a:p>
        </p:txBody>
      </p:sp>
      <p:sp>
        <p:nvSpPr>
          <p:cNvPr id="48" name="Rectangle 47"/>
          <p:cNvSpPr/>
          <p:nvPr/>
        </p:nvSpPr>
        <p:spPr>
          <a:xfrm>
            <a:off x="6646876" y="5160793"/>
            <a:ext cx="1300655" cy="17740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784" kern="0" dirty="0">
                <a:solidFill>
                  <a:srgbClr val="FFFFFF"/>
                </a:solidFill>
                <a:latin typeface="Calibri" panose="020F0502020204030204"/>
                <a:cs typeface="Segoe UI" panose="020B0502040204020203" pitchFamily="34" charset="0"/>
              </a:rPr>
              <a:t>IoT Hub service SDK</a:t>
            </a:r>
          </a:p>
        </p:txBody>
      </p:sp>
      <p:sp>
        <p:nvSpPr>
          <p:cNvPr id="49" name="Rectangle 48"/>
          <p:cNvSpPr/>
          <p:nvPr/>
        </p:nvSpPr>
        <p:spPr>
          <a:xfrm>
            <a:off x="4407818" y="1605171"/>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sp>
        <p:nvSpPr>
          <p:cNvPr id="50" name="Rectangle 49"/>
          <p:cNvSpPr/>
          <p:nvPr/>
        </p:nvSpPr>
        <p:spPr>
          <a:xfrm>
            <a:off x="4409922" y="4316442"/>
            <a:ext cx="830071" cy="240373"/>
          </a:xfrm>
          <a:prstGeom prst="rect">
            <a:avLst/>
          </a:prstGeom>
          <a:solidFill>
            <a:srgbClr val="0078D7"/>
          </a:solidFill>
          <a:ln w="6350" cap="flat" cmpd="sng" algn="ctr">
            <a:solidFill>
              <a:srgbClr val="002050">
                <a:alpha val="24706"/>
              </a:srgbClr>
            </a:solidFill>
            <a:prstDash val="solid"/>
            <a:miter lim="800000"/>
          </a:ln>
          <a:effectLst/>
        </p:spPr>
        <p:txBody>
          <a:bodyPr lIns="59737" rIns="59737" rtlCol="0" anchor="ctr"/>
          <a:lstStyle/>
          <a:p>
            <a:pPr algn="ctr" defTabSz="896206">
              <a:defRPr/>
            </a:pPr>
            <a:r>
              <a:rPr lang="en-US" sz="686" kern="0" dirty="0">
                <a:solidFill>
                  <a:srgbClr val="FFFFFF"/>
                </a:solidFill>
                <a:latin typeface="Calibri" panose="020F0502020204030204"/>
                <a:cs typeface="Segoe UI" panose="020B0502040204020203" pitchFamily="34" charset="0"/>
              </a:rPr>
              <a:t>Cloud protocol  gateway sample</a:t>
            </a:r>
          </a:p>
        </p:txBody>
      </p:sp>
      <p:cxnSp>
        <p:nvCxnSpPr>
          <p:cNvPr id="51" name="Elbow Connector 50"/>
          <p:cNvCxnSpPr>
            <a:endCxn id="46" idx="2"/>
          </p:cNvCxnSpPr>
          <p:nvPr/>
        </p:nvCxnSpPr>
        <p:spPr>
          <a:xfrm flipV="1">
            <a:off x="5256129" y="1801053"/>
            <a:ext cx="1934453" cy="524609"/>
          </a:xfrm>
          <a:prstGeom prst="bentConnector2">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2" name="Straight Arrow Connector 51"/>
          <p:cNvCxnSpPr>
            <a:cxnSpLocks/>
          </p:cNvCxnSpPr>
          <p:nvPr/>
        </p:nvCxnSpPr>
        <p:spPr>
          <a:xfrm flipV="1">
            <a:off x="1287657" y="2558615"/>
            <a:ext cx="3092907" cy="1730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53" name="Straight Arrow Connector 52"/>
          <p:cNvCxnSpPr>
            <a:stCxn id="49" idx="2"/>
            <a:endCxn id="26" idx="0"/>
          </p:cNvCxnSpPr>
          <p:nvPr/>
        </p:nvCxnSpPr>
        <p:spPr>
          <a:xfrm flipH="1">
            <a:off x="4817886" y="1845542"/>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4" name="Straight Arrow Connector 53"/>
          <p:cNvCxnSpPr/>
          <p:nvPr/>
        </p:nvCxnSpPr>
        <p:spPr>
          <a:xfrm flipH="1">
            <a:off x="4849601" y="3978670"/>
            <a:ext cx="4968" cy="319865"/>
          </a:xfrm>
          <a:prstGeom prst="straightConnector1">
            <a:avLst/>
          </a:prstGeom>
          <a:noFill/>
          <a:ln w="76200" cap="flat" cmpd="sng" algn="ctr">
            <a:solidFill>
              <a:srgbClr val="E7E6E6">
                <a:lumMod val="50000"/>
              </a:srgbClr>
            </a:solidFill>
            <a:prstDash val="solid"/>
            <a:miter lim="800000"/>
            <a:headEnd type="triangle" w="sm" len="sm"/>
            <a:tailEnd type="triangle" w="sm" len="sm"/>
          </a:ln>
          <a:effectLst/>
        </p:spPr>
      </p:cxnSp>
      <p:cxnSp>
        <p:nvCxnSpPr>
          <p:cNvPr id="55" name="Elbow Connector 54"/>
          <p:cNvCxnSpPr/>
          <p:nvPr/>
        </p:nvCxnSpPr>
        <p:spPr>
          <a:xfrm>
            <a:off x="5265976" y="3749390"/>
            <a:ext cx="1380900" cy="1488689"/>
          </a:xfrm>
          <a:prstGeom prst="bentConnector3">
            <a:avLst>
              <a:gd name="adj1" fmla="val 55241"/>
            </a:avLst>
          </a:prstGeom>
          <a:noFill/>
          <a:ln w="76200" cap="flat" cmpd="sng" algn="ctr">
            <a:solidFill>
              <a:srgbClr val="E7E6E6">
                <a:lumMod val="50000"/>
              </a:srgbClr>
            </a:solidFill>
            <a:prstDash val="solid"/>
            <a:miter lim="800000"/>
            <a:headEnd type="triangle" w="med" len="med"/>
            <a:tailEnd type="triangle" w="med" len="med"/>
          </a:ln>
          <a:effectLst/>
        </p:spPr>
      </p:cxnSp>
      <p:pic>
        <p:nvPicPr>
          <p:cNvPr id="56" name="Picture 55"/>
          <p:cNvPicPr>
            <a:picLocks noChangeAspect="1"/>
          </p:cNvPicPr>
          <p:nvPr/>
        </p:nvPicPr>
        <p:blipFill>
          <a:blip r:embed="rId3"/>
          <a:stretch>
            <a:fillRect/>
          </a:stretch>
        </p:blipFill>
        <p:spPr>
          <a:xfrm>
            <a:off x="3392180" y="315796"/>
            <a:ext cx="1029399" cy="349732"/>
          </a:xfrm>
          <a:prstGeom prst="rect">
            <a:avLst/>
          </a:prstGeom>
        </p:spPr>
      </p:pic>
      <p:grpSp>
        <p:nvGrpSpPr>
          <p:cNvPr id="57" name="Group 56"/>
          <p:cNvGrpSpPr/>
          <p:nvPr/>
        </p:nvGrpSpPr>
        <p:grpSpPr>
          <a:xfrm>
            <a:off x="6435498" y="3278687"/>
            <a:ext cx="564391" cy="388601"/>
            <a:chOff x="1107857" y="-3310276"/>
            <a:chExt cx="641349" cy="498475"/>
          </a:xfrm>
          <a:solidFill>
            <a:schemeClr val="bg2">
              <a:lumMod val="50000"/>
            </a:schemeClr>
          </a:solidFill>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p>
              <a:pPr defTabSz="896328">
                <a:defRPr/>
              </a:pPr>
              <a:endParaRPr lang="en-US" sz="1766" kern="0">
                <a:solidFill>
                  <a:prstClr val="black"/>
                </a:solidFill>
                <a:latin typeface="Segoe UI"/>
              </a:endParaRPr>
            </a:p>
          </p:txBody>
        </p:sp>
      </p:grpSp>
      <p:sp>
        <p:nvSpPr>
          <p:cNvPr id="62" name="Freeform 61"/>
          <p:cNvSpPr/>
          <p:nvPr/>
        </p:nvSpPr>
        <p:spPr>
          <a:xfrm>
            <a:off x="7544833" y="2678864"/>
            <a:ext cx="411875" cy="330197"/>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endParaRPr lang="en-US" sz="1766" kern="0">
              <a:solidFill>
                <a:sysClr val="windowText" lastClr="000000"/>
              </a:solidFill>
              <a:latin typeface="Segoe UI"/>
            </a:endParaRPr>
          </a:p>
        </p:txBody>
      </p:sp>
      <p:grpSp>
        <p:nvGrpSpPr>
          <p:cNvPr id="63" name="Group 62"/>
          <p:cNvGrpSpPr/>
          <p:nvPr/>
        </p:nvGrpSpPr>
        <p:grpSpPr>
          <a:xfrm>
            <a:off x="7323748" y="3343338"/>
            <a:ext cx="394413" cy="406052"/>
            <a:chOff x="2296894" y="-3310276"/>
            <a:chExt cx="484187" cy="498475"/>
          </a:xfrm>
          <a:solidFill>
            <a:schemeClr val="bg2">
              <a:lumMod val="50000"/>
            </a:schemeClr>
          </a:solidFill>
        </p:grpSpPr>
        <p:sp>
          <p:nvSpPr>
            <p:cNvPr id="64" name="Freeform 63"/>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5" name="Freeform 64"/>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6" name="Freeform 65"/>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7" name="Freeform 66"/>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8" name="Freeform 67"/>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69" name="Freeform 68"/>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0" name="Freeform 69"/>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1" name="Freeform 70"/>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grpSp>
        <p:nvGrpSpPr>
          <p:cNvPr id="72" name="Group 71"/>
          <p:cNvGrpSpPr/>
          <p:nvPr/>
        </p:nvGrpSpPr>
        <p:grpSpPr>
          <a:xfrm>
            <a:off x="6852622" y="2677679"/>
            <a:ext cx="444582" cy="394567"/>
            <a:chOff x="3314482" y="-4918414"/>
            <a:chExt cx="508000" cy="450850"/>
          </a:xfrm>
          <a:solidFill>
            <a:schemeClr val="bg2">
              <a:lumMod val="50000"/>
            </a:schemeClr>
          </a:solidFill>
        </p:grpSpPr>
        <p:sp>
          <p:nvSpPr>
            <p:cNvPr id="73" name="Freeform 72"/>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nvGrpSpPr>
            <p:cNvPr id="74" name="Group 73"/>
            <p:cNvGrpSpPr/>
            <p:nvPr/>
          </p:nvGrpSpPr>
          <p:grpSpPr>
            <a:xfrm>
              <a:off x="3395444" y="-4880314"/>
              <a:ext cx="363537" cy="342900"/>
              <a:chOff x="3395444" y="-4880314"/>
              <a:chExt cx="363537" cy="342900"/>
            </a:xfrm>
            <a:grpFill/>
          </p:grpSpPr>
          <p:sp>
            <p:nvSpPr>
              <p:cNvPr id="75" name="Freeform 74"/>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6" name="Freeform 75"/>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7" name="Freeform 76"/>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8" name="Freeform 77"/>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79" name="Freeform 78"/>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0" name="Freeform 79"/>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1" name="Freeform 80"/>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2" name="Freeform 81"/>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3" name="Freeform 82"/>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4" name="Freeform 83"/>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5" name="Freeform 84"/>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6" name="Freeform 85"/>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sp>
            <p:nvSpPr>
              <p:cNvPr id="87" name="Freeform 86"/>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bg2">
                    <a:lumMod val="50000"/>
                  </a:schemeClr>
                </a:solidFill>
                <a:prstDash val="solid"/>
                <a:round/>
                <a:headEnd/>
                <a:tailEnd/>
              </a:ln>
            </p:spPr>
            <p:txBody>
              <a:bodyPr vert="horz" wrap="square" lIns="89630" tIns="44815" rIns="89630"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6">
                  <a:defRPr/>
                </a:pPr>
                <a:endParaRPr lang="en-US" sz="1766">
                  <a:solidFill>
                    <a:prstClr val="black"/>
                  </a:solidFill>
                  <a:latin typeface="Segoe UI"/>
                </a:endParaRPr>
              </a:p>
            </p:txBody>
          </p:sp>
        </p:grpSp>
      </p:grpSp>
      <p:cxnSp>
        <p:nvCxnSpPr>
          <p:cNvPr id="88" name="Straight Arrow Connector 87"/>
          <p:cNvCxnSpPr>
            <a:stCxn id="26" idx="3"/>
          </p:cNvCxnSpPr>
          <p:nvPr/>
        </p:nvCxnSpPr>
        <p:spPr>
          <a:xfrm>
            <a:off x="5265977" y="3069904"/>
            <a:ext cx="1274276" cy="7534"/>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cxnSp>
        <p:nvCxnSpPr>
          <p:cNvPr id="91" name="Straight Arrow Connector 90"/>
          <p:cNvCxnSpPr/>
          <p:nvPr/>
        </p:nvCxnSpPr>
        <p:spPr>
          <a:xfrm>
            <a:off x="8111267" y="3086699"/>
            <a:ext cx="1109889" cy="0"/>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93" name="TextBox 92"/>
          <p:cNvSpPr txBox="1"/>
          <p:nvPr/>
        </p:nvSpPr>
        <p:spPr>
          <a:xfrm>
            <a:off x="9368685" y="1360087"/>
            <a:ext cx="1506165" cy="2457057"/>
          </a:xfrm>
          <a:prstGeom prst="roundRect">
            <a:avLst/>
          </a:prstGeom>
          <a:solidFill>
            <a:schemeClr val="tx1">
              <a:lumMod val="20000"/>
              <a:lumOff val="80000"/>
            </a:schemeClr>
          </a:solidFill>
          <a:ln w="12700" cap="flat" cmpd="sng" algn="ctr">
            <a:solidFill>
              <a:srgbClr val="0078D7"/>
            </a:solidFill>
            <a:prstDash val="solid"/>
            <a:miter lim="800000"/>
          </a:ln>
          <a:effectLst/>
        </p:spPr>
        <p:txBody>
          <a:bodyPr rtlCol="0" anchor="t"/>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878581">
              <a:spcBef>
                <a:spcPts val="588"/>
              </a:spcBef>
              <a:defRPr/>
            </a:pPr>
            <a:r>
              <a:rPr lang="en-US" sz="1077" dirty="0">
                <a:latin typeface="Calibri" panose="020F0502020204030204"/>
              </a:rPr>
              <a:t>Applications:</a:t>
            </a:r>
          </a:p>
          <a:p>
            <a:pPr marL="168062" indent="-168062" algn="l" defTabSz="878581">
              <a:buFontTx/>
              <a:buChar char="-"/>
              <a:defRPr/>
            </a:pPr>
            <a:r>
              <a:rPr lang="en-US" sz="1077" dirty="0">
                <a:latin typeface="Calibri" panose="020F0502020204030204"/>
              </a:rPr>
              <a:t>Companion apps</a:t>
            </a:r>
          </a:p>
          <a:p>
            <a:pPr marL="168062" indent="-168062" algn="l" defTabSz="878581">
              <a:buFontTx/>
              <a:buChar char="-"/>
              <a:defRPr/>
            </a:pPr>
            <a:r>
              <a:rPr lang="en-US" sz="1077" dirty="0">
                <a:latin typeface="Calibri" panose="020F0502020204030204"/>
              </a:rPr>
              <a:t>Dashboards</a:t>
            </a:r>
          </a:p>
          <a:p>
            <a:pPr marL="168062" indent="-168062" algn="l" defTabSz="878581">
              <a:buFontTx/>
              <a:buChar char="-"/>
              <a:defRPr/>
            </a:pPr>
            <a:r>
              <a:rPr lang="en-US" sz="1077" dirty="0">
                <a:latin typeface="Calibri" panose="020F0502020204030204"/>
              </a:rPr>
              <a:t>Controllers</a:t>
            </a:r>
          </a:p>
          <a:p>
            <a:pPr marL="168062" indent="-168062" algn="l" defTabSz="878581">
              <a:buFontTx/>
              <a:buChar char="-"/>
              <a:defRPr/>
            </a:pPr>
            <a:r>
              <a:rPr lang="en-US" sz="1077" dirty="0">
                <a:latin typeface="Calibri" panose="020F0502020204030204"/>
              </a:rPr>
              <a:t>…</a:t>
            </a:r>
          </a:p>
          <a:p>
            <a:pPr marL="168062" indent="-168062" algn="l" defTabSz="878581">
              <a:buFontTx/>
              <a:buChar char="-"/>
              <a:defRPr/>
            </a:pPr>
            <a:endParaRPr lang="en-US" sz="1077" dirty="0">
              <a:latin typeface="Calibri" panose="020F0502020204030204"/>
            </a:endParaRPr>
          </a:p>
        </p:txBody>
      </p:sp>
      <p:sp>
        <p:nvSpPr>
          <p:cNvPr id="2" name="TextBox 1"/>
          <p:cNvSpPr txBox="1"/>
          <p:nvPr/>
        </p:nvSpPr>
        <p:spPr>
          <a:xfrm>
            <a:off x="116926" y="160427"/>
            <a:ext cx="2396655" cy="1022853"/>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5294" kern="0" dirty="0">
                <a:solidFill>
                  <a:srgbClr val="505050"/>
                </a:solidFill>
                <a:latin typeface="Segoe UI"/>
              </a:rPr>
              <a:t>SDKs</a:t>
            </a:r>
          </a:p>
        </p:txBody>
      </p:sp>
      <p:sp>
        <p:nvSpPr>
          <p:cNvPr id="4" name="Oval Callout 3"/>
          <p:cNvSpPr/>
          <p:nvPr/>
        </p:nvSpPr>
        <p:spPr bwMode="auto">
          <a:xfrm>
            <a:off x="5265976" y="1638130"/>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92" name="Oval Callout 91"/>
          <p:cNvSpPr/>
          <p:nvPr/>
        </p:nvSpPr>
        <p:spPr bwMode="auto">
          <a:xfrm>
            <a:off x="334204" y="2513190"/>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4" name="Oval Callout 93"/>
          <p:cNvSpPr/>
          <p:nvPr/>
        </p:nvSpPr>
        <p:spPr bwMode="auto">
          <a:xfrm>
            <a:off x="1903585" y="3744707"/>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5" name="Oval Callout 94"/>
          <p:cNvSpPr/>
          <p:nvPr/>
        </p:nvSpPr>
        <p:spPr bwMode="auto">
          <a:xfrm>
            <a:off x="5138021" y="4100076"/>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96" name="Oval Callout 95"/>
          <p:cNvSpPr/>
          <p:nvPr/>
        </p:nvSpPr>
        <p:spPr bwMode="auto">
          <a:xfrm>
            <a:off x="7811506" y="1725357"/>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3</a:t>
            </a:r>
          </a:p>
        </p:txBody>
      </p:sp>
      <p:sp>
        <p:nvSpPr>
          <p:cNvPr id="97" name="Oval Callout 96"/>
          <p:cNvSpPr/>
          <p:nvPr/>
        </p:nvSpPr>
        <p:spPr bwMode="auto">
          <a:xfrm>
            <a:off x="374102" y="5680188"/>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1</a:t>
            </a:r>
          </a:p>
        </p:txBody>
      </p:sp>
      <p:sp>
        <p:nvSpPr>
          <p:cNvPr id="89" name="Rectangle 88"/>
          <p:cNvSpPr/>
          <p:nvPr/>
        </p:nvSpPr>
        <p:spPr>
          <a:xfrm>
            <a:off x="685374" y="5996238"/>
            <a:ext cx="10189476" cy="256467"/>
          </a:xfrm>
          <a:prstGeom prst="rect">
            <a:avLst/>
          </a:prstGeom>
        </p:spPr>
        <p:txBody>
          <a:bodyPr wrap="square">
            <a:spAutoFit/>
          </a:bodyPr>
          <a:lstStyle/>
          <a:p>
            <a:pPr defTabSz="896386">
              <a:defRPr/>
            </a:pPr>
            <a:r>
              <a:rPr lang="en-NZ" sz="1078" kern="0" dirty="0">
                <a:solidFill>
                  <a:sysClr val="windowText" lastClr="000000"/>
                </a:solidFill>
                <a:latin typeface="Segoe UI"/>
                <a:hlinkClick r:id="rId4"/>
              </a:rPr>
              <a:t>https://github.com/Azure/azure-iot-sdks</a:t>
            </a:r>
            <a:r>
              <a:rPr lang="en-NZ" sz="1078" kern="0" dirty="0">
                <a:solidFill>
                  <a:sysClr val="windowText" lastClr="000000"/>
                </a:solidFill>
                <a:latin typeface="Segoe UI"/>
              </a:rPr>
              <a:t> - look for device SDKs, </a:t>
            </a:r>
            <a:r>
              <a:rPr lang="en-NZ" sz="1078" kern="0" dirty="0">
                <a:solidFill>
                  <a:sysClr val="windowText" lastClr="000000"/>
                </a:solidFill>
                <a:latin typeface="Segoe UI"/>
                <a:hlinkClick r:id="rId5"/>
              </a:rPr>
              <a:t>https://github.com/Azure/azure-iot-gateway-sdk</a:t>
            </a:r>
            <a:r>
              <a:rPr lang="en-NZ" sz="1078" kern="0" dirty="0">
                <a:solidFill>
                  <a:sysClr val="windowText" lastClr="000000"/>
                </a:solidFill>
                <a:latin typeface="Segoe UI"/>
              </a:rPr>
              <a:t> </a:t>
            </a:r>
            <a:endParaRPr lang="en-US" sz="1078" kern="0" dirty="0">
              <a:solidFill>
                <a:sysClr val="windowText" lastClr="000000"/>
              </a:solidFill>
              <a:latin typeface="Segoe UI"/>
            </a:endParaRPr>
          </a:p>
        </p:txBody>
      </p:sp>
      <p:sp>
        <p:nvSpPr>
          <p:cNvPr id="90" name="Rectangle 89"/>
          <p:cNvSpPr/>
          <p:nvPr/>
        </p:nvSpPr>
        <p:spPr>
          <a:xfrm>
            <a:off x="714060" y="5669997"/>
            <a:ext cx="3467785" cy="256467"/>
          </a:xfrm>
          <a:prstGeom prst="rect">
            <a:avLst/>
          </a:prstGeom>
        </p:spPr>
        <p:txBody>
          <a:bodyPr wrap="square">
            <a:spAutoFit/>
          </a:bodyPr>
          <a:lstStyle/>
          <a:p>
            <a:pPr defTabSz="896386">
              <a:defRPr/>
            </a:pPr>
            <a:r>
              <a:rPr lang="en-US" sz="1078" kern="0" dirty="0">
                <a:solidFill>
                  <a:sysClr val="windowText" lastClr="000000"/>
                </a:solidFill>
                <a:latin typeface="Segoe UI"/>
                <a:hlinkClick r:id="rId6"/>
              </a:rPr>
              <a:t>https://github.com/Azure/azure-iot-protocol-gateway</a:t>
            </a:r>
            <a:r>
              <a:rPr lang="en-US" sz="1078" kern="0" dirty="0">
                <a:solidFill>
                  <a:sysClr val="windowText" lastClr="000000"/>
                </a:solidFill>
                <a:latin typeface="Segoe UI"/>
              </a:rPr>
              <a:t> </a:t>
            </a:r>
          </a:p>
        </p:txBody>
      </p:sp>
      <p:sp>
        <p:nvSpPr>
          <p:cNvPr id="98" name="Oval Callout 97"/>
          <p:cNvSpPr/>
          <p:nvPr/>
        </p:nvSpPr>
        <p:spPr bwMode="auto">
          <a:xfrm>
            <a:off x="367845" y="6020766"/>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2</a:t>
            </a:r>
          </a:p>
        </p:txBody>
      </p:sp>
      <p:sp>
        <p:nvSpPr>
          <p:cNvPr id="99" name="Oval Callout 98"/>
          <p:cNvSpPr/>
          <p:nvPr/>
        </p:nvSpPr>
        <p:spPr bwMode="auto">
          <a:xfrm>
            <a:off x="367845" y="6365431"/>
            <a:ext cx="229499" cy="207412"/>
          </a:xfrm>
          <a:prstGeom prst="wedgeEllipseCallout">
            <a:avLst/>
          </a:prstGeom>
          <a:solidFill>
            <a:srgbClr val="92D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176" kern="0" dirty="0">
                <a:gradFill>
                  <a:gsLst>
                    <a:gs pos="0">
                      <a:srgbClr val="FFFFFF"/>
                    </a:gs>
                    <a:gs pos="100000">
                      <a:srgbClr val="FFFFFF"/>
                    </a:gs>
                  </a:gsLst>
                  <a:lin ang="5400000" scaled="0"/>
                </a:gradFill>
                <a:latin typeface="Segoe UI"/>
              </a:rPr>
              <a:t>3</a:t>
            </a:r>
          </a:p>
        </p:txBody>
      </p:sp>
      <p:sp>
        <p:nvSpPr>
          <p:cNvPr id="100" name="Rectangle 99"/>
          <p:cNvSpPr/>
          <p:nvPr/>
        </p:nvSpPr>
        <p:spPr>
          <a:xfrm>
            <a:off x="685375" y="6311128"/>
            <a:ext cx="4141193" cy="256467"/>
          </a:xfrm>
          <a:prstGeom prst="rect">
            <a:avLst/>
          </a:prstGeom>
        </p:spPr>
        <p:txBody>
          <a:bodyPr wrap="none">
            <a:spAutoFit/>
          </a:bodyPr>
          <a:lstStyle/>
          <a:p>
            <a:pPr defTabSz="896386">
              <a:defRPr/>
            </a:pPr>
            <a:r>
              <a:rPr lang="en-US" sz="1078" kern="0" dirty="0">
                <a:solidFill>
                  <a:sysClr val="windowText" lastClr="000000"/>
                </a:solidFill>
                <a:latin typeface="Segoe UI"/>
                <a:hlinkClick r:id="rId4"/>
              </a:rPr>
              <a:t>https://github.com/Azure/azure-iot-sdks</a:t>
            </a:r>
            <a:r>
              <a:rPr lang="en-US" sz="1078" kern="0" dirty="0">
                <a:solidFill>
                  <a:sysClr val="windowText" lastClr="000000"/>
                </a:solidFill>
                <a:latin typeface="Segoe UI"/>
              </a:rPr>
              <a:t> - look for service SDKs  </a:t>
            </a:r>
          </a:p>
        </p:txBody>
      </p:sp>
      <p:cxnSp>
        <p:nvCxnSpPr>
          <p:cNvPr id="101" name="Straight Arrow Connector 100"/>
          <p:cNvCxnSpPr>
            <a:cxnSpLocks/>
          </p:cNvCxnSpPr>
          <p:nvPr/>
        </p:nvCxnSpPr>
        <p:spPr>
          <a:xfrm>
            <a:off x="1327592" y="1577698"/>
            <a:ext cx="3007876" cy="834731"/>
          </a:xfrm>
          <a:prstGeom prst="straightConnector1">
            <a:avLst/>
          </a:prstGeom>
          <a:noFill/>
          <a:ln w="76200" cap="flat" cmpd="sng" algn="ctr">
            <a:solidFill>
              <a:srgbClr val="E7E6E6">
                <a:lumMod val="50000"/>
              </a:srgbClr>
            </a:solidFill>
            <a:prstDash val="solid"/>
            <a:miter lim="800000"/>
            <a:headEnd type="triangle" w="med" len="med"/>
            <a:tailEnd type="triangle" w="med" len="med"/>
          </a:ln>
          <a:effectLst/>
        </p:spPr>
      </p:cxnSp>
      <p:sp>
        <p:nvSpPr>
          <p:cNvPr id="102" name="TextBox 101"/>
          <p:cNvSpPr txBox="1"/>
          <p:nvPr/>
        </p:nvSpPr>
        <p:spPr>
          <a:xfrm rot="957093">
            <a:off x="2508527" y="1878312"/>
            <a:ext cx="1329290" cy="150863"/>
          </a:xfrm>
          <a:prstGeom prst="rect">
            <a:avLst/>
          </a:prstGeom>
          <a:noFill/>
        </p:spPr>
        <p:txBody>
          <a:bodyPr wrap="square" lIns="0" tIns="0" rIns="0" bIns="0" rtlCol="0">
            <a:spAutoFit/>
          </a:bodyPr>
          <a:lstStyle/>
          <a:p>
            <a:pPr algn="ctr" defTabSz="896238">
              <a:defRPr/>
            </a:pPr>
            <a:r>
              <a:rPr lang="en-US" sz="980" kern="0" dirty="0">
                <a:solidFill>
                  <a:srgbClr val="44546A"/>
                </a:solidFill>
                <a:latin typeface="Segoe UI"/>
                <a:ea typeface="Segoe UI" panose="020B0502040204020203" pitchFamily="34" charset="0"/>
                <a:cs typeface="Segoe UI" panose="020B0502040204020203" pitchFamily="34" charset="0"/>
              </a:rPr>
              <a:t>AMQP, MQTT, HTTPS</a:t>
            </a:r>
          </a:p>
        </p:txBody>
      </p:sp>
    </p:spTree>
    <p:extLst>
      <p:ext uri="{BB962C8B-B14F-4D97-AF65-F5344CB8AC3E}">
        <p14:creationId xmlns:p14="http://schemas.microsoft.com/office/powerpoint/2010/main" val="3511828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0"/>
            <a:ext cx="4100945" cy="1977887"/>
          </a:xfrm>
        </p:spPr>
        <p:txBody>
          <a:bodyPr>
            <a:normAutofit/>
          </a:bodyPr>
          <a:lstStyle/>
          <a:p>
            <a:r>
              <a:rPr lang="en-US" dirty="0"/>
              <a:t>Reference architecture</a:t>
            </a:r>
          </a:p>
        </p:txBody>
      </p:sp>
      <p:sp>
        <p:nvSpPr>
          <p:cNvPr id="3" name="Text Placeholder 2"/>
          <p:cNvSpPr>
            <a:spLocks noGrp="1"/>
          </p:cNvSpPr>
          <p:nvPr>
            <p:ph type="body" sz="quarter" idx="11"/>
          </p:nvPr>
        </p:nvSpPr>
        <p:spPr>
          <a:xfrm>
            <a:off x="0" y="1977888"/>
            <a:ext cx="4100945" cy="1679712"/>
          </a:xfrm>
        </p:spPr>
        <p:txBody>
          <a:bodyPr>
            <a:normAutofit/>
          </a:bodyPr>
          <a:lstStyle/>
          <a:p>
            <a:r>
              <a:rPr lang="en-US" dirty="0"/>
              <a:t>Running a web application with high availability in Azure</a:t>
            </a:r>
          </a:p>
        </p:txBody>
      </p:sp>
      <p:sp>
        <p:nvSpPr>
          <p:cNvPr id="5" name="Text Placeholder 4"/>
          <p:cNvSpPr>
            <a:spLocks noGrp="1"/>
          </p:cNvSpPr>
          <p:nvPr>
            <p:ph type="body" sz="quarter" idx="12"/>
          </p:nvPr>
        </p:nvSpPr>
        <p:spPr>
          <a:xfrm>
            <a:off x="0" y="4740964"/>
            <a:ext cx="4087813" cy="2117035"/>
          </a:xfrm>
        </p:spPr>
        <p:txBody>
          <a:bodyPr/>
          <a:lstStyle/>
          <a:p>
            <a:r>
              <a:rPr lang="en-US" dirty="0"/>
              <a:t>Additional guidance and documentation: https://docs.microsoft.com/en-us/azure/guidance/guidance-web-apps-multi-region</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7478" y="41192"/>
            <a:ext cx="6064774" cy="6816807"/>
          </a:xfrm>
          <a:prstGeom prst="rect">
            <a:avLst/>
          </a:prstGeom>
        </p:spPr>
      </p:pic>
    </p:spTree>
    <p:extLst>
      <p:ext uri="{BB962C8B-B14F-4D97-AF65-F5344CB8AC3E}">
        <p14:creationId xmlns:p14="http://schemas.microsoft.com/office/powerpoint/2010/main" val="24982757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What you get with remote monitoring preconfigured solution</a:t>
            </a:r>
          </a:p>
        </p:txBody>
      </p:sp>
      <p:grpSp>
        <p:nvGrpSpPr>
          <p:cNvPr id="3" name="Group 2"/>
          <p:cNvGrpSpPr/>
          <p:nvPr/>
        </p:nvGrpSpPr>
        <p:grpSpPr>
          <a:xfrm>
            <a:off x="268928" y="1941671"/>
            <a:ext cx="11655522" cy="4011515"/>
            <a:chOff x="274320" y="1329924"/>
            <a:chExt cx="11889239" cy="4091954"/>
          </a:xfrm>
        </p:grpSpPr>
        <p:sp>
          <p:nvSpPr>
            <p:cNvPr id="119" name="Line 18"/>
            <p:cNvSpPr>
              <a:spLocks noChangeShapeType="1"/>
            </p:cNvSpPr>
            <p:nvPr/>
          </p:nvSpPr>
          <p:spPr bwMode="auto">
            <a:xfrm>
              <a:off x="1885069" y="3693859"/>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20" name="Line 83"/>
            <p:cNvSpPr>
              <a:spLocks noChangeShapeType="1"/>
            </p:cNvSpPr>
            <p:nvPr/>
          </p:nvSpPr>
          <p:spPr bwMode="auto">
            <a:xfrm flipH="1">
              <a:off x="1885069" y="3458878"/>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2" name="Rectangle 16"/>
            <p:cNvSpPr>
              <a:spLocks noChangeArrowheads="1"/>
            </p:cNvSpPr>
            <p:nvPr/>
          </p:nvSpPr>
          <p:spPr bwMode="auto">
            <a:xfrm>
              <a:off x="274320" y="1329924"/>
              <a:ext cx="1435726" cy="4091953"/>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225">
                <a:defRPr/>
              </a:pPr>
              <a:r>
                <a:rPr lang="en-US" altLang="en-US" sz="1568" kern="0" dirty="0">
                  <a:solidFill>
                    <a:srgbClr val="FFFFFF"/>
                  </a:solidFill>
                  <a:latin typeface="Segoe UI"/>
                  <a:cs typeface="Segoe UI Light" panose="020B0502040204020203" pitchFamily="34" charset="0"/>
                </a:rPr>
                <a:t>Devices</a:t>
              </a:r>
              <a:endParaRPr lang="en-US" sz="1568" kern="0" dirty="0">
                <a:solidFill>
                  <a:srgbClr val="FFFFFF"/>
                </a:solidFill>
                <a:latin typeface="Segoe UI"/>
                <a:cs typeface="Segoe UI Light" panose="020B0502040204020203" pitchFamily="34" charset="0"/>
              </a:endParaRPr>
            </a:p>
          </p:txBody>
        </p:sp>
        <p:sp>
          <p:nvSpPr>
            <p:cNvPr id="126" name="Azuee Iot Suite"/>
            <p:cNvSpPr>
              <a:spLocks noChangeArrowheads="1"/>
            </p:cNvSpPr>
            <p:nvPr/>
          </p:nvSpPr>
          <p:spPr bwMode="auto">
            <a:xfrm>
              <a:off x="2943278" y="1329925"/>
              <a:ext cx="6560910" cy="4091953"/>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defTabSz="896386">
                <a:defRPr/>
              </a:pPr>
              <a:r>
                <a:rPr lang="en-US" altLang="en-US" sz="1765" dirty="0">
                  <a:solidFill>
                    <a:srgbClr val="505050"/>
                  </a:solidFill>
                  <a:latin typeface="Segoe UI Light" panose="020B0502040204020203" pitchFamily="34" charset="0"/>
                </a:rPr>
                <a:t>Azure </a:t>
              </a:r>
              <a:r>
                <a:rPr lang="en-US" altLang="en-US" sz="1765" dirty="0" err="1">
                  <a:solidFill>
                    <a:srgbClr val="505050"/>
                  </a:solidFill>
                  <a:latin typeface="Segoe UI Light" panose="020B0502040204020203" pitchFamily="34" charset="0"/>
                </a:rPr>
                <a:t>IoT</a:t>
              </a:r>
              <a:r>
                <a:rPr lang="en-US" altLang="en-US" sz="1765" dirty="0">
                  <a:solidFill>
                    <a:srgbClr val="505050"/>
                  </a:solidFill>
                  <a:latin typeface="Segoe UI Light" panose="020B0502040204020203" pitchFamily="34" charset="0"/>
                </a:rPr>
                <a:t> Suite Remote Monitoring</a:t>
              </a:r>
              <a:endParaRPr lang="en-US" altLang="en-US" sz="1372" dirty="0">
                <a:solidFill>
                  <a:srgbClr val="505050"/>
                </a:solidFill>
                <a:latin typeface="Arial" panose="020B0604020202020204" pitchFamily="34" charset="0"/>
              </a:endParaRPr>
            </a:p>
            <a:p>
              <a:pPr defTabSz="896386">
                <a:defRPr/>
              </a:pPr>
              <a:endParaRPr lang="en-US" sz="1765" dirty="0">
                <a:solidFill>
                  <a:srgbClr val="505050"/>
                </a:solidFill>
                <a:latin typeface="Segoe UI"/>
              </a:endParaRPr>
            </a:p>
          </p:txBody>
        </p:sp>
        <p:grpSp>
          <p:nvGrpSpPr>
            <p:cNvPr id="127" name="Group 126"/>
            <p:cNvGrpSpPr/>
            <p:nvPr/>
          </p:nvGrpSpPr>
          <p:grpSpPr>
            <a:xfrm>
              <a:off x="672711" y="2908300"/>
              <a:ext cx="731644" cy="756510"/>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31" name="Rectangle 20"/>
            <p:cNvSpPr>
              <a:spLocks noChangeArrowheads="1"/>
            </p:cNvSpPr>
            <p:nvPr/>
          </p:nvSpPr>
          <p:spPr bwMode="auto">
            <a:xfrm>
              <a:off x="10629900" y="1329925"/>
              <a:ext cx="1533659" cy="4091952"/>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defRPr/>
              </a:pPr>
              <a:r>
                <a:rPr lang="en-US" altLang="en-US" sz="1568" kern="0" dirty="0">
                  <a:solidFill>
                    <a:srgbClr val="FFFFFF"/>
                  </a:solidFill>
                  <a:latin typeface="Segoe UI"/>
                  <a:cs typeface="Segoe UI Light" panose="020B0502040204020203" pitchFamily="34" charset="0"/>
                </a:rPr>
                <a:t>Back end systems and processes</a:t>
              </a:r>
            </a:p>
            <a:p>
              <a:pPr algn="ctr" defTabSz="914225">
                <a:defRPr/>
              </a:pPr>
              <a:endParaRPr lang="en-US" sz="1568" kern="0" dirty="0">
                <a:solidFill>
                  <a:srgbClr val="FFFFFF"/>
                </a:solidFill>
                <a:latin typeface="Segoe UI"/>
                <a:cs typeface="Segoe UI Light" panose="020B0502040204020203" pitchFamily="34" charset="0"/>
              </a:endParaRPr>
            </a:p>
          </p:txBody>
        </p:sp>
        <p:sp>
          <p:nvSpPr>
            <p:cNvPr id="132" name="Rectangle 127"/>
            <p:cNvSpPr>
              <a:spLocks noChangeArrowheads="1"/>
            </p:cNvSpPr>
            <p:nvPr/>
          </p:nvSpPr>
          <p:spPr bwMode="auto">
            <a:xfrm>
              <a:off x="746433" y="3588973"/>
              <a:ext cx="34339" cy="153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980" dirty="0">
                  <a:solidFill>
                    <a:srgbClr val="00188F"/>
                  </a:solidFill>
                  <a:latin typeface="Segoe UI" panose="020B0502040204020203" pitchFamily="34" charset="0"/>
                </a:rPr>
                <a:t> </a:t>
              </a:r>
              <a:endParaRPr lang="en-US" altLang="en-US" sz="1765" dirty="0">
                <a:solidFill>
                  <a:prstClr val="black"/>
                </a:solidFill>
              </a:endParaRPr>
            </a:p>
          </p:txBody>
        </p:sp>
        <p:sp>
          <p:nvSpPr>
            <p:cNvPr id="133" name="Freeform 132"/>
            <p:cNvSpPr>
              <a:spLocks noChangeAspect="1"/>
            </p:cNvSpPr>
            <p:nvPr/>
          </p:nvSpPr>
          <p:spPr bwMode="auto">
            <a:xfrm rot="5280000">
              <a:off x="3231461" y="3322109"/>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134" name="Group 133"/>
            <p:cNvGrpSpPr/>
            <p:nvPr/>
          </p:nvGrpSpPr>
          <p:grpSpPr>
            <a:xfrm>
              <a:off x="5366045" y="3357278"/>
              <a:ext cx="484187" cy="498475"/>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43" name="Rectangle 180"/>
            <p:cNvSpPr>
              <a:spLocks noChangeArrowheads="1"/>
            </p:cNvSpPr>
            <p:nvPr/>
          </p:nvSpPr>
          <p:spPr bwMode="auto">
            <a:xfrm>
              <a:off x="5289845" y="3914490"/>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Event Hub</a:t>
              </a:r>
              <a:endParaRPr lang="en-US" altLang="en-US" sz="1765" dirty="0">
                <a:solidFill>
                  <a:srgbClr val="505050"/>
                </a:solidFill>
              </a:endParaRPr>
            </a:p>
          </p:txBody>
        </p:sp>
        <p:sp>
          <p:nvSpPr>
            <p:cNvPr id="144" name="Line 181"/>
            <p:cNvSpPr>
              <a:spLocks noChangeShapeType="1"/>
            </p:cNvSpPr>
            <p:nvPr/>
          </p:nvSpPr>
          <p:spPr bwMode="auto">
            <a:xfrm>
              <a:off x="3691233" y="3625565"/>
              <a:ext cx="43309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5" name="Line 183"/>
            <p:cNvSpPr>
              <a:spLocks noChangeShapeType="1"/>
            </p:cNvSpPr>
            <p:nvPr/>
          </p:nvSpPr>
          <p:spPr bwMode="auto">
            <a:xfrm>
              <a:off x="5858170" y="3625565"/>
              <a:ext cx="46037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46" name="Group 145"/>
            <p:cNvGrpSpPr/>
            <p:nvPr/>
          </p:nvGrpSpPr>
          <p:grpSpPr>
            <a:xfrm>
              <a:off x="5386683" y="2536540"/>
              <a:ext cx="458787" cy="398463"/>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51" name="Rectangle 189"/>
            <p:cNvSpPr>
              <a:spLocks noChangeArrowheads="1"/>
            </p:cNvSpPr>
            <p:nvPr/>
          </p:nvSpPr>
          <p:spPr bwMode="auto">
            <a:xfrm>
              <a:off x="5185070" y="293182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Storage blobs</a:t>
              </a:r>
              <a:endParaRPr lang="en-US" altLang="en-US" sz="1765">
                <a:solidFill>
                  <a:srgbClr val="505050"/>
                </a:solidFill>
              </a:endParaRPr>
            </a:p>
          </p:txBody>
        </p:sp>
        <p:sp>
          <p:nvSpPr>
            <p:cNvPr id="152" name="Freeform 190"/>
            <p:cNvSpPr>
              <a:spLocks noEditPoints="1"/>
            </p:cNvSpPr>
            <p:nvPr/>
          </p:nvSpPr>
          <p:spPr bwMode="auto">
            <a:xfrm>
              <a:off x="7510758" y="25317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3" name="Rectangle 191"/>
            <p:cNvSpPr>
              <a:spLocks noChangeArrowheads="1"/>
            </p:cNvSpPr>
            <p:nvPr/>
          </p:nvSpPr>
          <p:spPr bwMode="auto">
            <a:xfrm>
              <a:off x="7272633" y="29318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solidFill>
                    <a:srgbClr val="505050"/>
                  </a:solidFill>
                  <a:latin typeface="Segoe UI" panose="020B0502040204020203" pitchFamily="34" charset="0"/>
                </a:rPr>
                <a:t>DocumentDB</a:t>
              </a:r>
              <a:endParaRPr lang="en-US" altLang="en-US" sz="1765" dirty="0">
                <a:solidFill>
                  <a:srgbClr val="505050"/>
                </a:solidFill>
              </a:endParaRPr>
            </a:p>
          </p:txBody>
        </p:sp>
        <p:sp>
          <p:nvSpPr>
            <p:cNvPr id="154" name="Freeform 192"/>
            <p:cNvSpPr>
              <a:spLocks/>
            </p:cNvSpPr>
            <p:nvPr/>
          </p:nvSpPr>
          <p:spPr bwMode="auto">
            <a:xfrm>
              <a:off x="6878933" y="32255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55" name="Freeform 194"/>
            <p:cNvSpPr>
              <a:spLocks/>
            </p:cNvSpPr>
            <p:nvPr/>
          </p:nvSpPr>
          <p:spPr bwMode="auto">
            <a:xfrm>
              <a:off x="4497683" y="27365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6" name="Group 155"/>
            <p:cNvGrpSpPr/>
            <p:nvPr/>
          </p:nvGrpSpPr>
          <p:grpSpPr>
            <a:xfrm>
              <a:off x="6383633" y="1768190"/>
              <a:ext cx="508000" cy="450850"/>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grpSp>
        <p:sp>
          <p:nvSpPr>
            <p:cNvPr id="172" name="Rectangle 212"/>
            <p:cNvSpPr>
              <a:spLocks noChangeArrowheads="1"/>
            </p:cNvSpPr>
            <p:nvPr/>
          </p:nvSpPr>
          <p:spPr bwMode="auto">
            <a:xfrm>
              <a:off x="6276702" y="2245253"/>
              <a:ext cx="7309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solidFill>
                    <a:srgbClr val="505050"/>
                  </a:solidFill>
                  <a:latin typeface="Segoe UI" panose="020B0502040204020203" pitchFamily="34" charset="0"/>
                </a:rPr>
                <a:t>Web/</a:t>
              </a:r>
              <a:br>
                <a:rPr lang="en-US" altLang="en-US" sz="1078" dirty="0">
                  <a:solidFill>
                    <a:srgbClr val="505050"/>
                  </a:solidFill>
                  <a:latin typeface="Segoe UI" panose="020B0502040204020203" pitchFamily="34" charset="0"/>
                </a:rPr>
              </a:br>
              <a:r>
                <a:rPr lang="en-US" altLang="en-US" sz="1078" dirty="0">
                  <a:solidFill>
                    <a:srgbClr val="505050"/>
                  </a:solidFill>
                  <a:latin typeface="Segoe UI" panose="020B0502040204020203" pitchFamily="34" charset="0"/>
                </a:rPr>
                <a:t>Mobile App</a:t>
              </a:r>
              <a:endParaRPr lang="en-US" altLang="en-US" sz="1765" dirty="0">
                <a:solidFill>
                  <a:srgbClr val="505050"/>
                </a:solidFill>
              </a:endParaRPr>
            </a:p>
          </p:txBody>
        </p:sp>
        <p:sp>
          <p:nvSpPr>
            <p:cNvPr id="173" name="Freeform 213"/>
            <p:cNvSpPr>
              <a:spLocks/>
            </p:cNvSpPr>
            <p:nvPr/>
          </p:nvSpPr>
          <p:spPr bwMode="auto">
            <a:xfrm>
              <a:off x="6974183" y="19936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4" name="Freeform 216"/>
            <p:cNvSpPr>
              <a:spLocks/>
            </p:cNvSpPr>
            <p:nvPr/>
          </p:nvSpPr>
          <p:spPr bwMode="auto">
            <a:xfrm>
              <a:off x="5616870" y="1993615"/>
              <a:ext cx="684213"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5" name="Line 217"/>
            <p:cNvSpPr>
              <a:spLocks noChangeShapeType="1"/>
            </p:cNvSpPr>
            <p:nvPr/>
          </p:nvSpPr>
          <p:spPr bwMode="auto">
            <a:xfrm flipV="1">
              <a:off x="6637633" y="2665127"/>
              <a:ext cx="0" cy="704850"/>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6" name="Freeform 218"/>
            <p:cNvSpPr>
              <a:spLocks/>
            </p:cNvSpPr>
            <p:nvPr/>
          </p:nvSpPr>
          <p:spPr bwMode="auto">
            <a:xfrm>
              <a:off x="6574133" y="24936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77" name="Freeform 234"/>
            <p:cNvSpPr>
              <a:spLocks/>
            </p:cNvSpPr>
            <p:nvPr/>
          </p:nvSpPr>
          <p:spPr bwMode="auto">
            <a:xfrm>
              <a:off x="3505200" y="1993615"/>
              <a:ext cx="2826544"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78" name="Group 177"/>
            <p:cNvGrpSpPr/>
            <p:nvPr/>
          </p:nvGrpSpPr>
          <p:grpSpPr>
            <a:xfrm>
              <a:off x="4177008" y="3357278"/>
              <a:ext cx="641349" cy="498475"/>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3" name="Rectangle 240"/>
            <p:cNvSpPr>
              <a:spLocks noChangeArrowheads="1"/>
            </p:cNvSpPr>
            <p:nvPr/>
          </p:nvSpPr>
          <p:spPr bwMode="auto">
            <a:xfrm>
              <a:off x="4221164" y="3914490"/>
              <a:ext cx="5530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386">
                <a:defRPr/>
              </a:pPr>
              <a:r>
                <a:rPr lang="en-US" altLang="en-US" sz="1078" dirty="0">
                  <a:solidFill>
                    <a:srgbClr val="505050"/>
                  </a:solidFill>
                  <a:latin typeface="Segoe UI" panose="020B0502040204020203" pitchFamily="34" charset="0"/>
                </a:rPr>
                <a:t>Stream </a:t>
              </a:r>
              <a:br>
                <a:rPr lang="en-US" altLang="en-US" sz="1078" dirty="0">
                  <a:solidFill>
                    <a:srgbClr val="505050"/>
                  </a:solidFill>
                  <a:latin typeface="Segoe UI" panose="020B0502040204020203" pitchFamily="34" charset="0"/>
                </a:rPr>
              </a:br>
              <a:r>
                <a:rPr lang="en-US" altLang="en-US" sz="1078" dirty="0">
                  <a:solidFill>
                    <a:srgbClr val="505050"/>
                  </a:solidFill>
                  <a:latin typeface="Segoe UI" panose="020B0502040204020203" pitchFamily="34" charset="0"/>
                </a:rPr>
                <a:t>Analytics</a:t>
              </a:r>
              <a:endParaRPr lang="en-US" altLang="en-US" sz="1765" dirty="0">
                <a:solidFill>
                  <a:srgbClr val="505050"/>
                </a:solidFill>
              </a:endParaRPr>
            </a:p>
          </p:txBody>
        </p:sp>
        <p:sp>
          <p:nvSpPr>
            <p:cNvPr id="184" name="Line 241"/>
            <p:cNvSpPr>
              <a:spLocks noChangeShapeType="1"/>
            </p:cNvSpPr>
            <p:nvPr/>
          </p:nvSpPr>
          <p:spPr bwMode="auto">
            <a:xfrm>
              <a:off x="4835820" y="3625565"/>
              <a:ext cx="427037"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85" name="Group 184"/>
            <p:cNvGrpSpPr/>
            <p:nvPr/>
          </p:nvGrpSpPr>
          <p:grpSpPr>
            <a:xfrm>
              <a:off x="8806158" y="3392996"/>
              <a:ext cx="425450" cy="427038"/>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88" name="Rectangle 250"/>
            <p:cNvSpPr>
              <a:spLocks noChangeArrowheads="1"/>
            </p:cNvSpPr>
            <p:nvPr/>
          </p:nvSpPr>
          <p:spPr bwMode="auto">
            <a:xfrm>
              <a:off x="8644233" y="3914490"/>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Logic Apps</a:t>
              </a:r>
              <a:endParaRPr lang="en-US" altLang="en-US" sz="1765" dirty="0">
                <a:solidFill>
                  <a:srgbClr val="505050"/>
                </a:solidFill>
              </a:endParaRPr>
            </a:p>
          </p:txBody>
        </p:sp>
        <p:sp>
          <p:nvSpPr>
            <p:cNvPr id="189" name="Line 251"/>
            <p:cNvSpPr>
              <a:spLocks noChangeShapeType="1"/>
            </p:cNvSpPr>
            <p:nvPr/>
          </p:nvSpPr>
          <p:spPr bwMode="auto">
            <a:xfrm>
              <a:off x="6878933" y="3601753"/>
              <a:ext cx="182086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nvGrpSpPr>
            <p:cNvPr id="190" name="Group 189"/>
            <p:cNvGrpSpPr/>
            <p:nvPr/>
          </p:nvGrpSpPr>
          <p:grpSpPr>
            <a:xfrm>
              <a:off x="7425033" y="4332003"/>
              <a:ext cx="479425" cy="485775"/>
              <a:chOff x="7646253" y="4979703"/>
              <a:chExt cx="479425" cy="485775"/>
            </a:xfrm>
            <a:solidFill>
              <a:schemeClr val="bg1">
                <a:lumMod val="50000"/>
              </a:schemeClr>
            </a:solidFill>
          </p:grpSpPr>
          <p:sp>
            <p:nvSpPr>
              <p:cNvPr id="19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194" name="Rectangle 256"/>
            <p:cNvSpPr>
              <a:spLocks noChangeArrowheads="1"/>
            </p:cNvSpPr>
            <p:nvPr/>
          </p:nvSpPr>
          <p:spPr bwMode="auto">
            <a:xfrm>
              <a:off x="7490120" y="48765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Azure </a:t>
              </a:r>
              <a:endParaRPr lang="en-US" altLang="en-US" sz="1765">
                <a:solidFill>
                  <a:srgbClr val="505050"/>
                </a:solidFill>
              </a:endParaRPr>
            </a:p>
          </p:txBody>
        </p:sp>
        <p:sp>
          <p:nvSpPr>
            <p:cNvPr id="195" name="Rectangle 257"/>
            <p:cNvSpPr>
              <a:spLocks noChangeArrowheads="1"/>
            </p:cNvSpPr>
            <p:nvPr/>
          </p:nvSpPr>
          <p:spPr bwMode="auto">
            <a:xfrm>
              <a:off x="7172620" y="50495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a:solidFill>
                    <a:srgbClr val="505050"/>
                  </a:solidFill>
                  <a:latin typeface="Segoe UI" panose="020B0502040204020203" pitchFamily="34" charset="0"/>
                </a:rPr>
                <a:t>Active Directory</a:t>
              </a:r>
              <a:endParaRPr lang="en-US" altLang="en-US" sz="1765">
                <a:solidFill>
                  <a:srgbClr val="505050"/>
                </a:solidFill>
              </a:endParaRPr>
            </a:p>
          </p:txBody>
        </p:sp>
        <p:sp>
          <p:nvSpPr>
            <p:cNvPr id="196" name="Rectangle 260"/>
            <p:cNvSpPr>
              <a:spLocks noChangeArrowheads="1"/>
            </p:cNvSpPr>
            <p:nvPr/>
          </p:nvSpPr>
          <p:spPr bwMode="auto">
            <a:xfrm>
              <a:off x="3192758" y="3914490"/>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err="1">
                  <a:solidFill>
                    <a:srgbClr val="505050"/>
                  </a:solidFill>
                  <a:latin typeface="Segoe UI" panose="020B0502040204020203" pitchFamily="34" charset="0"/>
                </a:rPr>
                <a:t>IoT</a:t>
              </a:r>
              <a:r>
                <a:rPr lang="en-US" altLang="en-US" sz="1078" dirty="0">
                  <a:solidFill>
                    <a:srgbClr val="505050"/>
                  </a:solidFill>
                  <a:latin typeface="Segoe UI" panose="020B0502040204020203" pitchFamily="34" charset="0"/>
                </a:rPr>
                <a:t> Hub</a:t>
              </a:r>
              <a:endParaRPr lang="en-US" altLang="en-US" sz="1765" dirty="0">
                <a:solidFill>
                  <a:srgbClr val="505050"/>
                </a:solidFill>
              </a:endParaRPr>
            </a:p>
          </p:txBody>
        </p:sp>
        <p:grpSp>
          <p:nvGrpSpPr>
            <p:cNvPr id="197" name="Group 196"/>
            <p:cNvGrpSpPr/>
            <p:nvPr/>
          </p:nvGrpSpPr>
          <p:grpSpPr>
            <a:xfrm>
              <a:off x="6383633" y="3381884"/>
              <a:ext cx="508000" cy="449263"/>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grpSp>
        <p:sp>
          <p:nvSpPr>
            <p:cNvPr id="212" name="Rectangle 275"/>
            <p:cNvSpPr>
              <a:spLocks noChangeArrowheads="1"/>
            </p:cNvSpPr>
            <p:nvPr/>
          </p:nvSpPr>
          <p:spPr bwMode="auto">
            <a:xfrm>
              <a:off x="6339183" y="39144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Web Jobs</a:t>
              </a:r>
              <a:endParaRPr lang="en-US" altLang="en-US" sz="1765" dirty="0">
                <a:solidFill>
                  <a:srgbClr val="505050"/>
                </a:solidFill>
              </a:endParaRPr>
            </a:p>
          </p:txBody>
        </p:sp>
        <p:sp>
          <p:nvSpPr>
            <p:cNvPr id="213" name="Rectangle 287"/>
            <p:cNvSpPr>
              <a:spLocks noChangeArrowheads="1"/>
            </p:cNvSpPr>
            <p:nvPr/>
          </p:nvSpPr>
          <p:spPr bwMode="auto">
            <a:xfrm>
              <a:off x="8464262" y="2245253"/>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078" dirty="0">
                  <a:solidFill>
                    <a:srgbClr val="505050"/>
                  </a:solidFill>
                  <a:latin typeface="Segoe UI" panose="020B0502040204020203" pitchFamily="34" charset="0"/>
                </a:rPr>
                <a:t>Power BI</a:t>
              </a:r>
              <a:endParaRPr lang="en-US" altLang="en-US" sz="1765" dirty="0">
                <a:solidFill>
                  <a:srgbClr val="505050"/>
                </a:solidFill>
              </a:endParaRPr>
            </a:p>
          </p:txBody>
        </p:sp>
        <p:sp>
          <p:nvSpPr>
            <p:cNvPr id="214" name="Rectangle 213"/>
            <p:cNvSpPr/>
            <p:nvPr>
              <p:custDataLst>
                <p:tags r:id="rId1"/>
              </p:custDataLst>
            </p:nvPr>
          </p:nvSpPr>
          <p:spPr bwMode="auto">
            <a:xfrm>
              <a:off x="8469203" y="1730022"/>
              <a:ext cx="533536" cy="5335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44821" rIns="67232" bIns="44821" numCol="1" rtlCol="0" anchor="b" anchorCtr="0" compatLnSpc="1">
              <a:prstTxWarp prst="textNoShape">
                <a:avLst/>
              </a:prstTxWarp>
            </a:bodyPr>
            <a:lstStyle/>
            <a:p>
              <a:pPr defTabSz="914102" fontAlgn="base">
                <a:spcBef>
                  <a:spcPct val="0"/>
                </a:spcBef>
                <a:spcAft>
                  <a:spcPct val="0"/>
                </a:spcAft>
                <a:defRPr/>
              </a:pPr>
              <a:endParaRPr lang="en-US" sz="1470" dirty="0">
                <a:gradFill flip="none" rotWithShape="1">
                  <a:gsLst>
                    <a:gs pos="5417">
                      <a:srgbClr val="FFFFFF"/>
                    </a:gs>
                    <a:gs pos="100000">
                      <a:srgbClr val="FFFFFF"/>
                    </a:gs>
                  </a:gsLst>
                  <a:lin ang="5400000" scaled="0"/>
                  <a:tileRect/>
                </a:gradFill>
                <a:latin typeface="Segoe UI"/>
              </a:endParaRPr>
            </a:p>
          </p:txBody>
        </p:sp>
        <p:grpSp>
          <p:nvGrpSpPr>
            <p:cNvPr id="215" name="Group 214"/>
            <p:cNvGrpSpPr/>
            <p:nvPr/>
          </p:nvGrpSpPr>
          <p:grpSpPr>
            <a:xfrm>
              <a:off x="8518444" y="1781008"/>
              <a:ext cx="435056" cy="453078"/>
              <a:chOff x="11472827" y="4545788"/>
              <a:chExt cx="280728" cy="284825"/>
            </a:xfrm>
          </p:grpSpPr>
          <p:sp>
            <p:nvSpPr>
              <p:cNvPr id="216" name="Rounded Rectangle 215"/>
              <p:cNvSpPr/>
              <p:nvPr/>
            </p:nvSpPr>
            <p:spPr bwMode="auto">
              <a:xfrm>
                <a:off x="11472827" y="4699141"/>
                <a:ext cx="35603" cy="80649"/>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7" name="Rounded Rectangle 216"/>
              <p:cNvSpPr/>
              <p:nvPr/>
            </p:nvSpPr>
            <p:spPr bwMode="auto">
              <a:xfrm>
                <a:off x="11527518" y="4680314"/>
                <a:ext cx="35603" cy="111152"/>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8" name="Rounded Rectangle 217"/>
              <p:cNvSpPr/>
              <p:nvPr/>
            </p:nvSpPr>
            <p:spPr bwMode="auto">
              <a:xfrm>
                <a:off x="11581398" y="4660852"/>
                <a:ext cx="35603" cy="151148"/>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19" name="Rounded Rectangle 218"/>
              <p:cNvSpPr/>
              <p:nvPr/>
            </p:nvSpPr>
            <p:spPr bwMode="auto">
              <a:xfrm>
                <a:off x="11637498" y="4643936"/>
                <a:ext cx="35603" cy="186677"/>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a:lnSpc>
                    <a:spcPct val="90000"/>
                  </a:lnSpc>
                  <a:defRPr/>
                </a:pPr>
                <a:endParaRPr lang="en-US" sz="1961" b="1" dirty="0">
                  <a:solidFill>
                    <a:prstClr val="white"/>
                  </a:solidFill>
                  <a:latin typeface="Segoe UI Light"/>
                  <a:ea typeface="Segoe UI" pitchFamily="34" charset="0"/>
                  <a:cs typeface="Segoe UI" pitchFamily="34" charset="0"/>
                </a:endParaRPr>
              </a:p>
            </p:txBody>
          </p:sp>
          <p:sp>
            <p:nvSpPr>
              <p:cNvPr id="220" name="Freeform 21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dirty="0">
                  <a:solidFill>
                    <a:prstClr val="white"/>
                  </a:solidFill>
                  <a:latin typeface="Segoe UI"/>
                </a:endParaRPr>
              </a:p>
            </p:txBody>
          </p:sp>
        </p:grpSp>
        <p:sp>
          <p:nvSpPr>
            <p:cNvPr id="221" name="Line 18"/>
            <p:cNvSpPr>
              <a:spLocks noChangeShapeType="1"/>
            </p:cNvSpPr>
            <p:nvPr/>
          </p:nvSpPr>
          <p:spPr bwMode="auto">
            <a:xfrm>
              <a:off x="9609844" y="3693859"/>
              <a:ext cx="914400"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222" name="Line 83"/>
            <p:cNvSpPr>
              <a:spLocks noChangeShapeType="1"/>
            </p:cNvSpPr>
            <p:nvPr/>
          </p:nvSpPr>
          <p:spPr bwMode="auto">
            <a:xfrm flipH="1">
              <a:off x="9609844" y="3458878"/>
              <a:ext cx="914400"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defTabSz="896386">
                <a:defRPr/>
              </a:pPr>
              <a:endParaRPr lang="en-US" sz="1765">
                <a:solidFill>
                  <a:prstClr val="black"/>
                </a:solidFill>
                <a:latin typeface="Segoe UI"/>
              </a:endParaRPr>
            </a:p>
          </p:txBody>
        </p:sp>
        <p:sp>
          <p:nvSpPr>
            <p:cNvPr id="223" name="Rectangle 128"/>
            <p:cNvSpPr>
              <a:spLocks noChangeArrowheads="1"/>
            </p:cNvSpPr>
            <p:nvPr/>
          </p:nvSpPr>
          <p:spPr bwMode="auto">
            <a:xfrm>
              <a:off x="524791" y="3797374"/>
              <a:ext cx="10036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386">
                <a:defRPr/>
              </a:pPr>
              <a:r>
                <a:rPr lang="en-US" altLang="en-US" sz="1372" dirty="0">
                  <a:solidFill>
                    <a:prstClr val="white"/>
                  </a:solidFill>
                  <a:latin typeface="Segoe UI" panose="020B0502040204020203" pitchFamily="34" charset="0"/>
                </a:rPr>
                <a:t>C# simulator</a:t>
              </a:r>
              <a:endParaRPr lang="en-US" altLang="en-US" sz="1372" dirty="0">
                <a:solidFill>
                  <a:prstClr val="white"/>
                </a:solidFill>
              </a:endParaRPr>
            </a:p>
          </p:txBody>
        </p:sp>
      </p:grpSp>
    </p:spTree>
    <p:extLst>
      <p:ext uri="{BB962C8B-B14F-4D97-AF65-F5344CB8AC3E}">
        <p14:creationId xmlns:p14="http://schemas.microsoft.com/office/powerpoint/2010/main" val="25297506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 Stack</a:t>
            </a:r>
            <a:endParaRPr lang="en-US" dirty="0"/>
          </a:p>
        </p:txBody>
      </p:sp>
      <p:grpSp>
        <p:nvGrpSpPr>
          <p:cNvPr id="66" name="Group 65"/>
          <p:cNvGrpSpPr/>
          <p:nvPr/>
        </p:nvGrpSpPr>
        <p:grpSpPr>
          <a:xfrm>
            <a:off x="4890938" y="4668654"/>
            <a:ext cx="2939869" cy="657535"/>
            <a:chOff x="4744603" y="4833367"/>
            <a:chExt cx="2940287" cy="657628"/>
          </a:xfrm>
        </p:grpSpPr>
        <p:sp>
          <p:nvSpPr>
            <p:cNvPr id="32" name="Rectangle 31"/>
            <p:cNvSpPr/>
            <p:nvPr/>
          </p:nvSpPr>
          <p:spPr bwMode="auto">
            <a:xfrm>
              <a:off x="4744603" y="4833367"/>
              <a:ext cx="2940287" cy="657628"/>
            </a:xfrm>
            <a:prstGeom prst="rect">
              <a:avLst/>
            </a:prstGeom>
            <a:solidFill>
              <a:srgbClr val="0054A6"/>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ctr"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Install</a:t>
              </a:r>
            </a:p>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Application  </a:t>
              </a:r>
            </a:p>
          </p:txBody>
        </p:sp>
        <p:pic>
          <p:nvPicPr>
            <p:cNvPr id="33" name="Picture 2" descr="C:\Users\nathalie.feau\Pictures\metro.icons\white\downloa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8762" y="4905639"/>
              <a:ext cx="581878" cy="581878"/>
            </a:xfrm>
            <a:prstGeom prst="rect">
              <a:avLst/>
            </a:prstGeom>
            <a:noFill/>
            <a:ln>
              <a:noFill/>
            </a:ln>
            <a:extLst/>
          </p:spPr>
        </p:pic>
      </p:grpSp>
      <p:grpSp>
        <p:nvGrpSpPr>
          <p:cNvPr id="68" name="Group 67"/>
          <p:cNvGrpSpPr/>
          <p:nvPr/>
        </p:nvGrpSpPr>
        <p:grpSpPr>
          <a:xfrm>
            <a:off x="4901947" y="6015135"/>
            <a:ext cx="2928860" cy="657535"/>
            <a:chOff x="4755615" y="6180039"/>
            <a:chExt cx="2929276" cy="657628"/>
          </a:xfrm>
        </p:grpSpPr>
        <p:sp>
          <p:nvSpPr>
            <p:cNvPr id="34" name="Rectangle 33"/>
            <p:cNvSpPr/>
            <p:nvPr/>
          </p:nvSpPr>
          <p:spPr bwMode="auto">
            <a:xfrm>
              <a:off x="4755615" y="6180039"/>
              <a:ext cx="2929276" cy="657628"/>
            </a:xfrm>
            <a:prstGeom prst="rect">
              <a:avLst/>
            </a:prstGeom>
            <a:solidFill>
              <a:srgbClr val="68217A"/>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ctr"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Provision</a:t>
              </a:r>
            </a:p>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Environment</a:t>
              </a:r>
            </a:p>
          </p:txBody>
        </p:sp>
        <p:grpSp>
          <p:nvGrpSpPr>
            <p:cNvPr id="35" name="Group 34"/>
            <p:cNvGrpSpPr/>
            <p:nvPr/>
          </p:nvGrpSpPr>
          <p:grpSpPr>
            <a:xfrm>
              <a:off x="4949566" y="6265543"/>
              <a:ext cx="480635" cy="513558"/>
              <a:chOff x="4138072" y="5911885"/>
              <a:chExt cx="548131" cy="513564"/>
            </a:xfrm>
          </p:grpSpPr>
          <p:sp>
            <p:nvSpPr>
              <p:cNvPr id="36" name="Freeform 597"/>
              <p:cNvSpPr>
                <a:spLocks noChangeAspect="1" noEditPoints="1"/>
              </p:cNvSpPr>
              <p:nvPr/>
            </p:nvSpPr>
            <p:spPr bwMode="auto">
              <a:xfrm>
                <a:off x="4459677" y="5911885"/>
                <a:ext cx="226526" cy="513561"/>
              </a:xfrm>
              <a:custGeom>
                <a:avLst/>
                <a:gdLst>
                  <a:gd name="T0" fmla="*/ 0 w 243"/>
                  <a:gd name="T1" fmla="*/ 0 h 390"/>
                  <a:gd name="T2" fmla="*/ 0 w 243"/>
                  <a:gd name="T3" fmla="*/ 378 h 390"/>
                  <a:gd name="T4" fmla="*/ 23 w 243"/>
                  <a:gd name="T5" fmla="*/ 378 h 390"/>
                  <a:gd name="T6" fmla="*/ 23 w 243"/>
                  <a:gd name="T7" fmla="*/ 390 h 390"/>
                  <a:gd name="T8" fmla="*/ 73 w 243"/>
                  <a:gd name="T9" fmla="*/ 390 h 390"/>
                  <a:gd name="T10" fmla="*/ 73 w 243"/>
                  <a:gd name="T11" fmla="*/ 378 h 390"/>
                  <a:gd name="T12" fmla="*/ 170 w 243"/>
                  <a:gd name="T13" fmla="*/ 378 h 390"/>
                  <a:gd name="T14" fmla="*/ 170 w 243"/>
                  <a:gd name="T15" fmla="*/ 390 h 390"/>
                  <a:gd name="T16" fmla="*/ 217 w 243"/>
                  <a:gd name="T17" fmla="*/ 390 h 390"/>
                  <a:gd name="T18" fmla="*/ 217 w 243"/>
                  <a:gd name="T19" fmla="*/ 378 h 390"/>
                  <a:gd name="T20" fmla="*/ 243 w 243"/>
                  <a:gd name="T21" fmla="*/ 378 h 390"/>
                  <a:gd name="T22" fmla="*/ 243 w 243"/>
                  <a:gd name="T23" fmla="*/ 0 h 390"/>
                  <a:gd name="T24" fmla="*/ 0 w 243"/>
                  <a:gd name="T25" fmla="*/ 0 h 390"/>
                  <a:gd name="T26" fmla="*/ 73 w 243"/>
                  <a:gd name="T27" fmla="*/ 73 h 390"/>
                  <a:gd name="T28" fmla="*/ 23 w 243"/>
                  <a:gd name="T29" fmla="*/ 73 h 390"/>
                  <a:gd name="T30" fmla="*/ 23 w 243"/>
                  <a:gd name="T31" fmla="*/ 61 h 390"/>
                  <a:gd name="T32" fmla="*/ 73 w 243"/>
                  <a:gd name="T33" fmla="*/ 61 h 390"/>
                  <a:gd name="T34" fmla="*/ 73 w 243"/>
                  <a:gd name="T35" fmla="*/ 73 h 390"/>
                  <a:gd name="T36" fmla="*/ 163 w 243"/>
                  <a:gd name="T37" fmla="*/ 300 h 390"/>
                  <a:gd name="T38" fmla="*/ 80 w 243"/>
                  <a:gd name="T39" fmla="*/ 300 h 390"/>
                  <a:gd name="T40" fmla="*/ 80 w 243"/>
                  <a:gd name="T41" fmla="*/ 286 h 390"/>
                  <a:gd name="T42" fmla="*/ 163 w 243"/>
                  <a:gd name="T43" fmla="*/ 286 h 390"/>
                  <a:gd name="T44" fmla="*/ 163 w 243"/>
                  <a:gd name="T45" fmla="*/ 300 h 390"/>
                  <a:gd name="T46" fmla="*/ 163 w 243"/>
                  <a:gd name="T47" fmla="*/ 253 h 390"/>
                  <a:gd name="T48" fmla="*/ 80 w 243"/>
                  <a:gd name="T49" fmla="*/ 253 h 390"/>
                  <a:gd name="T50" fmla="*/ 80 w 243"/>
                  <a:gd name="T51" fmla="*/ 241 h 390"/>
                  <a:gd name="T52" fmla="*/ 163 w 243"/>
                  <a:gd name="T53" fmla="*/ 241 h 390"/>
                  <a:gd name="T54" fmla="*/ 163 w 243"/>
                  <a:gd name="T55" fmla="*/ 253 h 390"/>
                  <a:gd name="T56" fmla="*/ 163 w 243"/>
                  <a:gd name="T57" fmla="*/ 208 h 390"/>
                  <a:gd name="T58" fmla="*/ 80 w 243"/>
                  <a:gd name="T59" fmla="*/ 208 h 390"/>
                  <a:gd name="T60" fmla="*/ 80 w 243"/>
                  <a:gd name="T61" fmla="*/ 196 h 390"/>
                  <a:gd name="T62" fmla="*/ 163 w 243"/>
                  <a:gd name="T63" fmla="*/ 196 h 390"/>
                  <a:gd name="T64" fmla="*/ 163 w 243"/>
                  <a:gd name="T65" fmla="*/ 20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390">
                    <a:moveTo>
                      <a:pt x="0" y="0"/>
                    </a:moveTo>
                    <a:lnTo>
                      <a:pt x="0" y="378"/>
                    </a:lnTo>
                    <a:lnTo>
                      <a:pt x="23" y="378"/>
                    </a:lnTo>
                    <a:lnTo>
                      <a:pt x="23" y="390"/>
                    </a:lnTo>
                    <a:lnTo>
                      <a:pt x="73" y="390"/>
                    </a:lnTo>
                    <a:lnTo>
                      <a:pt x="73" y="378"/>
                    </a:lnTo>
                    <a:lnTo>
                      <a:pt x="170" y="378"/>
                    </a:lnTo>
                    <a:lnTo>
                      <a:pt x="170" y="390"/>
                    </a:lnTo>
                    <a:lnTo>
                      <a:pt x="217" y="390"/>
                    </a:lnTo>
                    <a:lnTo>
                      <a:pt x="217" y="378"/>
                    </a:lnTo>
                    <a:lnTo>
                      <a:pt x="243" y="378"/>
                    </a:lnTo>
                    <a:lnTo>
                      <a:pt x="243" y="0"/>
                    </a:lnTo>
                    <a:lnTo>
                      <a:pt x="0" y="0"/>
                    </a:lnTo>
                    <a:close/>
                    <a:moveTo>
                      <a:pt x="73" y="73"/>
                    </a:moveTo>
                    <a:lnTo>
                      <a:pt x="23" y="73"/>
                    </a:lnTo>
                    <a:lnTo>
                      <a:pt x="23" y="61"/>
                    </a:lnTo>
                    <a:lnTo>
                      <a:pt x="73" y="61"/>
                    </a:lnTo>
                    <a:lnTo>
                      <a:pt x="73" y="73"/>
                    </a:lnTo>
                    <a:close/>
                    <a:moveTo>
                      <a:pt x="163" y="300"/>
                    </a:moveTo>
                    <a:lnTo>
                      <a:pt x="80" y="300"/>
                    </a:lnTo>
                    <a:lnTo>
                      <a:pt x="80" y="286"/>
                    </a:lnTo>
                    <a:lnTo>
                      <a:pt x="163" y="286"/>
                    </a:lnTo>
                    <a:lnTo>
                      <a:pt x="163" y="300"/>
                    </a:lnTo>
                    <a:close/>
                    <a:moveTo>
                      <a:pt x="163" y="253"/>
                    </a:moveTo>
                    <a:lnTo>
                      <a:pt x="80" y="253"/>
                    </a:lnTo>
                    <a:lnTo>
                      <a:pt x="80" y="241"/>
                    </a:lnTo>
                    <a:lnTo>
                      <a:pt x="163" y="241"/>
                    </a:lnTo>
                    <a:lnTo>
                      <a:pt x="163" y="253"/>
                    </a:lnTo>
                    <a:close/>
                    <a:moveTo>
                      <a:pt x="163" y="208"/>
                    </a:moveTo>
                    <a:lnTo>
                      <a:pt x="80" y="208"/>
                    </a:lnTo>
                    <a:lnTo>
                      <a:pt x="80" y="196"/>
                    </a:lnTo>
                    <a:lnTo>
                      <a:pt x="163" y="196"/>
                    </a:lnTo>
                    <a:lnTo>
                      <a:pt x="163" y="208"/>
                    </a:lnTo>
                    <a:close/>
                  </a:path>
                </a:pathLst>
              </a:custGeom>
              <a:solidFill>
                <a:srgbClr val="FFFFFF"/>
              </a:solidFill>
              <a:ln>
                <a:solidFill>
                  <a:srgbClr val="FFFFFF"/>
                </a:solidFill>
              </a:ln>
              <a:extLst/>
            </p:spPr>
            <p:txBody>
              <a:bodyPr vert="horz" wrap="square" lIns="91427" tIns="45713" rIns="91427" bIns="45713" numCol="1" anchor="t" anchorCtr="0" compatLnSpc="1">
                <a:prstTxWarp prst="textNoShape">
                  <a:avLst/>
                </a:prstTxWarp>
              </a:bodyPr>
              <a:lstStyle/>
              <a:p>
                <a:pPr defTabSz="914225">
                  <a:defRPr/>
                </a:pPr>
                <a:endParaRPr lang="en-US" sz="2000" kern="0">
                  <a:solidFill>
                    <a:sysClr val="windowText" lastClr="000000"/>
                  </a:solidFill>
                  <a:latin typeface="Segoe UI"/>
                </a:endParaRPr>
              </a:p>
            </p:txBody>
          </p:sp>
          <p:sp>
            <p:nvSpPr>
              <p:cNvPr id="37" name="Freeform 597"/>
              <p:cNvSpPr>
                <a:spLocks noChangeAspect="1" noEditPoints="1"/>
              </p:cNvSpPr>
              <p:nvPr/>
            </p:nvSpPr>
            <p:spPr bwMode="auto">
              <a:xfrm>
                <a:off x="4138072" y="5911888"/>
                <a:ext cx="226526" cy="513561"/>
              </a:xfrm>
              <a:custGeom>
                <a:avLst/>
                <a:gdLst>
                  <a:gd name="T0" fmla="*/ 0 w 243"/>
                  <a:gd name="T1" fmla="*/ 0 h 390"/>
                  <a:gd name="T2" fmla="*/ 0 w 243"/>
                  <a:gd name="T3" fmla="*/ 378 h 390"/>
                  <a:gd name="T4" fmla="*/ 23 w 243"/>
                  <a:gd name="T5" fmla="*/ 378 h 390"/>
                  <a:gd name="T6" fmla="*/ 23 w 243"/>
                  <a:gd name="T7" fmla="*/ 390 h 390"/>
                  <a:gd name="T8" fmla="*/ 73 w 243"/>
                  <a:gd name="T9" fmla="*/ 390 h 390"/>
                  <a:gd name="T10" fmla="*/ 73 w 243"/>
                  <a:gd name="T11" fmla="*/ 378 h 390"/>
                  <a:gd name="T12" fmla="*/ 170 w 243"/>
                  <a:gd name="T13" fmla="*/ 378 h 390"/>
                  <a:gd name="T14" fmla="*/ 170 w 243"/>
                  <a:gd name="T15" fmla="*/ 390 h 390"/>
                  <a:gd name="T16" fmla="*/ 217 w 243"/>
                  <a:gd name="T17" fmla="*/ 390 h 390"/>
                  <a:gd name="T18" fmla="*/ 217 w 243"/>
                  <a:gd name="T19" fmla="*/ 378 h 390"/>
                  <a:gd name="T20" fmla="*/ 243 w 243"/>
                  <a:gd name="T21" fmla="*/ 378 h 390"/>
                  <a:gd name="T22" fmla="*/ 243 w 243"/>
                  <a:gd name="T23" fmla="*/ 0 h 390"/>
                  <a:gd name="T24" fmla="*/ 0 w 243"/>
                  <a:gd name="T25" fmla="*/ 0 h 390"/>
                  <a:gd name="T26" fmla="*/ 73 w 243"/>
                  <a:gd name="T27" fmla="*/ 73 h 390"/>
                  <a:gd name="T28" fmla="*/ 23 w 243"/>
                  <a:gd name="T29" fmla="*/ 73 h 390"/>
                  <a:gd name="T30" fmla="*/ 23 w 243"/>
                  <a:gd name="T31" fmla="*/ 61 h 390"/>
                  <a:gd name="T32" fmla="*/ 73 w 243"/>
                  <a:gd name="T33" fmla="*/ 61 h 390"/>
                  <a:gd name="T34" fmla="*/ 73 w 243"/>
                  <a:gd name="T35" fmla="*/ 73 h 390"/>
                  <a:gd name="T36" fmla="*/ 163 w 243"/>
                  <a:gd name="T37" fmla="*/ 300 h 390"/>
                  <a:gd name="T38" fmla="*/ 80 w 243"/>
                  <a:gd name="T39" fmla="*/ 300 h 390"/>
                  <a:gd name="T40" fmla="*/ 80 w 243"/>
                  <a:gd name="T41" fmla="*/ 286 h 390"/>
                  <a:gd name="T42" fmla="*/ 163 w 243"/>
                  <a:gd name="T43" fmla="*/ 286 h 390"/>
                  <a:gd name="T44" fmla="*/ 163 w 243"/>
                  <a:gd name="T45" fmla="*/ 300 h 390"/>
                  <a:gd name="T46" fmla="*/ 163 w 243"/>
                  <a:gd name="T47" fmla="*/ 253 h 390"/>
                  <a:gd name="T48" fmla="*/ 80 w 243"/>
                  <a:gd name="T49" fmla="*/ 253 h 390"/>
                  <a:gd name="T50" fmla="*/ 80 w 243"/>
                  <a:gd name="T51" fmla="*/ 241 h 390"/>
                  <a:gd name="T52" fmla="*/ 163 w 243"/>
                  <a:gd name="T53" fmla="*/ 241 h 390"/>
                  <a:gd name="T54" fmla="*/ 163 w 243"/>
                  <a:gd name="T55" fmla="*/ 253 h 390"/>
                  <a:gd name="T56" fmla="*/ 163 w 243"/>
                  <a:gd name="T57" fmla="*/ 208 h 390"/>
                  <a:gd name="T58" fmla="*/ 80 w 243"/>
                  <a:gd name="T59" fmla="*/ 208 h 390"/>
                  <a:gd name="T60" fmla="*/ 80 w 243"/>
                  <a:gd name="T61" fmla="*/ 196 h 390"/>
                  <a:gd name="T62" fmla="*/ 163 w 243"/>
                  <a:gd name="T63" fmla="*/ 196 h 390"/>
                  <a:gd name="T64" fmla="*/ 163 w 243"/>
                  <a:gd name="T65" fmla="*/ 20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390">
                    <a:moveTo>
                      <a:pt x="0" y="0"/>
                    </a:moveTo>
                    <a:lnTo>
                      <a:pt x="0" y="378"/>
                    </a:lnTo>
                    <a:lnTo>
                      <a:pt x="23" y="378"/>
                    </a:lnTo>
                    <a:lnTo>
                      <a:pt x="23" y="390"/>
                    </a:lnTo>
                    <a:lnTo>
                      <a:pt x="73" y="390"/>
                    </a:lnTo>
                    <a:lnTo>
                      <a:pt x="73" y="378"/>
                    </a:lnTo>
                    <a:lnTo>
                      <a:pt x="170" y="378"/>
                    </a:lnTo>
                    <a:lnTo>
                      <a:pt x="170" y="390"/>
                    </a:lnTo>
                    <a:lnTo>
                      <a:pt x="217" y="390"/>
                    </a:lnTo>
                    <a:lnTo>
                      <a:pt x="217" y="378"/>
                    </a:lnTo>
                    <a:lnTo>
                      <a:pt x="243" y="378"/>
                    </a:lnTo>
                    <a:lnTo>
                      <a:pt x="243" y="0"/>
                    </a:lnTo>
                    <a:lnTo>
                      <a:pt x="0" y="0"/>
                    </a:lnTo>
                    <a:close/>
                    <a:moveTo>
                      <a:pt x="73" y="73"/>
                    </a:moveTo>
                    <a:lnTo>
                      <a:pt x="23" y="73"/>
                    </a:lnTo>
                    <a:lnTo>
                      <a:pt x="23" y="61"/>
                    </a:lnTo>
                    <a:lnTo>
                      <a:pt x="73" y="61"/>
                    </a:lnTo>
                    <a:lnTo>
                      <a:pt x="73" y="73"/>
                    </a:lnTo>
                    <a:close/>
                    <a:moveTo>
                      <a:pt x="163" y="300"/>
                    </a:moveTo>
                    <a:lnTo>
                      <a:pt x="80" y="300"/>
                    </a:lnTo>
                    <a:lnTo>
                      <a:pt x="80" y="286"/>
                    </a:lnTo>
                    <a:lnTo>
                      <a:pt x="163" y="286"/>
                    </a:lnTo>
                    <a:lnTo>
                      <a:pt x="163" y="300"/>
                    </a:lnTo>
                    <a:close/>
                    <a:moveTo>
                      <a:pt x="163" y="253"/>
                    </a:moveTo>
                    <a:lnTo>
                      <a:pt x="80" y="253"/>
                    </a:lnTo>
                    <a:lnTo>
                      <a:pt x="80" y="241"/>
                    </a:lnTo>
                    <a:lnTo>
                      <a:pt x="163" y="241"/>
                    </a:lnTo>
                    <a:lnTo>
                      <a:pt x="163" y="253"/>
                    </a:lnTo>
                    <a:close/>
                    <a:moveTo>
                      <a:pt x="163" y="208"/>
                    </a:moveTo>
                    <a:lnTo>
                      <a:pt x="80" y="208"/>
                    </a:lnTo>
                    <a:lnTo>
                      <a:pt x="80" y="196"/>
                    </a:lnTo>
                    <a:lnTo>
                      <a:pt x="163" y="196"/>
                    </a:lnTo>
                    <a:lnTo>
                      <a:pt x="163" y="208"/>
                    </a:lnTo>
                    <a:close/>
                  </a:path>
                </a:pathLst>
              </a:custGeom>
              <a:solidFill>
                <a:srgbClr val="FFFFFF"/>
              </a:solidFill>
              <a:ln>
                <a:solidFill>
                  <a:srgbClr val="FFFFFF"/>
                </a:solidFill>
              </a:ln>
              <a:extLst/>
            </p:spPr>
            <p:txBody>
              <a:bodyPr vert="horz" wrap="square" lIns="91427" tIns="45713" rIns="91427" bIns="45713" numCol="1" anchor="t" anchorCtr="0" compatLnSpc="1">
                <a:prstTxWarp prst="textNoShape">
                  <a:avLst/>
                </a:prstTxWarp>
              </a:bodyPr>
              <a:lstStyle/>
              <a:p>
                <a:pPr defTabSz="914225">
                  <a:defRPr/>
                </a:pPr>
                <a:endParaRPr lang="en-US" sz="2000" kern="0">
                  <a:solidFill>
                    <a:sysClr val="windowText" lastClr="000000"/>
                  </a:solidFill>
                  <a:latin typeface="Segoe UI"/>
                </a:endParaRPr>
              </a:p>
            </p:txBody>
          </p:sp>
        </p:grpSp>
      </p:grpSp>
      <p:grpSp>
        <p:nvGrpSpPr>
          <p:cNvPr id="64" name="Group 63"/>
          <p:cNvGrpSpPr/>
          <p:nvPr/>
        </p:nvGrpSpPr>
        <p:grpSpPr>
          <a:xfrm>
            <a:off x="4878984" y="3337425"/>
            <a:ext cx="2951823" cy="741924"/>
            <a:chOff x="4732648" y="3501948"/>
            <a:chExt cx="2952242" cy="742029"/>
          </a:xfrm>
        </p:grpSpPr>
        <p:sp>
          <p:nvSpPr>
            <p:cNvPr id="38" name="Rectangle 37"/>
            <p:cNvSpPr/>
            <p:nvPr/>
          </p:nvSpPr>
          <p:spPr bwMode="auto">
            <a:xfrm>
              <a:off x="4732648" y="3501948"/>
              <a:ext cx="2952242" cy="657628"/>
            </a:xfrm>
            <a:prstGeom prst="rect">
              <a:avLst/>
            </a:prstGeom>
            <a:solidFill>
              <a:srgbClr val="0054A6">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Create Test Data</a:t>
              </a:r>
            </a:p>
          </p:txBody>
        </p:sp>
        <p:pic>
          <p:nvPicPr>
            <p:cNvPr id="39" name="Picture 3" descr="\\MAGNUM\Projects\Microsoft\Cloud Power FY12\Design\ICONS_PNG\Service_Lifecycle_Management.png"/>
            <p:cNvPicPr>
              <a:picLocks noChangeAspect="1" noChangeArrowheads="1"/>
            </p:cNvPicPr>
            <p:nvPr/>
          </p:nvPicPr>
          <p:blipFill>
            <a:blip r:embed="rId4" cstate="print">
              <a:lum bright="100000"/>
            </a:blip>
            <a:srcRect/>
            <a:stretch>
              <a:fillRect/>
            </a:stretch>
          </p:blipFill>
          <p:spPr bwMode="auto">
            <a:xfrm>
              <a:off x="4833543" y="3514827"/>
              <a:ext cx="729150" cy="729150"/>
            </a:xfrm>
            <a:prstGeom prst="rect">
              <a:avLst/>
            </a:prstGeom>
            <a:noFill/>
          </p:spPr>
        </p:pic>
      </p:grpSp>
      <p:grpSp>
        <p:nvGrpSpPr>
          <p:cNvPr id="65" name="Group 64"/>
          <p:cNvGrpSpPr/>
          <p:nvPr/>
        </p:nvGrpSpPr>
        <p:grpSpPr>
          <a:xfrm>
            <a:off x="4890938" y="4007229"/>
            <a:ext cx="2939869" cy="657535"/>
            <a:chOff x="4744603" y="4171848"/>
            <a:chExt cx="2940287" cy="657628"/>
          </a:xfrm>
        </p:grpSpPr>
        <p:sp>
          <p:nvSpPr>
            <p:cNvPr id="41" name="Rectangle 40"/>
            <p:cNvSpPr/>
            <p:nvPr/>
          </p:nvSpPr>
          <p:spPr bwMode="auto">
            <a:xfrm>
              <a:off x="4744603" y="4171848"/>
              <a:ext cx="2940287" cy="657628"/>
            </a:xfrm>
            <a:prstGeom prst="rect">
              <a:avLst/>
            </a:prstGeom>
            <a:solidFill>
              <a:srgbClr val="0054A6"/>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ctr"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Configure</a:t>
              </a:r>
            </a:p>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Application</a:t>
              </a:r>
            </a:p>
          </p:txBody>
        </p:sp>
        <p:grpSp>
          <p:nvGrpSpPr>
            <p:cNvPr id="42" name="Group 41"/>
            <p:cNvGrpSpPr/>
            <p:nvPr/>
          </p:nvGrpSpPr>
          <p:grpSpPr bwMode="black">
            <a:xfrm>
              <a:off x="4912019" y="4258677"/>
              <a:ext cx="544333" cy="537171"/>
              <a:chOff x="2916435" y="3914152"/>
              <a:chExt cx="930763" cy="918513"/>
            </a:xfrm>
          </p:grpSpPr>
          <p:pic>
            <p:nvPicPr>
              <p:cNvPr id="43" name="Picture 4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4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14188">
                  <a:defRPr/>
                </a:pPr>
                <a:endParaRPr lang="en-US" sz="1400" kern="0" dirty="0">
                  <a:solidFill>
                    <a:srgbClr val="FFFFFF"/>
                  </a:solidFill>
                  <a:latin typeface="Segoe UI"/>
                </a:endParaRPr>
              </a:p>
            </p:txBody>
          </p:sp>
        </p:grpSp>
      </p:grpSp>
      <p:grpSp>
        <p:nvGrpSpPr>
          <p:cNvPr id="67" name="Group 66"/>
          <p:cNvGrpSpPr/>
          <p:nvPr/>
        </p:nvGrpSpPr>
        <p:grpSpPr>
          <a:xfrm>
            <a:off x="4901948" y="5348896"/>
            <a:ext cx="2928859" cy="657535"/>
            <a:chOff x="4755614" y="5513706"/>
            <a:chExt cx="2929275" cy="657628"/>
          </a:xfrm>
        </p:grpSpPr>
        <p:sp>
          <p:nvSpPr>
            <p:cNvPr id="40" name="Rectangle 39"/>
            <p:cNvSpPr/>
            <p:nvPr/>
          </p:nvSpPr>
          <p:spPr bwMode="auto">
            <a:xfrm>
              <a:off x="4755614" y="5513706"/>
              <a:ext cx="2929275" cy="657628"/>
            </a:xfrm>
            <a:prstGeom prst="rect">
              <a:avLst/>
            </a:prstGeom>
            <a:solidFill>
              <a:srgbClr val="68217A"/>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ctr"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Configure</a:t>
              </a:r>
            </a:p>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Environment  </a:t>
              </a:r>
            </a:p>
          </p:txBody>
        </p:sp>
        <p:grpSp>
          <p:nvGrpSpPr>
            <p:cNvPr id="45" name="Group 44"/>
            <p:cNvGrpSpPr/>
            <p:nvPr/>
          </p:nvGrpSpPr>
          <p:grpSpPr>
            <a:xfrm>
              <a:off x="4956206" y="5613497"/>
              <a:ext cx="459707" cy="525366"/>
              <a:chOff x="7004093" y="3764378"/>
              <a:chExt cx="459707" cy="525366"/>
            </a:xfrm>
          </p:grpSpPr>
          <p:pic>
            <p:nvPicPr>
              <p:cNvPr id="46" name="Picture 45"/>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7004093" y="3979771"/>
                <a:ext cx="230745" cy="309973"/>
              </a:xfrm>
              <a:prstGeom prst="rect">
                <a:avLst/>
              </a:prstGeom>
            </p:spPr>
          </p:pic>
          <p:sp>
            <p:nvSpPr>
              <p:cNvPr id="47" name="Freeform 597"/>
              <p:cNvSpPr>
                <a:spLocks noChangeAspect="1" noEditPoints="1"/>
              </p:cNvSpPr>
              <p:nvPr/>
            </p:nvSpPr>
            <p:spPr bwMode="auto">
              <a:xfrm>
                <a:off x="7237274" y="3764378"/>
                <a:ext cx="226526" cy="513561"/>
              </a:xfrm>
              <a:custGeom>
                <a:avLst/>
                <a:gdLst>
                  <a:gd name="T0" fmla="*/ 0 w 243"/>
                  <a:gd name="T1" fmla="*/ 0 h 390"/>
                  <a:gd name="T2" fmla="*/ 0 w 243"/>
                  <a:gd name="T3" fmla="*/ 378 h 390"/>
                  <a:gd name="T4" fmla="*/ 23 w 243"/>
                  <a:gd name="T5" fmla="*/ 378 h 390"/>
                  <a:gd name="T6" fmla="*/ 23 w 243"/>
                  <a:gd name="T7" fmla="*/ 390 h 390"/>
                  <a:gd name="T8" fmla="*/ 73 w 243"/>
                  <a:gd name="T9" fmla="*/ 390 h 390"/>
                  <a:gd name="T10" fmla="*/ 73 w 243"/>
                  <a:gd name="T11" fmla="*/ 378 h 390"/>
                  <a:gd name="T12" fmla="*/ 170 w 243"/>
                  <a:gd name="T13" fmla="*/ 378 h 390"/>
                  <a:gd name="T14" fmla="*/ 170 w 243"/>
                  <a:gd name="T15" fmla="*/ 390 h 390"/>
                  <a:gd name="T16" fmla="*/ 217 w 243"/>
                  <a:gd name="T17" fmla="*/ 390 h 390"/>
                  <a:gd name="T18" fmla="*/ 217 w 243"/>
                  <a:gd name="T19" fmla="*/ 378 h 390"/>
                  <a:gd name="T20" fmla="*/ 243 w 243"/>
                  <a:gd name="T21" fmla="*/ 378 h 390"/>
                  <a:gd name="T22" fmla="*/ 243 w 243"/>
                  <a:gd name="T23" fmla="*/ 0 h 390"/>
                  <a:gd name="T24" fmla="*/ 0 w 243"/>
                  <a:gd name="T25" fmla="*/ 0 h 390"/>
                  <a:gd name="T26" fmla="*/ 73 w 243"/>
                  <a:gd name="T27" fmla="*/ 73 h 390"/>
                  <a:gd name="T28" fmla="*/ 23 w 243"/>
                  <a:gd name="T29" fmla="*/ 73 h 390"/>
                  <a:gd name="T30" fmla="*/ 23 w 243"/>
                  <a:gd name="T31" fmla="*/ 61 h 390"/>
                  <a:gd name="T32" fmla="*/ 73 w 243"/>
                  <a:gd name="T33" fmla="*/ 61 h 390"/>
                  <a:gd name="T34" fmla="*/ 73 w 243"/>
                  <a:gd name="T35" fmla="*/ 73 h 390"/>
                  <a:gd name="T36" fmla="*/ 163 w 243"/>
                  <a:gd name="T37" fmla="*/ 300 h 390"/>
                  <a:gd name="T38" fmla="*/ 80 w 243"/>
                  <a:gd name="T39" fmla="*/ 300 h 390"/>
                  <a:gd name="T40" fmla="*/ 80 w 243"/>
                  <a:gd name="T41" fmla="*/ 286 h 390"/>
                  <a:gd name="T42" fmla="*/ 163 w 243"/>
                  <a:gd name="T43" fmla="*/ 286 h 390"/>
                  <a:gd name="T44" fmla="*/ 163 w 243"/>
                  <a:gd name="T45" fmla="*/ 300 h 390"/>
                  <a:gd name="T46" fmla="*/ 163 w 243"/>
                  <a:gd name="T47" fmla="*/ 253 h 390"/>
                  <a:gd name="T48" fmla="*/ 80 w 243"/>
                  <a:gd name="T49" fmla="*/ 253 h 390"/>
                  <a:gd name="T50" fmla="*/ 80 w 243"/>
                  <a:gd name="T51" fmla="*/ 241 h 390"/>
                  <a:gd name="T52" fmla="*/ 163 w 243"/>
                  <a:gd name="T53" fmla="*/ 241 h 390"/>
                  <a:gd name="T54" fmla="*/ 163 w 243"/>
                  <a:gd name="T55" fmla="*/ 253 h 390"/>
                  <a:gd name="T56" fmla="*/ 163 w 243"/>
                  <a:gd name="T57" fmla="*/ 208 h 390"/>
                  <a:gd name="T58" fmla="*/ 80 w 243"/>
                  <a:gd name="T59" fmla="*/ 208 h 390"/>
                  <a:gd name="T60" fmla="*/ 80 w 243"/>
                  <a:gd name="T61" fmla="*/ 196 h 390"/>
                  <a:gd name="T62" fmla="*/ 163 w 243"/>
                  <a:gd name="T63" fmla="*/ 196 h 390"/>
                  <a:gd name="T64" fmla="*/ 163 w 243"/>
                  <a:gd name="T65" fmla="*/ 20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 h="390">
                    <a:moveTo>
                      <a:pt x="0" y="0"/>
                    </a:moveTo>
                    <a:lnTo>
                      <a:pt x="0" y="378"/>
                    </a:lnTo>
                    <a:lnTo>
                      <a:pt x="23" y="378"/>
                    </a:lnTo>
                    <a:lnTo>
                      <a:pt x="23" y="390"/>
                    </a:lnTo>
                    <a:lnTo>
                      <a:pt x="73" y="390"/>
                    </a:lnTo>
                    <a:lnTo>
                      <a:pt x="73" y="378"/>
                    </a:lnTo>
                    <a:lnTo>
                      <a:pt x="170" y="378"/>
                    </a:lnTo>
                    <a:lnTo>
                      <a:pt x="170" y="390"/>
                    </a:lnTo>
                    <a:lnTo>
                      <a:pt x="217" y="390"/>
                    </a:lnTo>
                    <a:lnTo>
                      <a:pt x="217" y="378"/>
                    </a:lnTo>
                    <a:lnTo>
                      <a:pt x="243" y="378"/>
                    </a:lnTo>
                    <a:lnTo>
                      <a:pt x="243" y="0"/>
                    </a:lnTo>
                    <a:lnTo>
                      <a:pt x="0" y="0"/>
                    </a:lnTo>
                    <a:close/>
                    <a:moveTo>
                      <a:pt x="73" y="73"/>
                    </a:moveTo>
                    <a:lnTo>
                      <a:pt x="23" y="73"/>
                    </a:lnTo>
                    <a:lnTo>
                      <a:pt x="23" y="61"/>
                    </a:lnTo>
                    <a:lnTo>
                      <a:pt x="73" y="61"/>
                    </a:lnTo>
                    <a:lnTo>
                      <a:pt x="73" y="73"/>
                    </a:lnTo>
                    <a:close/>
                    <a:moveTo>
                      <a:pt x="163" y="300"/>
                    </a:moveTo>
                    <a:lnTo>
                      <a:pt x="80" y="300"/>
                    </a:lnTo>
                    <a:lnTo>
                      <a:pt x="80" y="286"/>
                    </a:lnTo>
                    <a:lnTo>
                      <a:pt x="163" y="286"/>
                    </a:lnTo>
                    <a:lnTo>
                      <a:pt x="163" y="300"/>
                    </a:lnTo>
                    <a:close/>
                    <a:moveTo>
                      <a:pt x="163" y="253"/>
                    </a:moveTo>
                    <a:lnTo>
                      <a:pt x="80" y="253"/>
                    </a:lnTo>
                    <a:lnTo>
                      <a:pt x="80" y="241"/>
                    </a:lnTo>
                    <a:lnTo>
                      <a:pt x="163" y="241"/>
                    </a:lnTo>
                    <a:lnTo>
                      <a:pt x="163" y="253"/>
                    </a:lnTo>
                    <a:close/>
                    <a:moveTo>
                      <a:pt x="163" y="208"/>
                    </a:moveTo>
                    <a:lnTo>
                      <a:pt x="80" y="208"/>
                    </a:lnTo>
                    <a:lnTo>
                      <a:pt x="80" y="196"/>
                    </a:lnTo>
                    <a:lnTo>
                      <a:pt x="163" y="196"/>
                    </a:lnTo>
                    <a:lnTo>
                      <a:pt x="163" y="208"/>
                    </a:lnTo>
                    <a:close/>
                  </a:path>
                </a:pathLst>
              </a:custGeom>
              <a:solidFill>
                <a:srgbClr val="FFFFFF"/>
              </a:solidFill>
              <a:ln>
                <a:solidFill>
                  <a:srgbClr val="FFFFFF"/>
                </a:solidFill>
              </a:ln>
              <a:extLst/>
            </p:spPr>
            <p:txBody>
              <a:bodyPr vert="horz" wrap="square" lIns="91427" tIns="45713" rIns="91427" bIns="45713" numCol="1" anchor="t" anchorCtr="0" compatLnSpc="1">
                <a:prstTxWarp prst="textNoShape">
                  <a:avLst/>
                </a:prstTxWarp>
              </a:bodyPr>
              <a:lstStyle/>
              <a:p>
                <a:pPr defTabSz="914225">
                  <a:defRPr/>
                </a:pPr>
                <a:endParaRPr lang="en-US" sz="2000" kern="0">
                  <a:solidFill>
                    <a:sysClr val="windowText" lastClr="000000"/>
                  </a:solidFill>
                  <a:latin typeface="Segoe UI"/>
                </a:endParaRPr>
              </a:p>
            </p:txBody>
          </p:sp>
        </p:grpSp>
      </p:grpSp>
      <p:grpSp>
        <p:nvGrpSpPr>
          <p:cNvPr id="62" name="Group 61"/>
          <p:cNvGrpSpPr/>
          <p:nvPr/>
        </p:nvGrpSpPr>
        <p:grpSpPr>
          <a:xfrm>
            <a:off x="4878984" y="1990077"/>
            <a:ext cx="2951823" cy="684373"/>
            <a:chOff x="4732648" y="2154410"/>
            <a:chExt cx="2952242" cy="684470"/>
          </a:xfrm>
        </p:grpSpPr>
        <p:sp>
          <p:nvSpPr>
            <p:cNvPr id="48" name="Rectangle 47"/>
            <p:cNvSpPr/>
            <p:nvPr/>
          </p:nvSpPr>
          <p:spPr bwMode="auto">
            <a:xfrm>
              <a:off x="4732648" y="2173876"/>
              <a:ext cx="2952242" cy="657628"/>
            </a:xfrm>
            <a:prstGeom prst="rect">
              <a:avLst/>
            </a:prstGeom>
            <a:solidFill>
              <a:srgbClr val="0054A6">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Manual Tests</a:t>
              </a:r>
            </a:p>
          </p:txBody>
        </p:sp>
        <p:pic>
          <p:nvPicPr>
            <p:cNvPr id="49" name="Picture 3" descr="C:\Users\mitchellg\Desktop\Simple_Licensing.png"/>
            <p:cNvPicPr>
              <a:picLocks noChangeAspect="1" noChangeArrowheads="1"/>
            </p:cNvPicPr>
            <p:nvPr/>
          </p:nvPicPr>
          <p:blipFill>
            <a:blip r:embed="rId7" cstate="print">
              <a:lum bright="100000"/>
            </a:blip>
            <a:srcRect/>
            <a:stretch>
              <a:fillRect/>
            </a:stretch>
          </p:blipFill>
          <p:spPr bwMode="auto">
            <a:xfrm>
              <a:off x="4863837" y="2154410"/>
              <a:ext cx="666367" cy="684470"/>
            </a:xfrm>
            <a:prstGeom prst="rect">
              <a:avLst/>
            </a:prstGeom>
            <a:noFill/>
            <a:ln>
              <a:noFill/>
            </a:ln>
          </p:spPr>
        </p:pic>
      </p:grpSp>
      <p:grpSp>
        <p:nvGrpSpPr>
          <p:cNvPr id="63" name="Group 62"/>
          <p:cNvGrpSpPr/>
          <p:nvPr/>
        </p:nvGrpSpPr>
        <p:grpSpPr>
          <a:xfrm>
            <a:off x="4878984" y="2667075"/>
            <a:ext cx="2951825" cy="657535"/>
            <a:chOff x="4732648" y="2831504"/>
            <a:chExt cx="2952243" cy="657628"/>
          </a:xfrm>
        </p:grpSpPr>
        <p:sp>
          <p:nvSpPr>
            <p:cNvPr id="31" name="Rectangle 30"/>
            <p:cNvSpPr/>
            <p:nvPr/>
          </p:nvSpPr>
          <p:spPr bwMode="auto">
            <a:xfrm>
              <a:off x="4732648" y="2831504"/>
              <a:ext cx="2952243" cy="657628"/>
            </a:xfrm>
            <a:prstGeom prst="rect">
              <a:avLst/>
            </a:prstGeom>
            <a:solidFill>
              <a:srgbClr val="0054A6">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Automated Tests</a:t>
              </a:r>
            </a:p>
          </p:txBody>
        </p:sp>
        <p:sp>
          <p:nvSpPr>
            <p:cNvPr id="50" name="Isosceles Triangle 49"/>
            <p:cNvSpPr/>
            <p:nvPr/>
          </p:nvSpPr>
          <p:spPr bwMode="auto">
            <a:xfrm rot="5400000">
              <a:off x="4988969" y="2990469"/>
              <a:ext cx="400844" cy="361508"/>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13924" fontAlgn="base">
                <a:lnSpc>
                  <a:spcPct val="90000"/>
                </a:lnSpc>
                <a:spcBef>
                  <a:spcPct val="0"/>
                </a:spcBef>
                <a:spcAft>
                  <a:spcPct val="0"/>
                </a:spcAft>
                <a:defRPr/>
              </a:pPr>
              <a:endParaRPr lang="en-CA" sz="2400" kern="0" spc="-1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1" name="Group 60"/>
          <p:cNvGrpSpPr/>
          <p:nvPr/>
        </p:nvGrpSpPr>
        <p:grpSpPr>
          <a:xfrm>
            <a:off x="4882900" y="1336058"/>
            <a:ext cx="2951823" cy="657535"/>
            <a:chOff x="4736564" y="1500298"/>
            <a:chExt cx="2952242" cy="657628"/>
          </a:xfrm>
        </p:grpSpPr>
        <p:sp>
          <p:nvSpPr>
            <p:cNvPr id="51" name="Rectangle 50"/>
            <p:cNvSpPr/>
            <p:nvPr/>
          </p:nvSpPr>
          <p:spPr bwMode="auto">
            <a:xfrm>
              <a:off x="4736564" y="1500298"/>
              <a:ext cx="2952242" cy="657628"/>
            </a:xfrm>
            <a:prstGeom prst="rect">
              <a:avLst/>
            </a:prstGeom>
            <a:solidFill>
              <a:srgbClr val="3099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Notify Approvers</a:t>
              </a:r>
            </a:p>
          </p:txBody>
        </p:sp>
        <p:pic>
          <p:nvPicPr>
            <p:cNvPr id="53" name="Picture 52"/>
            <p:cNvPicPr preferRelativeResize="0">
              <a:picLocks/>
            </p:cNvPicPr>
            <p:nvPr/>
          </p:nvPicPr>
          <p:blipFill>
            <a:blip r:embed="rId8">
              <a:lum bright="70000" contrast="-70000"/>
              <a:extLst>
                <a:ext uri="{28A0092B-C50C-407E-A947-70E740481C1C}">
                  <a14:useLocalDpi xmlns:a14="http://schemas.microsoft.com/office/drawing/2010/main" val="0"/>
                </a:ext>
              </a:extLst>
            </a:blip>
            <a:stretch>
              <a:fillRect/>
            </a:stretch>
          </p:blipFill>
          <p:spPr>
            <a:xfrm>
              <a:off x="4934674" y="1701933"/>
              <a:ext cx="466415" cy="307406"/>
            </a:xfrm>
            <a:prstGeom prst="rect">
              <a:avLst/>
            </a:prstGeom>
            <a:noFill/>
          </p:spPr>
        </p:pic>
      </p:grpSp>
      <p:grpSp>
        <p:nvGrpSpPr>
          <p:cNvPr id="60" name="Group 59"/>
          <p:cNvGrpSpPr/>
          <p:nvPr/>
        </p:nvGrpSpPr>
        <p:grpSpPr>
          <a:xfrm>
            <a:off x="4882900" y="664237"/>
            <a:ext cx="2951823" cy="657535"/>
            <a:chOff x="4736564" y="828382"/>
            <a:chExt cx="2952242" cy="657628"/>
          </a:xfrm>
        </p:grpSpPr>
        <p:sp>
          <p:nvSpPr>
            <p:cNvPr id="52" name="Rectangle 51"/>
            <p:cNvSpPr/>
            <p:nvPr/>
          </p:nvSpPr>
          <p:spPr bwMode="auto">
            <a:xfrm>
              <a:off x="4736564" y="828382"/>
              <a:ext cx="2952242" cy="657628"/>
            </a:xfrm>
            <a:prstGeom prst="rect">
              <a:avLst/>
            </a:prstGeom>
            <a:solidFill>
              <a:srgbClr val="3099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algn="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Approve Stage</a:t>
              </a:r>
            </a:p>
          </p:txBody>
        </p:sp>
        <p:pic>
          <p:nvPicPr>
            <p:cNvPr id="54" name="Picture 53"/>
            <p:cNvPicPr preferRelativeResize="0">
              <a:picLocks/>
            </p:cNvPicPr>
            <p:nvPr>
              <p:custDataLst>
                <p:custData r:id="rId1"/>
              </p:custDataLst>
            </p:nvPr>
          </p:nvPicPr>
          <p:blipFill rotWithShape="1">
            <a:blip r:embed="rId9">
              <a:lum bright="70000" contrast="-70000"/>
              <a:extLst>
                <a:ext uri="{28A0092B-C50C-407E-A947-70E740481C1C}">
                  <a14:useLocalDpi xmlns:a14="http://schemas.microsoft.com/office/drawing/2010/main" val="0"/>
                </a:ext>
              </a:extLst>
            </a:blip>
            <a:srcRect l="20703" t="25355" r="21167" b="23492"/>
            <a:stretch/>
          </p:blipFill>
          <p:spPr>
            <a:xfrm>
              <a:off x="4986190" y="1013348"/>
              <a:ext cx="393480" cy="323593"/>
            </a:xfrm>
            <a:prstGeom prst="rect">
              <a:avLst/>
            </a:prstGeom>
            <a:noFill/>
          </p:spPr>
        </p:pic>
      </p:grpSp>
      <p:sp>
        <p:nvSpPr>
          <p:cNvPr id="55" name="Rectangle 54"/>
          <p:cNvSpPr/>
          <p:nvPr/>
        </p:nvSpPr>
        <p:spPr bwMode="auto">
          <a:xfrm rot="16200000">
            <a:off x="3835735" y="1008122"/>
            <a:ext cx="1345303" cy="657535"/>
          </a:xfrm>
          <a:prstGeom prst="rect">
            <a:avLst/>
          </a:prstGeom>
          <a:solidFill>
            <a:srgbClr val="3099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13924" fontAlgn="base">
              <a:spcBef>
                <a:spcPct val="0"/>
              </a:spcBef>
              <a:spcAft>
                <a:spcPct val="0"/>
              </a:spcAft>
              <a:defRPr/>
            </a:pPr>
            <a:r>
              <a:rPr lang="en-US" sz="2000" kern="0" spc="-50" dirty="0">
                <a:gradFill>
                  <a:gsLst>
                    <a:gs pos="0">
                      <a:srgbClr val="FFFFFF"/>
                    </a:gs>
                    <a:gs pos="100000">
                      <a:srgbClr val="FFFFFF"/>
                    </a:gs>
                  </a:gsLst>
                  <a:lin ang="5400000" scaled="0"/>
                </a:gradFill>
                <a:latin typeface="Segoe UI"/>
                <a:ea typeface="Segoe UI" pitchFamily="34" charset="0"/>
                <a:cs typeface="Segoe UI" pitchFamily="34" charset="0"/>
              </a:rPr>
              <a:t>Approval</a:t>
            </a:r>
          </a:p>
        </p:txBody>
      </p:sp>
      <p:sp>
        <p:nvSpPr>
          <p:cNvPr id="56" name="Rectangle 55"/>
          <p:cNvSpPr/>
          <p:nvPr/>
        </p:nvSpPr>
        <p:spPr bwMode="auto">
          <a:xfrm rot="16200000">
            <a:off x="3515677" y="2673482"/>
            <a:ext cx="1985418" cy="657535"/>
          </a:xfrm>
          <a:prstGeom prst="rect">
            <a:avLst/>
          </a:prstGeom>
          <a:solidFill>
            <a:srgbClr val="0054A6">
              <a:lumMod val="75000"/>
            </a:srgb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13924" fontAlgn="base">
              <a:spcBef>
                <a:spcPct val="0"/>
              </a:spcBef>
              <a:spcAft>
                <a:spcPct val="0"/>
              </a:spcAft>
              <a:defRPr/>
            </a:pPr>
            <a:r>
              <a:rPr lang="en-US" sz="2400" kern="0" spc="-50" dirty="0">
                <a:gradFill>
                  <a:gsLst>
                    <a:gs pos="0">
                      <a:srgbClr val="FFFFFF"/>
                    </a:gs>
                    <a:gs pos="100000">
                      <a:srgbClr val="FFFFFF"/>
                    </a:gs>
                  </a:gsLst>
                  <a:lin ang="5400000" scaled="0"/>
                </a:gradFill>
                <a:latin typeface="Segoe UI"/>
                <a:ea typeface="Segoe UI" pitchFamily="34" charset="0"/>
                <a:cs typeface="Segoe UI" pitchFamily="34" charset="0"/>
              </a:rPr>
              <a:t>Tests</a:t>
            </a:r>
          </a:p>
        </p:txBody>
      </p:sp>
      <p:sp>
        <p:nvSpPr>
          <p:cNvPr id="57" name="Rectangle 56"/>
          <p:cNvSpPr/>
          <p:nvPr/>
        </p:nvSpPr>
        <p:spPr bwMode="auto">
          <a:xfrm rot="16200000">
            <a:off x="3836613" y="4345564"/>
            <a:ext cx="1335716" cy="657535"/>
          </a:xfrm>
          <a:prstGeom prst="rect">
            <a:avLst/>
          </a:prstGeom>
          <a:solidFill>
            <a:srgbClr val="0054A6"/>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0" bIns="91427" numCol="1" spcCol="0" rtlCol="0" fromWordArt="0" anchor="b" anchorCtr="0" forceAA="0" compatLnSpc="1">
            <a:prstTxWarp prst="textNoShape">
              <a:avLst/>
            </a:prstTxWarp>
            <a:noAutofit/>
          </a:bodyPr>
          <a:lstStyle/>
          <a:p>
            <a:pPr defTabSz="913924" fontAlgn="base">
              <a:spcBef>
                <a:spcPct val="0"/>
              </a:spcBef>
              <a:spcAft>
                <a:spcPct val="0"/>
              </a:spcAft>
              <a:defRPr/>
            </a:pPr>
            <a:r>
              <a:rPr lang="en-US" sz="2400" kern="0" spc="-50" dirty="0">
                <a:gradFill>
                  <a:gsLst>
                    <a:gs pos="0">
                      <a:srgbClr val="FFFFFF"/>
                    </a:gs>
                    <a:gs pos="100000">
                      <a:srgbClr val="FFFFFF"/>
                    </a:gs>
                  </a:gsLst>
                  <a:lin ang="5400000" scaled="0"/>
                </a:gradFill>
                <a:latin typeface="Segoe UI"/>
                <a:ea typeface="Segoe UI" pitchFamily="34" charset="0"/>
                <a:cs typeface="Segoe UI" pitchFamily="34" charset="0"/>
              </a:rPr>
              <a:t>App</a:t>
            </a:r>
          </a:p>
        </p:txBody>
      </p:sp>
      <p:sp>
        <p:nvSpPr>
          <p:cNvPr id="58" name="Rectangle 57"/>
          <p:cNvSpPr/>
          <p:nvPr/>
        </p:nvSpPr>
        <p:spPr bwMode="auto">
          <a:xfrm rot="16200000">
            <a:off x="3837711" y="5686419"/>
            <a:ext cx="1335716" cy="657535"/>
          </a:xfrm>
          <a:prstGeom prst="rect">
            <a:avLst/>
          </a:prstGeom>
          <a:solidFill>
            <a:srgbClr val="68217A"/>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27" tIns="45713" rIns="0" bIns="91427" numCol="1" spcCol="0" rtlCol="0" fromWordArt="0" anchor="b" anchorCtr="0" forceAA="0" compatLnSpc="1">
            <a:prstTxWarp prst="textNoShape">
              <a:avLst/>
            </a:prstTxWarp>
            <a:noAutofit/>
          </a:bodyPr>
          <a:lstStyle/>
          <a:p>
            <a:pPr defTabSz="913924" fontAlgn="base">
              <a:spcBef>
                <a:spcPct val="0"/>
              </a:spcBef>
              <a:spcAft>
                <a:spcPct val="0"/>
              </a:spcAft>
              <a:defRPr/>
            </a:pPr>
            <a:r>
              <a:rPr lang="en-US" sz="2400" kern="0" spc="-50" dirty="0">
                <a:gradFill>
                  <a:gsLst>
                    <a:gs pos="0">
                      <a:srgbClr val="FFFFFF"/>
                    </a:gs>
                    <a:gs pos="100000">
                      <a:srgbClr val="FFFFFF"/>
                    </a:gs>
                  </a:gsLst>
                  <a:lin ang="5400000" scaled="0"/>
                </a:gradFill>
                <a:latin typeface="Segoe UI"/>
                <a:ea typeface="Segoe UI" pitchFamily="34" charset="0"/>
                <a:cs typeface="Segoe UI" pitchFamily="34" charset="0"/>
              </a:rPr>
              <a:t>Infra</a:t>
            </a:r>
          </a:p>
        </p:txBody>
      </p:sp>
      <p:grpSp>
        <p:nvGrpSpPr>
          <p:cNvPr id="82" name="Group 81"/>
          <p:cNvGrpSpPr/>
          <p:nvPr/>
        </p:nvGrpSpPr>
        <p:grpSpPr>
          <a:xfrm>
            <a:off x="8257868" y="664238"/>
            <a:ext cx="3388622" cy="6018807"/>
            <a:chOff x="8258175" y="663845"/>
            <a:chExt cx="3389103" cy="6019661"/>
          </a:xfrm>
        </p:grpSpPr>
        <p:sp>
          <p:nvSpPr>
            <p:cNvPr id="80" name="Right Brace 79"/>
            <p:cNvSpPr/>
            <p:nvPr/>
          </p:nvSpPr>
          <p:spPr>
            <a:xfrm>
              <a:off x="8258175" y="663845"/>
              <a:ext cx="638175" cy="601966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endParaRPr lang="en-US">
                <a:solidFill>
                  <a:srgbClr val="000000"/>
                </a:solidFill>
                <a:latin typeface="Segoe UI"/>
              </a:endParaRPr>
            </a:p>
          </p:txBody>
        </p:sp>
        <p:sp>
          <p:nvSpPr>
            <p:cNvPr id="81" name="TextBox 80"/>
            <p:cNvSpPr txBox="1"/>
            <p:nvPr/>
          </p:nvSpPr>
          <p:spPr>
            <a:xfrm>
              <a:off x="9297904" y="3167627"/>
              <a:ext cx="2349374" cy="997337"/>
            </a:xfrm>
            <a:prstGeom prst="rect">
              <a:avLst/>
            </a:prstGeom>
            <a:noFill/>
          </p:spPr>
          <p:txBody>
            <a:bodyPr wrap="none" lIns="0" tIns="0" rIns="0" bIns="0" rtlCol="0">
              <a:spAutoFit/>
            </a:bodyPr>
            <a:lstStyle/>
            <a:p>
              <a:pPr defTabSz="914225">
                <a:lnSpc>
                  <a:spcPct val="90000"/>
                </a:lnSpc>
              </a:pPr>
              <a:r>
                <a:rPr lang="en-US" sz="3600" spc="-70" dirty="0">
                  <a:gradFill>
                    <a:gsLst>
                      <a:gs pos="2917">
                        <a:srgbClr val="000000"/>
                      </a:gs>
                      <a:gs pos="30000">
                        <a:srgbClr val="000000"/>
                      </a:gs>
                    </a:gsLst>
                    <a:lin ang="5400000" scaled="0"/>
                  </a:gradFill>
                  <a:latin typeface="Segoe UI Light"/>
                </a:rPr>
                <a:t>Manage the </a:t>
              </a:r>
            </a:p>
            <a:p>
              <a:pPr defTabSz="914225">
                <a:lnSpc>
                  <a:spcPct val="90000"/>
                </a:lnSpc>
              </a:pPr>
              <a:r>
                <a:rPr lang="en-US" sz="3600" spc="-70" dirty="0">
                  <a:gradFill>
                    <a:gsLst>
                      <a:gs pos="2917">
                        <a:srgbClr val="000000"/>
                      </a:gs>
                      <a:gs pos="30000">
                        <a:srgbClr val="000000"/>
                      </a:gs>
                    </a:gsLst>
                    <a:lin ang="5400000" scaled="0"/>
                  </a:gradFill>
                  <a:latin typeface="Segoe UI Light"/>
                </a:rPr>
                <a:t>full stack</a:t>
              </a:r>
            </a:p>
          </p:txBody>
        </p:sp>
      </p:grpSp>
    </p:spTree>
    <p:extLst>
      <p:ext uri="{BB962C8B-B14F-4D97-AF65-F5344CB8AC3E}">
        <p14:creationId xmlns:p14="http://schemas.microsoft.com/office/powerpoint/2010/main" val="2580637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ppt_x"/>
                                          </p:val>
                                        </p:tav>
                                        <p:tav tm="100000">
                                          <p:val>
                                            <p:strVal val="#ppt_x"/>
                                          </p:val>
                                        </p:tav>
                                      </p:tavLst>
                                    </p:anim>
                                    <p:anim calcmode="lin" valueType="num">
                                      <p:cBhvr additive="base">
                                        <p:cTn id="8" dur="500" fill="hold"/>
                                        <p:tgtEl>
                                          <p:spTgt spid="6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67"/>
                                        </p:tgtEl>
                                        <p:attrNameLst>
                                          <p:attrName>style.visibility</p:attrName>
                                        </p:attrNameLst>
                                      </p:cBhvr>
                                      <p:to>
                                        <p:strVal val="visible"/>
                                      </p:to>
                                    </p:set>
                                    <p:anim calcmode="lin" valueType="num">
                                      <p:cBhvr additive="base">
                                        <p:cTn id="12" dur="500" fill="hold"/>
                                        <p:tgtEl>
                                          <p:spTgt spid="67"/>
                                        </p:tgtEl>
                                        <p:attrNameLst>
                                          <p:attrName>ppt_x</p:attrName>
                                        </p:attrNameLst>
                                      </p:cBhvr>
                                      <p:tavLst>
                                        <p:tav tm="0">
                                          <p:val>
                                            <p:strVal val="#ppt_x"/>
                                          </p:val>
                                        </p:tav>
                                        <p:tav tm="100000">
                                          <p:val>
                                            <p:strVal val="#ppt_x"/>
                                          </p:val>
                                        </p:tav>
                                      </p:tavLst>
                                    </p:anim>
                                    <p:anim calcmode="lin" valueType="num">
                                      <p:cBhvr additive="base">
                                        <p:cTn id="13" dur="500" fill="hold"/>
                                        <p:tgtEl>
                                          <p:spTgt spid="67"/>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additive="base">
                                        <p:cTn id="17" dur="500" fill="hold"/>
                                        <p:tgtEl>
                                          <p:spTgt spid="58"/>
                                        </p:tgtEl>
                                        <p:attrNameLst>
                                          <p:attrName>ppt_x</p:attrName>
                                        </p:attrNameLst>
                                      </p:cBhvr>
                                      <p:tavLst>
                                        <p:tav tm="0">
                                          <p:val>
                                            <p:strVal val="#ppt_x"/>
                                          </p:val>
                                        </p:tav>
                                        <p:tav tm="100000">
                                          <p:val>
                                            <p:strVal val="#ppt_x"/>
                                          </p:val>
                                        </p:tav>
                                      </p:tavLst>
                                    </p:anim>
                                    <p:anim calcmode="lin" valueType="num">
                                      <p:cBhvr additive="base">
                                        <p:cTn id="18" dur="500" fill="hold"/>
                                        <p:tgtEl>
                                          <p:spTgt spid="58"/>
                                        </p:tgtEl>
                                        <p:attrNameLst>
                                          <p:attrName>ppt_y</p:attrName>
                                        </p:attrNameLst>
                                      </p:cBhvr>
                                      <p:tavLst>
                                        <p:tav tm="0">
                                          <p:val>
                                            <p:strVal val="0-#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1"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ppt_x"/>
                                          </p:val>
                                        </p:tav>
                                        <p:tav tm="100000">
                                          <p:val>
                                            <p:strVal val="#ppt_x"/>
                                          </p:val>
                                        </p:tav>
                                      </p:tavLst>
                                    </p:anim>
                                    <p:anim calcmode="lin" valueType="num">
                                      <p:cBhvr additive="base">
                                        <p:cTn id="24" dur="500" fill="hold"/>
                                        <p:tgtEl>
                                          <p:spTgt spid="66"/>
                                        </p:tgtEl>
                                        <p:attrNameLst>
                                          <p:attrName>ppt_y</p:attrName>
                                        </p:attrNameLst>
                                      </p:cBhvr>
                                      <p:tavLst>
                                        <p:tav tm="0">
                                          <p:val>
                                            <p:strVal val="0-#ppt_h/2"/>
                                          </p:val>
                                        </p:tav>
                                        <p:tav tm="100000">
                                          <p:val>
                                            <p:strVal val="#ppt_y"/>
                                          </p:val>
                                        </p:tav>
                                      </p:tavLst>
                                    </p:anim>
                                  </p:childTnLst>
                                </p:cTn>
                              </p:par>
                            </p:childTnLst>
                          </p:cTn>
                        </p:par>
                        <p:par>
                          <p:cTn id="25" fill="hold">
                            <p:stCondLst>
                              <p:cond delay="500"/>
                            </p:stCondLst>
                            <p:childTnLst>
                              <p:par>
                                <p:cTn id="26" presetID="2" presetClass="entr" presetSubtype="1" fill="hold" nodeType="afterEffect">
                                  <p:stCondLst>
                                    <p:cond delay="0"/>
                                  </p:stCondLst>
                                  <p:childTnLst>
                                    <p:set>
                                      <p:cBhvr>
                                        <p:cTn id="27" dur="1" fill="hold">
                                          <p:stCondLst>
                                            <p:cond delay="0"/>
                                          </p:stCondLst>
                                        </p:cTn>
                                        <p:tgtEl>
                                          <p:spTgt spid="65"/>
                                        </p:tgtEl>
                                        <p:attrNameLst>
                                          <p:attrName>style.visibility</p:attrName>
                                        </p:attrNameLst>
                                      </p:cBhvr>
                                      <p:to>
                                        <p:strVal val="visible"/>
                                      </p:to>
                                    </p:set>
                                    <p:anim calcmode="lin" valueType="num">
                                      <p:cBhvr additive="base">
                                        <p:cTn id="28" dur="500" fill="hold"/>
                                        <p:tgtEl>
                                          <p:spTgt spid="65"/>
                                        </p:tgtEl>
                                        <p:attrNameLst>
                                          <p:attrName>ppt_x</p:attrName>
                                        </p:attrNameLst>
                                      </p:cBhvr>
                                      <p:tavLst>
                                        <p:tav tm="0">
                                          <p:val>
                                            <p:strVal val="#ppt_x"/>
                                          </p:val>
                                        </p:tav>
                                        <p:tav tm="100000">
                                          <p:val>
                                            <p:strVal val="#ppt_x"/>
                                          </p:val>
                                        </p:tav>
                                      </p:tavLst>
                                    </p:anim>
                                    <p:anim calcmode="lin" valueType="num">
                                      <p:cBhvr additive="base">
                                        <p:cTn id="29" dur="500" fill="hold"/>
                                        <p:tgtEl>
                                          <p:spTgt spid="65"/>
                                        </p:tgtEl>
                                        <p:attrNameLst>
                                          <p:attrName>ppt_y</p:attrName>
                                        </p:attrNameLst>
                                      </p:cBhvr>
                                      <p:tavLst>
                                        <p:tav tm="0">
                                          <p:val>
                                            <p:strVal val="0-#ppt_h/2"/>
                                          </p:val>
                                        </p:tav>
                                        <p:tav tm="100000">
                                          <p:val>
                                            <p:strVal val="#ppt_y"/>
                                          </p:val>
                                        </p:tav>
                                      </p:tavLst>
                                    </p:anim>
                                  </p:childTnLst>
                                </p:cTn>
                              </p:par>
                            </p:childTnLst>
                          </p:cTn>
                        </p:par>
                        <p:par>
                          <p:cTn id="30" fill="hold">
                            <p:stCondLst>
                              <p:cond delay="1000"/>
                            </p:stCondLst>
                            <p:childTnLst>
                              <p:par>
                                <p:cTn id="31" presetID="2" presetClass="entr" presetSubtype="1" fill="hold" grpId="0" nodeType="afterEffect">
                                  <p:stCondLst>
                                    <p:cond delay="0"/>
                                  </p:stCondLst>
                                  <p:childTnLst>
                                    <p:set>
                                      <p:cBhvr>
                                        <p:cTn id="32" dur="1" fill="hold">
                                          <p:stCondLst>
                                            <p:cond delay="0"/>
                                          </p:stCondLst>
                                        </p:cTn>
                                        <p:tgtEl>
                                          <p:spTgt spid="57"/>
                                        </p:tgtEl>
                                        <p:attrNameLst>
                                          <p:attrName>style.visibility</p:attrName>
                                        </p:attrNameLst>
                                      </p:cBhvr>
                                      <p:to>
                                        <p:strVal val="visible"/>
                                      </p:to>
                                    </p:set>
                                    <p:anim calcmode="lin" valueType="num">
                                      <p:cBhvr additive="base">
                                        <p:cTn id="33" dur="500" fill="hold"/>
                                        <p:tgtEl>
                                          <p:spTgt spid="57"/>
                                        </p:tgtEl>
                                        <p:attrNameLst>
                                          <p:attrName>ppt_x</p:attrName>
                                        </p:attrNameLst>
                                      </p:cBhvr>
                                      <p:tavLst>
                                        <p:tav tm="0">
                                          <p:val>
                                            <p:strVal val="#ppt_x"/>
                                          </p:val>
                                        </p:tav>
                                        <p:tav tm="100000">
                                          <p:val>
                                            <p:strVal val="#ppt_x"/>
                                          </p:val>
                                        </p:tav>
                                      </p:tavLst>
                                    </p:anim>
                                    <p:anim calcmode="lin" valueType="num">
                                      <p:cBhvr additive="base">
                                        <p:cTn id="34" dur="500" fill="hold"/>
                                        <p:tgtEl>
                                          <p:spTgt spid="57"/>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nodeType="clickEffect">
                                  <p:stCondLst>
                                    <p:cond delay="0"/>
                                  </p:stCondLst>
                                  <p:childTnLst>
                                    <p:set>
                                      <p:cBhvr>
                                        <p:cTn id="38" dur="1" fill="hold">
                                          <p:stCondLst>
                                            <p:cond delay="0"/>
                                          </p:stCondLst>
                                        </p:cTn>
                                        <p:tgtEl>
                                          <p:spTgt spid="64"/>
                                        </p:tgtEl>
                                        <p:attrNameLst>
                                          <p:attrName>style.visibility</p:attrName>
                                        </p:attrNameLst>
                                      </p:cBhvr>
                                      <p:to>
                                        <p:strVal val="visible"/>
                                      </p:to>
                                    </p:set>
                                    <p:anim calcmode="lin" valueType="num">
                                      <p:cBhvr additive="base">
                                        <p:cTn id="39" dur="500" fill="hold"/>
                                        <p:tgtEl>
                                          <p:spTgt spid="64"/>
                                        </p:tgtEl>
                                        <p:attrNameLst>
                                          <p:attrName>ppt_x</p:attrName>
                                        </p:attrNameLst>
                                      </p:cBhvr>
                                      <p:tavLst>
                                        <p:tav tm="0">
                                          <p:val>
                                            <p:strVal val="#ppt_x"/>
                                          </p:val>
                                        </p:tav>
                                        <p:tav tm="100000">
                                          <p:val>
                                            <p:strVal val="#ppt_x"/>
                                          </p:val>
                                        </p:tav>
                                      </p:tavLst>
                                    </p:anim>
                                    <p:anim calcmode="lin" valueType="num">
                                      <p:cBhvr additive="base">
                                        <p:cTn id="40" dur="500" fill="hold"/>
                                        <p:tgtEl>
                                          <p:spTgt spid="64"/>
                                        </p:tgtEl>
                                        <p:attrNameLst>
                                          <p:attrName>ppt_y</p:attrName>
                                        </p:attrNameLst>
                                      </p:cBhvr>
                                      <p:tavLst>
                                        <p:tav tm="0">
                                          <p:val>
                                            <p:strVal val="0-#ppt_h/2"/>
                                          </p:val>
                                        </p:tav>
                                        <p:tav tm="100000">
                                          <p:val>
                                            <p:strVal val="#ppt_y"/>
                                          </p:val>
                                        </p:tav>
                                      </p:tavLst>
                                    </p:anim>
                                  </p:childTnLst>
                                </p:cTn>
                              </p:par>
                            </p:childTnLst>
                          </p:cTn>
                        </p:par>
                        <p:par>
                          <p:cTn id="41" fill="hold">
                            <p:stCondLst>
                              <p:cond delay="500"/>
                            </p:stCondLst>
                            <p:childTnLst>
                              <p:par>
                                <p:cTn id="42" presetID="2" presetClass="entr" presetSubtype="1" fill="hold" nodeType="afterEffect">
                                  <p:stCondLst>
                                    <p:cond delay="0"/>
                                  </p:stCondLst>
                                  <p:childTnLst>
                                    <p:set>
                                      <p:cBhvr>
                                        <p:cTn id="43" dur="1" fill="hold">
                                          <p:stCondLst>
                                            <p:cond delay="0"/>
                                          </p:stCondLst>
                                        </p:cTn>
                                        <p:tgtEl>
                                          <p:spTgt spid="63"/>
                                        </p:tgtEl>
                                        <p:attrNameLst>
                                          <p:attrName>style.visibility</p:attrName>
                                        </p:attrNameLst>
                                      </p:cBhvr>
                                      <p:to>
                                        <p:strVal val="visible"/>
                                      </p:to>
                                    </p:set>
                                    <p:anim calcmode="lin" valueType="num">
                                      <p:cBhvr additive="base">
                                        <p:cTn id="44" dur="500" fill="hold"/>
                                        <p:tgtEl>
                                          <p:spTgt spid="63"/>
                                        </p:tgtEl>
                                        <p:attrNameLst>
                                          <p:attrName>ppt_x</p:attrName>
                                        </p:attrNameLst>
                                      </p:cBhvr>
                                      <p:tavLst>
                                        <p:tav tm="0">
                                          <p:val>
                                            <p:strVal val="#ppt_x"/>
                                          </p:val>
                                        </p:tav>
                                        <p:tav tm="100000">
                                          <p:val>
                                            <p:strVal val="#ppt_x"/>
                                          </p:val>
                                        </p:tav>
                                      </p:tavLst>
                                    </p:anim>
                                    <p:anim calcmode="lin" valueType="num">
                                      <p:cBhvr additive="base">
                                        <p:cTn id="45" dur="500" fill="hold"/>
                                        <p:tgtEl>
                                          <p:spTgt spid="63"/>
                                        </p:tgtEl>
                                        <p:attrNameLst>
                                          <p:attrName>ppt_y</p:attrName>
                                        </p:attrNameLst>
                                      </p:cBhvr>
                                      <p:tavLst>
                                        <p:tav tm="0">
                                          <p:val>
                                            <p:strVal val="0-#ppt_h/2"/>
                                          </p:val>
                                        </p:tav>
                                        <p:tav tm="100000">
                                          <p:val>
                                            <p:strVal val="#ppt_y"/>
                                          </p:val>
                                        </p:tav>
                                      </p:tavLst>
                                    </p:anim>
                                  </p:childTnLst>
                                </p:cTn>
                              </p:par>
                            </p:childTnLst>
                          </p:cTn>
                        </p:par>
                        <p:par>
                          <p:cTn id="46" fill="hold">
                            <p:stCondLst>
                              <p:cond delay="1000"/>
                            </p:stCondLst>
                            <p:childTnLst>
                              <p:par>
                                <p:cTn id="47" presetID="2" presetClass="entr" presetSubtype="1" fill="hold" nodeType="after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additive="base">
                                        <p:cTn id="49" dur="500" fill="hold"/>
                                        <p:tgtEl>
                                          <p:spTgt spid="62"/>
                                        </p:tgtEl>
                                        <p:attrNameLst>
                                          <p:attrName>ppt_x</p:attrName>
                                        </p:attrNameLst>
                                      </p:cBhvr>
                                      <p:tavLst>
                                        <p:tav tm="0">
                                          <p:val>
                                            <p:strVal val="#ppt_x"/>
                                          </p:val>
                                        </p:tav>
                                        <p:tav tm="100000">
                                          <p:val>
                                            <p:strVal val="#ppt_x"/>
                                          </p:val>
                                        </p:tav>
                                      </p:tavLst>
                                    </p:anim>
                                    <p:anim calcmode="lin" valueType="num">
                                      <p:cBhvr additive="base">
                                        <p:cTn id="50" dur="500" fill="hold"/>
                                        <p:tgtEl>
                                          <p:spTgt spid="62"/>
                                        </p:tgtEl>
                                        <p:attrNameLst>
                                          <p:attrName>ppt_y</p:attrName>
                                        </p:attrNameLst>
                                      </p:cBhvr>
                                      <p:tavLst>
                                        <p:tav tm="0">
                                          <p:val>
                                            <p:strVal val="0-#ppt_h/2"/>
                                          </p:val>
                                        </p:tav>
                                        <p:tav tm="100000">
                                          <p:val>
                                            <p:strVal val="#ppt_y"/>
                                          </p:val>
                                        </p:tav>
                                      </p:tavLst>
                                    </p:anim>
                                  </p:childTnLst>
                                </p:cTn>
                              </p:par>
                            </p:childTnLst>
                          </p:cTn>
                        </p:par>
                        <p:par>
                          <p:cTn id="51" fill="hold">
                            <p:stCondLst>
                              <p:cond delay="1500"/>
                            </p:stCondLst>
                            <p:childTnLst>
                              <p:par>
                                <p:cTn id="52" presetID="2" presetClass="entr" presetSubtype="1"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 calcmode="lin" valueType="num">
                                      <p:cBhvr additive="base">
                                        <p:cTn id="54" dur="500" fill="hold"/>
                                        <p:tgtEl>
                                          <p:spTgt spid="56"/>
                                        </p:tgtEl>
                                        <p:attrNameLst>
                                          <p:attrName>ppt_x</p:attrName>
                                        </p:attrNameLst>
                                      </p:cBhvr>
                                      <p:tavLst>
                                        <p:tav tm="0">
                                          <p:val>
                                            <p:strVal val="#ppt_x"/>
                                          </p:val>
                                        </p:tav>
                                        <p:tav tm="100000">
                                          <p:val>
                                            <p:strVal val="#ppt_x"/>
                                          </p:val>
                                        </p:tav>
                                      </p:tavLst>
                                    </p:anim>
                                    <p:anim calcmode="lin" valueType="num">
                                      <p:cBhvr additive="base">
                                        <p:cTn id="55" dur="500" fill="hold"/>
                                        <p:tgtEl>
                                          <p:spTgt spid="56"/>
                                        </p:tgtEl>
                                        <p:attrNameLst>
                                          <p:attrName>ppt_y</p:attrName>
                                        </p:attrNameLst>
                                      </p:cBhvr>
                                      <p:tavLst>
                                        <p:tav tm="0">
                                          <p:val>
                                            <p:strVal val="0-#ppt_h/2"/>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2" presetClass="entr" presetSubtype="1" fill="hold" nodeType="clickEffect">
                                  <p:stCondLst>
                                    <p:cond delay="0"/>
                                  </p:stCondLst>
                                  <p:childTnLst>
                                    <p:set>
                                      <p:cBhvr>
                                        <p:cTn id="59" dur="1" fill="hold">
                                          <p:stCondLst>
                                            <p:cond delay="0"/>
                                          </p:stCondLst>
                                        </p:cTn>
                                        <p:tgtEl>
                                          <p:spTgt spid="61"/>
                                        </p:tgtEl>
                                        <p:attrNameLst>
                                          <p:attrName>style.visibility</p:attrName>
                                        </p:attrNameLst>
                                      </p:cBhvr>
                                      <p:to>
                                        <p:strVal val="visible"/>
                                      </p:to>
                                    </p:set>
                                    <p:anim calcmode="lin" valueType="num">
                                      <p:cBhvr additive="base">
                                        <p:cTn id="60" dur="500" fill="hold"/>
                                        <p:tgtEl>
                                          <p:spTgt spid="61"/>
                                        </p:tgtEl>
                                        <p:attrNameLst>
                                          <p:attrName>ppt_x</p:attrName>
                                        </p:attrNameLst>
                                      </p:cBhvr>
                                      <p:tavLst>
                                        <p:tav tm="0">
                                          <p:val>
                                            <p:strVal val="#ppt_x"/>
                                          </p:val>
                                        </p:tav>
                                        <p:tav tm="100000">
                                          <p:val>
                                            <p:strVal val="#ppt_x"/>
                                          </p:val>
                                        </p:tav>
                                      </p:tavLst>
                                    </p:anim>
                                    <p:anim calcmode="lin" valueType="num">
                                      <p:cBhvr additive="base">
                                        <p:cTn id="61" dur="500" fill="hold"/>
                                        <p:tgtEl>
                                          <p:spTgt spid="61"/>
                                        </p:tgtEl>
                                        <p:attrNameLst>
                                          <p:attrName>ppt_y</p:attrName>
                                        </p:attrNameLst>
                                      </p:cBhvr>
                                      <p:tavLst>
                                        <p:tav tm="0">
                                          <p:val>
                                            <p:strVal val="0-#ppt_h/2"/>
                                          </p:val>
                                        </p:tav>
                                        <p:tav tm="100000">
                                          <p:val>
                                            <p:strVal val="#ppt_y"/>
                                          </p:val>
                                        </p:tav>
                                      </p:tavLst>
                                    </p:anim>
                                  </p:childTnLst>
                                </p:cTn>
                              </p:par>
                            </p:childTnLst>
                          </p:cTn>
                        </p:par>
                        <p:par>
                          <p:cTn id="62" fill="hold">
                            <p:stCondLst>
                              <p:cond delay="500"/>
                            </p:stCondLst>
                            <p:childTnLst>
                              <p:par>
                                <p:cTn id="63" presetID="2" presetClass="entr" presetSubtype="1" fill="hold" nodeType="afterEffect">
                                  <p:stCondLst>
                                    <p:cond delay="0"/>
                                  </p:stCondLst>
                                  <p:childTnLst>
                                    <p:set>
                                      <p:cBhvr>
                                        <p:cTn id="64" dur="1" fill="hold">
                                          <p:stCondLst>
                                            <p:cond delay="0"/>
                                          </p:stCondLst>
                                        </p:cTn>
                                        <p:tgtEl>
                                          <p:spTgt spid="60"/>
                                        </p:tgtEl>
                                        <p:attrNameLst>
                                          <p:attrName>style.visibility</p:attrName>
                                        </p:attrNameLst>
                                      </p:cBhvr>
                                      <p:to>
                                        <p:strVal val="visible"/>
                                      </p:to>
                                    </p:set>
                                    <p:anim calcmode="lin" valueType="num">
                                      <p:cBhvr additive="base">
                                        <p:cTn id="65" dur="500" fill="hold"/>
                                        <p:tgtEl>
                                          <p:spTgt spid="60"/>
                                        </p:tgtEl>
                                        <p:attrNameLst>
                                          <p:attrName>ppt_x</p:attrName>
                                        </p:attrNameLst>
                                      </p:cBhvr>
                                      <p:tavLst>
                                        <p:tav tm="0">
                                          <p:val>
                                            <p:strVal val="#ppt_x"/>
                                          </p:val>
                                        </p:tav>
                                        <p:tav tm="100000">
                                          <p:val>
                                            <p:strVal val="#ppt_x"/>
                                          </p:val>
                                        </p:tav>
                                      </p:tavLst>
                                    </p:anim>
                                    <p:anim calcmode="lin" valueType="num">
                                      <p:cBhvr additive="base">
                                        <p:cTn id="66" dur="500" fill="hold"/>
                                        <p:tgtEl>
                                          <p:spTgt spid="60"/>
                                        </p:tgtEl>
                                        <p:attrNameLst>
                                          <p:attrName>ppt_y</p:attrName>
                                        </p:attrNameLst>
                                      </p:cBhvr>
                                      <p:tavLst>
                                        <p:tav tm="0">
                                          <p:val>
                                            <p:strVal val="0-#ppt_h/2"/>
                                          </p:val>
                                        </p:tav>
                                        <p:tav tm="100000">
                                          <p:val>
                                            <p:strVal val="#ppt_y"/>
                                          </p:val>
                                        </p:tav>
                                      </p:tavLst>
                                    </p:anim>
                                  </p:childTnLst>
                                </p:cTn>
                              </p:par>
                            </p:childTnLst>
                          </p:cTn>
                        </p:par>
                        <p:par>
                          <p:cTn id="67" fill="hold">
                            <p:stCondLst>
                              <p:cond delay="1000"/>
                            </p:stCondLst>
                            <p:childTnLst>
                              <p:par>
                                <p:cTn id="68" presetID="2" presetClass="entr" presetSubtype="1" fill="hold" grpId="0" nodeType="afterEffect">
                                  <p:stCondLst>
                                    <p:cond delay="0"/>
                                  </p:stCondLst>
                                  <p:childTnLst>
                                    <p:set>
                                      <p:cBhvr>
                                        <p:cTn id="69" dur="1" fill="hold">
                                          <p:stCondLst>
                                            <p:cond delay="0"/>
                                          </p:stCondLst>
                                        </p:cTn>
                                        <p:tgtEl>
                                          <p:spTgt spid="55"/>
                                        </p:tgtEl>
                                        <p:attrNameLst>
                                          <p:attrName>style.visibility</p:attrName>
                                        </p:attrNameLst>
                                      </p:cBhvr>
                                      <p:to>
                                        <p:strVal val="visible"/>
                                      </p:to>
                                    </p:set>
                                    <p:anim calcmode="lin" valueType="num">
                                      <p:cBhvr additive="base">
                                        <p:cTn id="70" dur="500" fill="hold"/>
                                        <p:tgtEl>
                                          <p:spTgt spid="55"/>
                                        </p:tgtEl>
                                        <p:attrNameLst>
                                          <p:attrName>ppt_x</p:attrName>
                                        </p:attrNameLst>
                                      </p:cBhvr>
                                      <p:tavLst>
                                        <p:tav tm="0">
                                          <p:val>
                                            <p:strVal val="#ppt_x"/>
                                          </p:val>
                                        </p:tav>
                                        <p:tav tm="100000">
                                          <p:val>
                                            <p:strVal val="#ppt_x"/>
                                          </p:val>
                                        </p:tav>
                                      </p:tavLst>
                                    </p:anim>
                                    <p:anim calcmode="lin" valueType="num">
                                      <p:cBhvr additive="base">
                                        <p:cTn id="71" dur="500" fill="hold"/>
                                        <p:tgtEl>
                                          <p:spTgt spid="55"/>
                                        </p:tgtEl>
                                        <p:attrNameLst>
                                          <p:attrName>ppt_y</p:attrName>
                                        </p:attrNameLst>
                                      </p:cBhvr>
                                      <p:tavLst>
                                        <p:tav tm="0">
                                          <p:val>
                                            <p:strVal val="0-#ppt_h/2"/>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82"/>
                                        </p:tgtEl>
                                        <p:attrNameLst>
                                          <p:attrName>style.visibility</p:attrName>
                                        </p:attrNameLst>
                                      </p:cBhvr>
                                      <p:to>
                                        <p:strVal val="visible"/>
                                      </p:to>
                                    </p:set>
                                    <p:animEffect transition="in" filter="fade">
                                      <p:cBhvr>
                                        <p:cTn id="76"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5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 name="Freeform 318"/>
          <p:cNvSpPr/>
          <p:nvPr/>
        </p:nvSpPr>
        <p:spPr bwMode="auto">
          <a:xfrm>
            <a:off x="834228" y="1702419"/>
            <a:ext cx="4650803" cy="4650803"/>
          </a:xfrm>
          <a:custGeom>
            <a:avLst/>
            <a:gdLst>
              <a:gd name="connsiteX0" fmla="*/ 2599457 w 5198914"/>
              <a:gd name="connsiteY0" fmla="*/ 56324 h 5198914"/>
              <a:gd name="connsiteX1" fmla="*/ 56324 w 5198914"/>
              <a:gd name="connsiteY1" fmla="*/ 2599457 h 5198914"/>
              <a:gd name="connsiteX2" fmla="*/ 2599457 w 5198914"/>
              <a:gd name="connsiteY2" fmla="*/ 5142590 h 5198914"/>
              <a:gd name="connsiteX3" fmla="*/ 5142590 w 5198914"/>
              <a:gd name="connsiteY3" fmla="*/ 2599457 h 5198914"/>
              <a:gd name="connsiteX4" fmla="*/ 2599457 w 5198914"/>
              <a:gd name="connsiteY4" fmla="*/ 56324 h 5198914"/>
              <a:gd name="connsiteX5" fmla="*/ 2599457 w 5198914"/>
              <a:gd name="connsiteY5" fmla="*/ 0 h 5198914"/>
              <a:gd name="connsiteX6" fmla="*/ 5198914 w 5198914"/>
              <a:gd name="connsiteY6" fmla="*/ 2599457 h 5198914"/>
              <a:gd name="connsiteX7" fmla="*/ 2599457 w 5198914"/>
              <a:gd name="connsiteY7" fmla="*/ 5198914 h 5198914"/>
              <a:gd name="connsiteX8" fmla="*/ 0 w 5198914"/>
              <a:gd name="connsiteY8" fmla="*/ 2599457 h 5198914"/>
              <a:gd name="connsiteX9" fmla="*/ 2599457 w 5198914"/>
              <a:gd name="connsiteY9" fmla="*/ 0 h 519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8914" h="5198914">
                <a:moveTo>
                  <a:pt x="2599457" y="56324"/>
                </a:moveTo>
                <a:cubicBezTo>
                  <a:pt x="1194923" y="56324"/>
                  <a:pt x="56324" y="1194923"/>
                  <a:pt x="56324" y="2599457"/>
                </a:cubicBezTo>
                <a:cubicBezTo>
                  <a:pt x="56324" y="4003991"/>
                  <a:pt x="1194923" y="5142590"/>
                  <a:pt x="2599457" y="5142590"/>
                </a:cubicBezTo>
                <a:cubicBezTo>
                  <a:pt x="4003991" y="5142590"/>
                  <a:pt x="5142590" y="4003991"/>
                  <a:pt x="5142590" y="2599457"/>
                </a:cubicBezTo>
                <a:cubicBezTo>
                  <a:pt x="5142590" y="1194923"/>
                  <a:pt x="4003991" y="56324"/>
                  <a:pt x="2599457" y="56324"/>
                </a:cubicBezTo>
                <a:close/>
                <a:moveTo>
                  <a:pt x="2599457" y="0"/>
                </a:moveTo>
                <a:cubicBezTo>
                  <a:pt x="4035097" y="0"/>
                  <a:pt x="5198914" y="1163817"/>
                  <a:pt x="5198914" y="2599457"/>
                </a:cubicBezTo>
                <a:cubicBezTo>
                  <a:pt x="5198914" y="4035097"/>
                  <a:pt x="4035097" y="5198914"/>
                  <a:pt x="2599457" y="5198914"/>
                </a:cubicBezTo>
                <a:cubicBezTo>
                  <a:pt x="1163817" y="5198914"/>
                  <a:pt x="0" y="4035097"/>
                  <a:pt x="0" y="2599457"/>
                </a:cubicBezTo>
                <a:cubicBezTo>
                  <a:pt x="0" y="1163817"/>
                  <a:pt x="1163817" y="0"/>
                  <a:pt x="2599457" y="0"/>
                </a:cubicBezTo>
                <a:close/>
              </a:path>
            </a:pathLst>
          </a:cu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a:t>
            </a:r>
            <a:r>
              <a:rPr lang="en-US" dirty="0" err="1"/>
              <a:t>IoT</a:t>
            </a:r>
            <a:r>
              <a:rPr lang="en-US" dirty="0"/>
              <a:t> Suite</a:t>
            </a:r>
          </a:p>
        </p:txBody>
      </p:sp>
      <p:sp>
        <p:nvSpPr>
          <p:cNvPr id="178" name="Oval 177"/>
          <p:cNvSpPr/>
          <p:nvPr/>
        </p:nvSpPr>
        <p:spPr bwMode="auto">
          <a:xfrm>
            <a:off x="375140" y="3562934"/>
            <a:ext cx="1089231" cy="1089231"/>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 name="Group 67"/>
          <p:cNvGrpSpPr/>
          <p:nvPr/>
        </p:nvGrpSpPr>
        <p:grpSpPr>
          <a:xfrm>
            <a:off x="647964" y="4041258"/>
            <a:ext cx="524408" cy="433864"/>
            <a:chOff x="3427203" y="1415129"/>
            <a:chExt cx="822983" cy="680888"/>
          </a:xfrm>
          <a:solidFill>
            <a:schemeClr val="accent1"/>
          </a:solidFill>
        </p:grpSpPr>
        <p:sp>
          <p:nvSpPr>
            <p:cNvPr id="78"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79" name="Oval 6"/>
            <p:cNvSpPr>
              <a:spLocks noChangeArrowheads="1"/>
            </p:cNvSpPr>
            <p:nvPr/>
          </p:nvSpPr>
          <p:spPr bwMode="auto">
            <a:xfrm>
              <a:off x="3907652" y="1504181"/>
              <a:ext cx="43380" cy="45592"/>
            </a:xfrm>
            <a:prstGeom prst="ellipse">
              <a:avLst/>
            </a:pr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0"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1" name="Oval 8"/>
            <p:cNvSpPr>
              <a:spLocks noChangeArrowheads="1"/>
            </p:cNvSpPr>
            <p:nvPr/>
          </p:nvSpPr>
          <p:spPr bwMode="auto">
            <a:xfrm>
              <a:off x="3498002" y="1489269"/>
              <a:ext cx="59339" cy="62635"/>
            </a:xfrm>
            <a:prstGeom prst="ellipse">
              <a:avLst/>
            </a:pr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2"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3"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4"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5"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sp>
          <p:nvSpPr>
            <p:cNvPr id="86"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p>
              <a:pPr defTabSz="913612">
                <a:defRPr/>
              </a:pPr>
              <a:endParaRPr lang="en-US" sz="2200" dirty="0">
                <a:solidFill>
                  <a:prstClr val="black"/>
                </a:solidFill>
                <a:latin typeface="Segoe UI"/>
              </a:endParaRPr>
            </a:p>
          </p:txBody>
        </p:sp>
      </p:grpSp>
      <p:sp>
        <p:nvSpPr>
          <p:cNvPr id="69" name="Oval 142"/>
          <p:cNvSpPr/>
          <p:nvPr/>
        </p:nvSpPr>
        <p:spPr>
          <a:xfrm>
            <a:off x="622193" y="3733011"/>
            <a:ext cx="575947" cy="287975"/>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solidFill>
            <a:schemeClr val="bg1"/>
          </a:solid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dirty="0">
              <a:solidFill>
                <a:srgbClr val="FFFFFF"/>
              </a:solidFill>
              <a:latin typeface="Segoe UI"/>
            </a:endParaRPr>
          </a:p>
        </p:txBody>
      </p:sp>
      <p:grpSp>
        <p:nvGrpSpPr>
          <p:cNvPr id="70" name="Group 69"/>
          <p:cNvGrpSpPr/>
          <p:nvPr/>
        </p:nvGrpSpPr>
        <p:grpSpPr>
          <a:xfrm>
            <a:off x="833687" y="3840575"/>
            <a:ext cx="152959" cy="159698"/>
            <a:chOff x="6356211" y="-986246"/>
            <a:chExt cx="322176" cy="336369"/>
          </a:xfrm>
          <a:solidFill>
            <a:schemeClr val="bg1"/>
          </a:solidFill>
        </p:grpSpPr>
        <p:sp>
          <p:nvSpPr>
            <p:cNvPr id="71" name="Oval 70"/>
            <p:cNvSpPr/>
            <p:nvPr/>
          </p:nvSpPr>
          <p:spPr>
            <a:xfrm>
              <a:off x="6459255" y="-868963"/>
              <a:ext cx="116089" cy="116089"/>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cxnSp>
          <p:nvCxnSpPr>
            <p:cNvPr id="72" name="Straight Connector 71"/>
            <p:cNvCxnSpPr/>
            <p:nvPr/>
          </p:nvCxnSpPr>
          <p:spPr>
            <a:xfrm>
              <a:off x="6517299" y="-986246"/>
              <a:ext cx="0" cy="33636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6356211" y="-810919"/>
              <a:ext cx="322176" cy="0"/>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425918" y="-905756"/>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6576503" y="-909443"/>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16200000">
              <a:off x="6425918" y="-745560"/>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16200000" flipH="1">
              <a:off x="6576503" y="-749247"/>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a:off x="1053218" y="5013256"/>
            <a:ext cx="1089231" cy="1089231"/>
            <a:chOff x="1611049" y="4785663"/>
            <a:chExt cx="1299262" cy="1299262"/>
          </a:xfrm>
          <a:solidFill>
            <a:schemeClr val="bg1"/>
          </a:solidFill>
        </p:grpSpPr>
        <p:sp>
          <p:nvSpPr>
            <p:cNvPr id="182" name="Oval 181"/>
            <p:cNvSpPr/>
            <p:nvPr/>
          </p:nvSpPr>
          <p:spPr bwMode="auto">
            <a:xfrm>
              <a:off x="1611049" y="4785663"/>
              <a:ext cx="1299262" cy="1299262"/>
            </a:xfrm>
            <a:prstGeom prst="ellipse">
              <a:avLst/>
            </a:prstGeom>
            <a:grp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Group 16"/>
            <p:cNvGrpSpPr/>
            <p:nvPr/>
          </p:nvGrpSpPr>
          <p:grpSpPr>
            <a:xfrm>
              <a:off x="1854062" y="4845672"/>
              <a:ext cx="813236" cy="1052244"/>
              <a:chOff x="2855988" y="3807749"/>
              <a:chExt cx="1159942" cy="1500845"/>
            </a:xfrm>
            <a:grpFill/>
          </p:grpSpPr>
          <p:grpSp>
            <p:nvGrpSpPr>
              <p:cNvPr id="18" name="Group 17"/>
              <p:cNvGrpSpPr/>
              <p:nvPr/>
            </p:nvGrpSpPr>
            <p:grpSpPr>
              <a:xfrm>
                <a:off x="3306798" y="3904313"/>
                <a:ext cx="258323" cy="268935"/>
                <a:chOff x="-11741312" y="2985477"/>
                <a:chExt cx="1201118" cy="1250461"/>
              </a:xfrm>
              <a:grpFill/>
            </p:grpSpPr>
            <p:grpSp>
              <p:nvGrpSpPr>
                <p:cNvPr id="21" name="Group 20"/>
                <p:cNvGrpSpPr/>
                <p:nvPr/>
              </p:nvGrpSpPr>
              <p:grpSpPr>
                <a:xfrm>
                  <a:off x="-11741312" y="2985477"/>
                  <a:ext cx="1201118" cy="1250461"/>
                  <a:chOff x="-11741312" y="2985477"/>
                  <a:chExt cx="1201118" cy="1250461"/>
                </a:xfrm>
                <a:grpFill/>
              </p:grpSpPr>
              <p:cxnSp>
                <p:nvCxnSpPr>
                  <p:cNvPr id="23" name="Straight Connector 22"/>
                  <p:cNvCxnSpPr/>
                  <p:nvPr/>
                </p:nvCxnSpPr>
                <p:spPr>
                  <a:xfrm>
                    <a:off x="-11145846" y="2985477"/>
                    <a:ext cx="0" cy="1250461"/>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714017" y="3396428"/>
                    <a:ext cx="1173823" cy="459126"/>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1714017" y="3363367"/>
                    <a:ext cx="1124977" cy="49218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41312" y="3603721"/>
                    <a:ext cx="1201118" cy="0"/>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1397812" y="3045383"/>
                    <a:ext cx="487742" cy="1135848"/>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11381621" y="3025242"/>
                    <a:ext cx="491275" cy="118750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1569458" y="3149600"/>
                    <a:ext cx="895164" cy="923675"/>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11589182" y="3173046"/>
                    <a:ext cx="887865" cy="912924"/>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Oval 21"/>
                <p:cNvSpPr/>
                <p:nvPr/>
              </p:nvSpPr>
              <p:spPr>
                <a:xfrm>
                  <a:off x="-11328806" y="3418776"/>
                  <a:ext cx="365920" cy="365919"/>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grpSp>
          <p:sp>
            <p:nvSpPr>
              <p:cNvPr id="19" name="Oval 142"/>
              <p:cNvSpPr/>
              <p:nvPr/>
            </p:nvSpPr>
            <p:spPr>
              <a:xfrm>
                <a:off x="2985784" y="3807749"/>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dirty="0">
                  <a:solidFill>
                    <a:srgbClr val="FFFFFF"/>
                  </a:solidFill>
                  <a:latin typeface="Segoe UI"/>
                </a:endParaRPr>
              </a:p>
            </p:txBody>
          </p:sp>
          <p:sp>
            <p:nvSpPr>
              <p:cNvPr id="20" name="Freeform 71"/>
              <p:cNvSpPr>
                <a:spLocks noChangeAspect="1" noEditPoints="1"/>
              </p:cNvSpPr>
              <p:nvPr/>
            </p:nvSpPr>
            <p:spPr bwMode="auto">
              <a:xfrm>
                <a:off x="2855988" y="4178345"/>
                <a:ext cx="1159942" cy="1130249"/>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solidFill>
                <a:schemeClr val="accent1"/>
              </a:solidFill>
              <a:ln w="0">
                <a:noFill/>
                <a:prstDash val="solid"/>
                <a:round/>
                <a:headEnd/>
                <a:tailEnd/>
              </a:ln>
            </p:spPr>
            <p:txBody>
              <a:bodyPr vert="horz" wrap="square" lIns="91400" tIns="45700" rIns="91400" bIns="45700" numCol="1" anchor="t" anchorCtr="0" compatLnSpc="1">
                <a:prstTxWarp prst="textNoShape">
                  <a:avLst/>
                </a:prstTxWarp>
              </a:bodyPr>
              <a:lstStyle/>
              <a:p>
                <a:pPr defTabSz="896042">
                  <a:defRPr/>
                </a:pPr>
                <a:endParaRPr lang="en-US">
                  <a:solidFill>
                    <a:prstClr val="black"/>
                  </a:solidFill>
                  <a:latin typeface="Segoe UI"/>
                </a:endParaRPr>
              </a:p>
            </p:txBody>
          </p:sp>
        </p:grpSp>
      </p:grpSp>
      <p:grpSp>
        <p:nvGrpSpPr>
          <p:cNvPr id="220" name="Group 219"/>
          <p:cNvGrpSpPr/>
          <p:nvPr/>
        </p:nvGrpSpPr>
        <p:grpSpPr>
          <a:xfrm>
            <a:off x="2613905" y="5593082"/>
            <a:ext cx="1089231" cy="1089231"/>
            <a:chOff x="2857951" y="5527943"/>
            <a:chExt cx="1299262" cy="1299262"/>
          </a:xfrm>
          <a:solidFill>
            <a:schemeClr val="bg1"/>
          </a:solidFill>
        </p:grpSpPr>
        <p:sp>
          <p:nvSpPr>
            <p:cNvPr id="206" name="Oval 205"/>
            <p:cNvSpPr/>
            <p:nvPr/>
          </p:nvSpPr>
          <p:spPr bwMode="auto">
            <a:xfrm>
              <a:off x="2857951" y="5527943"/>
              <a:ext cx="1299262" cy="1299262"/>
            </a:xfrm>
            <a:prstGeom prst="ellipse">
              <a:avLst/>
            </a:prstGeom>
            <a:grp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3293616" y="5628006"/>
              <a:ext cx="427933" cy="1099137"/>
              <a:chOff x="4943850" y="3035753"/>
              <a:chExt cx="757741" cy="1946246"/>
            </a:xfrm>
            <a:grpFill/>
          </p:grpSpPr>
          <p:sp>
            <p:nvSpPr>
              <p:cNvPr id="5"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sp>
            <p:nvSpPr>
              <p:cNvPr id="6"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91400" tIns="45700" rIns="45700" bIns="914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573" fontAlgn="base">
                  <a:spcBef>
                    <a:spcPct val="0"/>
                  </a:spcBef>
                  <a:spcAft>
                    <a:spcPct val="0"/>
                  </a:spcAft>
                  <a:defRPr/>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flipV="1">
                <a:off x="5154351" y="3126375"/>
                <a:ext cx="312238" cy="306471"/>
                <a:chOff x="-9407836" y="120612"/>
                <a:chExt cx="1474396" cy="1455780"/>
              </a:xfrm>
              <a:grpFill/>
            </p:grpSpPr>
            <p:sp>
              <p:nvSpPr>
                <p:cNvPr id="8" name="Oval 7"/>
                <p:cNvSpPr/>
                <p:nvPr/>
              </p:nvSpPr>
              <p:spPr>
                <a:xfrm>
                  <a:off x="-8928872" y="595592"/>
                  <a:ext cx="489390" cy="489390"/>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cxnSp>
              <p:nvCxnSpPr>
                <p:cNvPr id="9" name="Straight Connector 8"/>
                <p:cNvCxnSpPr/>
                <p:nvPr/>
              </p:nvCxnSpPr>
              <p:spPr>
                <a:xfrm>
                  <a:off x="-8679053" y="120612"/>
                  <a:ext cx="0" cy="33097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679053" y="1245413"/>
                  <a:ext cx="0" cy="33097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16200000">
                  <a:off x="-8103656" y="672726"/>
                  <a:ext cx="2655" cy="33777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6200000">
                  <a:off x="-9240275" y="672726"/>
                  <a:ext cx="2655" cy="33777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9070059" y="451591"/>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9075516" y="1127860"/>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8380667" y="451591"/>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8386124" y="1127860"/>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grpSp>
      </p:grpSp>
      <p:grpSp>
        <p:nvGrpSpPr>
          <p:cNvPr id="236" name="Group 235"/>
          <p:cNvGrpSpPr/>
          <p:nvPr/>
        </p:nvGrpSpPr>
        <p:grpSpPr>
          <a:xfrm>
            <a:off x="4174591" y="4951452"/>
            <a:ext cx="1089231" cy="1089231"/>
            <a:chOff x="4294853" y="5670265"/>
            <a:chExt cx="1299262" cy="1299262"/>
          </a:xfrm>
          <a:solidFill>
            <a:schemeClr val="bg1"/>
          </a:solidFill>
        </p:grpSpPr>
        <p:sp>
          <p:nvSpPr>
            <p:cNvPr id="223" name="Oval 222"/>
            <p:cNvSpPr/>
            <p:nvPr/>
          </p:nvSpPr>
          <p:spPr bwMode="auto">
            <a:xfrm>
              <a:off x="4294853" y="5670265"/>
              <a:ext cx="1299262" cy="1299262"/>
            </a:xfrm>
            <a:prstGeom prst="ellipse">
              <a:avLst/>
            </a:prstGeom>
            <a:grp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2" name="Group 41"/>
            <p:cNvGrpSpPr/>
            <p:nvPr/>
          </p:nvGrpSpPr>
          <p:grpSpPr>
            <a:xfrm>
              <a:off x="4495103" y="5846062"/>
              <a:ext cx="898763" cy="947669"/>
              <a:chOff x="5140517" y="1715298"/>
              <a:chExt cx="1330192" cy="1402576"/>
            </a:xfrm>
            <a:grpFill/>
          </p:grpSpPr>
          <p:grpSp>
            <p:nvGrpSpPr>
              <p:cNvPr id="43" name="Group 42"/>
              <p:cNvGrpSpPr/>
              <p:nvPr/>
            </p:nvGrpSpPr>
            <p:grpSpPr>
              <a:xfrm>
                <a:off x="5685590" y="1841413"/>
                <a:ext cx="240047" cy="250622"/>
                <a:chOff x="6356211" y="-986246"/>
                <a:chExt cx="322176" cy="336369"/>
              </a:xfrm>
              <a:grpFill/>
            </p:grpSpPr>
            <p:sp>
              <p:nvSpPr>
                <p:cNvPr id="46" name="Oval 45"/>
                <p:cNvSpPr/>
                <p:nvPr/>
              </p:nvSpPr>
              <p:spPr>
                <a:xfrm>
                  <a:off x="6459255" y="-868963"/>
                  <a:ext cx="116089" cy="116089"/>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cxnSp>
              <p:nvCxnSpPr>
                <p:cNvPr id="47" name="Straight Connector 46"/>
                <p:cNvCxnSpPr/>
                <p:nvPr/>
              </p:nvCxnSpPr>
              <p:spPr>
                <a:xfrm>
                  <a:off x="6517299" y="-986246"/>
                  <a:ext cx="0" cy="33636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6356211" y="-810919"/>
                  <a:ext cx="322176" cy="0"/>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425918" y="-905756"/>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6576503" y="-909443"/>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6200000">
                  <a:off x="6425918" y="-745560"/>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6200000" flipH="1">
                  <a:off x="6576503" y="-749247"/>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4" name="Oval 142"/>
              <p:cNvSpPr/>
              <p:nvPr/>
            </p:nvSpPr>
            <p:spPr>
              <a:xfrm>
                <a:off x="5304656" y="1715298"/>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sp>
            <p:nvSpPr>
              <p:cNvPr id="45" name="Rectangle 35"/>
              <p:cNvSpPr>
                <a:spLocks noChangeAspect="1"/>
              </p:cNvSpPr>
              <p:nvPr/>
            </p:nvSpPr>
            <p:spPr bwMode="auto">
              <a:xfrm>
                <a:off x="5140517" y="2291943"/>
                <a:ext cx="1330192" cy="82593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1" tIns="46610" rIns="46610" bIns="93221" numCol="1" spcCol="0" rtlCol="0" fromWordArt="0" anchor="b" anchorCtr="0" forceAA="0" compatLnSpc="1">
                <a:prstTxWarp prst="textNoShape">
                  <a:avLst/>
                </a:prstTxWarp>
                <a:noAutofit/>
              </a:bodyPr>
              <a:lstStyle/>
              <a:p>
                <a:pPr algn="ctr" defTabSz="931754" fontAlgn="base">
                  <a:spcBef>
                    <a:spcPct val="0"/>
                  </a:spcBef>
                  <a:spcAft>
                    <a:spcPct val="0"/>
                  </a:spcAft>
                  <a:defRPr/>
                </a:pPr>
                <a:endParaRPr lang="en-US" sz="1834" spc="-51" dirty="0" err="1">
                  <a:solidFill>
                    <a:srgbClr val="FF8C00"/>
                  </a:solidFill>
                  <a:latin typeface="Segoe UI"/>
                  <a:ea typeface="Segoe UI" pitchFamily="34" charset="0"/>
                  <a:cs typeface="Segoe UI" pitchFamily="34" charset="0"/>
                </a:endParaRPr>
              </a:p>
            </p:txBody>
          </p:sp>
        </p:grpSp>
      </p:grpSp>
      <p:sp>
        <p:nvSpPr>
          <p:cNvPr id="238" name="Oval 237"/>
          <p:cNvSpPr/>
          <p:nvPr/>
        </p:nvSpPr>
        <p:spPr bwMode="auto">
          <a:xfrm>
            <a:off x="986233" y="1996562"/>
            <a:ext cx="1089231" cy="1089231"/>
          </a:xfrm>
          <a:prstGeom prst="ellipse">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8" name="Group 87"/>
          <p:cNvGrpSpPr/>
          <p:nvPr/>
        </p:nvGrpSpPr>
        <p:grpSpPr>
          <a:xfrm>
            <a:off x="1444947" y="2245368"/>
            <a:ext cx="171801" cy="178859"/>
            <a:chOff x="-11741312" y="2985477"/>
            <a:chExt cx="1201118" cy="1250461"/>
          </a:xfrm>
          <a:solidFill>
            <a:schemeClr val="bg1"/>
          </a:solidFill>
        </p:grpSpPr>
        <p:grpSp>
          <p:nvGrpSpPr>
            <p:cNvPr id="91" name="Group 90"/>
            <p:cNvGrpSpPr/>
            <p:nvPr/>
          </p:nvGrpSpPr>
          <p:grpSpPr>
            <a:xfrm>
              <a:off x="-11741312" y="2985477"/>
              <a:ext cx="1201118" cy="1250461"/>
              <a:chOff x="-11741312" y="2985477"/>
              <a:chExt cx="1201118" cy="1250461"/>
            </a:xfrm>
            <a:grpFill/>
          </p:grpSpPr>
          <p:cxnSp>
            <p:nvCxnSpPr>
              <p:cNvPr id="93" name="Straight Connector 92"/>
              <p:cNvCxnSpPr/>
              <p:nvPr/>
            </p:nvCxnSpPr>
            <p:spPr>
              <a:xfrm>
                <a:off x="-11145846" y="2985477"/>
                <a:ext cx="0" cy="1250461"/>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714017" y="3396428"/>
                <a:ext cx="1173823" cy="459126"/>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714017" y="3363367"/>
                <a:ext cx="1124977" cy="49218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1741312" y="3603721"/>
                <a:ext cx="1201118" cy="0"/>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1397812" y="3045383"/>
                <a:ext cx="487742" cy="1135848"/>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11381621" y="3025242"/>
                <a:ext cx="491275" cy="118750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11569458" y="3149600"/>
                <a:ext cx="895164" cy="923675"/>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flipV="1">
                <a:off x="-11589182" y="3173046"/>
                <a:ext cx="887865" cy="912924"/>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92" name="Oval 91"/>
            <p:cNvSpPr/>
            <p:nvPr/>
          </p:nvSpPr>
          <p:spPr>
            <a:xfrm>
              <a:off x="-11328806" y="3418776"/>
              <a:ext cx="365920" cy="365919"/>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grpSp>
      <p:sp>
        <p:nvSpPr>
          <p:cNvPr id="89" name="Oval 142"/>
          <p:cNvSpPr/>
          <p:nvPr/>
        </p:nvSpPr>
        <p:spPr>
          <a:xfrm>
            <a:off x="1231454" y="2181146"/>
            <a:ext cx="598790" cy="299395"/>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solidFill>
            <a:schemeClr val="bg1"/>
          </a:solid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sp>
        <p:nvSpPr>
          <p:cNvPr id="90" name="Rectangle 25"/>
          <p:cNvSpPr>
            <a:spLocks noChangeAspect="1"/>
          </p:cNvSpPr>
          <p:nvPr/>
        </p:nvSpPr>
        <p:spPr bwMode="auto">
          <a:xfrm>
            <a:off x="1297748" y="2541346"/>
            <a:ext cx="519608" cy="359864"/>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1" tIns="186441" rIns="46610" bIns="93221" numCol="1" spcCol="0" rtlCol="0" fromWordArt="0" anchor="b" anchorCtr="0" forceAA="0" compatLnSpc="1">
            <a:prstTxWarp prst="textNoShape">
              <a:avLst/>
            </a:prstTxWarp>
            <a:noAutofit/>
          </a:bodyPr>
          <a:lstStyle/>
          <a:p>
            <a:pPr algn="ctr" defTabSz="931754" fontAlgn="base">
              <a:spcBef>
                <a:spcPct val="0"/>
              </a:spcBef>
              <a:spcAft>
                <a:spcPct val="0"/>
              </a:spcAft>
              <a:defRPr/>
            </a:pPr>
            <a:endParaRPr lang="en-US" sz="1529" spc="-51" dirty="0" err="1">
              <a:solidFill>
                <a:srgbClr val="FF8C00"/>
              </a:solidFill>
              <a:latin typeface="Segoe UI"/>
              <a:ea typeface="Segoe UI" pitchFamily="34" charset="0"/>
              <a:cs typeface="Segoe UI" pitchFamily="34" charset="0"/>
            </a:endParaRPr>
          </a:p>
        </p:txBody>
      </p:sp>
      <p:grpSp>
        <p:nvGrpSpPr>
          <p:cNvPr id="293" name="Group 292"/>
          <p:cNvGrpSpPr/>
          <p:nvPr/>
        </p:nvGrpSpPr>
        <p:grpSpPr>
          <a:xfrm>
            <a:off x="4174591" y="2011136"/>
            <a:ext cx="1089231" cy="1089231"/>
            <a:chOff x="4679691" y="1904606"/>
            <a:chExt cx="1299262" cy="1299262"/>
          </a:xfrm>
          <a:solidFill>
            <a:schemeClr val="bg1"/>
          </a:solidFill>
        </p:grpSpPr>
        <p:sp>
          <p:nvSpPr>
            <p:cNvPr id="279" name="Oval 278"/>
            <p:cNvSpPr/>
            <p:nvPr/>
          </p:nvSpPr>
          <p:spPr bwMode="auto">
            <a:xfrm>
              <a:off x="4679691" y="1904606"/>
              <a:ext cx="1299262" cy="1299262"/>
            </a:xfrm>
            <a:prstGeom prst="ellipse">
              <a:avLst/>
            </a:prstGeom>
            <a:grp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1" name="Group 30"/>
            <p:cNvGrpSpPr/>
            <p:nvPr/>
          </p:nvGrpSpPr>
          <p:grpSpPr>
            <a:xfrm>
              <a:off x="4927542" y="2082081"/>
              <a:ext cx="803560" cy="944312"/>
              <a:chOff x="970509" y="4093413"/>
              <a:chExt cx="1049828" cy="1233722"/>
            </a:xfrm>
            <a:grpFill/>
          </p:grpSpPr>
          <p:sp>
            <p:nvSpPr>
              <p:cNvPr id="32"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0" tIns="45700" rIns="45700" bIns="91400" numCol="1" spcCol="0" rtlCol="0" fromWordArt="0" anchor="b" anchorCtr="0" forceAA="0" compatLnSpc="1">
                <a:prstTxWarp prst="textNoShape">
                  <a:avLst/>
                </a:prstTxWarp>
                <a:noAutofit/>
              </a:bodyPr>
              <a:lstStyle/>
              <a:p>
                <a:pPr algn="ctr" defTabSz="913573" fontAlgn="base">
                  <a:spcBef>
                    <a:spcPct val="0"/>
                  </a:spcBef>
                  <a:spcAft>
                    <a:spcPct val="0"/>
                  </a:spcAft>
                  <a:defRPr/>
                </a:pPr>
                <a:endParaRPr lang="en-US"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 name="Group 32"/>
              <p:cNvGrpSpPr/>
              <p:nvPr/>
            </p:nvGrpSpPr>
            <p:grpSpPr>
              <a:xfrm>
                <a:off x="1375400" y="4219528"/>
                <a:ext cx="240047" cy="250622"/>
                <a:chOff x="6356211" y="-986246"/>
                <a:chExt cx="322176" cy="336369"/>
              </a:xfrm>
              <a:grpFill/>
            </p:grpSpPr>
            <p:sp>
              <p:nvSpPr>
                <p:cNvPr id="35" name="Oval 34"/>
                <p:cNvSpPr/>
                <p:nvPr/>
              </p:nvSpPr>
              <p:spPr>
                <a:xfrm>
                  <a:off x="6459255" y="-868963"/>
                  <a:ext cx="116089" cy="116089"/>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cxnSp>
              <p:nvCxnSpPr>
                <p:cNvPr id="36" name="Straight Connector 35"/>
                <p:cNvCxnSpPr/>
                <p:nvPr/>
              </p:nvCxnSpPr>
              <p:spPr>
                <a:xfrm>
                  <a:off x="6517299" y="-986246"/>
                  <a:ext cx="0" cy="33636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6356211" y="-810919"/>
                  <a:ext cx="322176" cy="0"/>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425918" y="-905756"/>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6576503" y="-909443"/>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425918" y="-745560"/>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flipH="1">
                  <a:off x="6576503" y="-749247"/>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4"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dirty="0">
                  <a:solidFill>
                    <a:srgbClr val="FFFFFF"/>
                  </a:solidFill>
                  <a:latin typeface="Segoe UI"/>
                </a:endParaRPr>
              </a:p>
            </p:txBody>
          </p:sp>
        </p:grpSp>
      </p:grpSp>
      <p:grpSp>
        <p:nvGrpSpPr>
          <p:cNvPr id="276" name="Group 275"/>
          <p:cNvGrpSpPr/>
          <p:nvPr/>
        </p:nvGrpSpPr>
        <p:grpSpPr>
          <a:xfrm>
            <a:off x="2571335" y="1310236"/>
            <a:ext cx="1089231" cy="1089231"/>
            <a:chOff x="3081939" y="2082284"/>
            <a:chExt cx="1299262" cy="1299262"/>
          </a:xfrm>
          <a:solidFill>
            <a:schemeClr val="bg1"/>
          </a:solidFill>
        </p:grpSpPr>
        <p:sp>
          <p:nvSpPr>
            <p:cNvPr id="262" name="Oval 261"/>
            <p:cNvSpPr/>
            <p:nvPr/>
          </p:nvSpPr>
          <p:spPr bwMode="auto">
            <a:xfrm>
              <a:off x="3081939" y="2082284"/>
              <a:ext cx="1299262" cy="1299262"/>
            </a:xfrm>
            <a:prstGeom prst="ellipse">
              <a:avLst/>
            </a:prstGeom>
            <a:grp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Group 52"/>
            <p:cNvGrpSpPr/>
            <p:nvPr/>
          </p:nvGrpSpPr>
          <p:grpSpPr>
            <a:xfrm>
              <a:off x="3414369" y="2212197"/>
              <a:ext cx="634402" cy="1039436"/>
              <a:chOff x="2973255" y="1759913"/>
              <a:chExt cx="1001915" cy="1641586"/>
            </a:xfrm>
            <a:grpFill/>
          </p:grpSpPr>
          <p:grpSp>
            <p:nvGrpSpPr>
              <p:cNvPr id="54" name="Group 53"/>
              <p:cNvGrpSpPr/>
              <p:nvPr/>
            </p:nvGrpSpPr>
            <p:grpSpPr>
              <a:xfrm>
                <a:off x="3347956" y="1941625"/>
                <a:ext cx="252513" cy="262887"/>
                <a:chOff x="920925" y="6909519"/>
                <a:chExt cx="1201118" cy="1250461"/>
              </a:xfrm>
              <a:grpFill/>
            </p:grpSpPr>
            <p:cxnSp>
              <p:nvCxnSpPr>
                <p:cNvPr id="57" name="Straight Connector 56"/>
                <p:cNvCxnSpPr/>
                <p:nvPr/>
              </p:nvCxnSpPr>
              <p:spPr>
                <a:xfrm>
                  <a:off x="1516391" y="6909519"/>
                  <a:ext cx="0" cy="1250461"/>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48220" y="7320470"/>
                  <a:ext cx="1173823" cy="459126"/>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948220" y="7287409"/>
                  <a:ext cx="1124977" cy="49218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920925" y="7527763"/>
                  <a:ext cx="1201118" cy="0"/>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264425" y="6969425"/>
                  <a:ext cx="487742" cy="113584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1280616" y="6949284"/>
                  <a:ext cx="491275" cy="118750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1092779" y="7073642"/>
                  <a:ext cx="895164" cy="923675"/>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1073055" y="7097088"/>
                  <a:ext cx="887865" cy="912924"/>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1044839" y="7054229"/>
                  <a:ext cx="943104" cy="943098"/>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sp>
              <p:nvSpPr>
                <p:cNvPr id="66" name="Oval 65"/>
                <p:cNvSpPr/>
                <p:nvPr/>
              </p:nvSpPr>
              <p:spPr>
                <a:xfrm>
                  <a:off x="1333431" y="7342819"/>
                  <a:ext cx="365920" cy="365919"/>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grpSp>
          <p:sp>
            <p:nvSpPr>
              <p:cNvPr id="55" name="Oval 1233"/>
              <p:cNvSpPr>
                <a:spLocks noChangeAspect="1"/>
              </p:cNvSpPr>
              <p:nvPr/>
            </p:nvSpPr>
            <p:spPr bwMode="auto">
              <a:xfrm>
                <a:off x="3088516" y="2375635"/>
                <a:ext cx="771393" cy="1025864"/>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1" tIns="46610" rIns="46610" bIns="93221" numCol="1" spcCol="0" rtlCol="0" fromWordArt="0" anchor="b" anchorCtr="0" forceAA="0" compatLnSpc="1">
                <a:prstTxWarp prst="textNoShape">
                  <a:avLst/>
                </a:prstTxWarp>
                <a:noAutofit/>
              </a:bodyPr>
              <a:lstStyle/>
              <a:p>
                <a:pPr algn="ctr" defTabSz="931754" fontAlgn="base">
                  <a:spcBef>
                    <a:spcPct val="0"/>
                  </a:spcBef>
                  <a:spcAft>
                    <a:spcPct val="0"/>
                  </a:spcAft>
                  <a:defRPr/>
                </a:pPr>
                <a:endParaRPr lang="en-US" sz="1834"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142"/>
              <p:cNvSpPr/>
              <p:nvPr/>
            </p:nvSpPr>
            <p:spPr>
              <a:xfrm>
                <a:off x="2973255" y="17599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42">
                  <a:defRPr/>
                </a:pPr>
                <a:endParaRPr lang="en-US">
                  <a:solidFill>
                    <a:srgbClr val="FFFFFF"/>
                  </a:solidFill>
                  <a:latin typeface="Segoe UI"/>
                </a:endParaRPr>
              </a:p>
            </p:txBody>
          </p:sp>
        </p:grpSp>
      </p:grpSp>
      <p:sp>
        <p:nvSpPr>
          <p:cNvPr id="320" name="Chevron 319"/>
          <p:cNvSpPr/>
          <p:nvPr/>
        </p:nvSpPr>
        <p:spPr bwMode="auto">
          <a:xfrm rot="14177617">
            <a:off x="5197731" y="3089948"/>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1" name="Chevron 320"/>
          <p:cNvSpPr/>
          <p:nvPr/>
        </p:nvSpPr>
        <p:spPr bwMode="auto">
          <a:xfrm rot="12802159">
            <a:off x="3919536" y="1763671"/>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2" name="Chevron 321"/>
          <p:cNvSpPr/>
          <p:nvPr/>
        </p:nvSpPr>
        <p:spPr bwMode="auto">
          <a:xfrm rot="10059236">
            <a:off x="2129065" y="1799256"/>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3" name="Chevron 322"/>
          <p:cNvSpPr/>
          <p:nvPr/>
        </p:nvSpPr>
        <p:spPr bwMode="auto">
          <a:xfrm rot="6753679">
            <a:off x="889392" y="3109689"/>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4" name="Chevron 323"/>
          <p:cNvSpPr/>
          <p:nvPr/>
        </p:nvSpPr>
        <p:spPr bwMode="auto">
          <a:xfrm rot="3925275">
            <a:off x="924481" y="4786724"/>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5" name="Chevron 324"/>
          <p:cNvSpPr/>
          <p:nvPr/>
        </p:nvSpPr>
        <p:spPr bwMode="auto">
          <a:xfrm rot="1394421">
            <a:off x="2163055" y="6045277"/>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6" name="Chevron 325"/>
          <p:cNvSpPr/>
          <p:nvPr/>
        </p:nvSpPr>
        <p:spPr bwMode="auto">
          <a:xfrm rot="20964085">
            <a:off x="3930702" y="6029695"/>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7" name="Chevron 326"/>
          <p:cNvSpPr/>
          <p:nvPr/>
        </p:nvSpPr>
        <p:spPr bwMode="auto">
          <a:xfrm rot="18142184">
            <a:off x="5186221" y="4738554"/>
            <a:ext cx="221321" cy="241306"/>
          </a:xfrm>
          <a:prstGeom prst="chevron">
            <a:avLst/>
          </a:prstGeom>
          <a:solidFill>
            <a:schemeClr val="tx1">
              <a:lumMod val="60000"/>
              <a:lumOff val="4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Freeform 539"/>
          <p:cNvSpPr>
            <a:spLocks noChangeAspect="1"/>
          </p:cNvSpPr>
          <p:nvPr/>
        </p:nvSpPr>
        <p:spPr bwMode="auto">
          <a:xfrm>
            <a:off x="4740722" y="1318142"/>
            <a:ext cx="6924667" cy="389157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87843" tIns="43921" rIns="87843" bIns="43921" numCol="1" anchor="t" anchorCtr="0" compatLnSpc="1">
            <a:prstTxWarp prst="textNoShape">
              <a:avLst/>
            </a:prstTxWarp>
          </a:bodyPr>
          <a:lstStyle/>
          <a:p>
            <a:pPr defTabSz="895838">
              <a:defRPr/>
            </a:pPr>
            <a:endParaRPr lang="en-US" sz="1730" dirty="0">
              <a:solidFill>
                <a:srgbClr val="FFFFFF"/>
              </a:solidFill>
              <a:latin typeface="Segoe UI"/>
            </a:endParaRPr>
          </a:p>
        </p:txBody>
      </p:sp>
      <p:grpSp>
        <p:nvGrpSpPr>
          <p:cNvPr id="332" name="Group 331"/>
          <p:cNvGrpSpPr/>
          <p:nvPr/>
        </p:nvGrpSpPr>
        <p:grpSpPr>
          <a:xfrm>
            <a:off x="6249380" y="2556255"/>
            <a:ext cx="2985888" cy="665181"/>
            <a:chOff x="7567177" y="1647572"/>
            <a:chExt cx="2350404" cy="523611"/>
          </a:xfrm>
          <a:noFill/>
        </p:grpSpPr>
        <p:sp>
          <p:nvSpPr>
            <p:cNvPr id="329" name="Rectangle 328"/>
            <p:cNvSpPr/>
            <p:nvPr/>
          </p:nvSpPr>
          <p:spPr bwMode="auto">
            <a:xfrm>
              <a:off x="7663254" y="1647572"/>
              <a:ext cx="2254327" cy="5236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568" spc="-28" dirty="0">
                  <a:solidFill>
                    <a:srgbClr val="FFFFFF"/>
                  </a:solidFill>
                  <a:latin typeface="Segoe UI"/>
                  <a:cs typeface="Segoe UI" panose="020B0502040204020203" pitchFamily="34" charset="0"/>
                </a:rPr>
                <a:t>Device Connectivity </a:t>
              </a:r>
              <a:br>
                <a:rPr lang="en-US" sz="1568" spc="-28" dirty="0">
                  <a:solidFill>
                    <a:srgbClr val="FFFFFF"/>
                  </a:solidFill>
                  <a:latin typeface="Segoe UI"/>
                  <a:cs typeface="Segoe UI" panose="020B0502040204020203" pitchFamily="34" charset="0"/>
                </a:rPr>
              </a:br>
              <a:r>
                <a:rPr lang="en-US" sz="1568" spc="-28" dirty="0">
                  <a:solidFill>
                    <a:srgbClr val="FFFFFF"/>
                  </a:solidFill>
                  <a:latin typeface="Segoe UI"/>
                  <a:cs typeface="Segoe UI" panose="020B0502040204020203" pitchFamily="34" charset="0"/>
                </a:rPr>
                <a:t>&amp; Management</a:t>
              </a:r>
            </a:p>
            <a:p>
              <a:pPr algn="ctr" defTabSz="914102" fontAlgn="base">
                <a:lnSpc>
                  <a:spcPct val="90000"/>
                </a:lnSpc>
                <a:spcBef>
                  <a:spcPct val="0"/>
                </a:spcBef>
                <a:spcAft>
                  <a:spcPct val="0"/>
                </a:spcAft>
              </a:pPr>
              <a:endParaRPr lang="en-US" sz="3137"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4" name="Picture 41" descr="K:\ForChad\infographics\images\icon_white_arrow_over_computers.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7177" y="1681064"/>
              <a:ext cx="453780" cy="453600"/>
            </a:xfrm>
            <a:prstGeom prst="rect">
              <a:avLst/>
            </a:prstGeom>
            <a:grpFill/>
            <a:extLst/>
          </p:spPr>
        </p:pic>
      </p:grpSp>
      <p:grpSp>
        <p:nvGrpSpPr>
          <p:cNvPr id="228" name="Group 227"/>
          <p:cNvGrpSpPr/>
          <p:nvPr/>
        </p:nvGrpSpPr>
        <p:grpSpPr>
          <a:xfrm>
            <a:off x="8770222" y="2556255"/>
            <a:ext cx="2906696" cy="665181"/>
            <a:chOff x="9040076" y="2477412"/>
            <a:chExt cx="2964981" cy="678519"/>
          </a:xfrm>
        </p:grpSpPr>
        <p:sp>
          <p:nvSpPr>
            <p:cNvPr id="330" name="Rectangle 329"/>
            <p:cNvSpPr/>
            <p:nvPr/>
          </p:nvSpPr>
          <p:spPr bwMode="auto">
            <a:xfrm>
              <a:off x="9083797" y="2477412"/>
              <a:ext cx="2921260" cy="6785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t" anchorCtr="0" forceAA="0" compatLnSpc="1">
              <a:prstTxWarp prst="textNoShape">
                <a:avLst/>
              </a:prstTxWarp>
              <a:noAutofit/>
            </a:bodyPr>
            <a:lstStyle/>
            <a:p>
              <a:pPr defTabSz="895838">
                <a:lnSpc>
                  <a:spcPct val="90000"/>
                </a:lnSpc>
                <a:spcBef>
                  <a:spcPts val="2211"/>
                </a:spcBef>
                <a:defRPr/>
              </a:pPr>
              <a:r>
                <a:rPr lang="en-US" sz="1568" spc="-28" dirty="0">
                  <a:solidFill>
                    <a:srgbClr val="FFFFFF"/>
                  </a:solidFill>
                  <a:latin typeface="Segoe UI"/>
                  <a:cs typeface="Segoe UI" panose="020B0502040204020203" pitchFamily="34" charset="0"/>
                </a:rPr>
                <a:t>Data Ingestion and Command &amp; Control</a:t>
              </a:r>
            </a:p>
          </p:txBody>
        </p:sp>
        <p:sp>
          <p:nvSpPr>
            <p:cNvPr id="152" name="Freeform 6"/>
            <p:cNvSpPr>
              <a:spLocks noEditPoints="1"/>
            </p:cNvSpPr>
            <p:nvPr/>
          </p:nvSpPr>
          <p:spPr bwMode="auto">
            <a:xfrm>
              <a:off x="9040076" y="2654011"/>
              <a:ext cx="474609" cy="300892"/>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bg1"/>
            </a:solidFill>
            <a:ln w="0">
              <a:noFill/>
              <a:prstDash val="solid"/>
              <a:round/>
              <a:headEnd/>
              <a:tailEnd/>
            </a:ln>
          </p:spPr>
          <p:txBody>
            <a:bodyPr vert="horz" wrap="square" lIns="87868" tIns="43933" rIns="87868" bIns="43933" numCol="1" anchor="t" anchorCtr="0" compatLnSpc="1">
              <a:prstTxWarp prst="textNoShape">
                <a:avLst/>
              </a:prstTxWarp>
            </a:bodyPr>
            <a:lstStyle/>
            <a:p>
              <a:pPr defTabSz="896182">
                <a:defRPr/>
              </a:pPr>
              <a:endParaRPr lang="en-US" sz="1730">
                <a:solidFill>
                  <a:srgbClr val="505050"/>
                </a:solidFill>
                <a:latin typeface="Segoe UI"/>
              </a:endParaRPr>
            </a:p>
          </p:txBody>
        </p:sp>
      </p:grpSp>
      <p:grpSp>
        <p:nvGrpSpPr>
          <p:cNvPr id="226" name="Group 225"/>
          <p:cNvGrpSpPr/>
          <p:nvPr/>
        </p:nvGrpSpPr>
        <p:grpSpPr>
          <a:xfrm>
            <a:off x="8770222" y="3281899"/>
            <a:ext cx="3050232" cy="665181"/>
            <a:chOff x="8607356" y="3217607"/>
            <a:chExt cx="3111396" cy="678519"/>
          </a:xfrm>
        </p:grpSpPr>
        <p:sp>
          <p:nvSpPr>
            <p:cNvPr id="334" name="Rectangle 333"/>
            <p:cNvSpPr/>
            <p:nvPr/>
          </p:nvSpPr>
          <p:spPr bwMode="auto">
            <a:xfrm>
              <a:off x="8797492" y="3217607"/>
              <a:ext cx="2921260" cy="6785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t" anchorCtr="0" forceAA="0" compatLnSpc="1">
              <a:prstTxWarp prst="textNoShape">
                <a:avLst/>
              </a:prstTxWarp>
              <a:noAutofit/>
            </a:bodyPr>
            <a:lstStyle/>
            <a:p>
              <a:pPr defTabSz="895838">
                <a:lnSpc>
                  <a:spcPct val="90000"/>
                </a:lnSpc>
                <a:spcBef>
                  <a:spcPts val="2211"/>
                </a:spcBef>
                <a:defRPr/>
              </a:pPr>
              <a:r>
                <a:rPr lang="en-US" sz="1568" spc="-28" dirty="0">
                  <a:solidFill>
                    <a:srgbClr val="FFFFFF"/>
                  </a:solidFill>
                  <a:latin typeface="Segoe UI"/>
                  <a:cs typeface="Segoe UI" panose="020B0502040204020203" pitchFamily="34" charset="0"/>
                </a:rPr>
                <a:t>Stream Processing &amp; Predictive Analytics</a:t>
              </a:r>
            </a:p>
          </p:txBody>
        </p:sp>
        <p:grpSp>
          <p:nvGrpSpPr>
            <p:cNvPr id="336" name="Group 335"/>
            <p:cNvGrpSpPr/>
            <p:nvPr/>
          </p:nvGrpSpPr>
          <p:grpSpPr>
            <a:xfrm>
              <a:off x="8607356" y="3322947"/>
              <a:ext cx="559162" cy="467838"/>
              <a:chOff x="-1220314" y="1416672"/>
              <a:chExt cx="1108076" cy="927101"/>
            </a:xfrm>
            <a:solidFill>
              <a:schemeClr val="bg1"/>
            </a:solidFill>
          </p:grpSpPr>
          <p:sp>
            <p:nvSpPr>
              <p:cNvPr id="337"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noFill/>
              </a:ln>
            </p:spPr>
            <p:txBody>
              <a:bodyPr vert="horz" wrap="square" lIns="87843" tIns="43921" rIns="87843" bIns="43921" numCol="1" anchor="t" anchorCtr="0" compatLnSpc="1">
                <a:prstTxWarp prst="textNoShape">
                  <a:avLst/>
                </a:prstTxWarp>
              </a:bodyPr>
              <a:lstStyle/>
              <a:p>
                <a:pPr defTabSz="895838">
                  <a:defRPr/>
                </a:pPr>
                <a:endParaRPr lang="en-US" sz="1342">
                  <a:solidFill>
                    <a:srgbClr val="FFFFFF"/>
                  </a:solidFill>
                  <a:latin typeface="Segoe UI"/>
                </a:endParaRPr>
              </a:p>
            </p:txBody>
          </p:sp>
          <p:sp>
            <p:nvSpPr>
              <p:cNvPr id="338"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noFill/>
              </a:ln>
            </p:spPr>
            <p:txBody>
              <a:bodyPr vert="horz" wrap="square" lIns="87843" tIns="43921" rIns="87843" bIns="43921" numCol="1" anchor="t" anchorCtr="0" compatLnSpc="1">
                <a:prstTxWarp prst="textNoShape">
                  <a:avLst/>
                </a:prstTxWarp>
              </a:bodyPr>
              <a:lstStyle/>
              <a:p>
                <a:pPr defTabSz="895838">
                  <a:defRPr/>
                </a:pPr>
                <a:endParaRPr lang="en-US" sz="1342">
                  <a:solidFill>
                    <a:srgbClr val="FFFFFF"/>
                  </a:solidFill>
                  <a:latin typeface="Segoe UI"/>
                </a:endParaRPr>
              </a:p>
            </p:txBody>
          </p:sp>
          <p:sp>
            <p:nvSpPr>
              <p:cNvPr id="339"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noFill/>
              </a:ln>
            </p:spPr>
            <p:txBody>
              <a:bodyPr vert="horz" wrap="square" lIns="87843" tIns="43921" rIns="87843" bIns="43921" numCol="1" anchor="t" anchorCtr="0" compatLnSpc="1">
                <a:prstTxWarp prst="textNoShape">
                  <a:avLst/>
                </a:prstTxWarp>
              </a:bodyPr>
              <a:lstStyle/>
              <a:p>
                <a:pPr defTabSz="895838">
                  <a:defRPr/>
                </a:pPr>
                <a:endParaRPr lang="en-US" sz="1342">
                  <a:solidFill>
                    <a:srgbClr val="FFFFFF"/>
                  </a:solidFill>
                  <a:latin typeface="Segoe UI"/>
                </a:endParaRPr>
              </a:p>
            </p:txBody>
          </p:sp>
        </p:grpSp>
      </p:grpSp>
      <p:grpSp>
        <p:nvGrpSpPr>
          <p:cNvPr id="342" name="Group 341"/>
          <p:cNvGrpSpPr/>
          <p:nvPr/>
        </p:nvGrpSpPr>
        <p:grpSpPr>
          <a:xfrm>
            <a:off x="6249379" y="3281899"/>
            <a:ext cx="2997549" cy="665181"/>
            <a:chOff x="6888825" y="2994328"/>
            <a:chExt cx="2359583" cy="523611"/>
          </a:xfrm>
        </p:grpSpPr>
        <p:sp>
          <p:nvSpPr>
            <p:cNvPr id="153" name="AutoShape 2"/>
            <p:cNvSpPr>
              <a:spLocks/>
            </p:cNvSpPr>
            <p:nvPr/>
          </p:nvSpPr>
          <p:spPr bwMode="auto">
            <a:xfrm>
              <a:off x="6888825" y="3032230"/>
              <a:ext cx="437728" cy="425122"/>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bg1"/>
            </a:solidFill>
            <a:ln>
              <a:noFill/>
            </a:ln>
            <a:extLst/>
          </p:spPr>
          <p:txBody>
            <a:bodyPr lIns="0" tIns="0" rIns="0" bIns="0"/>
            <a:lstStyle/>
            <a:p>
              <a:pPr defTabSz="896182">
                <a:defRPr/>
              </a:pPr>
              <a:endParaRPr lang="en-US" sz="2745">
                <a:solidFill>
                  <a:srgbClr val="505050"/>
                </a:solidFill>
                <a:latin typeface="Segoe UI"/>
              </a:endParaRPr>
            </a:p>
          </p:txBody>
        </p:sp>
        <p:sp>
          <p:nvSpPr>
            <p:cNvPr id="340" name="Rectangle 339"/>
            <p:cNvSpPr/>
            <p:nvPr/>
          </p:nvSpPr>
          <p:spPr bwMode="auto">
            <a:xfrm>
              <a:off x="6994081" y="2994328"/>
              <a:ext cx="2254327" cy="5236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t" anchorCtr="0" forceAA="0" compatLnSpc="1">
              <a:prstTxWarp prst="textNoShape">
                <a:avLst/>
              </a:prstTxWarp>
              <a:noAutofit/>
            </a:bodyPr>
            <a:lstStyle/>
            <a:p>
              <a:pPr defTabSz="895838">
                <a:lnSpc>
                  <a:spcPct val="90000"/>
                </a:lnSpc>
                <a:spcBef>
                  <a:spcPts val="2211"/>
                </a:spcBef>
                <a:defRPr/>
              </a:pPr>
              <a:r>
                <a:rPr lang="en-US" sz="1568" spc="-28" dirty="0">
                  <a:solidFill>
                    <a:srgbClr val="FFFFFF"/>
                  </a:solidFill>
                  <a:latin typeface="Segoe UI"/>
                  <a:cs typeface="Segoe UI" panose="020B0502040204020203" pitchFamily="34" charset="0"/>
                </a:rPr>
                <a:t>Stream Processing &amp; Predictive Analytics</a:t>
              </a:r>
            </a:p>
          </p:txBody>
        </p:sp>
      </p:grpSp>
      <p:grpSp>
        <p:nvGrpSpPr>
          <p:cNvPr id="225" name="Group 224"/>
          <p:cNvGrpSpPr/>
          <p:nvPr/>
        </p:nvGrpSpPr>
        <p:grpSpPr>
          <a:xfrm>
            <a:off x="6249380" y="4126958"/>
            <a:ext cx="3051939" cy="665181"/>
            <a:chOff x="5375600" y="4069254"/>
            <a:chExt cx="3113137" cy="678519"/>
          </a:xfrm>
        </p:grpSpPr>
        <p:grpSp>
          <p:nvGrpSpPr>
            <p:cNvPr id="155" name="Group 154"/>
            <p:cNvGrpSpPr/>
            <p:nvPr/>
          </p:nvGrpSpPr>
          <p:grpSpPr>
            <a:xfrm>
              <a:off x="5375600" y="4170369"/>
              <a:ext cx="584978" cy="476288"/>
              <a:chOff x="-2530484" y="585787"/>
              <a:chExt cx="1119191" cy="911228"/>
            </a:xfrm>
            <a:solidFill>
              <a:schemeClr val="bg1"/>
            </a:solidFill>
          </p:grpSpPr>
          <p:sp>
            <p:nvSpPr>
              <p:cNvPr id="15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sp>
            <p:nvSpPr>
              <p:cNvPr id="15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sp>
            <p:nvSpPr>
              <p:cNvPr id="15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sp>
            <p:nvSpPr>
              <p:cNvPr id="15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sp>
            <p:nvSpPr>
              <p:cNvPr id="16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sp>
            <p:nvSpPr>
              <p:cNvPr id="16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defTabSz="895838">
                  <a:defRPr/>
                </a:pPr>
                <a:endParaRPr lang="en-US" sz="1568">
                  <a:solidFill>
                    <a:srgbClr val="FFFFFF"/>
                  </a:solidFill>
                  <a:latin typeface="Segoe UI"/>
                </a:endParaRPr>
              </a:p>
            </p:txBody>
          </p:sp>
        </p:grpSp>
        <p:sp>
          <p:nvSpPr>
            <p:cNvPr id="345" name="Rectangle 344"/>
            <p:cNvSpPr/>
            <p:nvPr/>
          </p:nvSpPr>
          <p:spPr bwMode="auto">
            <a:xfrm>
              <a:off x="5567477" y="4069254"/>
              <a:ext cx="2921260" cy="6785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ctr" anchorCtr="0" forceAA="0" compatLnSpc="1">
              <a:prstTxWarp prst="textNoShape">
                <a:avLst/>
              </a:prstTxWarp>
              <a:noAutofit/>
            </a:bodyPr>
            <a:lstStyle/>
            <a:p>
              <a:pPr defTabSz="895838">
                <a:lnSpc>
                  <a:spcPct val="90000"/>
                </a:lnSpc>
                <a:spcBef>
                  <a:spcPts val="2211"/>
                </a:spcBef>
                <a:defRPr/>
              </a:pPr>
              <a:r>
                <a:rPr lang="en-US" sz="1568" spc="-28" dirty="0">
                  <a:solidFill>
                    <a:srgbClr val="FFFFFF"/>
                  </a:solidFill>
                  <a:latin typeface="Segoe UI"/>
                  <a:cs typeface="Segoe UI" panose="020B0502040204020203" pitchFamily="34" charset="0"/>
                </a:rPr>
                <a:t>Workflow </a:t>
              </a:r>
              <a:br>
                <a:rPr lang="en-US" sz="1568" spc="-28" dirty="0">
                  <a:solidFill>
                    <a:srgbClr val="FFFFFF"/>
                  </a:solidFill>
                  <a:latin typeface="Segoe UI"/>
                  <a:cs typeface="Segoe UI" panose="020B0502040204020203" pitchFamily="34" charset="0"/>
                </a:rPr>
              </a:br>
              <a:r>
                <a:rPr lang="en-US" sz="1568" spc="-28" dirty="0">
                  <a:solidFill>
                    <a:srgbClr val="FFFFFF"/>
                  </a:solidFill>
                  <a:latin typeface="Segoe UI"/>
                  <a:cs typeface="Segoe UI" panose="020B0502040204020203" pitchFamily="34" charset="0"/>
                </a:rPr>
                <a:t>Automation</a:t>
              </a:r>
            </a:p>
          </p:txBody>
        </p:sp>
      </p:grpSp>
      <p:grpSp>
        <p:nvGrpSpPr>
          <p:cNvPr id="227" name="Group 226"/>
          <p:cNvGrpSpPr/>
          <p:nvPr/>
        </p:nvGrpSpPr>
        <p:grpSpPr>
          <a:xfrm>
            <a:off x="8770222" y="4126958"/>
            <a:ext cx="3252407" cy="665181"/>
            <a:chOff x="8286592" y="4079611"/>
            <a:chExt cx="3317625" cy="678519"/>
          </a:xfrm>
        </p:grpSpPr>
        <p:grpSp>
          <p:nvGrpSpPr>
            <p:cNvPr id="166" name="Group 165"/>
            <p:cNvGrpSpPr/>
            <p:nvPr/>
          </p:nvGrpSpPr>
          <p:grpSpPr>
            <a:xfrm>
              <a:off x="8286592" y="4132140"/>
              <a:ext cx="750227" cy="573461"/>
              <a:chOff x="5593612" y="3112499"/>
              <a:chExt cx="3151803" cy="2306516"/>
            </a:xfrm>
          </p:grpSpPr>
          <p:grpSp>
            <p:nvGrpSpPr>
              <p:cNvPr id="167" name="Group 166"/>
              <p:cNvGrpSpPr/>
              <p:nvPr/>
            </p:nvGrpSpPr>
            <p:grpSpPr>
              <a:xfrm>
                <a:off x="5593612" y="3112499"/>
                <a:ext cx="3151803" cy="2306516"/>
                <a:chOff x="9787835" y="3772739"/>
                <a:chExt cx="463841" cy="348632"/>
              </a:xfrm>
            </p:grpSpPr>
            <p:sp>
              <p:nvSpPr>
                <p:cNvPr id="169" name="Freeform 168"/>
                <p:cNvSpPr>
                  <a:spLocks noChangeAspect="1"/>
                </p:cNvSpPr>
                <p:nvPr/>
              </p:nvSpPr>
              <p:spPr bwMode="auto">
                <a:xfrm>
                  <a:off x="10063767" y="3958358"/>
                  <a:ext cx="156290" cy="156290"/>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2353"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0" name="MEASUREMENT &amp; VERIFICATION"/>
                <p:cNvSpPr>
                  <a:spLocks noChangeAspect="1"/>
                </p:cNvSpPr>
                <p:nvPr/>
              </p:nvSpPr>
              <p:spPr bwMode="auto">
                <a:xfrm>
                  <a:off x="10081123" y="3807949"/>
                  <a:ext cx="170553" cy="115532"/>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2353"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1" name="Rounded Rectangle 170"/>
                <p:cNvSpPr/>
                <p:nvPr/>
              </p:nvSpPr>
              <p:spPr bwMode="auto">
                <a:xfrm>
                  <a:off x="9787835" y="3772739"/>
                  <a:ext cx="262320" cy="348632"/>
                </a:xfrm>
                <a:prstGeom prst="roundRect">
                  <a:avLst>
                    <a:gd name="adj" fmla="val 1080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2353"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MAINTENANCE MANAGEMENT"/>
                <p:cNvSpPr>
                  <a:spLocks noChangeAspect="1"/>
                </p:cNvSpPr>
                <p:nvPr/>
              </p:nvSpPr>
              <p:spPr bwMode="auto">
                <a:xfrm>
                  <a:off x="9791936" y="3790932"/>
                  <a:ext cx="232665" cy="181030"/>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48" fontAlgn="base">
                    <a:spcBef>
                      <a:spcPct val="0"/>
                    </a:spcBef>
                    <a:spcAft>
                      <a:spcPct val="0"/>
                    </a:spcAft>
                    <a:defRPr/>
                  </a:pPr>
                  <a:endParaRPr lang="en-US" sz="1961"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68" name="MAINTENANCE MANAGEMENT"/>
              <p:cNvSpPr>
                <a:spLocks noChangeAspect="1"/>
              </p:cNvSpPr>
              <p:nvPr/>
            </p:nvSpPr>
            <p:spPr bwMode="auto">
              <a:xfrm>
                <a:off x="5796571" y="4217241"/>
                <a:ext cx="1580960" cy="1197677"/>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48" fontAlgn="base">
                  <a:spcBef>
                    <a:spcPct val="0"/>
                  </a:spcBef>
                  <a:spcAft>
                    <a:spcPct val="0"/>
                  </a:spcAft>
                  <a:defRPr/>
                </a:pPr>
                <a:endParaRPr lang="en-US" sz="1961"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49" name="Rectangle 348"/>
            <p:cNvSpPr/>
            <p:nvPr/>
          </p:nvSpPr>
          <p:spPr bwMode="auto">
            <a:xfrm>
              <a:off x="8682957" y="4079611"/>
              <a:ext cx="2921260" cy="6785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89642" rIns="179285" bIns="89642" numCol="1" spcCol="0" rtlCol="0" fromWordArt="0" anchor="ctr" anchorCtr="0" forceAA="0" compatLnSpc="1">
              <a:prstTxWarp prst="textNoShape">
                <a:avLst/>
              </a:prstTxWarp>
              <a:noAutofit/>
            </a:bodyPr>
            <a:lstStyle/>
            <a:p>
              <a:pPr defTabSz="895838">
                <a:lnSpc>
                  <a:spcPct val="90000"/>
                </a:lnSpc>
                <a:spcBef>
                  <a:spcPts val="2211"/>
                </a:spcBef>
                <a:defRPr/>
              </a:pPr>
              <a:r>
                <a:rPr lang="en-US" sz="1568" spc="-28" dirty="0">
                  <a:solidFill>
                    <a:srgbClr val="FFFFFF"/>
                  </a:solidFill>
                  <a:latin typeface="Segoe UI"/>
                  <a:cs typeface="Segoe UI" panose="020B0502040204020203" pitchFamily="34" charset="0"/>
                </a:rPr>
                <a:t>Preconfigured </a:t>
              </a:r>
              <a:br>
                <a:rPr lang="en-US" sz="1568" spc="-28" dirty="0">
                  <a:solidFill>
                    <a:srgbClr val="FFFFFF"/>
                  </a:solidFill>
                  <a:latin typeface="Segoe UI"/>
                  <a:cs typeface="Segoe UI" panose="020B0502040204020203" pitchFamily="34" charset="0"/>
                </a:rPr>
              </a:br>
              <a:r>
                <a:rPr lang="en-US" sz="1568" spc="-28" dirty="0">
                  <a:solidFill>
                    <a:srgbClr val="FFFFFF"/>
                  </a:solidFill>
                  <a:latin typeface="Segoe UI"/>
                  <a:cs typeface="Segoe UI" panose="020B0502040204020203" pitchFamily="34" charset="0"/>
                </a:rPr>
                <a:t>Solutions</a:t>
              </a:r>
            </a:p>
          </p:txBody>
        </p:sp>
      </p:grpSp>
    </p:spTree>
    <p:extLst>
      <p:ext uri="{BB962C8B-B14F-4D97-AF65-F5344CB8AC3E}">
        <p14:creationId xmlns:p14="http://schemas.microsoft.com/office/powerpoint/2010/main" val="32847310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IoT Architecture</a:t>
            </a:r>
            <a:endParaRPr lang="en-US" dirty="0"/>
          </a:p>
        </p:txBody>
      </p:sp>
      <p:sp>
        <p:nvSpPr>
          <p:cNvPr id="3" name="Left Arrow 2"/>
          <p:cNvSpPr/>
          <p:nvPr/>
        </p:nvSpPr>
        <p:spPr>
          <a:xfrm>
            <a:off x="2024246" y="5900394"/>
            <a:ext cx="4260374" cy="224106"/>
          </a:xfrm>
          <a:prstGeom prst="lef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 name="Bent-Up Arrow 3"/>
          <p:cNvSpPr/>
          <p:nvPr/>
        </p:nvSpPr>
        <p:spPr>
          <a:xfrm rot="16200000" flipH="1">
            <a:off x="8653411" y="4154343"/>
            <a:ext cx="1484343" cy="949481"/>
          </a:xfrm>
          <a:prstGeom prst="bentUpArrow">
            <a:avLst>
              <a:gd name="adj1" fmla="val 16346"/>
              <a:gd name="adj2" fmla="val 12805"/>
              <a:gd name="adj3" fmla="val 13198"/>
            </a:avLst>
          </a:prstGeom>
          <a:solidFill>
            <a:schemeClr val="bg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 name="Freeform 4"/>
          <p:cNvSpPr/>
          <p:nvPr/>
        </p:nvSpPr>
        <p:spPr>
          <a:xfrm rot="5400000">
            <a:off x="7696939" y="3147917"/>
            <a:ext cx="1098445" cy="1565688"/>
          </a:xfrm>
          <a:custGeom>
            <a:avLst/>
            <a:gdLst>
              <a:gd name="connsiteX0" fmla="*/ 0 w 1120471"/>
              <a:gd name="connsiteY0" fmla="*/ 113273 h 1597082"/>
              <a:gd name="connsiteX1" fmla="*/ 113273 w 1120471"/>
              <a:gd name="connsiteY1" fmla="*/ 0 h 1597082"/>
              <a:gd name="connsiteX2" fmla="*/ 226546 w 1120471"/>
              <a:gd name="connsiteY2" fmla="*/ 113273 h 1597082"/>
              <a:gd name="connsiteX3" fmla="*/ 169910 w 1120471"/>
              <a:gd name="connsiteY3" fmla="*/ 113273 h 1597082"/>
              <a:gd name="connsiteX4" fmla="*/ 169910 w 1120471"/>
              <a:gd name="connsiteY4" fmla="*/ 754213 h 1597082"/>
              <a:gd name="connsiteX5" fmla="*/ 1120471 w 1120471"/>
              <a:gd name="connsiteY5" fmla="*/ 754213 h 1597082"/>
              <a:gd name="connsiteX6" fmla="*/ 1120471 w 1120471"/>
              <a:gd name="connsiteY6" fmla="*/ 825835 h 1597082"/>
              <a:gd name="connsiteX7" fmla="*/ 1120471 w 1120471"/>
              <a:gd name="connsiteY7" fmla="*/ 905414 h 1597082"/>
              <a:gd name="connsiteX8" fmla="*/ 1120471 w 1120471"/>
              <a:gd name="connsiteY8" fmla="*/ 1597082 h 1597082"/>
              <a:gd name="connsiteX9" fmla="*/ 969270 w 1120471"/>
              <a:gd name="connsiteY9" fmla="*/ 1597082 h 1597082"/>
              <a:gd name="connsiteX10" fmla="*/ 969270 w 1120471"/>
              <a:gd name="connsiteY10" fmla="*/ 905414 h 1597082"/>
              <a:gd name="connsiteX11" fmla="*/ 56389 w 1120471"/>
              <a:gd name="connsiteY11" fmla="*/ 905414 h 1597082"/>
              <a:gd name="connsiteX12" fmla="*/ 56389 w 1120471"/>
              <a:gd name="connsiteY12" fmla="*/ 754213 h 1597082"/>
              <a:gd name="connsiteX13" fmla="*/ 56637 w 1120471"/>
              <a:gd name="connsiteY13" fmla="*/ 754213 h 1597082"/>
              <a:gd name="connsiteX14" fmla="*/ 56637 w 1120471"/>
              <a:gd name="connsiteY14" fmla="*/ 113273 h 159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0471" h="1597082">
                <a:moveTo>
                  <a:pt x="0" y="113273"/>
                </a:moveTo>
                <a:lnTo>
                  <a:pt x="113273" y="0"/>
                </a:lnTo>
                <a:lnTo>
                  <a:pt x="226546" y="113273"/>
                </a:lnTo>
                <a:lnTo>
                  <a:pt x="169910" y="113273"/>
                </a:lnTo>
                <a:lnTo>
                  <a:pt x="169910" y="754213"/>
                </a:lnTo>
                <a:lnTo>
                  <a:pt x="1120471" y="754213"/>
                </a:lnTo>
                <a:lnTo>
                  <a:pt x="1120471" y="825835"/>
                </a:lnTo>
                <a:lnTo>
                  <a:pt x="1120471" y="905414"/>
                </a:lnTo>
                <a:lnTo>
                  <a:pt x="1120471" y="1597082"/>
                </a:lnTo>
                <a:lnTo>
                  <a:pt x="969270" y="1597082"/>
                </a:lnTo>
                <a:lnTo>
                  <a:pt x="969270" y="905414"/>
                </a:lnTo>
                <a:lnTo>
                  <a:pt x="56389" y="905414"/>
                </a:lnTo>
                <a:lnTo>
                  <a:pt x="56389" y="754213"/>
                </a:lnTo>
                <a:lnTo>
                  <a:pt x="56637" y="754213"/>
                </a:lnTo>
                <a:lnTo>
                  <a:pt x="56637" y="113273"/>
                </a:lnTo>
                <a:close/>
              </a:path>
            </a:pathLst>
          </a:custGeom>
          <a:solidFill>
            <a:schemeClr val="bg1"/>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765">
              <a:solidFill>
                <a:srgbClr val="FFFFFF"/>
              </a:solidFill>
              <a:latin typeface="Segoe UI"/>
            </a:endParaRPr>
          </a:p>
        </p:txBody>
      </p:sp>
      <p:sp>
        <p:nvSpPr>
          <p:cNvPr id="6" name="Rectangle 5"/>
          <p:cNvSpPr/>
          <p:nvPr/>
        </p:nvSpPr>
        <p:spPr>
          <a:xfrm>
            <a:off x="6574894" y="3059983"/>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 name="Rectangle 6"/>
          <p:cNvSpPr/>
          <p:nvPr/>
        </p:nvSpPr>
        <p:spPr>
          <a:xfrm>
            <a:off x="4686468" y="3065186"/>
            <a:ext cx="1344637" cy="824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Event Hubs</a:t>
            </a:r>
          </a:p>
        </p:txBody>
      </p:sp>
      <p:sp>
        <p:nvSpPr>
          <p:cNvPr id="8" name="Right Arrow 7"/>
          <p:cNvSpPr/>
          <p:nvPr/>
        </p:nvSpPr>
        <p:spPr>
          <a:xfrm>
            <a:off x="2032857" y="3653088"/>
            <a:ext cx="2686040" cy="222093"/>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9" name="Left Arrow 8"/>
          <p:cNvSpPr/>
          <p:nvPr/>
        </p:nvSpPr>
        <p:spPr>
          <a:xfrm flipH="1">
            <a:off x="6033422" y="3086746"/>
            <a:ext cx="3001536" cy="262009"/>
          </a:xfrm>
          <a:prstGeom prst="leftArrow">
            <a:avLst>
              <a:gd name="adj1" fmla="val 50000"/>
              <a:gd name="adj2" fmla="val 442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nvGrpSpPr>
          <p:cNvPr id="13" name="Group 12"/>
          <p:cNvGrpSpPr/>
          <p:nvPr/>
        </p:nvGrpSpPr>
        <p:grpSpPr>
          <a:xfrm>
            <a:off x="7178071" y="1150854"/>
            <a:ext cx="675293" cy="697886"/>
            <a:chOff x="8192767" y="3371973"/>
            <a:chExt cx="688834" cy="711880"/>
          </a:xfrm>
        </p:grpSpPr>
        <p:sp>
          <p:nvSpPr>
            <p:cNvPr id="14" name="Freeform 13"/>
            <p:cNvSpPr/>
            <p:nvPr/>
          </p:nvSpPr>
          <p:spPr>
            <a:xfrm>
              <a:off x="8394934" y="3371973"/>
              <a:ext cx="347731" cy="481604"/>
            </a:xfrm>
            <a:custGeom>
              <a:avLst/>
              <a:gdLst>
                <a:gd name="connsiteX0" fmla="*/ 495093 w 1652502"/>
                <a:gd name="connsiteY0" fmla="*/ 984562 h 2288697"/>
                <a:gd name="connsiteX1" fmla="*/ 510394 w 1652502"/>
                <a:gd name="connsiteY1" fmla="*/ 1022985 h 2288697"/>
                <a:gd name="connsiteX2" fmla="*/ 579548 w 1652502"/>
                <a:gd name="connsiteY2" fmla="*/ 1052778 h 2288697"/>
                <a:gd name="connsiteX3" fmla="*/ 648704 w 1652502"/>
                <a:gd name="connsiteY3" fmla="*/ 1022985 h 2288697"/>
                <a:gd name="connsiteX4" fmla="*/ 664004 w 1652502"/>
                <a:gd name="connsiteY4" fmla="*/ 984562 h 2288697"/>
                <a:gd name="connsiteX5" fmla="*/ 457975 w 1652502"/>
                <a:gd name="connsiteY5" fmla="*/ 859311 h 2288697"/>
                <a:gd name="connsiteX6" fmla="*/ 443024 w 1652502"/>
                <a:gd name="connsiteY6" fmla="*/ 874262 h 2288697"/>
                <a:gd name="connsiteX7" fmla="*/ 443024 w 1652502"/>
                <a:gd name="connsiteY7" fmla="*/ 934066 h 2288697"/>
                <a:gd name="connsiteX8" fmla="*/ 457975 w 1652502"/>
                <a:gd name="connsiteY8" fmla="*/ 949018 h 2288697"/>
                <a:gd name="connsiteX9" fmla="*/ 705098 w 1652502"/>
                <a:gd name="connsiteY9" fmla="*/ 949018 h 2288697"/>
                <a:gd name="connsiteX10" fmla="*/ 720049 w 1652502"/>
                <a:gd name="connsiteY10" fmla="*/ 934066 h 2288697"/>
                <a:gd name="connsiteX11" fmla="*/ 720049 w 1652502"/>
                <a:gd name="connsiteY11" fmla="*/ 874262 h 2288697"/>
                <a:gd name="connsiteX12" fmla="*/ 705098 w 1652502"/>
                <a:gd name="connsiteY12" fmla="*/ 859311 h 2288697"/>
                <a:gd name="connsiteX13" fmla="*/ 464017 w 1652502"/>
                <a:gd name="connsiteY13" fmla="*/ 741568 h 2288697"/>
                <a:gd name="connsiteX14" fmla="*/ 449065 w 1652502"/>
                <a:gd name="connsiteY14" fmla="*/ 756520 h 2288697"/>
                <a:gd name="connsiteX15" fmla="*/ 449065 w 1652502"/>
                <a:gd name="connsiteY15" fmla="*/ 816324 h 2288697"/>
                <a:gd name="connsiteX16" fmla="*/ 464017 w 1652502"/>
                <a:gd name="connsiteY16" fmla="*/ 831276 h 2288697"/>
                <a:gd name="connsiteX17" fmla="*/ 695085 w 1652502"/>
                <a:gd name="connsiteY17" fmla="*/ 831276 h 2288697"/>
                <a:gd name="connsiteX18" fmla="*/ 710036 w 1652502"/>
                <a:gd name="connsiteY18" fmla="*/ 816324 h 2288697"/>
                <a:gd name="connsiteX19" fmla="*/ 710036 w 1652502"/>
                <a:gd name="connsiteY19" fmla="*/ 756520 h 2288697"/>
                <a:gd name="connsiteX20" fmla="*/ 695085 w 1652502"/>
                <a:gd name="connsiteY20" fmla="*/ 741568 h 2288697"/>
                <a:gd name="connsiteX21" fmla="*/ 524092 w 1652502"/>
                <a:gd name="connsiteY21" fmla="*/ 345357 h 2288697"/>
                <a:gd name="connsiteX22" fmla="*/ 514774 w 1652502"/>
                <a:gd name="connsiteY22" fmla="*/ 400848 h 2288697"/>
                <a:gd name="connsiteX23" fmla="*/ 478910 w 1652502"/>
                <a:gd name="connsiteY23" fmla="*/ 414531 h 2288697"/>
                <a:gd name="connsiteX24" fmla="*/ 474144 w 1652502"/>
                <a:gd name="connsiteY24" fmla="*/ 452278 h 2288697"/>
                <a:gd name="connsiteX25" fmla="*/ 422104 w 1652502"/>
                <a:gd name="connsiteY25" fmla="*/ 473664 h 2288697"/>
                <a:gd name="connsiteX26" fmla="*/ 434934 w 1652502"/>
                <a:gd name="connsiteY26" fmla="*/ 379430 h 2288697"/>
                <a:gd name="connsiteX27" fmla="*/ 524092 w 1652502"/>
                <a:gd name="connsiteY27" fmla="*/ 345357 h 2288697"/>
                <a:gd name="connsiteX28" fmla="*/ 579552 w 1652502"/>
                <a:gd name="connsiteY28" fmla="*/ 267139 h 2288697"/>
                <a:gd name="connsiteX29" fmla="*/ 332851 w 1652502"/>
                <a:gd name="connsiteY29" fmla="*/ 516920 h 2288697"/>
                <a:gd name="connsiteX30" fmla="*/ 405109 w 1652502"/>
                <a:gd name="connsiteY30" fmla="*/ 693543 h 2288697"/>
                <a:gd name="connsiteX31" fmla="*/ 434392 w 1652502"/>
                <a:gd name="connsiteY31" fmla="*/ 713533 h 2288697"/>
                <a:gd name="connsiteX32" fmla="*/ 724711 w 1652502"/>
                <a:gd name="connsiteY32" fmla="*/ 713533 h 2288697"/>
                <a:gd name="connsiteX33" fmla="*/ 753996 w 1652502"/>
                <a:gd name="connsiteY33" fmla="*/ 693543 h 2288697"/>
                <a:gd name="connsiteX34" fmla="*/ 826252 w 1652502"/>
                <a:gd name="connsiteY34" fmla="*/ 516920 h 2288697"/>
                <a:gd name="connsiteX35" fmla="*/ 579552 w 1652502"/>
                <a:gd name="connsiteY35" fmla="*/ 267139 h 2288697"/>
                <a:gd name="connsiteX36" fmla="*/ 723805 w 1652502"/>
                <a:gd name="connsiteY36" fmla="*/ 52 h 2288697"/>
                <a:gd name="connsiteX37" fmla="*/ 1427904 w 1652502"/>
                <a:gd name="connsiteY37" fmla="*/ 423531 h 2288697"/>
                <a:gd name="connsiteX38" fmla="*/ 1524845 w 1652502"/>
                <a:gd name="connsiteY38" fmla="*/ 714353 h 2288697"/>
                <a:gd name="connsiteX39" fmla="*/ 1478926 w 1652502"/>
                <a:gd name="connsiteY39" fmla="*/ 887826 h 2288697"/>
                <a:gd name="connsiteX40" fmla="*/ 1652399 w 1652502"/>
                <a:gd name="connsiteY40" fmla="*/ 1188853 h 2288697"/>
                <a:gd name="connsiteX41" fmla="*/ 1504436 w 1652502"/>
                <a:gd name="connsiteY41" fmla="*/ 1270488 h 2288697"/>
                <a:gd name="connsiteX42" fmla="*/ 1509539 w 1652502"/>
                <a:gd name="connsiteY42" fmla="*/ 1392939 h 2288697"/>
                <a:gd name="connsiteX43" fmla="*/ 1478926 w 1652502"/>
                <a:gd name="connsiteY43" fmla="*/ 1428654 h 2288697"/>
                <a:gd name="connsiteX44" fmla="*/ 1494232 w 1652502"/>
                <a:gd name="connsiteY44" fmla="*/ 1454164 h 2288697"/>
                <a:gd name="connsiteX45" fmla="*/ 1412598 w 1652502"/>
                <a:gd name="connsiteY45" fmla="*/ 1530697 h 2288697"/>
                <a:gd name="connsiteX46" fmla="*/ 1392189 w 1652502"/>
                <a:gd name="connsiteY46" fmla="*/ 1760294 h 2288697"/>
                <a:gd name="connsiteX47" fmla="*/ 1019731 w 1652502"/>
                <a:gd name="connsiteY47" fmla="*/ 1790907 h 2288697"/>
                <a:gd name="connsiteX48" fmla="*/ 1121774 w 1652502"/>
                <a:gd name="connsiteY48" fmla="*/ 2280713 h 2288697"/>
                <a:gd name="connsiteX49" fmla="*/ 19707 w 1652502"/>
                <a:gd name="connsiteY49" fmla="*/ 2280713 h 2288697"/>
                <a:gd name="connsiteX50" fmla="*/ 269713 w 1652502"/>
                <a:gd name="connsiteY50" fmla="*/ 1673557 h 2288697"/>
                <a:gd name="connsiteX51" fmla="*/ 4400 w 1652502"/>
                <a:gd name="connsiteY51" fmla="*/ 790886 h 2288697"/>
                <a:gd name="connsiteX52" fmla="*/ 221376 w 1652502"/>
                <a:gd name="connsiteY52" fmla="*/ 225208 h 2288697"/>
                <a:gd name="connsiteX53" fmla="*/ 221376 w 1652502"/>
                <a:gd name="connsiteY53" fmla="*/ 224999 h 2288697"/>
                <a:gd name="connsiteX54" fmla="*/ 221622 w 1652502"/>
                <a:gd name="connsiteY54" fmla="*/ 224999 h 2288697"/>
                <a:gd name="connsiteX55" fmla="*/ 723805 w 1652502"/>
                <a:gd name="connsiteY55" fmla="*/ 52 h 228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52502" h="2288697">
                  <a:moveTo>
                    <a:pt x="495093" y="984562"/>
                  </a:moveTo>
                  <a:lnTo>
                    <a:pt x="510394" y="1022985"/>
                  </a:lnTo>
                  <a:cubicBezTo>
                    <a:pt x="528093" y="1041394"/>
                    <a:pt x="552541" y="1052778"/>
                    <a:pt x="579548" y="1052778"/>
                  </a:cubicBezTo>
                  <a:cubicBezTo>
                    <a:pt x="606555" y="1052778"/>
                    <a:pt x="631005" y="1041394"/>
                    <a:pt x="648704" y="1022985"/>
                  </a:cubicBezTo>
                  <a:lnTo>
                    <a:pt x="664004" y="984562"/>
                  </a:lnTo>
                  <a:close/>
                  <a:moveTo>
                    <a:pt x="457975" y="859311"/>
                  </a:moveTo>
                  <a:cubicBezTo>
                    <a:pt x="449719" y="859311"/>
                    <a:pt x="443024" y="866005"/>
                    <a:pt x="443024" y="874262"/>
                  </a:cubicBezTo>
                  <a:lnTo>
                    <a:pt x="443024" y="934066"/>
                  </a:lnTo>
                  <a:cubicBezTo>
                    <a:pt x="443024" y="942323"/>
                    <a:pt x="449719" y="949018"/>
                    <a:pt x="457975" y="949018"/>
                  </a:cubicBezTo>
                  <a:lnTo>
                    <a:pt x="705098" y="949018"/>
                  </a:lnTo>
                  <a:cubicBezTo>
                    <a:pt x="713354" y="949018"/>
                    <a:pt x="720049" y="942323"/>
                    <a:pt x="720049" y="934066"/>
                  </a:cubicBezTo>
                  <a:lnTo>
                    <a:pt x="720049" y="874262"/>
                  </a:lnTo>
                  <a:cubicBezTo>
                    <a:pt x="720049" y="866005"/>
                    <a:pt x="713354" y="859311"/>
                    <a:pt x="705098" y="859311"/>
                  </a:cubicBezTo>
                  <a:close/>
                  <a:moveTo>
                    <a:pt x="464017" y="741568"/>
                  </a:moveTo>
                  <a:cubicBezTo>
                    <a:pt x="455760" y="741568"/>
                    <a:pt x="449065" y="748263"/>
                    <a:pt x="449065" y="756520"/>
                  </a:cubicBezTo>
                  <a:lnTo>
                    <a:pt x="449065" y="816324"/>
                  </a:lnTo>
                  <a:cubicBezTo>
                    <a:pt x="449065" y="824581"/>
                    <a:pt x="455760" y="831276"/>
                    <a:pt x="464017" y="831276"/>
                  </a:cubicBezTo>
                  <a:lnTo>
                    <a:pt x="695085" y="831276"/>
                  </a:lnTo>
                  <a:cubicBezTo>
                    <a:pt x="703342" y="831276"/>
                    <a:pt x="710036" y="824581"/>
                    <a:pt x="710036" y="816324"/>
                  </a:cubicBezTo>
                  <a:lnTo>
                    <a:pt x="710036" y="756520"/>
                  </a:lnTo>
                  <a:cubicBezTo>
                    <a:pt x="710036" y="748263"/>
                    <a:pt x="703342" y="741568"/>
                    <a:pt x="695085" y="741568"/>
                  </a:cubicBezTo>
                  <a:close/>
                  <a:moveTo>
                    <a:pt x="524092" y="345357"/>
                  </a:moveTo>
                  <a:lnTo>
                    <a:pt x="514774" y="400848"/>
                  </a:lnTo>
                  <a:cubicBezTo>
                    <a:pt x="501133" y="398236"/>
                    <a:pt x="487327" y="403504"/>
                    <a:pt x="478910" y="414531"/>
                  </a:cubicBezTo>
                  <a:cubicBezTo>
                    <a:pt x="470760" y="425207"/>
                    <a:pt x="468940" y="439617"/>
                    <a:pt x="474144" y="452278"/>
                  </a:cubicBezTo>
                  <a:lnTo>
                    <a:pt x="422104" y="473664"/>
                  </a:lnTo>
                  <a:cubicBezTo>
                    <a:pt x="409135" y="442105"/>
                    <a:pt x="414041" y="406074"/>
                    <a:pt x="434934" y="379430"/>
                  </a:cubicBezTo>
                  <a:cubicBezTo>
                    <a:pt x="456099" y="352439"/>
                    <a:pt x="490304" y="339368"/>
                    <a:pt x="524092" y="345357"/>
                  </a:cubicBezTo>
                  <a:close/>
                  <a:moveTo>
                    <a:pt x="579552" y="267139"/>
                  </a:moveTo>
                  <a:cubicBezTo>
                    <a:pt x="443302" y="267139"/>
                    <a:pt x="332851" y="378970"/>
                    <a:pt x="332851" y="516920"/>
                  </a:cubicBezTo>
                  <a:cubicBezTo>
                    <a:pt x="332851" y="585896"/>
                    <a:pt x="360465" y="648341"/>
                    <a:pt x="405109" y="693543"/>
                  </a:cubicBezTo>
                  <a:lnTo>
                    <a:pt x="434392" y="713533"/>
                  </a:lnTo>
                  <a:lnTo>
                    <a:pt x="724711" y="713533"/>
                  </a:lnTo>
                  <a:lnTo>
                    <a:pt x="753996" y="693543"/>
                  </a:lnTo>
                  <a:cubicBezTo>
                    <a:pt x="798641" y="648341"/>
                    <a:pt x="826252" y="585896"/>
                    <a:pt x="826252" y="516920"/>
                  </a:cubicBezTo>
                  <a:cubicBezTo>
                    <a:pt x="826252" y="378970"/>
                    <a:pt x="715801" y="267139"/>
                    <a:pt x="579552" y="267139"/>
                  </a:cubicBezTo>
                  <a:close/>
                  <a:moveTo>
                    <a:pt x="723805" y="52"/>
                  </a:moveTo>
                  <a:cubicBezTo>
                    <a:pt x="1078406" y="5153"/>
                    <a:pt x="1360726" y="212642"/>
                    <a:pt x="1427904" y="423531"/>
                  </a:cubicBezTo>
                  <a:cubicBezTo>
                    <a:pt x="1495083" y="634419"/>
                    <a:pt x="1426204" y="456695"/>
                    <a:pt x="1524845" y="714353"/>
                  </a:cubicBezTo>
                  <a:cubicBezTo>
                    <a:pt x="1536751" y="824050"/>
                    <a:pt x="1457667" y="808742"/>
                    <a:pt x="1478926" y="887826"/>
                  </a:cubicBezTo>
                  <a:cubicBezTo>
                    <a:pt x="1500185" y="966909"/>
                    <a:pt x="1648147" y="1125076"/>
                    <a:pt x="1652399" y="1188853"/>
                  </a:cubicBezTo>
                  <a:cubicBezTo>
                    <a:pt x="1656652" y="1252630"/>
                    <a:pt x="1528247" y="1236473"/>
                    <a:pt x="1504436" y="1270488"/>
                  </a:cubicBezTo>
                  <a:cubicBezTo>
                    <a:pt x="1480626" y="1304502"/>
                    <a:pt x="1513790" y="1366578"/>
                    <a:pt x="1509539" y="1392939"/>
                  </a:cubicBezTo>
                  <a:cubicBezTo>
                    <a:pt x="1505287" y="1419300"/>
                    <a:pt x="1481478" y="1418449"/>
                    <a:pt x="1478926" y="1428654"/>
                  </a:cubicBezTo>
                  <a:cubicBezTo>
                    <a:pt x="1476375" y="1438858"/>
                    <a:pt x="1505287" y="1437158"/>
                    <a:pt x="1494232" y="1454164"/>
                  </a:cubicBezTo>
                  <a:cubicBezTo>
                    <a:pt x="1483178" y="1471172"/>
                    <a:pt x="1429604" y="1479676"/>
                    <a:pt x="1412598" y="1530697"/>
                  </a:cubicBezTo>
                  <a:cubicBezTo>
                    <a:pt x="1395591" y="1581719"/>
                    <a:pt x="1534200" y="1706721"/>
                    <a:pt x="1392189" y="1760294"/>
                  </a:cubicBezTo>
                  <a:cubicBezTo>
                    <a:pt x="1250180" y="1813867"/>
                    <a:pt x="1064800" y="1704171"/>
                    <a:pt x="1019731" y="1790907"/>
                  </a:cubicBezTo>
                  <a:cubicBezTo>
                    <a:pt x="974662" y="1877644"/>
                    <a:pt x="918538" y="2029007"/>
                    <a:pt x="1121774" y="2280713"/>
                  </a:cubicBezTo>
                  <a:cubicBezTo>
                    <a:pt x="830101" y="2277312"/>
                    <a:pt x="266310" y="2300271"/>
                    <a:pt x="19707" y="2280713"/>
                  </a:cubicBezTo>
                  <a:cubicBezTo>
                    <a:pt x="79231" y="2097886"/>
                    <a:pt x="272264" y="1921862"/>
                    <a:pt x="269713" y="1673557"/>
                  </a:cubicBezTo>
                  <a:cubicBezTo>
                    <a:pt x="267162" y="1425252"/>
                    <a:pt x="56272" y="1217766"/>
                    <a:pt x="4400" y="790886"/>
                  </a:cubicBezTo>
                  <a:cubicBezTo>
                    <a:pt x="-22078" y="572989"/>
                    <a:pt x="73526" y="370157"/>
                    <a:pt x="221376" y="225208"/>
                  </a:cubicBezTo>
                  <a:lnTo>
                    <a:pt x="221376" y="224999"/>
                  </a:lnTo>
                  <a:lnTo>
                    <a:pt x="221622" y="224999"/>
                  </a:lnTo>
                  <a:cubicBezTo>
                    <a:pt x="361936" y="84636"/>
                    <a:pt x="550302" y="-2445"/>
                    <a:pt x="723805" y="52"/>
                  </a:cubicBezTo>
                  <a:close/>
                </a:path>
              </a:pathLst>
            </a:custGeom>
            <a:solidFill>
              <a:srgbClr val="FFFFFF"/>
            </a:solidFill>
            <a:ln w="10795" cap="flat" cmpd="sng" algn="ctr">
              <a:noFill/>
              <a:prstDash val="solid"/>
            </a:ln>
            <a:effectLst/>
          </p:spPr>
          <p:txBody>
            <a:bodyPr wrap="square" lIns="117173" tIns="58586" rIns="1406085" bIns="58586" rtlCol="0" anchor="ctr">
              <a:noAutofit/>
            </a:bodyPr>
            <a:lstStyle/>
            <a:p>
              <a:pPr defTabSz="1194562">
                <a:defRPr/>
              </a:pPr>
              <a:endParaRPr lang="en-US" sz="2819" kern="0">
                <a:solidFill>
                  <a:srgbClr val="FFFFFF"/>
                </a:solidFill>
                <a:latin typeface="Segoe UI Light"/>
              </a:endParaRPr>
            </a:p>
          </p:txBody>
        </p:sp>
        <p:sp>
          <p:nvSpPr>
            <p:cNvPr id="15" name="TextBox 14"/>
            <p:cNvSpPr txBox="1"/>
            <p:nvPr/>
          </p:nvSpPr>
          <p:spPr>
            <a:xfrm>
              <a:off x="8192767" y="3806854"/>
              <a:ext cx="688834" cy="276999"/>
            </a:xfrm>
            <a:prstGeom prst="rect">
              <a:avLst/>
            </a:prstGeom>
            <a:noFill/>
          </p:spPr>
          <p:txBody>
            <a:bodyPr wrap="square" rtlCol="0">
              <a:spAutoFit/>
            </a:bodyPr>
            <a:lstStyle/>
            <a:p>
              <a:pPr defTabSz="914367"/>
              <a:r>
                <a:rPr lang="en-US" sz="1176" dirty="0">
                  <a:solidFill>
                    <a:srgbClr val="FFFFFF">
                      <a:lumMod val="85000"/>
                    </a:srgbClr>
                  </a:solidFill>
                  <a:latin typeface="Segoe UI"/>
                </a:rPr>
                <a:t>analyze</a:t>
              </a:r>
            </a:p>
          </p:txBody>
        </p:sp>
      </p:grpSp>
      <p:grpSp>
        <p:nvGrpSpPr>
          <p:cNvPr id="16" name="Group 15"/>
          <p:cNvGrpSpPr/>
          <p:nvPr/>
        </p:nvGrpSpPr>
        <p:grpSpPr>
          <a:xfrm>
            <a:off x="4118262" y="1140660"/>
            <a:ext cx="1072883" cy="898480"/>
            <a:chOff x="4060034" y="3353693"/>
            <a:chExt cx="1094397" cy="916496"/>
          </a:xfrm>
        </p:grpSpPr>
        <p:sp>
          <p:nvSpPr>
            <p:cNvPr id="17" name="TextBox 16"/>
            <p:cNvSpPr txBox="1"/>
            <p:nvPr/>
          </p:nvSpPr>
          <p:spPr>
            <a:xfrm>
              <a:off x="4060034" y="3806854"/>
              <a:ext cx="1094397" cy="463335"/>
            </a:xfrm>
            <a:prstGeom prst="rect">
              <a:avLst/>
            </a:prstGeom>
            <a:noFill/>
          </p:spPr>
          <p:txBody>
            <a:bodyPr wrap="square" rtlCol="0">
              <a:spAutoFit/>
            </a:bodyPr>
            <a:lstStyle/>
            <a:p>
              <a:pPr defTabSz="914367"/>
              <a:r>
                <a:rPr lang="en-US" sz="1176" dirty="0">
                  <a:solidFill>
                    <a:srgbClr val="FFFFFF">
                      <a:lumMod val="85000"/>
                    </a:srgbClr>
                  </a:solidFill>
                  <a:latin typeface="Segoe UI"/>
                </a:rPr>
                <a:t>communicate</a:t>
              </a:r>
            </a:p>
          </p:txBody>
        </p:sp>
        <p:sp>
          <p:nvSpPr>
            <p:cNvPr id="18" name="Freeform 17"/>
            <p:cNvSpPr/>
            <p:nvPr/>
          </p:nvSpPr>
          <p:spPr>
            <a:xfrm>
              <a:off x="4317147" y="3353693"/>
              <a:ext cx="576710" cy="468157"/>
            </a:xfrm>
            <a:custGeom>
              <a:avLst/>
              <a:gdLst>
                <a:gd name="connsiteX0" fmla="*/ 5492 w 4380858"/>
                <a:gd name="connsiteY0" fmla="*/ 1242275 h 3556251"/>
                <a:gd name="connsiteX1" fmla="*/ 657438 w 4380858"/>
                <a:gd name="connsiteY1" fmla="*/ 1242275 h 3556251"/>
                <a:gd name="connsiteX2" fmla="*/ 657438 w 4380858"/>
                <a:gd name="connsiteY2" fmla="*/ 2986868 h 3556251"/>
                <a:gd name="connsiteX3" fmla="*/ 3723420 w 4380858"/>
                <a:gd name="connsiteY3" fmla="*/ 2986868 h 3556251"/>
                <a:gd name="connsiteX4" fmla="*/ 3723420 w 4380858"/>
                <a:gd name="connsiteY4" fmla="*/ 1242275 h 3556251"/>
                <a:gd name="connsiteX5" fmla="*/ 4375366 w 4380858"/>
                <a:gd name="connsiteY5" fmla="*/ 1242275 h 3556251"/>
                <a:gd name="connsiteX6" fmla="*/ 4380858 w 4380858"/>
                <a:gd name="connsiteY6" fmla="*/ 3256323 h 3556251"/>
                <a:gd name="connsiteX7" fmla="*/ 4098982 w 4380858"/>
                <a:gd name="connsiteY7" fmla="*/ 3553855 h 3556251"/>
                <a:gd name="connsiteX8" fmla="*/ 3895177 w 4380858"/>
                <a:gd name="connsiteY8" fmla="*/ 3555150 h 3556251"/>
                <a:gd name="connsiteX9" fmla="*/ 3895177 w 4380858"/>
                <a:gd name="connsiteY9" fmla="*/ 3556251 h 3556251"/>
                <a:gd name="connsiteX10" fmla="*/ 384394 w 4380858"/>
                <a:gd name="connsiteY10" fmla="*/ 3556251 h 3556251"/>
                <a:gd name="connsiteX11" fmla="*/ 384394 w 4380858"/>
                <a:gd name="connsiteY11" fmla="*/ 3554505 h 3556251"/>
                <a:gd name="connsiteX12" fmla="*/ 281876 w 4380858"/>
                <a:gd name="connsiteY12" fmla="*/ 3553855 h 3556251"/>
                <a:gd name="connsiteX13" fmla="*/ 0 w 4380858"/>
                <a:gd name="connsiteY13" fmla="*/ 3256323 h 3556251"/>
                <a:gd name="connsiteX14" fmla="*/ 1341678 w 4380858"/>
                <a:gd name="connsiteY14" fmla="*/ 51664 h 3556251"/>
                <a:gd name="connsiteX15" fmla="*/ 2043834 w 4380858"/>
                <a:gd name="connsiteY15" fmla="*/ 51664 h 3556251"/>
                <a:gd name="connsiteX16" fmla="*/ 2043834 w 4380858"/>
                <a:gd name="connsiteY16" fmla="*/ 1455979 h 3556251"/>
                <a:gd name="connsiteX17" fmla="*/ 2394913 w 4380858"/>
                <a:gd name="connsiteY17" fmla="*/ 1455979 h 3556251"/>
                <a:gd name="connsiteX18" fmla="*/ 1692756 w 4380858"/>
                <a:gd name="connsiteY18" fmla="*/ 2158136 h 3556251"/>
                <a:gd name="connsiteX19" fmla="*/ 990600 w 4380858"/>
                <a:gd name="connsiteY19" fmla="*/ 1455979 h 3556251"/>
                <a:gd name="connsiteX20" fmla="*/ 1341678 w 4380858"/>
                <a:gd name="connsiteY20" fmla="*/ 1455979 h 3556251"/>
                <a:gd name="connsiteX21" fmla="*/ 2835756 w 4380858"/>
                <a:gd name="connsiteY21" fmla="*/ 0 h 3556251"/>
                <a:gd name="connsiteX22" fmla="*/ 3537913 w 4380858"/>
                <a:gd name="connsiteY22" fmla="*/ 702157 h 3556251"/>
                <a:gd name="connsiteX23" fmla="*/ 3186834 w 4380858"/>
                <a:gd name="connsiteY23" fmla="*/ 702157 h 3556251"/>
                <a:gd name="connsiteX24" fmla="*/ 3186834 w 4380858"/>
                <a:gd name="connsiteY24" fmla="*/ 2106472 h 3556251"/>
                <a:gd name="connsiteX25" fmla="*/ 2484678 w 4380858"/>
                <a:gd name="connsiteY25" fmla="*/ 2106472 h 3556251"/>
                <a:gd name="connsiteX26" fmla="*/ 2484678 w 4380858"/>
                <a:gd name="connsiteY26" fmla="*/ 702157 h 3556251"/>
                <a:gd name="connsiteX27" fmla="*/ 2133600 w 4380858"/>
                <a:gd name="connsiteY27" fmla="*/ 702157 h 3556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80858" h="3556251">
                  <a:moveTo>
                    <a:pt x="5492" y="1242275"/>
                  </a:moveTo>
                  <a:lnTo>
                    <a:pt x="657438" y="1242275"/>
                  </a:lnTo>
                  <a:lnTo>
                    <a:pt x="657438" y="2986868"/>
                  </a:lnTo>
                  <a:lnTo>
                    <a:pt x="3723420" y="2986868"/>
                  </a:lnTo>
                  <a:lnTo>
                    <a:pt x="3723420" y="1242275"/>
                  </a:lnTo>
                  <a:lnTo>
                    <a:pt x="4375366" y="1242275"/>
                  </a:lnTo>
                  <a:lnTo>
                    <a:pt x="4380858" y="3256323"/>
                  </a:lnTo>
                  <a:cubicBezTo>
                    <a:pt x="4101645" y="3552441"/>
                    <a:pt x="4379375" y="3258899"/>
                    <a:pt x="4098982" y="3553855"/>
                  </a:cubicBezTo>
                  <a:lnTo>
                    <a:pt x="3895177" y="3555150"/>
                  </a:lnTo>
                  <a:lnTo>
                    <a:pt x="3895177" y="3556251"/>
                  </a:lnTo>
                  <a:lnTo>
                    <a:pt x="384394" y="3556251"/>
                  </a:lnTo>
                  <a:lnTo>
                    <a:pt x="384394" y="3554505"/>
                  </a:lnTo>
                  <a:lnTo>
                    <a:pt x="281876" y="3553855"/>
                  </a:lnTo>
                  <a:cubicBezTo>
                    <a:pt x="1484" y="3258899"/>
                    <a:pt x="279213" y="3552441"/>
                    <a:pt x="0" y="3256323"/>
                  </a:cubicBezTo>
                  <a:close/>
                  <a:moveTo>
                    <a:pt x="1341678" y="51664"/>
                  </a:moveTo>
                  <a:lnTo>
                    <a:pt x="2043834" y="51664"/>
                  </a:lnTo>
                  <a:lnTo>
                    <a:pt x="2043834" y="1455979"/>
                  </a:lnTo>
                  <a:lnTo>
                    <a:pt x="2394913" y="1455979"/>
                  </a:lnTo>
                  <a:lnTo>
                    <a:pt x="1692756" y="2158136"/>
                  </a:lnTo>
                  <a:lnTo>
                    <a:pt x="990600" y="1455979"/>
                  </a:lnTo>
                  <a:lnTo>
                    <a:pt x="1341678" y="1455979"/>
                  </a:lnTo>
                  <a:close/>
                  <a:moveTo>
                    <a:pt x="2835756" y="0"/>
                  </a:moveTo>
                  <a:lnTo>
                    <a:pt x="3537913" y="702157"/>
                  </a:lnTo>
                  <a:lnTo>
                    <a:pt x="3186834" y="702157"/>
                  </a:lnTo>
                  <a:lnTo>
                    <a:pt x="3186834" y="2106472"/>
                  </a:lnTo>
                  <a:lnTo>
                    <a:pt x="2484678" y="2106472"/>
                  </a:lnTo>
                  <a:lnTo>
                    <a:pt x="2484678" y="702157"/>
                  </a:lnTo>
                  <a:lnTo>
                    <a:pt x="2133600" y="702157"/>
                  </a:lnTo>
                  <a:close/>
                </a:path>
              </a:pathLst>
            </a:custGeom>
            <a:solidFill>
              <a:srgbClr val="FFFFFF"/>
            </a:solidFill>
            <a:ln w="10795" cap="flat" cmpd="sng" algn="ctr">
              <a:noFill/>
              <a:prstDash val="solid"/>
            </a:ln>
            <a:effectLst/>
          </p:spPr>
          <p:txBody>
            <a:bodyPr wrap="square" lIns="117173" tIns="58586" rIns="1406085" bIns="58586" rtlCol="0" anchor="ctr">
              <a:noAutofit/>
            </a:bodyPr>
            <a:lstStyle/>
            <a:p>
              <a:pPr defTabSz="1194562"/>
              <a:endParaRPr lang="en-US" sz="2819" kern="0">
                <a:solidFill>
                  <a:srgbClr val="FFFFFF"/>
                </a:solidFill>
                <a:latin typeface="Segoe UI Light"/>
              </a:endParaRPr>
            </a:p>
          </p:txBody>
        </p:sp>
      </p:grpSp>
      <p:sp>
        <p:nvSpPr>
          <p:cNvPr id="41" name="Rectangle 40"/>
          <p:cNvSpPr/>
          <p:nvPr/>
        </p:nvSpPr>
        <p:spPr>
          <a:xfrm>
            <a:off x="4669736" y="5665986"/>
            <a:ext cx="1344637" cy="8217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Topics</a:t>
            </a:r>
          </a:p>
        </p:txBody>
      </p:sp>
      <p:sp>
        <p:nvSpPr>
          <p:cNvPr id="42" name="Rectangle 41"/>
          <p:cNvSpPr/>
          <p:nvPr/>
        </p:nvSpPr>
        <p:spPr>
          <a:xfrm>
            <a:off x="9034959" y="4089546"/>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Table Storage</a:t>
            </a:r>
          </a:p>
        </p:txBody>
      </p:sp>
      <p:sp>
        <p:nvSpPr>
          <p:cNvPr id="43" name="Rectangle 42"/>
          <p:cNvSpPr/>
          <p:nvPr/>
        </p:nvSpPr>
        <p:spPr>
          <a:xfrm>
            <a:off x="9034959" y="3065186"/>
            <a:ext cx="1344637" cy="824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Blob Storage</a:t>
            </a:r>
          </a:p>
        </p:txBody>
      </p:sp>
      <p:sp>
        <p:nvSpPr>
          <p:cNvPr id="44" name="Rectangle 43"/>
          <p:cNvSpPr/>
          <p:nvPr/>
        </p:nvSpPr>
        <p:spPr>
          <a:xfrm>
            <a:off x="7576202" y="4927469"/>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Machine Learning</a:t>
            </a:r>
          </a:p>
        </p:txBody>
      </p:sp>
      <p:sp>
        <p:nvSpPr>
          <p:cNvPr id="45" name="Rectangle 44"/>
          <p:cNvSpPr/>
          <p:nvPr/>
        </p:nvSpPr>
        <p:spPr>
          <a:xfrm>
            <a:off x="6128397" y="4089546"/>
            <a:ext cx="1344637" cy="61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Stream Analytics</a:t>
            </a:r>
          </a:p>
        </p:txBody>
      </p:sp>
      <p:sp>
        <p:nvSpPr>
          <p:cNvPr id="47" name="Rectangle 46"/>
          <p:cNvSpPr/>
          <p:nvPr/>
        </p:nvSpPr>
        <p:spPr>
          <a:xfrm>
            <a:off x="3221836"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Collection</a:t>
            </a:r>
          </a:p>
        </p:txBody>
      </p:sp>
      <p:sp>
        <p:nvSpPr>
          <p:cNvPr id="48" name="Rectangle 47"/>
          <p:cNvSpPr/>
          <p:nvPr/>
        </p:nvSpPr>
        <p:spPr>
          <a:xfrm>
            <a:off x="4675117"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Event Queuing System</a:t>
            </a:r>
          </a:p>
        </p:txBody>
      </p:sp>
      <p:sp>
        <p:nvSpPr>
          <p:cNvPr id="49" name="Rectangle 48"/>
          <p:cNvSpPr/>
          <p:nvPr/>
        </p:nvSpPr>
        <p:spPr>
          <a:xfrm>
            <a:off x="6128397"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Transformation</a:t>
            </a:r>
          </a:p>
        </p:txBody>
      </p:sp>
      <p:sp>
        <p:nvSpPr>
          <p:cNvPr id="50" name="Rectangle 49"/>
          <p:cNvSpPr/>
          <p:nvPr/>
        </p:nvSpPr>
        <p:spPr>
          <a:xfrm>
            <a:off x="9034959"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Long-term storage</a:t>
            </a:r>
          </a:p>
        </p:txBody>
      </p:sp>
      <p:sp>
        <p:nvSpPr>
          <p:cNvPr id="51" name="Right Brace 50"/>
          <p:cNvSpPr/>
          <p:nvPr/>
        </p:nvSpPr>
        <p:spPr>
          <a:xfrm rot="16200000">
            <a:off x="4481973" y="674824"/>
            <a:ext cx="277647" cy="27979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52" name="Rectangle 51"/>
          <p:cNvSpPr/>
          <p:nvPr/>
        </p:nvSpPr>
        <p:spPr>
          <a:xfrm>
            <a:off x="7580120" y="2304240"/>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Analysis</a:t>
            </a:r>
          </a:p>
        </p:txBody>
      </p:sp>
      <p:sp>
        <p:nvSpPr>
          <p:cNvPr id="53" name="Left-Up Arrow 52"/>
          <p:cNvSpPr/>
          <p:nvPr/>
        </p:nvSpPr>
        <p:spPr>
          <a:xfrm rot="16200000" flipH="1" flipV="1">
            <a:off x="5657009" y="3448143"/>
            <a:ext cx="1484342" cy="2361881"/>
          </a:xfrm>
          <a:prstGeom prst="leftUpArrow">
            <a:avLst>
              <a:gd name="adj1" fmla="val 9597"/>
              <a:gd name="adj2" fmla="val 8775"/>
              <a:gd name="adj3" fmla="val 876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4" name="Rectangle 53"/>
          <p:cNvSpPr/>
          <p:nvPr/>
        </p:nvSpPr>
        <p:spPr>
          <a:xfrm>
            <a:off x="4968544" y="4303209"/>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5" name="Right Brace 54"/>
          <p:cNvSpPr/>
          <p:nvPr/>
        </p:nvSpPr>
        <p:spPr>
          <a:xfrm rot="16200000">
            <a:off x="7383821" y="674824"/>
            <a:ext cx="277647" cy="27979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56" name="Oval 55"/>
          <p:cNvSpPr/>
          <p:nvPr/>
        </p:nvSpPr>
        <p:spPr>
          <a:xfrm>
            <a:off x="2474815" y="3067359"/>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1</a:t>
            </a:r>
          </a:p>
        </p:txBody>
      </p:sp>
      <p:sp>
        <p:nvSpPr>
          <p:cNvPr id="57" name="Left-Up Arrow 56"/>
          <p:cNvSpPr/>
          <p:nvPr/>
        </p:nvSpPr>
        <p:spPr>
          <a:xfrm rot="16200000">
            <a:off x="6147469" y="3213150"/>
            <a:ext cx="762349" cy="990442"/>
          </a:xfrm>
          <a:prstGeom prst="leftUpArrow">
            <a:avLst>
              <a:gd name="adj1" fmla="val 16370"/>
              <a:gd name="adj2" fmla="val 20985"/>
              <a:gd name="adj3" fmla="val 20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9" name="Right Arrow 58"/>
          <p:cNvSpPr/>
          <p:nvPr/>
        </p:nvSpPr>
        <p:spPr>
          <a:xfrm>
            <a:off x="4474909" y="3367675"/>
            <a:ext cx="243988" cy="222093"/>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0" name="Oval 59"/>
          <p:cNvSpPr/>
          <p:nvPr/>
        </p:nvSpPr>
        <p:spPr>
          <a:xfrm>
            <a:off x="6317655" y="3029678"/>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2</a:t>
            </a:r>
          </a:p>
        </p:txBody>
      </p:sp>
      <p:sp>
        <p:nvSpPr>
          <p:cNvPr id="61" name="Oval 60"/>
          <p:cNvSpPr/>
          <p:nvPr/>
        </p:nvSpPr>
        <p:spPr>
          <a:xfrm>
            <a:off x="6583097" y="3474466"/>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3</a:t>
            </a:r>
          </a:p>
        </p:txBody>
      </p:sp>
      <p:sp>
        <p:nvSpPr>
          <p:cNvPr id="62" name="Oval 61"/>
          <p:cNvSpPr/>
          <p:nvPr/>
        </p:nvSpPr>
        <p:spPr>
          <a:xfrm>
            <a:off x="4867082" y="4297450"/>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4</a:t>
            </a:r>
          </a:p>
        </p:txBody>
      </p:sp>
      <p:sp>
        <p:nvSpPr>
          <p:cNvPr id="63" name="Bent-Up Arrow 62"/>
          <p:cNvSpPr/>
          <p:nvPr/>
        </p:nvSpPr>
        <p:spPr>
          <a:xfrm rot="5400000">
            <a:off x="7804693" y="3071428"/>
            <a:ext cx="1059558" cy="1404005"/>
          </a:xfrm>
          <a:prstGeom prst="bentUpArrow">
            <a:avLst>
              <a:gd name="adj1" fmla="val 11441"/>
              <a:gd name="adj2" fmla="val 10342"/>
              <a:gd name="adj3" fmla="val 1059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4" name="Oval 63"/>
          <p:cNvSpPr/>
          <p:nvPr/>
        </p:nvSpPr>
        <p:spPr>
          <a:xfrm>
            <a:off x="4194665" y="5847600"/>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5</a:t>
            </a:r>
          </a:p>
        </p:txBody>
      </p:sp>
      <p:sp>
        <p:nvSpPr>
          <p:cNvPr id="65" name="Left-Right Arrow 64"/>
          <p:cNvSpPr/>
          <p:nvPr/>
        </p:nvSpPr>
        <p:spPr>
          <a:xfrm>
            <a:off x="2024247" y="3372459"/>
            <a:ext cx="1203118" cy="224691"/>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6" name="Rectangle 65"/>
          <p:cNvSpPr/>
          <p:nvPr/>
        </p:nvSpPr>
        <p:spPr>
          <a:xfrm>
            <a:off x="6284621" y="5857092"/>
            <a:ext cx="747021" cy="282146"/>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882" dirty="0">
                <a:solidFill>
                  <a:srgbClr val="FFFFFF"/>
                </a:solidFill>
                <a:latin typeface="Segoe UI"/>
              </a:rPr>
              <a:t>Command&amp; Control</a:t>
            </a:r>
          </a:p>
        </p:txBody>
      </p:sp>
      <p:sp>
        <p:nvSpPr>
          <p:cNvPr id="68" name="Oval 67"/>
          <p:cNvSpPr/>
          <p:nvPr/>
        </p:nvSpPr>
        <p:spPr>
          <a:xfrm>
            <a:off x="9620216" y="5143974"/>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6</a:t>
            </a:r>
          </a:p>
        </p:txBody>
      </p:sp>
      <p:grpSp>
        <p:nvGrpSpPr>
          <p:cNvPr id="91" name="Group 90"/>
          <p:cNvGrpSpPr/>
          <p:nvPr/>
        </p:nvGrpSpPr>
        <p:grpSpPr>
          <a:xfrm>
            <a:off x="9456686" y="1212110"/>
            <a:ext cx="512533" cy="820539"/>
            <a:chOff x="9646312" y="1235919"/>
            <a:chExt cx="522810" cy="836993"/>
          </a:xfrm>
        </p:grpSpPr>
        <p:sp>
          <p:nvSpPr>
            <p:cNvPr id="12" name="TextBox 11"/>
            <p:cNvSpPr txBox="1"/>
            <p:nvPr/>
          </p:nvSpPr>
          <p:spPr>
            <a:xfrm>
              <a:off x="9646312" y="1609576"/>
              <a:ext cx="522810" cy="463336"/>
            </a:xfrm>
            <a:prstGeom prst="rect">
              <a:avLst/>
            </a:prstGeom>
            <a:noFill/>
          </p:spPr>
          <p:txBody>
            <a:bodyPr wrap="square" rtlCol="0">
              <a:spAutoFit/>
            </a:bodyPr>
            <a:lstStyle/>
            <a:p>
              <a:pPr defTabSz="914367"/>
              <a:r>
                <a:rPr lang="en-US" sz="1176" dirty="0">
                  <a:solidFill>
                    <a:srgbClr val="FFFFFF">
                      <a:lumMod val="85000"/>
                    </a:srgbClr>
                  </a:solidFill>
                  <a:latin typeface="Segoe UI"/>
                </a:rPr>
                <a:t>store</a:t>
              </a:r>
            </a:p>
          </p:txBody>
        </p:sp>
        <p:sp>
          <p:nvSpPr>
            <p:cNvPr id="90" name="Freeform 89"/>
            <p:cNvSpPr>
              <a:spLocks noChangeAspect="1"/>
            </p:cNvSpPr>
            <p:nvPr/>
          </p:nvSpPr>
          <p:spPr bwMode="black">
            <a:xfrm>
              <a:off x="9696155" y="1235919"/>
              <a:ext cx="411545" cy="408645"/>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0" name="Rectangular Callout 69"/>
          <p:cNvSpPr/>
          <p:nvPr/>
        </p:nvSpPr>
        <p:spPr bwMode="auto">
          <a:xfrm>
            <a:off x="5946596" y="4361224"/>
            <a:ext cx="3020210" cy="974005"/>
          </a:xfrm>
          <a:prstGeom prst="wedgeRectCallout">
            <a:avLst>
              <a:gd name="adj1" fmla="val 44175"/>
              <a:gd name="adj2" fmla="val -110702"/>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latin typeface="Segoe UI"/>
              </a:rPr>
              <a:t>Data Storage</a:t>
            </a:r>
          </a:p>
        </p:txBody>
      </p:sp>
      <p:sp>
        <p:nvSpPr>
          <p:cNvPr id="71" name="Freeform 3"/>
          <p:cNvSpPr/>
          <p:nvPr/>
        </p:nvSpPr>
        <p:spPr>
          <a:xfrm>
            <a:off x="9870323" y="5049050"/>
            <a:ext cx="558397" cy="489914"/>
          </a:xfrm>
          <a:custGeom>
            <a:avLst/>
            <a:gdLst>
              <a:gd name="connsiteX0" fmla="*/ 97536 w 3877056"/>
              <a:gd name="connsiteY0" fmla="*/ 91440 h 3401568"/>
              <a:gd name="connsiteX1" fmla="*/ 3877056 w 3877056"/>
              <a:gd name="connsiteY1" fmla="*/ 0 h 3401568"/>
              <a:gd name="connsiteX2" fmla="*/ 1292352 w 3877056"/>
              <a:gd name="connsiteY2" fmla="*/ 3401568 h 3401568"/>
              <a:gd name="connsiteX3" fmla="*/ 0 w 3877056"/>
              <a:gd name="connsiteY3" fmla="*/ 1286256 h 3401568"/>
              <a:gd name="connsiteX4" fmla="*/ 97536 w 3877056"/>
              <a:gd name="connsiteY4" fmla="*/ 91440 h 3401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6000" h="11520000">
                <a:moveTo>
                  <a:pt x="6156000" y="8136000"/>
                </a:moveTo>
                <a:lnTo>
                  <a:pt x="6156000" y="8568000"/>
                </a:lnTo>
                <a:lnTo>
                  <a:pt x="6156000" y="9216000"/>
                </a:lnTo>
                <a:lnTo>
                  <a:pt x="5940000" y="9180000"/>
                </a:lnTo>
                <a:cubicBezTo>
                  <a:pt x="5868000" y="9180000"/>
                  <a:pt x="5760000" y="9144000"/>
                  <a:pt x="5688000" y="9144000"/>
                </a:cubicBezTo>
                <a:cubicBezTo>
                  <a:pt x="5472000" y="9108000"/>
                  <a:pt x="5256000" y="9036000"/>
                  <a:pt x="5040000" y="8928000"/>
                </a:cubicBezTo>
                <a:cubicBezTo>
                  <a:pt x="4968000" y="8892000"/>
                  <a:pt x="4896000" y="8855999"/>
                  <a:pt x="4824000" y="8820000"/>
                </a:cubicBezTo>
                <a:lnTo>
                  <a:pt x="4716000" y="8784000"/>
                </a:lnTo>
                <a:lnTo>
                  <a:pt x="4608000" y="8748000"/>
                </a:lnTo>
                <a:lnTo>
                  <a:pt x="4500000" y="8712000"/>
                </a:lnTo>
                <a:lnTo>
                  <a:pt x="4392000" y="8640000"/>
                </a:lnTo>
                <a:cubicBezTo>
                  <a:pt x="4320000" y="8604000"/>
                  <a:pt x="4248000" y="8568000"/>
                  <a:pt x="4212000" y="8532000"/>
                </a:cubicBezTo>
                <a:cubicBezTo>
                  <a:pt x="3960000" y="8352000"/>
                  <a:pt x="3708000" y="8172000"/>
                  <a:pt x="3492000" y="7956000"/>
                </a:cubicBezTo>
                <a:cubicBezTo>
                  <a:pt x="3276000" y="7740000"/>
                  <a:pt x="3096000" y="7488000"/>
                  <a:pt x="2916000" y="7236000"/>
                </a:cubicBezTo>
                <a:cubicBezTo>
                  <a:pt x="2736000" y="6984000"/>
                  <a:pt x="2592000" y="6696000"/>
                  <a:pt x="2484000" y="6408000"/>
                </a:cubicBezTo>
                <a:cubicBezTo>
                  <a:pt x="2268000" y="5796000"/>
                  <a:pt x="2160000" y="5184001"/>
                  <a:pt x="2196000" y="4536000"/>
                </a:cubicBezTo>
                <a:cubicBezTo>
                  <a:pt x="2232000" y="3888000"/>
                  <a:pt x="2412000" y="3276000"/>
                  <a:pt x="2700000" y="2736000"/>
                </a:cubicBezTo>
                <a:cubicBezTo>
                  <a:pt x="2988000" y="2196000"/>
                  <a:pt x="3384000" y="1728000"/>
                  <a:pt x="3852000" y="1368000"/>
                </a:cubicBezTo>
                <a:cubicBezTo>
                  <a:pt x="4104000" y="1224000"/>
                  <a:pt x="4320000" y="1080000"/>
                  <a:pt x="4536000" y="936000"/>
                </a:cubicBezTo>
                <a:cubicBezTo>
                  <a:pt x="4788000" y="792000"/>
                  <a:pt x="5040000" y="720000"/>
                  <a:pt x="5256000" y="612000"/>
                </a:cubicBezTo>
                <a:cubicBezTo>
                  <a:pt x="5724000" y="432000"/>
                  <a:pt x="6192000" y="360000"/>
                  <a:pt x="6624000" y="360000"/>
                </a:cubicBezTo>
                <a:cubicBezTo>
                  <a:pt x="7055999" y="360000"/>
                  <a:pt x="7416000" y="396000"/>
                  <a:pt x="7704000" y="432000"/>
                </a:cubicBezTo>
                <a:cubicBezTo>
                  <a:pt x="7992000" y="468000"/>
                  <a:pt x="8244000" y="576000"/>
                  <a:pt x="8388000" y="612000"/>
                </a:cubicBezTo>
                <a:lnTo>
                  <a:pt x="8640000" y="720000"/>
                </a:lnTo>
                <a:lnTo>
                  <a:pt x="8712000" y="756000"/>
                </a:lnTo>
                <a:cubicBezTo>
                  <a:pt x="8748000" y="756000"/>
                  <a:pt x="8784001" y="756000"/>
                  <a:pt x="8784001" y="720000"/>
                </a:cubicBezTo>
                <a:cubicBezTo>
                  <a:pt x="8784001" y="684000"/>
                  <a:pt x="8784001" y="648000"/>
                  <a:pt x="8748000" y="648000"/>
                </a:cubicBezTo>
                <a:lnTo>
                  <a:pt x="8676000" y="612000"/>
                </a:lnTo>
                <a:lnTo>
                  <a:pt x="8496000" y="504000"/>
                </a:lnTo>
                <a:cubicBezTo>
                  <a:pt x="8352000" y="432000"/>
                  <a:pt x="8100000" y="324000"/>
                  <a:pt x="7812000" y="216000"/>
                </a:cubicBezTo>
                <a:cubicBezTo>
                  <a:pt x="7488000" y="108000"/>
                  <a:pt x="7128000" y="36000"/>
                  <a:pt x="6660000" y="0"/>
                </a:cubicBezTo>
                <a:cubicBezTo>
                  <a:pt x="6192000" y="-36000"/>
                  <a:pt x="5688000" y="0"/>
                  <a:pt x="5148000" y="144000"/>
                </a:cubicBezTo>
                <a:cubicBezTo>
                  <a:pt x="4608000" y="288000"/>
                  <a:pt x="4032000" y="504000"/>
                  <a:pt x="3492000" y="900000"/>
                </a:cubicBezTo>
                <a:cubicBezTo>
                  <a:pt x="2952000" y="1260000"/>
                  <a:pt x="2448000" y="1764000"/>
                  <a:pt x="2052000" y="2376000"/>
                </a:cubicBezTo>
                <a:cubicBezTo>
                  <a:pt x="1656000" y="2988000"/>
                  <a:pt x="1368000" y="3708000"/>
                  <a:pt x="1260000" y="4464000"/>
                </a:cubicBezTo>
                <a:cubicBezTo>
                  <a:pt x="1188000" y="4824000"/>
                  <a:pt x="1188000" y="5220000"/>
                  <a:pt x="1224000" y="5616000"/>
                </a:cubicBezTo>
                <a:cubicBezTo>
                  <a:pt x="1260000" y="6012000"/>
                  <a:pt x="1332000" y="6408000"/>
                  <a:pt x="1440000" y="6768000"/>
                </a:cubicBezTo>
                <a:cubicBezTo>
                  <a:pt x="1548000" y="7128000"/>
                  <a:pt x="1728000" y="7488000"/>
                  <a:pt x="1908000" y="7848000"/>
                </a:cubicBezTo>
                <a:cubicBezTo>
                  <a:pt x="2124000" y="8208000"/>
                  <a:pt x="2340000" y="8495999"/>
                  <a:pt x="2628000" y="8784000"/>
                </a:cubicBezTo>
                <a:cubicBezTo>
                  <a:pt x="2916000" y="9072000"/>
                  <a:pt x="3204000" y="9324000"/>
                  <a:pt x="3528000" y="9540000"/>
                </a:cubicBezTo>
                <a:cubicBezTo>
                  <a:pt x="3600000" y="9576000"/>
                  <a:pt x="3672000" y="9648000"/>
                  <a:pt x="3780000" y="9684000"/>
                </a:cubicBezTo>
                <a:lnTo>
                  <a:pt x="3888000" y="9756000"/>
                </a:lnTo>
                <a:lnTo>
                  <a:pt x="4032000" y="9828000"/>
                </a:lnTo>
                <a:lnTo>
                  <a:pt x="4140000" y="9900001"/>
                </a:lnTo>
                <a:lnTo>
                  <a:pt x="4284000" y="9972001"/>
                </a:lnTo>
                <a:cubicBezTo>
                  <a:pt x="4355999" y="10008001"/>
                  <a:pt x="4464000" y="10044001"/>
                  <a:pt x="4535999" y="10080001"/>
                </a:cubicBezTo>
                <a:cubicBezTo>
                  <a:pt x="4895999" y="10224001"/>
                  <a:pt x="5255999" y="10332001"/>
                  <a:pt x="5615999" y="10368000"/>
                </a:cubicBezTo>
                <a:cubicBezTo>
                  <a:pt x="5724000" y="10404001"/>
                  <a:pt x="5939999" y="10404001"/>
                  <a:pt x="6083999" y="10404001"/>
                </a:cubicBezTo>
                <a:lnTo>
                  <a:pt x="6083999" y="10440001"/>
                </a:lnTo>
                <a:lnTo>
                  <a:pt x="6083999" y="11520000"/>
                </a:lnTo>
                <a:lnTo>
                  <a:pt x="7703999" y="9828000"/>
                </a:lnTo>
                <a:lnTo>
                  <a:pt x="6156000" y="8136000"/>
                </a:lnTo>
                <a:close/>
                <a:moveTo>
                  <a:pt x="6624000" y="1260000"/>
                </a:moveTo>
                <a:cubicBezTo>
                  <a:pt x="4644000" y="1260000"/>
                  <a:pt x="3168000" y="2880000"/>
                  <a:pt x="3168000" y="4824000"/>
                </a:cubicBezTo>
                <a:cubicBezTo>
                  <a:pt x="3168000" y="6480000"/>
                  <a:pt x="4248000" y="7848000"/>
                  <a:pt x="5795999" y="8244000"/>
                </a:cubicBezTo>
                <a:lnTo>
                  <a:pt x="5795999" y="7920000"/>
                </a:lnTo>
                <a:cubicBezTo>
                  <a:pt x="5795999" y="7776000"/>
                  <a:pt x="5903999" y="7668000"/>
                  <a:pt x="6012000" y="7596000"/>
                </a:cubicBezTo>
                <a:cubicBezTo>
                  <a:pt x="6048000" y="7596000"/>
                  <a:pt x="5975999" y="7560000"/>
                  <a:pt x="6048000" y="7560000"/>
                </a:cubicBezTo>
                <a:cubicBezTo>
                  <a:pt x="6155999" y="7560000"/>
                  <a:pt x="6228000" y="7596000"/>
                  <a:pt x="6300000" y="7668000"/>
                </a:cubicBezTo>
                <a:lnTo>
                  <a:pt x="6984000" y="8352000"/>
                </a:lnTo>
                <a:cubicBezTo>
                  <a:pt x="8856000" y="8208000"/>
                  <a:pt x="10296000" y="6659999"/>
                  <a:pt x="10296000" y="4788000"/>
                </a:cubicBezTo>
                <a:cubicBezTo>
                  <a:pt x="10260000" y="2880000"/>
                  <a:pt x="8640000" y="1260000"/>
                  <a:pt x="6624000" y="1260000"/>
                </a:cubicBezTo>
                <a:close/>
                <a:moveTo>
                  <a:pt x="4104000" y="5256000"/>
                </a:moveTo>
                <a:cubicBezTo>
                  <a:pt x="3888000" y="5256000"/>
                  <a:pt x="3708000" y="5076000"/>
                  <a:pt x="3708000" y="4860000"/>
                </a:cubicBezTo>
                <a:cubicBezTo>
                  <a:pt x="3708000" y="4644000"/>
                  <a:pt x="3888000" y="4464000"/>
                  <a:pt x="4104000" y="4464000"/>
                </a:cubicBezTo>
                <a:cubicBezTo>
                  <a:pt x="4320000" y="4464000"/>
                  <a:pt x="4500000" y="4644000"/>
                  <a:pt x="4500000" y="4860000"/>
                </a:cubicBezTo>
                <a:cubicBezTo>
                  <a:pt x="4500000" y="5076000"/>
                  <a:pt x="4320000" y="5256000"/>
                  <a:pt x="4104000" y="5256000"/>
                </a:cubicBezTo>
                <a:close/>
                <a:moveTo>
                  <a:pt x="6660000" y="1692000"/>
                </a:moveTo>
                <a:cubicBezTo>
                  <a:pt x="6876000" y="1692000"/>
                  <a:pt x="7056000" y="1872000"/>
                  <a:pt x="7056000" y="2088000"/>
                </a:cubicBezTo>
                <a:cubicBezTo>
                  <a:pt x="7056000" y="2304000"/>
                  <a:pt x="6876000" y="2484000"/>
                  <a:pt x="6660000" y="2484000"/>
                </a:cubicBezTo>
                <a:cubicBezTo>
                  <a:pt x="6444000" y="2484000"/>
                  <a:pt x="6264000" y="2304000"/>
                  <a:pt x="6264000" y="2088000"/>
                </a:cubicBezTo>
                <a:cubicBezTo>
                  <a:pt x="6228000" y="1872000"/>
                  <a:pt x="6408000" y="1692000"/>
                  <a:pt x="6660000" y="1692000"/>
                </a:cubicBezTo>
                <a:close/>
                <a:moveTo>
                  <a:pt x="8712000" y="6732000"/>
                </a:moveTo>
                <a:cubicBezTo>
                  <a:pt x="8640000" y="6840000"/>
                  <a:pt x="8532000" y="6876000"/>
                  <a:pt x="8424001" y="6876000"/>
                </a:cubicBezTo>
                <a:cubicBezTo>
                  <a:pt x="8352000" y="6876000"/>
                  <a:pt x="8280001" y="6840000"/>
                  <a:pt x="8208000" y="6804000"/>
                </a:cubicBezTo>
                <a:lnTo>
                  <a:pt x="6336000" y="5292000"/>
                </a:lnTo>
                <a:lnTo>
                  <a:pt x="6336000" y="3348000"/>
                </a:lnTo>
                <a:cubicBezTo>
                  <a:pt x="6336000" y="3132000"/>
                  <a:pt x="6480000" y="2988000"/>
                  <a:pt x="6696000" y="2988000"/>
                </a:cubicBezTo>
                <a:cubicBezTo>
                  <a:pt x="6912000" y="2988000"/>
                  <a:pt x="7056000" y="3132000"/>
                  <a:pt x="7056000" y="3348000"/>
                </a:cubicBezTo>
                <a:lnTo>
                  <a:pt x="7056000" y="4896000"/>
                </a:lnTo>
                <a:lnTo>
                  <a:pt x="8640000" y="6228000"/>
                </a:lnTo>
                <a:cubicBezTo>
                  <a:pt x="8784000" y="6336000"/>
                  <a:pt x="8820000" y="6552000"/>
                  <a:pt x="8712000" y="6732000"/>
                </a:cubicBezTo>
                <a:close/>
                <a:moveTo>
                  <a:pt x="9432000" y="5256000"/>
                </a:moveTo>
                <a:cubicBezTo>
                  <a:pt x="9216000" y="5256000"/>
                  <a:pt x="9036000" y="5076000"/>
                  <a:pt x="9036000" y="4860000"/>
                </a:cubicBezTo>
                <a:cubicBezTo>
                  <a:pt x="9036000" y="4644000"/>
                  <a:pt x="9216000" y="4464000"/>
                  <a:pt x="9432000" y="4464000"/>
                </a:cubicBezTo>
                <a:cubicBezTo>
                  <a:pt x="9648000" y="4464000"/>
                  <a:pt x="9828000" y="4644000"/>
                  <a:pt x="9828000" y="4860000"/>
                </a:cubicBezTo>
                <a:cubicBezTo>
                  <a:pt x="9828000" y="5076000"/>
                  <a:pt x="9648000" y="5256000"/>
                  <a:pt x="9432000" y="5256000"/>
                </a:cubicBezTo>
                <a:close/>
              </a:path>
            </a:pathLst>
          </a:custGeom>
          <a:solidFill>
            <a:schemeClr val="tx1">
              <a:alpha val="3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2" name="Rectangle 71"/>
          <p:cNvSpPr/>
          <p:nvPr/>
        </p:nvSpPr>
        <p:spPr>
          <a:xfrm>
            <a:off x="10485124" y="2308469"/>
            <a:ext cx="1344637"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a:rPr>
              <a:t>Presentation</a:t>
            </a:r>
          </a:p>
        </p:txBody>
      </p:sp>
      <p:sp>
        <p:nvSpPr>
          <p:cNvPr id="74" name="TextBox 73"/>
          <p:cNvSpPr txBox="1"/>
          <p:nvPr/>
        </p:nvSpPr>
        <p:spPr>
          <a:xfrm>
            <a:off x="10974441" y="3110525"/>
            <a:ext cx="1223528" cy="3241453"/>
          </a:xfrm>
          <a:prstGeom prst="rect">
            <a:avLst/>
          </a:prstGeom>
          <a:noFill/>
          <a:ln>
            <a:noFill/>
          </a:ln>
        </p:spPr>
        <p:txBody>
          <a:bodyPr wrap="square" rtlCol="0">
            <a:spAutoFit/>
          </a:bodyPr>
          <a:lstStyle/>
          <a:p>
            <a:pPr defTabSz="914192">
              <a:lnSpc>
                <a:spcPct val="90000"/>
              </a:lnSpc>
              <a:spcBef>
                <a:spcPts val="1175"/>
              </a:spcBef>
              <a:spcAft>
                <a:spcPts val="1175"/>
              </a:spcAft>
              <a:defRPr/>
            </a:pPr>
            <a:r>
              <a:rPr lang="en-US" sz="1175" kern="0" dirty="0">
                <a:solidFill>
                  <a:srgbClr val="66AEE7"/>
                </a:solidFill>
                <a:latin typeface="Segoe UI"/>
              </a:rPr>
              <a:t>App insights</a:t>
            </a:r>
          </a:p>
          <a:p>
            <a:pPr defTabSz="914192">
              <a:lnSpc>
                <a:spcPct val="90000"/>
              </a:lnSpc>
              <a:spcBef>
                <a:spcPts val="1175"/>
              </a:spcBef>
              <a:spcAft>
                <a:spcPts val="1175"/>
              </a:spcAft>
              <a:defRPr/>
            </a:pPr>
            <a:r>
              <a:rPr lang="en-US" sz="1175" kern="0" dirty="0">
                <a:solidFill>
                  <a:srgbClr val="66AEE7"/>
                </a:solidFill>
                <a:latin typeface="Segoe UI"/>
              </a:rPr>
              <a:t>Data analytics</a:t>
            </a:r>
          </a:p>
          <a:p>
            <a:pPr defTabSz="914192">
              <a:lnSpc>
                <a:spcPct val="90000"/>
              </a:lnSpc>
              <a:spcBef>
                <a:spcPts val="1175"/>
              </a:spcBef>
              <a:spcAft>
                <a:spcPts val="1175"/>
              </a:spcAft>
              <a:defRPr/>
            </a:pPr>
            <a:r>
              <a:rPr lang="en-US" sz="1175" kern="0" dirty="0">
                <a:solidFill>
                  <a:srgbClr val="66AEE7"/>
                </a:solidFill>
                <a:latin typeface="Segoe UI"/>
              </a:rPr>
              <a:t>State over time</a:t>
            </a:r>
          </a:p>
          <a:p>
            <a:pPr defTabSz="914192">
              <a:lnSpc>
                <a:spcPct val="90000"/>
              </a:lnSpc>
              <a:spcBef>
                <a:spcPts val="1175"/>
              </a:spcBef>
              <a:spcAft>
                <a:spcPts val="1175"/>
              </a:spcAft>
              <a:defRPr/>
            </a:pPr>
            <a:r>
              <a:rPr lang="en-US" sz="1175" kern="0" dirty="0">
                <a:solidFill>
                  <a:srgbClr val="66AEE7"/>
                </a:solidFill>
                <a:latin typeface="Segoe UI"/>
              </a:rPr>
              <a:t>Dashboard</a:t>
            </a:r>
          </a:p>
          <a:p>
            <a:pPr defTabSz="914192">
              <a:lnSpc>
                <a:spcPct val="90000"/>
              </a:lnSpc>
              <a:spcBef>
                <a:spcPts val="1175"/>
              </a:spcBef>
              <a:spcAft>
                <a:spcPts val="1175"/>
              </a:spcAft>
              <a:defRPr/>
            </a:pPr>
            <a:r>
              <a:rPr lang="en-US" sz="1175" kern="0" dirty="0">
                <a:solidFill>
                  <a:srgbClr val="66AEE7"/>
                </a:solidFill>
                <a:latin typeface="Segoe UI"/>
              </a:rPr>
              <a:t>Service</a:t>
            </a:r>
          </a:p>
          <a:p>
            <a:pPr defTabSz="914192">
              <a:lnSpc>
                <a:spcPct val="90000"/>
              </a:lnSpc>
              <a:spcBef>
                <a:spcPts val="1175"/>
              </a:spcBef>
              <a:spcAft>
                <a:spcPts val="1175"/>
              </a:spcAft>
              <a:defRPr/>
            </a:pPr>
            <a:r>
              <a:rPr lang="en-US" sz="1175" kern="0" dirty="0">
                <a:solidFill>
                  <a:srgbClr val="66AEE7"/>
                </a:solidFill>
                <a:latin typeface="Segoe UI"/>
              </a:rPr>
              <a:t>Search</a:t>
            </a:r>
          </a:p>
          <a:p>
            <a:pPr defTabSz="914192">
              <a:lnSpc>
                <a:spcPct val="90000"/>
              </a:lnSpc>
              <a:spcBef>
                <a:spcPts val="1175"/>
              </a:spcBef>
              <a:spcAft>
                <a:spcPts val="1175"/>
              </a:spcAft>
              <a:defRPr/>
            </a:pPr>
            <a:r>
              <a:rPr lang="en-US" sz="1175" kern="0" dirty="0">
                <a:solidFill>
                  <a:srgbClr val="66AEE7"/>
                </a:solidFill>
                <a:latin typeface="Segoe UI"/>
              </a:rPr>
              <a:t>Distributed tracing</a:t>
            </a:r>
          </a:p>
        </p:txBody>
      </p:sp>
      <p:sp>
        <p:nvSpPr>
          <p:cNvPr id="77" name="Freeform 27"/>
          <p:cNvSpPr>
            <a:spLocks noEditPoints="1"/>
          </p:cNvSpPr>
          <p:nvPr/>
        </p:nvSpPr>
        <p:spPr bwMode="auto">
          <a:xfrm>
            <a:off x="10564824" y="3983780"/>
            <a:ext cx="395718" cy="313974"/>
          </a:xfrm>
          <a:custGeom>
            <a:avLst/>
            <a:gdLst>
              <a:gd name="T0" fmla="*/ 42 w 263"/>
              <a:gd name="T1" fmla="*/ 147 h 209"/>
              <a:gd name="T2" fmla="*/ 37 w 263"/>
              <a:gd name="T3" fmla="*/ 209 h 209"/>
              <a:gd name="T4" fmla="*/ 6 w 263"/>
              <a:gd name="T5" fmla="*/ 204 h 209"/>
              <a:gd name="T6" fmla="*/ 16 w 263"/>
              <a:gd name="T7" fmla="*/ 158 h 209"/>
              <a:gd name="T8" fmla="*/ 33 w 263"/>
              <a:gd name="T9" fmla="*/ 158 h 209"/>
              <a:gd name="T10" fmla="*/ 58 w 263"/>
              <a:gd name="T11" fmla="*/ 209 h 209"/>
              <a:gd name="T12" fmla="*/ 89 w 263"/>
              <a:gd name="T13" fmla="*/ 204 h 209"/>
              <a:gd name="T14" fmla="*/ 53 w 263"/>
              <a:gd name="T15" fmla="*/ 135 h 209"/>
              <a:gd name="T16" fmla="*/ 100 w 263"/>
              <a:gd name="T17" fmla="*/ 204 h 209"/>
              <a:gd name="T18" fmla="*/ 131 w 263"/>
              <a:gd name="T19" fmla="*/ 209 h 209"/>
              <a:gd name="T20" fmla="*/ 136 w 263"/>
              <a:gd name="T21" fmla="*/ 111 h 209"/>
              <a:gd name="T22" fmla="*/ 100 w 263"/>
              <a:gd name="T23" fmla="*/ 204 h 209"/>
              <a:gd name="T24" fmla="*/ 155 w 263"/>
              <a:gd name="T25" fmla="*/ 122 h 209"/>
              <a:gd name="T26" fmla="*/ 146 w 263"/>
              <a:gd name="T27" fmla="*/ 204 h 209"/>
              <a:gd name="T28" fmla="*/ 178 w 263"/>
              <a:gd name="T29" fmla="*/ 209 h 209"/>
              <a:gd name="T30" fmla="*/ 182 w 263"/>
              <a:gd name="T31" fmla="*/ 110 h 209"/>
              <a:gd name="T32" fmla="*/ 162 w 263"/>
              <a:gd name="T33" fmla="*/ 124 h 209"/>
              <a:gd name="T34" fmla="*/ 193 w 263"/>
              <a:gd name="T35" fmla="*/ 204 h 209"/>
              <a:gd name="T36" fmla="*/ 224 w 263"/>
              <a:gd name="T37" fmla="*/ 209 h 209"/>
              <a:gd name="T38" fmla="*/ 229 w 263"/>
              <a:gd name="T39" fmla="*/ 66 h 209"/>
              <a:gd name="T40" fmla="*/ 193 w 263"/>
              <a:gd name="T41" fmla="*/ 99 h 209"/>
              <a:gd name="T42" fmla="*/ 259 w 263"/>
              <a:gd name="T43" fmla="*/ 0 h 209"/>
              <a:gd name="T44" fmla="*/ 182 w 263"/>
              <a:gd name="T45" fmla="*/ 9 h 209"/>
              <a:gd name="T46" fmla="*/ 203 w 263"/>
              <a:gd name="T47" fmla="*/ 37 h 209"/>
              <a:gd name="T48" fmla="*/ 165 w 263"/>
              <a:gd name="T49" fmla="*/ 76 h 209"/>
              <a:gd name="T50" fmla="*/ 100 w 263"/>
              <a:gd name="T51" fmla="*/ 18 h 209"/>
              <a:gd name="T52" fmla="*/ 93 w 263"/>
              <a:gd name="T53" fmla="*/ 18 h 209"/>
              <a:gd name="T54" fmla="*/ 2 w 263"/>
              <a:gd name="T55" fmla="*/ 135 h 209"/>
              <a:gd name="T56" fmla="*/ 24 w 263"/>
              <a:gd name="T57" fmla="*/ 155 h 209"/>
              <a:gd name="T58" fmla="*/ 91 w 263"/>
              <a:gd name="T59" fmla="*/ 82 h 209"/>
              <a:gd name="T60" fmla="*/ 99 w 263"/>
              <a:gd name="T61" fmla="*/ 80 h 209"/>
              <a:gd name="T62" fmla="*/ 162 w 263"/>
              <a:gd name="T63" fmla="*/ 117 h 209"/>
              <a:gd name="T64" fmla="*/ 225 w 263"/>
              <a:gd name="T65" fmla="*/ 59 h 209"/>
              <a:gd name="T66" fmla="*/ 232 w 263"/>
              <a:gd name="T67" fmla="*/ 59 h 209"/>
              <a:gd name="T68" fmla="*/ 257 w 263"/>
              <a:gd name="T69" fmla="*/ 84 h 209"/>
              <a:gd name="T70" fmla="*/ 263 w 263"/>
              <a:gd name="T71" fmla="*/ 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209">
                <a:moveTo>
                  <a:pt x="33" y="158"/>
                </a:moveTo>
                <a:cubicBezTo>
                  <a:pt x="42" y="147"/>
                  <a:pt x="42" y="147"/>
                  <a:pt x="42" y="147"/>
                </a:cubicBezTo>
                <a:cubicBezTo>
                  <a:pt x="42" y="204"/>
                  <a:pt x="42" y="204"/>
                  <a:pt x="42" y="204"/>
                </a:cubicBezTo>
                <a:cubicBezTo>
                  <a:pt x="42" y="207"/>
                  <a:pt x="40" y="209"/>
                  <a:pt x="37" y="209"/>
                </a:cubicBezTo>
                <a:cubicBezTo>
                  <a:pt x="11" y="209"/>
                  <a:pt x="11" y="209"/>
                  <a:pt x="11" y="209"/>
                </a:cubicBezTo>
                <a:cubicBezTo>
                  <a:pt x="9" y="209"/>
                  <a:pt x="6" y="207"/>
                  <a:pt x="6" y="204"/>
                </a:cubicBezTo>
                <a:cubicBezTo>
                  <a:pt x="6" y="148"/>
                  <a:pt x="6" y="148"/>
                  <a:pt x="6" y="148"/>
                </a:cubicBezTo>
                <a:cubicBezTo>
                  <a:pt x="16" y="158"/>
                  <a:pt x="16" y="158"/>
                  <a:pt x="16" y="158"/>
                </a:cubicBezTo>
                <a:cubicBezTo>
                  <a:pt x="18" y="160"/>
                  <a:pt x="21" y="162"/>
                  <a:pt x="24" y="162"/>
                </a:cubicBezTo>
                <a:cubicBezTo>
                  <a:pt x="27" y="162"/>
                  <a:pt x="31" y="160"/>
                  <a:pt x="33" y="158"/>
                </a:cubicBezTo>
                <a:close/>
                <a:moveTo>
                  <a:pt x="53" y="204"/>
                </a:moveTo>
                <a:cubicBezTo>
                  <a:pt x="53" y="207"/>
                  <a:pt x="55" y="209"/>
                  <a:pt x="58" y="209"/>
                </a:cubicBezTo>
                <a:cubicBezTo>
                  <a:pt x="84" y="209"/>
                  <a:pt x="84" y="209"/>
                  <a:pt x="84" y="209"/>
                </a:cubicBezTo>
                <a:cubicBezTo>
                  <a:pt x="87" y="209"/>
                  <a:pt x="89" y="207"/>
                  <a:pt x="89" y="204"/>
                </a:cubicBezTo>
                <a:cubicBezTo>
                  <a:pt x="89" y="95"/>
                  <a:pt x="89" y="95"/>
                  <a:pt x="89" y="95"/>
                </a:cubicBezTo>
                <a:cubicBezTo>
                  <a:pt x="53" y="135"/>
                  <a:pt x="53" y="135"/>
                  <a:pt x="53" y="135"/>
                </a:cubicBezTo>
                <a:lnTo>
                  <a:pt x="53" y="204"/>
                </a:lnTo>
                <a:close/>
                <a:moveTo>
                  <a:pt x="100" y="204"/>
                </a:moveTo>
                <a:cubicBezTo>
                  <a:pt x="100" y="207"/>
                  <a:pt x="102" y="209"/>
                  <a:pt x="105" y="209"/>
                </a:cubicBezTo>
                <a:cubicBezTo>
                  <a:pt x="131" y="209"/>
                  <a:pt x="131" y="209"/>
                  <a:pt x="131" y="209"/>
                </a:cubicBezTo>
                <a:cubicBezTo>
                  <a:pt x="134" y="209"/>
                  <a:pt x="136" y="207"/>
                  <a:pt x="136" y="204"/>
                </a:cubicBezTo>
                <a:cubicBezTo>
                  <a:pt x="136" y="111"/>
                  <a:pt x="136" y="111"/>
                  <a:pt x="136" y="111"/>
                </a:cubicBezTo>
                <a:cubicBezTo>
                  <a:pt x="100" y="89"/>
                  <a:pt x="100" y="89"/>
                  <a:pt x="100" y="89"/>
                </a:cubicBezTo>
                <a:lnTo>
                  <a:pt x="100" y="204"/>
                </a:lnTo>
                <a:close/>
                <a:moveTo>
                  <a:pt x="162" y="124"/>
                </a:moveTo>
                <a:cubicBezTo>
                  <a:pt x="160" y="124"/>
                  <a:pt x="157" y="124"/>
                  <a:pt x="155" y="122"/>
                </a:cubicBezTo>
                <a:cubicBezTo>
                  <a:pt x="146" y="117"/>
                  <a:pt x="146" y="117"/>
                  <a:pt x="146" y="117"/>
                </a:cubicBezTo>
                <a:cubicBezTo>
                  <a:pt x="146" y="204"/>
                  <a:pt x="146" y="204"/>
                  <a:pt x="146" y="204"/>
                </a:cubicBezTo>
                <a:cubicBezTo>
                  <a:pt x="146" y="207"/>
                  <a:pt x="149" y="209"/>
                  <a:pt x="151" y="209"/>
                </a:cubicBezTo>
                <a:cubicBezTo>
                  <a:pt x="178" y="209"/>
                  <a:pt x="178" y="209"/>
                  <a:pt x="178" y="209"/>
                </a:cubicBezTo>
                <a:cubicBezTo>
                  <a:pt x="180" y="209"/>
                  <a:pt x="182" y="207"/>
                  <a:pt x="182" y="204"/>
                </a:cubicBezTo>
                <a:cubicBezTo>
                  <a:pt x="182" y="110"/>
                  <a:pt x="182" y="110"/>
                  <a:pt x="182" y="110"/>
                </a:cubicBezTo>
                <a:cubicBezTo>
                  <a:pt x="172" y="121"/>
                  <a:pt x="172" y="121"/>
                  <a:pt x="172" y="121"/>
                </a:cubicBezTo>
                <a:cubicBezTo>
                  <a:pt x="169" y="123"/>
                  <a:pt x="166" y="124"/>
                  <a:pt x="162" y="124"/>
                </a:cubicBezTo>
                <a:close/>
                <a:moveTo>
                  <a:pt x="193" y="99"/>
                </a:moveTo>
                <a:cubicBezTo>
                  <a:pt x="193" y="204"/>
                  <a:pt x="193" y="204"/>
                  <a:pt x="193" y="204"/>
                </a:cubicBezTo>
                <a:cubicBezTo>
                  <a:pt x="193" y="207"/>
                  <a:pt x="195" y="209"/>
                  <a:pt x="198" y="209"/>
                </a:cubicBezTo>
                <a:cubicBezTo>
                  <a:pt x="224" y="209"/>
                  <a:pt x="224" y="209"/>
                  <a:pt x="224" y="209"/>
                </a:cubicBezTo>
                <a:cubicBezTo>
                  <a:pt x="227" y="209"/>
                  <a:pt x="229" y="207"/>
                  <a:pt x="229" y="204"/>
                </a:cubicBezTo>
                <a:cubicBezTo>
                  <a:pt x="229" y="66"/>
                  <a:pt x="229" y="66"/>
                  <a:pt x="229" y="66"/>
                </a:cubicBezTo>
                <a:cubicBezTo>
                  <a:pt x="228" y="65"/>
                  <a:pt x="228" y="65"/>
                  <a:pt x="228" y="65"/>
                </a:cubicBezTo>
                <a:lnTo>
                  <a:pt x="193" y="99"/>
                </a:lnTo>
                <a:close/>
                <a:moveTo>
                  <a:pt x="259" y="0"/>
                </a:moveTo>
                <a:cubicBezTo>
                  <a:pt x="259" y="0"/>
                  <a:pt x="259" y="0"/>
                  <a:pt x="259" y="0"/>
                </a:cubicBezTo>
                <a:cubicBezTo>
                  <a:pt x="184" y="6"/>
                  <a:pt x="184" y="6"/>
                  <a:pt x="184" y="6"/>
                </a:cubicBezTo>
                <a:cubicBezTo>
                  <a:pt x="181" y="6"/>
                  <a:pt x="180" y="8"/>
                  <a:pt x="182" y="9"/>
                </a:cubicBezTo>
                <a:cubicBezTo>
                  <a:pt x="203" y="30"/>
                  <a:pt x="203" y="30"/>
                  <a:pt x="203" y="30"/>
                </a:cubicBezTo>
                <a:cubicBezTo>
                  <a:pt x="205" y="32"/>
                  <a:pt x="205" y="35"/>
                  <a:pt x="203" y="37"/>
                </a:cubicBezTo>
                <a:cubicBezTo>
                  <a:pt x="168" y="74"/>
                  <a:pt x="168" y="74"/>
                  <a:pt x="168" y="74"/>
                </a:cubicBezTo>
                <a:cubicBezTo>
                  <a:pt x="167" y="75"/>
                  <a:pt x="166" y="76"/>
                  <a:pt x="165" y="76"/>
                </a:cubicBezTo>
                <a:cubicBezTo>
                  <a:pt x="163" y="76"/>
                  <a:pt x="162" y="75"/>
                  <a:pt x="161" y="75"/>
                </a:cubicBezTo>
                <a:cubicBezTo>
                  <a:pt x="100" y="18"/>
                  <a:pt x="100" y="18"/>
                  <a:pt x="100" y="18"/>
                </a:cubicBezTo>
                <a:cubicBezTo>
                  <a:pt x="99" y="17"/>
                  <a:pt x="98" y="17"/>
                  <a:pt x="97" y="17"/>
                </a:cubicBezTo>
                <a:cubicBezTo>
                  <a:pt x="95" y="17"/>
                  <a:pt x="94" y="17"/>
                  <a:pt x="93" y="18"/>
                </a:cubicBezTo>
                <a:cubicBezTo>
                  <a:pt x="2" y="127"/>
                  <a:pt x="2" y="127"/>
                  <a:pt x="2" y="127"/>
                </a:cubicBezTo>
                <a:cubicBezTo>
                  <a:pt x="0" y="129"/>
                  <a:pt x="0" y="133"/>
                  <a:pt x="2" y="135"/>
                </a:cubicBezTo>
                <a:cubicBezTo>
                  <a:pt x="21" y="153"/>
                  <a:pt x="21" y="153"/>
                  <a:pt x="21" y="153"/>
                </a:cubicBezTo>
                <a:cubicBezTo>
                  <a:pt x="22" y="154"/>
                  <a:pt x="23" y="155"/>
                  <a:pt x="24" y="155"/>
                </a:cubicBezTo>
                <a:cubicBezTo>
                  <a:pt x="25" y="155"/>
                  <a:pt x="27" y="154"/>
                  <a:pt x="28" y="153"/>
                </a:cubicBezTo>
                <a:cubicBezTo>
                  <a:pt x="91" y="82"/>
                  <a:pt x="91" y="82"/>
                  <a:pt x="91" y="82"/>
                </a:cubicBezTo>
                <a:cubicBezTo>
                  <a:pt x="92" y="80"/>
                  <a:pt x="94" y="80"/>
                  <a:pt x="96" y="80"/>
                </a:cubicBezTo>
                <a:cubicBezTo>
                  <a:pt x="97" y="80"/>
                  <a:pt x="98" y="80"/>
                  <a:pt x="99" y="80"/>
                </a:cubicBezTo>
                <a:cubicBezTo>
                  <a:pt x="159" y="117"/>
                  <a:pt x="159" y="117"/>
                  <a:pt x="159" y="117"/>
                </a:cubicBezTo>
                <a:cubicBezTo>
                  <a:pt x="160" y="117"/>
                  <a:pt x="161" y="117"/>
                  <a:pt x="162" y="117"/>
                </a:cubicBezTo>
                <a:cubicBezTo>
                  <a:pt x="164" y="117"/>
                  <a:pt x="166" y="117"/>
                  <a:pt x="167" y="116"/>
                </a:cubicBezTo>
                <a:cubicBezTo>
                  <a:pt x="225" y="59"/>
                  <a:pt x="225" y="59"/>
                  <a:pt x="225" y="59"/>
                </a:cubicBezTo>
                <a:cubicBezTo>
                  <a:pt x="226" y="58"/>
                  <a:pt x="227" y="58"/>
                  <a:pt x="228" y="58"/>
                </a:cubicBezTo>
                <a:cubicBezTo>
                  <a:pt x="230" y="58"/>
                  <a:pt x="231" y="58"/>
                  <a:pt x="232" y="59"/>
                </a:cubicBezTo>
                <a:cubicBezTo>
                  <a:pt x="255" y="83"/>
                  <a:pt x="255" y="83"/>
                  <a:pt x="255" y="83"/>
                </a:cubicBezTo>
                <a:cubicBezTo>
                  <a:pt x="256" y="83"/>
                  <a:pt x="257" y="84"/>
                  <a:pt x="257" y="84"/>
                </a:cubicBezTo>
                <a:cubicBezTo>
                  <a:pt x="258" y="84"/>
                  <a:pt x="259" y="83"/>
                  <a:pt x="259" y="81"/>
                </a:cubicBezTo>
                <a:cubicBezTo>
                  <a:pt x="263" y="5"/>
                  <a:pt x="263" y="5"/>
                  <a:pt x="263" y="5"/>
                </a:cubicBezTo>
                <a:cubicBezTo>
                  <a:pt x="263" y="2"/>
                  <a:pt x="261" y="0"/>
                  <a:pt x="259" y="0"/>
                </a:cubicBez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896003">
              <a:defRPr/>
            </a:pPr>
            <a:endParaRPr lang="en-US" sz="1667" kern="0">
              <a:solidFill>
                <a:srgbClr val="000000"/>
              </a:solidFill>
              <a:latin typeface="Segoe UI"/>
            </a:endParaRPr>
          </a:p>
        </p:txBody>
      </p:sp>
      <p:sp>
        <p:nvSpPr>
          <p:cNvPr id="78" name="Freeform 5"/>
          <p:cNvSpPr>
            <a:spLocks noEditPoints="1"/>
          </p:cNvSpPr>
          <p:nvPr/>
        </p:nvSpPr>
        <p:spPr bwMode="auto">
          <a:xfrm>
            <a:off x="10574383" y="3051751"/>
            <a:ext cx="376599" cy="372001"/>
          </a:xfrm>
          <a:custGeom>
            <a:avLst/>
            <a:gdLst>
              <a:gd name="T0" fmla="*/ 621 w 621"/>
              <a:gd name="T1" fmla="*/ 307 h 614"/>
              <a:gd name="T2" fmla="*/ 621 w 621"/>
              <a:gd name="T3" fmla="*/ 555 h 614"/>
              <a:gd name="T4" fmla="*/ 606 w 621"/>
              <a:gd name="T5" fmla="*/ 578 h 614"/>
              <a:gd name="T6" fmla="*/ 505 w 621"/>
              <a:gd name="T7" fmla="*/ 613 h 614"/>
              <a:gd name="T8" fmla="*/ 485 w 621"/>
              <a:gd name="T9" fmla="*/ 608 h 614"/>
              <a:gd name="T10" fmla="*/ 353 w 621"/>
              <a:gd name="T11" fmla="*/ 487 h 614"/>
              <a:gd name="T12" fmla="*/ 251 w 621"/>
              <a:gd name="T13" fmla="*/ 392 h 614"/>
              <a:gd name="T14" fmla="*/ 214 w 621"/>
              <a:gd name="T15" fmla="*/ 390 h 614"/>
              <a:gd name="T16" fmla="*/ 112 w 621"/>
              <a:gd name="T17" fmla="*/ 473 h 614"/>
              <a:gd name="T18" fmla="*/ 78 w 621"/>
              <a:gd name="T19" fmla="*/ 477 h 614"/>
              <a:gd name="T20" fmla="*/ 11 w 621"/>
              <a:gd name="T21" fmla="*/ 445 h 614"/>
              <a:gd name="T22" fmla="*/ 1 w 621"/>
              <a:gd name="T23" fmla="*/ 430 h 614"/>
              <a:gd name="T24" fmla="*/ 1 w 621"/>
              <a:gd name="T25" fmla="*/ 183 h 614"/>
              <a:gd name="T26" fmla="*/ 9 w 621"/>
              <a:gd name="T27" fmla="*/ 169 h 614"/>
              <a:gd name="T28" fmla="*/ 85 w 621"/>
              <a:gd name="T29" fmla="*/ 133 h 614"/>
              <a:gd name="T30" fmla="*/ 105 w 621"/>
              <a:gd name="T31" fmla="*/ 136 h 614"/>
              <a:gd name="T32" fmla="*/ 223 w 621"/>
              <a:gd name="T33" fmla="*/ 231 h 614"/>
              <a:gd name="T34" fmla="*/ 237 w 621"/>
              <a:gd name="T35" fmla="*/ 231 h 614"/>
              <a:gd name="T36" fmla="*/ 249 w 621"/>
              <a:gd name="T37" fmla="*/ 223 h 614"/>
              <a:gd name="T38" fmla="*/ 372 w 621"/>
              <a:gd name="T39" fmla="*/ 107 h 614"/>
              <a:gd name="T40" fmla="*/ 488 w 621"/>
              <a:gd name="T41" fmla="*/ 5 h 614"/>
              <a:gd name="T42" fmla="*/ 509 w 621"/>
              <a:gd name="T43" fmla="*/ 2 h 614"/>
              <a:gd name="T44" fmla="*/ 605 w 621"/>
              <a:gd name="T45" fmla="*/ 34 h 614"/>
              <a:gd name="T46" fmla="*/ 621 w 621"/>
              <a:gd name="T47" fmla="*/ 57 h 614"/>
              <a:gd name="T48" fmla="*/ 621 w 621"/>
              <a:gd name="T49" fmla="*/ 307 h 614"/>
              <a:gd name="T50" fmla="*/ 327 w 621"/>
              <a:gd name="T51" fmla="*/ 307 h 614"/>
              <a:gd name="T52" fmla="*/ 499 w 621"/>
              <a:gd name="T53" fmla="*/ 432 h 614"/>
              <a:gd name="T54" fmla="*/ 499 w 621"/>
              <a:gd name="T55" fmla="*/ 181 h 614"/>
              <a:gd name="T56" fmla="*/ 327 w 621"/>
              <a:gd name="T57" fmla="*/ 307 h 614"/>
              <a:gd name="T58" fmla="*/ 93 w 621"/>
              <a:gd name="T59" fmla="*/ 226 h 614"/>
              <a:gd name="T60" fmla="*/ 93 w 621"/>
              <a:gd name="T61" fmla="*/ 383 h 614"/>
              <a:gd name="T62" fmla="*/ 173 w 621"/>
              <a:gd name="T63" fmla="*/ 305 h 614"/>
              <a:gd name="T64" fmla="*/ 93 w 621"/>
              <a:gd name="T65" fmla="*/ 22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1" h="614">
                <a:moveTo>
                  <a:pt x="621" y="307"/>
                </a:moveTo>
                <a:cubicBezTo>
                  <a:pt x="621" y="389"/>
                  <a:pt x="621" y="472"/>
                  <a:pt x="621" y="555"/>
                </a:cubicBezTo>
                <a:cubicBezTo>
                  <a:pt x="621" y="567"/>
                  <a:pt x="619" y="574"/>
                  <a:pt x="606" y="578"/>
                </a:cubicBezTo>
                <a:cubicBezTo>
                  <a:pt x="572" y="589"/>
                  <a:pt x="539" y="602"/>
                  <a:pt x="505" y="613"/>
                </a:cubicBezTo>
                <a:cubicBezTo>
                  <a:pt x="499" y="614"/>
                  <a:pt x="489" y="612"/>
                  <a:pt x="485" y="608"/>
                </a:cubicBezTo>
                <a:cubicBezTo>
                  <a:pt x="440" y="568"/>
                  <a:pt x="397" y="528"/>
                  <a:pt x="353" y="487"/>
                </a:cubicBezTo>
                <a:cubicBezTo>
                  <a:pt x="319" y="456"/>
                  <a:pt x="285" y="424"/>
                  <a:pt x="251" y="392"/>
                </a:cubicBezTo>
                <a:cubicBezTo>
                  <a:pt x="234" y="376"/>
                  <a:pt x="233" y="375"/>
                  <a:pt x="214" y="390"/>
                </a:cubicBezTo>
                <a:cubicBezTo>
                  <a:pt x="180" y="417"/>
                  <a:pt x="146" y="445"/>
                  <a:pt x="112" y="473"/>
                </a:cubicBezTo>
                <a:cubicBezTo>
                  <a:pt x="101" y="482"/>
                  <a:pt x="92" y="485"/>
                  <a:pt x="78" y="477"/>
                </a:cubicBezTo>
                <a:cubicBezTo>
                  <a:pt x="57" y="465"/>
                  <a:pt x="33" y="456"/>
                  <a:pt x="11" y="445"/>
                </a:cubicBezTo>
                <a:cubicBezTo>
                  <a:pt x="6" y="442"/>
                  <a:pt x="1" y="435"/>
                  <a:pt x="1" y="430"/>
                </a:cubicBezTo>
                <a:cubicBezTo>
                  <a:pt x="0" y="348"/>
                  <a:pt x="0" y="265"/>
                  <a:pt x="1" y="183"/>
                </a:cubicBezTo>
                <a:cubicBezTo>
                  <a:pt x="1" y="178"/>
                  <a:pt x="5" y="171"/>
                  <a:pt x="9" y="169"/>
                </a:cubicBezTo>
                <a:cubicBezTo>
                  <a:pt x="34" y="156"/>
                  <a:pt x="60" y="145"/>
                  <a:pt x="85" y="133"/>
                </a:cubicBezTo>
                <a:cubicBezTo>
                  <a:pt x="93" y="129"/>
                  <a:pt x="98" y="130"/>
                  <a:pt x="105" y="136"/>
                </a:cubicBezTo>
                <a:cubicBezTo>
                  <a:pt x="144" y="168"/>
                  <a:pt x="183" y="200"/>
                  <a:pt x="223" y="231"/>
                </a:cubicBezTo>
                <a:cubicBezTo>
                  <a:pt x="226" y="233"/>
                  <a:pt x="233" y="233"/>
                  <a:pt x="237" y="231"/>
                </a:cubicBezTo>
                <a:cubicBezTo>
                  <a:pt x="242" y="230"/>
                  <a:pt x="246" y="226"/>
                  <a:pt x="249" y="223"/>
                </a:cubicBezTo>
                <a:cubicBezTo>
                  <a:pt x="290" y="184"/>
                  <a:pt x="331" y="145"/>
                  <a:pt x="372" y="107"/>
                </a:cubicBezTo>
                <a:cubicBezTo>
                  <a:pt x="410" y="72"/>
                  <a:pt x="449" y="38"/>
                  <a:pt x="488" y="5"/>
                </a:cubicBezTo>
                <a:cubicBezTo>
                  <a:pt x="493" y="1"/>
                  <a:pt x="503" y="0"/>
                  <a:pt x="509" y="2"/>
                </a:cubicBezTo>
                <a:cubicBezTo>
                  <a:pt x="541" y="12"/>
                  <a:pt x="573" y="24"/>
                  <a:pt x="605" y="34"/>
                </a:cubicBezTo>
                <a:cubicBezTo>
                  <a:pt x="617" y="38"/>
                  <a:pt x="621" y="45"/>
                  <a:pt x="621" y="57"/>
                </a:cubicBezTo>
                <a:cubicBezTo>
                  <a:pt x="621" y="140"/>
                  <a:pt x="621" y="224"/>
                  <a:pt x="621" y="307"/>
                </a:cubicBezTo>
                <a:close/>
                <a:moveTo>
                  <a:pt x="327" y="307"/>
                </a:moveTo>
                <a:cubicBezTo>
                  <a:pt x="386" y="350"/>
                  <a:pt x="442" y="390"/>
                  <a:pt x="499" y="432"/>
                </a:cubicBezTo>
                <a:cubicBezTo>
                  <a:pt x="499" y="347"/>
                  <a:pt x="499" y="265"/>
                  <a:pt x="499" y="181"/>
                </a:cubicBezTo>
                <a:cubicBezTo>
                  <a:pt x="441" y="223"/>
                  <a:pt x="385" y="264"/>
                  <a:pt x="327" y="307"/>
                </a:cubicBezTo>
                <a:close/>
                <a:moveTo>
                  <a:pt x="93" y="226"/>
                </a:moveTo>
                <a:cubicBezTo>
                  <a:pt x="93" y="280"/>
                  <a:pt x="93" y="333"/>
                  <a:pt x="93" y="383"/>
                </a:cubicBezTo>
                <a:cubicBezTo>
                  <a:pt x="119" y="358"/>
                  <a:pt x="146" y="332"/>
                  <a:pt x="173" y="305"/>
                </a:cubicBezTo>
                <a:cubicBezTo>
                  <a:pt x="147" y="280"/>
                  <a:pt x="120" y="253"/>
                  <a:pt x="93" y="226"/>
                </a:cubicBezTo>
                <a:close/>
              </a:path>
            </a:pathLst>
          </a:custGeom>
          <a:solidFill>
            <a:schemeClr val="tx1">
              <a:alpha val="40000"/>
            </a:schemeClr>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nvGrpSpPr>
          <p:cNvPr id="79" name="Group 78"/>
          <p:cNvGrpSpPr/>
          <p:nvPr/>
        </p:nvGrpSpPr>
        <p:grpSpPr>
          <a:xfrm>
            <a:off x="10566619" y="3497291"/>
            <a:ext cx="392128" cy="373240"/>
            <a:chOff x="11022941" y="5302575"/>
            <a:chExt cx="731779" cy="696530"/>
          </a:xfrm>
          <a:solidFill>
            <a:schemeClr val="tx1">
              <a:alpha val="40000"/>
            </a:schemeClr>
          </a:solidFill>
        </p:grpSpPr>
        <p:sp>
          <p:nvSpPr>
            <p:cNvPr id="89" name="Freeform 32"/>
            <p:cNvSpPr>
              <a:spLocks noEditPoints="1"/>
            </p:cNvSpPr>
            <p:nvPr/>
          </p:nvSpPr>
          <p:spPr bwMode="auto">
            <a:xfrm>
              <a:off x="11022941" y="5302575"/>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nvGrpSpPr>
            <p:cNvPr id="92" name="Group 91"/>
            <p:cNvGrpSpPr/>
            <p:nvPr/>
          </p:nvGrpSpPr>
          <p:grpSpPr>
            <a:xfrm>
              <a:off x="11564371" y="5444983"/>
              <a:ext cx="114208" cy="410304"/>
              <a:chOff x="11564371" y="5444983"/>
              <a:chExt cx="114208" cy="410304"/>
            </a:xfrm>
            <a:grpFill/>
          </p:grpSpPr>
          <p:sp>
            <p:nvSpPr>
              <p:cNvPr id="93" name="Freeform 35"/>
              <p:cNvSpPr>
                <a:spLocks/>
              </p:cNvSpPr>
              <p:nvPr/>
            </p:nvSpPr>
            <p:spPr bwMode="auto">
              <a:xfrm>
                <a:off x="11564371" y="5444983"/>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4" name="Freeform 36"/>
              <p:cNvSpPr>
                <a:spLocks/>
              </p:cNvSpPr>
              <p:nvPr/>
            </p:nvSpPr>
            <p:spPr bwMode="auto">
              <a:xfrm>
                <a:off x="11564371" y="5793248"/>
                <a:ext cx="114208" cy="62039"/>
              </a:xfrm>
              <a:custGeom>
                <a:avLst/>
                <a:gdLst>
                  <a:gd name="T0" fmla="*/ 334 w 334"/>
                  <a:gd name="T1" fmla="*/ 0 h 183"/>
                  <a:gd name="T2" fmla="*/ 334 w 334"/>
                  <a:gd name="T3" fmla="*/ 183 h 183"/>
                  <a:gd name="T4" fmla="*/ 0 w 334"/>
                  <a:gd name="T5" fmla="*/ 183 h 183"/>
                  <a:gd name="T6" fmla="*/ 0 w 334"/>
                  <a:gd name="T7" fmla="*/ 0 h 183"/>
                  <a:gd name="T8" fmla="*/ 334 w 334"/>
                  <a:gd name="T9" fmla="*/ 0 h 183"/>
                </a:gdLst>
                <a:ahLst/>
                <a:cxnLst>
                  <a:cxn ang="0">
                    <a:pos x="T0" y="T1"/>
                  </a:cxn>
                  <a:cxn ang="0">
                    <a:pos x="T2" y="T3"/>
                  </a:cxn>
                  <a:cxn ang="0">
                    <a:pos x="T4" y="T5"/>
                  </a:cxn>
                  <a:cxn ang="0">
                    <a:pos x="T6" y="T7"/>
                  </a:cxn>
                  <a:cxn ang="0">
                    <a:pos x="T8" y="T9"/>
                  </a:cxn>
                </a:cxnLst>
                <a:rect l="0" t="0" r="r" b="b"/>
                <a:pathLst>
                  <a:path w="334" h="183">
                    <a:moveTo>
                      <a:pt x="334" y="0"/>
                    </a:moveTo>
                    <a:cubicBezTo>
                      <a:pt x="334" y="61"/>
                      <a:pt x="334" y="122"/>
                      <a:pt x="334" y="183"/>
                    </a:cubicBezTo>
                    <a:cubicBezTo>
                      <a:pt x="222" y="183"/>
                      <a:pt x="111" y="183"/>
                      <a:pt x="0" y="183"/>
                    </a:cubicBezTo>
                    <a:cubicBezTo>
                      <a:pt x="0" y="122"/>
                      <a:pt x="0" y="61"/>
                      <a:pt x="0" y="0"/>
                    </a:cubicBezTo>
                    <a:cubicBezTo>
                      <a:pt x="111" y="0"/>
                      <a:pt x="222" y="0"/>
                      <a:pt x="334"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5" name="Freeform 37"/>
              <p:cNvSpPr>
                <a:spLocks/>
              </p:cNvSpPr>
              <p:nvPr/>
            </p:nvSpPr>
            <p:spPr bwMode="auto">
              <a:xfrm>
                <a:off x="11564371" y="5621230"/>
                <a:ext cx="114208" cy="62039"/>
              </a:xfrm>
              <a:custGeom>
                <a:avLst/>
                <a:gdLst>
                  <a:gd name="T0" fmla="*/ 0 w 335"/>
                  <a:gd name="T1" fmla="*/ 0 h 184"/>
                  <a:gd name="T2" fmla="*/ 335 w 335"/>
                  <a:gd name="T3" fmla="*/ 0 h 184"/>
                  <a:gd name="T4" fmla="*/ 335 w 335"/>
                  <a:gd name="T5" fmla="*/ 184 h 184"/>
                  <a:gd name="T6" fmla="*/ 0 w 335"/>
                  <a:gd name="T7" fmla="*/ 184 h 184"/>
                  <a:gd name="T8" fmla="*/ 0 w 335"/>
                  <a:gd name="T9" fmla="*/ 0 h 184"/>
                </a:gdLst>
                <a:ahLst/>
                <a:cxnLst>
                  <a:cxn ang="0">
                    <a:pos x="T0" y="T1"/>
                  </a:cxn>
                  <a:cxn ang="0">
                    <a:pos x="T2" y="T3"/>
                  </a:cxn>
                  <a:cxn ang="0">
                    <a:pos x="T4" y="T5"/>
                  </a:cxn>
                  <a:cxn ang="0">
                    <a:pos x="T6" y="T7"/>
                  </a:cxn>
                  <a:cxn ang="0">
                    <a:pos x="T8" y="T9"/>
                  </a:cxn>
                </a:cxnLst>
                <a:rect l="0" t="0" r="r" b="b"/>
                <a:pathLst>
                  <a:path w="335" h="184">
                    <a:moveTo>
                      <a:pt x="0" y="0"/>
                    </a:moveTo>
                    <a:cubicBezTo>
                      <a:pt x="112" y="0"/>
                      <a:pt x="223" y="0"/>
                      <a:pt x="335" y="0"/>
                    </a:cubicBezTo>
                    <a:cubicBezTo>
                      <a:pt x="335" y="61"/>
                      <a:pt x="335" y="122"/>
                      <a:pt x="335" y="184"/>
                    </a:cubicBezTo>
                    <a:cubicBezTo>
                      <a:pt x="223" y="184"/>
                      <a:pt x="112" y="184"/>
                      <a:pt x="0" y="184"/>
                    </a:cubicBezTo>
                    <a:cubicBezTo>
                      <a:pt x="0" y="122"/>
                      <a:pt x="0" y="62"/>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6" name="Freeform 38"/>
              <p:cNvSpPr>
                <a:spLocks/>
              </p:cNvSpPr>
              <p:nvPr/>
            </p:nvSpPr>
            <p:spPr bwMode="auto">
              <a:xfrm>
                <a:off x="11564371" y="5532402"/>
                <a:ext cx="114208" cy="63450"/>
              </a:xfrm>
              <a:custGeom>
                <a:avLst/>
                <a:gdLst>
                  <a:gd name="T0" fmla="*/ 334 w 334"/>
                  <a:gd name="T1" fmla="*/ 183 h 183"/>
                  <a:gd name="T2" fmla="*/ 0 w 334"/>
                  <a:gd name="T3" fmla="*/ 183 h 183"/>
                  <a:gd name="T4" fmla="*/ 0 w 334"/>
                  <a:gd name="T5" fmla="*/ 0 h 183"/>
                  <a:gd name="T6" fmla="*/ 334 w 334"/>
                  <a:gd name="T7" fmla="*/ 0 h 183"/>
                  <a:gd name="T8" fmla="*/ 334 w 334"/>
                  <a:gd name="T9" fmla="*/ 183 h 183"/>
                </a:gdLst>
                <a:ahLst/>
                <a:cxnLst>
                  <a:cxn ang="0">
                    <a:pos x="T0" y="T1"/>
                  </a:cxn>
                  <a:cxn ang="0">
                    <a:pos x="T2" y="T3"/>
                  </a:cxn>
                  <a:cxn ang="0">
                    <a:pos x="T4" y="T5"/>
                  </a:cxn>
                  <a:cxn ang="0">
                    <a:pos x="T6" y="T7"/>
                  </a:cxn>
                  <a:cxn ang="0">
                    <a:pos x="T8" y="T9"/>
                  </a:cxn>
                </a:cxnLst>
                <a:rect l="0" t="0" r="r" b="b"/>
                <a:pathLst>
                  <a:path w="334" h="183">
                    <a:moveTo>
                      <a:pt x="334" y="183"/>
                    </a:moveTo>
                    <a:cubicBezTo>
                      <a:pt x="222" y="183"/>
                      <a:pt x="111" y="183"/>
                      <a:pt x="0" y="183"/>
                    </a:cubicBezTo>
                    <a:cubicBezTo>
                      <a:pt x="0" y="122"/>
                      <a:pt x="0" y="61"/>
                      <a:pt x="0" y="0"/>
                    </a:cubicBezTo>
                    <a:cubicBezTo>
                      <a:pt x="111" y="0"/>
                      <a:pt x="222" y="0"/>
                      <a:pt x="334" y="0"/>
                    </a:cubicBezTo>
                    <a:cubicBezTo>
                      <a:pt x="334" y="61"/>
                      <a:pt x="334" y="122"/>
                      <a:pt x="334" y="183"/>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7" name="Freeform 39"/>
              <p:cNvSpPr>
                <a:spLocks/>
              </p:cNvSpPr>
              <p:nvPr/>
            </p:nvSpPr>
            <p:spPr bwMode="auto">
              <a:xfrm>
                <a:off x="11564371" y="5707239"/>
                <a:ext cx="114208" cy="63450"/>
              </a:xfrm>
              <a:custGeom>
                <a:avLst/>
                <a:gdLst>
                  <a:gd name="T0" fmla="*/ 0 w 334"/>
                  <a:gd name="T1" fmla="*/ 0 h 183"/>
                  <a:gd name="T2" fmla="*/ 334 w 334"/>
                  <a:gd name="T3" fmla="*/ 0 h 183"/>
                  <a:gd name="T4" fmla="*/ 334 w 334"/>
                  <a:gd name="T5" fmla="*/ 183 h 183"/>
                  <a:gd name="T6" fmla="*/ 0 w 334"/>
                  <a:gd name="T7" fmla="*/ 183 h 183"/>
                  <a:gd name="T8" fmla="*/ 0 w 334"/>
                  <a:gd name="T9" fmla="*/ 0 h 183"/>
                </a:gdLst>
                <a:ahLst/>
                <a:cxnLst>
                  <a:cxn ang="0">
                    <a:pos x="T0" y="T1"/>
                  </a:cxn>
                  <a:cxn ang="0">
                    <a:pos x="T2" y="T3"/>
                  </a:cxn>
                  <a:cxn ang="0">
                    <a:pos x="T4" y="T5"/>
                  </a:cxn>
                  <a:cxn ang="0">
                    <a:pos x="T6" y="T7"/>
                  </a:cxn>
                  <a:cxn ang="0">
                    <a:pos x="T8" y="T9"/>
                  </a:cxn>
                </a:cxnLst>
                <a:rect l="0" t="0" r="r" b="b"/>
                <a:pathLst>
                  <a:path w="334" h="183">
                    <a:moveTo>
                      <a:pt x="0" y="0"/>
                    </a:moveTo>
                    <a:cubicBezTo>
                      <a:pt x="111" y="0"/>
                      <a:pt x="222" y="0"/>
                      <a:pt x="334" y="0"/>
                    </a:cubicBezTo>
                    <a:cubicBezTo>
                      <a:pt x="334" y="61"/>
                      <a:pt x="334" y="122"/>
                      <a:pt x="334" y="183"/>
                    </a:cubicBezTo>
                    <a:cubicBezTo>
                      <a:pt x="222" y="183"/>
                      <a:pt x="111" y="183"/>
                      <a:pt x="0" y="183"/>
                    </a:cubicBezTo>
                    <a:cubicBezTo>
                      <a:pt x="0" y="122"/>
                      <a:pt x="0" y="61"/>
                      <a:pt x="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grpSp>
      </p:grpSp>
      <p:sp>
        <p:nvSpPr>
          <p:cNvPr id="98" name="Freeform 27"/>
          <p:cNvSpPr>
            <a:spLocks noChangeAspect="1" noEditPoints="1"/>
          </p:cNvSpPr>
          <p:nvPr/>
        </p:nvSpPr>
        <p:spPr bwMode="black">
          <a:xfrm>
            <a:off x="10556845" y="4447273"/>
            <a:ext cx="411676" cy="26519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alpha val="40000"/>
            </a:schemeClr>
          </a:solidFill>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99" name="Freeform 646"/>
          <p:cNvSpPr>
            <a:spLocks noEditPoints="1"/>
          </p:cNvSpPr>
          <p:nvPr/>
        </p:nvSpPr>
        <p:spPr bwMode="auto">
          <a:xfrm rot="20281014">
            <a:off x="10600847" y="4904802"/>
            <a:ext cx="323673" cy="323672"/>
          </a:xfrm>
          <a:custGeom>
            <a:avLst/>
            <a:gdLst>
              <a:gd name="T0" fmla="*/ 86 w 219"/>
              <a:gd name="T1" fmla="*/ 109 h 219"/>
              <a:gd name="T2" fmla="*/ 109 w 219"/>
              <a:gd name="T3" fmla="*/ 86 h 219"/>
              <a:gd name="T4" fmla="*/ 133 w 219"/>
              <a:gd name="T5" fmla="*/ 109 h 219"/>
              <a:gd name="T6" fmla="*/ 109 w 219"/>
              <a:gd name="T7" fmla="*/ 133 h 219"/>
              <a:gd name="T8" fmla="*/ 86 w 219"/>
              <a:gd name="T9" fmla="*/ 109 h 219"/>
              <a:gd name="T10" fmla="*/ 119 w 219"/>
              <a:gd name="T11" fmla="*/ 0 h 219"/>
              <a:gd name="T12" fmla="*/ 100 w 219"/>
              <a:gd name="T13" fmla="*/ 0 h 219"/>
              <a:gd name="T14" fmla="*/ 89 w 219"/>
              <a:gd name="T15" fmla="*/ 30 h 219"/>
              <a:gd name="T16" fmla="*/ 67 w 219"/>
              <a:gd name="T17" fmla="*/ 39 h 219"/>
              <a:gd name="T18" fmla="*/ 39 w 219"/>
              <a:gd name="T19" fmla="*/ 26 h 219"/>
              <a:gd name="T20" fmla="*/ 26 w 219"/>
              <a:gd name="T21" fmla="*/ 39 h 219"/>
              <a:gd name="T22" fmla="*/ 39 w 219"/>
              <a:gd name="T23" fmla="*/ 67 h 219"/>
              <a:gd name="T24" fmla="*/ 30 w 219"/>
              <a:gd name="T25" fmla="*/ 89 h 219"/>
              <a:gd name="T26" fmla="*/ 0 w 219"/>
              <a:gd name="T27" fmla="*/ 100 h 219"/>
              <a:gd name="T28" fmla="*/ 0 w 219"/>
              <a:gd name="T29" fmla="*/ 119 h 219"/>
              <a:gd name="T30" fmla="*/ 30 w 219"/>
              <a:gd name="T31" fmla="*/ 129 h 219"/>
              <a:gd name="T32" fmla="*/ 39 w 219"/>
              <a:gd name="T33" fmla="*/ 152 h 219"/>
              <a:gd name="T34" fmla="*/ 26 w 219"/>
              <a:gd name="T35" fmla="*/ 180 h 219"/>
              <a:gd name="T36" fmla="*/ 39 w 219"/>
              <a:gd name="T37" fmla="*/ 193 h 219"/>
              <a:gd name="T38" fmla="*/ 67 w 219"/>
              <a:gd name="T39" fmla="*/ 180 h 219"/>
              <a:gd name="T40" fmla="*/ 89 w 219"/>
              <a:gd name="T41" fmla="*/ 189 h 219"/>
              <a:gd name="T42" fmla="*/ 100 w 219"/>
              <a:gd name="T43" fmla="*/ 219 h 219"/>
              <a:gd name="T44" fmla="*/ 119 w 219"/>
              <a:gd name="T45" fmla="*/ 219 h 219"/>
              <a:gd name="T46" fmla="*/ 129 w 219"/>
              <a:gd name="T47" fmla="*/ 189 h 219"/>
              <a:gd name="T48" fmla="*/ 152 w 219"/>
              <a:gd name="T49" fmla="*/ 180 h 219"/>
              <a:gd name="T50" fmla="*/ 180 w 219"/>
              <a:gd name="T51" fmla="*/ 193 h 219"/>
              <a:gd name="T52" fmla="*/ 193 w 219"/>
              <a:gd name="T53" fmla="*/ 180 h 219"/>
              <a:gd name="T54" fmla="*/ 180 w 219"/>
              <a:gd name="T55" fmla="*/ 152 h 219"/>
              <a:gd name="T56" fmla="*/ 189 w 219"/>
              <a:gd name="T57" fmla="*/ 130 h 219"/>
              <a:gd name="T58" fmla="*/ 219 w 219"/>
              <a:gd name="T59" fmla="*/ 119 h 219"/>
              <a:gd name="T60" fmla="*/ 219 w 219"/>
              <a:gd name="T61" fmla="*/ 100 h 219"/>
              <a:gd name="T62" fmla="*/ 189 w 219"/>
              <a:gd name="T63" fmla="*/ 89 h 219"/>
              <a:gd name="T64" fmla="*/ 180 w 219"/>
              <a:gd name="T65" fmla="*/ 67 h 219"/>
              <a:gd name="T66" fmla="*/ 193 w 219"/>
              <a:gd name="T67" fmla="*/ 39 h 219"/>
              <a:gd name="T68" fmla="*/ 180 w 219"/>
              <a:gd name="T69" fmla="*/ 26 h 219"/>
              <a:gd name="T70" fmla="*/ 152 w 219"/>
              <a:gd name="T71" fmla="*/ 39 h 219"/>
              <a:gd name="T72" fmla="*/ 129 w 219"/>
              <a:gd name="T73" fmla="*/ 30 h 219"/>
              <a:gd name="T74" fmla="*/ 119 w 219"/>
              <a:gd name="T7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9" h="219">
                <a:moveTo>
                  <a:pt x="86" y="109"/>
                </a:moveTo>
                <a:cubicBezTo>
                  <a:pt x="86" y="96"/>
                  <a:pt x="96" y="86"/>
                  <a:pt x="109" y="86"/>
                </a:cubicBezTo>
                <a:cubicBezTo>
                  <a:pt x="123" y="86"/>
                  <a:pt x="133" y="96"/>
                  <a:pt x="133" y="109"/>
                </a:cubicBezTo>
                <a:cubicBezTo>
                  <a:pt x="133" y="123"/>
                  <a:pt x="123" y="133"/>
                  <a:pt x="109" y="133"/>
                </a:cubicBezTo>
                <a:cubicBezTo>
                  <a:pt x="96" y="133"/>
                  <a:pt x="86" y="123"/>
                  <a:pt x="86" y="109"/>
                </a:cubicBezTo>
                <a:close/>
                <a:moveTo>
                  <a:pt x="119" y="0"/>
                </a:moveTo>
                <a:cubicBezTo>
                  <a:pt x="113" y="0"/>
                  <a:pt x="106" y="0"/>
                  <a:pt x="100" y="0"/>
                </a:cubicBezTo>
                <a:cubicBezTo>
                  <a:pt x="89" y="30"/>
                  <a:pt x="89" y="30"/>
                  <a:pt x="89" y="30"/>
                </a:cubicBezTo>
                <a:cubicBezTo>
                  <a:pt x="82" y="32"/>
                  <a:pt x="74" y="35"/>
                  <a:pt x="67" y="39"/>
                </a:cubicBezTo>
                <a:cubicBezTo>
                  <a:pt x="39" y="26"/>
                  <a:pt x="39" y="26"/>
                  <a:pt x="39" y="26"/>
                </a:cubicBezTo>
                <a:cubicBezTo>
                  <a:pt x="34" y="30"/>
                  <a:pt x="30" y="34"/>
                  <a:pt x="26" y="39"/>
                </a:cubicBezTo>
                <a:cubicBezTo>
                  <a:pt x="39" y="67"/>
                  <a:pt x="39" y="67"/>
                  <a:pt x="39" y="67"/>
                </a:cubicBezTo>
                <a:cubicBezTo>
                  <a:pt x="35" y="74"/>
                  <a:pt x="32" y="82"/>
                  <a:pt x="30" y="89"/>
                </a:cubicBezTo>
                <a:cubicBezTo>
                  <a:pt x="0" y="100"/>
                  <a:pt x="0" y="100"/>
                  <a:pt x="0" y="100"/>
                </a:cubicBezTo>
                <a:cubicBezTo>
                  <a:pt x="0" y="106"/>
                  <a:pt x="0" y="113"/>
                  <a:pt x="0" y="119"/>
                </a:cubicBezTo>
                <a:cubicBezTo>
                  <a:pt x="30" y="129"/>
                  <a:pt x="30" y="129"/>
                  <a:pt x="30" y="129"/>
                </a:cubicBezTo>
                <a:cubicBezTo>
                  <a:pt x="32" y="137"/>
                  <a:pt x="35" y="145"/>
                  <a:pt x="39" y="152"/>
                </a:cubicBezTo>
                <a:cubicBezTo>
                  <a:pt x="26" y="180"/>
                  <a:pt x="26" y="180"/>
                  <a:pt x="26" y="180"/>
                </a:cubicBezTo>
                <a:cubicBezTo>
                  <a:pt x="30" y="185"/>
                  <a:pt x="34" y="189"/>
                  <a:pt x="39" y="193"/>
                </a:cubicBezTo>
                <a:cubicBezTo>
                  <a:pt x="67" y="180"/>
                  <a:pt x="67" y="180"/>
                  <a:pt x="67" y="180"/>
                </a:cubicBezTo>
                <a:cubicBezTo>
                  <a:pt x="74" y="184"/>
                  <a:pt x="82" y="187"/>
                  <a:pt x="89" y="189"/>
                </a:cubicBezTo>
                <a:cubicBezTo>
                  <a:pt x="100" y="219"/>
                  <a:pt x="100" y="219"/>
                  <a:pt x="100" y="219"/>
                </a:cubicBezTo>
                <a:cubicBezTo>
                  <a:pt x="106" y="219"/>
                  <a:pt x="113" y="219"/>
                  <a:pt x="119" y="219"/>
                </a:cubicBezTo>
                <a:cubicBezTo>
                  <a:pt x="129" y="189"/>
                  <a:pt x="129" y="189"/>
                  <a:pt x="129" y="189"/>
                </a:cubicBezTo>
                <a:cubicBezTo>
                  <a:pt x="137" y="187"/>
                  <a:pt x="145" y="184"/>
                  <a:pt x="152" y="180"/>
                </a:cubicBezTo>
                <a:cubicBezTo>
                  <a:pt x="180" y="193"/>
                  <a:pt x="180" y="193"/>
                  <a:pt x="180" y="193"/>
                </a:cubicBezTo>
                <a:cubicBezTo>
                  <a:pt x="185" y="189"/>
                  <a:pt x="189" y="185"/>
                  <a:pt x="193" y="180"/>
                </a:cubicBezTo>
                <a:cubicBezTo>
                  <a:pt x="180" y="152"/>
                  <a:pt x="180" y="152"/>
                  <a:pt x="180" y="152"/>
                </a:cubicBezTo>
                <a:cubicBezTo>
                  <a:pt x="184" y="145"/>
                  <a:pt x="187" y="137"/>
                  <a:pt x="189" y="130"/>
                </a:cubicBezTo>
                <a:cubicBezTo>
                  <a:pt x="219" y="119"/>
                  <a:pt x="219" y="119"/>
                  <a:pt x="219" y="119"/>
                </a:cubicBezTo>
                <a:cubicBezTo>
                  <a:pt x="219" y="113"/>
                  <a:pt x="219" y="106"/>
                  <a:pt x="219" y="100"/>
                </a:cubicBezTo>
                <a:cubicBezTo>
                  <a:pt x="189" y="89"/>
                  <a:pt x="189" y="89"/>
                  <a:pt x="189" y="89"/>
                </a:cubicBezTo>
                <a:cubicBezTo>
                  <a:pt x="187" y="82"/>
                  <a:pt x="184" y="74"/>
                  <a:pt x="180" y="67"/>
                </a:cubicBezTo>
                <a:cubicBezTo>
                  <a:pt x="193" y="39"/>
                  <a:pt x="193" y="39"/>
                  <a:pt x="193" y="39"/>
                </a:cubicBezTo>
                <a:cubicBezTo>
                  <a:pt x="189" y="34"/>
                  <a:pt x="185" y="30"/>
                  <a:pt x="180" y="26"/>
                </a:cubicBezTo>
                <a:cubicBezTo>
                  <a:pt x="152" y="39"/>
                  <a:pt x="152" y="39"/>
                  <a:pt x="152" y="39"/>
                </a:cubicBezTo>
                <a:cubicBezTo>
                  <a:pt x="145" y="35"/>
                  <a:pt x="137" y="32"/>
                  <a:pt x="129" y="30"/>
                </a:cubicBezTo>
                <a:lnTo>
                  <a:pt x="119" y="0"/>
                </a:ln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896178">
              <a:defRPr/>
            </a:pPr>
            <a:endParaRPr lang="en-US" sz="1667" kern="0">
              <a:solidFill>
                <a:srgbClr val="FFFFFF"/>
              </a:solidFill>
              <a:latin typeface="Segoe UI"/>
            </a:endParaRPr>
          </a:p>
        </p:txBody>
      </p:sp>
      <p:sp>
        <p:nvSpPr>
          <p:cNvPr id="100" name="Freeform 8"/>
          <p:cNvSpPr>
            <a:spLocks noChangeAspect="1" noEditPoints="1"/>
          </p:cNvSpPr>
          <p:nvPr/>
        </p:nvSpPr>
        <p:spPr bwMode="black">
          <a:xfrm>
            <a:off x="10571466" y="5322507"/>
            <a:ext cx="382435" cy="38233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1">
              <a:alpha val="40000"/>
            </a:schemeClr>
          </a:solidFill>
          <a:ln>
            <a:noFill/>
          </a:ln>
        </p:spPr>
        <p:txBody>
          <a:bodyPr vert="horz" wrap="square" lIns="80675" tIns="40338" rIns="80675" bIns="40338" numCol="1" anchor="t" anchorCtr="0" compatLnSpc="1">
            <a:prstTxWarp prst="textNoShape">
              <a:avLst/>
            </a:prstTxWarp>
          </a:bodyPr>
          <a:lstStyle/>
          <a:p>
            <a:pPr defTabSz="914192">
              <a:defRPr/>
            </a:pPr>
            <a:r>
              <a:rPr lang="en-US" sz="1567" kern="0" dirty="0">
                <a:solidFill>
                  <a:srgbClr val="FFFFFF"/>
                </a:solidFill>
                <a:latin typeface="Segoe UI"/>
              </a:rPr>
              <a:t>-</a:t>
            </a:r>
          </a:p>
        </p:txBody>
      </p:sp>
      <p:sp>
        <p:nvSpPr>
          <p:cNvPr id="101" name="Freeform 22"/>
          <p:cNvSpPr>
            <a:spLocks noChangeAspect="1" noEditPoints="1"/>
          </p:cNvSpPr>
          <p:nvPr/>
        </p:nvSpPr>
        <p:spPr bwMode="auto">
          <a:xfrm rot="5400000">
            <a:off x="10624860" y="5875799"/>
            <a:ext cx="363959" cy="370006"/>
          </a:xfrm>
          <a:custGeom>
            <a:avLst/>
            <a:gdLst>
              <a:gd name="T0" fmla="*/ 0 w 1289"/>
              <a:gd name="T1" fmla="*/ 774 h 1040"/>
              <a:gd name="T2" fmla="*/ 191 w 1289"/>
              <a:gd name="T3" fmla="*/ 774 h 1040"/>
              <a:gd name="T4" fmla="*/ 191 w 1289"/>
              <a:gd name="T5" fmla="*/ 1040 h 1040"/>
              <a:gd name="T6" fmla="*/ 0 w 1289"/>
              <a:gd name="T7" fmla="*/ 1040 h 1040"/>
              <a:gd name="T8" fmla="*/ 0 w 1289"/>
              <a:gd name="T9" fmla="*/ 774 h 1040"/>
              <a:gd name="T10" fmla="*/ 0 w 1289"/>
              <a:gd name="T11" fmla="*/ 774 h 1040"/>
              <a:gd name="T12" fmla="*/ 0 w 1289"/>
              <a:gd name="T13" fmla="*/ 774 h 1040"/>
              <a:gd name="T14" fmla="*/ 262 w 1289"/>
              <a:gd name="T15" fmla="*/ 581 h 1040"/>
              <a:gd name="T16" fmla="*/ 477 w 1289"/>
              <a:gd name="T17" fmla="*/ 581 h 1040"/>
              <a:gd name="T18" fmla="*/ 477 w 1289"/>
              <a:gd name="T19" fmla="*/ 1040 h 1040"/>
              <a:gd name="T20" fmla="*/ 262 w 1289"/>
              <a:gd name="T21" fmla="*/ 1040 h 1040"/>
              <a:gd name="T22" fmla="*/ 262 w 1289"/>
              <a:gd name="T23" fmla="*/ 581 h 1040"/>
              <a:gd name="T24" fmla="*/ 262 w 1289"/>
              <a:gd name="T25" fmla="*/ 581 h 1040"/>
              <a:gd name="T26" fmla="*/ 262 w 1289"/>
              <a:gd name="T27" fmla="*/ 581 h 1040"/>
              <a:gd name="T28" fmla="*/ 525 w 1289"/>
              <a:gd name="T29" fmla="*/ 387 h 1040"/>
              <a:gd name="T30" fmla="*/ 740 w 1289"/>
              <a:gd name="T31" fmla="*/ 387 h 1040"/>
              <a:gd name="T32" fmla="*/ 740 w 1289"/>
              <a:gd name="T33" fmla="*/ 1040 h 1040"/>
              <a:gd name="T34" fmla="*/ 525 w 1289"/>
              <a:gd name="T35" fmla="*/ 1040 h 1040"/>
              <a:gd name="T36" fmla="*/ 525 w 1289"/>
              <a:gd name="T37" fmla="*/ 387 h 1040"/>
              <a:gd name="T38" fmla="*/ 525 w 1289"/>
              <a:gd name="T39" fmla="*/ 387 h 1040"/>
              <a:gd name="T40" fmla="*/ 525 w 1289"/>
              <a:gd name="T41" fmla="*/ 387 h 1040"/>
              <a:gd name="T42" fmla="*/ 811 w 1289"/>
              <a:gd name="T43" fmla="*/ 194 h 1040"/>
              <a:gd name="T44" fmla="*/ 1002 w 1289"/>
              <a:gd name="T45" fmla="*/ 194 h 1040"/>
              <a:gd name="T46" fmla="*/ 1002 w 1289"/>
              <a:gd name="T47" fmla="*/ 1040 h 1040"/>
              <a:gd name="T48" fmla="*/ 811 w 1289"/>
              <a:gd name="T49" fmla="*/ 1040 h 1040"/>
              <a:gd name="T50" fmla="*/ 811 w 1289"/>
              <a:gd name="T51" fmla="*/ 194 h 1040"/>
              <a:gd name="T52" fmla="*/ 811 w 1289"/>
              <a:gd name="T53" fmla="*/ 194 h 1040"/>
              <a:gd name="T54" fmla="*/ 811 w 1289"/>
              <a:gd name="T55" fmla="*/ 194 h 1040"/>
              <a:gd name="T56" fmla="*/ 1074 w 1289"/>
              <a:gd name="T57" fmla="*/ 0 h 1040"/>
              <a:gd name="T58" fmla="*/ 1289 w 1289"/>
              <a:gd name="T59" fmla="*/ 0 h 1040"/>
              <a:gd name="T60" fmla="*/ 1289 w 1289"/>
              <a:gd name="T61" fmla="*/ 1040 h 1040"/>
              <a:gd name="T62" fmla="*/ 1074 w 1289"/>
              <a:gd name="T63" fmla="*/ 1040 h 1040"/>
              <a:gd name="T64" fmla="*/ 1074 w 1289"/>
              <a:gd name="T65" fmla="*/ 0 h 1040"/>
              <a:gd name="T66" fmla="*/ 1074 w 1289"/>
              <a:gd name="T67" fmla="*/ 0 h 1040"/>
              <a:gd name="T68" fmla="*/ 1074 w 1289"/>
              <a:gd name="T69"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9" h="1040">
                <a:moveTo>
                  <a:pt x="0" y="774"/>
                </a:moveTo>
                <a:lnTo>
                  <a:pt x="191" y="774"/>
                </a:lnTo>
                <a:lnTo>
                  <a:pt x="191" y="1040"/>
                </a:lnTo>
                <a:lnTo>
                  <a:pt x="0" y="1040"/>
                </a:lnTo>
                <a:lnTo>
                  <a:pt x="0" y="774"/>
                </a:lnTo>
                <a:lnTo>
                  <a:pt x="0" y="774"/>
                </a:lnTo>
                <a:lnTo>
                  <a:pt x="0" y="774"/>
                </a:lnTo>
                <a:close/>
                <a:moveTo>
                  <a:pt x="262" y="581"/>
                </a:moveTo>
                <a:lnTo>
                  <a:pt x="477" y="581"/>
                </a:lnTo>
                <a:lnTo>
                  <a:pt x="477" y="1040"/>
                </a:lnTo>
                <a:lnTo>
                  <a:pt x="262" y="1040"/>
                </a:lnTo>
                <a:lnTo>
                  <a:pt x="262" y="581"/>
                </a:lnTo>
                <a:lnTo>
                  <a:pt x="262" y="581"/>
                </a:lnTo>
                <a:lnTo>
                  <a:pt x="262" y="581"/>
                </a:lnTo>
                <a:close/>
                <a:moveTo>
                  <a:pt x="525" y="387"/>
                </a:moveTo>
                <a:lnTo>
                  <a:pt x="740" y="387"/>
                </a:lnTo>
                <a:lnTo>
                  <a:pt x="740" y="1040"/>
                </a:lnTo>
                <a:lnTo>
                  <a:pt x="525" y="1040"/>
                </a:lnTo>
                <a:lnTo>
                  <a:pt x="525" y="387"/>
                </a:lnTo>
                <a:lnTo>
                  <a:pt x="525" y="387"/>
                </a:lnTo>
                <a:lnTo>
                  <a:pt x="525" y="387"/>
                </a:lnTo>
                <a:close/>
                <a:moveTo>
                  <a:pt x="811" y="194"/>
                </a:moveTo>
                <a:lnTo>
                  <a:pt x="1002" y="194"/>
                </a:lnTo>
                <a:lnTo>
                  <a:pt x="1002" y="1040"/>
                </a:lnTo>
                <a:lnTo>
                  <a:pt x="811" y="1040"/>
                </a:lnTo>
                <a:lnTo>
                  <a:pt x="811" y="194"/>
                </a:lnTo>
                <a:lnTo>
                  <a:pt x="811" y="194"/>
                </a:lnTo>
                <a:lnTo>
                  <a:pt x="811" y="194"/>
                </a:lnTo>
                <a:close/>
                <a:moveTo>
                  <a:pt x="1074" y="0"/>
                </a:moveTo>
                <a:lnTo>
                  <a:pt x="1289" y="0"/>
                </a:lnTo>
                <a:lnTo>
                  <a:pt x="1289" y="1040"/>
                </a:lnTo>
                <a:lnTo>
                  <a:pt x="1074" y="1040"/>
                </a:lnTo>
                <a:lnTo>
                  <a:pt x="1074" y="0"/>
                </a:lnTo>
                <a:lnTo>
                  <a:pt x="1074" y="0"/>
                </a:lnTo>
                <a:lnTo>
                  <a:pt x="1074" y="0"/>
                </a:lnTo>
                <a:close/>
              </a:path>
            </a:pathLst>
          </a:custGeom>
          <a:solidFill>
            <a:schemeClr val="tx1">
              <a:alpha val="40000"/>
            </a:schemeClr>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FFFFFF"/>
              </a:solidFill>
              <a:latin typeface="Segoe UI"/>
            </a:endParaRPr>
          </a:p>
        </p:txBody>
      </p:sp>
      <p:sp>
        <p:nvSpPr>
          <p:cNvPr id="102" name="Oval 101"/>
          <p:cNvSpPr/>
          <p:nvPr/>
        </p:nvSpPr>
        <p:spPr bwMode="auto">
          <a:xfrm>
            <a:off x="11820809" y="103201"/>
            <a:ext cx="263777" cy="263777"/>
          </a:xfrm>
          <a:prstGeom prst="ellipse">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5" name="Left-Right Arrow 124"/>
          <p:cNvSpPr/>
          <p:nvPr/>
        </p:nvSpPr>
        <p:spPr>
          <a:xfrm rot="5400000">
            <a:off x="1292387" y="3937965"/>
            <a:ext cx="493197" cy="190462"/>
          </a:xfrm>
          <a:prstGeom prst="lef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6" name="Left-Right Arrow 125"/>
          <p:cNvSpPr/>
          <p:nvPr/>
        </p:nvSpPr>
        <p:spPr>
          <a:xfrm rot="5400000">
            <a:off x="1292387" y="5349719"/>
            <a:ext cx="493197" cy="190462"/>
          </a:xfrm>
          <a:prstGeom prst="lef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27" name="Rectangle 126"/>
          <p:cNvSpPr/>
          <p:nvPr/>
        </p:nvSpPr>
        <p:spPr>
          <a:xfrm rot="16200000" flipH="1">
            <a:off x="1049678" y="5189996"/>
            <a:ext cx="2230037" cy="29502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Field gateway</a:t>
            </a:r>
          </a:p>
        </p:txBody>
      </p:sp>
      <p:sp>
        <p:nvSpPr>
          <p:cNvPr id="128" name="Oval 127"/>
          <p:cNvSpPr/>
          <p:nvPr/>
        </p:nvSpPr>
        <p:spPr>
          <a:xfrm>
            <a:off x="2474815" y="3067359"/>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222A35"/>
                </a:solidFill>
                <a:latin typeface="Segoe UI"/>
              </a:rPr>
              <a:t>1</a:t>
            </a:r>
          </a:p>
        </p:txBody>
      </p:sp>
      <p:sp>
        <p:nvSpPr>
          <p:cNvPr id="129" name="Rectangle 128"/>
          <p:cNvSpPr/>
          <p:nvPr/>
        </p:nvSpPr>
        <p:spPr>
          <a:xfrm>
            <a:off x="3227365" y="3065187"/>
            <a:ext cx="1344637" cy="164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765" dirty="0">
                <a:solidFill>
                  <a:srgbClr val="FFFFFF"/>
                </a:solidFill>
                <a:latin typeface="Segoe UI"/>
              </a:rPr>
              <a:t>Cloud gateway</a:t>
            </a:r>
          </a:p>
        </p:txBody>
      </p:sp>
      <p:grpSp>
        <p:nvGrpSpPr>
          <p:cNvPr id="130" name="Group 129"/>
          <p:cNvGrpSpPr/>
          <p:nvPr/>
        </p:nvGrpSpPr>
        <p:grpSpPr>
          <a:xfrm>
            <a:off x="945197" y="2929041"/>
            <a:ext cx="948401" cy="936584"/>
            <a:chOff x="516562" y="2987278"/>
            <a:chExt cx="967418" cy="955364"/>
          </a:xfrm>
        </p:grpSpPr>
        <p:sp>
          <p:nvSpPr>
            <p:cNvPr id="131" name="Freeform 114"/>
            <p:cNvSpPr>
              <a:spLocks noChangeAspect="1" noEditPoints="1"/>
            </p:cNvSpPr>
            <p:nvPr/>
          </p:nvSpPr>
          <p:spPr bwMode="black">
            <a:xfrm>
              <a:off x="1026780" y="3325585"/>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Freeform 114"/>
            <p:cNvSpPr>
              <a:spLocks noChangeAspect="1" noEditPoints="1"/>
            </p:cNvSpPr>
            <p:nvPr/>
          </p:nvSpPr>
          <p:spPr bwMode="black">
            <a:xfrm>
              <a:off x="516562" y="2987278"/>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Freeform 114"/>
            <p:cNvSpPr>
              <a:spLocks noChangeAspect="1" noEditPoints="1"/>
            </p:cNvSpPr>
            <p:nvPr/>
          </p:nvSpPr>
          <p:spPr bwMode="black">
            <a:xfrm>
              <a:off x="516562" y="3485442"/>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4" name="Group 133"/>
          <p:cNvGrpSpPr/>
          <p:nvPr/>
        </p:nvGrpSpPr>
        <p:grpSpPr>
          <a:xfrm>
            <a:off x="943566" y="4222492"/>
            <a:ext cx="948401" cy="936584"/>
            <a:chOff x="514898" y="4308039"/>
            <a:chExt cx="967418" cy="955364"/>
          </a:xfrm>
        </p:grpSpPr>
        <p:sp>
          <p:nvSpPr>
            <p:cNvPr id="135" name="Freeform 114"/>
            <p:cNvSpPr>
              <a:spLocks noChangeAspect="1" noEditPoints="1"/>
            </p:cNvSpPr>
            <p:nvPr/>
          </p:nvSpPr>
          <p:spPr bwMode="black">
            <a:xfrm>
              <a:off x="1025116" y="4646346"/>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Freeform 114"/>
            <p:cNvSpPr>
              <a:spLocks noChangeAspect="1" noEditPoints="1"/>
            </p:cNvSpPr>
            <p:nvPr/>
          </p:nvSpPr>
          <p:spPr bwMode="black">
            <a:xfrm>
              <a:off x="514898" y="4308039"/>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7" name="Freeform 114"/>
            <p:cNvSpPr>
              <a:spLocks noChangeAspect="1" noEditPoints="1"/>
            </p:cNvSpPr>
            <p:nvPr/>
          </p:nvSpPr>
          <p:spPr bwMode="black">
            <a:xfrm>
              <a:off x="514898" y="4806203"/>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8" name="Group 137"/>
          <p:cNvGrpSpPr/>
          <p:nvPr/>
        </p:nvGrpSpPr>
        <p:grpSpPr>
          <a:xfrm>
            <a:off x="943566" y="5515943"/>
            <a:ext cx="948401" cy="936584"/>
            <a:chOff x="514898" y="5626053"/>
            <a:chExt cx="967418" cy="955364"/>
          </a:xfrm>
        </p:grpSpPr>
        <p:sp>
          <p:nvSpPr>
            <p:cNvPr id="139" name="Freeform 114"/>
            <p:cNvSpPr>
              <a:spLocks noChangeAspect="1" noEditPoints="1"/>
            </p:cNvSpPr>
            <p:nvPr/>
          </p:nvSpPr>
          <p:spPr bwMode="black">
            <a:xfrm>
              <a:off x="1025116" y="5964360"/>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0" name="Freeform 114"/>
            <p:cNvSpPr>
              <a:spLocks noChangeAspect="1" noEditPoints="1"/>
            </p:cNvSpPr>
            <p:nvPr/>
          </p:nvSpPr>
          <p:spPr bwMode="black">
            <a:xfrm>
              <a:off x="514898" y="5626053"/>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Freeform 114"/>
            <p:cNvSpPr>
              <a:spLocks noChangeAspect="1" noEditPoints="1"/>
            </p:cNvSpPr>
            <p:nvPr/>
          </p:nvSpPr>
          <p:spPr bwMode="black">
            <a:xfrm>
              <a:off x="514898" y="6124217"/>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2" name="TextBox 141"/>
          <p:cNvSpPr txBox="1"/>
          <p:nvPr/>
        </p:nvSpPr>
        <p:spPr>
          <a:xfrm>
            <a:off x="-27956" y="3103150"/>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IP Capable Devices</a:t>
            </a:r>
          </a:p>
        </p:txBody>
      </p:sp>
      <p:sp>
        <p:nvSpPr>
          <p:cNvPr id="143" name="TextBox 142"/>
          <p:cNvSpPr txBox="1"/>
          <p:nvPr/>
        </p:nvSpPr>
        <p:spPr>
          <a:xfrm>
            <a:off x="-27956" y="4437067"/>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Legacy Devices</a:t>
            </a:r>
          </a:p>
        </p:txBody>
      </p:sp>
      <p:sp>
        <p:nvSpPr>
          <p:cNvPr id="144" name="TextBox 143"/>
          <p:cNvSpPr txBox="1"/>
          <p:nvPr/>
        </p:nvSpPr>
        <p:spPr>
          <a:xfrm>
            <a:off x="-27956" y="5718264"/>
            <a:ext cx="1031347" cy="588366"/>
          </a:xfrm>
          <a:prstGeom prst="rect">
            <a:avLst/>
          </a:prstGeom>
          <a:noFill/>
        </p:spPr>
        <p:txBody>
          <a:bodyPr wrap="square" lIns="179285" tIns="143428" rIns="179285" bIns="143428" rtlCol="0">
            <a:spAutoFit/>
          </a:bodyPr>
          <a:lstStyle/>
          <a:p>
            <a:pPr defTabSz="914367">
              <a:lnSpc>
                <a:spcPct val="90000"/>
              </a:lnSpc>
              <a:spcAft>
                <a:spcPts val="588"/>
              </a:spcAft>
            </a:pPr>
            <a:r>
              <a:rPr lang="en-US" sz="1078" dirty="0">
                <a:gradFill>
                  <a:gsLst>
                    <a:gs pos="2917">
                      <a:srgbClr val="505050"/>
                    </a:gs>
                    <a:gs pos="30000">
                      <a:srgbClr val="505050"/>
                    </a:gs>
                  </a:gsLst>
                  <a:lin ang="5400000" scaled="0"/>
                </a:gradFill>
                <a:latin typeface="Segoe UI"/>
              </a:rPr>
              <a:t>Low Power Devices</a:t>
            </a:r>
          </a:p>
        </p:txBody>
      </p:sp>
      <p:sp>
        <p:nvSpPr>
          <p:cNvPr id="145" name="Freeform 144"/>
          <p:cNvSpPr/>
          <p:nvPr/>
        </p:nvSpPr>
        <p:spPr bwMode="auto">
          <a:xfrm>
            <a:off x="3765284" y="4710862"/>
            <a:ext cx="2221914" cy="1265788"/>
          </a:xfrm>
          <a:custGeom>
            <a:avLst/>
            <a:gdLst>
              <a:gd name="connsiteX0" fmla="*/ 138654 w 2266468"/>
              <a:gd name="connsiteY0" fmla="*/ 0 h 1291170"/>
              <a:gd name="connsiteX1" fmla="*/ 277307 w 2266468"/>
              <a:gd name="connsiteY1" fmla="*/ 138654 h 1291170"/>
              <a:gd name="connsiteX2" fmla="*/ 207980 w 2266468"/>
              <a:gd name="connsiteY2" fmla="*/ 138654 h 1291170"/>
              <a:gd name="connsiteX3" fmla="*/ 207980 w 2266468"/>
              <a:gd name="connsiteY3" fmla="*/ 745414 h 1291170"/>
              <a:gd name="connsiteX4" fmla="*/ 2266468 w 2266468"/>
              <a:gd name="connsiteY4" fmla="*/ 745414 h 1291170"/>
              <a:gd name="connsiteX5" fmla="*/ 2266468 w 2266468"/>
              <a:gd name="connsiteY5" fmla="*/ 857940 h 1291170"/>
              <a:gd name="connsiteX6" fmla="*/ 2266468 w 2266468"/>
              <a:gd name="connsiteY6" fmla="*/ 892404 h 1291170"/>
              <a:gd name="connsiteX7" fmla="*/ 2266468 w 2266468"/>
              <a:gd name="connsiteY7" fmla="*/ 1291170 h 1291170"/>
              <a:gd name="connsiteX8" fmla="*/ 2119478 w 2266468"/>
              <a:gd name="connsiteY8" fmla="*/ 1291170 h 1291170"/>
              <a:gd name="connsiteX9" fmla="*/ 2119478 w 2266468"/>
              <a:gd name="connsiteY9" fmla="*/ 892404 h 1291170"/>
              <a:gd name="connsiteX10" fmla="*/ 72400 w 2266468"/>
              <a:gd name="connsiteY10" fmla="*/ 892404 h 1291170"/>
              <a:gd name="connsiteX11" fmla="*/ 72400 w 2266468"/>
              <a:gd name="connsiteY11" fmla="*/ 850459 h 1291170"/>
              <a:gd name="connsiteX12" fmla="*/ 69327 w 2266468"/>
              <a:gd name="connsiteY12" fmla="*/ 850459 h 1291170"/>
              <a:gd name="connsiteX13" fmla="*/ 69327 w 2266468"/>
              <a:gd name="connsiteY13" fmla="*/ 138654 h 1291170"/>
              <a:gd name="connsiteX14" fmla="*/ 0 w 2266468"/>
              <a:gd name="connsiteY14" fmla="*/ 138654 h 129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6468" h="1291170">
                <a:moveTo>
                  <a:pt x="138654" y="0"/>
                </a:moveTo>
                <a:lnTo>
                  <a:pt x="277307" y="138654"/>
                </a:lnTo>
                <a:lnTo>
                  <a:pt x="207980" y="138654"/>
                </a:lnTo>
                <a:lnTo>
                  <a:pt x="207980" y="745414"/>
                </a:lnTo>
                <a:lnTo>
                  <a:pt x="2266468" y="745414"/>
                </a:lnTo>
                <a:lnTo>
                  <a:pt x="2266468" y="857940"/>
                </a:lnTo>
                <a:lnTo>
                  <a:pt x="2266468" y="892404"/>
                </a:lnTo>
                <a:lnTo>
                  <a:pt x="2266468" y="1291170"/>
                </a:lnTo>
                <a:lnTo>
                  <a:pt x="2119478" y="1291170"/>
                </a:lnTo>
                <a:lnTo>
                  <a:pt x="2119478" y="892404"/>
                </a:lnTo>
                <a:lnTo>
                  <a:pt x="72400" y="892404"/>
                </a:lnTo>
                <a:lnTo>
                  <a:pt x="72400" y="850459"/>
                </a:lnTo>
                <a:lnTo>
                  <a:pt x="69327" y="850459"/>
                </a:lnTo>
                <a:lnTo>
                  <a:pt x="69327" y="138654"/>
                </a:lnTo>
                <a:lnTo>
                  <a:pt x="0" y="138654"/>
                </a:lnTo>
                <a:close/>
              </a:path>
            </a:pathLst>
          </a:custGeom>
          <a:solidFill>
            <a:srgbClr val="50505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46" name="Left-Right Arrow 145"/>
          <p:cNvSpPr/>
          <p:nvPr/>
        </p:nvSpPr>
        <p:spPr>
          <a:xfrm>
            <a:off x="2303602" y="4349284"/>
            <a:ext cx="923764" cy="224691"/>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47" name="Oval 146"/>
          <p:cNvSpPr/>
          <p:nvPr/>
        </p:nvSpPr>
        <p:spPr>
          <a:xfrm>
            <a:off x="2456035" y="4048308"/>
            <a:ext cx="298808" cy="3009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67"/>
            <a:r>
              <a:rPr lang="en-US" sz="1765" dirty="0">
                <a:solidFill>
                  <a:srgbClr val="222A35"/>
                </a:solidFill>
                <a:latin typeface="Segoe UI"/>
              </a:rPr>
              <a:t>1a</a:t>
            </a:r>
          </a:p>
        </p:txBody>
      </p:sp>
      <p:sp>
        <p:nvSpPr>
          <p:cNvPr id="87" name="Rectangle 86"/>
          <p:cNvSpPr/>
          <p:nvPr/>
        </p:nvSpPr>
        <p:spPr>
          <a:xfrm>
            <a:off x="952326" y="2303498"/>
            <a:ext cx="1379585" cy="52291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b="1" dirty="0">
                <a:solidFill>
                  <a:srgbClr val="FFFFFF"/>
                </a:solidFill>
                <a:latin typeface="Segoe UI Semibold" panose="020B0702040204020203" pitchFamily="34" charset="0"/>
                <a:cs typeface="Segoe UI Semibold" panose="020B0702040204020203" pitchFamily="34" charset="0"/>
              </a:rPr>
              <a:t>Producers</a:t>
            </a:r>
          </a:p>
        </p:txBody>
      </p:sp>
      <p:sp>
        <p:nvSpPr>
          <p:cNvPr id="11" name="Rectangular Callout 10"/>
          <p:cNvSpPr/>
          <p:nvPr/>
        </p:nvSpPr>
        <p:spPr bwMode="auto">
          <a:xfrm>
            <a:off x="143757" y="1817237"/>
            <a:ext cx="2496042" cy="974005"/>
          </a:xfrm>
          <a:prstGeom prst="wedgeRectCallout">
            <a:avLst>
              <a:gd name="adj1" fmla="val 59373"/>
              <a:gd name="adj2" fmla="val 180760"/>
            </a:avLst>
          </a:prstGeom>
          <a:solidFill>
            <a:srgbClr val="5C2D9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latin typeface="Segoe UI"/>
              </a:rPr>
              <a:t>Communication Interface</a:t>
            </a:r>
          </a:p>
        </p:txBody>
      </p:sp>
    </p:spTree>
    <p:extLst>
      <p:ext uri="{BB962C8B-B14F-4D97-AF65-F5344CB8AC3E}">
        <p14:creationId xmlns:p14="http://schemas.microsoft.com/office/powerpoint/2010/main" val="1760371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repeatCount="indefinite" fill="remove" grpId="0" nodeType="clickEffect">
                                  <p:stCondLst>
                                    <p:cond delay="0"/>
                                  </p:stCondLst>
                                  <p:endCondLst>
                                    <p:cond evt="onNext" delay="0">
                                      <p:tgtEl>
                                        <p:sldTgt/>
                                      </p:tgtEl>
                                    </p:cond>
                                  </p:endCondLst>
                                  <p:childTnLst>
                                    <p:animClr clrSpc="rgb" dir="cw">
                                      <p:cBhvr override="childStyle">
                                        <p:cTn id="6" dur="250" autoRev="1" fill="remove"/>
                                        <p:tgtEl>
                                          <p:spTgt spid="65"/>
                                        </p:tgtEl>
                                        <p:attrNameLst>
                                          <p:attrName>style.color</p:attrName>
                                        </p:attrNameLst>
                                      </p:cBhvr>
                                      <p:to>
                                        <a:schemeClr val="accent1"/>
                                      </p:to>
                                    </p:animClr>
                                    <p:animClr clrSpc="rgb" dir="cw">
                                      <p:cBhvr>
                                        <p:cTn id="7" dur="250" autoRev="1" fill="remove"/>
                                        <p:tgtEl>
                                          <p:spTgt spid="65"/>
                                        </p:tgtEl>
                                        <p:attrNameLst>
                                          <p:attrName>fillcolor</p:attrName>
                                        </p:attrNameLst>
                                      </p:cBhvr>
                                      <p:to>
                                        <a:schemeClr val="accent1"/>
                                      </p:to>
                                    </p:animClr>
                                    <p:set>
                                      <p:cBhvr>
                                        <p:cTn id="8" dur="250" autoRev="1" fill="remove"/>
                                        <p:tgtEl>
                                          <p:spTgt spid="65"/>
                                        </p:tgtEl>
                                        <p:attrNameLst>
                                          <p:attrName>fill.type</p:attrName>
                                        </p:attrNameLst>
                                      </p:cBhvr>
                                      <p:to>
                                        <p:strVal val="solid"/>
                                      </p:to>
                                    </p:set>
                                    <p:set>
                                      <p:cBhvr>
                                        <p:cTn id="9" dur="250" autoRev="1" fill="remove"/>
                                        <p:tgtEl>
                                          <p:spTgt spid="65"/>
                                        </p:tgtEl>
                                        <p:attrNameLst>
                                          <p:attrName>fill.on</p:attrName>
                                        </p:attrNameLst>
                                      </p:cBhvr>
                                      <p:to>
                                        <p:strVal val="true"/>
                                      </p:to>
                                    </p:set>
                                  </p:childTnLst>
                                </p:cTn>
                              </p:par>
                              <p:par>
                                <p:cTn id="10"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11" dur="250" autoRev="1" fill="remove"/>
                                        <p:tgtEl>
                                          <p:spTgt spid="8"/>
                                        </p:tgtEl>
                                        <p:attrNameLst>
                                          <p:attrName>style.color</p:attrName>
                                        </p:attrNameLst>
                                      </p:cBhvr>
                                      <p:to>
                                        <a:schemeClr val="accent1"/>
                                      </p:to>
                                    </p:animClr>
                                    <p:animClr clrSpc="rgb" dir="cw">
                                      <p:cBhvr>
                                        <p:cTn id="12" dur="250" autoRev="1" fill="remove"/>
                                        <p:tgtEl>
                                          <p:spTgt spid="8"/>
                                        </p:tgtEl>
                                        <p:attrNameLst>
                                          <p:attrName>fillcolor</p:attrName>
                                        </p:attrNameLst>
                                      </p:cBhvr>
                                      <p:to>
                                        <a:schemeClr val="accent1"/>
                                      </p:to>
                                    </p:animClr>
                                    <p:set>
                                      <p:cBhvr>
                                        <p:cTn id="13" dur="250" autoRev="1" fill="remove"/>
                                        <p:tgtEl>
                                          <p:spTgt spid="8"/>
                                        </p:tgtEl>
                                        <p:attrNameLst>
                                          <p:attrName>fill.type</p:attrName>
                                        </p:attrNameLst>
                                      </p:cBhvr>
                                      <p:to>
                                        <p:strVal val="solid"/>
                                      </p:to>
                                    </p:set>
                                    <p:set>
                                      <p:cBhvr>
                                        <p:cTn id="14" dur="250" autoRev="1" fill="remove"/>
                                        <p:tgtEl>
                                          <p:spTgt spid="8"/>
                                        </p:tgtEl>
                                        <p:attrNameLst>
                                          <p:attrName>fill.on</p:attrName>
                                        </p:attrNameLst>
                                      </p:cBhvr>
                                      <p:to>
                                        <p:strVal val="true"/>
                                      </p:to>
                                    </p:set>
                                  </p:childTnLst>
                                </p:cTn>
                              </p:par>
                              <p:par>
                                <p:cTn id="15"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16" dur="250" autoRev="1" fill="remove"/>
                                        <p:tgtEl>
                                          <p:spTgt spid="146"/>
                                        </p:tgtEl>
                                        <p:attrNameLst>
                                          <p:attrName>style.color</p:attrName>
                                        </p:attrNameLst>
                                      </p:cBhvr>
                                      <p:to>
                                        <a:schemeClr val="accent1"/>
                                      </p:to>
                                    </p:animClr>
                                    <p:animClr clrSpc="rgb" dir="cw">
                                      <p:cBhvr>
                                        <p:cTn id="17" dur="250" autoRev="1" fill="remove"/>
                                        <p:tgtEl>
                                          <p:spTgt spid="146"/>
                                        </p:tgtEl>
                                        <p:attrNameLst>
                                          <p:attrName>fillcolor</p:attrName>
                                        </p:attrNameLst>
                                      </p:cBhvr>
                                      <p:to>
                                        <a:schemeClr val="accent1"/>
                                      </p:to>
                                    </p:animClr>
                                    <p:set>
                                      <p:cBhvr>
                                        <p:cTn id="18" dur="250" autoRev="1" fill="remove"/>
                                        <p:tgtEl>
                                          <p:spTgt spid="146"/>
                                        </p:tgtEl>
                                        <p:attrNameLst>
                                          <p:attrName>fill.type</p:attrName>
                                        </p:attrNameLst>
                                      </p:cBhvr>
                                      <p:to>
                                        <p:strVal val="solid"/>
                                      </p:to>
                                    </p:set>
                                    <p:set>
                                      <p:cBhvr>
                                        <p:cTn id="19" dur="250" autoRev="1" fill="remove"/>
                                        <p:tgtEl>
                                          <p:spTgt spid="146"/>
                                        </p:tgtEl>
                                        <p:attrNameLst>
                                          <p:attrName>fill.on</p:attrName>
                                        </p:attrNameLst>
                                      </p:cBhvr>
                                      <p:to>
                                        <p:strVal val="true"/>
                                      </p:to>
                                    </p:se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down)">
                                      <p:cBhvr>
                                        <p:cTn id="23" dur="10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11"/>
                                        </p:tgtEl>
                                      </p:cBhvr>
                                    </p:animEffect>
                                    <p:set>
                                      <p:cBhvr>
                                        <p:cTn id="28" dur="1" fill="hold">
                                          <p:stCondLst>
                                            <p:cond delay="499"/>
                                          </p:stCondLst>
                                        </p:cTn>
                                        <p:tgtEl>
                                          <p:spTgt spid="11"/>
                                        </p:tgtEl>
                                        <p:attrNameLst>
                                          <p:attrName>style.visibility</p:attrName>
                                        </p:attrNameLst>
                                      </p:cBhvr>
                                      <p:to>
                                        <p:strVal val="hidden"/>
                                      </p:to>
                                    </p:set>
                                  </p:childTnLst>
                                </p:cTn>
                              </p:par>
                            </p:childTnLst>
                          </p:cTn>
                        </p:par>
                        <p:par>
                          <p:cTn id="29" fill="hold">
                            <p:stCondLst>
                              <p:cond delay="500"/>
                            </p:stCondLst>
                            <p:childTnLst>
                              <p:par>
                                <p:cTn id="30"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31" dur="250" autoRev="1" fill="remove"/>
                                        <p:tgtEl>
                                          <p:spTgt spid="9"/>
                                        </p:tgtEl>
                                        <p:attrNameLst>
                                          <p:attrName>style.color</p:attrName>
                                        </p:attrNameLst>
                                      </p:cBhvr>
                                      <p:to>
                                        <a:schemeClr val="accent1"/>
                                      </p:to>
                                    </p:animClr>
                                    <p:animClr clrSpc="rgb" dir="cw">
                                      <p:cBhvr>
                                        <p:cTn id="32" dur="250" autoRev="1" fill="remove"/>
                                        <p:tgtEl>
                                          <p:spTgt spid="9"/>
                                        </p:tgtEl>
                                        <p:attrNameLst>
                                          <p:attrName>fillcolor</p:attrName>
                                        </p:attrNameLst>
                                      </p:cBhvr>
                                      <p:to>
                                        <a:schemeClr val="accent1"/>
                                      </p:to>
                                    </p:animClr>
                                    <p:set>
                                      <p:cBhvr>
                                        <p:cTn id="33" dur="250" autoRev="1" fill="remove"/>
                                        <p:tgtEl>
                                          <p:spTgt spid="9"/>
                                        </p:tgtEl>
                                        <p:attrNameLst>
                                          <p:attrName>fill.type</p:attrName>
                                        </p:attrNameLst>
                                      </p:cBhvr>
                                      <p:to>
                                        <p:strVal val="solid"/>
                                      </p:to>
                                    </p:set>
                                    <p:set>
                                      <p:cBhvr>
                                        <p:cTn id="34" dur="250" autoRev="1" fill="remove"/>
                                        <p:tgtEl>
                                          <p:spTgt spid="9"/>
                                        </p:tgtEl>
                                        <p:attrNameLst>
                                          <p:attrName>fill.on</p:attrName>
                                        </p:attrNameLst>
                                      </p:cBhvr>
                                      <p:to>
                                        <p:strVal val="true"/>
                                      </p:to>
                                    </p:set>
                                  </p:childTnLst>
                                </p:cTn>
                              </p:par>
                              <p:par>
                                <p:cTn id="35"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36" dur="250" autoRev="1" fill="remove"/>
                                        <p:tgtEl>
                                          <p:spTgt spid="5"/>
                                        </p:tgtEl>
                                        <p:attrNameLst>
                                          <p:attrName>style.color</p:attrName>
                                        </p:attrNameLst>
                                      </p:cBhvr>
                                      <p:to>
                                        <a:schemeClr val="accent1"/>
                                      </p:to>
                                    </p:animClr>
                                    <p:animClr clrSpc="rgb" dir="cw">
                                      <p:cBhvr>
                                        <p:cTn id="37" dur="250" autoRev="1" fill="remove"/>
                                        <p:tgtEl>
                                          <p:spTgt spid="5"/>
                                        </p:tgtEl>
                                        <p:attrNameLst>
                                          <p:attrName>fillcolor</p:attrName>
                                        </p:attrNameLst>
                                      </p:cBhvr>
                                      <p:to>
                                        <a:schemeClr val="accent1"/>
                                      </p:to>
                                    </p:animClr>
                                    <p:set>
                                      <p:cBhvr>
                                        <p:cTn id="38" dur="250" autoRev="1" fill="remove"/>
                                        <p:tgtEl>
                                          <p:spTgt spid="5"/>
                                        </p:tgtEl>
                                        <p:attrNameLst>
                                          <p:attrName>fill.type</p:attrName>
                                        </p:attrNameLst>
                                      </p:cBhvr>
                                      <p:to>
                                        <p:strVal val="solid"/>
                                      </p:to>
                                    </p:set>
                                    <p:set>
                                      <p:cBhvr>
                                        <p:cTn id="39" dur="250" autoRev="1" fill="remove"/>
                                        <p:tgtEl>
                                          <p:spTgt spid="5"/>
                                        </p:tgtEl>
                                        <p:attrNameLst>
                                          <p:attrName>fill.on</p:attrName>
                                        </p:attrNameLst>
                                      </p:cBhvr>
                                      <p:to>
                                        <p:strVal val="true"/>
                                      </p:to>
                                    </p:set>
                                  </p:childTnLst>
                                </p:cTn>
                              </p:par>
                              <p:par>
                                <p:cTn id="40" presetID="27" presetClass="emph" presetSubtype="0" repeatCount="indefinite" fill="remove" grpId="0" nodeType="withEffect">
                                  <p:stCondLst>
                                    <p:cond delay="0"/>
                                  </p:stCondLst>
                                  <p:endCondLst>
                                    <p:cond evt="onNext" delay="0">
                                      <p:tgtEl>
                                        <p:sldTgt/>
                                      </p:tgtEl>
                                    </p:cond>
                                  </p:endCondLst>
                                  <p:childTnLst>
                                    <p:animClr clrSpc="rgb" dir="cw">
                                      <p:cBhvr override="childStyle">
                                        <p:cTn id="41" dur="250" autoRev="1" fill="remove"/>
                                        <p:tgtEl>
                                          <p:spTgt spid="63"/>
                                        </p:tgtEl>
                                        <p:attrNameLst>
                                          <p:attrName>style.color</p:attrName>
                                        </p:attrNameLst>
                                      </p:cBhvr>
                                      <p:to>
                                        <a:schemeClr val="accent1"/>
                                      </p:to>
                                    </p:animClr>
                                    <p:animClr clrSpc="rgb" dir="cw">
                                      <p:cBhvr>
                                        <p:cTn id="42" dur="250" autoRev="1" fill="remove"/>
                                        <p:tgtEl>
                                          <p:spTgt spid="63"/>
                                        </p:tgtEl>
                                        <p:attrNameLst>
                                          <p:attrName>fillcolor</p:attrName>
                                        </p:attrNameLst>
                                      </p:cBhvr>
                                      <p:to>
                                        <a:schemeClr val="accent1"/>
                                      </p:to>
                                    </p:animClr>
                                    <p:set>
                                      <p:cBhvr>
                                        <p:cTn id="43" dur="250" autoRev="1" fill="remove"/>
                                        <p:tgtEl>
                                          <p:spTgt spid="63"/>
                                        </p:tgtEl>
                                        <p:attrNameLst>
                                          <p:attrName>fill.type</p:attrName>
                                        </p:attrNameLst>
                                      </p:cBhvr>
                                      <p:to>
                                        <p:strVal val="solid"/>
                                      </p:to>
                                    </p:set>
                                    <p:set>
                                      <p:cBhvr>
                                        <p:cTn id="44" dur="250" autoRev="1" fill="remove"/>
                                        <p:tgtEl>
                                          <p:spTgt spid="63"/>
                                        </p:tgtEl>
                                        <p:attrNameLst>
                                          <p:attrName>fill.on</p:attrName>
                                        </p:attrNameLst>
                                      </p:cBhvr>
                                      <p:to>
                                        <p:strVal val="true"/>
                                      </p:to>
                                    </p:set>
                                  </p:childTnLst>
                                </p:cTn>
                              </p:par>
                            </p:childTnLst>
                          </p:cTn>
                        </p:par>
                        <p:par>
                          <p:cTn id="45" fill="hold">
                            <p:stCondLst>
                              <p:cond delay="1000"/>
                            </p:stCondLst>
                            <p:childTnLst>
                              <p:par>
                                <p:cTn id="46" presetID="22" presetClass="entr" presetSubtype="4" fill="hold" grpId="0" nodeType="after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wipe(down)">
                                      <p:cBhvr>
                                        <p:cTn id="48" dur="1000"/>
                                        <p:tgtEl>
                                          <p:spTgt spid="7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1" nodeType="clickEffect">
                                  <p:stCondLst>
                                    <p:cond delay="0"/>
                                  </p:stCondLst>
                                  <p:childTnLst>
                                    <p:animEffect transition="out" filter="fade">
                                      <p:cBhvr>
                                        <p:cTn id="52" dur="500"/>
                                        <p:tgtEl>
                                          <p:spTgt spid="70"/>
                                        </p:tgtEl>
                                      </p:cBhvr>
                                    </p:animEffect>
                                    <p:set>
                                      <p:cBhvr>
                                        <p:cTn id="53"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63" grpId="0" animBg="1"/>
      <p:bldP spid="65" grpId="0" animBg="1"/>
      <p:bldP spid="70" grpId="0" animBg="1"/>
      <p:bldP spid="70" grpId="1" animBg="1"/>
      <p:bldP spid="146" grpId="0" animBg="1"/>
      <p:bldP spid="11" grpId="0" animBg="1"/>
      <p:bldP spid="11"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164634"/>
            <a:ext cx="11655840" cy="899537"/>
          </a:xfrm>
        </p:spPr>
        <p:txBody>
          <a:bodyPr/>
          <a:lstStyle/>
          <a:p>
            <a:r>
              <a:rPr lang="en-US" dirty="0"/>
              <a:t>Azure IoT – </a:t>
            </a:r>
            <a:r>
              <a:rPr lang="en-US" sz="4705" dirty="0"/>
              <a:t>Generate Predictive Insights</a:t>
            </a:r>
            <a:endParaRPr lang="en-US" dirty="0"/>
          </a:p>
        </p:txBody>
      </p:sp>
      <p:sp>
        <p:nvSpPr>
          <p:cNvPr id="28" name="Rectangle 27"/>
          <p:cNvSpPr/>
          <p:nvPr/>
        </p:nvSpPr>
        <p:spPr bwMode="auto">
          <a:xfrm>
            <a:off x="269982" y="1353966"/>
            <a:ext cx="3730991" cy="7865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buFont typeface="+mj-lt"/>
              <a:buAutoNum type="arabicPeriod"/>
              <a:defRPr/>
            </a:pPr>
            <a:r>
              <a:rPr lang="en-US" sz="2157" kern="0" dirty="0">
                <a:solidFill>
                  <a:srgbClr val="FFFFFF"/>
                </a:solidFill>
                <a:latin typeface="Segoe UI Light" panose="020B0502040204020203" pitchFamily="34" charset="0"/>
                <a:cs typeface="Segoe UI Light" panose="020B0502040204020203" pitchFamily="34" charset="0"/>
              </a:rPr>
              <a:t>Connect and Manage </a:t>
            </a:r>
          </a:p>
          <a:p>
            <a:pPr marL="179277" indent="-179277" defTabSz="914225">
              <a:buFont typeface="+mj-lt"/>
              <a:buAutoNum type="arabicPeriod"/>
              <a:defRPr/>
            </a:pPr>
            <a:r>
              <a:rPr lang="en-US" sz="2157" kern="0" dirty="0">
                <a:solidFill>
                  <a:srgbClr val="FFFFFF"/>
                </a:solidFill>
                <a:latin typeface="Segoe UI Light" panose="020B0502040204020203" pitchFamily="34" charset="0"/>
                <a:cs typeface="Segoe UI Light" panose="020B0502040204020203" pitchFamily="34" charset="0"/>
              </a:rPr>
              <a:t>Edge Intelligence</a:t>
            </a:r>
          </a:p>
        </p:txBody>
      </p:sp>
      <p:sp>
        <p:nvSpPr>
          <p:cNvPr id="18" name="TextBox 17"/>
          <p:cNvSpPr txBox="1"/>
          <p:nvPr/>
        </p:nvSpPr>
        <p:spPr>
          <a:xfrm>
            <a:off x="269982" y="3109723"/>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Device libraries</a:t>
            </a:r>
          </a:p>
        </p:txBody>
      </p:sp>
      <p:grpSp>
        <p:nvGrpSpPr>
          <p:cNvPr id="16" name="Group 15"/>
          <p:cNvGrpSpPr/>
          <p:nvPr/>
        </p:nvGrpSpPr>
        <p:grpSpPr>
          <a:xfrm>
            <a:off x="413192" y="3252239"/>
            <a:ext cx="516618" cy="521753"/>
            <a:chOff x="6827893" y="1397182"/>
            <a:chExt cx="4289737" cy="4332363"/>
          </a:xfrm>
        </p:grpSpPr>
        <p:sp>
          <p:nvSpPr>
            <p:cNvPr id="29" name="Oval 28"/>
            <p:cNvSpPr/>
            <p:nvPr/>
          </p:nvSpPr>
          <p:spPr>
            <a:xfrm>
              <a:off x="6827893" y="1397182"/>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0" name="Picture 29"/>
            <p:cNvPicPr>
              <a:picLocks noChangeAspect="1"/>
            </p:cNvPicPr>
            <p:nvPr/>
          </p:nvPicPr>
          <p:blipFill>
            <a:blip r:embed="rId3"/>
            <a:stretch>
              <a:fillRect/>
            </a:stretch>
          </p:blipFill>
          <p:spPr>
            <a:xfrm>
              <a:off x="7020699" y="1611301"/>
              <a:ext cx="3904125" cy="3904125"/>
            </a:xfrm>
            <a:prstGeom prst="rect">
              <a:avLst/>
            </a:prstGeom>
          </p:spPr>
        </p:pic>
      </p:grpSp>
      <p:sp>
        <p:nvSpPr>
          <p:cNvPr id="17" name="TextBox 16"/>
          <p:cNvSpPr txBox="1"/>
          <p:nvPr/>
        </p:nvSpPr>
        <p:spPr>
          <a:xfrm>
            <a:off x="269982" y="2231180"/>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Preconfigured solutions</a:t>
            </a:r>
          </a:p>
        </p:txBody>
      </p:sp>
      <p:grpSp>
        <p:nvGrpSpPr>
          <p:cNvPr id="4" name="Group 3"/>
          <p:cNvGrpSpPr/>
          <p:nvPr/>
        </p:nvGrpSpPr>
        <p:grpSpPr>
          <a:xfrm>
            <a:off x="413192" y="2373695"/>
            <a:ext cx="516618" cy="521753"/>
            <a:chOff x="-1729588" y="2998752"/>
            <a:chExt cx="526977" cy="532214"/>
          </a:xfrm>
        </p:grpSpPr>
        <p:sp>
          <p:nvSpPr>
            <p:cNvPr id="35" name="Oval 34"/>
            <p:cNvSpPr/>
            <p:nvPr/>
          </p:nvSpPr>
          <p:spPr>
            <a:xfrm>
              <a:off x="-1729588" y="2998752"/>
              <a:ext cx="526977" cy="53221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31" name="Picture 30"/>
            <p:cNvPicPr>
              <a:picLocks noChangeAspect="1"/>
            </p:cNvPicPr>
            <p:nvPr/>
          </p:nvPicPr>
          <p:blipFill>
            <a:blip r:embed="rId4"/>
            <a:stretch>
              <a:fillRect/>
            </a:stretch>
          </p:blipFill>
          <p:spPr>
            <a:xfrm>
              <a:off x="-1593253" y="3023042"/>
              <a:ext cx="254387" cy="254387"/>
            </a:xfrm>
            <a:prstGeom prst="rect">
              <a:avLst/>
            </a:prstGeom>
          </p:spPr>
        </p:pic>
        <p:pic>
          <p:nvPicPr>
            <p:cNvPr id="32" name="Picture 31"/>
            <p:cNvPicPr>
              <a:picLocks noChangeAspect="1"/>
            </p:cNvPicPr>
            <p:nvPr/>
          </p:nvPicPr>
          <p:blipFill>
            <a:blip r:embed="rId5"/>
            <a:stretch>
              <a:fillRect/>
            </a:stretch>
          </p:blipFill>
          <p:spPr>
            <a:xfrm>
              <a:off x="-1496917" y="3224319"/>
              <a:ext cx="229095" cy="229095"/>
            </a:xfrm>
            <a:prstGeom prst="rect">
              <a:avLst/>
            </a:prstGeom>
          </p:spPr>
        </p:pic>
        <p:pic>
          <p:nvPicPr>
            <p:cNvPr id="33" name="Picture 32"/>
            <p:cNvPicPr>
              <a:picLocks noChangeAspect="1"/>
            </p:cNvPicPr>
            <p:nvPr/>
          </p:nvPicPr>
          <p:blipFill>
            <a:blip r:embed="rId6"/>
            <a:stretch>
              <a:fillRect/>
            </a:stretch>
          </p:blipFill>
          <p:spPr>
            <a:xfrm>
              <a:off x="-1661325" y="3231709"/>
              <a:ext cx="214316" cy="214316"/>
            </a:xfrm>
            <a:prstGeom prst="rect">
              <a:avLst/>
            </a:prstGeom>
          </p:spPr>
        </p:pic>
      </p:grpSp>
      <p:sp>
        <p:nvSpPr>
          <p:cNvPr id="19" name="TextBox 18"/>
          <p:cNvSpPr txBox="1"/>
          <p:nvPr/>
        </p:nvSpPr>
        <p:spPr>
          <a:xfrm>
            <a:off x="269982" y="3988267"/>
            <a:ext cx="3730991" cy="804249"/>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Connect and control</a:t>
            </a:r>
          </a:p>
        </p:txBody>
      </p:sp>
      <p:grpSp>
        <p:nvGrpSpPr>
          <p:cNvPr id="36" name="Group 35"/>
          <p:cNvGrpSpPr/>
          <p:nvPr/>
        </p:nvGrpSpPr>
        <p:grpSpPr>
          <a:xfrm>
            <a:off x="414800" y="4130327"/>
            <a:ext cx="515009" cy="520128"/>
            <a:chOff x="6827893" y="2229084"/>
            <a:chExt cx="4289737" cy="4332363"/>
          </a:xfrm>
        </p:grpSpPr>
        <p:sp>
          <p:nvSpPr>
            <p:cNvPr id="37" name="Oval 36"/>
            <p:cNvSpPr/>
            <p:nvPr/>
          </p:nvSpPr>
          <p:spPr>
            <a:xfrm>
              <a:off x="6827893" y="2229084"/>
              <a:ext cx="4289737" cy="43323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38" name="Freeform 37"/>
            <p:cNvSpPr>
              <a:spLocks noChangeAspect="1"/>
            </p:cNvSpPr>
            <p:nvPr/>
          </p:nvSpPr>
          <p:spPr bwMode="auto">
            <a:xfrm rot="5280000">
              <a:off x="7939796" y="3081780"/>
              <a:ext cx="2065940" cy="262698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sp>
        <p:nvSpPr>
          <p:cNvPr id="26" name="Rectangle 25"/>
          <p:cNvSpPr/>
          <p:nvPr/>
        </p:nvSpPr>
        <p:spPr bwMode="auto">
          <a:xfrm>
            <a:off x="4161300" y="1353966"/>
            <a:ext cx="3809741" cy="7865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225"/>
            <a:r>
              <a:rPr lang="en-US" sz="2157" kern="0" dirty="0">
                <a:solidFill>
                  <a:srgbClr val="FFFFFF"/>
                </a:solidFill>
                <a:latin typeface="Segoe UI Light" panose="020B0502040204020203" pitchFamily="34" charset="0"/>
                <a:cs typeface="Segoe UI Light" panose="020B0502040204020203" pitchFamily="34" charset="0"/>
              </a:rPr>
              <a:t>3</a:t>
            </a:r>
            <a:r>
              <a:rPr lang="en-US" sz="2157" b="1" kern="0" dirty="0">
                <a:solidFill>
                  <a:srgbClr val="FFFF00"/>
                </a:solidFill>
                <a:latin typeface="Segoe UI Light" panose="020B0502040204020203" pitchFamily="34" charset="0"/>
                <a:cs typeface="Segoe UI Light" panose="020B0502040204020203" pitchFamily="34" charset="0"/>
              </a:rPr>
              <a:t>. </a:t>
            </a:r>
            <a:r>
              <a:rPr lang="en-US" sz="2157" kern="0" dirty="0">
                <a:solidFill>
                  <a:srgbClr val="FFFFFF"/>
                </a:solidFill>
                <a:latin typeface="Segoe UI Light" panose="020B0502040204020203" pitchFamily="34" charset="0"/>
                <a:cs typeface="Segoe UI Light" panose="020B0502040204020203" pitchFamily="34" charset="0"/>
              </a:rPr>
              <a:t>Analyze streaming data</a:t>
            </a:r>
          </a:p>
          <a:p>
            <a:pPr defTabSz="914225"/>
            <a:r>
              <a:rPr lang="en-US" sz="2157" kern="0" dirty="0">
                <a:solidFill>
                  <a:srgbClr val="FFFFFF"/>
                </a:solidFill>
                <a:latin typeface="Segoe UI Light" panose="020B0502040204020203" pitchFamily="34" charset="0"/>
                <a:cs typeface="Segoe UI Light" panose="020B0502040204020203" pitchFamily="34" charset="0"/>
              </a:rPr>
              <a:t>4. </a:t>
            </a:r>
            <a:r>
              <a:rPr lang="en-US" sz="2157" b="1" kern="0" dirty="0">
                <a:solidFill>
                  <a:srgbClr val="FFFF00"/>
                </a:solidFill>
                <a:latin typeface="Segoe UI Light" panose="020B0502040204020203" pitchFamily="34" charset="0"/>
                <a:cs typeface="Segoe UI Light" panose="020B0502040204020203" pitchFamily="34" charset="0"/>
              </a:rPr>
              <a:t>Generate predictive insights </a:t>
            </a:r>
          </a:p>
        </p:txBody>
      </p:sp>
      <p:sp>
        <p:nvSpPr>
          <p:cNvPr id="20" name="TextBox 19"/>
          <p:cNvSpPr txBox="1"/>
          <p:nvPr/>
        </p:nvSpPr>
        <p:spPr>
          <a:xfrm>
            <a:off x="4161300" y="2239772"/>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Event processing</a:t>
            </a:r>
          </a:p>
        </p:txBody>
      </p:sp>
      <p:grpSp>
        <p:nvGrpSpPr>
          <p:cNvPr id="39" name="Group 38"/>
          <p:cNvGrpSpPr/>
          <p:nvPr/>
        </p:nvGrpSpPr>
        <p:grpSpPr>
          <a:xfrm>
            <a:off x="4438033" y="2383200"/>
            <a:ext cx="519926" cy="519926"/>
            <a:chOff x="6827893" y="1397182"/>
            <a:chExt cx="4289737" cy="4332363"/>
          </a:xfrm>
        </p:grpSpPr>
        <p:sp>
          <p:nvSpPr>
            <p:cNvPr id="40" name="Oval 39"/>
            <p:cNvSpPr/>
            <p:nvPr/>
          </p:nvSpPr>
          <p:spPr>
            <a:xfrm>
              <a:off x="6827893" y="1397182"/>
              <a:ext cx="4289737" cy="43323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41" name="Group 40"/>
            <p:cNvGrpSpPr/>
            <p:nvPr/>
          </p:nvGrpSpPr>
          <p:grpSpPr>
            <a:xfrm>
              <a:off x="7620793" y="2512575"/>
              <a:ext cx="2703936" cy="2101577"/>
              <a:chOff x="1107857" y="-3310276"/>
              <a:chExt cx="641349" cy="498475"/>
            </a:xfrm>
            <a:solidFill>
              <a:schemeClr val="bg1"/>
            </a:solidFill>
          </p:grpSpPr>
          <p:sp>
            <p:nvSpPr>
              <p:cNvPr id="4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4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21" name="TextBox 20"/>
          <p:cNvSpPr txBox="1"/>
          <p:nvPr/>
        </p:nvSpPr>
        <p:spPr>
          <a:xfrm>
            <a:off x="4161300" y="3117471"/>
            <a:ext cx="3809740"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Predictive analytics</a:t>
            </a:r>
          </a:p>
        </p:txBody>
      </p:sp>
      <p:grpSp>
        <p:nvGrpSpPr>
          <p:cNvPr id="46" name="Group 45"/>
          <p:cNvGrpSpPr/>
          <p:nvPr/>
        </p:nvGrpSpPr>
        <p:grpSpPr>
          <a:xfrm>
            <a:off x="4438033" y="3260899"/>
            <a:ext cx="519926" cy="519926"/>
            <a:chOff x="6827893" y="1397182"/>
            <a:chExt cx="4289737" cy="4332363"/>
          </a:xfrm>
        </p:grpSpPr>
        <p:sp>
          <p:nvSpPr>
            <p:cNvPr id="47" name="Oval 46"/>
            <p:cNvSpPr/>
            <p:nvPr/>
          </p:nvSpPr>
          <p:spPr>
            <a:xfrm>
              <a:off x="6827893" y="1397182"/>
              <a:ext cx="4289737" cy="43323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sp>
          <p:nvSpPr>
            <p:cNvPr id="48" name="Freeform 47"/>
            <p:cNvSpPr/>
            <p:nvPr/>
          </p:nvSpPr>
          <p:spPr>
            <a:xfrm>
              <a:off x="8086976" y="2610700"/>
              <a:ext cx="1771570" cy="1905326"/>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a:solidFill>
                  <a:srgbClr val="FFFFFF"/>
                </a:solidFill>
                <a:latin typeface="Segoe UI"/>
              </a:endParaRPr>
            </a:p>
          </p:txBody>
        </p:sp>
      </p:grpSp>
      <p:sp>
        <p:nvSpPr>
          <p:cNvPr id="22" name="TextBox 21"/>
          <p:cNvSpPr txBox="1"/>
          <p:nvPr/>
        </p:nvSpPr>
        <p:spPr>
          <a:xfrm>
            <a:off x="4194214" y="3995169"/>
            <a:ext cx="3776827"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Data visualization</a:t>
            </a:r>
          </a:p>
        </p:txBody>
      </p:sp>
      <p:grpSp>
        <p:nvGrpSpPr>
          <p:cNvPr id="49" name="Group 48"/>
          <p:cNvGrpSpPr/>
          <p:nvPr/>
        </p:nvGrpSpPr>
        <p:grpSpPr>
          <a:xfrm>
            <a:off x="4438033" y="4138597"/>
            <a:ext cx="519926" cy="519926"/>
            <a:chOff x="6827893" y="1397182"/>
            <a:chExt cx="4289737" cy="4332363"/>
          </a:xfrm>
        </p:grpSpPr>
        <p:sp>
          <p:nvSpPr>
            <p:cNvPr id="50" name="Oval 49"/>
            <p:cNvSpPr/>
            <p:nvPr/>
          </p:nvSpPr>
          <p:spPr>
            <a:xfrm>
              <a:off x="6827893" y="1397182"/>
              <a:ext cx="4289737" cy="43323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51" name="Group 50"/>
            <p:cNvGrpSpPr/>
            <p:nvPr/>
          </p:nvGrpSpPr>
          <p:grpSpPr>
            <a:xfrm>
              <a:off x="7906171" y="2452585"/>
              <a:ext cx="2133180" cy="2221556"/>
              <a:chOff x="11472827" y="4545788"/>
              <a:chExt cx="280728" cy="284825"/>
            </a:xfrm>
            <a:solidFill>
              <a:schemeClr val="tx1"/>
            </a:solidFill>
          </p:grpSpPr>
          <p:sp>
            <p:nvSpPr>
              <p:cNvPr id="52" name="Rounded Rectangle 51"/>
              <p:cNvSpPr/>
              <p:nvPr/>
            </p:nvSpPr>
            <p:spPr bwMode="auto">
              <a:xfrm>
                <a:off x="11472827" y="4699141"/>
                <a:ext cx="35603" cy="80649"/>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53" name="Rounded Rectangle 52"/>
              <p:cNvSpPr/>
              <p:nvPr/>
            </p:nvSpPr>
            <p:spPr bwMode="auto">
              <a:xfrm>
                <a:off x="11527518" y="4680314"/>
                <a:ext cx="35603" cy="111152"/>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54" name="Rounded Rectangle 53"/>
              <p:cNvSpPr/>
              <p:nvPr/>
            </p:nvSpPr>
            <p:spPr bwMode="auto">
              <a:xfrm>
                <a:off x="11581398" y="4660852"/>
                <a:ext cx="35603" cy="151148"/>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55" name="Rounded Rectangle 54"/>
              <p:cNvSpPr/>
              <p:nvPr/>
            </p:nvSpPr>
            <p:spPr bwMode="auto">
              <a:xfrm>
                <a:off x="11637498" y="4643936"/>
                <a:ext cx="35603" cy="186677"/>
              </a:xfrm>
              <a:prstGeom prst="roundRect">
                <a:avLst>
                  <a:gd name="adj" fmla="val 50000"/>
                </a:avLst>
              </a:prstGeom>
              <a:solidFill>
                <a:schemeClr val="bg1">
                  <a:lumMod val="9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defRPr/>
                </a:pPr>
                <a:endParaRPr lang="en-US" sz="2000" b="1" dirty="0">
                  <a:solidFill>
                    <a:srgbClr val="FFFFFF"/>
                  </a:solidFill>
                  <a:latin typeface="Segoe UI Light"/>
                  <a:ea typeface="Segoe UI" pitchFamily="34" charset="0"/>
                  <a:cs typeface="Segoe UI" pitchFamily="34" charset="0"/>
                </a:endParaRPr>
              </a:p>
            </p:txBody>
          </p:sp>
          <p:sp>
            <p:nvSpPr>
              <p:cNvPr id="56" name="Freeform 55"/>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a:endParaRPr>
              </a:p>
            </p:txBody>
          </p:sp>
        </p:grpSp>
      </p:grpSp>
      <p:sp>
        <p:nvSpPr>
          <p:cNvPr id="27" name="Rectangle 26"/>
          <p:cNvSpPr/>
          <p:nvPr/>
        </p:nvSpPr>
        <p:spPr bwMode="auto">
          <a:xfrm>
            <a:off x="8163673" y="1353966"/>
            <a:ext cx="3730991" cy="7865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rgbClr val="FFFFFF"/>
                </a:solidFill>
                <a:latin typeface="Segoe UI Light" panose="020B0502040204020203" pitchFamily="34" charset="0"/>
                <a:cs typeface="Segoe UI Light" panose="020B0502040204020203" pitchFamily="34" charset="0"/>
              </a:rPr>
              <a:t>5. Integrate into business systems</a:t>
            </a:r>
          </a:p>
        </p:txBody>
      </p:sp>
      <p:sp>
        <p:nvSpPr>
          <p:cNvPr id="23" name="TextBox 22"/>
          <p:cNvSpPr txBox="1"/>
          <p:nvPr/>
        </p:nvSpPr>
        <p:spPr>
          <a:xfrm>
            <a:off x="8163673" y="22492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Workflow integration</a:t>
            </a:r>
          </a:p>
        </p:txBody>
      </p:sp>
      <p:grpSp>
        <p:nvGrpSpPr>
          <p:cNvPr id="57" name="Group 56"/>
          <p:cNvGrpSpPr/>
          <p:nvPr/>
        </p:nvGrpSpPr>
        <p:grpSpPr>
          <a:xfrm>
            <a:off x="8388277" y="2392634"/>
            <a:ext cx="519926" cy="519926"/>
            <a:chOff x="6827893" y="1397182"/>
            <a:chExt cx="4289737" cy="4332363"/>
          </a:xfrm>
        </p:grpSpPr>
        <p:sp>
          <p:nvSpPr>
            <p:cNvPr id="58" name="Oval 57"/>
            <p:cNvSpPr/>
            <p:nvPr/>
          </p:nvSpPr>
          <p:spPr>
            <a:xfrm>
              <a:off x="6827893" y="1397182"/>
              <a:ext cx="4289737" cy="43323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59" name="Picture 58"/>
            <p:cNvPicPr>
              <a:picLocks noChangeAspect="1"/>
            </p:cNvPicPr>
            <p:nvPr/>
          </p:nvPicPr>
          <p:blipFill>
            <a:blip r:embed="rId7"/>
            <a:stretch>
              <a:fillRect/>
            </a:stretch>
          </p:blipFill>
          <p:spPr>
            <a:xfrm>
              <a:off x="7791865" y="2383785"/>
              <a:ext cx="2361792" cy="2359156"/>
            </a:xfrm>
            <a:prstGeom prst="rect">
              <a:avLst/>
            </a:prstGeom>
            <a:noFill/>
          </p:spPr>
        </p:pic>
      </p:grpSp>
      <p:sp>
        <p:nvSpPr>
          <p:cNvPr id="24" name="TextBox 23"/>
          <p:cNvSpPr txBox="1"/>
          <p:nvPr/>
        </p:nvSpPr>
        <p:spPr>
          <a:xfrm>
            <a:off x="8163673" y="3126906"/>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Push and broadcast notifications</a:t>
            </a:r>
          </a:p>
        </p:txBody>
      </p:sp>
      <p:grpSp>
        <p:nvGrpSpPr>
          <p:cNvPr id="60" name="Group 59"/>
          <p:cNvGrpSpPr/>
          <p:nvPr/>
        </p:nvGrpSpPr>
        <p:grpSpPr>
          <a:xfrm>
            <a:off x="8358396" y="3270334"/>
            <a:ext cx="519926" cy="519926"/>
            <a:chOff x="6827893" y="1397182"/>
            <a:chExt cx="4289737" cy="4332363"/>
          </a:xfrm>
        </p:grpSpPr>
        <p:sp>
          <p:nvSpPr>
            <p:cNvPr id="61" name="Oval 60"/>
            <p:cNvSpPr/>
            <p:nvPr/>
          </p:nvSpPr>
          <p:spPr>
            <a:xfrm>
              <a:off x="6827893" y="1397182"/>
              <a:ext cx="4289737" cy="43323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pic>
          <p:nvPicPr>
            <p:cNvPr id="62" name="Picture 6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52495" y="2343097"/>
              <a:ext cx="2440533" cy="2440533"/>
            </a:xfrm>
            <a:prstGeom prst="rect">
              <a:avLst/>
            </a:prstGeom>
          </p:spPr>
        </p:pic>
      </p:grpSp>
      <p:sp>
        <p:nvSpPr>
          <p:cNvPr id="25" name="TextBox 24"/>
          <p:cNvSpPr txBox="1"/>
          <p:nvPr/>
        </p:nvSpPr>
        <p:spPr>
          <a:xfrm>
            <a:off x="8163673" y="4004604"/>
            <a:ext cx="3730991" cy="806782"/>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5" tIns="143428" rIns="179285" bIns="143428"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5"/>
            <a:r>
              <a:rPr lang="en-US" sz="1961" dirty="0">
                <a:solidFill>
                  <a:srgbClr val="505050"/>
                </a:solidFill>
              </a:rPr>
              <a:t>ID and access management</a:t>
            </a:r>
          </a:p>
        </p:txBody>
      </p:sp>
      <p:grpSp>
        <p:nvGrpSpPr>
          <p:cNvPr id="63" name="Group 62"/>
          <p:cNvGrpSpPr/>
          <p:nvPr/>
        </p:nvGrpSpPr>
        <p:grpSpPr>
          <a:xfrm>
            <a:off x="8337010" y="4148032"/>
            <a:ext cx="519926" cy="519926"/>
            <a:chOff x="6827893" y="1397182"/>
            <a:chExt cx="4289737" cy="4332363"/>
          </a:xfrm>
        </p:grpSpPr>
        <p:sp>
          <p:nvSpPr>
            <p:cNvPr id="64" name="Oval 63"/>
            <p:cNvSpPr/>
            <p:nvPr/>
          </p:nvSpPr>
          <p:spPr>
            <a:xfrm>
              <a:off x="6827893" y="1397182"/>
              <a:ext cx="4289737" cy="43323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algn="r" defTabSz="896386">
                <a:defRPr/>
              </a:pPr>
              <a:endParaRPr lang="en-US" sz="1152" dirty="0" err="1">
                <a:solidFill>
                  <a:prstClr val="white"/>
                </a:solidFill>
                <a:latin typeface="Segoe UI"/>
              </a:endParaRPr>
            </a:p>
          </p:txBody>
        </p:sp>
        <p:grpSp>
          <p:nvGrpSpPr>
            <p:cNvPr id="65" name="Group 64"/>
            <p:cNvGrpSpPr/>
            <p:nvPr/>
          </p:nvGrpSpPr>
          <p:grpSpPr>
            <a:xfrm>
              <a:off x="7429501" y="1999662"/>
              <a:ext cx="3086520" cy="3127402"/>
              <a:chOff x="7646253" y="4979703"/>
              <a:chExt cx="479425" cy="485775"/>
            </a:xfrm>
            <a:solidFill>
              <a:schemeClr val="bg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prstClr val="black"/>
                  </a:solidFill>
                  <a:latin typeface="Segoe UI"/>
                </a:endParaRPr>
              </a:p>
            </p:txBody>
          </p:sp>
        </p:grpSp>
      </p:grpSp>
      <p:sp>
        <p:nvSpPr>
          <p:cNvPr id="74" name="Rectangle 73"/>
          <p:cNvSpPr/>
          <p:nvPr/>
        </p:nvSpPr>
        <p:spPr bwMode="auto">
          <a:xfrm>
            <a:off x="284507" y="5062721"/>
            <a:ext cx="11624682" cy="60746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179277" indent="-179277" defTabSz="914225">
              <a:defRPr/>
            </a:pPr>
            <a:r>
              <a:rPr lang="en-US" sz="2353" kern="0" dirty="0">
                <a:solidFill>
                  <a:srgbClr val="FFFFFF"/>
                </a:solidFill>
                <a:latin typeface="Segoe UI Light" panose="020B0502040204020203" pitchFamily="34" charset="0"/>
                <a:cs typeface="Segoe UI Light" panose="020B0502040204020203" pitchFamily="34" charset="0"/>
              </a:rPr>
              <a:t>6. </a:t>
            </a:r>
            <a:r>
              <a:rPr lang="en-US" sz="2353" dirty="0">
                <a:solidFill>
                  <a:srgbClr val="FFFFFF"/>
                </a:solidFill>
                <a:latin typeface="Segoe UI Light"/>
              </a:rPr>
              <a:t>IoT Security</a:t>
            </a:r>
          </a:p>
        </p:txBody>
      </p:sp>
      <p:pic>
        <p:nvPicPr>
          <p:cNvPr id="64513" name="Picture 1" descr="Pic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16368" y="5136481"/>
            <a:ext cx="459943" cy="459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75554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894306" y="1313438"/>
            <a:ext cx="6028457" cy="5266496"/>
          </a:xfrm>
          <a:prstGeom prst="rect">
            <a:avLst/>
          </a:prstGeom>
        </p:spPr>
      </p:pic>
      <p:sp>
        <p:nvSpPr>
          <p:cNvPr id="2" name="Title 1"/>
          <p:cNvSpPr>
            <a:spLocks noGrp="1"/>
          </p:cNvSpPr>
          <p:nvPr>
            <p:ph type="title"/>
          </p:nvPr>
        </p:nvSpPr>
        <p:spPr/>
        <p:txBody>
          <a:bodyPr/>
          <a:lstStyle/>
          <a:p>
            <a:r>
              <a:rPr lang="en-US" dirty="0"/>
              <a:t>Real time event processing</a:t>
            </a:r>
          </a:p>
        </p:txBody>
      </p:sp>
      <p:sp>
        <p:nvSpPr>
          <p:cNvPr id="13" name="TextBox 12"/>
          <p:cNvSpPr txBox="1"/>
          <p:nvPr/>
        </p:nvSpPr>
        <p:spPr>
          <a:xfrm>
            <a:off x="268929" y="2090877"/>
            <a:ext cx="5525742" cy="1004802"/>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Rapid Deployment</a:t>
            </a:r>
          </a:p>
          <a:p>
            <a:pPr marL="0" lvl="1" defTabSz="914367">
              <a:spcBef>
                <a:spcPts val="196"/>
              </a:spcBef>
              <a:spcAft>
                <a:spcPts val="294"/>
              </a:spcAft>
            </a:pPr>
            <a:r>
              <a:rPr lang="en-US" sz="1568" dirty="0">
                <a:solidFill>
                  <a:srgbClr val="505050"/>
                </a:solidFill>
                <a:latin typeface="Segoe UI"/>
              </a:rPr>
              <a:t>Use simple SQL syntax, auto distributed for scale</a:t>
            </a:r>
          </a:p>
        </p:txBody>
      </p:sp>
      <p:sp>
        <p:nvSpPr>
          <p:cNvPr id="14" name="TextBox 13"/>
          <p:cNvSpPr txBox="1"/>
          <p:nvPr/>
        </p:nvSpPr>
        <p:spPr>
          <a:xfrm>
            <a:off x="268929" y="3174312"/>
            <a:ext cx="5525742" cy="712251"/>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Mission critical reliability</a:t>
            </a:r>
          </a:p>
          <a:p>
            <a:pPr marL="0" lvl="1" defTabSz="914367">
              <a:spcBef>
                <a:spcPts val="196"/>
              </a:spcBef>
              <a:spcAft>
                <a:spcPts val="294"/>
              </a:spcAft>
            </a:pPr>
            <a:r>
              <a:rPr lang="en-US" sz="1568" dirty="0">
                <a:solidFill>
                  <a:srgbClr val="505050"/>
                </a:solidFill>
                <a:latin typeface="Segoe UI"/>
              </a:rPr>
              <a:t>Fully managed, low latency, high throughput</a:t>
            </a:r>
          </a:p>
        </p:txBody>
      </p:sp>
      <p:sp>
        <p:nvSpPr>
          <p:cNvPr id="19" name="TextBox 18"/>
          <p:cNvSpPr txBox="1"/>
          <p:nvPr/>
        </p:nvSpPr>
        <p:spPr>
          <a:xfrm>
            <a:off x="268929" y="3965197"/>
            <a:ext cx="5525742" cy="735661"/>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Create real time alerts</a:t>
            </a:r>
          </a:p>
          <a:p>
            <a:pPr marL="0" lvl="1" defTabSz="914367">
              <a:spcBef>
                <a:spcPts val="196"/>
              </a:spcBef>
              <a:spcAft>
                <a:spcPts val="294"/>
              </a:spcAft>
            </a:pPr>
            <a:r>
              <a:rPr lang="en-US" sz="1568" dirty="0">
                <a:solidFill>
                  <a:srgbClr val="505050"/>
                </a:solidFill>
                <a:latin typeface="Segoe UI"/>
              </a:rPr>
              <a:t>Flag alerts and alarms for attention</a:t>
            </a:r>
          </a:p>
        </p:txBody>
      </p:sp>
      <p:sp>
        <p:nvSpPr>
          <p:cNvPr id="20" name="TextBox 19"/>
          <p:cNvSpPr txBox="1"/>
          <p:nvPr/>
        </p:nvSpPr>
        <p:spPr>
          <a:xfrm>
            <a:off x="268929" y="4779491"/>
            <a:ext cx="5525742" cy="712251"/>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High volume</a:t>
            </a:r>
          </a:p>
          <a:p>
            <a:pPr marL="0" lvl="1" defTabSz="914367">
              <a:spcBef>
                <a:spcPts val="196"/>
              </a:spcBef>
              <a:spcAft>
                <a:spcPts val="294"/>
              </a:spcAft>
            </a:pPr>
            <a:r>
              <a:rPr lang="en-US" sz="1568" dirty="0">
                <a:solidFill>
                  <a:srgbClr val="505050"/>
                </a:solidFill>
                <a:latin typeface="Segoe UI"/>
              </a:rPr>
              <a:t>Analyze millions of data points per second</a:t>
            </a:r>
          </a:p>
        </p:txBody>
      </p:sp>
      <p:sp>
        <p:nvSpPr>
          <p:cNvPr id="24" name="TextBox 23"/>
          <p:cNvSpPr txBox="1"/>
          <p:nvPr/>
        </p:nvSpPr>
        <p:spPr>
          <a:xfrm>
            <a:off x="268929" y="5570379"/>
            <a:ext cx="5525742" cy="1004802"/>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Highly scalable</a:t>
            </a:r>
          </a:p>
          <a:p>
            <a:pPr marL="0" lvl="1" defTabSz="914367">
              <a:spcBef>
                <a:spcPts val="196"/>
              </a:spcBef>
              <a:spcAft>
                <a:spcPts val="294"/>
              </a:spcAft>
            </a:pPr>
            <a:r>
              <a:rPr lang="en-US" sz="1568" dirty="0">
                <a:solidFill>
                  <a:srgbClr val="505050"/>
                </a:solidFill>
                <a:latin typeface="Segoe UI"/>
              </a:rPr>
              <a:t>Enterprise grade, predictable solution</a:t>
            </a:r>
          </a:p>
        </p:txBody>
      </p:sp>
      <p:sp>
        <p:nvSpPr>
          <p:cNvPr id="25" name="TextBox 24"/>
          <p:cNvSpPr txBox="1"/>
          <p:nvPr/>
        </p:nvSpPr>
        <p:spPr>
          <a:xfrm>
            <a:off x="268929" y="1299993"/>
            <a:ext cx="5525742" cy="712251"/>
          </a:xfrm>
          <a:prstGeom prst="rect">
            <a:avLst/>
          </a:prstGeom>
          <a:solidFill>
            <a:schemeClr val="bg1">
              <a:lumMod val="95000"/>
              <a:alpha val="85000"/>
            </a:schemeClr>
          </a:solidFill>
        </p:spPr>
        <p:txBody>
          <a:bodyPr wrap="square" lIns="89642" tIns="44821" rIns="89642" bIns="44821" rtlCol="0" anchor="t">
            <a:noAutofit/>
          </a:bodyPr>
          <a:lstStyle/>
          <a:p>
            <a:pPr defTabSz="914367">
              <a:spcBef>
                <a:spcPts val="980"/>
              </a:spcBef>
            </a:pPr>
            <a:r>
              <a:rPr lang="en-US" sz="1765" dirty="0">
                <a:solidFill>
                  <a:srgbClr val="505050"/>
                </a:solidFill>
                <a:latin typeface="Segoe UI Semibold" panose="020B0702040204020203" pitchFamily="34" charset="0"/>
                <a:cs typeface="Segoe UI Semibold" panose="020B0702040204020203" pitchFamily="34" charset="0"/>
              </a:rPr>
              <a:t>Uncover real time insights</a:t>
            </a:r>
          </a:p>
          <a:p>
            <a:pPr marL="0" lvl="1" defTabSz="914367">
              <a:spcBef>
                <a:spcPts val="196"/>
              </a:spcBef>
              <a:spcAft>
                <a:spcPts val="294"/>
              </a:spcAft>
            </a:pPr>
            <a:r>
              <a:rPr lang="en-US" sz="1568" dirty="0">
                <a:solidFill>
                  <a:srgbClr val="505050"/>
                </a:solidFill>
                <a:latin typeface="Segoe UI"/>
              </a:rPr>
              <a:t>Perform real time analytics across multiple streams</a:t>
            </a:r>
          </a:p>
        </p:txBody>
      </p:sp>
    </p:spTree>
    <p:extLst>
      <p:ext uri="{BB962C8B-B14F-4D97-AF65-F5344CB8AC3E}">
        <p14:creationId xmlns:p14="http://schemas.microsoft.com/office/powerpoint/2010/main" val="2676032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9" grpId="0" animBg="1"/>
      <p:bldP spid="20" grpId="0" animBg="1"/>
      <p:bldP spid="24"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bg1">
                    <a:lumMod val="50000"/>
                  </a:schemeClr>
                </a:solidFill>
              </a:rPr>
              <a:t>Current state of a data warehouse</a:t>
            </a:r>
          </a:p>
        </p:txBody>
      </p:sp>
      <p:sp>
        <p:nvSpPr>
          <p:cNvPr id="3" name="Title 2"/>
          <p:cNvSpPr>
            <a:spLocks noGrp="1"/>
          </p:cNvSpPr>
          <p:nvPr>
            <p:ph type="title"/>
          </p:nvPr>
        </p:nvSpPr>
        <p:spPr/>
        <p:txBody>
          <a:bodyPr/>
          <a:lstStyle/>
          <a:p>
            <a:r>
              <a:rPr lang="en-US" dirty="0">
                <a:solidFill>
                  <a:schemeClr val="bg1">
                    <a:lumMod val="50000"/>
                  </a:schemeClr>
                </a:solidFill>
              </a:rPr>
              <a:t>Traditional Approaches</a:t>
            </a:r>
          </a:p>
        </p:txBody>
      </p:sp>
      <p:pic>
        <p:nvPicPr>
          <p:cNvPr id="4" name="Picture 3"/>
          <p:cNvPicPr>
            <a:picLocks noChangeAspect="1"/>
          </p:cNvPicPr>
          <p:nvPr/>
        </p:nvPicPr>
        <p:blipFill>
          <a:blip r:embed="rId2"/>
          <a:stretch>
            <a:fillRect/>
          </a:stretch>
        </p:blipFill>
        <p:spPr>
          <a:xfrm>
            <a:off x="337314" y="1947995"/>
            <a:ext cx="2933550" cy="1858133"/>
          </a:xfrm>
          <a:prstGeom prst="rect">
            <a:avLst/>
          </a:prstGeom>
        </p:spPr>
      </p:pic>
      <p:pic>
        <p:nvPicPr>
          <p:cNvPr id="6" name="Picture 5"/>
          <p:cNvPicPr>
            <a:picLocks noChangeAspect="1"/>
          </p:cNvPicPr>
          <p:nvPr/>
        </p:nvPicPr>
        <p:blipFill>
          <a:blip r:embed="rId3"/>
          <a:stretch>
            <a:fillRect/>
          </a:stretch>
        </p:blipFill>
        <p:spPr>
          <a:xfrm>
            <a:off x="3349996" y="2099861"/>
            <a:ext cx="1636706" cy="1554400"/>
          </a:xfrm>
          <a:prstGeom prst="rect">
            <a:avLst/>
          </a:prstGeom>
        </p:spPr>
      </p:pic>
      <p:pic>
        <p:nvPicPr>
          <p:cNvPr id="7" name="Picture 6"/>
          <p:cNvPicPr>
            <a:picLocks noChangeAspect="1"/>
          </p:cNvPicPr>
          <p:nvPr/>
        </p:nvPicPr>
        <p:blipFill>
          <a:blip r:embed="rId4"/>
          <a:stretch>
            <a:fillRect/>
          </a:stretch>
        </p:blipFill>
        <p:spPr>
          <a:xfrm>
            <a:off x="5100712" y="1947995"/>
            <a:ext cx="2718900" cy="2278000"/>
          </a:xfrm>
          <a:prstGeom prst="rect">
            <a:avLst/>
          </a:prstGeom>
        </p:spPr>
      </p:pic>
      <p:pic>
        <p:nvPicPr>
          <p:cNvPr id="8" name="Picture 7"/>
          <p:cNvPicPr>
            <a:picLocks noChangeAspect="1"/>
          </p:cNvPicPr>
          <p:nvPr/>
        </p:nvPicPr>
        <p:blipFill>
          <a:blip r:embed="rId5"/>
          <a:stretch>
            <a:fillRect/>
          </a:stretch>
        </p:blipFill>
        <p:spPr>
          <a:xfrm>
            <a:off x="8362187" y="2135595"/>
            <a:ext cx="3434400" cy="1902800"/>
          </a:xfrm>
          <a:prstGeom prst="rect">
            <a:avLst/>
          </a:prstGeom>
        </p:spPr>
      </p:pic>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031782"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93015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Well manicured, often relational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Known and expected data volume and format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Little to no change</a:t>
            </a:r>
          </a:p>
        </p:txBody>
      </p:sp>
      <p:sp>
        <p:nvSpPr>
          <p:cNvPr id="17" name="Rectangle 16"/>
          <p:cNvSpPr/>
          <p:nvPr/>
        </p:nvSpPr>
        <p:spPr bwMode="auto">
          <a:xfrm>
            <a:off x="4252865" y="5040393"/>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Complex, rigid transformation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quired extensive monitoring</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Transformed historical into read structures</a:t>
            </a:r>
          </a:p>
        </p:txBody>
      </p:sp>
      <p:sp>
        <p:nvSpPr>
          <p:cNvPr id="18" name="Rectangle 17"/>
          <p:cNvSpPr/>
          <p:nvPr/>
        </p:nvSpPr>
        <p:spPr bwMode="auto">
          <a:xfrm>
            <a:off x="8366506" y="495966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Flat, canned or multi-dimensional access to historical data</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Many reports, multiple versions of the truth</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24 to 48h delay</a:t>
            </a:r>
          </a:p>
        </p:txBody>
      </p:sp>
      <p:pic>
        <p:nvPicPr>
          <p:cNvPr id="20" name="Picture 19"/>
          <p:cNvPicPr>
            <a:picLocks noChangeAspect="1"/>
          </p:cNvPicPr>
          <p:nvPr/>
        </p:nvPicPr>
        <p:blipFill>
          <a:blip r:embed="rId6"/>
          <a:stretch>
            <a:fillRect/>
          </a:stretch>
        </p:blipFill>
        <p:spPr>
          <a:xfrm>
            <a:off x="6767529" y="809779"/>
            <a:ext cx="2709957" cy="821867"/>
          </a:xfrm>
          <a:prstGeom prst="rect">
            <a:avLst/>
          </a:prstGeom>
        </p:spPr>
      </p:pic>
      <p:pic>
        <p:nvPicPr>
          <p:cNvPr id="21" name="Picture 20"/>
          <p:cNvPicPr>
            <a:picLocks noChangeAspect="1"/>
          </p:cNvPicPr>
          <p:nvPr/>
        </p:nvPicPr>
        <p:blipFill>
          <a:blip r:embed="rId7"/>
          <a:stretch>
            <a:fillRect/>
          </a:stretch>
        </p:blipFill>
        <p:spPr>
          <a:xfrm>
            <a:off x="7577649" y="1137200"/>
            <a:ext cx="751275" cy="768267"/>
          </a:xfrm>
          <a:prstGeom prst="rect">
            <a:avLst/>
          </a:prstGeom>
        </p:spPr>
      </p:pic>
      <p:pic>
        <p:nvPicPr>
          <p:cNvPr id="22" name="Picture 21"/>
          <p:cNvPicPr>
            <a:picLocks noChangeAspect="1"/>
          </p:cNvPicPr>
          <p:nvPr/>
        </p:nvPicPr>
        <p:blipFill>
          <a:blip r:embed="rId8"/>
          <a:stretch>
            <a:fillRect/>
          </a:stretch>
        </p:blipFill>
        <p:spPr>
          <a:xfrm>
            <a:off x="8839353" y="1220713"/>
            <a:ext cx="348806" cy="410933"/>
          </a:xfrm>
          <a:prstGeom prst="rect">
            <a:avLst/>
          </a:prstGeom>
        </p:spPr>
      </p:pic>
      <p:pic>
        <p:nvPicPr>
          <p:cNvPr id="23" name="Picture 22"/>
          <p:cNvPicPr>
            <a:picLocks noChangeAspect="1"/>
          </p:cNvPicPr>
          <p:nvPr/>
        </p:nvPicPr>
        <p:blipFill>
          <a:blip r:embed="rId9"/>
          <a:stretch>
            <a:fillRect/>
          </a:stretch>
        </p:blipFill>
        <p:spPr>
          <a:xfrm>
            <a:off x="9390741" y="1220713"/>
            <a:ext cx="348806" cy="410933"/>
          </a:xfrm>
          <a:prstGeom prst="rect">
            <a:avLst/>
          </a:prstGeom>
        </p:spPr>
      </p:pic>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46914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chemeClr val="bg1">
                    <a:lumMod val="50000"/>
                  </a:schemeClr>
                </a:solidFill>
              </a:rPr>
              <a:t>Current state of a data warehouse</a:t>
            </a:r>
          </a:p>
        </p:txBody>
      </p:sp>
      <p:sp>
        <p:nvSpPr>
          <p:cNvPr id="3" name="Title 2"/>
          <p:cNvSpPr>
            <a:spLocks noGrp="1"/>
          </p:cNvSpPr>
          <p:nvPr>
            <p:ph type="title"/>
          </p:nvPr>
        </p:nvSpPr>
        <p:spPr/>
        <p:txBody>
          <a:bodyPr/>
          <a:lstStyle/>
          <a:p>
            <a:r>
              <a:rPr lang="en-US" dirty="0">
                <a:solidFill>
                  <a:schemeClr val="bg1">
                    <a:lumMod val="50000"/>
                  </a:schemeClr>
                </a:solidFill>
              </a:rPr>
              <a:t>Traditional Approaches</a:t>
            </a:r>
          </a:p>
        </p:txBody>
      </p:sp>
      <p:pic>
        <p:nvPicPr>
          <p:cNvPr id="4" name="Picture 3"/>
          <p:cNvPicPr>
            <a:picLocks noChangeAspect="1"/>
          </p:cNvPicPr>
          <p:nvPr/>
        </p:nvPicPr>
        <p:blipFill>
          <a:blip r:embed="rId2"/>
          <a:stretch>
            <a:fillRect/>
          </a:stretch>
        </p:blipFill>
        <p:spPr>
          <a:xfrm>
            <a:off x="337314" y="1947995"/>
            <a:ext cx="2933550" cy="1858133"/>
          </a:xfrm>
          <a:prstGeom prst="rect">
            <a:avLst/>
          </a:prstGeom>
        </p:spPr>
      </p:pic>
      <p:pic>
        <p:nvPicPr>
          <p:cNvPr id="6" name="Picture 5"/>
          <p:cNvPicPr>
            <a:picLocks noChangeAspect="1"/>
          </p:cNvPicPr>
          <p:nvPr/>
        </p:nvPicPr>
        <p:blipFill>
          <a:blip r:embed="rId3"/>
          <a:stretch>
            <a:fillRect/>
          </a:stretch>
        </p:blipFill>
        <p:spPr>
          <a:xfrm>
            <a:off x="3349996" y="2099861"/>
            <a:ext cx="1636706" cy="1554400"/>
          </a:xfrm>
          <a:prstGeom prst="rect">
            <a:avLst/>
          </a:prstGeom>
        </p:spPr>
      </p:pic>
      <p:pic>
        <p:nvPicPr>
          <p:cNvPr id="7" name="Picture 6"/>
          <p:cNvPicPr>
            <a:picLocks noChangeAspect="1"/>
          </p:cNvPicPr>
          <p:nvPr/>
        </p:nvPicPr>
        <p:blipFill>
          <a:blip r:embed="rId4"/>
          <a:stretch>
            <a:fillRect/>
          </a:stretch>
        </p:blipFill>
        <p:spPr>
          <a:xfrm>
            <a:off x="5100712" y="1947995"/>
            <a:ext cx="2718900" cy="2278000"/>
          </a:xfrm>
          <a:prstGeom prst="rect">
            <a:avLst/>
          </a:prstGeom>
        </p:spPr>
      </p:pic>
      <p:pic>
        <p:nvPicPr>
          <p:cNvPr id="8" name="Picture 7"/>
          <p:cNvPicPr>
            <a:picLocks noChangeAspect="1"/>
          </p:cNvPicPr>
          <p:nvPr/>
        </p:nvPicPr>
        <p:blipFill>
          <a:blip r:embed="rId5"/>
          <a:stretch>
            <a:fillRect/>
          </a:stretch>
        </p:blipFill>
        <p:spPr>
          <a:xfrm>
            <a:off x="8362187" y="2135595"/>
            <a:ext cx="3434400" cy="1902800"/>
          </a:xfrm>
          <a:prstGeom prst="rect">
            <a:avLst/>
          </a:prstGeom>
        </p:spPr>
      </p:pic>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130638"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930159"/>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variety of data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data volum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ncrease in types of data</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essure on the ingestion engine</a:t>
            </a:r>
          </a:p>
        </p:txBody>
      </p:sp>
      <p:sp>
        <p:nvSpPr>
          <p:cNvPr id="17" name="Rectangle 16"/>
          <p:cNvSpPr/>
          <p:nvPr/>
        </p:nvSpPr>
        <p:spPr bwMode="auto">
          <a:xfrm>
            <a:off x="4168348" y="4694189"/>
            <a:ext cx="3651263" cy="23876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Complex, rigid transformations can’t longer keep pac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Monitoring is abandone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Delay in data, inability to transform volumes, or react to new sourc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pair, adjust and redesign ETL</a:t>
            </a:r>
          </a:p>
        </p:txBody>
      </p:sp>
      <p:sp>
        <p:nvSpPr>
          <p:cNvPr id="18" name="Rectangle 17"/>
          <p:cNvSpPr/>
          <p:nvPr/>
        </p:nvSpPr>
        <p:spPr bwMode="auto">
          <a:xfrm>
            <a:off x="8366517" y="4896444"/>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ports become invalid or unusabl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Delay in preserved reports increas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Users begin to “innovate” to relieve starvation</a:t>
            </a:r>
          </a:p>
        </p:txBody>
      </p:sp>
      <p:pic>
        <p:nvPicPr>
          <p:cNvPr id="20" name="Picture 19"/>
          <p:cNvPicPr>
            <a:picLocks noChangeAspect="1"/>
          </p:cNvPicPr>
          <p:nvPr/>
        </p:nvPicPr>
        <p:blipFill>
          <a:blip r:embed="rId6"/>
          <a:stretch>
            <a:fillRect/>
          </a:stretch>
        </p:blipFill>
        <p:spPr>
          <a:xfrm>
            <a:off x="6767529" y="809779"/>
            <a:ext cx="2709957" cy="821867"/>
          </a:xfrm>
          <a:prstGeom prst="rect">
            <a:avLst/>
          </a:prstGeom>
        </p:spPr>
      </p:pic>
      <p:pic>
        <p:nvPicPr>
          <p:cNvPr id="21" name="Picture 20"/>
          <p:cNvPicPr>
            <a:picLocks noChangeAspect="1"/>
          </p:cNvPicPr>
          <p:nvPr/>
        </p:nvPicPr>
        <p:blipFill>
          <a:blip r:embed="rId7"/>
          <a:stretch>
            <a:fillRect/>
          </a:stretch>
        </p:blipFill>
        <p:spPr>
          <a:xfrm>
            <a:off x="7577649" y="1137200"/>
            <a:ext cx="751275" cy="768267"/>
          </a:xfrm>
          <a:prstGeom prst="rect">
            <a:avLst/>
          </a:prstGeom>
        </p:spPr>
      </p:pic>
      <p:pic>
        <p:nvPicPr>
          <p:cNvPr id="22" name="Picture 21"/>
          <p:cNvPicPr>
            <a:picLocks noChangeAspect="1"/>
          </p:cNvPicPr>
          <p:nvPr/>
        </p:nvPicPr>
        <p:blipFill>
          <a:blip r:embed="rId8"/>
          <a:stretch>
            <a:fillRect/>
          </a:stretch>
        </p:blipFill>
        <p:spPr>
          <a:xfrm>
            <a:off x="8839353" y="1220713"/>
            <a:ext cx="348806" cy="410933"/>
          </a:xfrm>
          <a:prstGeom prst="rect">
            <a:avLst/>
          </a:prstGeom>
        </p:spPr>
      </p:pic>
      <p:pic>
        <p:nvPicPr>
          <p:cNvPr id="23" name="Picture 22"/>
          <p:cNvPicPr>
            <a:picLocks noChangeAspect="1"/>
          </p:cNvPicPr>
          <p:nvPr/>
        </p:nvPicPr>
        <p:blipFill>
          <a:blip r:embed="rId9"/>
          <a:stretch>
            <a:fillRect/>
          </a:stretch>
        </p:blipFill>
        <p:spPr>
          <a:xfrm>
            <a:off x="9390741" y="1220713"/>
            <a:ext cx="348806" cy="410933"/>
          </a:xfrm>
          <a:prstGeom prst="rect">
            <a:avLst/>
          </a:prstGeom>
        </p:spPr>
      </p:pic>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10"/>
          <a:stretch>
            <a:fillRect/>
          </a:stretch>
        </p:blipFill>
        <p:spPr>
          <a:xfrm>
            <a:off x="224598" y="3978859"/>
            <a:ext cx="1225648" cy="712692"/>
          </a:xfrm>
          <a:prstGeom prst="rect">
            <a:avLst/>
          </a:prstGeom>
        </p:spPr>
      </p:pic>
      <p:grpSp>
        <p:nvGrpSpPr>
          <p:cNvPr id="19" name="Group 18"/>
          <p:cNvGrpSpPr/>
          <p:nvPr/>
        </p:nvGrpSpPr>
        <p:grpSpPr>
          <a:xfrm>
            <a:off x="1560755" y="3847799"/>
            <a:ext cx="1663238" cy="860138"/>
            <a:chOff x="1560755" y="3819518"/>
            <a:chExt cx="1663238" cy="860138"/>
          </a:xfrm>
        </p:grpSpPr>
        <p:pic>
          <p:nvPicPr>
            <p:cNvPr id="28" name="Picture 27"/>
            <p:cNvPicPr>
              <a:picLocks noChangeAspect="1"/>
            </p:cNvPicPr>
            <p:nvPr/>
          </p:nvPicPr>
          <p:blipFill>
            <a:blip r:embed="rId11"/>
            <a:stretch>
              <a:fillRect/>
            </a:stretch>
          </p:blipFill>
          <p:spPr>
            <a:xfrm>
              <a:off x="1560755" y="3819518"/>
              <a:ext cx="1120663" cy="860138"/>
            </a:xfrm>
            <a:prstGeom prst="rect">
              <a:avLst/>
            </a:prstGeom>
          </p:spPr>
        </p:pic>
        <p:pic>
          <p:nvPicPr>
            <p:cNvPr id="5" name="Picture 4"/>
            <p:cNvPicPr>
              <a:picLocks noChangeAspect="1"/>
            </p:cNvPicPr>
            <p:nvPr/>
          </p:nvPicPr>
          <p:blipFill>
            <a:blip r:embed="rId12"/>
            <a:stretch>
              <a:fillRect/>
            </a:stretch>
          </p:blipFill>
          <p:spPr>
            <a:xfrm>
              <a:off x="2526380" y="3905779"/>
              <a:ext cx="697613" cy="437733"/>
            </a:xfrm>
            <a:prstGeom prst="rect">
              <a:avLst/>
            </a:prstGeom>
          </p:spPr>
        </p:pic>
      </p:grpSp>
      <p:pic>
        <p:nvPicPr>
          <p:cNvPr id="30" name="Picture 29"/>
          <p:cNvPicPr>
            <a:picLocks noChangeAspect="1"/>
          </p:cNvPicPr>
          <p:nvPr/>
        </p:nvPicPr>
        <p:blipFill>
          <a:blip r:embed="rId13"/>
          <a:stretch>
            <a:fillRect/>
          </a:stretch>
        </p:blipFill>
        <p:spPr>
          <a:xfrm>
            <a:off x="4227984" y="3819284"/>
            <a:ext cx="2298544" cy="839733"/>
          </a:xfrm>
          <a:prstGeom prst="rect">
            <a:avLst/>
          </a:prstGeom>
        </p:spPr>
      </p:pic>
      <p:pic>
        <p:nvPicPr>
          <p:cNvPr id="31" name="Picture 30"/>
          <p:cNvPicPr>
            <a:picLocks noChangeAspect="1"/>
          </p:cNvPicPr>
          <p:nvPr/>
        </p:nvPicPr>
        <p:blipFill>
          <a:blip r:embed="rId14"/>
          <a:stretch>
            <a:fillRect/>
          </a:stretch>
        </p:blipFill>
        <p:spPr>
          <a:xfrm>
            <a:off x="8718741" y="4150118"/>
            <a:ext cx="1636706" cy="402000"/>
          </a:xfrm>
          <a:prstGeom prst="rect">
            <a:avLst/>
          </a:prstGeom>
        </p:spPr>
      </p:pic>
    </p:spTree>
    <p:extLst>
      <p:ext uri="{BB962C8B-B14F-4D97-AF65-F5344CB8AC3E}">
        <p14:creationId xmlns:p14="http://schemas.microsoft.com/office/powerpoint/2010/main" val="168197280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69241" y="1018721"/>
            <a:ext cx="6151880" cy="563458"/>
          </a:xfrm>
        </p:spPr>
        <p:txBody>
          <a:bodyPr/>
          <a:lstStyle/>
          <a:p>
            <a:r>
              <a:rPr lang="en-US" dirty="0">
                <a:solidFill>
                  <a:schemeClr val="bg1">
                    <a:lumMod val="50000"/>
                  </a:schemeClr>
                </a:solidFill>
              </a:rPr>
              <a:t>Data Lake Transformation (ELT not ETL)</a:t>
            </a:r>
          </a:p>
        </p:txBody>
      </p:sp>
      <p:sp>
        <p:nvSpPr>
          <p:cNvPr id="3" name="Title 2"/>
          <p:cNvSpPr>
            <a:spLocks noGrp="1"/>
          </p:cNvSpPr>
          <p:nvPr>
            <p:ph type="title"/>
          </p:nvPr>
        </p:nvSpPr>
        <p:spPr>
          <a:xfrm>
            <a:off x="268927" y="187525"/>
            <a:ext cx="11653523" cy="927940"/>
          </a:xfrm>
        </p:spPr>
        <p:txBody>
          <a:bodyPr/>
          <a:lstStyle/>
          <a:p>
            <a:r>
              <a:rPr lang="en-US" dirty="0">
                <a:solidFill>
                  <a:schemeClr val="bg1">
                    <a:lumMod val="50000"/>
                  </a:schemeClr>
                </a:solidFill>
              </a:rPr>
              <a:t>New Approaches</a:t>
            </a:r>
          </a:p>
        </p:txBody>
      </p:sp>
      <p:sp>
        <p:nvSpPr>
          <p:cNvPr id="9" name="Rectangle 8"/>
          <p:cNvSpPr/>
          <p:nvPr/>
        </p:nvSpPr>
        <p:spPr bwMode="auto">
          <a:xfrm>
            <a:off x="1" y="4773638"/>
            <a:ext cx="12191999" cy="2083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0" name="Group 9"/>
          <p:cNvGrpSpPr/>
          <p:nvPr/>
        </p:nvGrpSpPr>
        <p:grpSpPr>
          <a:xfrm>
            <a:off x="3442817" y="4351118"/>
            <a:ext cx="829470" cy="832842"/>
            <a:chOff x="5476876" y="3667021"/>
            <a:chExt cx="568324" cy="570634"/>
          </a:xfrm>
        </p:grpSpPr>
        <p:sp>
          <p:nvSpPr>
            <p:cNvPr id="11" name="Oval 10"/>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grpSp>
        <p:nvGrpSpPr>
          <p:cNvPr id="13" name="Group 12"/>
          <p:cNvGrpSpPr/>
          <p:nvPr/>
        </p:nvGrpSpPr>
        <p:grpSpPr>
          <a:xfrm>
            <a:off x="7130638" y="4351118"/>
            <a:ext cx="829470" cy="832842"/>
            <a:chOff x="5476876" y="3667021"/>
            <a:chExt cx="568324" cy="570634"/>
          </a:xfrm>
        </p:grpSpPr>
        <p:sp>
          <p:nvSpPr>
            <p:cNvPr id="14" name="Oval 13"/>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DC3C00"/>
            </a:solidFill>
            <a:ln>
              <a:noFill/>
            </a:ln>
            <a:extLst/>
          </p:spPr>
          <p:txBody>
            <a:bodyPr vert="horz" wrap="square" lIns="89642" tIns="44821" rIns="89642" bIns="44821"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0000"/>
                </a:solidFill>
                <a:effectLst/>
                <a:uLnTx/>
                <a:uFillTx/>
                <a:latin typeface="Segoe UI"/>
                <a:ea typeface="MS PGothic" charset="0"/>
                <a:cs typeface="+mn-cs"/>
              </a:endParaRPr>
            </a:p>
          </p:txBody>
        </p:sp>
      </p:grpSp>
      <p:sp>
        <p:nvSpPr>
          <p:cNvPr id="16" name="Rectangle 15"/>
          <p:cNvSpPr/>
          <p:nvPr/>
        </p:nvSpPr>
        <p:spPr bwMode="auto">
          <a:xfrm>
            <a:off x="268927" y="4864255"/>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All data sources are considere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Leverages the power of on-</a:t>
            </a:r>
            <a:r>
              <a:rPr kumimoji="0" lang="en-US" sz="1400" b="0" i="0" u="none" strike="noStrike" kern="1200" cap="none" spc="0" normalizeH="0" baseline="0" noProof="0" dirty="0" err="1">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em</a:t>
            </a: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 technologies and the cloud for storage and captur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Native formats, streaming data, big data</a:t>
            </a:r>
          </a:p>
        </p:txBody>
      </p:sp>
      <p:sp>
        <p:nvSpPr>
          <p:cNvPr id="17" name="Rectangle 16"/>
          <p:cNvSpPr/>
          <p:nvPr/>
        </p:nvSpPr>
        <p:spPr bwMode="auto">
          <a:xfrm>
            <a:off x="4044778" y="4776567"/>
            <a:ext cx="3651263" cy="23876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Extract and load, no/minimal transform</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torage of data in near-native format</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Orchestration becomes possible</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Streaming data accommodation becomes possible</a:t>
            </a:r>
          </a:p>
        </p:txBody>
      </p:sp>
      <p:sp>
        <p:nvSpPr>
          <p:cNvPr id="18" name="Rectangle 17"/>
          <p:cNvSpPr/>
          <p:nvPr/>
        </p:nvSpPr>
        <p:spPr bwMode="auto">
          <a:xfrm>
            <a:off x="8366517" y="4896444"/>
            <a:ext cx="3243118" cy="16808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Refineries transform data on read</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Produce curated data sets to integrate with traditional warehouses</a:t>
            </a:r>
          </a:p>
          <a:p>
            <a:pPr marL="0" marR="0" lvl="0" indent="0" algn="l" defTabSz="914102" rtl="0" eaLnBrk="1" fontAlgn="base" latinLnBrk="0" hangingPunct="1">
              <a:lnSpc>
                <a:spcPct val="100000"/>
              </a:lnSpc>
              <a:spcBef>
                <a:spcPct val="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endParaRPr>
          </a:p>
          <a:p>
            <a:pPr marL="0" marR="0" lvl="0" indent="0" algn="l" defTabSz="914102" rtl="0" eaLnBrk="1" fontAlgn="base" latinLnBrk="0" hangingPunct="1">
              <a:lnSpc>
                <a:spcPct val="100000"/>
              </a:lnSpc>
              <a:spcBef>
                <a:spcPct val="0"/>
              </a:spcBef>
              <a:spcAft>
                <a:spcPct val="0"/>
              </a:spcAft>
              <a:buClrTx/>
              <a:buSzPct val="80000"/>
              <a:buFontTx/>
              <a:buNone/>
              <a:tabLst/>
              <a:defRPr/>
            </a:pPr>
            <a:r>
              <a:rPr kumimoji="0" lang="en-US" sz="1400" b="0" i="0" u="none" strike="noStrike" kern="1200" cap="none" spc="0" normalizeH="0" baseline="0" noProof="0" dirty="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Users discover published data sets/services using familiar tools</a:t>
            </a:r>
          </a:p>
        </p:txBody>
      </p:sp>
      <p:cxnSp>
        <p:nvCxnSpPr>
          <p:cNvPr id="24" name="Straight Connector 23"/>
          <p:cNvCxnSpPr/>
          <p:nvPr/>
        </p:nvCxnSpPr>
        <p:spPr>
          <a:xfrm>
            <a:off x="3854939" y="5354135"/>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77649" y="5284113"/>
            <a:ext cx="0" cy="1220134"/>
          </a:xfrm>
          <a:prstGeom prst="line">
            <a:avLst/>
          </a:prstGeom>
          <a:ln w="12700">
            <a:solidFill>
              <a:schemeClr val="accent4">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3"/>
          <a:stretch>
            <a:fillRect/>
          </a:stretch>
        </p:blipFill>
        <p:spPr>
          <a:xfrm>
            <a:off x="82377" y="1479370"/>
            <a:ext cx="3332519" cy="3225691"/>
          </a:xfrm>
          <a:prstGeom prst="rect">
            <a:avLst/>
          </a:prstGeom>
        </p:spPr>
      </p:pic>
      <p:pic>
        <p:nvPicPr>
          <p:cNvPr id="29" name="Picture 28"/>
          <p:cNvPicPr>
            <a:picLocks noChangeAspect="1"/>
          </p:cNvPicPr>
          <p:nvPr/>
        </p:nvPicPr>
        <p:blipFill>
          <a:blip r:embed="rId4"/>
          <a:stretch>
            <a:fillRect/>
          </a:stretch>
        </p:blipFill>
        <p:spPr>
          <a:xfrm>
            <a:off x="3485259" y="2237249"/>
            <a:ext cx="1448888" cy="1554400"/>
          </a:xfrm>
          <a:prstGeom prst="rect">
            <a:avLst/>
          </a:prstGeom>
        </p:spPr>
      </p:pic>
      <p:pic>
        <p:nvPicPr>
          <p:cNvPr id="35" name="Picture 34"/>
          <p:cNvPicPr>
            <a:picLocks noChangeAspect="1"/>
          </p:cNvPicPr>
          <p:nvPr/>
        </p:nvPicPr>
        <p:blipFill>
          <a:blip r:embed="rId5"/>
          <a:stretch>
            <a:fillRect/>
          </a:stretch>
        </p:blipFill>
        <p:spPr>
          <a:xfrm>
            <a:off x="5133883" y="1931232"/>
            <a:ext cx="2826225" cy="1983200"/>
          </a:xfrm>
          <a:prstGeom prst="rect">
            <a:avLst/>
          </a:prstGeom>
        </p:spPr>
      </p:pic>
      <p:pic>
        <p:nvPicPr>
          <p:cNvPr id="36" name="Picture 35"/>
          <p:cNvPicPr>
            <a:picLocks noChangeAspect="1"/>
          </p:cNvPicPr>
          <p:nvPr/>
        </p:nvPicPr>
        <p:blipFill>
          <a:blip r:embed="rId6"/>
          <a:stretch>
            <a:fillRect/>
          </a:stretch>
        </p:blipFill>
        <p:spPr>
          <a:xfrm rot="16200000">
            <a:off x="8374443" y="3067958"/>
            <a:ext cx="286200" cy="366267"/>
          </a:xfrm>
          <a:prstGeom prst="rect">
            <a:avLst/>
          </a:prstGeom>
        </p:spPr>
      </p:pic>
      <p:pic>
        <p:nvPicPr>
          <p:cNvPr id="37" name="Picture 36"/>
          <p:cNvPicPr>
            <a:picLocks noChangeAspect="1"/>
          </p:cNvPicPr>
          <p:nvPr/>
        </p:nvPicPr>
        <p:blipFill>
          <a:blip r:embed="rId7"/>
          <a:stretch>
            <a:fillRect/>
          </a:stretch>
        </p:blipFill>
        <p:spPr>
          <a:xfrm>
            <a:off x="8958901" y="2121557"/>
            <a:ext cx="2960382" cy="1974267"/>
          </a:xfrm>
          <a:prstGeom prst="rect">
            <a:avLst/>
          </a:prstGeom>
        </p:spPr>
      </p:pic>
      <p:pic>
        <p:nvPicPr>
          <p:cNvPr id="38" name="Picture 37"/>
          <p:cNvPicPr>
            <a:picLocks noChangeAspect="1"/>
          </p:cNvPicPr>
          <p:nvPr/>
        </p:nvPicPr>
        <p:blipFill>
          <a:blip r:embed="rId8"/>
          <a:stretch>
            <a:fillRect/>
          </a:stretch>
        </p:blipFill>
        <p:spPr>
          <a:xfrm>
            <a:off x="9416737" y="107995"/>
            <a:ext cx="2676091" cy="1482665"/>
          </a:xfrm>
          <a:prstGeom prst="rect">
            <a:avLst/>
          </a:prstGeom>
        </p:spPr>
      </p:pic>
      <p:pic>
        <p:nvPicPr>
          <p:cNvPr id="39" name="Picture 38"/>
          <p:cNvPicPr>
            <a:picLocks noChangeAspect="1"/>
          </p:cNvPicPr>
          <p:nvPr/>
        </p:nvPicPr>
        <p:blipFill>
          <a:blip r:embed="rId6"/>
          <a:stretch>
            <a:fillRect/>
          </a:stretch>
        </p:blipFill>
        <p:spPr>
          <a:xfrm rot="10800000">
            <a:off x="10295992" y="1695581"/>
            <a:ext cx="286200" cy="366267"/>
          </a:xfrm>
          <a:prstGeom prst="rect">
            <a:avLst/>
          </a:prstGeom>
        </p:spPr>
      </p:pic>
      <p:pic>
        <p:nvPicPr>
          <p:cNvPr id="27" name="Picture 26"/>
          <p:cNvPicPr>
            <a:picLocks noChangeAspect="1"/>
          </p:cNvPicPr>
          <p:nvPr/>
        </p:nvPicPr>
        <p:blipFill>
          <a:blip r:embed="rId9"/>
          <a:stretch>
            <a:fillRect/>
          </a:stretch>
        </p:blipFill>
        <p:spPr>
          <a:xfrm>
            <a:off x="7144836" y="63692"/>
            <a:ext cx="1890898" cy="1584268"/>
          </a:xfrm>
          <a:prstGeom prst="rect">
            <a:avLst/>
          </a:prstGeom>
        </p:spPr>
      </p:pic>
      <p:pic>
        <p:nvPicPr>
          <p:cNvPr id="28" name="Picture 27"/>
          <p:cNvPicPr>
            <a:picLocks noChangeAspect="1"/>
          </p:cNvPicPr>
          <p:nvPr/>
        </p:nvPicPr>
        <p:blipFill>
          <a:blip r:embed="rId6"/>
          <a:stretch>
            <a:fillRect/>
          </a:stretch>
        </p:blipFill>
        <p:spPr>
          <a:xfrm rot="10800000">
            <a:off x="8822787" y="1687681"/>
            <a:ext cx="286200" cy="366267"/>
          </a:xfrm>
          <a:prstGeom prst="rect">
            <a:avLst/>
          </a:prstGeom>
        </p:spPr>
      </p:pic>
      <p:pic>
        <p:nvPicPr>
          <p:cNvPr id="30" name="Picture 29"/>
          <p:cNvPicPr>
            <a:picLocks noChangeAspect="1"/>
          </p:cNvPicPr>
          <p:nvPr/>
        </p:nvPicPr>
        <p:blipFill>
          <a:blip r:embed="rId6"/>
          <a:stretch>
            <a:fillRect/>
          </a:stretch>
        </p:blipFill>
        <p:spPr>
          <a:xfrm rot="16200000">
            <a:off x="9135653" y="800122"/>
            <a:ext cx="286200" cy="366267"/>
          </a:xfrm>
          <a:prstGeom prst="rect">
            <a:avLst/>
          </a:prstGeom>
        </p:spPr>
      </p:pic>
      <p:cxnSp>
        <p:nvCxnSpPr>
          <p:cNvPr id="5" name="Straight Arrow Connector 4"/>
          <p:cNvCxnSpPr/>
          <p:nvPr/>
        </p:nvCxnSpPr>
        <p:spPr>
          <a:xfrm flipV="1">
            <a:off x="2909455" y="1285640"/>
            <a:ext cx="4322618" cy="1127735"/>
          </a:xfrm>
          <a:prstGeom prst="straightConnector1">
            <a:avLst/>
          </a:prstGeom>
          <a:ln w="66675">
            <a:solidFill>
              <a:srgbClr val="5285BA"/>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10"/>
          <a:stretch>
            <a:fillRect/>
          </a:stretch>
        </p:blipFill>
        <p:spPr>
          <a:xfrm>
            <a:off x="2309758" y="3196114"/>
            <a:ext cx="718942" cy="363104"/>
          </a:xfrm>
          <a:prstGeom prst="rect">
            <a:avLst/>
          </a:prstGeom>
        </p:spPr>
      </p:pic>
    </p:spTree>
    <p:extLst>
      <p:ext uri="{BB962C8B-B14F-4D97-AF65-F5344CB8AC3E}">
        <p14:creationId xmlns:p14="http://schemas.microsoft.com/office/powerpoint/2010/main" val="185162428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Cloud Architecture</a:t>
            </a:r>
            <a:endParaRPr lang="en-IN" dirty="0"/>
          </a:p>
        </p:txBody>
      </p:sp>
      <p:pic>
        <p:nvPicPr>
          <p:cNvPr id="5" name="Picture 4" descr="platform final.png"/>
          <p:cNvPicPr>
            <a:picLocks noChangeAspect="1"/>
          </p:cNvPicPr>
          <p:nvPr/>
        </p:nvPicPr>
        <p:blipFill>
          <a:blip r:embed="rId2"/>
          <a:stretch>
            <a:fillRect/>
          </a:stretch>
        </p:blipFill>
        <p:spPr>
          <a:xfrm>
            <a:off x="2966551" y="1156883"/>
            <a:ext cx="6186975" cy="5140338"/>
          </a:xfrm>
          <a:prstGeom prst="rect">
            <a:avLst/>
          </a:prstGeom>
        </p:spPr>
      </p:pic>
      <p:sp>
        <p:nvSpPr>
          <p:cNvPr id="6" name="TextBox 5"/>
          <p:cNvSpPr txBox="1"/>
          <p:nvPr/>
        </p:nvSpPr>
        <p:spPr>
          <a:xfrm>
            <a:off x="8877300" y="6400801"/>
            <a:ext cx="1638300" cy="246221"/>
          </a:xfrm>
          <a:prstGeom prst="rect">
            <a:avLst/>
          </a:prstGeom>
          <a:noFill/>
        </p:spPr>
        <p:txBody>
          <a:bodyPr wrap="square" rtlCol="0">
            <a:spAutoFit/>
          </a:bodyPr>
          <a:lstStyle/>
          <a:p>
            <a:r>
              <a:rPr lang="en-IN" sz="1000" i="1" kern="0" dirty="0">
                <a:solidFill>
                  <a:srgbClr val="000000"/>
                </a:solidFill>
                <a:latin typeface="Arial"/>
                <a:cs typeface="Arial"/>
                <a:sym typeface="Arial"/>
              </a:rPr>
              <a:t>Source: iotechnology.com</a:t>
            </a:r>
          </a:p>
        </p:txBody>
      </p:sp>
    </p:spTree>
    <p:extLst>
      <p:ext uri="{BB962C8B-B14F-4D97-AF65-F5344CB8AC3E}">
        <p14:creationId xmlns:p14="http://schemas.microsoft.com/office/powerpoint/2010/main" val="3317869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042" y="2076"/>
                        <a:ext cx="1587" cy="1587"/>
                      </a:xfrm>
                      <a:prstGeom prst="rect">
                        <a:avLst/>
                      </a:prstGeom>
                    </p:spPr>
                  </p:pic>
                </p:oleObj>
              </mc:Fallback>
            </mc:AlternateContent>
          </a:graphicData>
        </a:graphic>
      </p:graphicFrame>
      <p:grpSp>
        <p:nvGrpSpPr>
          <p:cNvPr id="852" name="Group 851"/>
          <p:cNvGrpSpPr/>
          <p:nvPr/>
        </p:nvGrpSpPr>
        <p:grpSpPr>
          <a:xfrm>
            <a:off x="8479707" y="937513"/>
            <a:ext cx="1790942" cy="1790938"/>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latin typeface="Segoe UI"/>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8">
                <a:defRPr/>
              </a:pPr>
              <a:endParaRPr lang="en-US" sz="2200" kern="0" spc="-122" dirty="0">
                <a:solidFill>
                  <a:srgbClr val="505050">
                    <a:lumMod val="50000"/>
                  </a:srgbClr>
                </a:solidFill>
                <a:latin typeface="Segoe UI"/>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latin typeface="Segoe UI"/>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27" tIns="45713" rIns="91427" bIns="45713" numCol="1" anchor="t" anchorCtr="0" compatLnSpc="1">
              <a:prstTxWarp prst="textNoShape">
                <a:avLst/>
              </a:prstTxWarp>
            </a:bodyPr>
            <a:lstStyle/>
            <a:p>
              <a:pPr defTabSz="1218705">
                <a:defRPr/>
              </a:pPr>
              <a:endParaRPr lang="en-US" sz="2300" kern="0" dirty="0">
                <a:ln>
                  <a:solidFill>
                    <a:srgbClr val="505050">
                      <a:alpha val="0"/>
                    </a:srgbClr>
                  </a:solidFill>
                </a:ln>
                <a:solidFill>
                  <a:srgbClr val="000000"/>
                </a:solidFill>
                <a:latin typeface="Segoe UI"/>
              </a:endParaRPr>
            </a:p>
          </p:txBody>
        </p:sp>
      </p:grpSp>
      <p:sp>
        <p:nvSpPr>
          <p:cNvPr id="831" name="Freeform 830"/>
          <p:cNvSpPr/>
          <p:nvPr/>
        </p:nvSpPr>
        <p:spPr>
          <a:xfrm rot="18900000">
            <a:off x="2247908" y="2901613"/>
            <a:ext cx="196822" cy="751083"/>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2" name="Freeform 831"/>
          <p:cNvSpPr/>
          <p:nvPr/>
        </p:nvSpPr>
        <p:spPr>
          <a:xfrm rot="18900000">
            <a:off x="2366422" y="2709106"/>
            <a:ext cx="317455" cy="1089704"/>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3" name="Freeform 832"/>
          <p:cNvSpPr/>
          <p:nvPr/>
        </p:nvSpPr>
        <p:spPr>
          <a:xfrm rot="18900000">
            <a:off x="2403378" y="2672886"/>
            <a:ext cx="399993" cy="125574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4" name="Freeform 833"/>
          <p:cNvSpPr/>
          <p:nvPr/>
        </p:nvSpPr>
        <p:spPr>
          <a:xfrm rot="18900000">
            <a:off x="2460803" y="2604010"/>
            <a:ext cx="298407" cy="106556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5" name="Freeform 834"/>
          <p:cNvSpPr/>
          <p:nvPr/>
        </p:nvSpPr>
        <p:spPr>
          <a:xfrm rot="18900000">
            <a:off x="2558066" y="2536108"/>
            <a:ext cx="310691" cy="1236986"/>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6" name="Freeform 835"/>
          <p:cNvSpPr/>
          <p:nvPr/>
        </p:nvSpPr>
        <p:spPr>
          <a:xfrm rot="18900000">
            <a:off x="2526115" y="2512270"/>
            <a:ext cx="301583" cy="101919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7" name="Freeform 836"/>
          <p:cNvSpPr/>
          <p:nvPr/>
        </p:nvSpPr>
        <p:spPr>
          <a:xfrm rot="18900000">
            <a:off x="2653152" y="2405626"/>
            <a:ext cx="301736" cy="1265172"/>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42" name="Freeform 841"/>
          <p:cNvSpPr/>
          <p:nvPr/>
        </p:nvSpPr>
        <p:spPr>
          <a:xfrm rot="18900000">
            <a:off x="2652132" y="2230826"/>
            <a:ext cx="519038" cy="119836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58" name="Freeform 457"/>
          <p:cNvSpPr/>
          <p:nvPr/>
        </p:nvSpPr>
        <p:spPr>
          <a:xfrm rot="8100000" flipV="1">
            <a:off x="4189835" y="-467771"/>
            <a:ext cx="819034" cy="3028521"/>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59" name="Freeform 458"/>
          <p:cNvSpPr/>
          <p:nvPr/>
        </p:nvSpPr>
        <p:spPr>
          <a:xfrm rot="8100000" flipV="1">
            <a:off x="3463240" y="-105232"/>
            <a:ext cx="768241" cy="1104744"/>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0" name="Freeform 459"/>
          <p:cNvSpPr/>
          <p:nvPr/>
        </p:nvSpPr>
        <p:spPr>
          <a:xfrm rot="8100000" flipV="1">
            <a:off x="2855386" y="-240432"/>
            <a:ext cx="1275475" cy="1715765"/>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1" name="Freeform 460"/>
          <p:cNvSpPr/>
          <p:nvPr/>
        </p:nvSpPr>
        <p:spPr>
          <a:xfrm rot="8100000" flipV="1">
            <a:off x="3419372" y="-289969"/>
            <a:ext cx="1308817" cy="3306479"/>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2" name="Freeform 461"/>
          <p:cNvSpPr/>
          <p:nvPr/>
        </p:nvSpPr>
        <p:spPr>
          <a:xfrm rot="8100000" flipV="1">
            <a:off x="5927032" y="2154928"/>
            <a:ext cx="1153015" cy="1348250"/>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3" name="Freeform 462"/>
          <p:cNvSpPr/>
          <p:nvPr/>
        </p:nvSpPr>
        <p:spPr>
          <a:xfrm rot="8100000" flipV="1">
            <a:off x="2493208" y="869495"/>
            <a:ext cx="1559287" cy="106430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4" name="Freeform 463"/>
          <p:cNvSpPr/>
          <p:nvPr/>
        </p:nvSpPr>
        <p:spPr>
          <a:xfrm rot="8100000" flipV="1">
            <a:off x="2635635" y="927153"/>
            <a:ext cx="1487380" cy="1396960"/>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5" name="Freeform 464"/>
          <p:cNvSpPr/>
          <p:nvPr/>
        </p:nvSpPr>
        <p:spPr>
          <a:xfrm rot="8100000" flipV="1">
            <a:off x="2712232" y="1116697"/>
            <a:ext cx="1472955" cy="1405609"/>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6" name="Freeform 465"/>
          <p:cNvSpPr/>
          <p:nvPr/>
        </p:nvSpPr>
        <p:spPr>
          <a:xfrm rot="8100000" flipV="1">
            <a:off x="3015291" y="563231"/>
            <a:ext cx="2644041" cy="27478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7" name="Freeform 466"/>
          <p:cNvSpPr/>
          <p:nvPr/>
        </p:nvSpPr>
        <p:spPr>
          <a:xfrm rot="8100000" flipV="1">
            <a:off x="3056796" y="615000"/>
            <a:ext cx="2564528" cy="2826939"/>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8" name="Freeform 467"/>
          <p:cNvSpPr/>
          <p:nvPr/>
        </p:nvSpPr>
        <p:spPr>
          <a:xfrm rot="8100000" flipV="1">
            <a:off x="3085091" y="683171"/>
            <a:ext cx="2486846" cy="2893649"/>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69" name="Freeform 468"/>
          <p:cNvSpPr/>
          <p:nvPr/>
        </p:nvSpPr>
        <p:spPr>
          <a:xfrm rot="8100000" flipV="1">
            <a:off x="2973875" y="1043808"/>
            <a:ext cx="1835051" cy="2248493"/>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70" name="Freeform 469"/>
          <p:cNvSpPr/>
          <p:nvPr/>
        </p:nvSpPr>
        <p:spPr>
          <a:xfrm rot="8100000" flipV="1">
            <a:off x="2922150" y="1173618"/>
            <a:ext cx="1670698" cy="2067782"/>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72" name="Freeform 471"/>
          <p:cNvSpPr/>
          <p:nvPr/>
        </p:nvSpPr>
        <p:spPr>
          <a:xfrm>
            <a:off x="9273725" y="1422686"/>
            <a:ext cx="2918998" cy="2523767"/>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477" name="Freeform 476"/>
          <p:cNvSpPr/>
          <p:nvPr/>
        </p:nvSpPr>
        <p:spPr>
          <a:xfrm>
            <a:off x="9435629" y="2389337"/>
            <a:ext cx="2757095" cy="1595211"/>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478" name="Freeform 477"/>
          <p:cNvSpPr/>
          <p:nvPr/>
        </p:nvSpPr>
        <p:spPr>
          <a:xfrm>
            <a:off x="9659434" y="2470288"/>
            <a:ext cx="2523767" cy="1680925"/>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675" name="Freeform 674"/>
          <p:cNvSpPr/>
          <p:nvPr/>
        </p:nvSpPr>
        <p:spPr>
          <a:xfrm>
            <a:off x="9735623" y="3260749"/>
            <a:ext cx="2461864" cy="1580926"/>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76" name="Freeform 675"/>
          <p:cNvSpPr/>
          <p:nvPr/>
        </p:nvSpPr>
        <p:spPr>
          <a:xfrm>
            <a:off x="8561038" y="3841692"/>
            <a:ext cx="3644384" cy="2628528"/>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77" name="Freeform 676"/>
          <p:cNvSpPr/>
          <p:nvPr/>
        </p:nvSpPr>
        <p:spPr>
          <a:xfrm>
            <a:off x="8484850" y="3905183"/>
            <a:ext cx="3714223" cy="2780905"/>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nvGrpSpPr>
          <p:cNvPr id="678" name="Group 677"/>
          <p:cNvGrpSpPr/>
          <p:nvPr/>
        </p:nvGrpSpPr>
        <p:grpSpPr>
          <a:xfrm flipV="1">
            <a:off x="5143723" y="13184"/>
            <a:ext cx="2901538" cy="2215836"/>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sp>
        <p:nvSpPr>
          <p:cNvPr id="679" name="Freeform 678"/>
          <p:cNvSpPr/>
          <p:nvPr/>
        </p:nvSpPr>
        <p:spPr>
          <a:xfrm>
            <a:off x="10459419" y="4121052"/>
            <a:ext cx="1726955" cy="977761"/>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1" name="Freeform 680"/>
          <p:cNvSpPr/>
          <p:nvPr/>
        </p:nvSpPr>
        <p:spPr>
          <a:xfrm>
            <a:off x="7430899" y="4273430"/>
            <a:ext cx="2596782" cy="2615829"/>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2" name="Freeform 681"/>
          <p:cNvSpPr/>
          <p:nvPr/>
        </p:nvSpPr>
        <p:spPr>
          <a:xfrm>
            <a:off x="7005510" y="4394063"/>
            <a:ext cx="2545989" cy="2463451"/>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683" name="Freeform 682"/>
          <p:cNvSpPr/>
          <p:nvPr/>
        </p:nvSpPr>
        <p:spPr>
          <a:xfrm>
            <a:off x="6865829" y="4273431"/>
            <a:ext cx="2971379" cy="2596782"/>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28" name="Freeform 727"/>
          <p:cNvSpPr/>
          <p:nvPr/>
        </p:nvSpPr>
        <p:spPr>
          <a:xfrm rot="8100000" flipH="1" flipV="1">
            <a:off x="5299146" y="3340652"/>
            <a:ext cx="2383769" cy="2271939"/>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76" name="Freeform 775"/>
          <p:cNvSpPr/>
          <p:nvPr/>
        </p:nvSpPr>
        <p:spPr>
          <a:xfrm>
            <a:off x="2328854" y="2537886"/>
            <a:ext cx="2578404" cy="1294414"/>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77" name="Freeform 776"/>
          <p:cNvSpPr/>
          <p:nvPr/>
        </p:nvSpPr>
        <p:spPr>
          <a:xfrm>
            <a:off x="2409243" y="127469"/>
            <a:ext cx="3231210" cy="1386643"/>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0" name="Freeform 779"/>
          <p:cNvSpPr/>
          <p:nvPr/>
        </p:nvSpPr>
        <p:spPr>
          <a:xfrm>
            <a:off x="2425927" y="2179816"/>
            <a:ext cx="2509776" cy="342851"/>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4" name="Freeform 783"/>
          <p:cNvSpPr/>
          <p:nvPr/>
        </p:nvSpPr>
        <p:spPr>
          <a:xfrm>
            <a:off x="6421594" y="2669382"/>
            <a:ext cx="2916040" cy="4215266"/>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5" name="Freeform 784"/>
          <p:cNvSpPr/>
          <p:nvPr/>
        </p:nvSpPr>
        <p:spPr>
          <a:xfrm>
            <a:off x="8750576" y="2650134"/>
            <a:ext cx="134735" cy="2021018"/>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2" name="Freeform 801"/>
          <p:cNvSpPr/>
          <p:nvPr/>
        </p:nvSpPr>
        <p:spPr>
          <a:xfrm>
            <a:off x="2264320" y="1275069"/>
            <a:ext cx="723797" cy="176187"/>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3" name="Freeform 802"/>
          <p:cNvSpPr/>
          <p:nvPr/>
        </p:nvSpPr>
        <p:spPr>
          <a:xfrm>
            <a:off x="2296934" y="1284593"/>
            <a:ext cx="938080" cy="214281"/>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4" name="Freeform 803"/>
          <p:cNvSpPr/>
          <p:nvPr/>
        </p:nvSpPr>
        <p:spPr>
          <a:xfrm>
            <a:off x="3402397" y="1113166"/>
            <a:ext cx="671418" cy="366660"/>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5" name="Freeform 804"/>
          <p:cNvSpPr/>
          <p:nvPr/>
        </p:nvSpPr>
        <p:spPr>
          <a:xfrm>
            <a:off x="8240510" y="2226682"/>
            <a:ext cx="433076" cy="1097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6" name="Freeform 805"/>
          <p:cNvSpPr/>
          <p:nvPr/>
        </p:nvSpPr>
        <p:spPr>
          <a:xfrm>
            <a:off x="8221261" y="3651018"/>
            <a:ext cx="384956" cy="1077877"/>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7" name="Freeform 806"/>
          <p:cNvSpPr/>
          <p:nvPr/>
        </p:nvSpPr>
        <p:spPr>
          <a:xfrm>
            <a:off x="8240510" y="3958984"/>
            <a:ext cx="230974"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8" name="Freeform 807"/>
          <p:cNvSpPr/>
          <p:nvPr/>
        </p:nvSpPr>
        <p:spPr>
          <a:xfrm>
            <a:off x="611967" y="3644869"/>
            <a:ext cx="6425289" cy="3238041"/>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09" name="Freeform 808"/>
          <p:cNvSpPr/>
          <p:nvPr/>
        </p:nvSpPr>
        <p:spPr>
          <a:xfrm>
            <a:off x="764345" y="3975022"/>
            <a:ext cx="6260212" cy="2895189"/>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1" name="Freeform 810"/>
          <p:cNvSpPr/>
          <p:nvPr/>
        </p:nvSpPr>
        <p:spPr>
          <a:xfrm>
            <a:off x="1069102" y="4317875"/>
            <a:ext cx="6895121" cy="253964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2" name="Freeform 811"/>
          <p:cNvSpPr/>
          <p:nvPr/>
        </p:nvSpPr>
        <p:spPr>
          <a:xfrm>
            <a:off x="6922971" y="4241685"/>
            <a:ext cx="723797" cy="1650766"/>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3" name="Freeform 812"/>
          <p:cNvSpPr/>
          <p:nvPr/>
        </p:nvSpPr>
        <p:spPr>
          <a:xfrm>
            <a:off x="7024557" y="4241685"/>
            <a:ext cx="330153" cy="118093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4" name="Freeform 813"/>
          <p:cNvSpPr/>
          <p:nvPr/>
        </p:nvSpPr>
        <p:spPr>
          <a:xfrm>
            <a:off x="6796924" y="2274802"/>
            <a:ext cx="856527" cy="798784"/>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5" name="Freeform 814"/>
          <p:cNvSpPr/>
          <p:nvPr/>
        </p:nvSpPr>
        <p:spPr>
          <a:xfrm>
            <a:off x="6796927" y="2120819"/>
            <a:ext cx="1135619" cy="9142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6" name="Freeform 815"/>
          <p:cNvSpPr/>
          <p:nvPr/>
        </p:nvSpPr>
        <p:spPr>
          <a:xfrm>
            <a:off x="6787301" y="1976460"/>
            <a:ext cx="510066"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818" name="Freeform 817"/>
          <p:cNvSpPr/>
          <p:nvPr/>
        </p:nvSpPr>
        <p:spPr>
          <a:xfrm>
            <a:off x="9335629" y="523653"/>
            <a:ext cx="1059030" cy="41904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000" kern="0" dirty="0">
              <a:solidFill>
                <a:prstClr val="white"/>
              </a:solidFill>
              <a:latin typeface="Segoe UI"/>
            </a:endParaRPr>
          </a:p>
        </p:txBody>
      </p:sp>
      <p:sp>
        <p:nvSpPr>
          <p:cNvPr id="819" name="Freeform 818"/>
          <p:cNvSpPr/>
          <p:nvPr/>
        </p:nvSpPr>
        <p:spPr>
          <a:xfrm>
            <a:off x="8931826" y="340798"/>
            <a:ext cx="1455214" cy="586656"/>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grpSp>
        <p:nvGrpSpPr>
          <p:cNvPr id="1157" name="Group 1156"/>
          <p:cNvGrpSpPr/>
          <p:nvPr/>
        </p:nvGrpSpPr>
        <p:grpSpPr>
          <a:xfrm>
            <a:off x="7010992" y="2764714"/>
            <a:ext cx="1243643" cy="1243637"/>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1087896">
                <a:defRPr/>
              </a:pPr>
              <a:endParaRPr lang="en-US" sz="2200" kern="0" dirty="0">
                <a:solidFill>
                  <a:prstClr val="white"/>
                </a:solidFill>
                <a:latin typeface="Segoe UI"/>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1400" kern="0" dirty="0">
                  <a:solidFill>
                    <a:prstClr val="white"/>
                  </a:solidFill>
                  <a:latin typeface="Segoe UI"/>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7896">
                  <a:defRPr/>
                </a:pPr>
                <a:endParaRPr lang="en-US" sz="1400" kern="0" dirty="0">
                  <a:solidFill>
                    <a:prstClr val="white"/>
                  </a:solidFill>
                  <a:latin typeface="Segoe UI"/>
                </a:endParaRPr>
              </a:p>
            </p:txBody>
          </p:sp>
        </p:grpSp>
      </p:grpSp>
      <p:sp>
        <p:nvSpPr>
          <p:cNvPr id="448" name="Freeform 447"/>
          <p:cNvSpPr/>
          <p:nvPr/>
        </p:nvSpPr>
        <p:spPr>
          <a:xfrm>
            <a:off x="754627" y="5138125"/>
            <a:ext cx="2498092" cy="164484"/>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89" name="Freeform 788"/>
          <p:cNvSpPr/>
          <p:nvPr/>
        </p:nvSpPr>
        <p:spPr>
          <a:xfrm>
            <a:off x="10183303" y="4851137"/>
            <a:ext cx="271659" cy="391507"/>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90" name="Freeform 789"/>
          <p:cNvSpPr/>
          <p:nvPr/>
        </p:nvSpPr>
        <p:spPr>
          <a:xfrm>
            <a:off x="10886417" y="5002943"/>
            <a:ext cx="159800" cy="263669"/>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791" name="Freeform 790"/>
          <p:cNvSpPr/>
          <p:nvPr/>
        </p:nvSpPr>
        <p:spPr>
          <a:xfrm>
            <a:off x="9184557" y="5602192"/>
            <a:ext cx="663166" cy="806985"/>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defRPr/>
            </a:pPr>
            <a:endParaRPr lang="en-US" sz="2200" kern="0" dirty="0">
              <a:solidFill>
                <a:prstClr val="white"/>
              </a:solidFill>
              <a:latin typeface="Segoe UI"/>
            </a:endParaRPr>
          </a:p>
        </p:txBody>
      </p:sp>
      <p:sp>
        <p:nvSpPr>
          <p:cNvPr id="4" name="TextBox 3"/>
          <p:cNvSpPr txBox="1"/>
          <p:nvPr/>
        </p:nvSpPr>
        <p:spPr>
          <a:xfrm>
            <a:off x="332606" y="4220227"/>
            <a:ext cx="5581503" cy="2478198"/>
          </a:xfrm>
          <a:prstGeom prst="rect">
            <a:avLst/>
          </a:prstGeom>
          <a:solidFill>
            <a:srgbClr val="FFFFFF">
              <a:alpha val="54902"/>
            </a:srgbClr>
          </a:solidFill>
          <a:ln w="28575">
            <a:solidFill>
              <a:schemeClr val="tx2">
                <a:lumMod val="50000"/>
              </a:schemeClr>
            </a:solidFill>
          </a:ln>
        </p:spPr>
        <p:txBody>
          <a:bodyPr vert="horz" wrap="square" lIns="91427" tIns="91427" rIns="91427" bIns="91427" rtlCol="0" anchor="t">
            <a:noAutofit/>
          </a:bodyPr>
          <a:lstStyle/>
          <a:p>
            <a:pPr defTabSz="914149">
              <a:spcBef>
                <a:spcPts val="1200"/>
              </a:spcBef>
              <a:defRPr/>
            </a:pPr>
            <a:r>
              <a:rPr lang="en-US" sz="3529" b="1" kern="0" dirty="0">
                <a:solidFill>
                  <a:srgbClr val="0072C6"/>
                </a:solidFill>
                <a:latin typeface="Segoe UI Light"/>
              </a:rPr>
              <a:t>Big Data Analytics in the Cloud</a:t>
            </a:r>
          </a:p>
          <a:p>
            <a:pPr defTabSz="914149">
              <a:spcBef>
                <a:spcPts val="1200"/>
              </a:spcBef>
              <a:defRPr/>
            </a:pPr>
            <a:r>
              <a:rPr lang="en-US" sz="2745" b="1" kern="0" spc="-100" dirty="0">
                <a:ln w="3175">
                  <a:noFill/>
                </a:ln>
                <a:solidFill>
                  <a:srgbClr val="0072C6"/>
                </a:solidFill>
                <a:latin typeface="Segoe UI Light"/>
              </a:rPr>
              <a:t>Microsoft Azure</a:t>
            </a:r>
          </a:p>
          <a:p>
            <a:pPr defTabSz="914149">
              <a:spcBef>
                <a:spcPts val="1200"/>
              </a:spcBef>
              <a:defRPr/>
            </a:pPr>
            <a:endParaRPr lang="en-US" sz="1961" kern="0" dirty="0">
              <a:solidFill>
                <a:srgbClr val="FFFFFF">
                  <a:lumMod val="75000"/>
                </a:srgbClr>
              </a:solidFill>
              <a:latin typeface="Segoe UI Light"/>
            </a:endParaRPr>
          </a:p>
          <a:p>
            <a:pPr defTabSz="896386">
              <a:lnSpc>
                <a:spcPct val="90000"/>
              </a:lnSpc>
              <a:buSzPct val="90000"/>
              <a:defRPr/>
            </a:pPr>
            <a:r>
              <a:rPr lang="en-US" sz="1961" b="1" i="1" kern="0" dirty="0">
                <a:solidFill>
                  <a:prstClr val="white">
                    <a:lumMod val="50000"/>
                  </a:prstClr>
                </a:solidFill>
                <a:latin typeface="Segoe UI Light"/>
              </a:rPr>
              <a:t>Cortana Intelligence Suite</a:t>
            </a:r>
            <a:endParaRPr lang="en-US" sz="2353" b="1" i="1" kern="0" dirty="0">
              <a:solidFill>
                <a:srgbClr val="00BCF2"/>
              </a:solidFill>
              <a:latin typeface="Segoe UI Light"/>
            </a:endParaRPr>
          </a:p>
        </p:txBody>
      </p:sp>
      <p:pic>
        <p:nvPicPr>
          <p:cNvPr id="304" name="Picture 303"/>
          <p:cNvPicPr>
            <a:picLocks noChangeAspect="1"/>
          </p:cNvPicPr>
          <p:nvPr/>
        </p:nvPicPr>
        <p:blipFill>
          <a:blip r:embed="rId7"/>
          <a:stretch>
            <a:fillRect/>
          </a:stretch>
        </p:blipFill>
        <p:spPr>
          <a:xfrm>
            <a:off x="1686710" y="1510924"/>
            <a:ext cx="860485" cy="1555493"/>
          </a:xfrm>
          <a:prstGeom prst="rect">
            <a:avLst/>
          </a:prstGeom>
        </p:spPr>
      </p:pic>
      <p:pic>
        <p:nvPicPr>
          <p:cNvPr id="305" name="Picture 30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6799" y="722940"/>
            <a:ext cx="2509989" cy="2509989"/>
          </a:xfrm>
          <a:prstGeom prst="rect">
            <a:avLst/>
          </a:prstGeom>
        </p:spPr>
      </p:pic>
      <p:sp>
        <p:nvSpPr>
          <p:cNvPr id="306" name="Text Placeholder 2"/>
          <p:cNvSpPr txBox="1">
            <a:spLocks/>
          </p:cNvSpPr>
          <p:nvPr/>
        </p:nvSpPr>
        <p:spPr bwMode="auto">
          <a:xfrm>
            <a:off x="5646231" y="4670750"/>
            <a:ext cx="6276530" cy="96139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endParaRPr lang="en-US" sz="2353" dirty="0">
              <a:solidFill>
                <a:srgbClr val="00BCF2"/>
              </a:solidFill>
              <a:latin typeface="Segoe UI Light"/>
            </a:endParaRPr>
          </a:p>
        </p:txBody>
      </p:sp>
      <p:sp>
        <p:nvSpPr>
          <p:cNvPr id="85" name="TextBox 84"/>
          <p:cNvSpPr txBox="1"/>
          <p:nvPr/>
        </p:nvSpPr>
        <p:spPr>
          <a:xfrm>
            <a:off x="6158372" y="4220227"/>
            <a:ext cx="5729957" cy="2465861"/>
          </a:xfrm>
          <a:prstGeom prst="rect">
            <a:avLst/>
          </a:prstGeom>
          <a:solidFill>
            <a:srgbClr val="FFFFFF">
              <a:alpha val="54902"/>
            </a:srgbClr>
          </a:solidFill>
          <a:ln w="28575">
            <a:solidFill>
              <a:schemeClr val="tx2">
                <a:lumMod val="50000"/>
              </a:schemeClr>
            </a:solidFill>
          </a:ln>
        </p:spPr>
        <p:txBody>
          <a:bodyPr vert="horz" wrap="square" lIns="91427" tIns="91427" rIns="91427" bIns="91427" rtlCol="0" anchor="t">
            <a:noAutofit/>
          </a:bodyPr>
          <a:lstStyle/>
          <a:p>
            <a:pPr defTabSz="914149">
              <a:spcBef>
                <a:spcPts val="1200"/>
              </a:spcBef>
              <a:defRPr/>
            </a:pPr>
            <a:r>
              <a:rPr lang="en-US" sz="3529" b="1" kern="0" dirty="0">
                <a:solidFill>
                  <a:srgbClr val="0072C6"/>
                </a:solidFill>
                <a:latin typeface="Segoe UI Light"/>
              </a:rPr>
              <a:t>Mark Kromer</a:t>
            </a:r>
          </a:p>
          <a:p>
            <a:pPr defTabSz="914149">
              <a:spcBef>
                <a:spcPts val="1200"/>
              </a:spcBef>
              <a:defRPr/>
            </a:pPr>
            <a:r>
              <a:rPr lang="en-US" sz="1765" b="1" i="1" kern="0" dirty="0">
                <a:solidFill>
                  <a:srgbClr val="505050">
                    <a:lumMod val="50000"/>
                  </a:srgbClr>
                </a:solidFill>
                <a:latin typeface="Segoe UI Light"/>
              </a:rPr>
              <a:t>Microsoft Azure Cloud Data Architect</a:t>
            </a:r>
          </a:p>
          <a:p>
            <a:pPr defTabSz="914149">
              <a:spcBef>
                <a:spcPts val="1200"/>
              </a:spcBef>
              <a:defRPr/>
            </a:pPr>
            <a:r>
              <a:rPr lang="en-US" sz="1765" b="1" i="1" kern="0" dirty="0">
                <a:solidFill>
                  <a:srgbClr val="505050">
                    <a:lumMod val="50000"/>
                  </a:srgbClr>
                </a:solidFill>
                <a:latin typeface="Segoe UI Light"/>
              </a:rPr>
              <a:t>@</a:t>
            </a:r>
            <a:r>
              <a:rPr lang="en-US" sz="1765" b="1" i="1" kern="0" dirty="0" err="1">
                <a:solidFill>
                  <a:srgbClr val="505050">
                    <a:lumMod val="50000"/>
                  </a:srgbClr>
                </a:solidFill>
                <a:latin typeface="Segoe UI Light"/>
              </a:rPr>
              <a:t>kromerbigdata</a:t>
            </a:r>
            <a:endParaRPr lang="en-US" sz="1765" b="1" i="1" kern="0" dirty="0">
              <a:solidFill>
                <a:srgbClr val="505050">
                  <a:lumMod val="50000"/>
                </a:srgbClr>
              </a:solidFill>
              <a:latin typeface="Segoe UI Light"/>
            </a:endParaRPr>
          </a:p>
          <a:p>
            <a:pPr defTabSz="914149">
              <a:spcBef>
                <a:spcPts val="1200"/>
              </a:spcBef>
              <a:defRPr/>
            </a:pPr>
            <a:r>
              <a:rPr lang="en-US" sz="1765" b="1" i="1" kern="0" dirty="0">
                <a:solidFill>
                  <a:srgbClr val="505050">
                    <a:lumMod val="50000"/>
                  </a:srgbClr>
                </a:solidFill>
                <a:latin typeface="Segoe UI Light"/>
              </a:rPr>
              <a:t>@</a:t>
            </a:r>
            <a:r>
              <a:rPr lang="en-US" sz="1765" b="1" i="1" kern="0" dirty="0" err="1">
                <a:solidFill>
                  <a:srgbClr val="505050">
                    <a:lumMod val="50000"/>
                  </a:srgbClr>
                </a:solidFill>
                <a:latin typeface="Segoe UI Light"/>
              </a:rPr>
              <a:t>mssqldude</a:t>
            </a:r>
            <a:endParaRPr lang="en-US" sz="1765" b="1" i="1" kern="0" dirty="0">
              <a:solidFill>
                <a:srgbClr val="505050">
                  <a:lumMod val="50000"/>
                </a:srgbClr>
              </a:solidFill>
              <a:latin typeface="Segoe UI Light"/>
            </a:endParaRPr>
          </a:p>
          <a:p>
            <a:pPr defTabSz="914149">
              <a:spcBef>
                <a:spcPts val="1200"/>
              </a:spcBef>
              <a:defRPr/>
            </a:pPr>
            <a:endParaRPr lang="en-US" sz="1765" b="1" i="1" kern="0" dirty="0">
              <a:solidFill>
                <a:srgbClr val="505050">
                  <a:lumMod val="50000"/>
                </a:srgbClr>
              </a:solidFill>
              <a:latin typeface="Segoe UI Light"/>
            </a:endParaRPr>
          </a:p>
        </p:txBody>
      </p:sp>
    </p:spTree>
    <p:extLst>
      <p:ext uri="{BB962C8B-B14F-4D97-AF65-F5344CB8AC3E}">
        <p14:creationId xmlns:p14="http://schemas.microsoft.com/office/powerpoint/2010/main" val="27557936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2.xml><?xml version="1.0" encoding="utf-8"?>
<a:theme xmlns:a="http://schemas.openxmlformats.org/drawingml/2006/main" name="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3.xml><?xml version="1.0" encoding="utf-8"?>
<a:theme xmlns:a="http://schemas.openxmlformats.org/drawingml/2006/main" name="1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2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5.xml><?xml version="1.0" encoding="utf-8"?>
<a:theme xmlns:a="http://schemas.openxmlformats.org/drawingml/2006/main" name="3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6.xml><?xml version="1.0" encoding="utf-8"?>
<a:theme xmlns:a="http://schemas.openxmlformats.org/drawingml/2006/main" name="4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7.xml><?xml version="1.0" encoding="utf-8"?>
<a:theme xmlns:a="http://schemas.openxmlformats.org/drawingml/2006/main" name="5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8.xml><?xml version="1.0" encoding="utf-8"?>
<a:theme xmlns:a="http://schemas.openxmlformats.org/drawingml/2006/main" name="6_C+E_Monthly_2017">
  <a:themeElements>
    <a:clrScheme name="C+E_Airlift_2017">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9.xml><?xml version="1.0" encoding="utf-8"?>
<a:theme xmlns:a="http://schemas.openxmlformats.org/drawingml/2006/main" name="7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xml><?xml version="1.0" encoding="utf-8"?>
<a:theme xmlns:a="http://schemas.openxmlformats.org/drawingml/2006/main" name="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20.xml><?xml version="1.0" encoding="utf-8"?>
<a:theme xmlns:a="http://schemas.openxmlformats.org/drawingml/2006/main" name="8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1.xml><?xml version="1.0" encoding="utf-8"?>
<a:theme xmlns:a="http://schemas.openxmlformats.org/drawingml/2006/main" name="9_C+E_Monthly_2017">
  <a:themeElements>
    <a:clrScheme name="COE">
      <a:dk1>
        <a:srgbClr val="505050"/>
      </a:dk1>
      <a:lt1>
        <a:srgbClr val="FFFFFF"/>
      </a:lt1>
      <a:dk2>
        <a:srgbClr val="0072C6"/>
      </a:dk2>
      <a:lt2>
        <a:srgbClr val="00BCF2"/>
      </a:lt2>
      <a:accent1>
        <a:srgbClr val="0072C6"/>
      </a:accent1>
      <a:accent2>
        <a:srgbClr val="002050"/>
      </a:accent2>
      <a:accent3>
        <a:srgbClr val="002050"/>
      </a:accent3>
      <a:accent4>
        <a:srgbClr val="00B294"/>
      </a:accent4>
      <a:accent5>
        <a:srgbClr val="00827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2.xml><?xml version="1.0" encoding="utf-8"?>
<a:theme xmlns:a="http://schemas.openxmlformats.org/drawingml/2006/main" name="WHITE TEMPLATE">
  <a:themeElements>
    <a:clrScheme name="Custom 7">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FF8C0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Oct_2014.potx" id="{68CE401D-95F5-46C5-B484-D0F0E385D210}" vid="{0639DB28-C39D-46FC-A2ED-DA3554C392D5}"/>
    </a:ext>
  </a:extLst>
</a:theme>
</file>

<file path=ppt/theme/theme23.xml><?xml version="1.0" encoding="utf-8"?>
<a:theme xmlns:a="http://schemas.openxmlformats.org/drawingml/2006/main" name="3_WHITE TEMPLATE">
  <a:themeElements>
    <a:clrScheme name="Custom 7">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FF8C0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Oct_2014.potx" id="{68CE401D-95F5-46C5-B484-D0F0E385D210}" vid="{0639DB28-C39D-46FC-A2ED-DA3554C392D5}"/>
    </a:ext>
  </a:extLst>
</a:theme>
</file>

<file path=ppt/theme/theme2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5.xml><?xml version="1.0" encoding="utf-8"?>
<a:theme xmlns:a="http://schemas.openxmlformats.org/drawingml/2006/main" name="4_WHITE TEMPLATE">
  <a:themeElements>
    <a:clrScheme name="Custom 2">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potx" id="{5934182C-5E91-4AA0-AC54-8FABA87FDE33}" vid="{A438645E-38DE-470C-AF49-BEF4F95CC5B2}"/>
    </a:ext>
  </a:extLst>
</a:theme>
</file>

<file path=ppt/theme/theme26.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27.xml><?xml version="1.0" encoding="utf-8"?>
<a:theme xmlns:a="http://schemas.openxmlformats.org/drawingml/2006/main" name="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28.xml><?xml version="1.0" encoding="utf-8"?>
<a:theme xmlns:a="http://schemas.openxmlformats.org/drawingml/2006/main" name="1_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29.xml><?xml version="1.0" encoding="utf-8"?>
<a:theme xmlns:a="http://schemas.openxmlformats.org/drawingml/2006/main" name="2_Azure IoT Hub">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IoT Hub" id="{CF9C84B7-65A7-405C-A203-BCA17A4FAA1D}" vid="{D854B8CE-DC4C-4909-8B0F-FC03372437A5}"/>
    </a:ext>
  </a:extLst>
</a:theme>
</file>

<file path=ppt/theme/theme3.xml><?xml version="1.0" encoding="utf-8"?>
<a:theme xmlns:a="http://schemas.openxmlformats.org/drawingml/2006/main" name="1_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30.xml><?xml version="1.0" encoding="utf-8"?>
<a:theme xmlns:a="http://schemas.openxmlformats.org/drawingml/2006/main" name="1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1.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3.xml><?xml version="1.0" encoding="utf-8"?>
<a:theme xmlns:a="http://schemas.openxmlformats.org/drawingml/2006/main" name="TR18_BO_CT_Template_16x9">
  <a:themeElements>
    <a:clrScheme name="TR17-Blue">
      <a:dk1>
        <a:srgbClr val="505050"/>
      </a:dk1>
      <a:lt1>
        <a:srgbClr val="FFFFFF"/>
      </a:lt1>
      <a:dk2>
        <a:srgbClr val="0072C6"/>
      </a:dk2>
      <a:lt2>
        <a:srgbClr val="6DC2E9"/>
      </a:lt2>
      <a:accent1>
        <a:srgbClr val="002050"/>
      </a:accent1>
      <a:accent2>
        <a:srgbClr val="007233"/>
      </a:accent2>
      <a:accent3>
        <a:srgbClr val="DC3C00"/>
      </a:accent3>
      <a:accent4>
        <a:srgbClr val="442359"/>
      </a:accent4>
      <a:accent5>
        <a:srgbClr val="B4009E"/>
      </a:accent5>
      <a:accent6>
        <a:srgbClr val="FF8C00"/>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3EDB9301-708C-4C75-BBDE-C64B6C560449}" vid="{7CC2065F-3932-4357-BAD3-FFC2D6C39E7A}"/>
    </a:ext>
  </a:extLst>
</a:theme>
</file>

<file path=ppt/theme/theme3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5.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7.xml><?xml version="1.0" encoding="utf-8"?>
<a:theme xmlns:a="http://schemas.openxmlformats.org/drawingml/2006/main" name="2_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Read-Only]" id="{DD734164-F40E-479F-8F17-ED891B49B3DF}" vid="{0722A4C9-FF71-4C4F-8FA9-C187D878E465}"/>
    </a:ext>
  </a:extLst>
</a:theme>
</file>

<file path=ppt/theme/theme3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Teal_Accent_16x9_2013_06">
  <a:themeElements>
    <a:clrScheme name="2013 White with Teal Accent Brand Template">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A867D46-42E6-418B-85CF-ABEA429A73BC}" vid="{42EFFCA8-1DC0-4993-B75B-DFF6E72F3957}"/>
    </a:ext>
  </a:extLst>
</a:theme>
</file>

<file path=ppt/theme/theme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Content Slides">
  <a:themeElements>
    <a:clrScheme name="machinepulse">
      <a:dk1>
        <a:srgbClr val="000000"/>
      </a:dk1>
      <a:lt1>
        <a:srgbClr val="FFFFFF"/>
      </a:lt1>
      <a:dk2>
        <a:srgbClr val="1F497D"/>
      </a:dk2>
      <a:lt2>
        <a:srgbClr val="EEECE1"/>
      </a:lt2>
      <a:accent1>
        <a:srgbClr val="003D79"/>
      </a:accent1>
      <a:accent2>
        <a:srgbClr val="00AEEF"/>
      </a:accent2>
      <a:accent3>
        <a:srgbClr val="FFFF00"/>
      </a:accent3>
      <a:accent4>
        <a:srgbClr val="F37021"/>
      </a:accent4>
      <a:accent5>
        <a:srgbClr val="003D79"/>
      </a:accent5>
      <a:accent6>
        <a:srgbClr val="F37021"/>
      </a:accent6>
      <a:hlink>
        <a:srgbClr val="548DD4"/>
      </a:hlink>
      <a:folHlink>
        <a:srgbClr val="0C0C0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9.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System.Storyboarding.Metro.MetroTileMedium" Revision="1" Stencil="System.Storyboarding.Metro" StencilVersion="0.1"/>
</Control>
</file>

<file path=customXml/itemProps1.xml><?xml version="1.0" encoding="utf-8"?>
<ds:datastoreItem xmlns:ds="http://schemas.openxmlformats.org/officeDocument/2006/customXml" ds:itemID="{2D0F67A5-E5C8-48F5-9D78-223DD6FA248D}">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621</TotalTime>
  <Words>7617</Words>
  <Application>Microsoft Office PowerPoint</Application>
  <PresentationFormat>Widescreen</PresentationFormat>
  <Paragraphs>1303</Paragraphs>
  <Slides>41</Slides>
  <Notes>34</Notes>
  <HiddenSlides>0</HiddenSlides>
  <MMClips>0</MMClips>
  <ScaleCrop>false</ScaleCrop>
  <HeadingPairs>
    <vt:vector size="8" baseType="variant">
      <vt:variant>
        <vt:lpstr>Fonts Used</vt:lpstr>
      </vt:variant>
      <vt:variant>
        <vt:i4>22</vt:i4>
      </vt:variant>
      <vt:variant>
        <vt:lpstr>Theme</vt:lpstr>
      </vt:variant>
      <vt:variant>
        <vt:i4>37</vt:i4>
      </vt:variant>
      <vt:variant>
        <vt:lpstr>Embedded OLE Servers</vt:lpstr>
      </vt:variant>
      <vt:variant>
        <vt:i4>1</vt:i4>
      </vt:variant>
      <vt:variant>
        <vt:lpstr>Slide Titles</vt:lpstr>
      </vt:variant>
      <vt:variant>
        <vt:i4>41</vt:i4>
      </vt:variant>
    </vt:vector>
  </HeadingPairs>
  <TitlesOfParts>
    <vt:vector size="101" baseType="lpstr">
      <vt:lpstr>MS PGothic</vt:lpstr>
      <vt:lpstr>MS PGothic</vt:lpstr>
      <vt:lpstr>Arial</vt:lpstr>
      <vt:lpstr>Calibri</vt:lpstr>
      <vt:lpstr>Calibri Light</vt:lpstr>
      <vt:lpstr>Consolas</vt:lpstr>
      <vt:lpstr>Courier New</vt:lpstr>
      <vt:lpstr>Segoe Light</vt:lpstr>
      <vt:lpstr>Segoe Pro</vt:lpstr>
      <vt:lpstr>Segoe Pro Display Semibold</vt:lpstr>
      <vt:lpstr>Segoe Pro Semibold</vt:lpstr>
      <vt:lpstr>Segoe Pro SemiLight</vt:lpstr>
      <vt:lpstr>Segoe UI</vt:lpstr>
      <vt:lpstr>Segoe UI Black</vt:lpstr>
      <vt:lpstr>Segoe UI Light</vt:lpstr>
      <vt:lpstr>Segoe UI Light (Headings)</vt:lpstr>
      <vt:lpstr>Segoe UI Semibold</vt:lpstr>
      <vt:lpstr>Segoe UI Semilight</vt:lpstr>
      <vt:lpstr>Times New Roman</vt:lpstr>
      <vt:lpstr>Webdings</vt:lpstr>
      <vt:lpstr>Wingdings</vt:lpstr>
      <vt:lpstr>Wingdings 3</vt:lpstr>
      <vt:lpstr>Office Theme</vt:lpstr>
      <vt:lpstr>MSVID_White_Teal_Accent_16x9_2013_06</vt:lpstr>
      <vt:lpstr>1_MSVID_White_Teal_Accent_16x9_2013_06</vt:lpstr>
      <vt:lpstr>2_MSVID_White_Teal_Accent_16x9_2013_06</vt:lpstr>
      <vt:lpstr>STB Conversations 2013</vt:lpstr>
      <vt:lpstr>1_STB Conversations 2013</vt:lpstr>
      <vt:lpstr>Content Slides</vt:lpstr>
      <vt:lpstr>FY15 Enterprise identity theme</vt:lpstr>
      <vt:lpstr>1_WHITE TEMPLATE</vt:lpstr>
      <vt:lpstr>2_WHITE TEMPLATE</vt:lpstr>
      <vt:lpstr>5-50002_Ignite_Breakout_Template</vt:lpstr>
      <vt:lpstr>C+E_Monthly_2017</vt:lpstr>
      <vt:lpstr>1_C+E_Monthly_2017</vt:lpstr>
      <vt:lpstr>2_C+E_Monthly_2017</vt:lpstr>
      <vt:lpstr>3_C+E_Monthly_2017</vt:lpstr>
      <vt:lpstr>4_C+E_Monthly_2017</vt:lpstr>
      <vt:lpstr>5_C+E_Monthly_2017</vt:lpstr>
      <vt:lpstr>6_C+E_Monthly_2017</vt:lpstr>
      <vt:lpstr>7_C+E_Monthly_2017</vt:lpstr>
      <vt:lpstr>8_C+E_Monthly_2017</vt:lpstr>
      <vt:lpstr>9_C+E_Monthly_2017</vt:lpstr>
      <vt:lpstr>WHITE TEMPLATE</vt:lpstr>
      <vt:lpstr>3_WHITE TEMPLATE</vt:lpstr>
      <vt:lpstr>1_COLOR TEMPLATE</vt:lpstr>
      <vt:lpstr>4_WHITE TEMPLATE</vt:lpstr>
      <vt:lpstr>5-30711_TR22_BO_CT_Template</vt:lpstr>
      <vt:lpstr>Azure IoT Hub</vt:lpstr>
      <vt:lpstr>1_Azure IoT Hub</vt:lpstr>
      <vt:lpstr>2_Azure IoT Hub</vt:lpstr>
      <vt:lpstr>1_5-30711_TR22_BO_CT_Template</vt:lpstr>
      <vt:lpstr>C+E Deck</vt:lpstr>
      <vt:lpstr>Server and Cloud 2013</vt:lpstr>
      <vt:lpstr>TR18_BO_CT_Template_16x9</vt:lpstr>
      <vt:lpstr>1_Server and Cloud 2013</vt:lpstr>
      <vt:lpstr>2_Server and Cloud 2013</vt:lpstr>
      <vt:lpstr>3_Server and Cloud 2013</vt:lpstr>
      <vt:lpstr>2_5-30711_TR22_BO_CT_Template</vt:lpstr>
      <vt:lpstr>think-cell Slide</vt:lpstr>
      <vt:lpstr>Session Objectives and Takeaways</vt:lpstr>
      <vt:lpstr>PowerPoint Presentation</vt:lpstr>
      <vt:lpstr>IoT device       cloud patterns</vt:lpstr>
      <vt:lpstr>IoT Architecture</vt:lpstr>
      <vt:lpstr>Traditional Approaches</vt:lpstr>
      <vt:lpstr>Traditional Approaches</vt:lpstr>
      <vt:lpstr>New Approaches</vt:lpstr>
      <vt:lpstr>Cloud Architecture</vt:lpstr>
      <vt:lpstr>PowerPoint Presentation</vt:lpstr>
      <vt:lpstr>Work across all cloud data</vt:lpstr>
      <vt:lpstr>Big Data Analytics – Data Flow</vt:lpstr>
      <vt:lpstr>Event Ingestion Patterns</vt:lpstr>
      <vt:lpstr>Bulk Ingestion and Preparation</vt:lpstr>
      <vt:lpstr>Big Data Lambda Architecture</vt:lpstr>
      <vt:lpstr>A real world example of Read-Only synchronized  entities and writable entities in CDM – Give employees a reward for completing a checkup</vt:lpstr>
      <vt:lpstr>Reference Architecture</vt:lpstr>
      <vt:lpstr>Reference Architecture</vt:lpstr>
      <vt:lpstr>Reference Architecture</vt:lpstr>
      <vt:lpstr>Solution Reference Architecture</vt:lpstr>
      <vt:lpstr>Solution Reference Architecture</vt:lpstr>
      <vt:lpstr>Reference Architecture</vt:lpstr>
      <vt:lpstr>Reference Architecture</vt:lpstr>
      <vt:lpstr>Delivering innovation and ROI… continuously</vt:lpstr>
      <vt:lpstr>Change Management </vt:lpstr>
      <vt:lpstr>Reference Architecture</vt:lpstr>
      <vt:lpstr>PowerPoint Presentation</vt:lpstr>
      <vt:lpstr>SQL Server 2016 BI at GA Roadmap for SQL Server Reporting Services &amp; mobile reporting</vt:lpstr>
      <vt:lpstr>Reporting Services architecture</vt:lpstr>
      <vt:lpstr>Example of Cortana Intelligence Suite in action</vt:lpstr>
      <vt:lpstr>PowerPoint Presentation</vt:lpstr>
      <vt:lpstr>IoT Solutions - Composition</vt:lpstr>
      <vt:lpstr>Azure IoT Reference Architecture</vt:lpstr>
      <vt:lpstr>What you get with remote monitoring preconfigured solution</vt:lpstr>
      <vt:lpstr>IoT Hub Endpoints</vt:lpstr>
      <vt:lpstr>PowerPoint Presentation</vt:lpstr>
      <vt:lpstr>PowerPoint Presentation</vt:lpstr>
      <vt:lpstr>What you get with remote monitoring preconfigured solution</vt:lpstr>
      <vt:lpstr>Stage Stack</vt:lpstr>
      <vt:lpstr>Azure IoT Suite</vt:lpstr>
      <vt:lpstr>Azure IoT – Generate Predictive Insights</vt:lpstr>
      <vt:lpstr>Real time event processing</vt:lpstr>
    </vt:vector>
  </TitlesOfParts>
  <Company>Fusion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garaj Sengodan</dc:creator>
  <cp:lastModifiedBy>Nagaraj Sengodan</cp:lastModifiedBy>
  <cp:revision>15</cp:revision>
  <dcterms:created xsi:type="dcterms:W3CDTF">2017-04-23T17:26:13Z</dcterms:created>
  <dcterms:modified xsi:type="dcterms:W3CDTF">2017-05-05T10:07:38Z</dcterms:modified>
</cp:coreProperties>
</file>